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2.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3.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5.xml" ContentType="application/vnd.openxmlformats-officedocument.theme+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theme/theme6.xml" ContentType="application/vnd.openxmlformats-officedocument.theme+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theme/theme7.xml" ContentType="application/vnd.openxmlformats-officedocument.theme+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theme/theme8.xml" ContentType="application/vnd.openxmlformats-officedocument.theme+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theme/theme9.xml" ContentType="application/vnd.openxmlformats-officedocument.theme+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theme/theme10.xml" ContentType="application/vnd.openxmlformats-officedocument.theme+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83" r:id="rId2"/>
    <p:sldMasterId id="2147483734" r:id="rId3"/>
    <p:sldMasterId id="2147483784" r:id="rId4"/>
    <p:sldMasterId id="2147483840" r:id="rId5"/>
    <p:sldMasterId id="2147483889" r:id="rId6"/>
    <p:sldMasterId id="2147483943" r:id="rId7"/>
    <p:sldMasterId id="2147483995" r:id="rId8"/>
    <p:sldMasterId id="2147484047" r:id="rId9"/>
    <p:sldMasterId id="2147484096" r:id="rId10"/>
    <p:sldMasterId id="2147484200" r:id="rId11"/>
  </p:sldMasterIdLst>
  <p:notesMasterIdLst>
    <p:notesMasterId r:id="rId27"/>
  </p:notesMasterIdLst>
  <p:sldIdLst>
    <p:sldId id="266" r:id="rId12"/>
    <p:sldId id="272" r:id="rId13"/>
    <p:sldId id="2147483632" r:id="rId14"/>
    <p:sldId id="2147483634" r:id="rId15"/>
    <p:sldId id="260" r:id="rId16"/>
    <p:sldId id="2147483627" r:id="rId17"/>
    <p:sldId id="2147483630" r:id="rId18"/>
    <p:sldId id="259" r:id="rId19"/>
    <p:sldId id="262" r:id="rId20"/>
    <p:sldId id="267" r:id="rId21"/>
    <p:sldId id="2147483639" r:id="rId22"/>
    <p:sldId id="2147483640" r:id="rId23"/>
    <p:sldId id="2147483628" r:id="rId24"/>
    <p:sldId id="270" r:id="rId25"/>
    <p:sldId id="470"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DF6FF"/>
    <a:srgbClr val="0E61FF"/>
    <a:srgbClr val="CFE0FF"/>
    <a:srgbClr val="F6A900"/>
    <a:srgbClr val="FFFF00"/>
    <a:srgbClr val="FBFBFB"/>
    <a:srgbClr val="151515"/>
    <a:srgbClr val="7162FF"/>
    <a:srgbClr val="A56EFF"/>
    <a:srgbClr val="F5ED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B0223A1-8901-FA40-95BE-0CF985518C7E}" v="7" dt="2025-03-24T15:12:23.42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2280"/>
    <p:restoredTop sz="94662"/>
  </p:normalViewPr>
  <p:slideViewPr>
    <p:cSldViewPr snapToGrid="0">
      <p:cViewPr varScale="1">
        <p:scale>
          <a:sx n="78" d="100"/>
          <a:sy n="78" d="100"/>
        </p:scale>
        <p:origin x="176" y="736"/>
      </p:cViewPr>
      <p:guideLst/>
    </p:cSldViewPr>
  </p:slideViewPr>
  <p:notesTextViewPr>
    <p:cViewPr>
      <p:scale>
        <a:sx n="1" d="1"/>
        <a:sy n="1" d="1"/>
      </p:scale>
      <p:origin x="0" y="0"/>
    </p:cViewPr>
  </p:notesTextViewPr>
  <p:sorterViewPr>
    <p:cViewPr>
      <p:scale>
        <a:sx n="175" d="100"/>
        <a:sy n="175"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 Type="http://schemas.openxmlformats.org/officeDocument/2006/relationships/slideMaster" Target="slideMasters/slideMaster3.xml"/><Relationship Id="rId21" Type="http://schemas.openxmlformats.org/officeDocument/2006/relationships/slide" Target="slides/slide10.xml"/><Relationship Id="rId7" Type="http://schemas.openxmlformats.org/officeDocument/2006/relationships/slideMaster" Target="slideMasters/slideMaster7.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2" Type="http://schemas.openxmlformats.org/officeDocument/2006/relationships/slideMaster" Target="slideMasters/slideMaster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microsoft.com/office/2015/10/relationships/revisionInfo" Target="revisionInfo.xml"/><Relationship Id="rId5" Type="http://schemas.openxmlformats.org/officeDocument/2006/relationships/slideMaster" Target="slideMasters/slideMaster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presProps" Target="presProps.xml"/><Relationship Id="rId10" Type="http://schemas.openxmlformats.org/officeDocument/2006/relationships/slideMaster" Target="slideMasters/slideMaster10.xml"/><Relationship Id="rId19" Type="http://schemas.openxmlformats.org/officeDocument/2006/relationships/slide" Target="slides/slide8.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notesMaster" Target="notesMasters/notesMaster1.xml"/><Relationship Id="rId30"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5755FF7-0788-814E-8115-97E46939902E}" type="datetimeFigureOut">
              <a:rPr lang="en-US" smtClean="0"/>
              <a:t>3/24/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37DED78-FF42-D641-874A-0C4F42E55CBB}" type="slidenum">
              <a:rPr lang="en-US" smtClean="0"/>
              <a:t>‹#›</a:t>
            </a:fld>
            <a:endParaRPr lang="en-US"/>
          </a:p>
        </p:txBody>
      </p:sp>
    </p:spTree>
    <p:extLst>
      <p:ext uri="{BB962C8B-B14F-4D97-AF65-F5344CB8AC3E}">
        <p14:creationId xmlns:p14="http://schemas.microsoft.com/office/powerpoint/2010/main" val="3442299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linkedin.com/posts/stephangerali_ibm-watsonxdata-activity-7140795189937315840-lRLs/?utm_source=share&amp;utm_medium=member_desktop" TargetMode="External"/><Relationship Id="rId2" Type="http://schemas.openxmlformats.org/officeDocument/2006/relationships/slide" Target="../slides/slide6.xml"/><Relationship Id="rId1" Type="http://schemas.openxmlformats.org/officeDocument/2006/relationships/notesMaster" Target="../notesMasters/notesMaster1.xml"/><Relationship Id="rId4" Type="http://schemas.openxmlformats.org/officeDocument/2006/relationships/hyperlink" Target="https://www.ibm.com/case-studies/edsvardhallbarhet"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prestodb.io/powered-by-presto.html"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937DED78-FF42-D641-874A-0C4F42E55CBB}" type="slidenum">
              <a:rPr lang="en-US" smtClean="0"/>
              <a:t>1</a:t>
            </a:fld>
            <a:endParaRPr lang="en-US"/>
          </a:p>
        </p:txBody>
      </p:sp>
    </p:spTree>
    <p:extLst>
      <p:ext uri="{BB962C8B-B14F-4D97-AF65-F5344CB8AC3E}">
        <p14:creationId xmlns:p14="http://schemas.microsoft.com/office/powerpoint/2010/main" val="30610691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B86A88-9A97-4E8F-B4FB-F2442E10965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F81FEC6-A8EA-338F-7E8C-518DB86BB346}"/>
              </a:ext>
            </a:extLst>
          </p:cNvPr>
          <p:cNvSpPr>
            <a:spLocks noGrp="1" noRot="1" noChangeAspect="1"/>
          </p:cNvSpPr>
          <p:nvPr>
            <p:ph type="sldImg"/>
          </p:nvPr>
        </p:nvSpPr>
        <p:spPr>
          <a:xfrm>
            <a:off x="206375" y="228600"/>
            <a:ext cx="6419850" cy="3611563"/>
          </a:xfrm>
        </p:spPr>
      </p:sp>
      <p:sp>
        <p:nvSpPr>
          <p:cNvPr id="3" name="Notes Placeholder 2">
            <a:extLst>
              <a:ext uri="{FF2B5EF4-FFF2-40B4-BE49-F238E27FC236}">
                <a16:creationId xmlns:a16="http://schemas.microsoft.com/office/drawing/2014/main" id="{BCE5AD16-F381-B0E5-705D-3AA23B7B2FF4}"/>
              </a:ext>
            </a:extLst>
          </p:cNvPr>
          <p:cNvSpPr>
            <a:spLocks noGrp="1"/>
          </p:cNvSpPr>
          <p:nvPr>
            <p:ph type="body" idx="1"/>
          </p:nvPr>
        </p:nvSpPr>
        <p:spPr/>
        <p:txBody>
          <a:bodyPr/>
          <a:lstStyle/>
          <a:p>
            <a:pPr defTabSz="2438400">
              <a:lnSpc>
                <a:spcPct val="100000"/>
              </a:lnSpc>
              <a:spcBef>
                <a:spcPts val="2900"/>
              </a:spcBef>
              <a:buSzPct val="100000"/>
              <a:defRPr/>
            </a:pPr>
            <a:r>
              <a:rPr lang="en-US" kern="0">
                <a:solidFill>
                  <a:srgbClr val="000000"/>
                </a:solidFill>
                <a:latin typeface="+mn-lt"/>
                <a:sym typeface="IBM Plex Sans Light"/>
              </a:rPr>
              <a:t>So in summary, when we step back, and look at the ingredients and the recipe required to create enterprise value with gen-ai, particularly when it comes to processing and consuming unstructured data, we need:</a:t>
            </a:r>
            <a:endParaRPr lang="en-US">
              <a:sym typeface="IBM Plex Sans Light"/>
            </a:endParaRPr>
          </a:p>
          <a:p>
            <a:pPr defTabSz="2438400">
              <a:lnSpc>
                <a:spcPct val="100000"/>
              </a:lnSpc>
              <a:spcBef>
                <a:spcPts val="2900"/>
              </a:spcBef>
              <a:defRPr/>
            </a:pPr>
            <a:endParaRPr lang="en-US" kern="0">
              <a:solidFill>
                <a:srgbClr val="000000"/>
              </a:solidFill>
              <a:latin typeface="+mn-lt"/>
            </a:endParaRPr>
          </a:p>
          <a:p>
            <a:pPr marL="285750" indent="-285750" defTabSz="2438400">
              <a:lnSpc>
                <a:spcPct val="100000"/>
              </a:lnSpc>
              <a:spcBef>
                <a:spcPts val="2900"/>
              </a:spcBef>
              <a:buFont typeface="Arial"/>
              <a:buChar char="•"/>
              <a:defRPr/>
            </a:pPr>
            <a:r>
              <a:rPr lang="en-US" kern="0">
                <a:solidFill>
                  <a:srgbClr val="000000"/>
                </a:solidFill>
                <a:latin typeface="+mn-lt"/>
              </a:rPr>
              <a:t>Connectivity to the documents and data, wherever they reside.</a:t>
            </a:r>
          </a:p>
          <a:p>
            <a:pPr marL="285750" indent="-285750" defTabSz="2438400">
              <a:lnSpc>
                <a:spcPct val="100000"/>
              </a:lnSpc>
              <a:spcBef>
                <a:spcPts val="2900"/>
              </a:spcBef>
              <a:buFont typeface="Arial"/>
              <a:buChar char="•"/>
              <a:defRPr/>
            </a:pPr>
            <a:r>
              <a:rPr lang="en-US" kern="0">
                <a:solidFill>
                  <a:srgbClr val="000000"/>
                </a:solidFill>
                <a:latin typeface="+mn-lt"/>
              </a:rPr>
              <a:t>Flexible ingest and processing pipelines that can take a document and not only extract text chunks for a vector database for RAG, but also extract entities, values, and relationships to enhance the accuracy of a RAG-based solution and unlock the analytical value of the data in those documents.</a:t>
            </a:r>
          </a:p>
          <a:p>
            <a:pPr marL="285750" indent="-285750" defTabSz="2438400">
              <a:lnSpc>
                <a:spcPct val="100000"/>
              </a:lnSpc>
              <a:spcBef>
                <a:spcPts val="2900"/>
              </a:spcBef>
              <a:buFont typeface="Arial"/>
              <a:buChar char="•"/>
              <a:defRPr/>
            </a:pPr>
            <a:r>
              <a:rPr lang="en-US" kern="0">
                <a:solidFill>
                  <a:srgbClr val="000000"/>
                </a:solidFill>
                <a:latin typeface="+mn-lt"/>
              </a:rPr>
              <a:t>A multi-modal, multi-engine lakehouse to support all of these different data types and workloads </a:t>
            </a:r>
          </a:p>
          <a:p>
            <a:pPr marL="285750" indent="-285750" defTabSz="2438400">
              <a:lnSpc>
                <a:spcPct val="100000"/>
              </a:lnSpc>
              <a:spcBef>
                <a:spcPts val="2900"/>
              </a:spcBef>
              <a:buFont typeface="Arial"/>
              <a:buChar char="•"/>
              <a:defRPr/>
            </a:pPr>
            <a:r>
              <a:rPr lang="en-US" kern="0">
                <a:solidFill>
                  <a:srgbClr val="000000"/>
                </a:solidFill>
                <a:latin typeface="+mn-lt"/>
              </a:rPr>
              <a:t>And finally, an open and integrated data governance model that’s going to respect the coarse-grained access control model of a document management system and reconcile it with the fine-grained model of an AI and analytics platform.</a:t>
            </a:r>
          </a:p>
          <a:p>
            <a:pPr marL="285750" indent="-285750" defTabSz="2438400">
              <a:lnSpc>
                <a:spcPct val="100000"/>
              </a:lnSpc>
              <a:spcBef>
                <a:spcPts val="2900"/>
              </a:spcBef>
              <a:buFont typeface="Arial"/>
              <a:buChar char="•"/>
              <a:defRPr/>
            </a:pPr>
            <a:endParaRPr lang="en-US" kern="0">
              <a:solidFill>
                <a:srgbClr val="000000"/>
              </a:solidFill>
              <a:latin typeface="+mn-lt"/>
            </a:endParaRPr>
          </a:p>
          <a:p>
            <a:pPr defTabSz="2438400">
              <a:lnSpc>
                <a:spcPct val="100000"/>
              </a:lnSpc>
              <a:spcBef>
                <a:spcPts val="2900"/>
              </a:spcBef>
              <a:defRPr/>
            </a:pPr>
            <a:r>
              <a:rPr lang="en-US" kern="0">
                <a:solidFill>
                  <a:srgbClr val="000000"/>
                </a:solidFill>
                <a:latin typeface="+mn-lt"/>
              </a:rPr>
              <a:t>THIS is what we built the watsonx platform and our Data Fabric to achieve and I'm happy to pass it to my friend and partner Remus Lazar, to show you some of it in action. </a:t>
            </a:r>
          </a:p>
          <a:p>
            <a:pPr defTabSz="2438400">
              <a:lnSpc>
                <a:spcPct val="100000"/>
              </a:lnSpc>
              <a:spcBef>
                <a:spcPts val="2900"/>
              </a:spcBef>
              <a:defRPr/>
            </a:pPr>
            <a:endParaRPr lang="en-US" b="1" kern="0">
              <a:solidFill>
                <a:srgbClr val="000000"/>
              </a:solidFill>
              <a:latin typeface="+mn-lt"/>
              <a:sym typeface="IBM Plex Sans Light"/>
            </a:endParaRPr>
          </a:p>
          <a:p>
            <a:pPr defTabSz="2438400">
              <a:lnSpc>
                <a:spcPct val="100000"/>
              </a:lnSpc>
              <a:spcBef>
                <a:spcPts val="2900"/>
              </a:spcBef>
              <a:defRPr/>
            </a:pPr>
            <a:endParaRPr lang="en-US" b="1" kern="0">
              <a:solidFill>
                <a:srgbClr val="000000"/>
              </a:solidFill>
              <a:latin typeface="+mn-lt"/>
              <a:sym typeface="IBM Plex Sans Light"/>
            </a:endParaRPr>
          </a:p>
          <a:p>
            <a:pPr defTabSz="2438400">
              <a:lnSpc>
                <a:spcPct val="100000"/>
              </a:lnSpc>
              <a:spcBef>
                <a:spcPts val="2900"/>
              </a:spcBef>
              <a:defRPr/>
            </a:pPr>
            <a:endParaRPr lang="en-US" b="1" kern="0">
              <a:solidFill>
                <a:srgbClr val="000000"/>
              </a:solidFill>
              <a:latin typeface="+mn-lt"/>
              <a:sym typeface="IBM Plex Sans Light"/>
            </a:endParaRPr>
          </a:p>
          <a:p>
            <a:pPr marL="0" marR="0" lvl="0" indent="0" algn="l" defTabSz="2438400">
              <a:lnSpc>
                <a:spcPct val="100000"/>
              </a:lnSpc>
              <a:spcBef>
                <a:spcPts val="2900"/>
              </a:spcBef>
              <a:spcAft>
                <a:spcPts val="0"/>
              </a:spcAft>
              <a:buClrTx/>
              <a:buFontTx/>
              <a:buNone/>
              <a:tabLst/>
              <a:defRPr/>
            </a:pPr>
            <a:r>
              <a:rPr kumimoji="0" lang="en-US" sz="1600" b="1" strike="noStrike" kern="0" cap="none" spc="0" normalizeH="0" baseline="0" noProof="0">
                <a:ln>
                  <a:noFill/>
                </a:ln>
                <a:solidFill>
                  <a:srgbClr val="000000"/>
                </a:solidFill>
                <a:effectLst/>
                <a:uLnTx/>
                <a:uFillTx/>
                <a:latin typeface="+mn-lt"/>
                <a:sym typeface="IBM Plex Sans Light"/>
              </a:rPr>
              <a:t>Analytics &amp; AI workloads:</a:t>
            </a:r>
            <a:endParaRPr lang="en-US"/>
          </a:p>
          <a:p>
            <a:pPr marL="457200" marR="0" lvl="0" indent="-457200" algn="l" defTabSz="2438400" rtl="0" eaLnBrk="1" fontAlgn="auto" latinLnBrk="0" hangingPunct="1">
              <a:lnSpc>
                <a:spcPct val="100000"/>
              </a:lnSpc>
              <a:spcBef>
                <a:spcPts val="1100"/>
              </a:spcBef>
              <a:spcAft>
                <a:spcPts val="0"/>
              </a:spcAft>
              <a:buClr>
                <a:schemeClr val="accent1"/>
              </a:buClr>
              <a:buSzPct val="100000"/>
              <a:buFont typeface="System Font Regular"/>
              <a:buChar char="⎻"/>
              <a:tabLst/>
              <a:defRPr/>
            </a:pPr>
            <a:r>
              <a:rPr kumimoji="0" lang="en-US" sz="1600" u="none" strike="noStrike" kern="0" cap="none" spc="0" normalizeH="0" baseline="0" noProof="0">
                <a:ln>
                  <a:noFill/>
                </a:ln>
                <a:solidFill>
                  <a:srgbClr val="000000"/>
                </a:solidFill>
                <a:effectLst/>
                <a:uLnTx/>
                <a:uFillTx/>
                <a:latin typeface="+mn-lt"/>
                <a:sym typeface="IBM Plex Sans Light"/>
              </a:rPr>
              <a:t>Traditional BI reporting</a:t>
            </a:r>
          </a:p>
          <a:p>
            <a:pPr marL="457200" marR="0" lvl="0" indent="-457200" algn="l" defTabSz="2438400" rtl="0" eaLnBrk="1" fontAlgn="auto" latinLnBrk="0" hangingPunct="1">
              <a:lnSpc>
                <a:spcPct val="100000"/>
              </a:lnSpc>
              <a:spcBef>
                <a:spcPts val="1100"/>
              </a:spcBef>
              <a:spcAft>
                <a:spcPts val="0"/>
              </a:spcAft>
              <a:buClr>
                <a:schemeClr val="accent1"/>
              </a:buClr>
              <a:buSzPct val="100000"/>
              <a:buFont typeface="System Font Regular"/>
              <a:buChar char="⎻"/>
              <a:tabLst/>
              <a:defRPr/>
            </a:pPr>
            <a:r>
              <a:rPr kumimoji="0" lang="en-US" sz="1600" u="none" strike="noStrike" kern="0" cap="none" spc="0" normalizeH="0" baseline="0" noProof="0">
                <a:ln>
                  <a:noFill/>
                </a:ln>
                <a:solidFill>
                  <a:srgbClr val="000000"/>
                </a:solidFill>
                <a:effectLst/>
                <a:uLnTx/>
                <a:uFillTx/>
                <a:latin typeface="+mn-lt"/>
                <a:sym typeface="IBM Plex Sans Light"/>
              </a:rPr>
              <a:t>ML model training</a:t>
            </a:r>
          </a:p>
          <a:p>
            <a:pPr marL="457200" marR="0" lvl="0" indent="-457200" algn="l" defTabSz="2438400" rtl="0" eaLnBrk="1" fontAlgn="auto" latinLnBrk="0" hangingPunct="1">
              <a:lnSpc>
                <a:spcPct val="100000"/>
              </a:lnSpc>
              <a:spcBef>
                <a:spcPts val="1100"/>
              </a:spcBef>
              <a:spcAft>
                <a:spcPts val="0"/>
              </a:spcAft>
              <a:buClr>
                <a:schemeClr val="accent1"/>
              </a:buClr>
              <a:buSzPct val="100000"/>
              <a:buFont typeface="System Font Regular"/>
              <a:buChar char="⎻"/>
              <a:tabLst/>
              <a:defRPr/>
            </a:pPr>
            <a:r>
              <a:rPr kumimoji="0" lang="en-US" sz="1600" u="none" strike="noStrike" kern="0" cap="none" spc="0" normalizeH="0" baseline="0" noProof="0">
                <a:ln>
                  <a:noFill/>
                </a:ln>
                <a:solidFill>
                  <a:srgbClr val="000000"/>
                </a:solidFill>
                <a:effectLst/>
                <a:uLnTx/>
                <a:uFillTx/>
                <a:latin typeface="+mn-lt"/>
                <a:sym typeface="IBM Plex Sans Light"/>
              </a:rPr>
              <a:t>LLM tuning</a:t>
            </a:r>
          </a:p>
          <a:p>
            <a:pPr marL="457200" marR="0" lvl="0" indent="-457200" algn="l" defTabSz="2438400" rtl="0" eaLnBrk="1" fontAlgn="auto" latinLnBrk="0" hangingPunct="1">
              <a:lnSpc>
                <a:spcPct val="100000"/>
              </a:lnSpc>
              <a:spcBef>
                <a:spcPts val="1100"/>
              </a:spcBef>
              <a:spcAft>
                <a:spcPts val="0"/>
              </a:spcAft>
              <a:buClr>
                <a:schemeClr val="accent1"/>
              </a:buClr>
              <a:buSzPct val="100000"/>
              <a:buFont typeface="System Font Regular"/>
              <a:buChar char="⎻"/>
              <a:tabLst/>
              <a:defRPr/>
            </a:pPr>
            <a:r>
              <a:rPr kumimoji="0" lang="en-US" sz="1600" u="none" strike="noStrike" kern="0" cap="none" spc="0" normalizeH="0" baseline="0" noProof="0">
                <a:ln>
                  <a:noFill/>
                </a:ln>
                <a:solidFill>
                  <a:srgbClr val="000000"/>
                </a:solidFill>
                <a:effectLst/>
                <a:uLnTx/>
                <a:uFillTx/>
                <a:latin typeface="+mn-lt"/>
                <a:sym typeface="IBM Plex Sans Light"/>
              </a:rPr>
              <a:t>Semantic search &amp; summarization</a:t>
            </a:r>
          </a:p>
          <a:p>
            <a:pPr marL="457200" marR="0" lvl="0" indent="-457200" algn="l" defTabSz="2438400" rtl="0" eaLnBrk="1" fontAlgn="auto" latinLnBrk="0" hangingPunct="1">
              <a:lnSpc>
                <a:spcPct val="100000"/>
              </a:lnSpc>
              <a:spcBef>
                <a:spcPts val="1100"/>
              </a:spcBef>
              <a:spcAft>
                <a:spcPts val="0"/>
              </a:spcAft>
              <a:buClr>
                <a:schemeClr val="accent1"/>
              </a:buClr>
              <a:buSzPct val="100000"/>
              <a:buFont typeface="System Font Regular"/>
              <a:buChar char="⎻"/>
              <a:tabLst/>
              <a:defRPr/>
            </a:pPr>
            <a:r>
              <a:rPr kumimoji="0" lang="en-US" sz="1600" u="none" strike="noStrike" kern="0" cap="none" spc="0" normalizeH="0" baseline="0" noProof="0">
                <a:ln>
                  <a:noFill/>
                </a:ln>
                <a:solidFill>
                  <a:srgbClr val="000000"/>
                </a:solidFill>
                <a:effectLst/>
                <a:uLnTx/>
                <a:uFillTx/>
                <a:latin typeface="+mn-lt"/>
                <a:sym typeface="IBM Plex Sans Light"/>
              </a:rPr>
              <a:t>Retrieval augmented generation</a:t>
            </a:r>
          </a:p>
          <a:p>
            <a:pPr marL="0" marR="0" lvl="0" indent="0" algn="l" defTabSz="2438400" rtl="0" eaLnBrk="1" fontAlgn="auto" latinLnBrk="0" hangingPunct="1">
              <a:lnSpc>
                <a:spcPct val="100000"/>
              </a:lnSpc>
              <a:spcBef>
                <a:spcPts val="1100"/>
              </a:spcBef>
              <a:spcAft>
                <a:spcPts val="0"/>
              </a:spcAft>
              <a:buClr>
                <a:schemeClr val="accent1"/>
              </a:buClr>
              <a:buSzPct val="100000"/>
              <a:buFont typeface="System Font Regular"/>
              <a:buNone/>
              <a:tabLst/>
              <a:defRPr/>
            </a:pPr>
            <a:endParaRPr kumimoji="0" lang="en-US" sz="1600" u="none" strike="noStrike" kern="0" cap="none" spc="0" normalizeH="0" baseline="0" noProof="0">
              <a:ln>
                <a:noFill/>
              </a:ln>
              <a:solidFill>
                <a:srgbClr val="000000"/>
              </a:solidFill>
              <a:effectLst/>
              <a:uLnTx/>
              <a:uFillTx/>
              <a:latin typeface="+mn-lt"/>
              <a:sym typeface="IBM Plex Sans Light"/>
            </a:endParaRPr>
          </a:p>
          <a:p>
            <a:pPr marL="0" marR="0" lvl="0" indent="0" algn="l" defTabSz="2438400" rtl="0" eaLnBrk="1" fontAlgn="auto" latinLnBrk="0" hangingPunct="1">
              <a:lnSpc>
                <a:spcPct val="100000"/>
              </a:lnSpc>
              <a:spcBef>
                <a:spcPts val="1100"/>
              </a:spcBef>
              <a:spcAft>
                <a:spcPts val="0"/>
              </a:spcAft>
              <a:buClr>
                <a:schemeClr val="accent1"/>
              </a:buClr>
              <a:buSzPct val="100000"/>
              <a:buFont typeface="System Font Regular"/>
              <a:buNone/>
              <a:tabLst/>
              <a:defRPr/>
            </a:pPr>
            <a:r>
              <a:rPr kumimoji="0" lang="en-US" sz="1600" u="none" strike="noStrike" kern="0" cap="none" spc="0" normalizeH="0" baseline="0" noProof="0">
                <a:ln>
                  <a:noFill/>
                </a:ln>
                <a:solidFill>
                  <a:schemeClr val="accent1"/>
                </a:solidFill>
                <a:effectLst/>
                <a:uLnTx/>
                <a:uFillTx/>
                <a:latin typeface="+mn-lt"/>
                <a:sym typeface="IBM Plex Sans Light"/>
              </a:rPr>
              <a:t>All in the same multi-modal  lakehouse!</a:t>
            </a:r>
          </a:p>
        </p:txBody>
      </p:sp>
      <p:sp>
        <p:nvSpPr>
          <p:cNvPr id="4" name="Slide Number Placeholder 3">
            <a:extLst>
              <a:ext uri="{FF2B5EF4-FFF2-40B4-BE49-F238E27FC236}">
                <a16:creationId xmlns:a16="http://schemas.microsoft.com/office/drawing/2014/main" id="{83A51451-DFFB-3996-02FF-06BC872AEC7D}"/>
              </a:ext>
            </a:extLst>
          </p:cNvPr>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11</a:t>
            </a:fld>
            <a:endPar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endParaRPr>
          </a:p>
        </p:txBody>
      </p:sp>
      <p:sp>
        <p:nvSpPr>
          <p:cNvPr id="5" name="Footer Placeholder 4">
            <a:extLst>
              <a:ext uri="{FF2B5EF4-FFF2-40B4-BE49-F238E27FC236}">
                <a16:creationId xmlns:a16="http://schemas.microsoft.com/office/drawing/2014/main" id="{F50A75B0-2A2E-597F-F32E-EE646652B07C}"/>
              </a:ext>
            </a:extLst>
          </p:cNvPr>
          <p:cNvSpPr>
            <a:spLocks noGrp="1"/>
          </p:cNvSpPr>
          <p:nvPr>
            <p:ph type="ftr" sz="quarter" idx="4"/>
          </p:nvPr>
        </p:nvSpPr>
        <p:spPr/>
        <p: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rPr>
              <a:t>Footer</a:t>
            </a:r>
          </a:p>
        </p:txBody>
      </p:sp>
    </p:spTree>
    <p:extLst>
      <p:ext uri="{BB962C8B-B14F-4D97-AF65-F5344CB8AC3E}">
        <p14:creationId xmlns:p14="http://schemas.microsoft.com/office/powerpoint/2010/main" val="485289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700FD8-915B-D576-DFF6-1E601A22258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E516F73-E23A-F8FA-FA0D-B361F981E9D4}"/>
              </a:ext>
            </a:extLst>
          </p:cNvPr>
          <p:cNvSpPr>
            <a:spLocks noGrp="1" noRot="1" noChangeAspect="1"/>
          </p:cNvSpPr>
          <p:nvPr>
            <p:ph type="sldImg"/>
          </p:nvPr>
        </p:nvSpPr>
        <p:spPr>
          <a:xfrm>
            <a:off x="206375" y="228600"/>
            <a:ext cx="6419850" cy="3611563"/>
          </a:xfrm>
        </p:spPr>
      </p:sp>
      <p:sp>
        <p:nvSpPr>
          <p:cNvPr id="3" name="Notes Placeholder 2">
            <a:extLst>
              <a:ext uri="{FF2B5EF4-FFF2-40B4-BE49-F238E27FC236}">
                <a16:creationId xmlns:a16="http://schemas.microsoft.com/office/drawing/2014/main" id="{39947A36-2DB8-2A10-0D74-A67F0CA8F952}"/>
              </a:ext>
            </a:extLst>
          </p:cNvPr>
          <p:cNvSpPr>
            <a:spLocks noGrp="1"/>
          </p:cNvSpPr>
          <p:nvPr>
            <p:ph type="body" idx="1"/>
          </p:nvPr>
        </p:nvSpPr>
        <p:spPr/>
        <p:txBody>
          <a:bodyPr/>
          <a:lstStyle/>
          <a:p>
            <a:pPr defTabSz="2438400">
              <a:spcBef>
                <a:spcPts val="2900"/>
              </a:spcBef>
              <a:buSzPct val="100000"/>
              <a:defRPr/>
            </a:pPr>
            <a:r>
              <a:rPr lang="en-US" kern="0" dirty="0">
                <a:solidFill>
                  <a:srgbClr val="000000"/>
                </a:solidFill>
              </a:rPr>
              <a:t>And ONE more thing!</a:t>
            </a:r>
            <a:endParaRPr lang="en-US" u="none" strike="noStrike" kern="0" cap="none" spc="0" normalizeH="0" baseline="0" noProof="0" dirty="0">
              <a:ln>
                <a:noFill/>
              </a:ln>
              <a:solidFill>
                <a:srgbClr val="000000"/>
              </a:solidFill>
              <a:effectLst/>
              <a:uLnTx/>
              <a:uFillTx/>
              <a:latin typeface="+mn-lt"/>
            </a:endParaRPr>
          </a:p>
        </p:txBody>
      </p:sp>
      <p:sp>
        <p:nvSpPr>
          <p:cNvPr id="4" name="Slide Number Placeholder 3">
            <a:extLst>
              <a:ext uri="{FF2B5EF4-FFF2-40B4-BE49-F238E27FC236}">
                <a16:creationId xmlns:a16="http://schemas.microsoft.com/office/drawing/2014/main" id="{481F8A1D-98FE-67B4-8296-FBC6A2FDF238}"/>
              </a:ext>
            </a:extLst>
          </p:cNvPr>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12</a:t>
            </a:fld>
            <a:endPar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endParaRPr>
          </a:p>
        </p:txBody>
      </p:sp>
      <p:sp>
        <p:nvSpPr>
          <p:cNvPr id="5" name="Footer Placeholder 4">
            <a:extLst>
              <a:ext uri="{FF2B5EF4-FFF2-40B4-BE49-F238E27FC236}">
                <a16:creationId xmlns:a16="http://schemas.microsoft.com/office/drawing/2014/main" id="{FC98D2F6-3CEF-6C40-0042-ABC9EC83E197}"/>
              </a:ext>
            </a:extLst>
          </p:cNvPr>
          <p:cNvSpPr>
            <a:spLocks noGrp="1"/>
          </p:cNvSpPr>
          <p:nvPr>
            <p:ph type="ftr" sz="quarter" idx="4"/>
          </p:nvPr>
        </p:nvSpPr>
        <p:spPr/>
        <p: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rPr>
              <a:t>Footer</a:t>
            </a:r>
          </a:p>
        </p:txBody>
      </p:sp>
    </p:spTree>
    <p:extLst>
      <p:ext uri="{BB962C8B-B14F-4D97-AF65-F5344CB8AC3E}">
        <p14:creationId xmlns:p14="http://schemas.microsoft.com/office/powerpoint/2010/main" val="32855664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9356D8-EF77-3D21-3754-A7188C05049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4AD2449-7C15-9EF3-4B26-A479D284CD1B}"/>
              </a:ext>
            </a:extLst>
          </p:cNvPr>
          <p:cNvSpPr>
            <a:spLocks noGrp="1" noRot="1" noChangeAspect="1"/>
          </p:cNvSpPr>
          <p:nvPr>
            <p:ph type="sldImg"/>
          </p:nvPr>
        </p:nvSpPr>
        <p:spPr>
          <a:xfrm>
            <a:off x="206375" y="228600"/>
            <a:ext cx="6419850" cy="3611563"/>
          </a:xfrm>
        </p:spPr>
      </p:sp>
      <p:sp>
        <p:nvSpPr>
          <p:cNvPr id="3" name="Notes Placeholder 2">
            <a:extLst>
              <a:ext uri="{FF2B5EF4-FFF2-40B4-BE49-F238E27FC236}">
                <a16:creationId xmlns:a16="http://schemas.microsoft.com/office/drawing/2014/main" id="{516B209C-B73F-3603-68C8-15307D63AD51}"/>
              </a:ext>
            </a:extLst>
          </p:cNvPr>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endParaRPr lang="en-US">
              <a:latin typeface="+mn-lt"/>
            </a:endParaRPr>
          </a:p>
          <a:p>
            <a:endParaRPr lang="en-US">
              <a:solidFill>
                <a:schemeClr val="tx1"/>
              </a:solidFill>
            </a:endParaRPr>
          </a:p>
        </p:txBody>
      </p:sp>
      <p:sp>
        <p:nvSpPr>
          <p:cNvPr id="4" name="Slide Number Placeholder 3">
            <a:extLst>
              <a:ext uri="{FF2B5EF4-FFF2-40B4-BE49-F238E27FC236}">
                <a16:creationId xmlns:a16="http://schemas.microsoft.com/office/drawing/2014/main" id="{DE9CD7A0-F07E-46AE-DA86-306E60A9244A}"/>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600" b="0" i="0" u="none" strike="noStrike" kern="1200" cap="none" spc="0" normalizeH="0" baseline="0" noProof="0">
                <a:ln>
                  <a:noFill/>
                </a:ln>
                <a:solidFill>
                  <a:prstClr val="black"/>
                </a:solidFill>
                <a:effectLst/>
                <a:uLnTx/>
                <a:uFillTx/>
                <a:latin typeface="IBM Plex Sans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600" b="0" i="0" u="none" strike="noStrike" kern="1200" cap="none" spc="0" normalizeH="0" baseline="0" noProof="0">
              <a:ln>
                <a:noFill/>
              </a:ln>
              <a:solidFill>
                <a:prstClr val="black"/>
              </a:solidFill>
              <a:effectLst/>
              <a:uLnTx/>
              <a:uFillTx/>
              <a:latin typeface="IBM Plex Sans Light"/>
              <a:ea typeface="+mn-ea"/>
              <a:cs typeface="+mn-cs"/>
            </a:endParaRPr>
          </a:p>
        </p:txBody>
      </p:sp>
    </p:spTree>
    <p:extLst>
      <p:ext uri="{BB962C8B-B14F-4D97-AF65-F5344CB8AC3E}">
        <p14:creationId xmlns:p14="http://schemas.microsoft.com/office/powerpoint/2010/main" val="8991125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BA4135-A817-2D94-1248-89ABDC1D7E6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05A570-D2C8-3A52-F771-3AF97F579EEF}"/>
              </a:ext>
            </a:extLst>
          </p:cNvPr>
          <p:cNvSpPr>
            <a:spLocks noGrp="1" noRot="1" noChangeAspect="1"/>
          </p:cNvSpPr>
          <p:nvPr>
            <p:ph type="sldImg"/>
          </p:nvPr>
        </p:nvSpPr>
        <p:spPr>
          <a:xfrm>
            <a:off x="206375" y="228600"/>
            <a:ext cx="6419850" cy="3611563"/>
          </a:xfrm>
        </p:spPr>
      </p:sp>
      <p:sp>
        <p:nvSpPr>
          <p:cNvPr id="3" name="Notes Placeholder 2">
            <a:extLst>
              <a:ext uri="{FF2B5EF4-FFF2-40B4-BE49-F238E27FC236}">
                <a16:creationId xmlns:a16="http://schemas.microsoft.com/office/drawing/2014/main" id="{72BDCE0C-E0FE-D14B-EF71-4275EC36C264}"/>
              </a:ext>
            </a:extLst>
          </p:cNvPr>
          <p:cNvSpPr>
            <a:spLocks noGrp="1"/>
          </p:cNvSpPr>
          <p:nvPr>
            <p:ph type="body" idx="1"/>
          </p:nvPr>
        </p:nvSpPr>
        <p:spPr/>
        <p:txBody>
          <a:bodyPr/>
          <a:lstStyle/>
          <a:p>
            <a:r>
              <a:rPr lang="en-US">
                <a:effectLst/>
                <a:latin typeface="Helvetica Neue" panose="02000503000000020004" pitchFamily="2" charset="0"/>
              </a:rPr>
              <a:t>Let’s look at how you can use Generative AI to extract more value from your data in natural language.</a:t>
            </a:r>
          </a:p>
          <a:p>
            <a:endParaRPr lang="en-US">
              <a:effectLst/>
              <a:latin typeface="Helvetica Neue" panose="02000503000000020004" pitchFamily="2" charset="0"/>
            </a:endParaRPr>
          </a:p>
          <a:p>
            <a:r>
              <a:rPr lang="en-US">
                <a:effectLst/>
                <a:latin typeface="Helvetica Neue" panose="02000503000000020004" pitchFamily="2" charset="0"/>
              </a:rPr>
              <a:t>For example, say you work in manufacturing. Manufacturers often juggle data from multiple ABI sources, retail POS systems, and even machine logs.</a:t>
            </a:r>
          </a:p>
          <a:p>
            <a:endParaRPr lang="en-US">
              <a:effectLst/>
              <a:latin typeface="Helvetica Neue" panose="02000503000000020004" pitchFamily="2" charset="0"/>
            </a:endParaRPr>
          </a:p>
          <a:p>
            <a:r>
              <a:rPr lang="en-US">
                <a:effectLst/>
                <a:latin typeface="Helvetica Neue" panose="02000503000000020004" pitchFamily="2" charset="0"/>
              </a:rPr>
              <a:t>It’s messy—some is structured, some unstructured, and every team ends up using its own metrics. That leads to confusion, wasted time, and inconsistent decisions. So how do your knowledge workers tap into that data to drive value?</a:t>
            </a:r>
          </a:p>
          <a:p>
            <a:endParaRPr lang="en-US">
              <a:effectLst/>
              <a:latin typeface="Helvetica Neue" panose="02000503000000020004" pitchFamily="2" charset="0"/>
            </a:endParaRPr>
          </a:p>
          <a:p>
            <a:r>
              <a:rPr lang="en-US" b="1">
                <a:effectLst/>
                <a:latin typeface="Helvetica Neue" panose="02000503000000020004" pitchFamily="2" charset="0"/>
              </a:rPr>
              <a:t>(CLICK TO START DEMO)</a:t>
            </a:r>
            <a:br>
              <a:rPr lang="en-US">
                <a:effectLst/>
                <a:latin typeface="Helvetica Neue" panose="02000503000000020004" pitchFamily="2" charset="0"/>
              </a:rPr>
            </a:br>
            <a:endParaRPr lang="en-US">
              <a:effectLst/>
              <a:latin typeface="Helvetica Neue" panose="02000503000000020004" pitchFamily="2" charset="0"/>
            </a:endParaRPr>
          </a:p>
          <a:p>
            <a:r>
              <a:rPr lang="en-US">
                <a:effectLst/>
                <a:latin typeface="Helvetica Neue" panose="02000503000000020004" pitchFamily="2" charset="0"/>
              </a:rPr>
              <a:t>First, you unify access to and management of </a:t>
            </a:r>
            <a:r>
              <a:rPr lang="en-US" b="1">
                <a:effectLst/>
                <a:latin typeface="Helvetica Neue" panose="02000503000000020004" pitchFamily="2" charset="0"/>
              </a:rPr>
              <a:t>all </a:t>
            </a:r>
            <a:r>
              <a:rPr lang="en-US">
                <a:effectLst/>
                <a:latin typeface="Helvetica Neue" panose="02000503000000020004" pitchFamily="2" charset="0"/>
              </a:rPr>
              <a:t>your unstructured and structured data across your data landscape with an open, hybrid data lakehouse (IBM watsonx.data).</a:t>
            </a:r>
            <a:br>
              <a:rPr lang="en-US">
                <a:effectLst/>
                <a:latin typeface="Helvetica Neue" panose="02000503000000020004" pitchFamily="2" charset="0"/>
              </a:rPr>
            </a:br>
            <a:endParaRPr lang="en-US">
              <a:effectLst/>
              <a:latin typeface="Helvetica Neue" panose="02000503000000020004" pitchFamily="2" charset="0"/>
            </a:endParaRPr>
          </a:p>
          <a:p>
            <a:r>
              <a:rPr lang="en-US">
                <a:effectLst/>
                <a:latin typeface="Helvetica Neue" panose="02000503000000020004" pitchFamily="2" charset="0"/>
              </a:rPr>
              <a:t>Then you clean and organize information with automated data enrichment, adding business context to make sense of that data. You can create centralized metrics that are grounded in your business, and publish to an open, headless catalog, so your CFO, Sales Director, and Plant Manager all see the same numbers with the same meaning.</a:t>
            </a:r>
            <a:br>
              <a:rPr lang="en-US">
                <a:effectLst/>
                <a:latin typeface="Helvetica Neue" panose="02000503000000020004" pitchFamily="2" charset="0"/>
              </a:rPr>
            </a:br>
            <a:endParaRPr lang="en-US">
              <a:effectLst/>
              <a:latin typeface="Helvetica Neue" panose="02000503000000020004" pitchFamily="2" charset="0"/>
            </a:endParaRPr>
          </a:p>
          <a:p>
            <a:r>
              <a:rPr lang="en-US">
                <a:effectLst/>
                <a:latin typeface="Helvetica Neue" panose="02000503000000020004" pitchFamily="2" charset="0"/>
              </a:rPr>
              <a:t>You can then query this data in natural language with an Analytics Agent (Ripasso). For example, if you ask “are there any seasonal trends in revenue for all regions based on the month?” the agent can reveal the answer, provide visualization recommendations, </a:t>
            </a:r>
            <a:r>
              <a:rPr lang="en-US" b="1">
                <a:effectLst/>
                <a:latin typeface="Helvetica Neue" panose="02000503000000020004" pitchFamily="2" charset="0"/>
              </a:rPr>
              <a:t>and</a:t>
            </a:r>
            <a:r>
              <a:rPr lang="en-US">
                <a:effectLst/>
                <a:latin typeface="Helvetica Neue" panose="02000503000000020004" pitchFamily="2" charset="0"/>
              </a:rPr>
              <a:t> suggest follow-up questions to help you act on that insight.</a:t>
            </a:r>
            <a:br>
              <a:rPr lang="en-US">
                <a:effectLst/>
                <a:latin typeface="Helvetica Neue" panose="02000503000000020004" pitchFamily="2" charset="0"/>
              </a:rPr>
            </a:br>
            <a:endParaRPr lang="en-US">
              <a:effectLst/>
              <a:latin typeface="Helvetica Neue" panose="02000503000000020004" pitchFamily="2" charset="0"/>
            </a:endParaRPr>
          </a:p>
          <a:p>
            <a:r>
              <a:rPr lang="en-US">
                <a:effectLst/>
                <a:latin typeface="Helvetica Neue" panose="02000503000000020004" pitchFamily="2" charset="0"/>
              </a:rPr>
              <a:t>The end result? Immediate, context-rich answers based on </a:t>
            </a:r>
            <a:r>
              <a:rPr lang="en-US" b="1">
                <a:effectLst/>
                <a:latin typeface="Helvetica Neue" panose="02000503000000020004" pitchFamily="2" charset="0"/>
              </a:rPr>
              <a:t>your</a:t>
            </a:r>
            <a:r>
              <a:rPr lang="en-US">
                <a:effectLst/>
                <a:latin typeface="Helvetica Neue" panose="02000503000000020004" pitchFamily="2" charset="0"/>
              </a:rPr>
              <a:t> business relevant data. That means quicker answers and data-driven decisions for your organization.</a:t>
            </a:r>
          </a:p>
          <a:p>
            <a:endParaRPr lang="en-US">
              <a:latin typeface="IBM Plex Sans Light"/>
              <a:ea typeface="Calibri"/>
              <a:cs typeface="Calibri"/>
            </a:endParaRPr>
          </a:p>
        </p:txBody>
      </p:sp>
      <p:sp>
        <p:nvSpPr>
          <p:cNvPr id="4" name="Slide Number Placeholder 3">
            <a:extLst>
              <a:ext uri="{FF2B5EF4-FFF2-40B4-BE49-F238E27FC236}">
                <a16:creationId xmlns:a16="http://schemas.microsoft.com/office/drawing/2014/main" id="{1EDBE6E9-47D5-C1E1-3188-E95E4B45E6F3}"/>
              </a:ext>
            </a:extLst>
          </p:cNvPr>
          <p:cNvSpPr>
            <a:spLocks noGrp="1"/>
          </p:cNvSpPr>
          <p:nvPr>
            <p:ph type="sldNum" sz="quarter" idx="5"/>
          </p:nvPr>
        </p:nvSpPr>
        <p:spPr/>
        <p:txBody>
          <a:bodyPr/>
          <a:lstStyle/>
          <a:p>
            <a:fld id="{6E2E38B8-B0B4-AD41-AC6E-B781F46A9FD3}" type="slidenum">
              <a:rPr lang="en-US" smtClean="0"/>
              <a:pPr/>
              <a:t>14</a:t>
            </a:fld>
            <a:endParaRPr lang="en-US"/>
          </a:p>
        </p:txBody>
      </p:sp>
      <p:sp>
        <p:nvSpPr>
          <p:cNvPr id="5" name="Footer Placeholder 4">
            <a:extLst>
              <a:ext uri="{FF2B5EF4-FFF2-40B4-BE49-F238E27FC236}">
                <a16:creationId xmlns:a16="http://schemas.microsoft.com/office/drawing/2014/main" id="{78FEB7B5-005E-98CB-1EAB-E36C154E00C7}"/>
              </a:ext>
            </a:extLst>
          </p:cNvPr>
          <p:cNvSpPr>
            <a:spLocks noGrp="1"/>
          </p:cNvSpPr>
          <p:nvPr>
            <p:ph type="ftr" sz="quarter" idx="4"/>
          </p:nvPr>
        </p:nvSpPr>
        <p:spPr/>
        <p:txBody>
          <a:bodyPr/>
          <a:lstStyle/>
          <a:p>
            <a:r>
              <a:rPr lang="en-US"/>
              <a:t>Footer</a:t>
            </a:r>
          </a:p>
        </p:txBody>
      </p:sp>
    </p:spTree>
    <p:extLst>
      <p:ext uri="{BB962C8B-B14F-4D97-AF65-F5344CB8AC3E}">
        <p14:creationId xmlns:p14="http://schemas.microsoft.com/office/powerpoint/2010/main" val="4041825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228600"/>
            <a:ext cx="6419850" cy="3611563"/>
          </a:xfrm>
        </p:spPr>
      </p:sp>
      <p:sp>
        <p:nvSpPr>
          <p:cNvPr id="3" name="Notes Placeholder 2"/>
          <p:cNvSpPr>
            <a:spLocks noGrp="1"/>
          </p:cNvSpPr>
          <p:nvPr>
            <p:ph type="body" idx="1"/>
          </p:nvPr>
        </p:nvSpPr>
        <p:spPr/>
        <p:txBody>
          <a:bodyPr/>
          <a:lstStyle/>
          <a:p>
            <a:pPr fontAlgn="base"/>
            <a:r>
              <a:rPr lang="en-US" b="0" i="0" u="none" strike="noStrike">
                <a:solidFill>
                  <a:srgbClr val="000000"/>
                </a:solidFill>
                <a:effectLst/>
                <a:latin typeface="IBM Plex Sans Light"/>
              </a:rPr>
              <a:t>​I’ll close by inviting you to learn more at the IBM booth </a:t>
            </a:r>
            <a:r>
              <a:rPr lang="en-US">
                <a:solidFill>
                  <a:srgbClr val="000000"/>
                </a:solidFill>
                <a:latin typeface="IBM Plex Sans Light"/>
              </a:rPr>
              <a:t>#2, where</a:t>
            </a:r>
            <a:r>
              <a:rPr lang="en-US" b="0" i="0" u="none" strike="noStrike">
                <a:solidFill>
                  <a:srgbClr val="000000"/>
                </a:solidFill>
                <a:effectLst/>
                <a:latin typeface="IBM Plex Sans Light"/>
              </a:rPr>
              <a:t> you can see demonstrations of the </a:t>
            </a:r>
            <a:r>
              <a:rPr lang="en-US" b="0" i="0" u="none" strike="noStrike" err="1">
                <a:solidFill>
                  <a:srgbClr val="000000"/>
                </a:solidFill>
                <a:effectLst/>
                <a:latin typeface="IBM Plex Sans Light"/>
              </a:rPr>
              <a:t>watsonx</a:t>
            </a:r>
            <a:r>
              <a:rPr lang="en-US" b="0" i="0" u="none" strike="noStrike">
                <a:solidFill>
                  <a:srgbClr val="000000"/>
                </a:solidFill>
                <a:effectLst/>
                <a:latin typeface="IBM Plex Sans Light"/>
              </a:rPr>
              <a:t> platform, data solutions, and talk to our product experts​.</a:t>
            </a:r>
            <a:r>
              <a:rPr lang="en-US" b="0" i="0" u="none" strike="noStrike">
                <a:solidFill>
                  <a:srgbClr val="000000"/>
                </a:solidFill>
                <a:effectLst/>
                <a:latin typeface="Arial"/>
                <a:cs typeface="Arial"/>
              </a:rPr>
              <a:t> </a:t>
            </a:r>
            <a:r>
              <a:rPr lang="en-US" b="0" i="0" u="none" strike="noStrike">
                <a:solidFill>
                  <a:srgbClr val="000000"/>
                </a:solidFill>
                <a:effectLst/>
                <a:latin typeface="IBM Plex Sans Light"/>
              </a:rPr>
              <a:t>Thank you.</a:t>
            </a:r>
          </a:p>
          <a:p>
            <a:endParaRPr lang="en-US"/>
          </a:p>
        </p:txBody>
      </p:sp>
      <p:sp>
        <p:nvSpPr>
          <p:cNvPr id="4" name="Slide Number Placeholder 3"/>
          <p:cNvSpPr>
            <a:spLocks noGrp="1"/>
          </p:cNvSpPr>
          <p:nvPr>
            <p:ph type="sldNum" sz="quarter" idx="5"/>
          </p:nvPr>
        </p:nvSpPr>
        <p:spPr/>
        <p:txBody>
          <a:bodyPr/>
          <a:lstStyle/>
          <a:p>
            <a:fld id="{18D02FFD-07D4-5C4F-BD77-921008177348}" type="slidenum">
              <a:rPr lang="en-US" smtClean="0"/>
              <a:t>15</a:t>
            </a:fld>
            <a:endParaRPr lang="en-US"/>
          </a:p>
        </p:txBody>
      </p:sp>
    </p:spTree>
    <p:extLst>
      <p:ext uri="{BB962C8B-B14F-4D97-AF65-F5344CB8AC3E}">
        <p14:creationId xmlns:p14="http://schemas.microsoft.com/office/powerpoint/2010/main" val="23503379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DE4AF7-306D-0086-7A9B-C9136E93360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8ECEB9-8722-35AD-07F4-D118B9F35F0F}"/>
              </a:ext>
            </a:extLst>
          </p:cNvPr>
          <p:cNvSpPr>
            <a:spLocks noGrp="1" noRot="1" noChangeAspect="1"/>
          </p:cNvSpPr>
          <p:nvPr>
            <p:ph type="sldImg"/>
          </p:nvPr>
        </p:nvSpPr>
        <p:spPr>
          <a:xfrm>
            <a:off x="206375" y="228600"/>
            <a:ext cx="6419850" cy="3611563"/>
          </a:xfrm>
        </p:spPr>
      </p:sp>
      <p:sp>
        <p:nvSpPr>
          <p:cNvPr id="3" name="Notes Placeholder 2">
            <a:extLst>
              <a:ext uri="{FF2B5EF4-FFF2-40B4-BE49-F238E27FC236}">
                <a16:creationId xmlns:a16="http://schemas.microsoft.com/office/drawing/2014/main" id="{6AEDF6E5-B8BA-D05A-E54F-081CE6B27984}"/>
              </a:ext>
            </a:extLst>
          </p:cNvPr>
          <p:cNvSpPr>
            <a:spLocks noGrp="1"/>
          </p:cNvSpPr>
          <p:nvPr>
            <p:ph type="body" idx="1"/>
          </p:nvPr>
        </p:nvSpPr>
        <p:spPr/>
        <p:txBody>
          <a:bodyPr/>
          <a:lstStyle/>
          <a:p>
            <a:pPr marL="285750" indent="-285750">
              <a:buFont typeface="Calibri"/>
              <a:buChar char="-"/>
            </a:pPr>
            <a:r>
              <a:rPr lang="en-US">
                <a:solidFill>
                  <a:srgbClr val="323130"/>
                </a:solidFill>
                <a:latin typeface="IBM Plex Sans Light"/>
              </a:rPr>
              <a:t>We're all familiar with the historical challenges of the enterprise data landscape...  exploding data volumes, proliferating silos – a friend of mine once said, you can't solve a data silos problem by creating a new one in the cloud – more variety of data AND lower quality.</a:t>
            </a:r>
            <a:endParaRPr lang="en-US">
              <a:solidFill>
                <a:srgbClr val="000000"/>
              </a:solidFill>
              <a:latin typeface="Aptos" panose="02110004020202020204"/>
            </a:endParaRPr>
          </a:p>
          <a:p>
            <a:endParaRPr lang="en-US">
              <a:solidFill>
                <a:srgbClr val="323130"/>
              </a:solidFill>
              <a:latin typeface="IBM Plex Sans Light"/>
            </a:endParaRPr>
          </a:p>
          <a:p>
            <a:pPr marL="285750" indent="-285750">
              <a:buFont typeface="Calibri"/>
              <a:buChar char="-"/>
            </a:pPr>
            <a:r>
              <a:rPr lang="en-US">
                <a:solidFill>
                  <a:srgbClr val="323130"/>
                </a:solidFill>
                <a:latin typeface="IBM Plex Sans Light"/>
              </a:rPr>
              <a:t>But there are some new, EMERGING challenges when managing unstructured data, and particularly when we bring unstructured data into the domain of AI and analytics, which until NOW has primarily focused on structured data.</a:t>
            </a:r>
            <a:endParaRPr lang="en-US">
              <a:solidFill>
                <a:srgbClr val="000000"/>
              </a:solidFill>
              <a:latin typeface="Aptos"/>
            </a:endParaRPr>
          </a:p>
          <a:p>
            <a:pPr marL="285750" indent="-285750">
              <a:buFont typeface="Calibri"/>
              <a:buChar char="-"/>
            </a:pPr>
            <a:endParaRPr lang="en-US">
              <a:solidFill>
                <a:srgbClr val="323130"/>
              </a:solidFill>
              <a:latin typeface="IBM Plex Sans Light"/>
            </a:endParaRPr>
          </a:p>
          <a:p>
            <a:pPr marL="285750" indent="-285750">
              <a:buFont typeface="Calibri"/>
              <a:buChar char="-"/>
            </a:pPr>
            <a:r>
              <a:rPr lang="en-US">
                <a:solidFill>
                  <a:srgbClr val="323130"/>
                </a:solidFill>
                <a:latin typeface="IBM Plex Sans Light"/>
              </a:rPr>
              <a:t>For starters, unstructured data – documents – are EVERYWHERE.  </a:t>
            </a:r>
            <a:endParaRPr lang="en-US">
              <a:solidFill>
                <a:srgbClr val="000000"/>
              </a:solidFill>
            </a:endParaRPr>
          </a:p>
          <a:p>
            <a:pPr marL="285750" indent="-285750">
              <a:buFont typeface="Arial"/>
              <a:buChar char="•"/>
            </a:pPr>
            <a:r>
              <a:rPr lang="en-US">
                <a:solidFill>
                  <a:srgbClr val="323130"/>
                </a:solidFill>
                <a:latin typeface="IBM Plex Sans Light"/>
              </a:rPr>
              <a:t>They're on your desktop, they're in multiple, disparate </a:t>
            </a:r>
            <a:r>
              <a:rPr lang="en-US" err="1">
                <a:solidFill>
                  <a:srgbClr val="323130"/>
                </a:solidFill>
                <a:latin typeface="IBM Plex Sans Light"/>
              </a:rPr>
              <a:t>FileSystems</a:t>
            </a:r>
            <a:r>
              <a:rPr lang="en-US">
                <a:solidFill>
                  <a:srgbClr val="323130"/>
                </a:solidFill>
                <a:latin typeface="IBM Plex Sans Light"/>
              </a:rPr>
              <a:t>, they're in productivity and workflow apps, and they can change constantly.</a:t>
            </a:r>
            <a:endParaRPr lang="en-US"/>
          </a:p>
          <a:p>
            <a:pPr marL="285750" indent="-285750">
              <a:buFont typeface="Arial"/>
              <a:buChar char="•"/>
            </a:pPr>
            <a:r>
              <a:rPr lang="en-US">
                <a:solidFill>
                  <a:srgbClr val="323130"/>
                </a:solidFill>
                <a:latin typeface="IBM Plex Sans Light"/>
              </a:rPr>
              <a:t>They're managed by different people, different parts of the organization, all with </a:t>
            </a:r>
            <a:r>
              <a:rPr lang="en-US" err="1">
                <a:solidFill>
                  <a:srgbClr val="323130"/>
                </a:solidFill>
                <a:latin typeface="IBM Plex Sans Light"/>
              </a:rPr>
              <a:t>diferring</a:t>
            </a:r>
            <a:r>
              <a:rPr lang="en-US">
                <a:solidFill>
                  <a:srgbClr val="323130"/>
                </a:solidFill>
                <a:latin typeface="IBM Plex Sans Light"/>
              </a:rPr>
              <a:t> opinions of who should have access and how they can and should be used</a:t>
            </a:r>
          </a:p>
          <a:p>
            <a:pPr marL="285750" indent="-285750">
              <a:buFont typeface="Arial"/>
              <a:buChar char="•"/>
            </a:pPr>
            <a:r>
              <a:rPr lang="en-US">
                <a:solidFill>
                  <a:srgbClr val="323130"/>
                </a:solidFill>
                <a:latin typeface="IBM Plex Sans Light"/>
              </a:rPr>
              <a:t>There is a near infinite variety of content which makes it hard to classify and process to extract entities and values</a:t>
            </a:r>
          </a:p>
          <a:p>
            <a:pPr marL="285750" indent="-285750">
              <a:buFont typeface="Arial"/>
              <a:buChar char="•"/>
            </a:pPr>
            <a:r>
              <a:rPr lang="en-US">
                <a:solidFill>
                  <a:srgbClr val="323130"/>
                </a:solidFill>
                <a:latin typeface="IBM Plex Sans Light"/>
              </a:rPr>
              <a:t>And </a:t>
            </a:r>
            <a:r>
              <a:rPr lang="en-US" err="1">
                <a:solidFill>
                  <a:srgbClr val="323130"/>
                </a:solidFill>
                <a:latin typeface="IBM Plex Sans Light"/>
              </a:rPr>
              <a:t>its</a:t>
            </a:r>
            <a:r>
              <a:rPr lang="en-US">
                <a:solidFill>
                  <a:srgbClr val="323130"/>
                </a:solidFill>
                <a:latin typeface="IBM Plex Sans Light"/>
              </a:rPr>
              <a:t> incredibly dynamic, changing with every version and difficult to establish lineage</a:t>
            </a:r>
          </a:p>
          <a:p>
            <a:endParaRPr lang="en-US">
              <a:solidFill>
                <a:srgbClr val="323130"/>
              </a:solidFill>
              <a:latin typeface="IBM Plex Sans Light"/>
            </a:endParaRPr>
          </a:p>
          <a:p>
            <a:r>
              <a:rPr lang="en-US">
                <a:solidFill>
                  <a:srgbClr val="323130"/>
                </a:solidFill>
                <a:latin typeface="IBM Plex Sans Light"/>
              </a:rPr>
              <a:t>Let me give you a concrete example:  </a:t>
            </a:r>
            <a:endParaRPr lang="en-US">
              <a:solidFill>
                <a:srgbClr val="000000"/>
              </a:solidFill>
              <a:latin typeface="IBM Plex Sans Light"/>
            </a:endParaRPr>
          </a:p>
          <a:p>
            <a:r>
              <a:rPr lang="en-US">
                <a:solidFill>
                  <a:srgbClr val="323130"/>
                </a:solidFill>
                <a:latin typeface="IBM Plex Sans Light"/>
              </a:rPr>
              <a:t>When working with documents, user authorization and data classification is done at the document and folder level – let's call that coarse-grained user authorization policies, which is different than the fine-grained access controls and data protection policies that we typically us for structured data, to filter or mask only the sensitive content from certain users in order to maximize the utility of the rest of the data for analytics and AI.</a:t>
            </a:r>
            <a:endParaRPr lang="en-US" sz="2400" b="0" i="0">
              <a:solidFill>
                <a:srgbClr val="374151"/>
              </a:solidFill>
              <a:effectLst/>
              <a:latin typeface="+mn-lt"/>
              <a:ea typeface="Times New Roman" panose="02020603050405020304" pitchFamily="18" charset="0"/>
            </a:endParaRPr>
          </a:p>
        </p:txBody>
      </p:sp>
      <p:sp>
        <p:nvSpPr>
          <p:cNvPr id="4" name="Slide Number Placeholder 3">
            <a:extLst>
              <a:ext uri="{FF2B5EF4-FFF2-40B4-BE49-F238E27FC236}">
                <a16:creationId xmlns:a16="http://schemas.microsoft.com/office/drawing/2014/main" id="{FFDE33D3-5170-DE22-C940-046B1BB2ED5C}"/>
              </a:ext>
            </a:extLst>
          </p:cNvPr>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ea typeface="+mn-ea"/>
                <a:cs typeface="+mn-cs"/>
              </a:rPr>
              <a:pPr marL="0" marR="0" lvl="0" indent="0" algn="r" defTabSz="1829379" rtl="0" eaLnBrk="1" fontAlgn="auto" latinLnBrk="0" hangingPunct="1">
                <a:lnSpc>
                  <a:spcPct val="100000"/>
                </a:lnSpc>
                <a:spcBef>
                  <a:spcPts val="0"/>
                </a:spcBef>
                <a:spcAft>
                  <a:spcPts val="0"/>
                </a:spcAft>
                <a:buClrTx/>
                <a:buSzTx/>
                <a:buFontTx/>
                <a:buNone/>
                <a:tabLst/>
                <a:defRPr/>
              </a:pPr>
              <a:t>3</a:t>
            </a:fld>
            <a:endPar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endParaRPr>
          </a:p>
        </p:txBody>
      </p:sp>
      <p:sp>
        <p:nvSpPr>
          <p:cNvPr id="5" name="Footer Placeholder 4">
            <a:extLst>
              <a:ext uri="{FF2B5EF4-FFF2-40B4-BE49-F238E27FC236}">
                <a16:creationId xmlns:a16="http://schemas.microsoft.com/office/drawing/2014/main" id="{1EC19977-6449-0F51-69B5-55A656695A9D}"/>
              </a:ext>
            </a:extLst>
          </p:cNvPr>
          <p:cNvSpPr>
            <a:spLocks noGrp="1"/>
          </p:cNvSpPr>
          <p:nvPr>
            <p:ph type="ftr" sz="quarter" idx="4"/>
          </p:nvPr>
        </p:nvSpPr>
        <p:spPr/>
        <p: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a typeface="+mn-ea"/>
                <a:cs typeface="+mn-cs"/>
              </a:rPr>
              <a:t>Footer</a:t>
            </a:r>
          </a:p>
        </p:txBody>
      </p:sp>
    </p:spTree>
    <p:extLst>
      <p:ext uri="{BB962C8B-B14F-4D97-AF65-F5344CB8AC3E}">
        <p14:creationId xmlns:p14="http://schemas.microsoft.com/office/powerpoint/2010/main" val="25750009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318C67-3982-80C2-C974-86C1B863158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E299F9D-F257-EC2B-6830-B3D3CB92E1C9}"/>
              </a:ext>
            </a:extLst>
          </p:cNvPr>
          <p:cNvSpPr>
            <a:spLocks noGrp="1" noRot="1" noChangeAspect="1"/>
          </p:cNvSpPr>
          <p:nvPr>
            <p:ph type="sldImg"/>
          </p:nvPr>
        </p:nvSpPr>
        <p:spPr>
          <a:xfrm>
            <a:off x="206375" y="228600"/>
            <a:ext cx="6419850" cy="3611563"/>
          </a:xfrm>
        </p:spPr>
      </p:sp>
      <p:sp>
        <p:nvSpPr>
          <p:cNvPr id="3" name="Notes Placeholder 2">
            <a:extLst>
              <a:ext uri="{FF2B5EF4-FFF2-40B4-BE49-F238E27FC236}">
                <a16:creationId xmlns:a16="http://schemas.microsoft.com/office/drawing/2014/main" id="{EF427CFB-D33B-87E4-C6E5-435B99A0FFD4}"/>
              </a:ext>
            </a:extLst>
          </p:cNvPr>
          <p:cNvSpPr>
            <a:spLocks noGrp="1"/>
          </p:cNvSpPr>
          <p:nvPr>
            <p:ph type="body" idx="1"/>
          </p:nvPr>
        </p:nvSpPr>
        <p:spPr/>
        <p:txBody>
          <a:bodyPr/>
          <a:lstStyle/>
          <a:p>
            <a:r>
              <a:rPr lang="en-US" sz="2800" kern="0">
                <a:latin typeface="IBM Plex Sans Light" panose="020B0403050203000203" pitchFamily="34" charset="0"/>
              </a:rPr>
              <a:t>Traditional/simple RAG fails today due to:</a:t>
            </a:r>
          </a:p>
          <a:p>
            <a:pPr marL="571500" indent="-571500">
              <a:spcBef>
                <a:spcPts val="600"/>
              </a:spcBef>
              <a:buFontTx/>
              <a:buChar char="-"/>
            </a:pPr>
            <a:r>
              <a:rPr lang="en-US" sz="2800" kern="0">
                <a:latin typeface="IBM Plex Sans Light" panose="020B0403050203000203" pitchFamily="34" charset="0"/>
              </a:rPr>
              <a:t>Trial &amp; error manual optimizations of ingest and retrieval pipelines for chunking size, overlap, embedding model, top-K selection, etc.</a:t>
            </a:r>
          </a:p>
          <a:p>
            <a:pPr marL="571500" indent="-571500">
              <a:spcBef>
                <a:spcPts val="600"/>
              </a:spcBef>
              <a:buFontTx/>
              <a:buChar char="-"/>
            </a:pPr>
            <a:r>
              <a:rPr lang="en-US" sz="2800" kern="0">
                <a:latin typeface="IBM Plex Sans Light" panose="020B0403050203000203" pitchFamily="34" charset="0"/>
              </a:rPr>
              <a:t>Inconsistent accuracy, especially for unlabeled entities, positional context, computation, and non-explicit relationships</a:t>
            </a:r>
          </a:p>
          <a:p>
            <a:pPr marL="571500" indent="-571500">
              <a:spcBef>
                <a:spcPts val="600"/>
              </a:spcBef>
              <a:buFontTx/>
              <a:buChar char="-"/>
            </a:pPr>
            <a:r>
              <a:rPr lang="en-US" sz="2800" kern="0">
                <a:latin typeface="IBM Plex Sans Light" panose="020B0403050203000203" pitchFamily="34" charset="0"/>
              </a:rPr>
              <a:t>Lack of enterprise governance &amp; controls for user authorization, sensitive/confidential content</a:t>
            </a:r>
          </a:p>
          <a:p>
            <a:pPr marL="571500" indent="-571500">
              <a:spcBef>
                <a:spcPts val="600"/>
              </a:spcBef>
              <a:buFontTx/>
              <a:buChar char="-"/>
            </a:pPr>
            <a:r>
              <a:rPr lang="en-US" sz="2800" kern="0">
                <a:latin typeface="IBM Plex Sans Light" panose="020B0403050203000203" pitchFamily="34" charset="0"/>
              </a:rPr>
              <a:t>Simplicity and scale of ingest pipelines, connectivity, CDC</a:t>
            </a:r>
          </a:p>
          <a:p>
            <a:endParaRPr lang="en-US"/>
          </a:p>
        </p:txBody>
      </p:sp>
      <p:sp>
        <p:nvSpPr>
          <p:cNvPr id="4" name="Slide Number Placeholder 3">
            <a:extLst>
              <a:ext uri="{FF2B5EF4-FFF2-40B4-BE49-F238E27FC236}">
                <a16:creationId xmlns:a16="http://schemas.microsoft.com/office/drawing/2014/main" id="{DDC66E73-B1FF-B3D9-EBA3-9F80F7FAC9BF}"/>
              </a:ext>
            </a:extLst>
          </p:cNvPr>
          <p:cNvSpPr>
            <a:spLocks noGrp="1"/>
          </p:cNvSpPr>
          <p:nvPr>
            <p:ph type="sldNum" sz="quarter" idx="5"/>
          </p:nvPr>
        </p:nvSpPr>
        <p:spPr/>
        <p: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l" defTabSz="1829379" rtl="0" eaLnBrk="1" fontAlgn="auto" latinLnBrk="0" hangingPunct="1">
                <a:lnSpc>
                  <a:spcPct val="100000"/>
                </a:lnSpc>
                <a:spcBef>
                  <a:spcPts val="0"/>
                </a:spcBef>
                <a:spcAft>
                  <a:spcPts val="0"/>
                </a:spcAft>
                <a:buClrTx/>
                <a:buSzTx/>
                <a:buFontTx/>
                <a:buNone/>
                <a:tabLst/>
                <a:defRPr/>
              </a:pPr>
              <a:t>4</a:t>
            </a:fld>
            <a:endPar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ndParaRPr>
          </a:p>
        </p:txBody>
      </p:sp>
      <p:sp>
        <p:nvSpPr>
          <p:cNvPr id="5" name="Footer Placeholder 4">
            <a:extLst>
              <a:ext uri="{FF2B5EF4-FFF2-40B4-BE49-F238E27FC236}">
                <a16:creationId xmlns:a16="http://schemas.microsoft.com/office/drawing/2014/main" id="{FB386EEA-57AA-246B-FC09-1A8EF34CDB32}"/>
              </a:ext>
            </a:extLst>
          </p:cNvPr>
          <p:cNvSpPr>
            <a:spLocks noGrp="1"/>
          </p:cNvSpPr>
          <p:nvPr>
            <p:ph type="ftr" sz="quarter" idx="4"/>
          </p:nvPr>
        </p:nvSpPr>
        <p:spPr/>
        <p: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rPr>
              <a:t>Group Name / DOC ID / Month XX, 2022 / © 2022 IBM Corporation</a:t>
            </a:r>
          </a:p>
        </p:txBody>
      </p:sp>
    </p:spTree>
    <p:extLst>
      <p:ext uri="{BB962C8B-B14F-4D97-AF65-F5344CB8AC3E}">
        <p14:creationId xmlns:p14="http://schemas.microsoft.com/office/powerpoint/2010/main" val="26205816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99E2A4-7092-6E68-94D5-827FFAF0163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9CA8A80-4034-106A-BF89-AB4854936EF0}"/>
              </a:ext>
            </a:extLst>
          </p:cNvPr>
          <p:cNvSpPr>
            <a:spLocks noGrp="1" noRot="1" noChangeAspect="1"/>
          </p:cNvSpPr>
          <p:nvPr>
            <p:ph type="sldImg"/>
          </p:nvPr>
        </p:nvSpPr>
        <p:spPr>
          <a:xfrm>
            <a:off x="206375" y="228600"/>
            <a:ext cx="6419850" cy="3611563"/>
          </a:xfrm>
        </p:spPr>
      </p:sp>
      <p:sp>
        <p:nvSpPr>
          <p:cNvPr id="3" name="Notes Placeholder 2">
            <a:extLst>
              <a:ext uri="{FF2B5EF4-FFF2-40B4-BE49-F238E27FC236}">
                <a16:creationId xmlns:a16="http://schemas.microsoft.com/office/drawing/2014/main" id="{4BD837F2-809A-0A37-4D77-2CCB8E11717E}"/>
              </a:ext>
            </a:extLst>
          </p:cNvPr>
          <p:cNvSpPr>
            <a:spLocks noGrp="1"/>
          </p:cNvSpPr>
          <p:nvPr>
            <p:ph type="body" idx="1"/>
          </p:nvPr>
        </p:nvSpPr>
        <p:spPr/>
        <p:txBody>
          <a:bodyPr/>
          <a:lstStyle/>
          <a:p>
            <a:r>
              <a:rPr lang="en-US" b="0" i="0">
                <a:latin typeface="IBM Plex Sans Light"/>
              </a:rPr>
              <a:t>So, in this challenging and rapidly evolving landscape, how do we make MORE data MORE usable for AI</a:t>
            </a:r>
            <a:r>
              <a:rPr lang="en-US">
                <a:latin typeface="IBM Plex Sans Light"/>
              </a:rPr>
              <a:t>?</a:t>
            </a:r>
          </a:p>
          <a:p>
            <a:endParaRPr lang="en-US">
              <a:latin typeface="IBM Plex Sans Light"/>
            </a:endParaRPr>
          </a:p>
          <a:p>
            <a:r>
              <a:rPr lang="en-US">
                <a:latin typeface="IBM Plex Sans Light"/>
              </a:rPr>
              <a:t>And more specifically, how do we unlock the value of the vast amount of unstructured data to customize gen-AI to create enterprise value?</a:t>
            </a:r>
          </a:p>
          <a:p>
            <a:endParaRPr lang="en-US">
              <a:latin typeface="IBM Plex Sans Light"/>
            </a:endParaRPr>
          </a:p>
          <a:p>
            <a:r>
              <a:rPr lang="en-US">
                <a:latin typeface="IBM Plex Sans Light"/>
              </a:rPr>
              <a:t>We need a reimagined data strategy...  one that leverages gen-ai to process </a:t>
            </a:r>
            <a:r>
              <a:rPr lang="en-US" err="1">
                <a:latin typeface="IBM Plex Sans Light"/>
              </a:rPr>
              <a:t>unstrucutred</a:t>
            </a:r>
            <a:r>
              <a:rPr lang="en-US">
                <a:latin typeface="IBM Plex Sans Light"/>
              </a:rPr>
              <a:t> data and documents but brings together the maturity and surgical governance  </a:t>
            </a:r>
          </a:p>
          <a:p>
            <a:endParaRPr lang="en-US">
              <a:latin typeface="IBM Plex Sans Light"/>
            </a:endParaRPr>
          </a:p>
          <a:p>
            <a:r>
              <a:rPr lang="en-US">
                <a:latin typeface="IBM Plex Sans Light"/>
              </a:rPr>
              <a:t>To harness a broad information base for building AI models and AI-driven decision making, organizations must find ways to improve data trust and address growing data complexity while breaking down data silos.</a:t>
            </a:r>
          </a:p>
          <a:p>
            <a:endParaRPr lang="en-US">
              <a:latin typeface="IBM Plex Sans Light"/>
            </a:endParaRPr>
          </a:p>
          <a:p>
            <a:r>
              <a:rPr lang="en-US">
                <a:latin typeface="IBM Plex Sans Light"/>
              </a:rPr>
              <a:t>Overcoming these challenges, requires a scalable data strategy that works across all environments and data types (unstructured, semi-structured and structured) formats/</a:t>
            </a:r>
          </a:p>
          <a:p>
            <a:endParaRPr lang="en-US" b="0" i="0">
              <a:latin typeface="IBM Plex Sans"/>
            </a:endParaRPr>
          </a:p>
        </p:txBody>
      </p:sp>
      <p:sp>
        <p:nvSpPr>
          <p:cNvPr id="4" name="Slide Number Placeholder 3">
            <a:extLst>
              <a:ext uri="{FF2B5EF4-FFF2-40B4-BE49-F238E27FC236}">
                <a16:creationId xmlns:a16="http://schemas.microsoft.com/office/drawing/2014/main" id="{C16E3408-E919-1744-E9F5-4CE2899E1DFD}"/>
              </a:ext>
            </a:extLst>
          </p:cNvPr>
          <p:cNvSpPr>
            <a:spLocks noGrp="1"/>
          </p:cNvSpPr>
          <p:nvPr>
            <p:ph type="sldNum" sz="quarter" idx="5"/>
          </p:nvPr>
        </p:nvSpPr>
        <p:spPr/>
        <p:txBody>
          <a:bodyPr/>
          <a:lstStyle/>
          <a:p>
            <a:fld id="{6E2E38B8-B0B4-AD41-AC6E-B781F46A9FD3}" type="slidenum">
              <a:rPr lang="en-US" smtClean="0"/>
              <a:pPr/>
              <a:t>5</a:t>
            </a:fld>
            <a:endParaRPr lang="en-US"/>
          </a:p>
        </p:txBody>
      </p:sp>
      <p:sp>
        <p:nvSpPr>
          <p:cNvPr id="5" name="Footer Placeholder 4">
            <a:extLst>
              <a:ext uri="{FF2B5EF4-FFF2-40B4-BE49-F238E27FC236}">
                <a16:creationId xmlns:a16="http://schemas.microsoft.com/office/drawing/2014/main" id="{F986B0C3-A6FC-CDE4-6978-5FAB7F250910}"/>
              </a:ext>
            </a:extLst>
          </p:cNvPr>
          <p:cNvSpPr>
            <a:spLocks noGrp="1"/>
          </p:cNvSpPr>
          <p:nvPr>
            <p:ph type="ftr" sz="quarter" idx="4"/>
          </p:nvPr>
        </p:nvSpPr>
        <p:spPr/>
        <p:txBody>
          <a:bodyPr/>
          <a:lstStyle/>
          <a:p>
            <a:r>
              <a:rPr lang="en-US"/>
              <a:t>Footer</a:t>
            </a:r>
          </a:p>
        </p:txBody>
      </p:sp>
    </p:spTree>
    <p:extLst>
      <p:ext uri="{BB962C8B-B14F-4D97-AF65-F5344CB8AC3E}">
        <p14:creationId xmlns:p14="http://schemas.microsoft.com/office/powerpoint/2010/main" val="10773127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4E0A4E-D903-814E-A170-DF9280E04E0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4E2213E-3C47-BE67-F0B3-11F1FC044A0A}"/>
              </a:ext>
            </a:extLst>
          </p:cNvPr>
          <p:cNvSpPr>
            <a:spLocks noGrp="1" noRot="1" noChangeAspect="1"/>
          </p:cNvSpPr>
          <p:nvPr>
            <p:ph type="sldImg"/>
          </p:nvPr>
        </p:nvSpPr>
        <p:spPr>
          <a:xfrm>
            <a:off x="206375" y="228600"/>
            <a:ext cx="6419850" cy="3611563"/>
          </a:xfrm>
        </p:spPr>
      </p:sp>
      <p:sp>
        <p:nvSpPr>
          <p:cNvPr id="3" name="Notes Placeholder 2">
            <a:extLst>
              <a:ext uri="{FF2B5EF4-FFF2-40B4-BE49-F238E27FC236}">
                <a16:creationId xmlns:a16="http://schemas.microsoft.com/office/drawing/2014/main" id="{9FAC8EFB-360A-CF1A-6BE9-7A3E61C1D7C4}"/>
              </a:ext>
            </a:extLst>
          </p:cNvPr>
          <p:cNvSpPr>
            <a:spLocks noGrp="1"/>
          </p:cNvSpPr>
          <p:nvPr>
            <p:ph type="body" idx="1"/>
          </p:nvPr>
        </p:nvSpPr>
        <p:spPr/>
        <p:txBody>
          <a:bodyPr/>
          <a:lstStyle/>
          <a:p>
            <a:pPr algn="l"/>
            <a:r>
              <a:rPr lang="en-US" sz="1800" b="0" i="0" u="none" strike="noStrike">
                <a:solidFill>
                  <a:srgbClr val="000000"/>
                </a:solidFill>
                <a:effectLst/>
              </a:rPr>
              <a:t>Watsonx.data is helping companies scale their AI workloads with all their data, wherever it resides.</a:t>
            </a:r>
            <a:br>
              <a:rPr lang="en-US" sz="1800" b="0" i="0" u="none" strike="noStrike">
                <a:solidFill>
                  <a:srgbClr val="000000"/>
                </a:solidFill>
                <a:effectLst/>
              </a:rPr>
            </a:br>
            <a:br>
              <a:rPr lang="en-US" sz="1800" b="1" i="0" u="none" strike="noStrike">
                <a:solidFill>
                  <a:srgbClr val="000000"/>
                </a:solidFill>
                <a:effectLst/>
              </a:rPr>
            </a:br>
            <a:r>
              <a:rPr lang="en-US" sz="1800" b="1" i="0" u="none" strike="noStrike">
                <a:solidFill>
                  <a:srgbClr val="000000"/>
                </a:solidFill>
                <a:effectLst/>
              </a:rPr>
              <a:t>Lockheed Martin</a:t>
            </a:r>
            <a:endParaRPr lang="en-US" sz="1800" b="0" i="0" u="none" strike="noStrike">
              <a:solidFill>
                <a:srgbClr val="000000"/>
              </a:solidFill>
              <a:effectLst/>
            </a:endParaRPr>
          </a:p>
          <a:p>
            <a:pPr algn="l"/>
            <a:r>
              <a:rPr lang="en-US" sz="1800" b="0" i="0" u="none" strike="noStrike">
                <a:solidFill>
                  <a:srgbClr val="000000"/>
                </a:solidFill>
                <a:effectLst/>
              </a:rPr>
              <a:t>Improved response accuracy and contracted mission time prompts by 57%</a:t>
            </a:r>
          </a:p>
          <a:p>
            <a:pPr algn="l"/>
            <a:r>
              <a:rPr lang="en-US" sz="1800" b="0" i="0" u="none" strike="noStrike">
                <a:solidFill>
                  <a:srgbClr val="000000"/>
                </a:solidFill>
                <a:effectLst/>
                <a:hlinkClick r:id="rId3"/>
              </a:rPr>
              <a:t>https://www.linkedin.com/posts/stephangerali_ibm-watsonxdata-activity-7140795189937315840-lRLs/?utm_source=share&amp;utm_medium=member_desktop</a:t>
            </a:r>
            <a:br>
              <a:rPr lang="en-US" sz="1800" b="0" i="0" u="none" strike="noStrike">
                <a:solidFill>
                  <a:srgbClr val="000000"/>
                </a:solidFill>
                <a:effectLst/>
              </a:rPr>
            </a:br>
            <a:endParaRPr lang="en-US" sz="1800" b="0" i="0" u="none" strike="noStrike">
              <a:solidFill>
                <a:srgbClr val="000000"/>
              </a:solidFill>
              <a:effectLst/>
            </a:endParaRPr>
          </a:p>
          <a:p>
            <a:pPr algn="l"/>
            <a:r>
              <a:rPr lang="en-US" sz="1800" b="1" i="0" u="none" strike="noStrike" err="1">
                <a:solidFill>
                  <a:srgbClr val="000000"/>
                </a:solidFill>
                <a:effectLst/>
              </a:rPr>
              <a:t>Banfest</a:t>
            </a:r>
            <a:endParaRPr lang="en-US" sz="1800" b="0" i="0" u="none" strike="noStrike">
              <a:solidFill>
                <a:srgbClr val="000000"/>
              </a:solidFill>
              <a:effectLst/>
            </a:endParaRPr>
          </a:p>
          <a:p>
            <a:pPr algn="l"/>
            <a:r>
              <a:rPr lang="en-US" sz="1800" b="0" i="0" u="none" strike="noStrike" err="1">
                <a:solidFill>
                  <a:srgbClr val="000000"/>
                </a:solidFill>
                <a:effectLst/>
              </a:rPr>
              <a:t>BanFast</a:t>
            </a:r>
            <a:r>
              <a:rPr lang="en-US" sz="1800" b="0" i="0" u="none" strike="noStrike">
                <a:solidFill>
                  <a:srgbClr val="000000"/>
                </a:solidFill>
                <a:effectLst/>
              </a:rPr>
              <a:t> applied </a:t>
            </a:r>
            <a:r>
              <a:rPr lang="en-US" sz="1800" b="0" i="0" u="none" strike="noStrike" err="1">
                <a:solidFill>
                  <a:srgbClr val="000000"/>
                </a:solidFill>
                <a:effectLst/>
              </a:rPr>
              <a:t>Edsvärd</a:t>
            </a:r>
            <a:r>
              <a:rPr lang="en-US" sz="1800" b="0" i="0" u="none" strike="noStrike">
                <a:solidFill>
                  <a:srgbClr val="000000"/>
                </a:solidFill>
                <a:effectLst/>
              </a:rPr>
              <a:t> </a:t>
            </a:r>
            <a:r>
              <a:rPr lang="en-US" sz="1800" b="0" i="0" u="none" strike="noStrike" err="1">
                <a:solidFill>
                  <a:srgbClr val="000000"/>
                </a:solidFill>
                <a:effectLst/>
              </a:rPr>
              <a:t>Hållbarhet’s</a:t>
            </a:r>
            <a:r>
              <a:rPr lang="en-US" sz="1800" b="0" i="0" u="none" strike="noStrike">
                <a:solidFill>
                  <a:srgbClr val="000000"/>
                </a:solidFill>
                <a:effectLst/>
              </a:rPr>
              <a:t> solution with IBM watsonx.data to </a:t>
            </a:r>
            <a:r>
              <a:rPr lang="en-US" sz="1800" b="1" i="0" u="none" strike="noStrike">
                <a:solidFill>
                  <a:srgbClr val="000000"/>
                </a:solidFill>
                <a:effectLst/>
              </a:rPr>
              <a:t>reduce manual data input by 75% </a:t>
            </a:r>
            <a:r>
              <a:rPr lang="en-US" sz="1800" b="0" i="0" u="none" strike="noStrike">
                <a:solidFill>
                  <a:srgbClr val="000000"/>
                </a:solidFill>
                <a:effectLst/>
              </a:rPr>
              <a:t>and leveraged data to enhance the health and safety of construction workers in Sweden.</a:t>
            </a:r>
          </a:p>
          <a:p>
            <a:pPr algn="l"/>
            <a:r>
              <a:rPr lang="en-US" sz="1800" b="0" i="0" u="none" strike="noStrike">
                <a:solidFill>
                  <a:srgbClr val="000000"/>
                </a:solidFill>
                <a:effectLst/>
                <a:hlinkClick r:id="rId4"/>
              </a:rPr>
              <a:t>https://www.ibm.com/case-studies/edsvardhallbarhet</a:t>
            </a:r>
            <a:br>
              <a:rPr lang="en-US" sz="1800" b="0" i="0" u="none" strike="noStrike">
                <a:solidFill>
                  <a:srgbClr val="000000"/>
                </a:solidFill>
                <a:effectLst/>
              </a:rPr>
            </a:br>
            <a:endParaRPr lang="en-US" sz="1800" b="0" i="0" u="none" strike="noStrike">
              <a:solidFill>
                <a:srgbClr val="000000"/>
              </a:solidFill>
              <a:effectLst/>
            </a:endParaRPr>
          </a:p>
          <a:p>
            <a:pPr algn="l"/>
            <a:r>
              <a:rPr lang="en-US" sz="1800" b="1" i="0" u="none" strike="noStrike">
                <a:solidFill>
                  <a:srgbClr val="000000"/>
                </a:solidFill>
                <a:effectLst/>
              </a:rPr>
              <a:t>NatWest Group</a:t>
            </a:r>
          </a:p>
          <a:p>
            <a:pPr algn="l"/>
            <a:r>
              <a:rPr lang="en-US" sz="1800" b="0" i="0" u="none" strike="noStrike">
                <a:solidFill>
                  <a:srgbClr val="000000"/>
                </a:solidFill>
                <a:effectLst/>
              </a:rPr>
              <a:t>https://</a:t>
            </a:r>
            <a:r>
              <a:rPr lang="en-US" sz="1800" b="0" i="0" u="none" strike="noStrike" err="1">
                <a:solidFill>
                  <a:srgbClr val="000000"/>
                </a:solidFill>
                <a:effectLst/>
              </a:rPr>
              <a:t>www.ibm.com</a:t>
            </a:r>
            <a:r>
              <a:rPr lang="en-US" sz="1800" b="0" i="0" u="none" strike="noStrike">
                <a:solidFill>
                  <a:srgbClr val="000000"/>
                </a:solidFill>
                <a:effectLst/>
              </a:rPr>
              <a:t>/case-studies/</a:t>
            </a:r>
            <a:r>
              <a:rPr lang="en-US" sz="1800" b="0" i="0" u="none" strike="noStrike" err="1">
                <a:solidFill>
                  <a:srgbClr val="000000"/>
                </a:solidFill>
                <a:effectLst/>
              </a:rPr>
              <a:t>natwest</a:t>
            </a:r>
            <a:br>
              <a:rPr lang="en-US" sz="1800" b="0" i="0" u="none" strike="noStrike">
                <a:solidFill>
                  <a:srgbClr val="000000"/>
                </a:solidFill>
                <a:effectLst/>
              </a:rPr>
            </a:br>
            <a:r>
              <a:rPr lang="en-US" sz="1800" b="0" i="0" u="none" strike="noStrike">
                <a:solidFill>
                  <a:srgbClr val="000000"/>
                </a:solidFill>
                <a:effectLst/>
              </a:rPr>
              <a:t>https://</a:t>
            </a:r>
            <a:r>
              <a:rPr lang="en-US" sz="1800" b="0" i="0" u="none" strike="noStrike" err="1">
                <a:solidFill>
                  <a:srgbClr val="000000"/>
                </a:solidFill>
                <a:effectLst/>
              </a:rPr>
              <a:t>newsroom.ibm.com</a:t>
            </a:r>
            <a:r>
              <a:rPr lang="en-US" sz="1800" b="0" i="0" u="none" strike="noStrike">
                <a:solidFill>
                  <a:srgbClr val="000000"/>
                </a:solidFill>
                <a:effectLst/>
              </a:rPr>
              <a:t>/2023-11-06-NatWest-and-IBM-Collaborate-on-Generative-AI-Initiative-to-Enhance-Customer-Experience</a:t>
            </a:r>
          </a:p>
          <a:p>
            <a:pPr algn="l"/>
            <a:endParaRPr lang="en-US" sz="1800" b="1" i="0" u="none" strike="noStrike">
              <a:solidFill>
                <a:srgbClr val="000000"/>
              </a:solidFill>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2800" b="1">
                <a:effectLst/>
                <a:latin typeface="Helvetica Neue" panose="02000503000000020004" pitchFamily="2" charset="0"/>
              </a:rPr>
              <a:t>US Ope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a:solidFill>
                  <a:srgbClr val="000000"/>
                </a:solidFill>
                <a:effectLst/>
              </a:rPr>
              <a:t>https://</a:t>
            </a:r>
            <a:r>
              <a:rPr lang="en-US" sz="1800" b="0" i="0" u="none" strike="noStrike" err="1">
                <a:solidFill>
                  <a:srgbClr val="000000"/>
                </a:solidFill>
                <a:effectLst/>
              </a:rPr>
              <a:t>www.ibm.com</a:t>
            </a:r>
            <a:r>
              <a:rPr lang="en-US" sz="1800" b="0" i="0" u="none" strike="noStrike">
                <a:solidFill>
                  <a:srgbClr val="000000"/>
                </a:solidFill>
                <a:effectLst/>
              </a:rPr>
              <a:t>/case-studies/blog/us-open-heralds-new-era-of-fan-engagement-with-watsonx-and-generative-ai</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1" i="0" u="none" strike="noStrike">
              <a:solidFill>
                <a:srgbClr val="000000"/>
              </a:solidFill>
              <a:effectLst/>
            </a:endParaRPr>
          </a:p>
          <a:p>
            <a:pPr algn="l"/>
            <a:r>
              <a:rPr lang="en-US" sz="1800" b="1" i="0" u="none" strike="noStrike">
                <a:solidFill>
                  <a:srgbClr val="000000"/>
                </a:solidFill>
                <a:effectLst/>
              </a:rPr>
              <a:t>IBM Client Zero</a:t>
            </a:r>
          </a:p>
          <a:p>
            <a:pPr marL="171450" lvl="1" indent="-171450" defTabSz="1218956" hangingPunct="0">
              <a:lnSpc>
                <a:spcPct val="110000"/>
              </a:lnSpc>
              <a:buFont typeface="Arial" panose="020B0604020202020204" pitchFamily="34" charset="0"/>
              <a:buChar char="•"/>
              <a:defRPr sz="2400">
                <a:solidFill>
                  <a:srgbClr val="000000"/>
                </a:solidFill>
              </a:defRPr>
            </a:pPr>
            <a:r>
              <a:rPr kumimoji="0" lang="en-US" sz="1800" b="0" i="0" u="none" strike="noStrike" kern="0" cap="none" spc="0" normalizeH="0" baseline="0" noProof="0">
                <a:ln>
                  <a:noFill/>
                </a:ln>
                <a:solidFill>
                  <a:srgbClr val="161616"/>
                </a:solidFill>
                <a:effectLst/>
                <a:uLnTx/>
                <a:uFillTx/>
                <a:latin typeface="IBM Plex Sans Light"/>
                <a:sym typeface="IBM Plex Sans Light"/>
              </a:rPr>
              <a:t>Data was stored across disparate data sources including 7 different data lakes </a:t>
            </a:r>
            <a:r>
              <a:rPr lang="en-US" sz="1800" kern="0">
                <a:solidFill>
                  <a:srgbClr val="161616"/>
                </a:solidFill>
                <a:latin typeface="IBM Plex Sans Light"/>
                <a:sym typeface="IBM Plex Sans Light"/>
              </a:rPr>
              <a:t>built on various different technologies.</a:t>
            </a:r>
            <a:endParaRPr kumimoji="0" lang="en-US" sz="1800" b="0" i="0" u="none" strike="noStrike" kern="0" cap="none" spc="0" normalizeH="0" baseline="0" noProof="0">
              <a:ln>
                <a:noFill/>
              </a:ln>
              <a:solidFill>
                <a:srgbClr val="161616"/>
              </a:solidFill>
              <a:effectLst/>
              <a:uLnTx/>
              <a:uFillTx/>
              <a:latin typeface="IBM Plex Sans Light"/>
              <a:sym typeface="IBM Plex Sans Light"/>
            </a:endParaRPr>
          </a:p>
          <a:p>
            <a:pPr marL="171450" marR="0" lvl="1" indent="-171450" algn="l" defTabSz="1218956" rtl="0" eaLnBrk="1" fontAlgn="auto" latinLnBrk="0" hangingPunct="0">
              <a:lnSpc>
                <a:spcPct val="110000"/>
              </a:lnSpc>
              <a:spcBef>
                <a:spcPts val="0"/>
              </a:spcBef>
              <a:spcAft>
                <a:spcPts val="0"/>
              </a:spcAft>
              <a:buClrTx/>
              <a:buSzTx/>
              <a:buFont typeface="Arial" panose="020B0604020202020204" pitchFamily="34" charset="0"/>
              <a:buChar char="•"/>
              <a:tabLst/>
              <a:defRPr sz="2400">
                <a:solidFill>
                  <a:srgbClr val="000000"/>
                </a:solidFill>
              </a:defRPr>
            </a:pPr>
            <a:r>
              <a:rPr lang="en-US" sz="1800" kern="0">
                <a:solidFill>
                  <a:srgbClr val="161616"/>
                </a:solidFill>
                <a:latin typeface="IBM Plex Sans Light"/>
                <a:sym typeface="IBM Plex Sans Light"/>
              </a:rPr>
              <a:t>Poor data accessibility led to large amounts of data being stored but unutilized</a:t>
            </a:r>
            <a:endParaRPr kumimoji="0" lang="en-US" sz="1800" b="0" i="0" u="none" strike="noStrike" kern="0" cap="none" spc="0" normalizeH="0" baseline="0" noProof="0">
              <a:ln>
                <a:noFill/>
              </a:ln>
              <a:solidFill>
                <a:srgbClr val="161616"/>
              </a:solidFill>
              <a:effectLst/>
              <a:uLnTx/>
              <a:uFillTx/>
              <a:latin typeface="IBM Plex Sans Light"/>
              <a:sym typeface="IBM Plex Sans Light"/>
            </a:endParaRPr>
          </a:p>
          <a:p>
            <a:pPr marL="171450" marR="0" lvl="1" indent="-171450" algn="l" defTabSz="1218956" rtl="0" eaLnBrk="1" fontAlgn="auto" latinLnBrk="0" hangingPunct="0">
              <a:lnSpc>
                <a:spcPct val="110000"/>
              </a:lnSpc>
              <a:spcBef>
                <a:spcPts val="0"/>
              </a:spcBef>
              <a:spcAft>
                <a:spcPts val="0"/>
              </a:spcAft>
              <a:buClrTx/>
              <a:buSzTx/>
              <a:buFont typeface="Arial" panose="020B0604020202020204" pitchFamily="34" charset="0"/>
              <a:buChar char="•"/>
              <a:tabLst/>
              <a:defRPr sz="2400">
                <a:solidFill>
                  <a:srgbClr val="000000"/>
                </a:solidFill>
              </a:defRPr>
            </a:pPr>
            <a:r>
              <a:rPr kumimoji="0" lang="en-US" sz="1800" b="0" i="0" u="none" strike="noStrike" kern="0" cap="none" spc="0" normalizeH="0" baseline="0" noProof="0">
                <a:ln>
                  <a:noFill/>
                </a:ln>
                <a:solidFill>
                  <a:srgbClr val="161616"/>
                </a:solidFill>
                <a:effectLst/>
                <a:uLnTx/>
                <a:uFillTx/>
                <a:latin typeface="IBM Plex Sans Light"/>
                <a:sym typeface="IBM Plex Sans Light"/>
              </a:rPr>
              <a:t>Governance, access control, and processes were inconsistent across repositories</a:t>
            </a:r>
          </a:p>
          <a:p>
            <a:pPr marL="171450" lvl="1" indent="-171450" defTabSz="1218956" hangingPunct="0">
              <a:lnSpc>
                <a:spcPct val="110000"/>
              </a:lnSpc>
              <a:buFont typeface="Arial" panose="020B0604020202020204" pitchFamily="34" charset="0"/>
              <a:buChar char="•"/>
              <a:defRPr sz="2400">
                <a:solidFill>
                  <a:srgbClr val="000000"/>
                </a:solidFill>
              </a:defRPr>
            </a:pPr>
            <a:r>
              <a:rPr kumimoji="0" lang="en-US" sz="1800" b="0" i="0" u="none" strike="noStrike" kern="0" cap="none" spc="0" normalizeH="0" baseline="0" noProof="0">
                <a:ln>
                  <a:noFill/>
                </a:ln>
                <a:solidFill>
                  <a:srgbClr val="161616"/>
                </a:solidFill>
                <a:effectLst/>
                <a:uLnTx/>
                <a:uFillTx/>
                <a:latin typeface="IBM Plex Sans Light"/>
                <a:sym typeface="IBM Plex Sans Light"/>
              </a:rPr>
              <a:t>Data </a:t>
            </a:r>
            <a:r>
              <a:rPr lang="en-US" sz="1800" kern="0">
                <a:solidFill>
                  <a:srgbClr val="161616"/>
                </a:solidFill>
                <a:latin typeface="IBM Plex Sans Light"/>
                <a:sym typeface="IBM Plex Sans Light"/>
              </a:rPr>
              <a:t>&amp; ETL duplication</a:t>
            </a:r>
            <a:r>
              <a:rPr kumimoji="0" lang="en-US" sz="1800" b="0" i="0" u="none" strike="noStrike" kern="0" cap="none" spc="0" normalizeH="0" baseline="0" noProof="0">
                <a:ln>
                  <a:noFill/>
                </a:ln>
                <a:solidFill>
                  <a:srgbClr val="161616"/>
                </a:solidFill>
                <a:effectLst/>
                <a:uLnTx/>
                <a:uFillTx/>
                <a:latin typeface="IBM Plex Sans Light"/>
                <a:sym typeface="IBM Plex Sans Light"/>
              </a:rPr>
              <a:t> was prevalent leading to varying degrees of data quality</a:t>
            </a:r>
            <a:endParaRPr kumimoji="0" lang="en-US" sz="1400" b="0" i="0" u="none" strike="noStrike" kern="0" cap="none" spc="0" normalizeH="0" baseline="0" noProof="0">
              <a:ln>
                <a:noFill/>
              </a:ln>
              <a:solidFill>
                <a:srgbClr val="161616"/>
              </a:solidFill>
              <a:effectLst/>
              <a:uLnTx/>
              <a:uFillTx/>
              <a:latin typeface="IBM Plex Sans Light"/>
              <a:sym typeface="IBM Plex Sans Light"/>
            </a:endParaRPr>
          </a:p>
          <a:p>
            <a:pPr algn="l"/>
            <a:endParaRPr lang="en-US" sz="1800" b="1" i="0" u="none" strike="noStrike">
              <a:solidFill>
                <a:srgbClr val="000000"/>
              </a:solidFill>
              <a:effectLst/>
            </a:endParaRPr>
          </a:p>
          <a:p>
            <a:pPr marL="0" marR="0" lvl="1" indent="0" algn="l" defTabSz="1218956" rtl="0" eaLnBrk="1" fontAlgn="auto" latinLnBrk="0" hangingPunct="0">
              <a:lnSpc>
                <a:spcPct val="110000"/>
              </a:lnSpc>
              <a:spcBef>
                <a:spcPts val="0"/>
              </a:spcBef>
              <a:spcAft>
                <a:spcPts val="0"/>
              </a:spcAft>
              <a:buClrTx/>
              <a:buSzTx/>
              <a:buFontTx/>
              <a:buNone/>
              <a:tabLst/>
              <a:defRPr sz="2400">
                <a:solidFill>
                  <a:srgbClr val="000000"/>
                </a:solidFill>
              </a:defRPr>
            </a:pPr>
            <a:r>
              <a:rPr kumimoji="0" lang="en-US" sz="1800" b="0" i="0" u="none" strike="noStrike" kern="0" cap="none" spc="0" normalizeH="0" baseline="0" noProof="0">
                <a:ln>
                  <a:noFill/>
                </a:ln>
                <a:solidFill>
                  <a:srgbClr val="161616"/>
                </a:solidFill>
                <a:effectLst/>
                <a:uLnTx/>
                <a:uFillTx/>
                <a:latin typeface="IBM Plex Sans Light"/>
                <a:sym typeface="IBM Plex Sans Light"/>
              </a:rPr>
              <a:t>The IT Data Platform for</a:t>
            </a:r>
            <a:r>
              <a:rPr lang="en-US" sz="1800" kern="0">
                <a:solidFill>
                  <a:srgbClr val="161616"/>
                </a:solidFill>
                <a:latin typeface="IBM Plex Sans Light"/>
                <a:sym typeface="IBM Plex Sans Light"/>
              </a:rPr>
              <a:t> the CIO office</a:t>
            </a:r>
            <a:r>
              <a:rPr kumimoji="0" lang="en-US" sz="1800" b="0" i="0" u="none" strike="noStrike" kern="0" cap="none" spc="0" normalizeH="0" baseline="0" noProof="0">
                <a:ln>
                  <a:noFill/>
                </a:ln>
                <a:solidFill>
                  <a:srgbClr val="161616"/>
                </a:solidFill>
                <a:effectLst/>
                <a:uLnTx/>
                <a:uFillTx/>
                <a:latin typeface="IBM Plex Sans Light"/>
                <a:sym typeface="IBM Plex Sans Light"/>
              </a:rPr>
              <a:t>, powered by IBM watsonx.data, serves as the one-stop shop for all operational data and has allowed:</a:t>
            </a:r>
          </a:p>
          <a:p>
            <a:pPr marL="171450" lvl="1" indent="-171450" defTabSz="1218956" hangingPunct="0">
              <a:lnSpc>
                <a:spcPct val="110000"/>
              </a:lnSpc>
              <a:spcBef>
                <a:spcPts val="1200"/>
              </a:spcBef>
              <a:buFont typeface="Arial" panose="020B0604020202020204" pitchFamily="34" charset="0"/>
              <a:buChar char="•"/>
              <a:defRPr sz="2400">
                <a:solidFill>
                  <a:srgbClr val="000000"/>
                </a:solidFill>
              </a:defRPr>
            </a:pPr>
            <a:r>
              <a:rPr kumimoji="0" lang="en-US" sz="1800" b="0" i="0" u="none" strike="noStrike" kern="0" cap="none" spc="0" normalizeH="0" baseline="0" noProof="0">
                <a:ln>
                  <a:noFill/>
                </a:ln>
                <a:solidFill>
                  <a:srgbClr val="161616"/>
                </a:solidFill>
                <a:effectLst/>
                <a:uLnTx/>
                <a:uFillTx/>
                <a:latin typeface="IBM Plex Sans Light"/>
                <a:sym typeface="IBM Plex Sans Light"/>
              </a:rPr>
              <a:t>A single, unified view of all operational IT data across previously fragmented data sources</a:t>
            </a:r>
          </a:p>
          <a:p>
            <a:pPr marL="171450" marR="0" lvl="1" indent="-171450" algn="l" defTabSz="1218956" rtl="0" eaLnBrk="1" fontAlgn="auto" latinLnBrk="0" hangingPunct="0">
              <a:lnSpc>
                <a:spcPct val="110000"/>
              </a:lnSpc>
              <a:spcBef>
                <a:spcPts val="1200"/>
              </a:spcBef>
              <a:spcAft>
                <a:spcPts val="0"/>
              </a:spcAft>
              <a:buClrTx/>
              <a:buSzTx/>
              <a:buFont typeface="Arial" panose="020B0604020202020204" pitchFamily="34" charset="0"/>
              <a:buChar char="•"/>
              <a:tabLst/>
              <a:defRPr sz="2400">
                <a:solidFill>
                  <a:srgbClr val="000000"/>
                </a:solidFill>
              </a:defRPr>
            </a:pPr>
            <a:r>
              <a:rPr kumimoji="0" lang="en-US" sz="1800" b="0" i="0" u="none" strike="noStrike" kern="0" cap="none" spc="0" normalizeH="0" baseline="0" noProof="0">
                <a:ln>
                  <a:noFill/>
                </a:ln>
                <a:solidFill>
                  <a:srgbClr val="161616"/>
                </a:solidFill>
                <a:effectLst/>
                <a:uLnTx/>
                <a:uFillTx/>
                <a:latin typeface="IBM Plex Sans Light"/>
                <a:sym typeface="IBM Plex Sans Light"/>
              </a:rPr>
              <a:t>Simplified data access with embedded governance and access controls, providing the right data to the right users via self service access</a:t>
            </a:r>
          </a:p>
          <a:p>
            <a:pPr marL="171450" marR="0" lvl="1" indent="-171450" algn="l" defTabSz="1218956" rtl="0" eaLnBrk="1" fontAlgn="auto" latinLnBrk="0" hangingPunct="0">
              <a:lnSpc>
                <a:spcPct val="110000"/>
              </a:lnSpc>
              <a:spcBef>
                <a:spcPts val="1200"/>
              </a:spcBef>
              <a:spcAft>
                <a:spcPts val="0"/>
              </a:spcAft>
              <a:buClrTx/>
              <a:buSzTx/>
              <a:buFont typeface="Arial" panose="020B0604020202020204" pitchFamily="34" charset="0"/>
              <a:buChar char="•"/>
              <a:tabLst/>
              <a:defRPr sz="2400">
                <a:solidFill>
                  <a:srgbClr val="000000"/>
                </a:solidFill>
              </a:defRPr>
            </a:pPr>
            <a:r>
              <a:rPr kumimoji="0" lang="en-US" sz="1800" b="0" i="0" u="none" strike="noStrike" kern="0" cap="none" spc="0" normalizeH="0" baseline="0" noProof="0">
                <a:ln>
                  <a:noFill/>
                </a:ln>
                <a:solidFill>
                  <a:srgbClr val="161616"/>
                </a:solidFill>
                <a:effectLst/>
                <a:uLnTx/>
                <a:uFillTx/>
                <a:latin typeface="IBM Plex Sans Light"/>
                <a:sym typeface="IBM Plex Sans Light"/>
              </a:rPr>
              <a:t>Improved data processing with the automation of large data transformations utilizing the Spark query engine</a:t>
            </a:r>
            <a:endParaRPr lang="en-US" sz="1800" kern="0">
              <a:solidFill>
                <a:srgbClr val="161616"/>
              </a:solidFill>
              <a:latin typeface="IBM Plex Sans Light"/>
              <a:sym typeface="IBM Plex Sans Light"/>
            </a:endParaRPr>
          </a:p>
          <a:p>
            <a:pPr algn="l"/>
            <a:endParaRPr lang="en-US" sz="1800" b="1" i="0" u="none" strike="noStrike">
              <a:solidFill>
                <a:srgbClr val="000000"/>
              </a:solidFill>
              <a:effectLst/>
            </a:endParaRPr>
          </a:p>
          <a:p>
            <a:pPr algn="l"/>
            <a:endParaRPr lang="en-US" sz="1800" b="1" i="0" u="none" strike="noStrike">
              <a:solidFill>
                <a:srgbClr val="000000"/>
              </a:solidFill>
              <a:effectLst/>
            </a:endParaRPr>
          </a:p>
        </p:txBody>
      </p:sp>
      <p:sp>
        <p:nvSpPr>
          <p:cNvPr id="4" name="Slide Number Placeholder 3">
            <a:extLst>
              <a:ext uri="{FF2B5EF4-FFF2-40B4-BE49-F238E27FC236}">
                <a16:creationId xmlns:a16="http://schemas.microsoft.com/office/drawing/2014/main" id="{97F0439A-0F78-B7CB-F530-E3E944499F0D}"/>
              </a:ext>
            </a:extLst>
          </p:cNvPr>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6</a:t>
            </a:fld>
            <a:endPar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ndParaRPr>
          </a:p>
        </p:txBody>
      </p:sp>
      <p:sp>
        <p:nvSpPr>
          <p:cNvPr id="5" name="Footer Placeholder 4">
            <a:extLst>
              <a:ext uri="{FF2B5EF4-FFF2-40B4-BE49-F238E27FC236}">
                <a16:creationId xmlns:a16="http://schemas.microsoft.com/office/drawing/2014/main" id="{257C7AB3-BEAA-5F37-A2F0-394C8842BF31}"/>
              </a:ext>
            </a:extLst>
          </p:cNvPr>
          <p:cNvSpPr>
            <a:spLocks noGrp="1"/>
          </p:cNvSpPr>
          <p:nvPr>
            <p:ph type="ftr" sz="quarter" idx="4"/>
          </p:nvPr>
        </p:nvSpPr>
        <p:spPr/>
        <p: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rPr>
              <a:t>Footer</a:t>
            </a:r>
          </a:p>
        </p:txBody>
      </p:sp>
    </p:spTree>
    <p:extLst>
      <p:ext uri="{BB962C8B-B14F-4D97-AF65-F5344CB8AC3E}">
        <p14:creationId xmlns:p14="http://schemas.microsoft.com/office/powerpoint/2010/main" val="3993467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E2CFC2-3C63-B4AE-5620-2EC110DC552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60E9A9B-1F5A-686C-E50D-2A985D1F5D20}"/>
              </a:ext>
            </a:extLst>
          </p:cNvPr>
          <p:cNvSpPr>
            <a:spLocks noGrp="1" noRot="1" noChangeAspect="1"/>
          </p:cNvSpPr>
          <p:nvPr>
            <p:ph type="sldImg"/>
          </p:nvPr>
        </p:nvSpPr>
        <p:spPr>
          <a:xfrm>
            <a:off x="206375" y="228600"/>
            <a:ext cx="6419850" cy="3611563"/>
          </a:xfrm>
        </p:spPr>
      </p:sp>
      <p:sp>
        <p:nvSpPr>
          <p:cNvPr id="3" name="Notes Placeholder 2">
            <a:extLst>
              <a:ext uri="{FF2B5EF4-FFF2-40B4-BE49-F238E27FC236}">
                <a16:creationId xmlns:a16="http://schemas.microsoft.com/office/drawing/2014/main" id="{92219025-269E-387F-0EA3-095815D0AA42}"/>
              </a:ext>
            </a:extLst>
          </p:cNvPr>
          <p:cNvSpPr>
            <a:spLocks noGrp="1"/>
          </p:cNvSpPr>
          <p:nvPr>
            <p:ph type="body" idx="1"/>
          </p:nvPr>
        </p:nvSpPr>
        <p:spPr/>
        <p:txBody>
          <a:bodyPr/>
          <a:lstStyle/>
          <a:p>
            <a:r>
              <a:rPr lang="en-US">
                <a:solidFill>
                  <a:srgbClr val="000000"/>
                </a:solidFill>
              </a:rPr>
              <a:t>These design principles and also our key differentiators...</a:t>
            </a:r>
            <a:endParaRPr lang="en-US"/>
          </a:p>
          <a:p>
            <a:endParaRPr lang="en-US">
              <a:solidFill>
                <a:srgbClr val="000000"/>
              </a:solidFill>
            </a:endParaRPr>
          </a:p>
          <a:p>
            <a:pPr marL="285750" indent="-285750">
              <a:buFont typeface="Arial"/>
              <a:buChar char="•"/>
            </a:pPr>
            <a:r>
              <a:rPr lang="en-US">
                <a:solidFill>
                  <a:srgbClr val="000000"/>
                </a:solidFill>
              </a:rPr>
              <a:t>Your data platform should be </a:t>
            </a:r>
            <a:r>
              <a:rPr lang="en-US" b="1">
                <a:solidFill>
                  <a:srgbClr val="000000"/>
                </a:solidFill>
              </a:rPr>
              <a:t>open by design</a:t>
            </a:r>
            <a:r>
              <a:rPr lang="en-US">
                <a:solidFill>
                  <a:srgbClr val="000000"/>
                </a:solidFill>
              </a:rPr>
              <a:t> and embrace the fact that YOU own YOUR data, and are not locked-in to a specific vendor. </a:t>
            </a:r>
            <a:endParaRPr lang="en-US"/>
          </a:p>
          <a:p>
            <a:pPr marL="285750" indent="-285750">
              <a:buFont typeface="Arial"/>
              <a:buChar char="•"/>
            </a:pPr>
            <a:endParaRPr lang="en-US"/>
          </a:p>
          <a:p>
            <a:pPr marL="285750" indent="-285750">
              <a:buFont typeface="Arial"/>
              <a:buChar char="•"/>
            </a:pPr>
            <a:r>
              <a:rPr lang="en-US">
                <a:solidFill>
                  <a:srgbClr val="000000"/>
                </a:solidFill>
              </a:rPr>
              <a:t>It should embrace your </a:t>
            </a:r>
            <a:r>
              <a:rPr lang="en-US" b="1">
                <a:solidFill>
                  <a:srgbClr val="000000"/>
                </a:solidFill>
              </a:rPr>
              <a:t>hybrid, multi-cloud world</a:t>
            </a:r>
            <a:r>
              <a:rPr lang="en-US">
                <a:solidFill>
                  <a:srgbClr val="000000"/>
                </a:solidFill>
              </a:rPr>
              <a:t> and provide you workload portability, to easily shift, burst, and scale workloads between your on-premises and cloud environments.</a:t>
            </a:r>
            <a:endParaRPr lang="en-US"/>
          </a:p>
          <a:p>
            <a:pPr marL="285750" indent="-285750">
              <a:buFont typeface="Arial"/>
              <a:buChar char="•"/>
            </a:pPr>
            <a:endParaRPr lang="en-US">
              <a:solidFill>
                <a:srgbClr val="000000"/>
              </a:solidFill>
            </a:endParaRPr>
          </a:p>
          <a:p>
            <a:pPr marL="285750" indent="-285750">
              <a:buFont typeface="Arial"/>
              <a:buChar char="•"/>
            </a:pPr>
            <a:r>
              <a:rPr lang="en-US">
                <a:solidFill>
                  <a:srgbClr val="000000"/>
                </a:solidFill>
              </a:rPr>
              <a:t>It should deliver </a:t>
            </a:r>
            <a:r>
              <a:rPr lang="en-US" b="1">
                <a:solidFill>
                  <a:srgbClr val="000000"/>
                </a:solidFill>
              </a:rPr>
              <a:t>optimal price-performance</a:t>
            </a:r>
            <a:r>
              <a:rPr lang="en-US">
                <a:solidFill>
                  <a:srgbClr val="000000"/>
                </a:solidFill>
              </a:rPr>
              <a:t> – especially when moving from POC to production scale - with the right engine, for the right job, at the right price. </a:t>
            </a:r>
            <a:endParaRPr lang="en-US"/>
          </a:p>
          <a:p>
            <a:pPr marL="285750" indent="-285750">
              <a:buFont typeface="Arial"/>
              <a:buChar char="•"/>
            </a:pPr>
            <a:endParaRPr lang="en-US"/>
          </a:p>
          <a:p>
            <a:pPr marL="285750" indent="-285750">
              <a:buFont typeface="Arial"/>
              <a:buChar char="•"/>
            </a:pPr>
            <a:r>
              <a:rPr lang="en-US" b="1">
                <a:solidFill>
                  <a:srgbClr val="000000"/>
                </a:solidFill>
              </a:rPr>
              <a:t>Security and governance </a:t>
            </a:r>
            <a:r>
              <a:rPr lang="en-US">
                <a:solidFill>
                  <a:srgbClr val="000000"/>
                </a:solidFill>
              </a:rPr>
              <a:t>can't be an afterthought – they need to be built-in, and managed centrally but executed locally.</a:t>
            </a:r>
            <a:endParaRPr lang="en-US"/>
          </a:p>
          <a:p>
            <a:pPr marL="285750" indent="-285750">
              <a:buFont typeface="Arial"/>
              <a:buChar char="•"/>
            </a:pPr>
            <a:endParaRPr lang="en-US">
              <a:solidFill>
                <a:srgbClr val="000000"/>
              </a:solidFill>
            </a:endParaRPr>
          </a:p>
          <a:p>
            <a:pPr marL="285750" indent="-285750">
              <a:buFont typeface="Arial"/>
              <a:buChar char="•"/>
            </a:pPr>
            <a:r>
              <a:rPr lang="en-US">
                <a:solidFill>
                  <a:srgbClr val="000000"/>
                </a:solidFill>
              </a:rPr>
              <a:t>And finally, it needs to be </a:t>
            </a:r>
            <a:r>
              <a:rPr lang="en-US" b="1">
                <a:solidFill>
                  <a:srgbClr val="000000"/>
                </a:solidFill>
              </a:rPr>
              <a:t>flexible and adaptable</a:t>
            </a:r>
            <a:r>
              <a:rPr lang="en-US">
                <a:solidFill>
                  <a:srgbClr val="000000"/>
                </a:solidFill>
              </a:rPr>
              <a:t> to combine the often sensitive and highly curated structured data with all the NEW unstructured data in order to unlock that NEXT generation of AI insights and outcomes. </a:t>
            </a:r>
            <a:endParaRPr lang="en-US"/>
          </a:p>
          <a:p>
            <a:endParaRPr lang="en-US" i="1">
              <a:solidFill>
                <a:srgbClr val="000000"/>
              </a:solidFill>
            </a:endParaRPr>
          </a:p>
          <a:p>
            <a:r>
              <a:rPr lang="en-US" i="1">
                <a:solidFill>
                  <a:srgbClr val="000000"/>
                </a:solidFill>
              </a:rPr>
              <a:t>The starting point for a winning AI strategy is a solid data foundation, period.</a:t>
            </a:r>
            <a:endParaRPr lang="en-US"/>
          </a:p>
          <a:p>
            <a:pPr algn="l"/>
            <a:endParaRPr lang="en-US" sz="1800" b="0" i="0" u="none" strike="noStrike">
              <a:solidFill>
                <a:srgbClr val="000000"/>
              </a:solidFill>
              <a:effectLst/>
            </a:endParaRPr>
          </a:p>
        </p:txBody>
      </p:sp>
      <p:sp>
        <p:nvSpPr>
          <p:cNvPr id="4" name="Slide Number Placeholder 3">
            <a:extLst>
              <a:ext uri="{FF2B5EF4-FFF2-40B4-BE49-F238E27FC236}">
                <a16:creationId xmlns:a16="http://schemas.microsoft.com/office/drawing/2014/main" id="{ACDC09B0-56C7-06F6-A362-C7E4057BC788}"/>
              </a:ext>
            </a:extLst>
          </p:cNvPr>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7</a:t>
            </a:fld>
            <a:endPar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ndParaRPr>
          </a:p>
        </p:txBody>
      </p:sp>
      <p:sp>
        <p:nvSpPr>
          <p:cNvPr id="5" name="Footer Placeholder 4">
            <a:extLst>
              <a:ext uri="{FF2B5EF4-FFF2-40B4-BE49-F238E27FC236}">
                <a16:creationId xmlns:a16="http://schemas.microsoft.com/office/drawing/2014/main" id="{1F964CC0-011B-5E1F-C9CB-D602DA1D3B98}"/>
              </a:ext>
            </a:extLst>
          </p:cNvPr>
          <p:cNvSpPr>
            <a:spLocks noGrp="1"/>
          </p:cNvSpPr>
          <p:nvPr>
            <p:ph type="ftr" sz="quarter" idx="4"/>
          </p:nvPr>
        </p:nvSpPr>
        <p:spPr/>
        <p:txBody>
          <a:bodyPr/>
          <a:lstStyle/>
          <a:p>
            <a:pPr marL="0" marR="0" lvl="0" indent="0" algn="l" defTabSz="1829379"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rPr>
              <a:t>Footer</a:t>
            </a:r>
          </a:p>
        </p:txBody>
      </p:sp>
    </p:spTree>
    <p:extLst>
      <p:ext uri="{BB962C8B-B14F-4D97-AF65-F5344CB8AC3E}">
        <p14:creationId xmlns:p14="http://schemas.microsoft.com/office/powerpoint/2010/main" val="27225661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C91F3E-3D75-F0FB-1587-ABB36EC9132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3B4A1E9-4BBC-0758-4122-C0E27A042B88}"/>
              </a:ext>
            </a:extLst>
          </p:cNvPr>
          <p:cNvSpPr>
            <a:spLocks noGrp="1" noRot="1" noChangeAspect="1"/>
          </p:cNvSpPr>
          <p:nvPr>
            <p:ph type="sldImg"/>
          </p:nvPr>
        </p:nvSpPr>
        <p:spPr>
          <a:xfrm>
            <a:off x="206375" y="228600"/>
            <a:ext cx="6419850" cy="3611563"/>
          </a:xfrm>
        </p:spPr>
      </p:sp>
      <p:sp>
        <p:nvSpPr>
          <p:cNvPr id="3" name="Notes Placeholder 2">
            <a:extLst>
              <a:ext uri="{FF2B5EF4-FFF2-40B4-BE49-F238E27FC236}">
                <a16:creationId xmlns:a16="http://schemas.microsoft.com/office/drawing/2014/main" id="{70F19742-6371-CF30-F64D-80C8A157EE7E}"/>
              </a:ext>
            </a:extLst>
          </p:cNvPr>
          <p:cNvSpPr>
            <a:spLocks noGrp="1"/>
          </p:cNvSpPr>
          <p:nvPr>
            <p:ph type="body" idx="1"/>
          </p:nvPr>
        </p:nvSpPr>
        <p:spPr/>
        <p:txBody>
          <a:bodyPr/>
          <a:lstStyle/>
          <a:p>
            <a:pPr marL="0" marR="0" lvl="0" indent="0" algn="l" defTabSz="2438522" rtl="0" eaLnBrk="1" fontAlgn="auto" latinLnBrk="0" hangingPunct="1">
              <a:lnSpc>
                <a:spcPct val="110000"/>
              </a:lnSpc>
              <a:spcBef>
                <a:spcPts val="0"/>
              </a:spcBef>
              <a:spcAft>
                <a:spcPts val="0"/>
              </a:spcAft>
              <a:buClrTx/>
              <a:buSzTx/>
              <a:buFontTx/>
              <a:buNone/>
              <a:tabLst/>
              <a:defRPr/>
            </a:pPr>
            <a:r>
              <a:rPr lang="en-US" sz="1000" kern="100">
                <a:effectLst/>
                <a:latin typeface="+mn-lt"/>
                <a:ea typeface="Calibri" panose="020F0502020204030204" pitchFamily="34" charset="0"/>
                <a:cs typeface="Times New Roman" panose="02020603050405020304" pitchFamily="18" charset="0"/>
              </a:rPr>
              <a:t>One of the query engines included with </a:t>
            </a:r>
            <a:r>
              <a:rPr lang="en-US" sz="1000" kern="100">
                <a:latin typeface="+mn-lt"/>
                <a:ea typeface="Calibri" panose="020F0502020204030204" pitchFamily="34" charset="0"/>
                <a:cs typeface="Times New Roman" panose="02020603050405020304" pitchFamily="18" charset="0"/>
              </a:rPr>
              <a:t>w</a:t>
            </a:r>
            <a:r>
              <a:rPr lang="en-US" sz="1000">
                <a:latin typeface="+mn-lt"/>
              </a:rPr>
              <a:t>atsonx.data </a:t>
            </a:r>
            <a:r>
              <a:rPr lang="en-US" sz="1000" kern="100">
                <a:effectLst/>
                <a:latin typeface="+mn-lt"/>
                <a:ea typeface="Calibri" panose="020F0502020204030204" pitchFamily="34" charset="0"/>
                <a:cs typeface="Times New Roman" panose="02020603050405020304" pitchFamily="18" charset="0"/>
              </a:rPr>
              <a:t>is Presto, an open-source, distributed SQL query engine. For data engineers who struggle with managing multiple query languages and interfaces to siloed databases and storage, Presto is a fast and reliable engine that provides one simple ANSI SQL interface for all a client’s data analytics and open data needs.</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000" kern="100">
              <a:latin typeface="+mn-lt"/>
              <a:ea typeface="Calibri" panose="020F0502020204030204" pitchFamily="34" charset="0"/>
              <a:cs typeface="Times New Roman" panose="02020603050405020304" pitchFamily="18" charset="0"/>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sz="1000" kern="100">
                <a:effectLst/>
                <a:latin typeface="+mn-lt"/>
                <a:ea typeface="Calibri" panose="020F0502020204030204" pitchFamily="34" charset="0"/>
                <a:cs typeface="Times New Roman" panose="02020603050405020304" pitchFamily="18" charset="0"/>
              </a:rPr>
              <a:t>Many different Presto use cases can be found at the Presto website: </a:t>
            </a:r>
            <a:r>
              <a:rPr lang="en-US" sz="1000" kern="100">
                <a:effectLst/>
                <a:latin typeface="+mn-lt"/>
                <a:ea typeface="Calibri" panose="020F0502020204030204" pitchFamily="34" charset="0"/>
                <a:cs typeface="Times New Roman" panose="02020603050405020304" pitchFamily="18" charset="0"/>
                <a:hlinkClick r:id="rId3"/>
              </a:rPr>
              <a:t>https://prestodb.io/powered-by-presto.html</a:t>
            </a:r>
            <a:r>
              <a:rPr lang="en-US" sz="1000" kern="100">
                <a:effectLst/>
                <a:latin typeface="+mn-lt"/>
                <a:ea typeface="Calibri" panose="020F0502020204030204" pitchFamily="34" charset="0"/>
                <a:cs typeface="Times New Roman" panose="02020603050405020304" pitchFamily="18" charset="0"/>
              </a:rPr>
              <a:t>. </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000" kern="100">
              <a:latin typeface="+mn-lt"/>
              <a:ea typeface="Calibri" panose="020F0502020204030204" pitchFamily="34" charset="0"/>
              <a:cs typeface="Times New Roman" panose="02020603050405020304" pitchFamily="18" charset="0"/>
            </a:endParaRPr>
          </a:p>
          <a:p>
            <a:pPr marL="0" marR="0" lvl="0" indent="0" algn="l" defTabSz="2438522" rtl="0" eaLnBrk="1" fontAlgn="auto" latinLnBrk="0" hangingPunct="1">
              <a:lnSpc>
                <a:spcPct val="110000"/>
              </a:lnSpc>
              <a:spcBef>
                <a:spcPts val="0"/>
              </a:spcBef>
              <a:spcAft>
                <a:spcPts val="0"/>
              </a:spcAft>
              <a:buClrTx/>
              <a:buSzTx/>
              <a:buFontTx/>
              <a:buNone/>
              <a:tabLst/>
              <a:defRPr/>
            </a:pPr>
            <a:r>
              <a:rPr lang="en-US" sz="1000" kern="100">
                <a:latin typeface="+mn-lt"/>
                <a:ea typeface="Calibri" panose="020F0502020204030204" pitchFamily="34" charset="0"/>
                <a:cs typeface="Times New Roman" panose="02020603050405020304" pitchFamily="18" charset="0"/>
              </a:rPr>
              <a:t>This slide highlights of a few of the use cases:</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000" kern="100">
              <a:effectLst/>
              <a:latin typeface="+mn-lt"/>
              <a:ea typeface="Calibri" panose="020F0502020204030204" pitchFamily="34" charset="0"/>
              <a:cs typeface="Times New Roman" panose="02020603050405020304" pitchFamily="18" charset="0"/>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1" kern="100">
                <a:latin typeface="+mn-lt"/>
                <a:ea typeface="Calibri" panose="020F0502020204030204" pitchFamily="34" charset="0"/>
                <a:cs typeface="Times New Roman" panose="02020603050405020304" pitchFamily="18" charset="0"/>
              </a:rPr>
              <a:t>Adobe</a:t>
            </a:r>
            <a:r>
              <a:rPr lang="en-US" sz="1000" kern="100">
                <a:latin typeface="+mn-lt"/>
                <a:ea typeface="Calibri" panose="020F0502020204030204" pitchFamily="34" charset="0"/>
                <a:cs typeface="Times New Roman" panose="02020603050405020304" pitchFamily="18" charset="0"/>
              </a:rPr>
              <a:t> uses Presto for its advertising demand-side platform. </a:t>
            </a:r>
            <a:r>
              <a:rPr lang="en-CA" sz="1000" b="0" i="0">
                <a:effectLst/>
                <a:latin typeface="+mn-lt"/>
              </a:rPr>
              <a:t>Adobe Advertising uses Presto for ad hoc querying, custom </a:t>
            </a:r>
            <a:r>
              <a:rPr lang="en-CA" sz="1000">
                <a:latin typeface="+mn-lt"/>
              </a:rPr>
              <a:t>r</a:t>
            </a:r>
            <a:r>
              <a:rPr lang="en-CA" sz="1000" b="0" i="0">
                <a:effectLst/>
                <a:latin typeface="+mn-lt"/>
              </a:rPr>
              <a:t>eporting, and internal </a:t>
            </a:r>
            <a:r>
              <a:rPr lang="en-CA" sz="1000">
                <a:latin typeface="+mn-lt"/>
              </a:rPr>
              <a:t>p</a:t>
            </a:r>
            <a:r>
              <a:rPr lang="en-CA" sz="1000" b="0" i="0">
                <a:effectLst/>
                <a:latin typeface="+mn-lt"/>
              </a:rPr>
              <a:t>ipelines.</a:t>
            </a:r>
            <a:br>
              <a:rPr lang="en-US" sz="1000" kern="100">
                <a:latin typeface="+mn-lt"/>
                <a:ea typeface="Calibri" panose="020F0502020204030204" pitchFamily="34" charset="0"/>
                <a:cs typeface="Times New Roman" panose="02020603050405020304" pitchFamily="18" charset="0"/>
              </a:rPr>
            </a:br>
            <a:endParaRPr lang="en-US" sz="1000" kern="100">
              <a:latin typeface="+mn-lt"/>
              <a:ea typeface="Calibri" panose="020F0502020204030204" pitchFamily="34" charset="0"/>
              <a:cs typeface="Times New Roman" panose="02020603050405020304" pitchFamily="18" charset="0"/>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CA" sz="1000" b="1" i="0">
                <a:solidFill>
                  <a:srgbClr val="212529"/>
                </a:solidFill>
                <a:effectLst/>
                <a:latin typeface="+mn-lt"/>
              </a:rPr>
              <a:t>Uber</a:t>
            </a:r>
            <a:r>
              <a:rPr lang="en-CA" sz="1000" i="0">
                <a:solidFill>
                  <a:srgbClr val="212529"/>
                </a:solidFill>
                <a:effectLst/>
                <a:latin typeface="+mn-lt"/>
              </a:rPr>
              <a:t> uses Presto for their data lakehouse where over </a:t>
            </a:r>
            <a:r>
              <a:rPr lang="en-CA">
                <a:solidFill>
                  <a:srgbClr val="212529"/>
                </a:solidFill>
                <a:latin typeface="+mn-lt"/>
              </a:rPr>
              <a:t>7,000 </a:t>
            </a:r>
            <a:r>
              <a:rPr lang="en-CA" sz="1000" i="0">
                <a:solidFill>
                  <a:srgbClr val="212529"/>
                </a:solidFill>
                <a:effectLst/>
                <a:latin typeface="+mn-lt"/>
              </a:rPr>
              <a:t>weekly active users run 500,000 queries/day on 59 petabytes (PBs) of data residing in Hadoop Distributed File System (HDFS).</a:t>
            </a: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CA" sz="1000" kern="100">
              <a:solidFill>
                <a:srgbClr val="212529"/>
              </a:solidFill>
              <a:latin typeface="+mn-lt"/>
              <a:ea typeface="Calibri" panose="020F0502020204030204" pitchFamily="34" charset="0"/>
              <a:cs typeface="Times New Roman" panose="02020603050405020304" pitchFamily="18" charset="0"/>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CA" sz="1000" b="1" kern="100">
                <a:solidFill>
                  <a:srgbClr val="212529"/>
                </a:solidFill>
                <a:latin typeface="+mn-lt"/>
                <a:ea typeface="Calibri" panose="020F0502020204030204" pitchFamily="34" charset="0"/>
                <a:cs typeface="Times New Roman" panose="02020603050405020304" pitchFamily="18" charset="0"/>
              </a:rPr>
              <a:t>Bolt.eu </a:t>
            </a:r>
            <a:r>
              <a:rPr lang="en-CA" sz="1000" kern="100">
                <a:solidFill>
                  <a:srgbClr val="212529"/>
                </a:solidFill>
                <a:latin typeface="+mn-lt"/>
                <a:ea typeface="Calibri" panose="020F0502020204030204" pitchFamily="34" charset="0"/>
                <a:cs typeface="Times New Roman" panose="02020603050405020304" pitchFamily="18" charset="0"/>
              </a:rPr>
              <a:t>is the first European mobility super-app. Bolt has over 100 million users across Europe and Africa and deals with data at a large scale (over 100,000 queries daily). Previously, Bolt was using a traditional data warehouse solution based on Amazon Redshift, but they faced scalability issues that were hard to overcome. After doing research, they chose Presto as the solution. In just a single year, Bolt has managed to migrate to a lakehouse architecture using Amazon Web Services (AWS), Presto, Spark, and Delta Lake.</a:t>
            </a:r>
            <a:endParaRPr lang="en-CA" kern="100">
              <a:solidFill>
                <a:srgbClr val="212529"/>
              </a:solidFill>
              <a:latin typeface="+mn-lt"/>
              <a:ea typeface="Calibri" panose="020F0502020204030204" pitchFamily="34" charset="0"/>
              <a:cs typeface="Times New Roman" panose="02020603050405020304" pitchFamily="18" charset="0"/>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CA" sz="1000" b="1" kern="100">
              <a:solidFill>
                <a:srgbClr val="212529"/>
              </a:solidFill>
              <a:latin typeface="+mn-lt"/>
              <a:ea typeface="Calibri" panose="020F0502020204030204" pitchFamily="34" charset="0"/>
              <a:cs typeface="Times New Roman" panose="02020603050405020304" pitchFamily="18" charset="0"/>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CA" sz="1000" b="1" kern="100">
                <a:solidFill>
                  <a:srgbClr val="212529"/>
                </a:solidFill>
                <a:latin typeface="+mn-lt"/>
                <a:ea typeface="Calibri" panose="020F0502020204030204" pitchFamily="34" charset="0"/>
                <a:cs typeface="Times New Roman" panose="02020603050405020304" pitchFamily="18" charset="0"/>
              </a:rPr>
              <a:t>ByteDance</a:t>
            </a:r>
            <a:r>
              <a:rPr lang="en-CA" sz="1000" kern="100">
                <a:solidFill>
                  <a:srgbClr val="212529"/>
                </a:solidFill>
                <a:latin typeface="+mn-lt"/>
                <a:ea typeface="Calibri" panose="020F0502020204030204" pitchFamily="34" charset="0"/>
                <a:cs typeface="Times New Roman" panose="02020603050405020304" pitchFamily="18" charset="0"/>
              </a:rPr>
              <a:t> uses Presto widely for their data warehouse, business intelligence (BI) tools, ads, and so on</a:t>
            </a:r>
            <a:r>
              <a:rPr lang="en-CA" sz="1000" b="0" i="0">
                <a:solidFill>
                  <a:srgbClr val="0F0F0F"/>
                </a:solidFill>
                <a:effectLst/>
                <a:latin typeface="+mn-lt"/>
              </a:rPr>
              <a:t>.</a:t>
            </a:r>
            <a:endParaRPr lang="en-CA" sz="1000" kern="100">
              <a:solidFill>
                <a:srgbClr val="212529"/>
              </a:solidFill>
              <a:latin typeface="+mn-lt"/>
              <a:ea typeface="Calibri" panose="020F0502020204030204" pitchFamily="34" charset="0"/>
              <a:cs typeface="Times New Roman" panose="02020603050405020304" pitchFamily="18" charset="0"/>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endParaRPr lang="en-CA" sz="1000" kern="100">
              <a:solidFill>
                <a:srgbClr val="212529"/>
              </a:solidFill>
              <a:latin typeface="+mn-lt"/>
              <a:ea typeface="Calibri" panose="020F0502020204030204" pitchFamily="34" charset="0"/>
              <a:cs typeface="Times New Roman" panose="02020603050405020304" pitchFamily="18" charset="0"/>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CA" sz="1000" b="1" i="0">
                <a:solidFill>
                  <a:srgbClr val="212529"/>
                </a:solidFill>
                <a:effectLst/>
                <a:latin typeface="+mn-lt"/>
              </a:rPr>
              <a:t>Meta (Facebook) </a:t>
            </a:r>
            <a:r>
              <a:rPr lang="en-CA" sz="1000" b="0" i="0">
                <a:solidFill>
                  <a:srgbClr val="212529"/>
                </a:solidFill>
                <a:effectLst/>
                <a:latin typeface="+mn-lt"/>
              </a:rPr>
              <a:t>uses Presto for interactive queries against several internal data stores, including their 300 PB data warehouse. Over 1,000 Facebook employees use Presto daily to run more than 30,000 queries that in total scan over a petabyte of data per day.</a:t>
            </a:r>
            <a:br>
              <a:rPr lang="en-CA" sz="1000" b="0" i="0">
                <a:solidFill>
                  <a:srgbClr val="0F0F0F"/>
                </a:solidFill>
                <a:effectLst/>
                <a:latin typeface="+mn-lt"/>
              </a:rPr>
            </a:br>
            <a:endParaRPr lang="en-CA" sz="1000">
              <a:solidFill>
                <a:srgbClr val="0F0F0F"/>
              </a:solidFill>
              <a:latin typeface="+mn-l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CA" sz="1000" b="1" i="0">
                <a:solidFill>
                  <a:srgbClr val="0F0F0F"/>
                </a:solidFill>
                <a:effectLst/>
                <a:latin typeface="+mn-lt"/>
              </a:rPr>
              <a:t>Twilio</a:t>
            </a:r>
            <a:r>
              <a:rPr lang="en-CA" sz="1000" b="0" i="0">
                <a:solidFill>
                  <a:srgbClr val="0F0F0F"/>
                </a:solidFill>
                <a:effectLst/>
                <a:latin typeface="+mn-lt"/>
              </a:rPr>
              <a:t> uses Presto on AWS. Approximately 80% of Twilio's data comes from product teams that use Kafka or MySQL databases. In addition to this, the company receives data from external sources such as Salesforce, Zendesk, and Marketo, as well as internal </a:t>
            </a:r>
            <a:r>
              <a:rPr lang="en-US" sz="1000" b="0" i="0">
                <a:solidFill>
                  <a:srgbClr val="0F0F0F"/>
                </a:solidFill>
                <a:effectLst/>
                <a:latin typeface="+mn-lt"/>
              </a:rPr>
              <a:t>c</a:t>
            </a:r>
            <a:r>
              <a:rPr lang="en-US" sz="1000">
                <a:latin typeface="+mn-lt"/>
              </a:rPr>
              <a:t>omma separated values (</a:t>
            </a:r>
            <a:r>
              <a:rPr lang="en-CA" sz="1000" b="0" i="0">
                <a:solidFill>
                  <a:srgbClr val="0F0F0F"/>
                </a:solidFill>
                <a:effectLst/>
                <a:latin typeface="+mn-lt"/>
              </a:rPr>
              <a:t>CSV) files generated by accounting and finance teams. This data is loaded into their S3 data lake using config-driven Python and Spark-based loaders. With Presto, they were able to decouple the storage and compute layers and scale without affecting performance. In addition to data exploration and ad hoc analysis by data analysts, Presto has also been used as a data source for real-time dashboards and machine learning models.</a:t>
            </a:r>
          </a:p>
          <a:p>
            <a:endParaRPr lang="en-US">
              <a:latin typeface="+mn-lt"/>
            </a:endParaRPr>
          </a:p>
          <a:p>
            <a:r>
              <a:rPr lang="en-US" sz="1000" b="1">
                <a:latin typeface="+mn-lt"/>
              </a:rPr>
              <a:t>Note:</a:t>
            </a:r>
          </a:p>
          <a:p>
            <a:pPr marL="0" marR="0" lvl="0" indent="0" algn="l" defTabSz="2438522" rtl="0" eaLnBrk="1" fontAlgn="auto" latinLnBrk="0" hangingPunct="1">
              <a:lnSpc>
                <a:spcPct val="110000"/>
              </a:lnSpc>
              <a:spcBef>
                <a:spcPts val="0"/>
              </a:spcBef>
              <a:spcAft>
                <a:spcPts val="0"/>
              </a:spcAft>
              <a:buClrTx/>
              <a:buSzTx/>
              <a:buFontTx/>
              <a:buNone/>
              <a:tabLst/>
              <a:defRPr/>
            </a:pPr>
            <a:endParaRPr lang="en-US" sz="1000">
              <a:latin typeface="+mn-lt"/>
            </a:endParaRPr>
          </a:p>
          <a:p>
            <a:pPr marL="171450" marR="0" lvl="0" indent="-171450" algn="l" defTabSz="2438522"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US" sz="1000" b="1">
                <a:latin typeface="+mn-lt"/>
              </a:rPr>
              <a:t>Machine learning (ML) </a:t>
            </a:r>
            <a:r>
              <a:rPr lang="en-US" sz="1000" b="0">
                <a:latin typeface="+mn-lt"/>
              </a:rPr>
              <a:t>refers to a broad set of techniques to train a computer to learn from its inputs, using existing data, and one or more “training” methods, instead of being explicitly programmed. ML helps a computer to achieve AI. </a:t>
            </a:r>
            <a:endParaRPr lang="en-US" sz="1000">
              <a:latin typeface="+mn-lt"/>
            </a:endParaRPr>
          </a:p>
          <a:p>
            <a:endParaRPr lang="en-US"/>
          </a:p>
        </p:txBody>
      </p:sp>
      <p:sp>
        <p:nvSpPr>
          <p:cNvPr id="4" name="Slide Number Placeholder 3">
            <a:extLst>
              <a:ext uri="{FF2B5EF4-FFF2-40B4-BE49-F238E27FC236}">
                <a16:creationId xmlns:a16="http://schemas.microsoft.com/office/drawing/2014/main" id="{70657AEE-B005-0ECB-D187-75A70109A0E2}"/>
              </a:ext>
            </a:extLst>
          </p:cNvPr>
          <p:cNvSpPr>
            <a:spLocks noGrp="1"/>
          </p:cNvSpPr>
          <p:nvPr>
            <p:ph type="sldNum" sz="quarter" idx="5"/>
          </p:nvPr>
        </p:nvSpPr>
        <p:spPr/>
        <p:txBody>
          <a:bodyPr/>
          <a:lstStyle/>
          <a:p>
            <a:pPr marL="0" marR="0" lvl="0" indent="0" algn="r" defTabSz="1829379"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panose="020B0503050203000203" pitchFamily="34" charset="0"/>
              </a:rPr>
              <a:pPr marL="0" marR="0" lvl="0" indent="0" algn="r" defTabSz="1829379" rtl="0" eaLnBrk="1" fontAlgn="auto" latinLnBrk="0" hangingPunct="1">
                <a:lnSpc>
                  <a:spcPct val="100000"/>
                </a:lnSpc>
                <a:spcBef>
                  <a:spcPts val="0"/>
                </a:spcBef>
                <a:spcAft>
                  <a:spcPts val="0"/>
                </a:spcAft>
                <a:buClrTx/>
                <a:buSzTx/>
                <a:buFontTx/>
                <a:buNone/>
                <a:tabLst/>
                <a:defRPr/>
              </a:pPr>
              <a:t>8</a:t>
            </a:fld>
            <a:endParaRPr kumimoji="0" lang="en-US" sz="600" b="0" i="0" u="none" strike="noStrike" kern="1200" cap="none" spc="0" normalizeH="0" baseline="0" noProof="0">
              <a:ln>
                <a:noFill/>
              </a:ln>
              <a:solidFill>
                <a:srgbClr val="000000"/>
              </a:solidFill>
              <a:effectLst/>
              <a:uLnTx/>
              <a:uFillTx/>
              <a:latin typeface="IBM Plex Sans Light" panose="020B0503050203000203" pitchFamily="34" charset="0"/>
            </a:endParaRPr>
          </a:p>
        </p:txBody>
      </p:sp>
    </p:spTree>
    <p:extLst>
      <p:ext uri="{BB962C8B-B14F-4D97-AF65-F5344CB8AC3E}">
        <p14:creationId xmlns:p14="http://schemas.microsoft.com/office/powerpoint/2010/main" val="2086326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F7F797-1F01-E453-9B37-959A293E6B9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B004277-C5B3-FDD5-234E-C8FABC58E0BE}"/>
              </a:ext>
            </a:extLst>
          </p:cNvPr>
          <p:cNvSpPr>
            <a:spLocks noGrp="1" noRot="1" noChangeAspect="1"/>
          </p:cNvSpPr>
          <p:nvPr>
            <p:ph type="sldImg"/>
          </p:nvPr>
        </p:nvSpPr>
        <p:spPr>
          <a:xfrm>
            <a:off x="206375" y="228600"/>
            <a:ext cx="6419850" cy="3611563"/>
          </a:xfrm>
        </p:spPr>
      </p:sp>
      <p:sp>
        <p:nvSpPr>
          <p:cNvPr id="3" name="Notes Placeholder 2">
            <a:extLst>
              <a:ext uri="{FF2B5EF4-FFF2-40B4-BE49-F238E27FC236}">
                <a16:creationId xmlns:a16="http://schemas.microsoft.com/office/drawing/2014/main" id="{C381EA8D-C335-A488-4EFA-26B10250AFEC}"/>
              </a:ext>
            </a:extLst>
          </p:cNvPr>
          <p:cNvSpPr>
            <a:spLocks noGrp="1"/>
          </p:cNvSpPr>
          <p:nvPr>
            <p:ph type="body" idx="1"/>
          </p:nvPr>
        </p:nvSpPr>
        <p:spPr/>
        <p:txBody>
          <a:bodyPr/>
          <a:lstStyle/>
          <a:p>
            <a:r>
              <a:rPr lang="en-US"/>
              <a:t>The right data strategy to improve data usability for AI starts with a hybrid and open data architecture, designed to provide a streamlined process for integration, access, governance, and security. That starts with:</a:t>
            </a:r>
          </a:p>
          <a:p>
            <a:endParaRPr lang="en-US"/>
          </a:p>
          <a:p>
            <a:r>
              <a:rPr lang="en-US" b="1"/>
              <a:t>Data Integration:</a:t>
            </a:r>
            <a:endParaRPr lang="en-US"/>
          </a:p>
          <a:p>
            <a:pPr marL="285750" indent="-285750">
              <a:buFont typeface="Arial"/>
              <a:buChar char="•"/>
            </a:pPr>
            <a:r>
              <a:rPr lang="en-US"/>
              <a:t>A complete data integration approach should provide multiple ways to connect, transform, and deliver all data types to consumers:</a:t>
            </a:r>
          </a:p>
          <a:p>
            <a:pPr marL="751205" lvl="1" indent="-285750"/>
            <a:r>
              <a:rPr lang="en-US"/>
              <a:t>With different integration styles purpose fit to need across bulk batch, streaming, and replication styles, all underpinned by data observability, you don’t need to stitch together a patchwork of disparate tools for one-off use cases.</a:t>
            </a:r>
          </a:p>
          <a:p>
            <a:pPr marL="751205" lvl="1" indent="-285750"/>
            <a:endParaRPr lang="en-US" b="1"/>
          </a:p>
          <a:p>
            <a:pPr marL="294005" lvl="0" indent="-285750"/>
            <a:r>
              <a:rPr lang="en-US" b="1"/>
              <a:t>Databases:</a:t>
            </a:r>
            <a:endParaRPr lang="en-US"/>
          </a:p>
          <a:p>
            <a:pPr marL="285750" indent="-285750">
              <a:buFont typeface="Arial"/>
              <a:buChar char="•"/>
            </a:pPr>
            <a:r>
              <a:rPr lang="en-US"/>
              <a:t>With a data lakehouse you can:</a:t>
            </a:r>
          </a:p>
          <a:p>
            <a:pPr marL="751205" lvl="1" indent="-285750"/>
            <a:r>
              <a:rPr lang="en-US"/>
              <a:t>Create a unified view of structured, semi-structured, and unstructured data, wherever that data resides.</a:t>
            </a:r>
          </a:p>
          <a:p>
            <a:pPr marL="751205" lvl="1" indent="-285750"/>
            <a:r>
              <a:rPr lang="en-US"/>
              <a:t>Use out-of-the box connectors to load data directly into a low-cost object storage layer as desired, or leverage data integration compatibility for multiple integration patterns.</a:t>
            </a:r>
          </a:p>
          <a:p>
            <a:pPr marL="751205" lvl="1" indent="-285750"/>
            <a:r>
              <a:rPr lang="en-US"/>
              <a:t>Optimize data workloads for price-performance with multiple fit-for-purpose query engines</a:t>
            </a:r>
          </a:p>
          <a:p>
            <a:pPr marL="751205" lvl="1" indent="-285750"/>
            <a:r>
              <a:rPr lang="en-US"/>
              <a:t>Improve the relevance and precision of generative AI applications with an integrated vector database.</a:t>
            </a:r>
            <a:endParaRPr lang="en-US" b="1"/>
          </a:p>
          <a:p>
            <a:pPr lvl="1"/>
            <a:endParaRPr lang="en-US" b="1"/>
          </a:p>
          <a:p>
            <a:pPr lvl="0"/>
            <a:r>
              <a:rPr lang="en-US" b="1"/>
              <a:t>Data intelligence layer:</a:t>
            </a:r>
            <a:endParaRPr lang="en-US"/>
          </a:p>
          <a:p>
            <a:pPr marL="285750" indent="-285750">
              <a:buFont typeface="Arial"/>
              <a:buChar char="•"/>
            </a:pPr>
            <a:r>
              <a:rPr lang="en-US"/>
              <a:t>Accelerate insights by unifying data governance, data quality, lineage, and sharing.</a:t>
            </a:r>
          </a:p>
          <a:p>
            <a:pPr marL="285750" indent="-285750">
              <a:buFont typeface="Arial"/>
              <a:buChar char="•"/>
            </a:pPr>
            <a:r>
              <a:rPr lang="en-US"/>
              <a:t>Leverage data directly from the lakehouse for consumption or use AI/ML to transform raw data into actionable insights.</a:t>
            </a:r>
          </a:p>
          <a:p>
            <a:pPr marL="285750" indent="-285750">
              <a:buFont typeface="Arial"/>
              <a:buChar char="•"/>
            </a:pPr>
            <a:r>
              <a:rPr lang="en-US"/>
              <a:t>Leverage generative AI for contextual understanding, empowering users to trust and act on reliable data.</a:t>
            </a:r>
          </a:p>
          <a:p>
            <a:endParaRPr lang="en-US" b="1"/>
          </a:p>
          <a:p>
            <a:r>
              <a:rPr lang="en-US" b="1"/>
              <a:t>Data security:</a:t>
            </a:r>
            <a:endParaRPr lang="en-US"/>
          </a:p>
          <a:p>
            <a:pPr marL="285750" indent="-285750">
              <a:buFont typeface="Arial"/>
              <a:buChar char="•"/>
            </a:pPr>
            <a:r>
              <a:rPr lang="en-US"/>
              <a:t>With the right data security program, organizations can be confident in their ability to protect data everywhere, throughout its entire lifecycle from both current and emerging risks.</a:t>
            </a:r>
          </a:p>
          <a:p>
            <a:endParaRPr lang="en-US" b="1"/>
          </a:p>
          <a:p>
            <a:r>
              <a:rPr lang="en-US" b="1"/>
              <a:t>Open and interoperable:</a:t>
            </a:r>
            <a:endParaRPr lang="en-US"/>
          </a:p>
          <a:p>
            <a:pPr marL="285750" indent="-285750">
              <a:buFont typeface="Arial"/>
              <a:buChar char="•"/>
            </a:pPr>
            <a:r>
              <a:rPr lang="en-US"/>
              <a:t>Solution needs to be open by design, avoiding vendor lock-in.</a:t>
            </a:r>
          </a:p>
          <a:p>
            <a:pPr marL="285750" indent="-285750">
              <a:buFont typeface="Arial"/>
              <a:buChar char="•"/>
            </a:pPr>
            <a:r>
              <a:rPr lang="en-US"/>
              <a:t>Interoperability with existing investments is crucial, allowing customers to leverage </a:t>
            </a:r>
            <a:r>
              <a:rPr lang="en-US" err="1"/>
              <a:t>hyperscalers</a:t>
            </a:r>
            <a:r>
              <a:rPr lang="en-US"/>
              <a:t> and third-party tools.</a:t>
            </a:r>
          </a:p>
          <a:p>
            <a:endParaRPr lang="en-US"/>
          </a:p>
          <a:p>
            <a:r>
              <a:rPr lang="en-US"/>
              <a:t>The starting point for a winning AI strategy is a solid data foundation, period.</a:t>
            </a:r>
          </a:p>
          <a:p>
            <a:endParaRPr lang="en-US"/>
          </a:p>
        </p:txBody>
      </p:sp>
      <p:sp>
        <p:nvSpPr>
          <p:cNvPr id="4" name="Slide Number Placeholder 3">
            <a:extLst>
              <a:ext uri="{FF2B5EF4-FFF2-40B4-BE49-F238E27FC236}">
                <a16:creationId xmlns:a16="http://schemas.microsoft.com/office/drawing/2014/main" id="{A90F1970-3E88-8D58-6128-3E831C5C7E57}"/>
              </a:ext>
            </a:extLst>
          </p:cNvPr>
          <p:cNvSpPr>
            <a:spLocks noGrp="1"/>
          </p:cNvSpPr>
          <p:nvPr>
            <p:ph type="sldNum" sz="quarter" idx="10"/>
          </p:nvPr>
        </p:nvSpPr>
        <p:spPr/>
        <p:txBody>
          <a:bodyPr/>
          <a:lstStyle/>
          <a:p>
            <a:fld id="{F7021451-1387-4CA6-816F-3879F97B5CBC}" type="slidenum">
              <a:rPr lang="en-US"/>
              <a:t>9</a:t>
            </a:fld>
            <a:endParaRPr lang="en-US"/>
          </a:p>
        </p:txBody>
      </p:sp>
    </p:spTree>
    <p:extLst>
      <p:ext uri="{BB962C8B-B14F-4D97-AF65-F5344CB8AC3E}">
        <p14:creationId xmlns:p14="http://schemas.microsoft.com/office/powerpoint/2010/main" val="30258233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2438522" rtl="0" eaLnBrk="1" fontAlgn="auto" latinLnBrk="0" hangingPunct="1">
              <a:lnSpc>
                <a:spcPct val="100000"/>
              </a:lnSpc>
              <a:spcBef>
                <a:spcPts val="1600"/>
              </a:spcBef>
              <a:spcAft>
                <a:spcPts val="0"/>
              </a:spcAft>
              <a:buClrTx/>
              <a:buSzTx/>
              <a:buFontTx/>
              <a:buNone/>
              <a:tabLst/>
              <a:defRPr/>
            </a:pPr>
            <a:r>
              <a:rPr lang="en-US">
                <a:effectLst/>
                <a:latin typeface="Helvetica Neue" panose="02000503000000020004" pitchFamily="2" charset="0"/>
              </a:rPr>
              <a:t>Overall approach that DataStax aligns with…</a:t>
            </a:r>
          </a:p>
          <a:p>
            <a:pPr marL="0" marR="0" lvl="0" indent="0" algn="l" defTabSz="2438522" rtl="0" eaLnBrk="1" fontAlgn="auto" latinLnBrk="0" hangingPunct="1">
              <a:lnSpc>
                <a:spcPct val="100000"/>
              </a:lnSpc>
              <a:spcBef>
                <a:spcPts val="1600"/>
              </a:spcBef>
              <a:spcAft>
                <a:spcPts val="0"/>
              </a:spcAft>
              <a:buClrTx/>
              <a:buSzTx/>
              <a:buFontTx/>
              <a:buNone/>
              <a:tabLst/>
              <a:defRPr/>
            </a:pPr>
            <a:endParaRPr lang="en-US">
              <a:effectLst/>
              <a:latin typeface="Helvetica Neue" panose="02000503000000020004" pitchFamily="2" charset="0"/>
            </a:endParaRPr>
          </a:p>
          <a:p>
            <a:pPr marL="0" marR="0" lvl="0" indent="0" algn="l" defTabSz="2438522" rtl="0" eaLnBrk="1" fontAlgn="auto" latinLnBrk="0" hangingPunct="1">
              <a:lnSpc>
                <a:spcPct val="100000"/>
              </a:lnSpc>
              <a:spcBef>
                <a:spcPts val="1600"/>
              </a:spcBef>
              <a:spcAft>
                <a:spcPts val="0"/>
              </a:spcAft>
              <a:buClrTx/>
              <a:buSzTx/>
              <a:buFontTx/>
              <a:buNone/>
              <a:tabLst/>
              <a:defRPr/>
            </a:pPr>
            <a:r>
              <a:rPr lang="en-US">
                <a:effectLst/>
                <a:latin typeface="Helvetica Neue" panose="02000503000000020004" pitchFamily="2" charset="0"/>
              </a:rPr>
              <a:t>Simplicity -&gt; what are you doing for whom and how easy is it for them to get started? Proof of value in &lt;5 mins</a:t>
            </a:r>
          </a:p>
          <a:p>
            <a:endParaRPr lang="en-US"/>
          </a:p>
        </p:txBody>
      </p:sp>
      <p:sp>
        <p:nvSpPr>
          <p:cNvPr id="4" name="Slide Number Placeholder 3"/>
          <p:cNvSpPr>
            <a:spLocks noGrp="1"/>
          </p:cNvSpPr>
          <p:nvPr>
            <p:ph type="sldNum" sz="quarter" idx="5"/>
          </p:nvPr>
        </p:nvSpPr>
        <p:spPr/>
        <p:txBody>
          <a:bodyPr/>
          <a:lstStyle/>
          <a:p>
            <a:fld id="{6E2E38B8-B0B4-AD41-AC6E-B781F46A9FD3}" type="slidenum">
              <a:rPr lang="en-US" smtClean="0"/>
              <a:pPr/>
              <a:t>10</a:t>
            </a:fld>
            <a:endParaRPr lang="en-US"/>
          </a:p>
        </p:txBody>
      </p:sp>
      <p:sp>
        <p:nvSpPr>
          <p:cNvPr id="5" name="Footer Placeholder 4"/>
          <p:cNvSpPr>
            <a:spLocks noGrp="1"/>
          </p:cNvSpPr>
          <p:nvPr>
            <p:ph type="ftr" sz="quarter" idx="4"/>
          </p:nvPr>
        </p:nvSpPr>
        <p:spPr/>
        <p:txBody>
          <a:bodyPr/>
          <a:lstStyle/>
          <a:p>
            <a:r>
              <a:rPr lang="en-US"/>
              <a:t>Group Name / DOC ID / Month XX, 2022 / © 2022 IBM Corporation</a:t>
            </a:r>
          </a:p>
        </p:txBody>
      </p:sp>
    </p:spTree>
    <p:extLst>
      <p:ext uri="{BB962C8B-B14F-4D97-AF65-F5344CB8AC3E}">
        <p14:creationId xmlns:p14="http://schemas.microsoft.com/office/powerpoint/2010/main" val="52870983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image" Target="../media/image7.jpeg"/><Relationship Id="rId7" Type="http://schemas.openxmlformats.org/officeDocument/2006/relationships/image" Target="../media/image11.jpeg"/><Relationship Id="rId2" Type="http://schemas.openxmlformats.org/officeDocument/2006/relationships/image" Target="../media/image1.emf"/><Relationship Id="rId1" Type="http://schemas.openxmlformats.org/officeDocument/2006/relationships/slideMaster" Target="../slideMasters/slideMaster5.xml"/><Relationship Id="rId6" Type="http://schemas.openxmlformats.org/officeDocument/2006/relationships/image" Target="../media/image10.jpeg"/><Relationship Id="rId5" Type="http://schemas.openxmlformats.org/officeDocument/2006/relationships/image" Target="../media/image9.jpeg"/><Relationship Id="rId10" Type="http://schemas.openxmlformats.org/officeDocument/2006/relationships/image" Target="../media/image14.jpeg"/><Relationship Id="rId4" Type="http://schemas.openxmlformats.org/officeDocument/2006/relationships/image" Target="../media/image8.jpeg"/><Relationship Id="rId9" Type="http://schemas.openxmlformats.org/officeDocument/2006/relationships/image" Target="../media/image13.jpeg"/></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272.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image" Target="../media/image7.jpeg"/><Relationship Id="rId7" Type="http://schemas.openxmlformats.org/officeDocument/2006/relationships/image" Target="../media/image11.jpeg"/><Relationship Id="rId2" Type="http://schemas.openxmlformats.org/officeDocument/2006/relationships/image" Target="../media/image1.emf"/><Relationship Id="rId1" Type="http://schemas.openxmlformats.org/officeDocument/2006/relationships/slideMaster" Target="../slideMasters/slideMaster7.xml"/><Relationship Id="rId6" Type="http://schemas.openxmlformats.org/officeDocument/2006/relationships/image" Target="../media/image10.jpeg"/><Relationship Id="rId5" Type="http://schemas.openxmlformats.org/officeDocument/2006/relationships/image" Target="../media/image9.jpeg"/><Relationship Id="rId10" Type="http://schemas.openxmlformats.org/officeDocument/2006/relationships/image" Target="../media/image14.jpeg"/><Relationship Id="rId4" Type="http://schemas.openxmlformats.org/officeDocument/2006/relationships/image" Target="../media/image8.jpeg"/><Relationship Id="rId9" Type="http://schemas.openxmlformats.org/officeDocument/2006/relationships/image" Target="../media/image13.jpeg"/></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0.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0.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0.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0.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0.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0.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47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47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47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49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6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56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58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ED3515-97CA-3556-0DDC-590B23CC7C7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13280D3-153F-755E-CFB6-3EEDB109AD0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08A3CA3-8833-39F3-0279-E27E644D55E2}"/>
              </a:ext>
            </a:extLst>
          </p:cNvPr>
          <p:cNvSpPr>
            <a:spLocks noGrp="1"/>
          </p:cNvSpPr>
          <p:nvPr>
            <p:ph type="dt" sz="half" idx="10"/>
          </p:nvPr>
        </p:nvSpPr>
        <p:spPr/>
        <p:txBody>
          <a:bodyPr/>
          <a:lstStyle/>
          <a:p>
            <a:fld id="{C1064F87-A3FE-7D41-BA7F-E073D7C6AC88}" type="datetimeFigureOut">
              <a:rPr lang="en-US" smtClean="0"/>
              <a:t>3/24/2025</a:t>
            </a:fld>
            <a:endParaRPr lang="en-US"/>
          </a:p>
        </p:txBody>
      </p:sp>
      <p:sp>
        <p:nvSpPr>
          <p:cNvPr id="5" name="Footer Placeholder 4">
            <a:extLst>
              <a:ext uri="{FF2B5EF4-FFF2-40B4-BE49-F238E27FC236}">
                <a16:creationId xmlns:a16="http://schemas.microsoft.com/office/drawing/2014/main" id="{3F273F36-D032-E8E5-2223-31962606EEF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2946836-5626-AFC0-FE2D-73F9D1C798E1}"/>
              </a:ext>
            </a:extLst>
          </p:cNvPr>
          <p:cNvSpPr>
            <a:spLocks noGrp="1"/>
          </p:cNvSpPr>
          <p:nvPr>
            <p:ph type="sldNum" sz="quarter" idx="12"/>
          </p:nvPr>
        </p:nvSpPr>
        <p:spPr/>
        <p:txBody>
          <a:bodyPr/>
          <a:lstStyle/>
          <a:p>
            <a:fld id="{DED3338A-C6D4-DE4D-B610-199F7004D0E1}" type="slidenum">
              <a:rPr lang="en-US" smtClean="0"/>
              <a:t>‹#›</a:t>
            </a:fld>
            <a:endParaRPr lang="en-US"/>
          </a:p>
        </p:txBody>
      </p:sp>
    </p:spTree>
    <p:extLst>
      <p:ext uri="{BB962C8B-B14F-4D97-AF65-F5344CB8AC3E}">
        <p14:creationId xmlns:p14="http://schemas.microsoft.com/office/powerpoint/2010/main" val="36172894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BCAA7C-4A07-3548-FA3B-E858DEDDA24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B925B81-B3E5-8270-20F1-9D40FEE4D5B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61B490C-389E-EE48-7ED3-B79AF608EA57}"/>
              </a:ext>
            </a:extLst>
          </p:cNvPr>
          <p:cNvSpPr>
            <a:spLocks noGrp="1"/>
          </p:cNvSpPr>
          <p:nvPr>
            <p:ph type="dt" sz="half" idx="10"/>
          </p:nvPr>
        </p:nvSpPr>
        <p:spPr/>
        <p:txBody>
          <a:bodyPr/>
          <a:lstStyle/>
          <a:p>
            <a:fld id="{C1064F87-A3FE-7D41-BA7F-E073D7C6AC88}" type="datetimeFigureOut">
              <a:rPr lang="en-US" smtClean="0"/>
              <a:t>3/24/2025</a:t>
            </a:fld>
            <a:endParaRPr lang="en-US"/>
          </a:p>
        </p:txBody>
      </p:sp>
      <p:sp>
        <p:nvSpPr>
          <p:cNvPr id="5" name="Footer Placeholder 4">
            <a:extLst>
              <a:ext uri="{FF2B5EF4-FFF2-40B4-BE49-F238E27FC236}">
                <a16:creationId xmlns:a16="http://schemas.microsoft.com/office/drawing/2014/main" id="{0A2ECC91-8159-282E-F43C-E1BC01B79C5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75D84B0-FE06-C81A-6C4D-429A4A11643A}"/>
              </a:ext>
            </a:extLst>
          </p:cNvPr>
          <p:cNvSpPr>
            <a:spLocks noGrp="1"/>
          </p:cNvSpPr>
          <p:nvPr>
            <p:ph type="sldNum" sz="quarter" idx="12"/>
          </p:nvPr>
        </p:nvSpPr>
        <p:spPr/>
        <p:txBody>
          <a:bodyPr/>
          <a:lstStyle/>
          <a:p>
            <a:fld id="{DED3338A-C6D4-DE4D-B610-199F7004D0E1}" type="slidenum">
              <a:rPr lang="en-US" smtClean="0"/>
              <a:t>‹#›</a:t>
            </a:fld>
            <a:endParaRPr lang="en-US"/>
          </a:p>
        </p:txBody>
      </p:sp>
    </p:spTree>
    <p:extLst>
      <p:ext uri="{BB962C8B-B14F-4D97-AF65-F5344CB8AC3E}">
        <p14:creationId xmlns:p14="http://schemas.microsoft.com/office/powerpoint/2010/main" val="402722270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Boxes, 6 stacked">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B69919-8000-E922-6964-C056D6C1EE1E}"/>
              </a:ext>
            </a:extLst>
          </p:cNvPr>
          <p:cNvSpPr txBox="1">
            <a:spLocks noGrp="1"/>
          </p:cNvSpPr>
          <p:nvPr>
            <p:ph type="title"/>
          </p:nvPr>
        </p:nvSpPr>
        <p:spPr>
          <a:xfrm>
            <a:off x="287961" y="288036"/>
            <a:ext cx="2474588" cy="1997964"/>
          </a:xfrm>
        </p:spPr>
        <p:txBody>
          <a:bodyPr/>
          <a:lstStyle>
            <a:lvl1pPr>
              <a:lnSpc>
                <a:spcPct val="110000"/>
              </a:lnSpc>
              <a:defRPr sz="1400"/>
            </a:lvl1pPr>
          </a:lstStyle>
          <a:p>
            <a:pPr lvl="0"/>
            <a:r>
              <a:rPr lang="en-US"/>
              <a:t>Click to edit Master title style</a:t>
            </a:r>
          </a:p>
        </p:txBody>
      </p:sp>
      <p:sp>
        <p:nvSpPr>
          <p:cNvPr id="3" name="Text Placeholder 9">
            <a:extLst>
              <a:ext uri="{FF2B5EF4-FFF2-40B4-BE49-F238E27FC236}">
                <a16:creationId xmlns:a16="http://schemas.microsoft.com/office/drawing/2014/main" id="{AE381C4B-A0AF-1E55-14E5-8A00E6AF95E4}"/>
              </a:ext>
            </a:extLst>
          </p:cNvPr>
          <p:cNvSpPr txBox="1">
            <a:spLocks noGrp="1"/>
          </p:cNvSpPr>
          <p:nvPr>
            <p:ph type="body" idx="4294967295"/>
          </p:nvPr>
        </p:nvSpPr>
        <p:spPr>
          <a:xfrm>
            <a:off x="3332773" y="288036"/>
            <a:ext cx="2477701" cy="2478024"/>
          </a:xfrm>
        </p:spPr>
        <p:txBody>
          <a:bodyPr/>
          <a:lstStyle>
            <a:lvl1pPr>
              <a:defRPr sz="1400">
                <a:latin typeface="IBM Plex Sans Light" pitchFamily="34"/>
              </a:defRPr>
            </a:lvl1pPr>
            <a:lvl2pPr marL="127990" indent="-127990">
              <a:defRPr sz="1400">
                <a:latin typeface="IBM Plex Sans Light" pitchFamily="34"/>
              </a:defRPr>
            </a:lvl2pPr>
            <a:lvl3pPr marL="255981" indent="-127990">
              <a:defRPr sz="1400">
                <a:latin typeface="IBM Plex Sans Light" pitchFamily="34"/>
              </a:defRPr>
            </a:lvl3pPr>
            <a:lvl4pPr marL="383971" indent="-127990">
              <a:defRPr sz="1400">
                <a:latin typeface="IBM Plex Sans Light"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 Placeholder 9">
            <a:extLst>
              <a:ext uri="{FF2B5EF4-FFF2-40B4-BE49-F238E27FC236}">
                <a16:creationId xmlns:a16="http://schemas.microsoft.com/office/drawing/2014/main" id="{34220DF7-EFF4-6E72-2851-593A8C4FECD6}"/>
              </a:ext>
            </a:extLst>
          </p:cNvPr>
          <p:cNvSpPr txBox="1">
            <a:spLocks noGrp="1"/>
          </p:cNvSpPr>
          <p:nvPr>
            <p:ph type="body" idx="4294967295"/>
          </p:nvPr>
        </p:nvSpPr>
        <p:spPr>
          <a:xfrm>
            <a:off x="6380917" y="288036"/>
            <a:ext cx="2477701" cy="2478024"/>
          </a:xfrm>
        </p:spPr>
        <p:txBody>
          <a:bodyPr/>
          <a:lstStyle>
            <a:lvl1pPr>
              <a:defRPr sz="1400">
                <a:latin typeface="IBM Plex Sans Light" pitchFamily="34"/>
              </a:defRPr>
            </a:lvl1pPr>
            <a:lvl2pPr marL="127990" indent="-127990">
              <a:defRPr sz="1400">
                <a:latin typeface="IBM Plex Sans Light" pitchFamily="34"/>
              </a:defRPr>
            </a:lvl2pPr>
            <a:lvl3pPr marL="255981" indent="-127990">
              <a:defRPr sz="1400">
                <a:latin typeface="IBM Plex Sans Light" pitchFamily="34"/>
              </a:defRPr>
            </a:lvl3pPr>
            <a:lvl4pPr marL="383971" indent="-127990">
              <a:defRPr sz="1400">
                <a:latin typeface="IBM Plex Sans Light"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37202DFA-BB97-45B5-0117-3B65C5283C77}"/>
              </a:ext>
            </a:extLst>
          </p:cNvPr>
          <p:cNvSpPr txBox="1">
            <a:spLocks noGrp="1"/>
          </p:cNvSpPr>
          <p:nvPr>
            <p:ph type="body" idx="4294967295"/>
          </p:nvPr>
        </p:nvSpPr>
        <p:spPr>
          <a:xfrm>
            <a:off x="9428522" y="288036"/>
            <a:ext cx="2473130" cy="2478024"/>
          </a:xfrm>
        </p:spPr>
        <p:txBody>
          <a:bodyPr/>
          <a:lstStyle>
            <a:lvl1pPr>
              <a:defRPr sz="1400">
                <a:latin typeface="IBM Plex Sans Light" pitchFamily="34"/>
              </a:defRPr>
            </a:lvl1pPr>
            <a:lvl2pPr marL="127990" indent="-127990">
              <a:defRPr sz="1400">
                <a:latin typeface="IBM Plex Sans Light" pitchFamily="34"/>
              </a:defRPr>
            </a:lvl2pPr>
            <a:lvl3pPr marL="255981" indent="-127990">
              <a:defRPr sz="1400">
                <a:latin typeface="IBM Plex Sans Light" pitchFamily="34"/>
              </a:defRPr>
            </a:lvl3pPr>
            <a:lvl4pPr marL="383971" indent="-127990">
              <a:defRPr sz="1400">
                <a:latin typeface="IBM Plex Sans Light"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3">
            <a:extLst>
              <a:ext uri="{FF2B5EF4-FFF2-40B4-BE49-F238E27FC236}">
                <a16:creationId xmlns:a16="http://schemas.microsoft.com/office/drawing/2014/main" id="{72D5865C-0BF9-B4FA-4E2B-BE0CE5503760}"/>
              </a:ext>
            </a:extLst>
          </p:cNvPr>
          <p:cNvSpPr txBox="1">
            <a:spLocks noGrp="1"/>
          </p:cNvSpPr>
          <p:nvPr>
            <p:ph type="ftr" sz="quarter" idx="9"/>
          </p:nvPr>
        </p:nvSpPr>
        <p:spPr>
          <a:xfrm>
            <a:off x="290476" y="6411645"/>
            <a:ext cx="2477765" cy="190502"/>
          </a:xfrm>
        </p:spPr>
        <p:txBody>
          <a:bodyPr/>
          <a:lstStyle>
            <a:lvl1pPr>
              <a:defRPr/>
            </a:lvl1pPr>
          </a:lstStyle>
          <a:p>
            <a:pPr lvl="0"/>
            <a:endParaRPr lang="en-US"/>
          </a:p>
        </p:txBody>
      </p:sp>
      <p:sp>
        <p:nvSpPr>
          <p:cNvPr id="7" name="Slide Number">
            <a:extLst>
              <a:ext uri="{FF2B5EF4-FFF2-40B4-BE49-F238E27FC236}">
                <a16:creationId xmlns:a16="http://schemas.microsoft.com/office/drawing/2014/main" id="{B8061B11-FB67-A24F-94D1-199F087B0F61}"/>
              </a:ext>
            </a:extLst>
          </p:cNvPr>
          <p:cNvSpPr txBox="1">
            <a:spLocks noGrp="1"/>
          </p:cNvSpPr>
          <p:nvPr>
            <p:ph type="sldNum" sz="quarter" idx="8"/>
          </p:nvPr>
        </p:nvSpPr>
        <p:spPr>
          <a:xfrm>
            <a:off x="11769264" y="6475767"/>
            <a:ext cx="135437" cy="123110"/>
          </a:xfrm>
        </p:spPr>
        <p:txBody>
          <a:bodyPr anchor="ctr"/>
          <a:lstStyle>
            <a:lvl1pPr>
              <a:defRPr/>
            </a:lvl1pPr>
          </a:lstStyle>
          <a:p>
            <a:pPr lvl="0"/>
            <a:fld id="{9C5D43D8-FAE1-114F-9D3B-90BF0D76BA72}" type="slidenum">
              <a:t>‹#›</a:t>
            </a:fld>
            <a:endParaRPr lang="en-US"/>
          </a:p>
        </p:txBody>
      </p:sp>
      <p:sp>
        <p:nvSpPr>
          <p:cNvPr id="8" name="Text Placeholder 10">
            <a:extLst>
              <a:ext uri="{FF2B5EF4-FFF2-40B4-BE49-F238E27FC236}">
                <a16:creationId xmlns:a16="http://schemas.microsoft.com/office/drawing/2014/main" id="{09D13869-392B-282D-98FE-3DEAE82F892E}"/>
              </a:ext>
            </a:extLst>
          </p:cNvPr>
          <p:cNvSpPr txBox="1">
            <a:spLocks noGrp="1"/>
          </p:cNvSpPr>
          <p:nvPr>
            <p:ph type="body" idx="4294967295"/>
          </p:nvPr>
        </p:nvSpPr>
        <p:spPr>
          <a:xfrm>
            <a:off x="3332773" y="3336924"/>
            <a:ext cx="2477701" cy="2478024"/>
          </a:xfrm>
        </p:spPr>
        <p:txBody>
          <a:bodyPr/>
          <a:lstStyle>
            <a:lvl1pPr>
              <a:defRPr sz="1400"/>
            </a:lvl1pPr>
            <a:lvl2pPr marL="127990" indent="-127990">
              <a:defRPr sz="1400"/>
            </a:lvl2pPr>
            <a:lvl3pPr marL="255981" indent="-127990">
              <a:defRPr sz="1400"/>
            </a:lvl3pPr>
            <a:lvl4pPr marL="383971" indent="-127990">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10">
            <a:extLst>
              <a:ext uri="{FF2B5EF4-FFF2-40B4-BE49-F238E27FC236}">
                <a16:creationId xmlns:a16="http://schemas.microsoft.com/office/drawing/2014/main" id="{47218242-A646-9CF5-7050-8C8CB7A24F07}"/>
              </a:ext>
            </a:extLst>
          </p:cNvPr>
          <p:cNvSpPr txBox="1">
            <a:spLocks noGrp="1"/>
          </p:cNvSpPr>
          <p:nvPr>
            <p:ph type="body" idx="4294967295"/>
          </p:nvPr>
        </p:nvSpPr>
        <p:spPr>
          <a:xfrm>
            <a:off x="6380917" y="3336924"/>
            <a:ext cx="2477701" cy="2478024"/>
          </a:xfrm>
        </p:spPr>
        <p:txBody>
          <a:bodyPr/>
          <a:lstStyle>
            <a:lvl1pPr>
              <a:defRPr sz="1400"/>
            </a:lvl1pPr>
            <a:lvl2pPr marL="127990" indent="-127990">
              <a:defRPr sz="1400"/>
            </a:lvl2pPr>
            <a:lvl3pPr marL="255981" indent="-127990">
              <a:defRPr sz="1400"/>
            </a:lvl3pPr>
            <a:lvl4pPr marL="383971" indent="-127990">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10">
            <a:extLst>
              <a:ext uri="{FF2B5EF4-FFF2-40B4-BE49-F238E27FC236}">
                <a16:creationId xmlns:a16="http://schemas.microsoft.com/office/drawing/2014/main" id="{C19F8255-3CD0-171A-73F8-753E5264ECD9}"/>
              </a:ext>
            </a:extLst>
          </p:cNvPr>
          <p:cNvSpPr txBox="1">
            <a:spLocks noGrp="1"/>
          </p:cNvSpPr>
          <p:nvPr>
            <p:ph type="body" idx="4294967295"/>
          </p:nvPr>
        </p:nvSpPr>
        <p:spPr>
          <a:xfrm>
            <a:off x="9428522" y="3336924"/>
            <a:ext cx="2473130" cy="2478024"/>
          </a:xfrm>
        </p:spPr>
        <p:txBody>
          <a:bodyPr/>
          <a:lstStyle>
            <a:lvl1pPr>
              <a:defRPr sz="1400"/>
            </a:lvl1pPr>
            <a:lvl2pPr marL="127990" indent="-127990">
              <a:defRPr sz="1400"/>
            </a:lvl2pPr>
            <a:lvl3pPr marL="255981" indent="-127990">
              <a:defRPr sz="1400"/>
            </a:lvl3pPr>
            <a:lvl4pPr marL="383971" indent="-127990">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09235194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Boxes, 6 stacked, icons">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0D7807-A472-CC7C-F635-AA6BC100CC45}"/>
              </a:ext>
            </a:extLst>
          </p:cNvPr>
          <p:cNvSpPr txBox="1">
            <a:spLocks noGrp="1"/>
          </p:cNvSpPr>
          <p:nvPr>
            <p:ph type="title"/>
          </p:nvPr>
        </p:nvSpPr>
        <p:spPr>
          <a:xfrm>
            <a:off x="287961" y="288036"/>
            <a:ext cx="2474588" cy="1997964"/>
          </a:xfrm>
        </p:spPr>
        <p:txBody>
          <a:bodyPr/>
          <a:lstStyle>
            <a:lvl1pPr>
              <a:lnSpc>
                <a:spcPct val="110000"/>
              </a:lnSpc>
              <a:defRPr sz="1400"/>
            </a:lvl1pPr>
          </a:lstStyle>
          <a:p>
            <a:pPr lvl="0"/>
            <a:r>
              <a:rPr lang="en-US"/>
              <a:t>Click to edit Master title style</a:t>
            </a:r>
          </a:p>
        </p:txBody>
      </p:sp>
      <p:sp>
        <p:nvSpPr>
          <p:cNvPr id="3" name="Picture Placeholder 15" descr="Place icon here">
            <a:extLst>
              <a:ext uri="{FF2B5EF4-FFF2-40B4-BE49-F238E27FC236}">
                <a16:creationId xmlns:a16="http://schemas.microsoft.com/office/drawing/2014/main" id="{7C90E6AE-6BE7-25C0-1B92-BF999C4E7B30}"/>
              </a:ext>
            </a:extLst>
          </p:cNvPr>
          <p:cNvSpPr txBox="1">
            <a:spLocks noGrp="1"/>
          </p:cNvSpPr>
          <p:nvPr>
            <p:ph type="pic" idx="4294967295"/>
          </p:nvPr>
        </p:nvSpPr>
        <p:spPr>
          <a:xfrm>
            <a:off x="3333317" y="288036"/>
            <a:ext cx="201142" cy="201611"/>
          </a:xfrm>
        </p:spPr>
        <p:txBody>
          <a:bodyPr/>
          <a:lstStyle>
            <a:lvl1pPr>
              <a:defRPr sz="700"/>
            </a:lvl1pPr>
          </a:lstStyle>
          <a:p>
            <a:pPr lvl="0"/>
            <a:r>
              <a:rPr lang="en-US"/>
              <a:t>Icon</a:t>
            </a:r>
          </a:p>
        </p:txBody>
      </p:sp>
      <p:sp>
        <p:nvSpPr>
          <p:cNvPr id="4" name="Text Placeholder 4">
            <a:extLst>
              <a:ext uri="{FF2B5EF4-FFF2-40B4-BE49-F238E27FC236}">
                <a16:creationId xmlns:a16="http://schemas.microsoft.com/office/drawing/2014/main" id="{C303CA4C-A3B2-A67A-6B35-6541BBB8170F}"/>
              </a:ext>
            </a:extLst>
          </p:cNvPr>
          <p:cNvSpPr txBox="1">
            <a:spLocks noGrp="1"/>
          </p:cNvSpPr>
          <p:nvPr>
            <p:ph type="body" idx="4294967295"/>
          </p:nvPr>
        </p:nvSpPr>
        <p:spPr>
          <a:xfrm>
            <a:off x="3333318" y="762002"/>
            <a:ext cx="2477701" cy="1999550"/>
          </a:xfrm>
        </p:spPr>
        <p:txBody>
          <a:bodyPr/>
          <a:lstStyle>
            <a:lvl1pPr>
              <a:defRPr sz="1200"/>
            </a:lvl1pPr>
            <a:lvl2pPr marL="109706" indent="-109706">
              <a:defRPr sz="1200"/>
            </a:lvl2pPr>
            <a:lvl3pPr marL="219412" indent="-109706">
              <a:defRPr sz="1200"/>
            </a:lvl3pPr>
            <a:lvl4pPr marL="329118" indent="-109706">
              <a:defRPr sz="12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15" descr="Place icon here">
            <a:extLst>
              <a:ext uri="{FF2B5EF4-FFF2-40B4-BE49-F238E27FC236}">
                <a16:creationId xmlns:a16="http://schemas.microsoft.com/office/drawing/2014/main" id="{CCF5DB03-0244-5954-29C2-AA6389C7148A}"/>
              </a:ext>
            </a:extLst>
          </p:cNvPr>
          <p:cNvSpPr txBox="1">
            <a:spLocks noGrp="1"/>
          </p:cNvSpPr>
          <p:nvPr>
            <p:ph type="pic" idx="4294967295"/>
          </p:nvPr>
        </p:nvSpPr>
        <p:spPr>
          <a:xfrm>
            <a:off x="6389168" y="288036"/>
            <a:ext cx="201142" cy="201611"/>
          </a:xfrm>
        </p:spPr>
        <p:txBody>
          <a:bodyPr/>
          <a:lstStyle>
            <a:lvl1pPr>
              <a:defRPr sz="700"/>
            </a:lvl1pPr>
          </a:lstStyle>
          <a:p>
            <a:pPr lvl="0"/>
            <a:r>
              <a:rPr lang="en-US"/>
              <a:t>Icon</a:t>
            </a:r>
          </a:p>
        </p:txBody>
      </p:sp>
      <p:sp>
        <p:nvSpPr>
          <p:cNvPr id="6" name="Text Placeholder 4">
            <a:extLst>
              <a:ext uri="{FF2B5EF4-FFF2-40B4-BE49-F238E27FC236}">
                <a16:creationId xmlns:a16="http://schemas.microsoft.com/office/drawing/2014/main" id="{EE33A0D7-C83C-1D72-F1FD-2B0F9E462367}"/>
              </a:ext>
            </a:extLst>
          </p:cNvPr>
          <p:cNvSpPr txBox="1">
            <a:spLocks noGrp="1"/>
          </p:cNvSpPr>
          <p:nvPr>
            <p:ph type="body" idx="4294967295"/>
          </p:nvPr>
        </p:nvSpPr>
        <p:spPr>
          <a:xfrm>
            <a:off x="6389169" y="762002"/>
            <a:ext cx="2476179" cy="1999550"/>
          </a:xfrm>
        </p:spPr>
        <p:txBody>
          <a:bodyPr/>
          <a:lstStyle>
            <a:lvl1pPr>
              <a:defRPr sz="1200"/>
            </a:lvl1pPr>
            <a:lvl2pPr marL="109706" indent="-109706">
              <a:defRPr sz="1200"/>
            </a:lvl2pPr>
            <a:lvl3pPr marL="219412" indent="-109706">
              <a:defRPr sz="1200"/>
            </a:lvl3pPr>
            <a:lvl4pPr marL="329118" indent="-109706">
              <a:defRPr sz="12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Picture Placeholder 15" descr="Place icon here">
            <a:extLst>
              <a:ext uri="{FF2B5EF4-FFF2-40B4-BE49-F238E27FC236}">
                <a16:creationId xmlns:a16="http://schemas.microsoft.com/office/drawing/2014/main" id="{DCF692F5-4478-E88F-BDEA-C818D592AC96}"/>
              </a:ext>
            </a:extLst>
          </p:cNvPr>
          <p:cNvSpPr txBox="1">
            <a:spLocks noGrp="1"/>
          </p:cNvSpPr>
          <p:nvPr>
            <p:ph type="pic" idx="4294967295"/>
          </p:nvPr>
        </p:nvSpPr>
        <p:spPr>
          <a:xfrm>
            <a:off x="9428522" y="288036"/>
            <a:ext cx="201142" cy="201611"/>
          </a:xfrm>
        </p:spPr>
        <p:txBody>
          <a:bodyPr/>
          <a:lstStyle>
            <a:lvl1pPr>
              <a:defRPr sz="700"/>
            </a:lvl1pPr>
          </a:lstStyle>
          <a:p>
            <a:pPr lvl="0"/>
            <a:r>
              <a:rPr lang="en-US"/>
              <a:t>Icon</a:t>
            </a:r>
          </a:p>
        </p:txBody>
      </p:sp>
      <p:sp>
        <p:nvSpPr>
          <p:cNvPr id="8" name="Text Placeholder 4">
            <a:extLst>
              <a:ext uri="{FF2B5EF4-FFF2-40B4-BE49-F238E27FC236}">
                <a16:creationId xmlns:a16="http://schemas.microsoft.com/office/drawing/2014/main" id="{3D2EFA50-3C73-A202-9048-5AF5C4308D60}"/>
              </a:ext>
            </a:extLst>
          </p:cNvPr>
          <p:cNvSpPr txBox="1">
            <a:spLocks noGrp="1"/>
          </p:cNvSpPr>
          <p:nvPr>
            <p:ph type="body" idx="4294967295"/>
          </p:nvPr>
        </p:nvSpPr>
        <p:spPr>
          <a:xfrm>
            <a:off x="9428522" y="762002"/>
            <a:ext cx="2473130" cy="1999550"/>
          </a:xfrm>
        </p:spPr>
        <p:txBody>
          <a:bodyPr/>
          <a:lstStyle>
            <a:lvl1pPr>
              <a:defRPr sz="1200"/>
            </a:lvl1pPr>
            <a:lvl2pPr marL="109706" indent="-109706">
              <a:defRPr sz="1200"/>
            </a:lvl2pPr>
            <a:lvl3pPr marL="219412" indent="-109706">
              <a:defRPr sz="1200"/>
            </a:lvl3pPr>
            <a:lvl4pPr marL="329118" indent="-109706">
              <a:defRPr sz="1200"/>
            </a:lvl4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22" descr="Horizontal row divider">
            <a:extLst>
              <a:ext uri="{FF2B5EF4-FFF2-40B4-BE49-F238E27FC236}">
                <a16:creationId xmlns:a16="http://schemas.microsoft.com/office/drawing/2014/main" id="{0413FBE9-14E3-F0CC-AD0A-71C4D0BB6BAA}"/>
              </a:ext>
              <a:ext uri="{C183D7F6-B498-43B3-948B-1728B52AA6E4}">
                <adec:decorative xmlns:adec="http://schemas.microsoft.com/office/drawing/2017/decorative" val="0"/>
              </a:ext>
            </a:extLst>
          </p:cNvPr>
          <p:cNvCxnSpPr/>
          <p:nvPr/>
        </p:nvCxnSpPr>
        <p:spPr>
          <a:xfrm>
            <a:off x="3047605" y="3048002"/>
            <a:ext cx="8860269" cy="0"/>
          </a:xfrm>
          <a:prstGeom prst="straightConnector1">
            <a:avLst/>
          </a:prstGeom>
          <a:noFill/>
          <a:ln w="12701" cap="flat">
            <a:solidFill>
              <a:srgbClr val="000000"/>
            </a:solidFill>
            <a:prstDash val="solid"/>
          </a:ln>
        </p:spPr>
      </p:cxnSp>
      <p:sp>
        <p:nvSpPr>
          <p:cNvPr id="10" name="Picture Placeholder 15" descr="Place icon here">
            <a:extLst>
              <a:ext uri="{FF2B5EF4-FFF2-40B4-BE49-F238E27FC236}">
                <a16:creationId xmlns:a16="http://schemas.microsoft.com/office/drawing/2014/main" id="{731B2C3F-DE41-4350-0400-50277923A942}"/>
              </a:ext>
            </a:extLst>
          </p:cNvPr>
          <p:cNvSpPr txBox="1">
            <a:spLocks noGrp="1"/>
          </p:cNvSpPr>
          <p:nvPr>
            <p:ph type="pic" idx="4294967295"/>
          </p:nvPr>
        </p:nvSpPr>
        <p:spPr>
          <a:xfrm>
            <a:off x="3333317" y="3347316"/>
            <a:ext cx="201142" cy="201611"/>
          </a:xfrm>
        </p:spPr>
        <p:txBody>
          <a:bodyPr/>
          <a:lstStyle>
            <a:lvl1pPr>
              <a:defRPr sz="700"/>
            </a:lvl1pPr>
          </a:lstStyle>
          <a:p>
            <a:pPr lvl="0"/>
            <a:r>
              <a:rPr lang="en-US"/>
              <a:t>Icon</a:t>
            </a:r>
          </a:p>
        </p:txBody>
      </p:sp>
      <p:sp>
        <p:nvSpPr>
          <p:cNvPr id="11" name="Text Placeholder 4">
            <a:extLst>
              <a:ext uri="{FF2B5EF4-FFF2-40B4-BE49-F238E27FC236}">
                <a16:creationId xmlns:a16="http://schemas.microsoft.com/office/drawing/2014/main" id="{8DCC713B-DE82-5286-E405-58478AA41FF6}"/>
              </a:ext>
            </a:extLst>
          </p:cNvPr>
          <p:cNvSpPr txBox="1">
            <a:spLocks noGrp="1"/>
          </p:cNvSpPr>
          <p:nvPr>
            <p:ph type="body" idx="4294967295"/>
          </p:nvPr>
        </p:nvSpPr>
        <p:spPr>
          <a:xfrm>
            <a:off x="3333318" y="3811795"/>
            <a:ext cx="2477701" cy="1999148"/>
          </a:xfrm>
        </p:spPr>
        <p:txBody>
          <a:bodyPr/>
          <a:lstStyle>
            <a:lvl1pPr>
              <a:defRPr sz="1200"/>
            </a:lvl1pPr>
            <a:lvl2pPr marL="109706" indent="-109706">
              <a:defRPr sz="1200"/>
            </a:lvl2pPr>
            <a:lvl3pPr marL="219412" indent="-109706">
              <a:defRPr sz="1200"/>
            </a:lvl3pPr>
            <a:lvl4pPr marL="329118" indent="-109706">
              <a:defRPr sz="12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5" descr="Place icon here">
            <a:extLst>
              <a:ext uri="{FF2B5EF4-FFF2-40B4-BE49-F238E27FC236}">
                <a16:creationId xmlns:a16="http://schemas.microsoft.com/office/drawing/2014/main" id="{B1D9093A-05CF-35FA-FE83-0DE6ECCFEFAC}"/>
              </a:ext>
            </a:extLst>
          </p:cNvPr>
          <p:cNvSpPr txBox="1">
            <a:spLocks noGrp="1"/>
          </p:cNvSpPr>
          <p:nvPr>
            <p:ph type="pic" idx="4294967295"/>
          </p:nvPr>
        </p:nvSpPr>
        <p:spPr>
          <a:xfrm>
            <a:off x="6389168" y="3347316"/>
            <a:ext cx="201142" cy="201611"/>
          </a:xfrm>
        </p:spPr>
        <p:txBody>
          <a:bodyPr/>
          <a:lstStyle>
            <a:lvl1pPr>
              <a:defRPr sz="700"/>
            </a:lvl1pPr>
          </a:lstStyle>
          <a:p>
            <a:pPr lvl="0"/>
            <a:r>
              <a:rPr lang="en-US"/>
              <a:t>Icon</a:t>
            </a:r>
          </a:p>
        </p:txBody>
      </p:sp>
      <p:sp>
        <p:nvSpPr>
          <p:cNvPr id="13" name="Text Placeholder 4">
            <a:extLst>
              <a:ext uri="{FF2B5EF4-FFF2-40B4-BE49-F238E27FC236}">
                <a16:creationId xmlns:a16="http://schemas.microsoft.com/office/drawing/2014/main" id="{A650FD40-0DAA-103D-B020-E7F9438347D0}"/>
              </a:ext>
            </a:extLst>
          </p:cNvPr>
          <p:cNvSpPr txBox="1">
            <a:spLocks noGrp="1"/>
          </p:cNvSpPr>
          <p:nvPr>
            <p:ph type="body" idx="4294967295"/>
          </p:nvPr>
        </p:nvSpPr>
        <p:spPr>
          <a:xfrm>
            <a:off x="6389169" y="3811795"/>
            <a:ext cx="2477701" cy="1999144"/>
          </a:xfrm>
        </p:spPr>
        <p:txBody>
          <a:bodyPr/>
          <a:lstStyle>
            <a:lvl1pPr>
              <a:defRPr sz="1200"/>
            </a:lvl1pPr>
            <a:lvl2pPr marL="109706" indent="-109706">
              <a:defRPr sz="1200"/>
            </a:lvl2pPr>
            <a:lvl3pPr marL="219412" indent="-109706">
              <a:defRPr sz="1200"/>
            </a:lvl3pPr>
            <a:lvl4pPr marL="329118" indent="-109706">
              <a:defRPr sz="12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5" descr="Place icon here">
            <a:extLst>
              <a:ext uri="{FF2B5EF4-FFF2-40B4-BE49-F238E27FC236}">
                <a16:creationId xmlns:a16="http://schemas.microsoft.com/office/drawing/2014/main" id="{3EB0308D-4BB7-6692-B221-A0509512AEBE}"/>
              </a:ext>
            </a:extLst>
          </p:cNvPr>
          <p:cNvSpPr txBox="1">
            <a:spLocks noGrp="1"/>
          </p:cNvSpPr>
          <p:nvPr>
            <p:ph type="pic" idx="4294967295"/>
          </p:nvPr>
        </p:nvSpPr>
        <p:spPr>
          <a:xfrm>
            <a:off x="9428522" y="3347316"/>
            <a:ext cx="201142" cy="201611"/>
          </a:xfrm>
        </p:spPr>
        <p:txBody>
          <a:bodyPr/>
          <a:lstStyle>
            <a:lvl1pPr>
              <a:defRPr sz="700"/>
            </a:lvl1pPr>
          </a:lstStyle>
          <a:p>
            <a:pPr lvl="0"/>
            <a:r>
              <a:rPr lang="en-US"/>
              <a:t>Icon</a:t>
            </a:r>
          </a:p>
        </p:txBody>
      </p:sp>
      <p:sp>
        <p:nvSpPr>
          <p:cNvPr id="15" name="Text Placeholder 4">
            <a:extLst>
              <a:ext uri="{FF2B5EF4-FFF2-40B4-BE49-F238E27FC236}">
                <a16:creationId xmlns:a16="http://schemas.microsoft.com/office/drawing/2014/main" id="{9EC8BDDF-9041-D36C-1641-0664AE52F2B2}"/>
              </a:ext>
            </a:extLst>
          </p:cNvPr>
          <p:cNvSpPr txBox="1">
            <a:spLocks noGrp="1"/>
          </p:cNvSpPr>
          <p:nvPr>
            <p:ph type="body" idx="4294967295"/>
          </p:nvPr>
        </p:nvSpPr>
        <p:spPr>
          <a:xfrm>
            <a:off x="9428522" y="3811795"/>
            <a:ext cx="2473130" cy="1999144"/>
          </a:xfrm>
        </p:spPr>
        <p:txBody>
          <a:bodyPr/>
          <a:lstStyle>
            <a:lvl1pPr>
              <a:defRPr sz="1200"/>
            </a:lvl1pPr>
            <a:lvl2pPr marL="109706" indent="-109706">
              <a:defRPr sz="1200"/>
            </a:lvl2pPr>
            <a:lvl3pPr marL="219412" indent="-109706">
              <a:defRPr sz="1200"/>
            </a:lvl3pPr>
            <a:lvl4pPr marL="329118" indent="-109706">
              <a:defRPr sz="12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Footer Placeholder 3">
            <a:extLst>
              <a:ext uri="{FF2B5EF4-FFF2-40B4-BE49-F238E27FC236}">
                <a16:creationId xmlns:a16="http://schemas.microsoft.com/office/drawing/2014/main" id="{354545BA-08AB-5057-0D4B-CD8F8C8D0367}"/>
              </a:ext>
            </a:extLst>
          </p:cNvPr>
          <p:cNvSpPr txBox="1">
            <a:spLocks noGrp="1"/>
          </p:cNvSpPr>
          <p:nvPr>
            <p:ph type="ftr" sz="quarter" idx="9"/>
          </p:nvPr>
        </p:nvSpPr>
        <p:spPr>
          <a:xfrm>
            <a:off x="287962" y="6408001"/>
            <a:ext cx="2477765" cy="190502"/>
          </a:xfrm>
        </p:spPr>
        <p:txBody>
          <a:bodyPr/>
          <a:lstStyle>
            <a:lvl1pPr>
              <a:defRPr/>
            </a:lvl1pPr>
          </a:lstStyle>
          <a:p>
            <a:pPr lvl="0"/>
            <a:endParaRPr lang="en-US"/>
          </a:p>
        </p:txBody>
      </p:sp>
      <p:sp>
        <p:nvSpPr>
          <p:cNvPr id="17" name="Slide Number">
            <a:extLst>
              <a:ext uri="{FF2B5EF4-FFF2-40B4-BE49-F238E27FC236}">
                <a16:creationId xmlns:a16="http://schemas.microsoft.com/office/drawing/2014/main" id="{3B115DE1-79C7-37EF-9D7C-30D8BE2419AD}"/>
              </a:ext>
            </a:extLst>
          </p:cNvPr>
          <p:cNvSpPr txBox="1">
            <a:spLocks noGrp="1"/>
          </p:cNvSpPr>
          <p:nvPr>
            <p:ph type="sldNum" sz="quarter" idx="8"/>
          </p:nvPr>
        </p:nvSpPr>
        <p:spPr>
          <a:xfrm>
            <a:off x="11769264" y="6475767"/>
            <a:ext cx="135437" cy="123110"/>
          </a:xfrm>
        </p:spPr>
        <p:txBody>
          <a:bodyPr anchor="ctr"/>
          <a:lstStyle>
            <a:lvl1pPr>
              <a:defRPr/>
            </a:lvl1pPr>
          </a:lstStyle>
          <a:p>
            <a:pPr lvl="0"/>
            <a:fld id="{AE7E6BC8-0553-4C4F-BCC2-2E0F28B1D7B2}" type="slidenum">
              <a:t>‹#›</a:t>
            </a:fld>
            <a:endParaRPr lang="en-US"/>
          </a:p>
        </p:txBody>
      </p:sp>
      <p:cxnSp>
        <p:nvCxnSpPr>
          <p:cNvPr id="18" name="Straight Connector 3" descr="Vertical column divider">
            <a:extLst>
              <a:ext uri="{FF2B5EF4-FFF2-40B4-BE49-F238E27FC236}">
                <a16:creationId xmlns:a16="http://schemas.microsoft.com/office/drawing/2014/main" id="{E5147995-A777-DF83-1E6F-0A2E5F924846}"/>
              </a:ext>
            </a:extLst>
          </p:cNvPr>
          <p:cNvCxnSpPr/>
          <p:nvPr/>
        </p:nvCxnSpPr>
        <p:spPr>
          <a:xfrm>
            <a:off x="3047605" y="285050"/>
            <a:ext cx="0" cy="5811040"/>
          </a:xfrm>
          <a:prstGeom prst="straightConnector1">
            <a:avLst/>
          </a:prstGeom>
          <a:noFill/>
          <a:ln w="12701" cap="flat">
            <a:solidFill>
              <a:srgbClr val="000000"/>
            </a:solidFill>
            <a:prstDash val="solid"/>
          </a:ln>
        </p:spPr>
      </p:cxnSp>
      <p:cxnSp>
        <p:nvCxnSpPr>
          <p:cNvPr id="19" name="Straight Connector 10" descr="Vertical column divider">
            <a:extLst>
              <a:ext uri="{FF2B5EF4-FFF2-40B4-BE49-F238E27FC236}">
                <a16:creationId xmlns:a16="http://schemas.microsoft.com/office/drawing/2014/main" id="{A7F8B602-B8A8-C3E0-09D6-86647C2D4341}"/>
              </a:ext>
            </a:extLst>
          </p:cNvPr>
          <p:cNvCxnSpPr/>
          <p:nvPr/>
        </p:nvCxnSpPr>
        <p:spPr>
          <a:xfrm>
            <a:off x="6095268" y="285050"/>
            <a:ext cx="0" cy="5812540"/>
          </a:xfrm>
          <a:prstGeom prst="straightConnector1">
            <a:avLst/>
          </a:prstGeom>
          <a:noFill/>
          <a:ln w="12701" cap="flat">
            <a:solidFill>
              <a:srgbClr val="000000"/>
            </a:solidFill>
            <a:prstDash val="solid"/>
          </a:ln>
        </p:spPr>
      </p:cxnSp>
      <p:cxnSp>
        <p:nvCxnSpPr>
          <p:cNvPr id="20" name="Straight Connector 12" descr="Vertical column divider">
            <a:extLst>
              <a:ext uri="{FF2B5EF4-FFF2-40B4-BE49-F238E27FC236}">
                <a16:creationId xmlns:a16="http://schemas.microsoft.com/office/drawing/2014/main" id="{C3821D36-5B2E-D9CD-AE4B-DF944B748EAC}"/>
              </a:ext>
            </a:extLst>
          </p:cNvPr>
          <p:cNvCxnSpPr/>
          <p:nvPr/>
        </p:nvCxnSpPr>
        <p:spPr>
          <a:xfrm>
            <a:off x="9142810" y="285050"/>
            <a:ext cx="0" cy="5811040"/>
          </a:xfrm>
          <a:prstGeom prst="straightConnector1">
            <a:avLst/>
          </a:prstGeom>
          <a:noFill/>
          <a:ln w="12701" cap="flat">
            <a:solidFill>
              <a:srgbClr val="000000"/>
            </a:solidFill>
            <a:prstDash val="solid"/>
          </a:ln>
        </p:spPr>
      </p:cxnSp>
    </p:spTree>
    <p:extLst>
      <p:ext uri="{BB962C8B-B14F-4D97-AF65-F5344CB8AC3E}">
        <p14:creationId xmlns:p14="http://schemas.microsoft.com/office/powerpoint/2010/main" val="291378944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Boxes, 6 stacked, alternate, large title">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86089D-ADE1-46DB-B8AB-37661AC984D2}"/>
              </a:ext>
            </a:extLst>
          </p:cNvPr>
          <p:cNvSpPr txBox="1">
            <a:spLocks noGrp="1"/>
          </p:cNvSpPr>
          <p:nvPr>
            <p:ph type="title"/>
          </p:nvPr>
        </p:nvSpPr>
        <p:spPr>
          <a:xfrm>
            <a:off x="287962" y="192024"/>
            <a:ext cx="5519020" cy="1706563"/>
          </a:xfrm>
        </p:spPr>
        <p:txBody>
          <a:bodyPr rIns="457200"/>
          <a:lstStyle>
            <a:lvl1pPr>
              <a:lnSpc>
                <a:spcPct val="100000"/>
              </a:lnSpc>
              <a:defRPr sz="3399"/>
            </a:lvl1pPr>
          </a:lstStyle>
          <a:p>
            <a:pPr lvl="0"/>
            <a:r>
              <a:rPr lang="en-US"/>
              <a:t>Click to edit Master title style</a:t>
            </a:r>
          </a:p>
        </p:txBody>
      </p:sp>
      <p:sp>
        <p:nvSpPr>
          <p:cNvPr id="3" name="Text Placeholder 6">
            <a:extLst>
              <a:ext uri="{FF2B5EF4-FFF2-40B4-BE49-F238E27FC236}">
                <a16:creationId xmlns:a16="http://schemas.microsoft.com/office/drawing/2014/main" id="{DCA8B8BC-6884-4125-D0FD-C51EF9DC5F96}"/>
              </a:ext>
            </a:extLst>
          </p:cNvPr>
          <p:cNvSpPr txBox="1">
            <a:spLocks noGrp="1"/>
          </p:cNvSpPr>
          <p:nvPr>
            <p:ph type="body" idx="4294967295"/>
          </p:nvPr>
        </p:nvSpPr>
        <p:spPr>
          <a:xfrm>
            <a:off x="6389169" y="288036"/>
            <a:ext cx="2476179" cy="2477292"/>
          </a:xfrm>
        </p:spPr>
        <p:txBody>
          <a:bodyPr/>
          <a:lstStyle>
            <a:lvl1pPr>
              <a:defRPr sz="1400"/>
            </a:lvl1pPr>
            <a:lvl2pPr marL="127990" indent="-127990">
              <a:defRPr sz="1400"/>
            </a:lvl2pPr>
            <a:lvl3pPr marL="255981" indent="-127990">
              <a:defRPr sz="1400"/>
            </a:lvl3pPr>
            <a:lvl4pPr marL="383971" indent="-127990">
              <a:defRPr sz="1400"/>
            </a:lvl4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4" name="Straight Connector 18" descr="Vertical column divider">
            <a:extLst>
              <a:ext uri="{FF2B5EF4-FFF2-40B4-BE49-F238E27FC236}">
                <a16:creationId xmlns:a16="http://schemas.microsoft.com/office/drawing/2014/main" id="{708AB5AC-5178-BFB9-0FBA-35BDADCF87B0}"/>
              </a:ext>
              <a:ext uri="{C183D7F6-B498-43B3-948B-1728B52AA6E4}">
                <adec:decorative xmlns:adec="http://schemas.microsoft.com/office/drawing/2017/decorative" val="0"/>
              </a:ext>
            </a:extLst>
          </p:cNvPr>
          <p:cNvCxnSpPr/>
          <p:nvPr/>
        </p:nvCxnSpPr>
        <p:spPr>
          <a:xfrm>
            <a:off x="9142810" y="286568"/>
            <a:ext cx="0" cy="5811022"/>
          </a:xfrm>
          <a:prstGeom prst="straightConnector1">
            <a:avLst/>
          </a:prstGeom>
          <a:noFill/>
          <a:ln w="12701" cap="flat">
            <a:solidFill>
              <a:srgbClr val="000000"/>
            </a:solidFill>
            <a:prstDash val="solid"/>
          </a:ln>
        </p:spPr>
      </p:cxnSp>
      <p:sp>
        <p:nvSpPr>
          <p:cNvPr id="5" name="Text Placeholder 6">
            <a:extLst>
              <a:ext uri="{FF2B5EF4-FFF2-40B4-BE49-F238E27FC236}">
                <a16:creationId xmlns:a16="http://schemas.microsoft.com/office/drawing/2014/main" id="{2DB0DA19-76F9-78F4-1001-67DCFF5FCDB8}"/>
              </a:ext>
            </a:extLst>
          </p:cNvPr>
          <p:cNvSpPr txBox="1">
            <a:spLocks noGrp="1"/>
          </p:cNvSpPr>
          <p:nvPr>
            <p:ph type="body" idx="4294967295"/>
          </p:nvPr>
        </p:nvSpPr>
        <p:spPr>
          <a:xfrm>
            <a:off x="9430108" y="288036"/>
            <a:ext cx="2476179" cy="2477292"/>
          </a:xfrm>
        </p:spPr>
        <p:txBody>
          <a:bodyPr/>
          <a:lstStyle>
            <a:lvl1pPr>
              <a:defRPr sz="1400"/>
            </a:lvl1pPr>
            <a:lvl2pPr marL="127990" indent="-127990">
              <a:defRPr sz="1400"/>
            </a:lvl2pPr>
            <a:lvl3pPr marL="255981" indent="-127990">
              <a:defRPr sz="1400"/>
            </a:lvl3pPr>
            <a:lvl4pPr marL="383971" indent="-127990">
              <a:defRPr sz="1400"/>
            </a:lvl4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6" name="Straight Connector 15" descr="Horizontal row divider">
            <a:extLst>
              <a:ext uri="{FF2B5EF4-FFF2-40B4-BE49-F238E27FC236}">
                <a16:creationId xmlns:a16="http://schemas.microsoft.com/office/drawing/2014/main" id="{2C1943BF-4136-C868-83C6-BF9F5F50B1BA}"/>
              </a:ext>
              <a:ext uri="{C183D7F6-B498-43B3-948B-1728B52AA6E4}">
                <adec:decorative xmlns:adec="http://schemas.microsoft.com/office/drawing/2017/decorative" val="0"/>
              </a:ext>
            </a:extLst>
          </p:cNvPr>
          <p:cNvCxnSpPr/>
          <p:nvPr/>
        </p:nvCxnSpPr>
        <p:spPr>
          <a:xfrm>
            <a:off x="287998" y="3048002"/>
            <a:ext cx="11612735" cy="0"/>
          </a:xfrm>
          <a:prstGeom prst="straightConnector1">
            <a:avLst/>
          </a:prstGeom>
          <a:noFill/>
          <a:ln w="12701" cap="flat">
            <a:solidFill>
              <a:srgbClr val="000000"/>
            </a:solidFill>
            <a:prstDash val="solid"/>
          </a:ln>
        </p:spPr>
      </p:cxnSp>
      <p:cxnSp>
        <p:nvCxnSpPr>
          <p:cNvPr id="7" name="Straight Connector 17" descr="Vertical column divider">
            <a:extLst>
              <a:ext uri="{FF2B5EF4-FFF2-40B4-BE49-F238E27FC236}">
                <a16:creationId xmlns:a16="http://schemas.microsoft.com/office/drawing/2014/main" id="{DF24BF52-4094-E42C-2E03-1F9D9317D1BC}"/>
              </a:ext>
              <a:ext uri="{C183D7F6-B498-43B3-948B-1728B52AA6E4}">
                <adec:decorative xmlns:adec="http://schemas.microsoft.com/office/drawing/2017/decorative" val="0"/>
              </a:ext>
            </a:extLst>
          </p:cNvPr>
          <p:cNvCxnSpPr/>
          <p:nvPr/>
        </p:nvCxnSpPr>
        <p:spPr>
          <a:xfrm>
            <a:off x="3047605" y="3048002"/>
            <a:ext cx="0" cy="3049588"/>
          </a:xfrm>
          <a:prstGeom prst="straightConnector1">
            <a:avLst/>
          </a:prstGeom>
          <a:noFill/>
          <a:ln w="12701" cap="flat">
            <a:solidFill>
              <a:srgbClr val="000000"/>
            </a:solidFill>
            <a:prstDash val="solid"/>
          </a:ln>
        </p:spPr>
      </p:cxnSp>
      <p:sp>
        <p:nvSpPr>
          <p:cNvPr id="8" name="Footer Placeholder 3">
            <a:extLst>
              <a:ext uri="{FF2B5EF4-FFF2-40B4-BE49-F238E27FC236}">
                <a16:creationId xmlns:a16="http://schemas.microsoft.com/office/drawing/2014/main" id="{0A4EB246-2B77-07F3-732F-CB5F397DAB6A}"/>
              </a:ext>
            </a:extLst>
          </p:cNvPr>
          <p:cNvSpPr txBox="1">
            <a:spLocks noGrp="1"/>
          </p:cNvSpPr>
          <p:nvPr>
            <p:ph type="ftr" sz="quarter" idx="9"/>
          </p:nvPr>
        </p:nvSpPr>
        <p:spPr>
          <a:xfrm>
            <a:off x="287962" y="6408001"/>
            <a:ext cx="2477765" cy="190502"/>
          </a:xfrm>
        </p:spPr>
        <p:txBody>
          <a:bodyPr/>
          <a:lstStyle>
            <a:lvl1pPr>
              <a:defRPr/>
            </a:lvl1pPr>
          </a:lstStyle>
          <a:p>
            <a:pPr lvl="0"/>
            <a:endParaRPr lang="en-US"/>
          </a:p>
        </p:txBody>
      </p:sp>
      <p:sp>
        <p:nvSpPr>
          <p:cNvPr id="9" name="Slide Number">
            <a:extLst>
              <a:ext uri="{FF2B5EF4-FFF2-40B4-BE49-F238E27FC236}">
                <a16:creationId xmlns:a16="http://schemas.microsoft.com/office/drawing/2014/main" id="{21585467-E55B-3789-95B7-50FA804460F8}"/>
              </a:ext>
            </a:extLst>
          </p:cNvPr>
          <p:cNvSpPr txBox="1">
            <a:spLocks noGrp="1"/>
          </p:cNvSpPr>
          <p:nvPr>
            <p:ph type="sldNum" sz="quarter" idx="8"/>
          </p:nvPr>
        </p:nvSpPr>
        <p:spPr>
          <a:xfrm>
            <a:off x="11769264" y="6475767"/>
            <a:ext cx="135437" cy="123110"/>
          </a:xfrm>
        </p:spPr>
        <p:txBody>
          <a:bodyPr anchor="ctr"/>
          <a:lstStyle>
            <a:lvl1pPr>
              <a:defRPr/>
            </a:lvl1pPr>
          </a:lstStyle>
          <a:p>
            <a:pPr lvl="0"/>
            <a:fld id="{CEFCD340-86B3-1748-9C9A-3A962C7C8083}" type="slidenum">
              <a:t>‹#›</a:t>
            </a:fld>
            <a:endParaRPr lang="en-US"/>
          </a:p>
        </p:txBody>
      </p:sp>
      <p:cxnSp>
        <p:nvCxnSpPr>
          <p:cNvPr id="10" name="Straight Connector 4" descr="Vertical column divider">
            <a:extLst>
              <a:ext uri="{FF2B5EF4-FFF2-40B4-BE49-F238E27FC236}">
                <a16:creationId xmlns:a16="http://schemas.microsoft.com/office/drawing/2014/main" id="{A9F438C8-FB0F-43BD-CDEB-A06FE989B321}"/>
              </a:ext>
            </a:extLst>
          </p:cNvPr>
          <p:cNvCxnSpPr/>
          <p:nvPr/>
        </p:nvCxnSpPr>
        <p:spPr>
          <a:xfrm>
            <a:off x="6095268" y="285050"/>
            <a:ext cx="0" cy="5812540"/>
          </a:xfrm>
          <a:prstGeom prst="straightConnector1">
            <a:avLst/>
          </a:prstGeom>
          <a:noFill/>
          <a:ln w="12701" cap="flat">
            <a:solidFill>
              <a:srgbClr val="000000"/>
            </a:solidFill>
            <a:prstDash val="solid"/>
          </a:ln>
        </p:spPr>
      </p:cxnSp>
      <p:sp>
        <p:nvSpPr>
          <p:cNvPr id="11" name="Text Placeholder 10">
            <a:extLst>
              <a:ext uri="{FF2B5EF4-FFF2-40B4-BE49-F238E27FC236}">
                <a16:creationId xmlns:a16="http://schemas.microsoft.com/office/drawing/2014/main" id="{877BF8CF-14DC-6898-AE1A-2CF628DB8B47}"/>
              </a:ext>
            </a:extLst>
          </p:cNvPr>
          <p:cNvSpPr txBox="1">
            <a:spLocks noGrp="1"/>
          </p:cNvSpPr>
          <p:nvPr>
            <p:ph type="body" idx="4294967295"/>
          </p:nvPr>
        </p:nvSpPr>
        <p:spPr>
          <a:xfrm>
            <a:off x="287998" y="3337939"/>
            <a:ext cx="2474588" cy="2759645"/>
          </a:xfrm>
        </p:spPr>
        <p:txBody>
          <a:bodyPr/>
          <a:lstStyle>
            <a:lvl1pPr>
              <a:defRPr sz="1400"/>
            </a:lvl1pPr>
            <a:lvl2pPr marL="127990" indent="-127990">
              <a:defRPr sz="1400"/>
            </a:lvl2pPr>
            <a:lvl3pPr marL="255981" indent="-127990">
              <a:defRPr sz="1400"/>
            </a:lvl3pPr>
            <a:lvl4pPr marL="383971" indent="-127990">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4F3C2E40-353A-93AA-6493-FB62C0BA9657}"/>
              </a:ext>
            </a:extLst>
          </p:cNvPr>
          <p:cNvSpPr txBox="1">
            <a:spLocks noGrp="1"/>
          </p:cNvSpPr>
          <p:nvPr>
            <p:ph type="body" idx="4294967295"/>
          </p:nvPr>
        </p:nvSpPr>
        <p:spPr>
          <a:xfrm>
            <a:off x="3331187" y="3336924"/>
            <a:ext cx="2474588" cy="2760660"/>
          </a:xfrm>
        </p:spPr>
        <p:txBody>
          <a:bodyPr/>
          <a:lstStyle>
            <a:lvl1pPr>
              <a:defRPr sz="1400"/>
            </a:lvl1pPr>
            <a:lvl2pPr marL="127990" indent="-127990">
              <a:defRPr sz="1400"/>
            </a:lvl2pPr>
            <a:lvl3pPr marL="255981" indent="-127990">
              <a:defRPr sz="1400"/>
            </a:lvl3pPr>
            <a:lvl4pPr marL="383971" indent="-127990">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29E7C061-BEF7-3CA5-FCD4-24037A6D5A3C}"/>
              </a:ext>
            </a:extLst>
          </p:cNvPr>
          <p:cNvSpPr txBox="1">
            <a:spLocks noGrp="1"/>
          </p:cNvSpPr>
          <p:nvPr>
            <p:ph type="body" idx="4294967295"/>
          </p:nvPr>
        </p:nvSpPr>
        <p:spPr>
          <a:xfrm>
            <a:off x="6389168" y="3336924"/>
            <a:ext cx="2474588" cy="2760660"/>
          </a:xfrm>
        </p:spPr>
        <p:txBody>
          <a:bodyPr/>
          <a:lstStyle>
            <a:lvl1pPr>
              <a:defRPr sz="1400"/>
            </a:lvl1pPr>
            <a:lvl2pPr marL="127990" indent="-127990">
              <a:defRPr sz="1400"/>
            </a:lvl2pPr>
            <a:lvl3pPr marL="255981" indent="-127990">
              <a:defRPr sz="1400"/>
            </a:lvl3pPr>
            <a:lvl4pPr marL="383971" indent="-127990">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1F654DB1-763D-322D-DB8D-E3918984BB3A}"/>
              </a:ext>
            </a:extLst>
          </p:cNvPr>
          <p:cNvSpPr txBox="1">
            <a:spLocks noGrp="1"/>
          </p:cNvSpPr>
          <p:nvPr>
            <p:ph type="body" idx="4294967295"/>
          </p:nvPr>
        </p:nvSpPr>
        <p:spPr>
          <a:xfrm>
            <a:off x="9428522" y="3336924"/>
            <a:ext cx="2474588" cy="2760660"/>
          </a:xfrm>
        </p:spPr>
        <p:txBody>
          <a:bodyPr/>
          <a:lstStyle>
            <a:lvl1pPr>
              <a:defRPr sz="1400"/>
            </a:lvl1pPr>
            <a:lvl2pPr marL="127990" indent="-127990">
              <a:defRPr sz="1400"/>
            </a:lvl2pPr>
            <a:lvl3pPr marL="255981" indent="-127990">
              <a:defRPr sz="1400"/>
            </a:lvl3pPr>
            <a:lvl4pPr marL="383971" indent="-127990">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96347157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Boxes, 6 stacked, alternate, small title">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BF4DC0-81D3-7C3C-20E9-829A5E4F36CF}"/>
              </a:ext>
            </a:extLst>
          </p:cNvPr>
          <p:cNvSpPr txBox="1">
            <a:spLocks noGrp="1"/>
          </p:cNvSpPr>
          <p:nvPr>
            <p:ph type="title"/>
          </p:nvPr>
        </p:nvSpPr>
        <p:spPr>
          <a:xfrm>
            <a:off x="287961" y="288036"/>
            <a:ext cx="2474588" cy="1706563"/>
          </a:xfrm>
        </p:spPr>
        <p:txBody>
          <a:bodyPr/>
          <a:lstStyle>
            <a:lvl1pPr>
              <a:lnSpc>
                <a:spcPct val="110000"/>
              </a:lnSpc>
              <a:defRPr sz="1800"/>
            </a:lvl1pPr>
          </a:lstStyle>
          <a:p>
            <a:pPr lvl="0"/>
            <a:r>
              <a:rPr lang="en-US"/>
              <a:t>Click to edit Master title style</a:t>
            </a:r>
          </a:p>
        </p:txBody>
      </p:sp>
      <p:sp>
        <p:nvSpPr>
          <p:cNvPr id="3" name="Text Placeholder 6">
            <a:extLst>
              <a:ext uri="{FF2B5EF4-FFF2-40B4-BE49-F238E27FC236}">
                <a16:creationId xmlns:a16="http://schemas.microsoft.com/office/drawing/2014/main" id="{F23D57D6-8315-E30C-DE45-8DCCE7A3F690}"/>
              </a:ext>
            </a:extLst>
          </p:cNvPr>
          <p:cNvSpPr txBox="1">
            <a:spLocks noGrp="1"/>
          </p:cNvSpPr>
          <p:nvPr>
            <p:ph type="body" idx="4294967295"/>
          </p:nvPr>
        </p:nvSpPr>
        <p:spPr>
          <a:xfrm>
            <a:off x="6389169" y="288036"/>
            <a:ext cx="2476179" cy="2477292"/>
          </a:xfrm>
        </p:spPr>
        <p:txBody>
          <a:bodyPr/>
          <a:lstStyle>
            <a:lvl1pPr>
              <a:defRPr sz="1400"/>
            </a:lvl1pPr>
            <a:lvl2pPr marL="127990" indent="-127990">
              <a:defRPr sz="1400"/>
            </a:lvl2pPr>
            <a:lvl3pPr marL="255981" indent="-127990">
              <a:defRPr sz="1400"/>
            </a:lvl3pPr>
            <a:lvl4pPr marL="383971" indent="-127990">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 Placeholder 6">
            <a:extLst>
              <a:ext uri="{FF2B5EF4-FFF2-40B4-BE49-F238E27FC236}">
                <a16:creationId xmlns:a16="http://schemas.microsoft.com/office/drawing/2014/main" id="{A880B3A1-2C6C-D752-D466-261E693E4F6C}"/>
              </a:ext>
            </a:extLst>
          </p:cNvPr>
          <p:cNvSpPr txBox="1">
            <a:spLocks noGrp="1"/>
          </p:cNvSpPr>
          <p:nvPr>
            <p:ph type="body" idx="4294967295"/>
          </p:nvPr>
        </p:nvSpPr>
        <p:spPr>
          <a:xfrm>
            <a:off x="9430108" y="288036"/>
            <a:ext cx="2476179" cy="2477292"/>
          </a:xfrm>
        </p:spPr>
        <p:txBody>
          <a:bodyPr/>
          <a:lstStyle>
            <a:lvl1pPr>
              <a:defRPr sz="1400"/>
            </a:lvl1pPr>
            <a:lvl2pPr marL="127990" indent="-127990">
              <a:defRPr sz="1400"/>
            </a:lvl2pPr>
            <a:lvl3pPr marL="255981" indent="-127990">
              <a:defRPr sz="1400"/>
            </a:lvl3pPr>
            <a:lvl4pPr marL="383971" indent="-127990">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3CB15C16-7440-B21B-F449-3C631022FA68}"/>
              </a:ext>
            </a:extLst>
          </p:cNvPr>
          <p:cNvSpPr txBox="1">
            <a:spLocks noGrp="1"/>
          </p:cNvSpPr>
          <p:nvPr>
            <p:ph type="ftr" sz="quarter" idx="9"/>
          </p:nvPr>
        </p:nvSpPr>
        <p:spPr>
          <a:xfrm>
            <a:off x="287962" y="6408001"/>
            <a:ext cx="2477765" cy="190502"/>
          </a:xfrm>
        </p:spPr>
        <p:txBody>
          <a:bodyPr/>
          <a:lstStyle>
            <a:lvl1pPr>
              <a:defRPr/>
            </a:lvl1pPr>
          </a:lstStyle>
          <a:p>
            <a:pPr lvl="0"/>
            <a:endParaRPr lang="en-US"/>
          </a:p>
        </p:txBody>
      </p:sp>
      <p:sp>
        <p:nvSpPr>
          <p:cNvPr id="6" name="Slide Number">
            <a:extLst>
              <a:ext uri="{FF2B5EF4-FFF2-40B4-BE49-F238E27FC236}">
                <a16:creationId xmlns:a16="http://schemas.microsoft.com/office/drawing/2014/main" id="{6E500727-076C-AD36-6ACC-4599337DE617}"/>
              </a:ext>
            </a:extLst>
          </p:cNvPr>
          <p:cNvSpPr txBox="1">
            <a:spLocks noGrp="1"/>
          </p:cNvSpPr>
          <p:nvPr>
            <p:ph type="sldNum" sz="quarter" idx="8"/>
          </p:nvPr>
        </p:nvSpPr>
        <p:spPr>
          <a:xfrm>
            <a:off x="11769264" y="6475767"/>
            <a:ext cx="135437" cy="123110"/>
          </a:xfrm>
        </p:spPr>
        <p:txBody>
          <a:bodyPr anchor="ctr"/>
          <a:lstStyle>
            <a:lvl1pPr>
              <a:defRPr/>
            </a:lvl1pPr>
          </a:lstStyle>
          <a:p>
            <a:pPr lvl="0"/>
            <a:fld id="{95ED3168-6C2C-D04C-BC1B-91695C47D3C0}" type="slidenum">
              <a:t>‹#›</a:t>
            </a:fld>
            <a:endParaRPr lang="en-US"/>
          </a:p>
        </p:txBody>
      </p:sp>
      <p:cxnSp>
        <p:nvCxnSpPr>
          <p:cNvPr id="7" name="Straight Connector 4" descr="Vertical column divider">
            <a:extLst>
              <a:ext uri="{FF2B5EF4-FFF2-40B4-BE49-F238E27FC236}">
                <a16:creationId xmlns:a16="http://schemas.microsoft.com/office/drawing/2014/main" id="{E3A33057-5634-87E3-1450-064759389E17}"/>
              </a:ext>
              <a:ext uri="{C183D7F6-B498-43B3-948B-1728B52AA6E4}">
                <adec:decorative xmlns:adec="http://schemas.microsoft.com/office/drawing/2017/decorative" val="0"/>
              </a:ext>
            </a:extLst>
          </p:cNvPr>
          <p:cNvCxnSpPr/>
          <p:nvPr/>
        </p:nvCxnSpPr>
        <p:spPr>
          <a:xfrm>
            <a:off x="9142810" y="286568"/>
            <a:ext cx="0" cy="5811022"/>
          </a:xfrm>
          <a:prstGeom prst="straightConnector1">
            <a:avLst/>
          </a:prstGeom>
          <a:noFill/>
          <a:ln w="12701" cap="flat">
            <a:solidFill>
              <a:srgbClr val="000000"/>
            </a:solidFill>
            <a:prstDash val="solid"/>
          </a:ln>
        </p:spPr>
      </p:cxnSp>
      <p:cxnSp>
        <p:nvCxnSpPr>
          <p:cNvPr id="8" name="Straight Connector 12" descr="Horizontal row divider">
            <a:extLst>
              <a:ext uri="{FF2B5EF4-FFF2-40B4-BE49-F238E27FC236}">
                <a16:creationId xmlns:a16="http://schemas.microsoft.com/office/drawing/2014/main" id="{1EA58DA4-DA42-ADF9-1696-07C31C7A1AAF}"/>
              </a:ext>
              <a:ext uri="{C183D7F6-B498-43B3-948B-1728B52AA6E4}">
                <adec:decorative xmlns:adec="http://schemas.microsoft.com/office/drawing/2017/decorative" val="0"/>
              </a:ext>
            </a:extLst>
          </p:cNvPr>
          <p:cNvCxnSpPr/>
          <p:nvPr/>
        </p:nvCxnSpPr>
        <p:spPr>
          <a:xfrm>
            <a:off x="287998" y="3048002"/>
            <a:ext cx="11612735" cy="0"/>
          </a:xfrm>
          <a:prstGeom prst="straightConnector1">
            <a:avLst/>
          </a:prstGeom>
          <a:noFill/>
          <a:ln w="12701" cap="flat">
            <a:solidFill>
              <a:srgbClr val="000000"/>
            </a:solidFill>
            <a:prstDash val="solid"/>
          </a:ln>
        </p:spPr>
      </p:cxnSp>
      <p:cxnSp>
        <p:nvCxnSpPr>
          <p:cNvPr id="9" name="Straight Connector 13" descr="Vertical column divider">
            <a:extLst>
              <a:ext uri="{FF2B5EF4-FFF2-40B4-BE49-F238E27FC236}">
                <a16:creationId xmlns:a16="http://schemas.microsoft.com/office/drawing/2014/main" id="{BB25E2DE-12DF-74FB-E734-D40C6A0EA976}"/>
              </a:ext>
              <a:ext uri="{C183D7F6-B498-43B3-948B-1728B52AA6E4}">
                <adec:decorative xmlns:adec="http://schemas.microsoft.com/office/drawing/2017/decorative" val="0"/>
              </a:ext>
            </a:extLst>
          </p:cNvPr>
          <p:cNvCxnSpPr/>
          <p:nvPr/>
        </p:nvCxnSpPr>
        <p:spPr>
          <a:xfrm>
            <a:off x="3047605" y="3041651"/>
            <a:ext cx="0" cy="3055939"/>
          </a:xfrm>
          <a:prstGeom prst="straightConnector1">
            <a:avLst/>
          </a:prstGeom>
          <a:noFill/>
          <a:ln w="12701" cap="flat">
            <a:solidFill>
              <a:srgbClr val="000000"/>
            </a:solidFill>
            <a:prstDash val="solid"/>
          </a:ln>
        </p:spPr>
      </p:cxnSp>
      <p:cxnSp>
        <p:nvCxnSpPr>
          <p:cNvPr id="10" name="Straight Connector 14" descr="Vertical column divider">
            <a:extLst>
              <a:ext uri="{FF2B5EF4-FFF2-40B4-BE49-F238E27FC236}">
                <a16:creationId xmlns:a16="http://schemas.microsoft.com/office/drawing/2014/main" id="{A101D6D5-868A-A3B8-08EF-6239D0532833}"/>
              </a:ext>
            </a:extLst>
          </p:cNvPr>
          <p:cNvCxnSpPr/>
          <p:nvPr/>
        </p:nvCxnSpPr>
        <p:spPr>
          <a:xfrm>
            <a:off x="6095268" y="285050"/>
            <a:ext cx="0" cy="5812540"/>
          </a:xfrm>
          <a:prstGeom prst="straightConnector1">
            <a:avLst/>
          </a:prstGeom>
          <a:noFill/>
          <a:ln w="12701" cap="flat">
            <a:solidFill>
              <a:srgbClr val="000000"/>
            </a:solidFill>
            <a:prstDash val="solid"/>
          </a:ln>
        </p:spPr>
      </p:cxnSp>
      <p:sp>
        <p:nvSpPr>
          <p:cNvPr id="11" name="Text Placeholder 10">
            <a:extLst>
              <a:ext uri="{FF2B5EF4-FFF2-40B4-BE49-F238E27FC236}">
                <a16:creationId xmlns:a16="http://schemas.microsoft.com/office/drawing/2014/main" id="{E6691F2C-0F38-39D7-DE8A-BC4AAA264F77}"/>
              </a:ext>
            </a:extLst>
          </p:cNvPr>
          <p:cNvSpPr txBox="1">
            <a:spLocks noGrp="1"/>
          </p:cNvSpPr>
          <p:nvPr>
            <p:ph type="body" idx="4294967295"/>
          </p:nvPr>
        </p:nvSpPr>
        <p:spPr>
          <a:xfrm>
            <a:off x="287998" y="3337939"/>
            <a:ext cx="2474588" cy="2759645"/>
          </a:xfrm>
        </p:spPr>
        <p:txBody>
          <a:bodyPr/>
          <a:lstStyle>
            <a:lvl1pPr>
              <a:defRPr sz="1400"/>
            </a:lvl1pPr>
            <a:lvl2pPr marL="127990" indent="-127990">
              <a:defRPr sz="1400"/>
            </a:lvl2pPr>
            <a:lvl3pPr marL="255981" indent="-127990">
              <a:defRPr sz="1400"/>
            </a:lvl3pPr>
            <a:lvl4pPr marL="383971" indent="-127990">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BE24E6C9-CF42-33B1-0197-79456979BE97}"/>
              </a:ext>
            </a:extLst>
          </p:cNvPr>
          <p:cNvSpPr txBox="1">
            <a:spLocks noGrp="1"/>
          </p:cNvSpPr>
          <p:nvPr>
            <p:ph type="body" idx="4294967295"/>
          </p:nvPr>
        </p:nvSpPr>
        <p:spPr>
          <a:xfrm>
            <a:off x="3331187" y="3336924"/>
            <a:ext cx="2474588" cy="2760660"/>
          </a:xfrm>
        </p:spPr>
        <p:txBody>
          <a:bodyPr/>
          <a:lstStyle>
            <a:lvl1pPr>
              <a:defRPr sz="1400"/>
            </a:lvl1pPr>
            <a:lvl2pPr marL="127990" indent="-127990">
              <a:defRPr sz="1400"/>
            </a:lvl2pPr>
            <a:lvl3pPr marL="255981" indent="-127990">
              <a:defRPr sz="1400"/>
            </a:lvl3pPr>
            <a:lvl4pPr marL="383971" indent="-127990">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D936E651-34AE-8C4F-DF28-AA6A5BD4A52B}"/>
              </a:ext>
            </a:extLst>
          </p:cNvPr>
          <p:cNvSpPr txBox="1">
            <a:spLocks noGrp="1"/>
          </p:cNvSpPr>
          <p:nvPr>
            <p:ph type="body" idx="4294967295"/>
          </p:nvPr>
        </p:nvSpPr>
        <p:spPr>
          <a:xfrm>
            <a:off x="6389168" y="3336924"/>
            <a:ext cx="2474588" cy="2760660"/>
          </a:xfrm>
        </p:spPr>
        <p:txBody>
          <a:bodyPr/>
          <a:lstStyle>
            <a:lvl1pPr>
              <a:defRPr sz="1400"/>
            </a:lvl1pPr>
            <a:lvl2pPr marL="127990" indent="-127990">
              <a:defRPr sz="1400"/>
            </a:lvl2pPr>
            <a:lvl3pPr marL="255981" indent="-127990">
              <a:defRPr sz="1400"/>
            </a:lvl3pPr>
            <a:lvl4pPr marL="383971" indent="-127990">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207A1D7D-AD05-BE03-8B30-3D7995382A40}"/>
              </a:ext>
            </a:extLst>
          </p:cNvPr>
          <p:cNvSpPr txBox="1">
            <a:spLocks noGrp="1"/>
          </p:cNvSpPr>
          <p:nvPr>
            <p:ph type="body" idx="4294967295"/>
          </p:nvPr>
        </p:nvSpPr>
        <p:spPr>
          <a:xfrm>
            <a:off x="9428522" y="3336924"/>
            <a:ext cx="2474588" cy="2760660"/>
          </a:xfrm>
        </p:spPr>
        <p:txBody>
          <a:bodyPr/>
          <a:lstStyle>
            <a:lvl1pPr>
              <a:defRPr sz="1400"/>
            </a:lvl1pPr>
            <a:lvl2pPr marL="127990" indent="-127990">
              <a:defRPr sz="1400"/>
            </a:lvl2pPr>
            <a:lvl3pPr marL="255981" indent="-127990">
              <a:defRPr sz="1400"/>
            </a:lvl3pPr>
            <a:lvl4pPr marL="383971" indent="-127990">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66875524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Video or imagery, half, inset">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356DE-FBA1-810F-3137-4BA251BD9791}"/>
              </a:ext>
            </a:extLst>
          </p:cNvPr>
          <p:cNvSpPr txBox="1">
            <a:spLocks noGrp="1"/>
          </p:cNvSpPr>
          <p:nvPr>
            <p:ph type="title"/>
          </p:nvPr>
        </p:nvSpPr>
        <p:spPr>
          <a:xfrm>
            <a:off x="287961" y="288036"/>
            <a:ext cx="2474588" cy="762792"/>
          </a:xfrm>
        </p:spPr>
        <p:txBody>
          <a:bodyPr/>
          <a:lstStyle>
            <a:lvl1pPr>
              <a:lnSpc>
                <a:spcPct val="110000"/>
              </a:lnSpc>
              <a:defRPr sz="1400"/>
            </a:lvl1pPr>
          </a:lstStyle>
          <a:p>
            <a:pPr lvl="0"/>
            <a:r>
              <a:rPr lang="en-US"/>
              <a:t>Click to edit Master title style</a:t>
            </a:r>
          </a:p>
        </p:txBody>
      </p:sp>
      <p:sp>
        <p:nvSpPr>
          <p:cNvPr id="3" name="Text Placeholder 5">
            <a:extLst>
              <a:ext uri="{FF2B5EF4-FFF2-40B4-BE49-F238E27FC236}">
                <a16:creationId xmlns:a16="http://schemas.microsoft.com/office/drawing/2014/main" id="{63F50FC2-00C5-7888-A6B3-57DF2EFB144C}"/>
              </a:ext>
            </a:extLst>
          </p:cNvPr>
          <p:cNvSpPr txBox="1">
            <a:spLocks noGrp="1"/>
          </p:cNvSpPr>
          <p:nvPr>
            <p:ph type="body" idx="4294967295"/>
          </p:nvPr>
        </p:nvSpPr>
        <p:spPr>
          <a:xfrm>
            <a:off x="287961" y="1520825"/>
            <a:ext cx="2473130" cy="4576764"/>
          </a:xfrm>
        </p:spPr>
        <p:txBody>
          <a:bodyPr/>
          <a:lstStyle>
            <a:lvl1pPr>
              <a:defRPr sz="1400"/>
            </a:lvl1pPr>
            <a:lvl2pPr marL="127990" indent="-127990">
              <a:defRPr sz="1400"/>
            </a:lvl2pPr>
            <a:lvl3pPr marL="255981" indent="-127990">
              <a:defRPr sz="1400"/>
            </a:lvl3pPr>
            <a:lvl4pPr marL="383971" indent="-127990">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 Placeholder 5">
            <a:extLst>
              <a:ext uri="{FF2B5EF4-FFF2-40B4-BE49-F238E27FC236}">
                <a16:creationId xmlns:a16="http://schemas.microsoft.com/office/drawing/2014/main" id="{C54EEC63-46BA-F61B-11D9-F1582666D8B5}"/>
              </a:ext>
            </a:extLst>
          </p:cNvPr>
          <p:cNvSpPr txBox="1">
            <a:spLocks noGrp="1"/>
          </p:cNvSpPr>
          <p:nvPr>
            <p:ph type="body" idx="4294967295"/>
          </p:nvPr>
        </p:nvSpPr>
        <p:spPr>
          <a:xfrm>
            <a:off x="3334904" y="1520825"/>
            <a:ext cx="2475383" cy="4576764"/>
          </a:xfrm>
        </p:spPr>
        <p:txBody>
          <a:bodyPr/>
          <a:lstStyle>
            <a:lvl1pPr>
              <a:defRPr sz="1400"/>
            </a:lvl1pPr>
            <a:lvl2pPr marL="127990" indent="-127990">
              <a:defRPr sz="1400"/>
            </a:lvl2pPr>
            <a:lvl3pPr marL="255981" indent="-127990">
              <a:defRPr sz="1400"/>
            </a:lvl3pPr>
            <a:lvl4pPr marL="383971" indent="-127990">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10" descr="Place imagery here">
            <a:extLst>
              <a:ext uri="{FF2B5EF4-FFF2-40B4-BE49-F238E27FC236}">
                <a16:creationId xmlns:a16="http://schemas.microsoft.com/office/drawing/2014/main" id="{F3BC6D34-150A-F6E8-30C0-D2367AF80EC6}"/>
              </a:ext>
            </a:extLst>
          </p:cNvPr>
          <p:cNvSpPr txBox="1">
            <a:spLocks noGrp="1"/>
          </p:cNvSpPr>
          <p:nvPr>
            <p:ph type="pic" idx="4294967295"/>
          </p:nvPr>
        </p:nvSpPr>
        <p:spPr>
          <a:xfrm>
            <a:off x="6380917" y="288036"/>
            <a:ext cx="5519907" cy="6285800"/>
          </a:xfrm>
          <a:solidFill>
            <a:srgbClr val="E0E0E0"/>
          </a:solidFill>
        </p:spPr>
        <p:txBody>
          <a:bodyPr anchor="ctr" anchorCtr="1"/>
          <a:lstStyle>
            <a:lvl1pPr algn="ctr">
              <a:defRPr>
                <a:solidFill>
                  <a:srgbClr val="9F1853"/>
                </a:solidFill>
              </a:defRPr>
            </a:lvl1pPr>
          </a:lstStyle>
          <a:p>
            <a:pPr lvl="0"/>
            <a:r>
              <a:rPr lang="en-US"/>
              <a:t>Place imagery here</a:t>
            </a:r>
          </a:p>
        </p:txBody>
      </p:sp>
      <p:sp>
        <p:nvSpPr>
          <p:cNvPr id="6" name="Footer Placeholder 3">
            <a:extLst>
              <a:ext uri="{FF2B5EF4-FFF2-40B4-BE49-F238E27FC236}">
                <a16:creationId xmlns:a16="http://schemas.microsoft.com/office/drawing/2014/main" id="{576326B0-0B41-DBC9-486C-ED73025662D3}"/>
              </a:ext>
            </a:extLst>
          </p:cNvPr>
          <p:cNvSpPr txBox="1">
            <a:spLocks noGrp="1"/>
          </p:cNvSpPr>
          <p:nvPr>
            <p:ph type="ftr" sz="quarter" idx="9"/>
          </p:nvPr>
        </p:nvSpPr>
        <p:spPr>
          <a:xfrm>
            <a:off x="287962" y="6408001"/>
            <a:ext cx="2477765" cy="190502"/>
          </a:xfrm>
        </p:spPr>
        <p:txBody>
          <a:bodyPr/>
          <a:lstStyle>
            <a:lvl1pPr>
              <a:defRPr/>
            </a:lvl1pPr>
          </a:lstStyle>
          <a:p>
            <a:pPr lvl="0"/>
            <a:endParaRPr lang="en-US"/>
          </a:p>
        </p:txBody>
      </p:sp>
    </p:spTree>
    <p:extLst>
      <p:ext uri="{BB962C8B-B14F-4D97-AF65-F5344CB8AC3E}">
        <p14:creationId xmlns:p14="http://schemas.microsoft.com/office/powerpoint/2010/main" val="229095745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Video or imagery, 3/4, bleed">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08F13B-C8B3-D3C9-7346-64CDE7BCCFB9}"/>
              </a:ext>
            </a:extLst>
          </p:cNvPr>
          <p:cNvSpPr txBox="1">
            <a:spLocks noGrp="1"/>
          </p:cNvSpPr>
          <p:nvPr>
            <p:ph type="title"/>
          </p:nvPr>
        </p:nvSpPr>
        <p:spPr>
          <a:xfrm>
            <a:off x="287961" y="288036"/>
            <a:ext cx="2474588" cy="762792"/>
          </a:xfrm>
        </p:spPr>
        <p:txBody>
          <a:bodyPr/>
          <a:lstStyle>
            <a:lvl1pPr>
              <a:lnSpc>
                <a:spcPct val="110000"/>
              </a:lnSpc>
              <a:defRPr sz="1400"/>
            </a:lvl1pPr>
          </a:lstStyle>
          <a:p>
            <a:pPr lvl="0"/>
            <a:r>
              <a:rPr lang="en-US"/>
              <a:t>Click to edit Master title style</a:t>
            </a:r>
          </a:p>
        </p:txBody>
      </p:sp>
      <p:sp>
        <p:nvSpPr>
          <p:cNvPr id="3" name="Text Placeholder 5">
            <a:extLst>
              <a:ext uri="{FF2B5EF4-FFF2-40B4-BE49-F238E27FC236}">
                <a16:creationId xmlns:a16="http://schemas.microsoft.com/office/drawing/2014/main" id="{6235380E-6F68-7ACE-2138-015B659EB720}"/>
              </a:ext>
            </a:extLst>
          </p:cNvPr>
          <p:cNvSpPr txBox="1">
            <a:spLocks noGrp="1"/>
          </p:cNvSpPr>
          <p:nvPr>
            <p:ph type="body" idx="4294967295"/>
          </p:nvPr>
        </p:nvSpPr>
        <p:spPr>
          <a:xfrm>
            <a:off x="287962" y="1520825"/>
            <a:ext cx="2477765" cy="4576764"/>
          </a:xfrm>
        </p:spPr>
        <p:txBody>
          <a:bodyPr/>
          <a:lstStyle>
            <a:lvl1pPr>
              <a:defRPr sz="1400"/>
            </a:lvl1pPr>
            <a:lvl2pPr marL="127990" indent="-127990">
              <a:defRPr sz="1400"/>
            </a:lvl2pPr>
            <a:lvl3pPr marL="255981" indent="-127990">
              <a:defRPr sz="1400"/>
            </a:lvl3pPr>
            <a:lvl4pPr marL="383971" indent="-127990">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Picture Placeholder 11" descr="Place imagery here">
            <a:extLst>
              <a:ext uri="{FF2B5EF4-FFF2-40B4-BE49-F238E27FC236}">
                <a16:creationId xmlns:a16="http://schemas.microsoft.com/office/drawing/2014/main" id="{9D82FAD1-795B-106A-2668-BADD4E50EFE4}"/>
              </a:ext>
            </a:extLst>
          </p:cNvPr>
          <p:cNvSpPr txBox="1">
            <a:spLocks noGrp="1"/>
          </p:cNvSpPr>
          <p:nvPr>
            <p:ph type="pic" idx="4294967295"/>
          </p:nvPr>
        </p:nvSpPr>
        <p:spPr>
          <a:xfrm>
            <a:off x="3047605" y="0"/>
            <a:ext cx="9144395" cy="6858000"/>
          </a:xfrm>
          <a:solidFill>
            <a:srgbClr val="E0E0E0"/>
          </a:solidFill>
        </p:spPr>
        <p:txBody>
          <a:bodyPr anchor="ctr" anchorCtr="1"/>
          <a:lstStyle>
            <a:lvl1pPr algn="ctr">
              <a:defRPr>
                <a:solidFill>
                  <a:srgbClr val="9F1853"/>
                </a:solidFill>
              </a:defRPr>
            </a:lvl1pPr>
          </a:lstStyle>
          <a:p>
            <a:pPr lvl="0"/>
            <a:r>
              <a:rPr lang="en-US"/>
              <a:t>Place imagery here</a:t>
            </a:r>
          </a:p>
        </p:txBody>
      </p:sp>
      <p:sp>
        <p:nvSpPr>
          <p:cNvPr id="5" name="Footer Placeholder 3">
            <a:extLst>
              <a:ext uri="{FF2B5EF4-FFF2-40B4-BE49-F238E27FC236}">
                <a16:creationId xmlns:a16="http://schemas.microsoft.com/office/drawing/2014/main" id="{EF26C5BE-E0AB-F287-C20F-858E0B2162F6}"/>
              </a:ext>
            </a:extLst>
          </p:cNvPr>
          <p:cNvSpPr txBox="1">
            <a:spLocks noGrp="1"/>
          </p:cNvSpPr>
          <p:nvPr>
            <p:ph type="ftr" sz="quarter" idx="9"/>
          </p:nvPr>
        </p:nvSpPr>
        <p:spPr>
          <a:xfrm>
            <a:off x="287962" y="6408001"/>
            <a:ext cx="2477765" cy="190502"/>
          </a:xfrm>
        </p:spPr>
        <p:txBody>
          <a:bodyPr/>
          <a:lstStyle>
            <a:lvl1pPr>
              <a:defRPr/>
            </a:lvl1pPr>
          </a:lstStyle>
          <a:p>
            <a:pPr lvl="0"/>
            <a:endParaRPr lang="en-US"/>
          </a:p>
        </p:txBody>
      </p:sp>
      <p:sp>
        <p:nvSpPr>
          <p:cNvPr id="6" name="Slide Number">
            <a:extLst>
              <a:ext uri="{FF2B5EF4-FFF2-40B4-BE49-F238E27FC236}">
                <a16:creationId xmlns:a16="http://schemas.microsoft.com/office/drawing/2014/main" id="{DBD77C28-0152-B624-60EE-52EA6915AF0F}"/>
              </a:ext>
            </a:extLst>
          </p:cNvPr>
          <p:cNvSpPr txBox="1">
            <a:spLocks noGrp="1"/>
          </p:cNvSpPr>
          <p:nvPr>
            <p:ph type="sldNum" sz="quarter" idx="8"/>
          </p:nvPr>
        </p:nvSpPr>
        <p:spPr>
          <a:xfrm>
            <a:off x="11769264" y="6475767"/>
            <a:ext cx="135437" cy="123110"/>
          </a:xfrm>
        </p:spPr>
        <p:txBody>
          <a:bodyPr anchor="ctr"/>
          <a:lstStyle>
            <a:lvl1pPr>
              <a:defRPr/>
            </a:lvl1pPr>
          </a:lstStyle>
          <a:p>
            <a:pPr lvl="0"/>
            <a:fld id="{A65BEF40-54A9-F148-8032-971C45AF5F12}" type="slidenum">
              <a:t>‹#›</a:t>
            </a:fld>
            <a:endParaRPr lang="en-US"/>
          </a:p>
        </p:txBody>
      </p:sp>
    </p:spTree>
    <p:extLst>
      <p:ext uri="{BB962C8B-B14F-4D97-AF65-F5344CB8AC3E}">
        <p14:creationId xmlns:p14="http://schemas.microsoft.com/office/powerpoint/2010/main" val="359691739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Video or imagery, 3/4, inset">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6876D3-E9AE-8505-30B8-91C9A9FD02CD}"/>
              </a:ext>
            </a:extLst>
          </p:cNvPr>
          <p:cNvSpPr txBox="1">
            <a:spLocks noGrp="1"/>
          </p:cNvSpPr>
          <p:nvPr>
            <p:ph type="title"/>
          </p:nvPr>
        </p:nvSpPr>
        <p:spPr>
          <a:xfrm>
            <a:off x="287961" y="288036"/>
            <a:ext cx="2474588" cy="762792"/>
          </a:xfrm>
        </p:spPr>
        <p:txBody>
          <a:bodyPr/>
          <a:lstStyle>
            <a:lvl1pPr>
              <a:lnSpc>
                <a:spcPct val="110000"/>
              </a:lnSpc>
              <a:defRPr sz="1400"/>
            </a:lvl1pPr>
          </a:lstStyle>
          <a:p>
            <a:pPr lvl="0"/>
            <a:r>
              <a:rPr lang="en-US"/>
              <a:t>Click to edit Master title style</a:t>
            </a:r>
          </a:p>
        </p:txBody>
      </p:sp>
      <p:sp>
        <p:nvSpPr>
          <p:cNvPr id="3" name="Text Placeholder 5">
            <a:extLst>
              <a:ext uri="{FF2B5EF4-FFF2-40B4-BE49-F238E27FC236}">
                <a16:creationId xmlns:a16="http://schemas.microsoft.com/office/drawing/2014/main" id="{9BEFA73F-2EA3-1C9B-8E5B-8B378EDE73C1}"/>
              </a:ext>
            </a:extLst>
          </p:cNvPr>
          <p:cNvSpPr txBox="1">
            <a:spLocks noGrp="1"/>
          </p:cNvSpPr>
          <p:nvPr>
            <p:ph type="body" idx="4294967295"/>
          </p:nvPr>
        </p:nvSpPr>
        <p:spPr>
          <a:xfrm>
            <a:off x="287962" y="1520825"/>
            <a:ext cx="2477765" cy="4576764"/>
          </a:xfrm>
        </p:spPr>
        <p:txBody>
          <a:bodyPr/>
          <a:lstStyle>
            <a:lvl1pPr>
              <a:defRPr sz="1400"/>
            </a:lvl1pPr>
            <a:lvl2pPr marL="127990" indent="-127990">
              <a:defRPr sz="1400"/>
            </a:lvl2pPr>
            <a:lvl3pPr marL="255981" indent="-127990">
              <a:defRPr sz="1400"/>
            </a:lvl3pPr>
            <a:lvl4pPr marL="383971" indent="-127990">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Picture Placeholder 6" descr="Place imagery here">
            <a:extLst>
              <a:ext uri="{FF2B5EF4-FFF2-40B4-BE49-F238E27FC236}">
                <a16:creationId xmlns:a16="http://schemas.microsoft.com/office/drawing/2014/main" id="{71FC4A6A-E719-4074-33D6-543834B7D1AA}"/>
              </a:ext>
            </a:extLst>
          </p:cNvPr>
          <p:cNvSpPr txBox="1">
            <a:spLocks noGrp="1"/>
          </p:cNvSpPr>
          <p:nvPr>
            <p:ph type="pic" idx="4294967295"/>
          </p:nvPr>
        </p:nvSpPr>
        <p:spPr>
          <a:xfrm>
            <a:off x="3333318" y="285750"/>
            <a:ext cx="8567416" cy="6289673"/>
          </a:xfrm>
          <a:solidFill>
            <a:srgbClr val="E0E0E0"/>
          </a:solidFill>
        </p:spPr>
        <p:txBody>
          <a:bodyPr anchor="ctr" anchorCtr="1"/>
          <a:lstStyle>
            <a:lvl1pPr algn="ctr">
              <a:defRPr>
                <a:solidFill>
                  <a:srgbClr val="9F1853"/>
                </a:solidFill>
              </a:defRPr>
            </a:lvl1pPr>
          </a:lstStyle>
          <a:p>
            <a:pPr lvl="0"/>
            <a:r>
              <a:rPr lang="en-US"/>
              <a:t>Place imagery here</a:t>
            </a:r>
          </a:p>
        </p:txBody>
      </p:sp>
      <p:sp>
        <p:nvSpPr>
          <p:cNvPr id="5" name="Footer Placeholder 3">
            <a:extLst>
              <a:ext uri="{FF2B5EF4-FFF2-40B4-BE49-F238E27FC236}">
                <a16:creationId xmlns:a16="http://schemas.microsoft.com/office/drawing/2014/main" id="{DCAB97DC-33A0-B959-E6C9-158EC2145F14}"/>
              </a:ext>
            </a:extLst>
          </p:cNvPr>
          <p:cNvSpPr txBox="1">
            <a:spLocks noGrp="1"/>
          </p:cNvSpPr>
          <p:nvPr>
            <p:ph type="ftr" sz="quarter" idx="9"/>
          </p:nvPr>
        </p:nvSpPr>
        <p:spPr>
          <a:xfrm>
            <a:off x="287962" y="6408001"/>
            <a:ext cx="2477765" cy="190502"/>
          </a:xfrm>
        </p:spPr>
        <p:txBody>
          <a:bodyPr/>
          <a:lstStyle>
            <a:lvl1pPr>
              <a:defRPr/>
            </a:lvl1pPr>
          </a:lstStyle>
          <a:p>
            <a:pPr lvl="0"/>
            <a:endParaRPr lang="en-US"/>
          </a:p>
        </p:txBody>
      </p:sp>
    </p:spTree>
    <p:extLst>
      <p:ext uri="{BB962C8B-B14F-4D97-AF65-F5344CB8AC3E}">
        <p14:creationId xmlns:p14="http://schemas.microsoft.com/office/powerpoint/2010/main" val="229463320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Video or imagery, bleed">
    <p:bg>
      <p:bgPr>
        <a:solidFill>
          <a:srgbClr val="FFFFFF"/>
        </a:solidFill>
        <a:effectLst/>
      </p:bgPr>
    </p:bg>
    <p:spTree>
      <p:nvGrpSpPr>
        <p:cNvPr id="1" name=""/>
        <p:cNvGrpSpPr/>
        <p:nvPr/>
      </p:nvGrpSpPr>
      <p:grpSpPr>
        <a:xfrm>
          <a:off x="0" y="0"/>
          <a:ext cx="0" cy="0"/>
          <a:chOff x="0" y="0"/>
          <a:chExt cx="0" cy="0"/>
        </a:xfrm>
      </p:grpSpPr>
      <p:sp>
        <p:nvSpPr>
          <p:cNvPr id="2" name="Picture Placeholder 3" descr="Place imagery here">
            <a:extLst>
              <a:ext uri="{FF2B5EF4-FFF2-40B4-BE49-F238E27FC236}">
                <a16:creationId xmlns:a16="http://schemas.microsoft.com/office/drawing/2014/main" id="{79750572-C50F-6629-E570-D52C8B33576B}"/>
              </a:ext>
            </a:extLst>
          </p:cNvPr>
          <p:cNvSpPr txBox="1">
            <a:spLocks noGrp="1"/>
          </p:cNvSpPr>
          <p:nvPr>
            <p:ph type="pic" idx="4294967295"/>
          </p:nvPr>
        </p:nvSpPr>
        <p:spPr>
          <a:xfrm>
            <a:off x="0" y="0"/>
            <a:ext cx="12192000" cy="6858000"/>
          </a:xfrm>
          <a:solidFill>
            <a:srgbClr val="E0E0E0"/>
          </a:solidFill>
        </p:spPr>
        <p:txBody>
          <a:bodyPr anchor="ctr" anchorCtr="1"/>
          <a:lstStyle>
            <a:lvl1pPr algn="ctr">
              <a:defRPr>
                <a:solidFill>
                  <a:srgbClr val="9F1853"/>
                </a:solidFill>
              </a:defRPr>
            </a:lvl1pPr>
          </a:lstStyle>
          <a:p>
            <a:pPr lvl="0"/>
            <a:r>
              <a:rPr lang="en-US"/>
              <a:t>Place imagery here</a:t>
            </a:r>
          </a:p>
        </p:txBody>
      </p:sp>
      <p:sp>
        <p:nvSpPr>
          <p:cNvPr id="3" name="Slide Number">
            <a:extLst>
              <a:ext uri="{FF2B5EF4-FFF2-40B4-BE49-F238E27FC236}">
                <a16:creationId xmlns:a16="http://schemas.microsoft.com/office/drawing/2014/main" id="{99418BDE-C4F8-31A3-DE2F-0DEABA5FF546}"/>
              </a:ext>
            </a:extLst>
          </p:cNvPr>
          <p:cNvSpPr txBox="1">
            <a:spLocks noGrp="1"/>
          </p:cNvSpPr>
          <p:nvPr>
            <p:ph type="sldNum" sz="quarter" idx="8"/>
          </p:nvPr>
        </p:nvSpPr>
        <p:spPr>
          <a:xfrm>
            <a:off x="11769264" y="6475767"/>
            <a:ext cx="135437" cy="123110"/>
          </a:xfrm>
        </p:spPr>
        <p:txBody>
          <a:bodyPr anchor="ctr"/>
          <a:lstStyle>
            <a:lvl1pPr>
              <a:defRPr/>
            </a:lvl1pPr>
          </a:lstStyle>
          <a:p>
            <a:pPr lvl="0"/>
            <a:fld id="{C9F42445-D2D6-5742-8EDB-87CB6CAB23C5}" type="slidenum">
              <a:t>‹#›</a:t>
            </a:fld>
            <a:endParaRPr lang="en-US"/>
          </a:p>
        </p:txBody>
      </p:sp>
    </p:spTree>
    <p:extLst>
      <p:ext uri="{BB962C8B-B14F-4D97-AF65-F5344CB8AC3E}">
        <p14:creationId xmlns:p14="http://schemas.microsoft.com/office/powerpoint/2010/main" val="172920259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Video or imagery, inset">
    <p:bg>
      <p:bgPr>
        <a:solidFill>
          <a:srgbClr val="FFFFFF"/>
        </a:solidFill>
        <a:effectLst/>
      </p:bgPr>
    </p:bg>
    <p:spTree>
      <p:nvGrpSpPr>
        <p:cNvPr id="1" name=""/>
        <p:cNvGrpSpPr/>
        <p:nvPr/>
      </p:nvGrpSpPr>
      <p:grpSpPr>
        <a:xfrm>
          <a:off x="0" y="0"/>
          <a:ext cx="0" cy="0"/>
          <a:chOff x="0" y="0"/>
          <a:chExt cx="0" cy="0"/>
        </a:xfrm>
      </p:grpSpPr>
      <p:sp>
        <p:nvSpPr>
          <p:cNvPr id="2" name="Picture Placeholder 3" descr="Place imagery here">
            <a:extLst>
              <a:ext uri="{FF2B5EF4-FFF2-40B4-BE49-F238E27FC236}">
                <a16:creationId xmlns:a16="http://schemas.microsoft.com/office/drawing/2014/main" id="{61C8582D-71CE-CD5C-BB52-6B1E7F932763}"/>
              </a:ext>
            </a:extLst>
          </p:cNvPr>
          <p:cNvSpPr txBox="1">
            <a:spLocks noGrp="1"/>
          </p:cNvSpPr>
          <p:nvPr>
            <p:ph type="pic" idx="4294967295"/>
          </p:nvPr>
        </p:nvSpPr>
        <p:spPr>
          <a:xfrm>
            <a:off x="288885" y="285750"/>
            <a:ext cx="11611843" cy="6289673"/>
          </a:xfrm>
          <a:solidFill>
            <a:srgbClr val="E0E0E0"/>
          </a:solidFill>
        </p:spPr>
        <p:txBody>
          <a:bodyPr anchor="ctr" anchorCtr="1"/>
          <a:lstStyle>
            <a:lvl1pPr algn="ctr">
              <a:defRPr>
                <a:solidFill>
                  <a:srgbClr val="9F1853"/>
                </a:solidFill>
              </a:defRPr>
            </a:lvl1pPr>
          </a:lstStyle>
          <a:p>
            <a:pPr lvl="0"/>
            <a:r>
              <a:rPr lang="en-US"/>
              <a:t>Place imagery here</a:t>
            </a:r>
          </a:p>
        </p:txBody>
      </p:sp>
    </p:spTree>
    <p:extLst>
      <p:ext uri="{BB962C8B-B14F-4D97-AF65-F5344CB8AC3E}">
        <p14:creationId xmlns:p14="http://schemas.microsoft.com/office/powerpoint/2010/main" val="178908987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Contacts, profiles, contributors">
    <p:bg>
      <p:bgPr>
        <a:solidFill>
          <a:srgbClr val="FFFFFF"/>
        </a:solidFill>
        <a:effectLst/>
      </p:bgPr>
    </p:bg>
    <p:spTree>
      <p:nvGrpSpPr>
        <p:cNvPr id="1" name=""/>
        <p:cNvGrpSpPr/>
        <p:nvPr/>
      </p:nvGrpSpPr>
      <p:grpSpPr>
        <a:xfrm>
          <a:off x="0" y="0"/>
          <a:ext cx="0" cy="0"/>
          <a:chOff x="0" y="0"/>
          <a:chExt cx="0" cy="0"/>
        </a:xfrm>
      </p:grpSpPr>
      <p:sp>
        <p:nvSpPr>
          <p:cNvPr id="2" name="Picture Placeholder 7" descr="Place bio portrait here">
            <a:extLst>
              <a:ext uri="{FF2B5EF4-FFF2-40B4-BE49-F238E27FC236}">
                <a16:creationId xmlns:a16="http://schemas.microsoft.com/office/drawing/2014/main" id="{DE71C70B-B304-259C-52A3-84FA79A98188}"/>
              </a:ext>
            </a:extLst>
          </p:cNvPr>
          <p:cNvSpPr txBox="1">
            <a:spLocks noGrp="1"/>
          </p:cNvSpPr>
          <p:nvPr>
            <p:ph type="pic" idx="4294967295"/>
          </p:nvPr>
        </p:nvSpPr>
        <p:spPr>
          <a:xfrm>
            <a:off x="287961" y="1522412"/>
            <a:ext cx="1231043" cy="1238248"/>
          </a:xfrm>
          <a:solidFill>
            <a:srgbClr val="E0E0E0"/>
          </a:solidFill>
        </p:spPr>
        <p:txBody>
          <a:bodyPr anchor="ctr" anchorCtr="1"/>
          <a:lstStyle>
            <a:lvl1pPr algn="ctr">
              <a:defRPr>
                <a:solidFill>
                  <a:srgbClr val="9F1853"/>
                </a:solidFill>
              </a:defRPr>
            </a:lvl1pPr>
          </a:lstStyle>
          <a:p>
            <a:pPr lvl="0"/>
            <a:r>
              <a:rPr lang="en-US"/>
              <a:t>Place imagery here</a:t>
            </a:r>
          </a:p>
        </p:txBody>
      </p:sp>
      <p:sp>
        <p:nvSpPr>
          <p:cNvPr id="3" name="Picture Placeholder 7" descr="Place bio portrait here">
            <a:extLst>
              <a:ext uri="{FF2B5EF4-FFF2-40B4-BE49-F238E27FC236}">
                <a16:creationId xmlns:a16="http://schemas.microsoft.com/office/drawing/2014/main" id="{3E672C20-030A-DEF9-EB9B-E018B4334ACC}"/>
              </a:ext>
            </a:extLst>
          </p:cNvPr>
          <p:cNvSpPr txBox="1">
            <a:spLocks noGrp="1"/>
          </p:cNvSpPr>
          <p:nvPr>
            <p:ph type="pic" idx="4294967295"/>
          </p:nvPr>
        </p:nvSpPr>
        <p:spPr>
          <a:xfrm>
            <a:off x="287961" y="3048002"/>
            <a:ext cx="1231043" cy="1238248"/>
          </a:xfrm>
          <a:solidFill>
            <a:srgbClr val="E0E0E0"/>
          </a:solidFill>
        </p:spPr>
        <p:txBody>
          <a:bodyPr anchor="ctr" anchorCtr="1"/>
          <a:lstStyle>
            <a:lvl1pPr algn="ctr">
              <a:defRPr>
                <a:solidFill>
                  <a:srgbClr val="9F1853"/>
                </a:solidFill>
              </a:defRPr>
            </a:lvl1pPr>
          </a:lstStyle>
          <a:p>
            <a:pPr lvl="0"/>
            <a:r>
              <a:rPr lang="en-US"/>
              <a:t>Place imagery here</a:t>
            </a:r>
          </a:p>
        </p:txBody>
      </p:sp>
      <p:sp>
        <p:nvSpPr>
          <p:cNvPr id="4" name="Picture Placeholder 7" descr="Place bio portrait here">
            <a:extLst>
              <a:ext uri="{FF2B5EF4-FFF2-40B4-BE49-F238E27FC236}">
                <a16:creationId xmlns:a16="http://schemas.microsoft.com/office/drawing/2014/main" id="{8B1ACF58-CAE5-F03E-2173-3D31D4C87B8B}"/>
              </a:ext>
            </a:extLst>
          </p:cNvPr>
          <p:cNvSpPr txBox="1">
            <a:spLocks noGrp="1"/>
          </p:cNvSpPr>
          <p:nvPr>
            <p:ph type="pic" idx="4294967295"/>
          </p:nvPr>
        </p:nvSpPr>
        <p:spPr>
          <a:xfrm>
            <a:off x="287961" y="4570414"/>
            <a:ext cx="1231043" cy="1238248"/>
          </a:xfrm>
          <a:solidFill>
            <a:srgbClr val="E0E0E0"/>
          </a:solidFill>
        </p:spPr>
        <p:txBody>
          <a:bodyPr anchor="ctr" anchorCtr="1"/>
          <a:lstStyle>
            <a:lvl1pPr algn="ctr">
              <a:defRPr>
                <a:solidFill>
                  <a:srgbClr val="9F1853"/>
                </a:solidFill>
              </a:defRPr>
            </a:lvl1pPr>
          </a:lstStyle>
          <a:p>
            <a:pPr lvl="0"/>
            <a:r>
              <a:rPr lang="en-US"/>
              <a:t>Place imagery here</a:t>
            </a:r>
          </a:p>
        </p:txBody>
      </p:sp>
      <p:sp>
        <p:nvSpPr>
          <p:cNvPr id="5" name="Picture Placeholder 7" descr="Place bio portrait here">
            <a:extLst>
              <a:ext uri="{FF2B5EF4-FFF2-40B4-BE49-F238E27FC236}">
                <a16:creationId xmlns:a16="http://schemas.microsoft.com/office/drawing/2014/main" id="{E15D9F9C-FC2F-32F7-035F-712C58473D1A}"/>
              </a:ext>
            </a:extLst>
          </p:cNvPr>
          <p:cNvSpPr txBox="1">
            <a:spLocks noGrp="1"/>
          </p:cNvSpPr>
          <p:nvPr>
            <p:ph type="pic" idx="4294967295"/>
          </p:nvPr>
        </p:nvSpPr>
        <p:spPr>
          <a:xfrm>
            <a:off x="6389169" y="1522412"/>
            <a:ext cx="1229708" cy="1238248"/>
          </a:xfrm>
          <a:solidFill>
            <a:srgbClr val="E0E0E0"/>
          </a:solidFill>
        </p:spPr>
        <p:txBody>
          <a:bodyPr anchor="ctr" anchorCtr="1"/>
          <a:lstStyle>
            <a:lvl1pPr algn="ctr">
              <a:defRPr>
                <a:solidFill>
                  <a:srgbClr val="9F1853"/>
                </a:solidFill>
              </a:defRPr>
            </a:lvl1pPr>
          </a:lstStyle>
          <a:p>
            <a:pPr lvl="0"/>
            <a:r>
              <a:rPr lang="en-US"/>
              <a:t>Place imagery here</a:t>
            </a:r>
          </a:p>
        </p:txBody>
      </p:sp>
      <p:sp>
        <p:nvSpPr>
          <p:cNvPr id="6" name="Picture Placeholder 7" descr="Place bio portrait here">
            <a:extLst>
              <a:ext uri="{FF2B5EF4-FFF2-40B4-BE49-F238E27FC236}">
                <a16:creationId xmlns:a16="http://schemas.microsoft.com/office/drawing/2014/main" id="{DBE134F8-353B-C405-158E-B3CCAAFA268E}"/>
              </a:ext>
            </a:extLst>
          </p:cNvPr>
          <p:cNvSpPr txBox="1">
            <a:spLocks noGrp="1"/>
          </p:cNvSpPr>
          <p:nvPr>
            <p:ph type="pic" idx="4294967295"/>
          </p:nvPr>
        </p:nvSpPr>
        <p:spPr>
          <a:xfrm>
            <a:off x="6389169" y="3048002"/>
            <a:ext cx="1229708" cy="1238248"/>
          </a:xfrm>
          <a:solidFill>
            <a:srgbClr val="E0E0E0"/>
          </a:solidFill>
        </p:spPr>
        <p:txBody>
          <a:bodyPr anchor="ctr" anchorCtr="1"/>
          <a:lstStyle>
            <a:lvl1pPr algn="ctr">
              <a:defRPr>
                <a:solidFill>
                  <a:srgbClr val="9F1853"/>
                </a:solidFill>
              </a:defRPr>
            </a:lvl1pPr>
          </a:lstStyle>
          <a:p>
            <a:pPr lvl="0"/>
            <a:r>
              <a:rPr lang="en-US"/>
              <a:t>Place imagery here</a:t>
            </a:r>
          </a:p>
        </p:txBody>
      </p:sp>
      <p:sp>
        <p:nvSpPr>
          <p:cNvPr id="7" name="Picture Placeholder 7" descr="Place bio portrait here">
            <a:extLst>
              <a:ext uri="{FF2B5EF4-FFF2-40B4-BE49-F238E27FC236}">
                <a16:creationId xmlns:a16="http://schemas.microsoft.com/office/drawing/2014/main" id="{31969A6D-2E4D-6AA1-51A4-B0A2811F0815}"/>
              </a:ext>
            </a:extLst>
          </p:cNvPr>
          <p:cNvSpPr txBox="1">
            <a:spLocks noGrp="1"/>
          </p:cNvSpPr>
          <p:nvPr>
            <p:ph type="pic" idx="4294967295"/>
          </p:nvPr>
        </p:nvSpPr>
        <p:spPr>
          <a:xfrm>
            <a:off x="6389169" y="4570414"/>
            <a:ext cx="1229708" cy="1238248"/>
          </a:xfrm>
          <a:solidFill>
            <a:srgbClr val="E0E0E0"/>
          </a:solidFill>
        </p:spPr>
        <p:txBody>
          <a:bodyPr anchor="ctr" anchorCtr="1"/>
          <a:lstStyle>
            <a:lvl1pPr algn="ctr">
              <a:defRPr>
                <a:solidFill>
                  <a:srgbClr val="9F1853"/>
                </a:solidFill>
              </a:defRPr>
            </a:lvl1pPr>
          </a:lstStyle>
          <a:p>
            <a:pPr lvl="0"/>
            <a:r>
              <a:rPr lang="en-US"/>
              <a:t>Place imagery here</a:t>
            </a:r>
          </a:p>
        </p:txBody>
      </p:sp>
      <p:sp>
        <p:nvSpPr>
          <p:cNvPr id="8" name="Title 1">
            <a:extLst>
              <a:ext uri="{FF2B5EF4-FFF2-40B4-BE49-F238E27FC236}">
                <a16:creationId xmlns:a16="http://schemas.microsoft.com/office/drawing/2014/main" id="{45FE5681-5543-A698-67FA-49C38A11B970}"/>
              </a:ext>
            </a:extLst>
          </p:cNvPr>
          <p:cNvSpPr txBox="1">
            <a:spLocks noGrp="1"/>
          </p:cNvSpPr>
          <p:nvPr>
            <p:ph type="title"/>
          </p:nvPr>
        </p:nvSpPr>
        <p:spPr>
          <a:xfrm>
            <a:off x="287961" y="288036"/>
            <a:ext cx="2474588" cy="762792"/>
          </a:xfrm>
        </p:spPr>
        <p:txBody>
          <a:bodyPr/>
          <a:lstStyle>
            <a:lvl1pPr>
              <a:lnSpc>
                <a:spcPct val="110000"/>
              </a:lnSpc>
              <a:defRPr sz="1400"/>
            </a:lvl1pPr>
          </a:lstStyle>
          <a:p>
            <a:pPr lvl="0"/>
            <a:r>
              <a:rPr lang="en-US"/>
              <a:t>Click to edit Master title style</a:t>
            </a:r>
          </a:p>
        </p:txBody>
      </p:sp>
      <p:sp>
        <p:nvSpPr>
          <p:cNvPr id="9" name="Text Placeholder 9">
            <a:extLst>
              <a:ext uri="{FF2B5EF4-FFF2-40B4-BE49-F238E27FC236}">
                <a16:creationId xmlns:a16="http://schemas.microsoft.com/office/drawing/2014/main" id="{6D04182C-BB76-C9AE-C822-7D503590BE05}"/>
              </a:ext>
            </a:extLst>
          </p:cNvPr>
          <p:cNvSpPr txBox="1">
            <a:spLocks noGrp="1"/>
          </p:cNvSpPr>
          <p:nvPr>
            <p:ph type="body" idx="4294967295"/>
          </p:nvPr>
        </p:nvSpPr>
        <p:spPr>
          <a:xfrm>
            <a:off x="1714277" y="1522412"/>
            <a:ext cx="2853955" cy="1238248"/>
          </a:xfrm>
        </p:spPr>
        <p:txBody>
          <a:bodyPr/>
          <a:lstStyle>
            <a:lvl1pPr>
              <a:defRPr sz="1400"/>
            </a:lvl1pPr>
            <a:lvl2pPr marL="127990" indent="-127990">
              <a:defRPr sz="1400"/>
            </a:lvl2pPr>
            <a:lvl3pPr marL="255981" indent="-127990">
              <a:defRPr sz="1400"/>
            </a:lvl3pPr>
            <a:lvl4pPr marL="383971" indent="-127990">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D75F08E8-6BBB-B763-A26F-3E72AFF065C3}"/>
              </a:ext>
            </a:extLst>
          </p:cNvPr>
          <p:cNvSpPr txBox="1">
            <a:spLocks noGrp="1"/>
          </p:cNvSpPr>
          <p:nvPr>
            <p:ph type="body" idx="4294967295"/>
          </p:nvPr>
        </p:nvSpPr>
        <p:spPr>
          <a:xfrm>
            <a:off x="1714277" y="3048002"/>
            <a:ext cx="2853955" cy="1238248"/>
          </a:xfrm>
        </p:spPr>
        <p:txBody>
          <a:bodyPr/>
          <a:lstStyle>
            <a:lvl1pPr>
              <a:defRPr sz="1400"/>
            </a:lvl1pPr>
            <a:lvl2pPr marL="127990" indent="-127990">
              <a:defRPr sz="1400"/>
            </a:lvl2pPr>
            <a:lvl3pPr marL="255981" indent="-127990">
              <a:defRPr sz="1400"/>
            </a:lvl3pPr>
            <a:lvl4pPr marL="383971" indent="-127990">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244786AD-273D-0F3E-D8C1-911F8C7FA9C4}"/>
              </a:ext>
            </a:extLst>
          </p:cNvPr>
          <p:cNvSpPr txBox="1">
            <a:spLocks noGrp="1"/>
          </p:cNvSpPr>
          <p:nvPr>
            <p:ph type="body" idx="4294967295"/>
          </p:nvPr>
        </p:nvSpPr>
        <p:spPr>
          <a:xfrm>
            <a:off x="1714277" y="4570414"/>
            <a:ext cx="2853955" cy="1238248"/>
          </a:xfrm>
        </p:spPr>
        <p:txBody>
          <a:bodyPr/>
          <a:lstStyle>
            <a:lvl1pPr>
              <a:defRPr sz="1400"/>
            </a:lvl1pPr>
            <a:lvl2pPr marL="127990" indent="-127990">
              <a:defRPr sz="1400"/>
            </a:lvl2pPr>
            <a:lvl3pPr marL="255981" indent="-127990">
              <a:defRPr sz="1400"/>
            </a:lvl3pPr>
            <a:lvl4pPr marL="383971" indent="-127990">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2226EB8F-8645-A424-DB35-200ABC59EEAA}"/>
              </a:ext>
            </a:extLst>
          </p:cNvPr>
          <p:cNvSpPr txBox="1">
            <a:spLocks noGrp="1"/>
          </p:cNvSpPr>
          <p:nvPr>
            <p:ph type="body" idx="4294967295"/>
          </p:nvPr>
        </p:nvSpPr>
        <p:spPr>
          <a:xfrm>
            <a:off x="7807895" y="1522412"/>
            <a:ext cx="2853955" cy="1238248"/>
          </a:xfrm>
        </p:spPr>
        <p:txBody>
          <a:bodyPr/>
          <a:lstStyle>
            <a:lvl1pPr>
              <a:defRPr sz="1400"/>
            </a:lvl1pPr>
            <a:lvl2pPr marL="127990" indent="-127990">
              <a:defRPr sz="1400"/>
            </a:lvl2pPr>
            <a:lvl3pPr marL="255981" indent="-127990">
              <a:defRPr sz="1400"/>
            </a:lvl3pPr>
            <a:lvl4pPr marL="383971" indent="-127990">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9">
            <a:extLst>
              <a:ext uri="{FF2B5EF4-FFF2-40B4-BE49-F238E27FC236}">
                <a16:creationId xmlns:a16="http://schemas.microsoft.com/office/drawing/2014/main" id="{893B5FF3-9023-B0AF-1FB1-D04399056A13}"/>
              </a:ext>
            </a:extLst>
          </p:cNvPr>
          <p:cNvSpPr txBox="1">
            <a:spLocks noGrp="1"/>
          </p:cNvSpPr>
          <p:nvPr>
            <p:ph type="body" idx="4294967295"/>
          </p:nvPr>
        </p:nvSpPr>
        <p:spPr>
          <a:xfrm>
            <a:off x="7807895" y="3048002"/>
            <a:ext cx="2853955" cy="1238248"/>
          </a:xfrm>
        </p:spPr>
        <p:txBody>
          <a:bodyPr/>
          <a:lstStyle>
            <a:lvl1pPr>
              <a:defRPr sz="1400"/>
            </a:lvl1pPr>
            <a:lvl2pPr marL="127990" indent="-127990">
              <a:defRPr sz="1400"/>
            </a:lvl2pPr>
            <a:lvl3pPr marL="255981" indent="-127990">
              <a:defRPr sz="1400"/>
            </a:lvl3pPr>
            <a:lvl4pPr marL="383971" indent="-127990">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F797525F-24A9-C393-0F97-0982689A3FF5}"/>
              </a:ext>
            </a:extLst>
          </p:cNvPr>
          <p:cNvSpPr txBox="1">
            <a:spLocks noGrp="1"/>
          </p:cNvSpPr>
          <p:nvPr>
            <p:ph type="body" idx="4294967295"/>
          </p:nvPr>
        </p:nvSpPr>
        <p:spPr>
          <a:xfrm>
            <a:off x="7807895" y="4570414"/>
            <a:ext cx="2853955" cy="1238248"/>
          </a:xfrm>
        </p:spPr>
        <p:txBody>
          <a:bodyPr/>
          <a:lstStyle>
            <a:lvl1pPr>
              <a:defRPr sz="1400"/>
            </a:lvl1pPr>
            <a:lvl2pPr marL="127990" indent="-127990">
              <a:defRPr sz="1400"/>
            </a:lvl2pPr>
            <a:lvl3pPr marL="255981" indent="-127990">
              <a:defRPr sz="1400"/>
            </a:lvl3pPr>
            <a:lvl4pPr marL="383971" indent="-127990">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Footer Placeholder 3">
            <a:extLst>
              <a:ext uri="{FF2B5EF4-FFF2-40B4-BE49-F238E27FC236}">
                <a16:creationId xmlns:a16="http://schemas.microsoft.com/office/drawing/2014/main" id="{F6EB1CE4-59A4-5613-BF34-C3613450C5FF}"/>
              </a:ext>
            </a:extLst>
          </p:cNvPr>
          <p:cNvSpPr txBox="1">
            <a:spLocks noGrp="1"/>
          </p:cNvSpPr>
          <p:nvPr>
            <p:ph type="ftr" sz="quarter" idx="9"/>
          </p:nvPr>
        </p:nvSpPr>
        <p:spPr>
          <a:xfrm>
            <a:off x="287962" y="6408001"/>
            <a:ext cx="2477765" cy="190502"/>
          </a:xfrm>
        </p:spPr>
        <p:txBody>
          <a:bodyPr/>
          <a:lstStyle>
            <a:lvl1pPr>
              <a:defRPr/>
            </a:lvl1pPr>
          </a:lstStyle>
          <a:p>
            <a:pPr lvl="0"/>
            <a:endParaRPr lang="en-US"/>
          </a:p>
        </p:txBody>
      </p:sp>
      <p:sp>
        <p:nvSpPr>
          <p:cNvPr id="16" name="Slide Number">
            <a:extLst>
              <a:ext uri="{FF2B5EF4-FFF2-40B4-BE49-F238E27FC236}">
                <a16:creationId xmlns:a16="http://schemas.microsoft.com/office/drawing/2014/main" id="{73F21C06-7B39-CCB0-0218-6CCB3ACBACCE}"/>
              </a:ext>
            </a:extLst>
          </p:cNvPr>
          <p:cNvSpPr txBox="1">
            <a:spLocks noGrp="1"/>
          </p:cNvSpPr>
          <p:nvPr>
            <p:ph type="sldNum" sz="quarter" idx="8"/>
          </p:nvPr>
        </p:nvSpPr>
        <p:spPr>
          <a:xfrm>
            <a:off x="11769264" y="6475767"/>
            <a:ext cx="135437" cy="123110"/>
          </a:xfrm>
        </p:spPr>
        <p:txBody>
          <a:bodyPr anchor="ctr"/>
          <a:lstStyle>
            <a:lvl1pPr>
              <a:defRPr/>
            </a:lvl1pPr>
          </a:lstStyle>
          <a:p>
            <a:pPr lvl="0"/>
            <a:fld id="{3C6FBCCD-DD60-AE42-8DDB-FB16E18FB84D}" type="slidenum">
              <a:t>‹#›</a:t>
            </a:fld>
            <a:endParaRPr lang="en-US"/>
          </a:p>
        </p:txBody>
      </p:sp>
    </p:spTree>
    <p:extLst>
      <p:ext uri="{BB962C8B-B14F-4D97-AF65-F5344CB8AC3E}">
        <p14:creationId xmlns:p14="http://schemas.microsoft.com/office/powerpoint/2010/main" val="13933142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7796D6C-7D40-79D0-EA4D-1E9EEDB5258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EB6E168-4D72-0437-1381-30D05B6C907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E90281E-4D5B-5539-A9D5-88704E635CE2}"/>
              </a:ext>
            </a:extLst>
          </p:cNvPr>
          <p:cNvSpPr>
            <a:spLocks noGrp="1"/>
          </p:cNvSpPr>
          <p:nvPr>
            <p:ph type="dt" sz="half" idx="10"/>
          </p:nvPr>
        </p:nvSpPr>
        <p:spPr/>
        <p:txBody>
          <a:bodyPr/>
          <a:lstStyle/>
          <a:p>
            <a:fld id="{C1064F87-A3FE-7D41-BA7F-E073D7C6AC88}" type="datetimeFigureOut">
              <a:rPr lang="en-US" smtClean="0"/>
              <a:t>3/24/2025</a:t>
            </a:fld>
            <a:endParaRPr lang="en-US"/>
          </a:p>
        </p:txBody>
      </p:sp>
      <p:sp>
        <p:nvSpPr>
          <p:cNvPr id="5" name="Footer Placeholder 4">
            <a:extLst>
              <a:ext uri="{FF2B5EF4-FFF2-40B4-BE49-F238E27FC236}">
                <a16:creationId xmlns:a16="http://schemas.microsoft.com/office/drawing/2014/main" id="{39980437-4973-8803-0B2C-C57F3C63F83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A3C8B5A-2048-E66F-729A-462A8CDE9532}"/>
              </a:ext>
            </a:extLst>
          </p:cNvPr>
          <p:cNvSpPr>
            <a:spLocks noGrp="1"/>
          </p:cNvSpPr>
          <p:nvPr>
            <p:ph type="sldNum" sz="quarter" idx="12"/>
          </p:nvPr>
        </p:nvSpPr>
        <p:spPr/>
        <p:txBody>
          <a:bodyPr/>
          <a:lstStyle/>
          <a:p>
            <a:fld id="{DED3338A-C6D4-DE4D-B610-199F7004D0E1}" type="slidenum">
              <a:rPr lang="en-US" smtClean="0"/>
              <a:t>‹#›</a:t>
            </a:fld>
            <a:endParaRPr lang="en-US"/>
          </a:p>
        </p:txBody>
      </p:sp>
    </p:spTree>
    <p:extLst>
      <p:ext uri="{BB962C8B-B14F-4D97-AF65-F5344CB8AC3E}">
        <p14:creationId xmlns:p14="http://schemas.microsoft.com/office/powerpoint/2010/main" val="224257621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able">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66DA84-9B61-5562-ADEB-3AAD12926A22}"/>
              </a:ext>
            </a:extLst>
          </p:cNvPr>
          <p:cNvSpPr txBox="1">
            <a:spLocks noGrp="1"/>
          </p:cNvSpPr>
          <p:nvPr>
            <p:ph type="title"/>
          </p:nvPr>
        </p:nvSpPr>
        <p:spPr>
          <a:xfrm>
            <a:off x="287961" y="288036"/>
            <a:ext cx="2474588" cy="1997964"/>
          </a:xfrm>
        </p:spPr>
        <p:txBody>
          <a:bodyPr/>
          <a:lstStyle>
            <a:lvl1pPr>
              <a:lnSpc>
                <a:spcPct val="110000"/>
              </a:lnSpc>
              <a:defRPr sz="1400"/>
            </a:lvl1pPr>
          </a:lstStyle>
          <a:p>
            <a:pPr lvl="0"/>
            <a:r>
              <a:rPr lang="en-US"/>
              <a:t>Click to edit Master title style</a:t>
            </a:r>
          </a:p>
        </p:txBody>
      </p:sp>
      <p:sp>
        <p:nvSpPr>
          <p:cNvPr id="3" name="Table Placeholder 4">
            <a:extLst>
              <a:ext uri="{FF2B5EF4-FFF2-40B4-BE49-F238E27FC236}">
                <a16:creationId xmlns:a16="http://schemas.microsoft.com/office/drawing/2014/main" id="{653836D6-F7BA-5DFA-87FA-982B89BA797B}"/>
              </a:ext>
            </a:extLst>
          </p:cNvPr>
          <p:cNvSpPr txBox="1">
            <a:spLocks noGrp="1"/>
          </p:cNvSpPr>
          <p:nvPr>
            <p:ph type="tbl" idx="4294967295"/>
          </p:nvPr>
        </p:nvSpPr>
        <p:spPr>
          <a:xfrm>
            <a:off x="3333317" y="287999"/>
            <a:ext cx="8571384" cy="5811840"/>
          </a:xfrm>
        </p:spPr>
        <p:txBody>
          <a:bodyPr anchor="ctr" anchorCtr="1"/>
          <a:lstStyle>
            <a:lvl1pPr algn="ctr">
              <a:defRPr/>
            </a:lvl1pPr>
          </a:lstStyle>
          <a:p>
            <a:pPr lvl="0"/>
            <a:r>
              <a:rPr lang="en-US"/>
              <a:t>Click icon to add table</a:t>
            </a:r>
          </a:p>
        </p:txBody>
      </p:sp>
      <p:sp>
        <p:nvSpPr>
          <p:cNvPr id="4" name="Footer Placeholder 3">
            <a:extLst>
              <a:ext uri="{FF2B5EF4-FFF2-40B4-BE49-F238E27FC236}">
                <a16:creationId xmlns:a16="http://schemas.microsoft.com/office/drawing/2014/main" id="{FB6EA6E8-C899-26D2-25AF-B6B4140AD0AA}"/>
              </a:ext>
            </a:extLst>
          </p:cNvPr>
          <p:cNvSpPr txBox="1">
            <a:spLocks noGrp="1"/>
          </p:cNvSpPr>
          <p:nvPr>
            <p:ph type="ftr" sz="quarter" idx="9"/>
          </p:nvPr>
        </p:nvSpPr>
        <p:spPr>
          <a:xfrm>
            <a:off x="287962" y="6408001"/>
            <a:ext cx="2477765" cy="190502"/>
          </a:xfrm>
        </p:spPr>
        <p:txBody>
          <a:bodyPr/>
          <a:lstStyle>
            <a:lvl1pPr>
              <a:defRPr/>
            </a:lvl1pPr>
          </a:lstStyle>
          <a:p>
            <a:pPr lvl="0"/>
            <a:endParaRPr lang="en-US"/>
          </a:p>
        </p:txBody>
      </p:sp>
      <p:sp>
        <p:nvSpPr>
          <p:cNvPr id="5" name="Slide Number">
            <a:extLst>
              <a:ext uri="{FF2B5EF4-FFF2-40B4-BE49-F238E27FC236}">
                <a16:creationId xmlns:a16="http://schemas.microsoft.com/office/drawing/2014/main" id="{CD5B0039-4EED-95F2-08B2-A832CC239AB9}"/>
              </a:ext>
            </a:extLst>
          </p:cNvPr>
          <p:cNvSpPr txBox="1">
            <a:spLocks noGrp="1"/>
          </p:cNvSpPr>
          <p:nvPr>
            <p:ph type="sldNum" sz="quarter" idx="8"/>
          </p:nvPr>
        </p:nvSpPr>
        <p:spPr>
          <a:xfrm>
            <a:off x="11769264" y="6475767"/>
            <a:ext cx="135437" cy="123110"/>
          </a:xfrm>
        </p:spPr>
        <p:txBody>
          <a:bodyPr anchor="ctr"/>
          <a:lstStyle>
            <a:lvl1pPr>
              <a:defRPr/>
            </a:lvl1pPr>
          </a:lstStyle>
          <a:p>
            <a:pPr lvl="0"/>
            <a:fld id="{D4F8784A-31F6-C048-B289-FB7E0350F600}" type="slidenum">
              <a:t>‹#›</a:t>
            </a:fld>
            <a:endParaRPr lang="en-US"/>
          </a:p>
        </p:txBody>
      </p:sp>
    </p:spTree>
    <p:extLst>
      <p:ext uri="{BB962C8B-B14F-4D97-AF65-F5344CB8AC3E}">
        <p14:creationId xmlns:p14="http://schemas.microsoft.com/office/powerpoint/2010/main" val="396604442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Chart">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2B74DB-DC68-C6D9-3E73-B24C8C8132B6}"/>
              </a:ext>
            </a:extLst>
          </p:cNvPr>
          <p:cNvSpPr txBox="1">
            <a:spLocks noGrp="1"/>
          </p:cNvSpPr>
          <p:nvPr>
            <p:ph type="title"/>
          </p:nvPr>
        </p:nvSpPr>
        <p:spPr>
          <a:xfrm>
            <a:off x="287961" y="288036"/>
            <a:ext cx="2474588" cy="763524"/>
          </a:xfrm>
        </p:spPr>
        <p:txBody>
          <a:bodyPr/>
          <a:lstStyle>
            <a:lvl1pPr>
              <a:lnSpc>
                <a:spcPct val="110000"/>
              </a:lnSpc>
              <a:defRPr sz="1400"/>
            </a:lvl1pPr>
          </a:lstStyle>
          <a:p>
            <a:pPr lvl="0"/>
            <a:r>
              <a:rPr lang="en-US"/>
              <a:t>Click to edit Master title style</a:t>
            </a:r>
          </a:p>
        </p:txBody>
      </p:sp>
      <p:sp>
        <p:nvSpPr>
          <p:cNvPr id="3" name="Slide Number">
            <a:extLst>
              <a:ext uri="{FF2B5EF4-FFF2-40B4-BE49-F238E27FC236}">
                <a16:creationId xmlns:a16="http://schemas.microsoft.com/office/drawing/2014/main" id="{F5255A18-98BD-510D-10B3-47E21CFD9361}"/>
              </a:ext>
            </a:extLst>
          </p:cNvPr>
          <p:cNvSpPr txBox="1">
            <a:spLocks noGrp="1"/>
          </p:cNvSpPr>
          <p:nvPr>
            <p:ph type="sldNum" sz="quarter" idx="8"/>
          </p:nvPr>
        </p:nvSpPr>
        <p:spPr>
          <a:xfrm>
            <a:off x="11769264" y="6475767"/>
            <a:ext cx="135437" cy="123110"/>
          </a:xfrm>
        </p:spPr>
        <p:txBody>
          <a:bodyPr anchor="ctr"/>
          <a:lstStyle>
            <a:lvl1pPr>
              <a:defRPr/>
            </a:lvl1pPr>
          </a:lstStyle>
          <a:p>
            <a:pPr lvl="0"/>
            <a:fld id="{31B7294C-C308-CE40-83EC-CBB421BB0D2C}" type="slidenum">
              <a:t>‹#›</a:t>
            </a:fld>
            <a:endParaRPr lang="en-US"/>
          </a:p>
        </p:txBody>
      </p:sp>
      <p:sp>
        <p:nvSpPr>
          <p:cNvPr id="4" name="Text Placeholder 9">
            <a:extLst>
              <a:ext uri="{FF2B5EF4-FFF2-40B4-BE49-F238E27FC236}">
                <a16:creationId xmlns:a16="http://schemas.microsoft.com/office/drawing/2014/main" id="{A506CEF6-ADEB-4EB1-A859-D9FBA14E3B87}"/>
              </a:ext>
            </a:extLst>
          </p:cNvPr>
          <p:cNvSpPr txBox="1">
            <a:spLocks noGrp="1"/>
          </p:cNvSpPr>
          <p:nvPr>
            <p:ph type="body" idx="4294967295"/>
          </p:nvPr>
        </p:nvSpPr>
        <p:spPr>
          <a:xfrm>
            <a:off x="3333318" y="6391245"/>
            <a:ext cx="2761892" cy="212726"/>
          </a:xfrm>
        </p:spPr>
        <p:txBody>
          <a:bodyPr anchor="b"/>
          <a:lstStyle>
            <a:lvl1pPr>
              <a:defRPr sz="800">
                <a:latin typeface="IBM Plex Sans" pitchFamily="34"/>
              </a:defRPr>
            </a:lvl1pPr>
          </a:lstStyle>
          <a:p>
            <a:pPr lvl="0"/>
            <a:r>
              <a:rPr lang="en-US"/>
              <a:t>Source</a:t>
            </a:r>
          </a:p>
        </p:txBody>
      </p:sp>
      <p:sp>
        <p:nvSpPr>
          <p:cNvPr id="5" name="Text Placeholder 12">
            <a:extLst>
              <a:ext uri="{FF2B5EF4-FFF2-40B4-BE49-F238E27FC236}">
                <a16:creationId xmlns:a16="http://schemas.microsoft.com/office/drawing/2014/main" id="{76A5A938-7498-1E6C-3A65-36936761B72C}"/>
              </a:ext>
            </a:extLst>
          </p:cNvPr>
          <p:cNvSpPr txBox="1">
            <a:spLocks noGrp="1"/>
          </p:cNvSpPr>
          <p:nvPr>
            <p:ph type="body" idx="4294967295"/>
          </p:nvPr>
        </p:nvSpPr>
        <p:spPr>
          <a:xfrm>
            <a:off x="287962" y="1522412"/>
            <a:ext cx="2471416" cy="4575173"/>
          </a:xfrm>
        </p:spPr>
        <p:txBody>
          <a:bodyPr/>
          <a:lstStyle>
            <a:lvl1pPr>
              <a:defRPr sz="1400">
                <a:latin typeface="IBM Plex Sans Light" pitchFamily="34"/>
              </a:defRPr>
            </a:lvl1pPr>
          </a:lstStyle>
          <a:p>
            <a:pPr lvl="0"/>
            <a:r>
              <a:rPr lang="en-US"/>
              <a:t>Lorem ipsum dolor sit amet donec quam felis ultricies nec pellentesque eu pretium quis sem. Nulla conset massa quis enim.</a:t>
            </a:r>
          </a:p>
        </p:txBody>
      </p:sp>
      <p:sp>
        <p:nvSpPr>
          <p:cNvPr id="6" name="Footer Placeholder 3">
            <a:extLst>
              <a:ext uri="{FF2B5EF4-FFF2-40B4-BE49-F238E27FC236}">
                <a16:creationId xmlns:a16="http://schemas.microsoft.com/office/drawing/2014/main" id="{45F8F76C-43E0-BBE7-AD95-10E89383EBEE}"/>
              </a:ext>
            </a:extLst>
          </p:cNvPr>
          <p:cNvSpPr txBox="1">
            <a:spLocks noGrp="1"/>
          </p:cNvSpPr>
          <p:nvPr>
            <p:ph type="ftr" sz="quarter" idx="9"/>
          </p:nvPr>
        </p:nvSpPr>
        <p:spPr>
          <a:xfrm>
            <a:off x="287962" y="6408001"/>
            <a:ext cx="2477765" cy="190502"/>
          </a:xfrm>
        </p:spPr>
        <p:txBody>
          <a:bodyPr/>
          <a:lstStyle>
            <a:lvl1pPr>
              <a:defRPr/>
            </a:lvl1pPr>
          </a:lstStyle>
          <a:p>
            <a:pPr lvl="0"/>
            <a:endParaRPr lang="en-US"/>
          </a:p>
        </p:txBody>
      </p:sp>
    </p:spTree>
    <p:extLst>
      <p:ext uri="{BB962C8B-B14F-4D97-AF65-F5344CB8AC3E}">
        <p14:creationId xmlns:p14="http://schemas.microsoft.com/office/powerpoint/2010/main" val="154378400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Legal disclaimer, one column">
    <p:bg>
      <p:bgPr>
        <a:solidFill>
          <a:srgbClr val="FFFFFF"/>
        </a:solidFill>
        <a:effectLst/>
      </p:bgPr>
    </p:bg>
    <p:spTree>
      <p:nvGrpSpPr>
        <p:cNvPr id="1" name=""/>
        <p:cNvGrpSpPr/>
        <p:nvPr/>
      </p:nvGrpSpPr>
      <p:grpSpPr>
        <a:xfrm>
          <a:off x="0" y="0"/>
          <a:ext cx="0" cy="0"/>
          <a:chOff x="0" y="0"/>
          <a:chExt cx="0" cy="0"/>
        </a:xfrm>
      </p:grpSpPr>
      <p:sp>
        <p:nvSpPr>
          <p:cNvPr id="2" name="Text Placeholder 3">
            <a:extLst>
              <a:ext uri="{FF2B5EF4-FFF2-40B4-BE49-F238E27FC236}">
                <a16:creationId xmlns:a16="http://schemas.microsoft.com/office/drawing/2014/main" id="{04D9CDDC-0D17-71C2-A8A2-3D3EDD3A506D}"/>
              </a:ext>
            </a:extLst>
          </p:cNvPr>
          <p:cNvSpPr txBox="1">
            <a:spLocks noGrp="1"/>
          </p:cNvSpPr>
          <p:nvPr>
            <p:ph type="body" idx="4294967295"/>
          </p:nvPr>
        </p:nvSpPr>
        <p:spPr>
          <a:xfrm>
            <a:off x="287962" y="192024"/>
            <a:ext cx="2477765" cy="1429546"/>
          </a:xfrm>
        </p:spPr>
        <p:txBody>
          <a:bodyPr/>
          <a:lstStyle>
            <a:lvl1pPr>
              <a:lnSpc>
                <a:spcPct val="100000"/>
              </a:lnSpc>
              <a:defRPr sz="3399"/>
            </a:lvl1pPr>
          </a:lstStyle>
          <a:p>
            <a:pPr lvl="0"/>
            <a:r>
              <a:rPr lang="en-US"/>
              <a:t>Click to edit Master text styles</a:t>
            </a:r>
          </a:p>
        </p:txBody>
      </p:sp>
      <p:sp>
        <p:nvSpPr>
          <p:cNvPr id="3" name="Text Placeholder 6">
            <a:extLst>
              <a:ext uri="{FF2B5EF4-FFF2-40B4-BE49-F238E27FC236}">
                <a16:creationId xmlns:a16="http://schemas.microsoft.com/office/drawing/2014/main" id="{07CA81A2-1538-1FDA-0FC3-12C5395C8DE8}"/>
              </a:ext>
            </a:extLst>
          </p:cNvPr>
          <p:cNvSpPr txBox="1">
            <a:spLocks noGrp="1"/>
          </p:cNvSpPr>
          <p:nvPr>
            <p:ph type="body" idx="4294967295"/>
          </p:nvPr>
        </p:nvSpPr>
        <p:spPr>
          <a:xfrm>
            <a:off x="9430108" y="287999"/>
            <a:ext cx="2476179" cy="5812630"/>
          </a:xfrm>
        </p:spPr>
        <p:txBody>
          <a:bodyPr/>
          <a:lstStyle>
            <a:lvl1pPr>
              <a:lnSpc>
                <a:spcPct val="120000"/>
              </a:lnSpc>
              <a:defRPr sz="800">
                <a:latin typeface="IBM Plex Sans" pitchFamily="34"/>
              </a:defRPr>
            </a:lvl1pPr>
          </a:lstStyle>
          <a:p>
            <a:pPr lvl="0"/>
            <a:r>
              <a:rPr lang="en-US"/>
              <a:t>Copy and paste appropriate legal disclaimer text from one of the three options in the PDF guidance deck, found on pages 22-24. Always use the proper legal disclaimer for your presentation audience.</a:t>
            </a:r>
          </a:p>
        </p:txBody>
      </p:sp>
      <p:sp>
        <p:nvSpPr>
          <p:cNvPr id="4" name="Footer Placeholder 1">
            <a:extLst>
              <a:ext uri="{FF2B5EF4-FFF2-40B4-BE49-F238E27FC236}">
                <a16:creationId xmlns:a16="http://schemas.microsoft.com/office/drawing/2014/main" id="{57D380E5-7B2A-F514-4D3C-2773BA221AEC}"/>
              </a:ext>
            </a:extLst>
          </p:cNvPr>
          <p:cNvSpPr txBox="1">
            <a:spLocks noGrp="1"/>
          </p:cNvSpPr>
          <p:nvPr>
            <p:ph type="ftr" sz="quarter" idx="9"/>
          </p:nvPr>
        </p:nvSpPr>
        <p:spPr>
          <a:xfrm>
            <a:off x="287962" y="6408001"/>
            <a:ext cx="2477765" cy="190502"/>
          </a:xfrm>
        </p:spPr>
        <p:txBody>
          <a:bodyPr/>
          <a:lstStyle>
            <a:lvl1pPr>
              <a:defRPr/>
            </a:lvl1pPr>
          </a:lstStyle>
          <a:p>
            <a:pPr lvl="0"/>
            <a:endParaRPr lang="en-US"/>
          </a:p>
        </p:txBody>
      </p:sp>
      <p:sp>
        <p:nvSpPr>
          <p:cNvPr id="5" name="Slide Number">
            <a:extLst>
              <a:ext uri="{FF2B5EF4-FFF2-40B4-BE49-F238E27FC236}">
                <a16:creationId xmlns:a16="http://schemas.microsoft.com/office/drawing/2014/main" id="{3710EB4F-7230-DA91-983E-B8337C682114}"/>
              </a:ext>
            </a:extLst>
          </p:cNvPr>
          <p:cNvSpPr txBox="1">
            <a:spLocks noGrp="1"/>
          </p:cNvSpPr>
          <p:nvPr>
            <p:ph type="sldNum" sz="quarter" idx="8"/>
          </p:nvPr>
        </p:nvSpPr>
        <p:spPr>
          <a:xfrm>
            <a:off x="11769264" y="6475767"/>
            <a:ext cx="135437" cy="123110"/>
          </a:xfrm>
        </p:spPr>
        <p:txBody>
          <a:bodyPr anchor="ctr"/>
          <a:lstStyle>
            <a:lvl1pPr>
              <a:defRPr/>
            </a:lvl1pPr>
          </a:lstStyle>
          <a:p>
            <a:pPr lvl="0"/>
            <a:fld id="{70EF5597-90C2-A24C-BFCB-671CD65296D4}" type="slidenum">
              <a:t>‹#›</a:t>
            </a:fld>
            <a:endParaRPr lang="en-US"/>
          </a:p>
        </p:txBody>
      </p:sp>
    </p:spTree>
    <p:extLst>
      <p:ext uri="{BB962C8B-B14F-4D97-AF65-F5344CB8AC3E}">
        <p14:creationId xmlns:p14="http://schemas.microsoft.com/office/powerpoint/2010/main" val="242514534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Legal disclaimer, two columns">
    <p:bg>
      <p:bgPr>
        <a:solidFill>
          <a:srgbClr val="FFFFFF"/>
        </a:solidFill>
        <a:effectLst/>
      </p:bgPr>
    </p:bg>
    <p:spTree>
      <p:nvGrpSpPr>
        <p:cNvPr id="1" name=""/>
        <p:cNvGrpSpPr/>
        <p:nvPr/>
      </p:nvGrpSpPr>
      <p:grpSpPr>
        <a:xfrm>
          <a:off x="0" y="0"/>
          <a:ext cx="0" cy="0"/>
          <a:chOff x="0" y="0"/>
          <a:chExt cx="0" cy="0"/>
        </a:xfrm>
      </p:grpSpPr>
      <p:sp>
        <p:nvSpPr>
          <p:cNvPr id="2" name="Text Placeholder 3">
            <a:extLst>
              <a:ext uri="{FF2B5EF4-FFF2-40B4-BE49-F238E27FC236}">
                <a16:creationId xmlns:a16="http://schemas.microsoft.com/office/drawing/2014/main" id="{94403A05-66EF-B945-ADCC-AFBAE895740B}"/>
              </a:ext>
            </a:extLst>
          </p:cNvPr>
          <p:cNvSpPr txBox="1">
            <a:spLocks noGrp="1"/>
          </p:cNvSpPr>
          <p:nvPr>
            <p:ph type="body" idx="4294967295"/>
          </p:nvPr>
        </p:nvSpPr>
        <p:spPr>
          <a:xfrm>
            <a:off x="287962" y="192024"/>
            <a:ext cx="2477765" cy="1429546"/>
          </a:xfrm>
        </p:spPr>
        <p:txBody>
          <a:bodyPr/>
          <a:lstStyle>
            <a:lvl1pPr>
              <a:lnSpc>
                <a:spcPct val="100000"/>
              </a:lnSpc>
              <a:defRPr sz="3399"/>
            </a:lvl1pPr>
          </a:lstStyle>
          <a:p>
            <a:pPr lvl="0"/>
            <a:r>
              <a:rPr lang="en-US"/>
              <a:t>Click to edit Master text styles</a:t>
            </a:r>
          </a:p>
        </p:txBody>
      </p:sp>
      <p:sp>
        <p:nvSpPr>
          <p:cNvPr id="3" name="Text Placeholder 6">
            <a:extLst>
              <a:ext uri="{FF2B5EF4-FFF2-40B4-BE49-F238E27FC236}">
                <a16:creationId xmlns:a16="http://schemas.microsoft.com/office/drawing/2014/main" id="{49969FC5-5FFA-4286-A999-2CBF1F547437}"/>
              </a:ext>
            </a:extLst>
          </p:cNvPr>
          <p:cNvSpPr txBox="1">
            <a:spLocks noGrp="1"/>
          </p:cNvSpPr>
          <p:nvPr>
            <p:ph type="body" idx="4294967295"/>
          </p:nvPr>
        </p:nvSpPr>
        <p:spPr>
          <a:xfrm>
            <a:off x="6389169" y="287999"/>
            <a:ext cx="2476179" cy="5812630"/>
          </a:xfrm>
        </p:spPr>
        <p:txBody>
          <a:bodyPr/>
          <a:lstStyle>
            <a:lvl1pPr>
              <a:lnSpc>
                <a:spcPct val="120000"/>
              </a:lnSpc>
              <a:defRPr sz="800">
                <a:latin typeface="IBM Plex Sans" pitchFamily="34"/>
              </a:defRPr>
            </a:lvl1pPr>
          </a:lstStyle>
          <a:p>
            <a:pPr lvl="0"/>
            <a:r>
              <a:rPr lang="en-US"/>
              <a:t>Copy and paste appropriate legal disclaimer text from one of the three options in the PDF guidance deck, found on pages 22-24. Always use the proper legal disclaimer for your presentation audience.</a:t>
            </a:r>
          </a:p>
        </p:txBody>
      </p:sp>
      <p:sp>
        <p:nvSpPr>
          <p:cNvPr id="4" name="Text Placeholder 6">
            <a:extLst>
              <a:ext uri="{FF2B5EF4-FFF2-40B4-BE49-F238E27FC236}">
                <a16:creationId xmlns:a16="http://schemas.microsoft.com/office/drawing/2014/main" id="{C2694CFF-80EC-9CBD-8DCA-66DF534829F7}"/>
              </a:ext>
            </a:extLst>
          </p:cNvPr>
          <p:cNvSpPr txBox="1">
            <a:spLocks noGrp="1"/>
          </p:cNvSpPr>
          <p:nvPr>
            <p:ph type="body" idx="4294967295"/>
          </p:nvPr>
        </p:nvSpPr>
        <p:spPr>
          <a:xfrm>
            <a:off x="9428523" y="287999"/>
            <a:ext cx="2476179" cy="5812630"/>
          </a:xfrm>
        </p:spPr>
        <p:txBody>
          <a:bodyPr/>
          <a:lstStyle>
            <a:lvl1pPr>
              <a:lnSpc>
                <a:spcPct val="120000"/>
              </a:lnSpc>
              <a:defRPr sz="800">
                <a:latin typeface="IBM Plex Sans" pitchFamily="34"/>
              </a:defRPr>
            </a:lvl1pPr>
          </a:lstStyle>
          <a:p>
            <a:pPr lvl="0"/>
            <a:r>
              <a:rPr lang="en-US"/>
              <a:t>Copy and paste appropriate legal disclaimer text from one of the three options in the PDF guidance deck, found on pages 22-24. Always use the proper legal disclaimer for your presentation audience.</a:t>
            </a:r>
          </a:p>
        </p:txBody>
      </p:sp>
      <p:sp>
        <p:nvSpPr>
          <p:cNvPr id="5" name="Footer Placeholder 3">
            <a:extLst>
              <a:ext uri="{FF2B5EF4-FFF2-40B4-BE49-F238E27FC236}">
                <a16:creationId xmlns:a16="http://schemas.microsoft.com/office/drawing/2014/main" id="{AE6471C0-EE9D-E6D9-7D0A-8533965145B5}"/>
              </a:ext>
            </a:extLst>
          </p:cNvPr>
          <p:cNvSpPr txBox="1">
            <a:spLocks noGrp="1"/>
          </p:cNvSpPr>
          <p:nvPr>
            <p:ph type="ftr" sz="quarter" idx="9"/>
          </p:nvPr>
        </p:nvSpPr>
        <p:spPr>
          <a:xfrm>
            <a:off x="287962" y="6408001"/>
            <a:ext cx="2477765" cy="190502"/>
          </a:xfrm>
        </p:spPr>
        <p:txBody>
          <a:bodyPr/>
          <a:lstStyle>
            <a:lvl1pPr>
              <a:defRPr/>
            </a:lvl1pPr>
          </a:lstStyle>
          <a:p>
            <a:pPr lvl="0"/>
            <a:endParaRPr lang="en-US"/>
          </a:p>
        </p:txBody>
      </p:sp>
      <p:sp>
        <p:nvSpPr>
          <p:cNvPr id="6" name="Slide Number">
            <a:extLst>
              <a:ext uri="{FF2B5EF4-FFF2-40B4-BE49-F238E27FC236}">
                <a16:creationId xmlns:a16="http://schemas.microsoft.com/office/drawing/2014/main" id="{93454212-CD85-B8EC-A9C8-7237E5012CBC}"/>
              </a:ext>
            </a:extLst>
          </p:cNvPr>
          <p:cNvSpPr txBox="1">
            <a:spLocks noGrp="1"/>
          </p:cNvSpPr>
          <p:nvPr>
            <p:ph type="sldNum" sz="quarter" idx="8"/>
          </p:nvPr>
        </p:nvSpPr>
        <p:spPr>
          <a:xfrm>
            <a:off x="11769264" y="6475767"/>
            <a:ext cx="135437" cy="123110"/>
          </a:xfrm>
        </p:spPr>
        <p:txBody>
          <a:bodyPr anchor="ctr"/>
          <a:lstStyle>
            <a:lvl1pPr>
              <a:defRPr/>
            </a:lvl1pPr>
          </a:lstStyle>
          <a:p>
            <a:pPr lvl="0"/>
            <a:fld id="{4FC67744-EA09-C14B-A154-42AF8E51D8BB}" type="slidenum">
              <a:t>‹#›</a:t>
            </a:fld>
            <a:endParaRPr lang="en-US"/>
          </a:p>
        </p:txBody>
      </p:sp>
    </p:spTree>
    <p:extLst>
      <p:ext uri="{BB962C8B-B14F-4D97-AF65-F5344CB8AC3E}">
        <p14:creationId xmlns:p14="http://schemas.microsoft.com/office/powerpoint/2010/main" val="211131922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Blank slide">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BD6A1F-7155-A618-2596-6DFEF218DD1F}"/>
              </a:ext>
            </a:extLst>
          </p:cNvPr>
          <p:cNvSpPr txBox="1">
            <a:spLocks noGrp="1"/>
          </p:cNvSpPr>
          <p:nvPr>
            <p:ph type="title"/>
          </p:nvPr>
        </p:nvSpPr>
        <p:spPr>
          <a:xfrm>
            <a:off x="287961" y="288036"/>
            <a:ext cx="2474588" cy="1234376"/>
          </a:xfrm>
        </p:spPr>
        <p:txBody>
          <a:bodyPr/>
          <a:lstStyle>
            <a:lvl1pPr>
              <a:lnSpc>
                <a:spcPct val="110000"/>
              </a:lnSpc>
              <a:defRPr sz="1400"/>
            </a:lvl1pPr>
          </a:lstStyle>
          <a:p>
            <a:pPr lvl="0"/>
            <a:r>
              <a:rPr lang="en-US"/>
              <a:t>Click to edit Master title style</a:t>
            </a:r>
          </a:p>
        </p:txBody>
      </p:sp>
      <p:sp>
        <p:nvSpPr>
          <p:cNvPr id="3" name="Footer Placeholder 3">
            <a:extLst>
              <a:ext uri="{FF2B5EF4-FFF2-40B4-BE49-F238E27FC236}">
                <a16:creationId xmlns:a16="http://schemas.microsoft.com/office/drawing/2014/main" id="{29BE4D52-9C89-E454-2355-3F54484AA70F}"/>
              </a:ext>
            </a:extLst>
          </p:cNvPr>
          <p:cNvSpPr txBox="1">
            <a:spLocks noGrp="1"/>
          </p:cNvSpPr>
          <p:nvPr>
            <p:ph type="ftr" sz="quarter" idx="9"/>
          </p:nvPr>
        </p:nvSpPr>
        <p:spPr>
          <a:xfrm>
            <a:off x="287962" y="6408001"/>
            <a:ext cx="2477765" cy="190502"/>
          </a:xfrm>
        </p:spPr>
        <p:txBody>
          <a:bodyPr/>
          <a:lstStyle>
            <a:lvl1pPr>
              <a:defRPr/>
            </a:lvl1pPr>
          </a:lstStyle>
          <a:p>
            <a:pPr lvl="0"/>
            <a:endParaRPr lang="en-US"/>
          </a:p>
        </p:txBody>
      </p:sp>
      <p:sp>
        <p:nvSpPr>
          <p:cNvPr id="4" name="Slide Number">
            <a:extLst>
              <a:ext uri="{FF2B5EF4-FFF2-40B4-BE49-F238E27FC236}">
                <a16:creationId xmlns:a16="http://schemas.microsoft.com/office/drawing/2014/main" id="{5783FA87-2B27-24DD-B884-DD29DDB43A67}"/>
              </a:ext>
            </a:extLst>
          </p:cNvPr>
          <p:cNvSpPr txBox="1">
            <a:spLocks noGrp="1"/>
          </p:cNvSpPr>
          <p:nvPr>
            <p:ph type="sldNum" sz="quarter" idx="8"/>
          </p:nvPr>
        </p:nvSpPr>
        <p:spPr>
          <a:xfrm>
            <a:off x="11769264" y="6475767"/>
            <a:ext cx="135437" cy="123110"/>
          </a:xfrm>
        </p:spPr>
        <p:txBody>
          <a:bodyPr anchor="ctr"/>
          <a:lstStyle>
            <a:lvl1pPr>
              <a:defRPr/>
            </a:lvl1pPr>
          </a:lstStyle>
          <a:p>
            <a:pPr lvl="0"/>
            <a:fld id="{3A8881B4-25B1-764C-9CDD-6256523AA963}" type="slidenum">
              <a:t>‹#›</a:t>
            </a:fld>
            <a:endParaRPr lang="en-US"/>
          </a:p>
        </p:txBody>
      </p:sp>
    </p:spTree>
    <p:extLst>
      <p:ext uri="{BB962C8B-B14F-4D97-AF65-F5344CB8AC3E}">
        <p14:creationId xmlns:p14="http://schemas.microsoft.com/office/powerpoint/2010/main" val="808772373"/>
      </p:ext>
    </p:extLst>
  </p:cSld>
  <p:clrMapOvr>
    <a:masterClrMapping/>
  </p:clrMapOvr>
  <p:hf sldNum="0" hdr="0" ftr="0" dt="0"/>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Blank slide, no footer">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421E4C-BEDD-FDB0-723A-15B1CBD22406}"/>
              </a:ext>
            </a:extLst>
          </p:cNvPr>
          <p:cNvSpPr txBox="1">
            <a:spLocks noGrp="1"/>
          </p:cNvSpPr>
          <p:nvPr>
            <p:ph type="title"/>
          </p:nvPr>
        </p:nvSpPr>
        <p:spPr>
          <a:xfrm>
            <a:off x="287961" y="288036"/>
            <a:ext cx="2474588" cy="1234376"/>
          </a:xfrm>
        </p:spPr>
        <p:txBody>
          <a:bodyPr/>
          <a:lstStyle>
            <a:lvl1pPr>
              <a:lnSpc>
                <a:spcPct val="110000"/>
              </a:lnSpc>
              <a:defRPr sz="1400"/>
            </a:lvl1pPr>
          </a:lstStyle>
          <a:p>
            <a:pPr lvl="0"/>
            <a:r>
              <a:rPr lang="en-US"/>
              <a:t>Click to edit Master title style</a:t>
            </a:r>
          </a:p>
        </p:txBody>
      </p:sp>
      <p:sp>
        <p:nvSpPr>
          <p:cNvPr id="3" name="Slide Number">
            <a:extLst>
              <a:ext uri="{FF2B5EF4-FFF2-40B4-BE49-F238E27FC236}">
                <a16:creationId xmlns:a16="http://schemas.microsoft.com/office/drawing/2014/main" id="{83AE1A0B-AEE3-529A-C268-4D1DF847B55E}"/>
              </a:ext>
            </a:extLst>
          </p:cNvPr>
          <p:cNvSpPr txBox="1">
            <a:spLocks noGrp="1"/>
          </p:cNvSpPr>
          <p:nvPr>
            <p:ph type="sldNum" sz="quarter" idx="8"/>
          </p:nvPr>
        </p:nvSpPr>
        <p:spPr>
          <a:xfrm>
            <a:off x="11769264" y="6475767"/>
            <a:ext cx="135437" cy="123110"/>
          </a:xfrm>
        </p:spPr>
        <p:txBody>
          <a:bodyPr anchor="ctr"/>
          <a:lstStyle>
            <a:lvl1pPr>
              <a:defRPr/>
            </a:lvl1pPr>
          </a:lstStyle>
          <a:p>
            <a:pPr lvl="0"/>
            <a:fld id="{E02E7E1A-AF57-5541-8FB3-90AAC9276EDA}" type="slidenum">
              <a:t>‹#›</a:t>
            </a:fld>
            <a:endParaRPr lang="en-US"/>
          </a:p>
        </p:txBody>
      </p:sp>
    </p:spTree>
    <p:extLst>
      <p:ext uri="{BB962C8B-B14F-4D97-AF65-F5344CB8AC3E}">
        <p14:creationId xmlns:p14="http://schemas.microsoft.com/office/powerpoint/2010/main" val="557166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End slide">
    <p:bg>
      <p:bgPr>
        <a:solidFill>
          <a:srgbClr val="FFFFFF"/>
        </a:solidFill>
        <a:effectLst/>
      </p:bgPr>
    </p:bg>
    <p:spTree>
      <p:nvGrpSpPr>
        <p:cNvPr id="1" name=""/>
        <p:cNvGrpSpPr/>
        <p:nvPr/>
      </p:nvGrpSpPr>
      <p:grpSpPr>
        <a:xfrm>
          <a:off x="0" y="0"/>
          <a:ext cx="0" cy="0"/>
          <a:chOff x="0" y="0"/>
          <a:chExt cx="0" cy="0"/>
        </a:xfrm>
      </p:grpSpPr>
      <p:pic>
        <p:nvPicPr>
          <p:cNvPr id="2" name="Picture 3" descr="IBM 8-bar logo">
            <a:extLst>
              <a:ext uri="{FF2B5EF4-FFF2-40B4-BE49-F238E27FC236}">
                <a16:creationId xmlns:a16="http://schemas.microsoft.com/office/drawing/2014/main" id="{DA968B8B-39E4-9DE7-7000-1BA6ED593936}"/>
              </a:ext>
            </a:extLst>
          </p:cNvPr>
          <p:cNvPicPr>
            <a:picLocks noChangeAspect="1"/>
          </p:cNvPicPr>
          <p:nvPr/>
        </p:nvPicPr>
        <p:blipFill>
          <a:blip r:embed="rId2"/>
          <a:stretch>
            <a:fillRect/>
          </a:stretch>
        </p:blipFill>
        <p:spPr>
          <a:xfrm>
            <a:off x="5232005" y="3084230"/>
            <a:ext cx="1727991" cy="689540"/>
          </a:xfrm>
          <a:prstGeom prst="rect">
            <a:avLst/>
          </a:prstGeom>
          <a:noFill/>
          <a:ln cap="flat">
            <a:noFill/>
          </a:ln>
        </p:spPr>
      </p:pic>
    </p:spTree>
    <p:extLst>
      <p:ext uri="{BB962C8B-B14F-4D97-AF65-F5344CB8AC3E}">
        <p14:creationId xmlns:p14="http://schemas.microsoft.com/office/powerpoint/2010/main" val="3177998360"/>
      </p:ext>
    </p:extLst>
  </p:cSld>
  <p:clrMapOvr>
    <a:masterClrMapping/>
  </p:clrMapOvr>
  <p:hf sldNum="0" hdr="0" ftr="0" dt="0"/>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3_Blank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6C6EC6-F6C5-4556-FEAC-66336269F8EA}"/>
              </a:ext>
            </a:extLst>
          </p:cNvPr>
          <p:cNvSpPr txBox="1">
            <a:spLocks noGrp="1"/>
          </p:cNvSpPr>
          <p:nvPr>
            <p:ph type="title"/>
          </p:nvPr>
        </p:nvSpPr>
        <p:spPr>
          <a:xfrm>
            <a:off x="287998" y="192600"/>
            <a:ext cx="2474588" cy="763524"/>
          </a:xfrm>
        </p:spPr>
        <p:txBody>
          <a:bodyPr/>
          <a:lstStyle>
            <a:lvl1pPr>
              <a:lnSpc>
                <a:spcPct val="100000"/>
              </a:lnSpc>
              <a:defRPr sz="3197">
                <a:latin typeface="IBM Plex Sans Light" pitchFamily="34"/>
              </a:defRPr>
            </a:lvl1pPr>
          </a:lstStyle>
          <a:p>
            <a:pPr lvl="0"/>
            <a:r>
              <a:rPr lang="en-US"/>
              <a:t>Click to edit Master title style</a:t>
            </a:r>
          </a:p>
        </p:txBody>
      </p:sp>
      <p:sp>
        <p:nvSpPr>
          <p:cNvPr id="3" name="Footer Placeholder 3">
            <a:extLst>
              <a:ext uri="{FF2B5EF4-FFF2-40B4-BE49-F238E27FC236}">
                <a16:creationId xmlns:a16="http://schemas.microsoft.com/office/drawing/2014/main" id="{7CBF5634-F5AC-C83F-C04E-0156B9522072}"/>
              </a:ext>
            </a:extLst>
          </p:cNvPr>
          <p:cNvSpPr txBox="1">
            <a:spLocks noGrp="1"/>
          </p:cNvSpPr>
          <p:nvPr>
            <p:ph type="ftr" sz="quarter" idx="9"/>
          </p:nvPr>
        </p:nvSpPr>
        <p:spPr/>
        <p:txBody>
          <a:bodyPr/>
          <a:lstStyle>
            <a:lvl1pPr>
              <a:defRPr>
                <a:latin typeface="IBM Plex Sans Light" pitchFamily="34"/>
              </a:defRPr>
            </a:lvl1pPr>
          </a:lstStyle>
          <a:p>
            <a:pPr lvl="0"/>
            <a:endParaRPr lang="en-US"/>
          </a:p>
        </p:txBody>
      </p:sp>
      <p:sp>
        <p:nvSpPr>
          <p:cNvPr id="4" name="Slide Number">
            <a:extLst>
              <a:ext uri="{FF2B5EF4-FFF2-40B4-BE49-F238E27FC236}">
                <a16:creationId xmlns:a16="http://schemas.microsoft.com/office/drawing/2014/main" id="{AAC10265-7673-DEFC-B67D-D3BA907CC703}"/>
              </a:ext>
            </a:extLst>
          </p:cNvPr>
          <p:cNvSpPr txBox="1">
            <a:spLocks noGrp="1"/>
          </p:cNvSpPr>
          <p:nvPr>
            <p:ph type="sldNum" sz="quarter" idx="8"/>
          </p:nvPr>
        </p:nvSpPr>
        <p:spPr>
          <a:xfrm>
            <a:off x="11769264" y="6469421"/>
            <a:ext cx="135437" cy="123110"/>
          </a:xfrm>
        </p:spPr>
        <p:txBody>
          <a:bodyPr anchor="ctr"/>
          <a:lstStyle>
            <a:lvl1pPr>
              <a:defRPr>
                <a:latin typeface="IBM Plex Sans Light" pitchFamily="34"/>
              </a:defRPr>
            </a:lvl1pPr>
          </a:lstStyle>
          <a:p>
            <a:pPr lvl="0"/>
            <a:fld id="{C73F7990-971D-4C45-A41C-A180FAF384C8}" type="slidenum">
              <a:t>‹#›</a:t>
            </a:fld>
            <a:endParaRPr lang="en-US"/>
          </a:p>
        </p:txBody>
      </p:sp>
    </p:spTree>
    <p:extLst>
      <p:ext uri="{BB962C8B-B14F-4D97-AF65-F5344CB8AC3E}">
        <p14:creationId xmlns:p14="http://schemas.microsoft.com/office/powerpoint/2010/main" val="1444229805"/>
      </p:ext>
    </p:extLst>
  </p:cSld>
  <p:clrMapOvr>
    <a:masterClrMapping/>
  </p:clrMapOvr>
  <p:hf sldNum="0" hdr="0" ftr="0" dt="0"/>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12192000" cy="6000750"/>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3144044"/>
          </a:xfrm>
        </p:spPr>
        <p:txBody>
          <a:bodyPr/>
          <a:lstStyle>
            <a:lvl1pPr>
              <a:lnSpc>
                <a:spcPct val="100000"/>
              </a:lnSpc>
              <a:defRPr sz="4299">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87999" y="6044184"/>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3335316" y="6042370"/>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3509854674"/>
      </p:ext>
    </p:extLst>
  </p:cSld>
  <p:clrMapOvr>
    <a:masterClrMapping/>
  </p:clrMapOvr>
  <p:transition spd="med"/>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12192000" cy="600075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indent="0" algn="l" defTabSz="457109" rtl="0" eaLnBrk="1" fontAlgn="base" latinLnBrk="0" hangingPunct="1">
              <a:lnSpc>
                <a:spcPct val="100000"/>
              </a:lnSpc>
              <a:spcBef>
                <a:spcPct val="0"/>
              </a:spcBef>
              <a:spcAft>
                <a:spcPct val="0"/>
              </a:spcAft>
              <a:buClrTx/>
              <a:buSzTx/>
              <a:buFont typeface="IBM Plex Sans Light"/>
              <a:buNone/>
              <a:tabLst/>
            </a:pPr>
            <a:endParaRPr kumimoji="0" lang="en-US" sz="700" b="0" i="0" u="none" strike="noStrike" cap="none" normalizeH="0" baseline="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2286794"/>
          </a:xfrm>
        </p:spPr>
        <p:txBody>
          <a:bodyPr/>
          <a:lstStyle>
            <a:lvl1pPr>
              <a:lnSpc>
                <a:spcPct val="100000"/>
              </a:lnSpc>
              <a:defRPr sz="4299">
                <a:solidFill>
                  <a:schemeClr val="tx2"/>
                </a:solidFill>
              </a:defRPr>
            </a:lvl1pPr>
          </a:lstStyle>
          <a:p>
            <a:r>
              <a:rPr lang="en-US"/>
              <a:t>Click to edit Master title style</a:t>
            </a:r>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287999" y="6044184"/>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3335316" y="6042370"/>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3180049100"/>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8" name="Text Placeholder 1"/>
          <p:cNvSpPr>
            <a:spLocks noGrp="1"/>
          </p:cNvSpPr>
          <p:nvPr>
            <p:ph type="body" sz="quarter" idx="13"/>
          </p:nvPr>
        </p:nvSpPr>
        <p:spPr>
          <a:xfrm>
            <a:off x="292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p:cNvSpPr>
            <a:spLocks noGrp="1"/>
          </p:cNvSpPr>
          <p:nvPr>
            <p:ph type="body" sz="quarter" idx="12"/>
          </p:nvPr>
        </p:nvSpPr>
        <p:spPr>
          <a:xfrm>
            <a:off x="6388611" y="1658112"/>
            <a:ext cx="5498501"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Think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51772953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2286794"/>
          </a:xfrm>
        </p:spPr>
        <p:txBody>
          <a:bodyPr/>
          <a:lstStyle>
            <a:lvl1pPr>
              <a:lnSpc>
                <a:spcPct val="100000"/>
              </a:lnSpc>
              <a:defRPr sz="4299"/>
            </a:lvl1pPr>
          </a:lstStyle>
          <a:p>
            <a:r>
              <a:rPr lang="en-US"/>
              <a:t>Click to edit Master title style</a:t>
            </a:r>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158607293"/>
      </p:ext>
    </p:extLst>
  </p:cSld>
  <p:clrMapOvr>
    <a:masterClrMapping/>
  </p:clrMapOvr>
  <p:transition spd="med"/>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2286794"/>
          </a:xfrm>
        </p:spPr>
        <p:txBody>
          <a:bodyPr/>
          <a:lstStyle>
            <a:lvl1pPr>
              <a:lnSpc>
                <a:spcPct val="100000"/>
              </a:lnSpc>
              <a:defRPr sz="4299">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87998" y="6231636"/>
            <a:ext cx="5524575" cy="381000"/>
          </a:xfrm>
        </p:spPr>
        <p:txBody>
          <a:bodyPr anchor="b"/>
          <a:lstStyle>
            <a:lvl1pPr>
              <a:lnSpc>
                <a:spcPct val="110000"/>
              </a:lnSpc>
              <a:spcBef>
                <a:spcPts val="0"/>
              </a:spcBef>
              <a:defRPr sz="140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1058370703"/>
      </p:ext>
    </p:extLst>
  </p:cSld>
  <p:clrMapOvr>
    <a:masterClrMapping/>
  </p:clrMapOvr>
  <p:transition spd="med"/>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6"/>
            <a:ext cx="5523781" cy="6287294"/>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192024"/>
            <a:ext cx="5049878" cy="5239544"/>
          </a:xfrm>
        </p:spPr>
        <p:txBody>
          <a:bodyPr/>
          <a:lstStyle>
            <a:lvl1pPr>
              <a:lnSpc>
                <a:spcPct val="100000"/>
              </a:lnSpc>
              <a:defRPr sz="4299">
                <a:solidFill>
                  <a:schemeClr val="tx2"/>
                </a:solidFill>
              </a:defRPr>
            </a:lvl1pPr>
          </a:lstStyle>
          <a:p>
            <a:r>
              <a:rPr lang="en-US"/>
              <a:t>Click to edit Master title style</a:t>
            </a:r>
          </a:p>
        </p:txBody>
      </p:sp>
      <p:sp>
        <p:nvSpPr>
          <p:cNvPr id="3" name="Footer Placeholder 4">
            <a:extLst>
              <a:ext uri="{FF2B5EF4-FFF2-40B4-BE49-F238E27FC236}">
                <a16:creationId xmlns:a16="http://schemas.microsoft.com/office/drawing/2014/main" id="{350F1291-B62E-FC18-95A9-11149C11AB77}"/>
              </a:ext>
            </a:extLst>
          </p:cNvPr>
          <p:cNvSpPr>
            <a:spLocks noGrp="1"/>
          </p:cNvSpPr>
          <p:nvPr>
            <p:ph type="ftr" sz="quarter" idx="13"/>
          </p:nvPr>
        </p:nvSpPr>
        <p:spPr>
          <a:xfrm>
            <a:off x="284125" y="6402118"/>
            <a:ext cx="2477765" cy="190500"/>
          </a:xfrm>
        </p:spPr>
        <p:txBody>
          <a:bodyPr/>
          <a:lstStyle/>
          <a:p>
            <a:r>
              <a:rPr lang="en-US"/>
              <a:t>Data Integration / © 2024 IBM Corporation</a:t>
            </a:r>
          </a:p>
        </p:txBody>
      </p:sp>
    </p:spTree>
    <p:extLst>
      <p:ext uri="{BB962C8B-B14F-4D97-AF65-F5344CB8AC3E}">
        <p14:creationId xmlns:p14="http://schemas.microsoft.com/office/powerpoint/2010/main" val="2372657053"/>
      </p:ext>
    </p:extLst>
  </p:cSld>
  <p:clrMapOvr>
    <a:masterClrMapping/>
  </p:clrMapOvr>
  <p:transition spd="med"/>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6"/>
            <a:ext cx="5523781" cy="6287294"/>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841248"/>
            <a:ext cx="5049180" cy="4668838"/>
          </a:xfrm>
        </p:spPr>
        <p:txBody>
          <a:bodyPr/>
          <a:lstStyle>
            <a:lvl1pPr>
              <a:lnSpc>
                <a:spcPct val="100000"/>
              </a:lnSpc>
              <a:defRPr sz="4299">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87999" y="288036"/>
            <a:ext cx="5049180" cy="285750"/>
          </a:xfrm>
        </p:spPr>
        <p:txBody>
          <a:bodyPr/>
          <a:lstStyle>
            <a:lvl1pPr>
              <a:spcBef>
                <a:spcPts val="0"/>
              </a:spcBef>
              <a:defRPr sz="14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288888" y="6263482"/>
            <a:ext cx="819043" cy="304800"/>
          </a:xfrm>
          <a:prstGeom prst="rect">
            <a:avLst/>
          </a:prstGeom>
        </p:spPr>
      </p:pic>
    </p:spTree>
    <p:extLst>
      <p:ext uri="{BB962C8B-B14F-4D97-AF65-F5344CB8AC3E}">
        <p14:creationId xmlns:p14="http://schemas.microsoft.com/office/powerpoint/2010/main" val="3617410733"/>
      </p:ext>
    </p:extLst>
  </p:cSld>
  <p:clrMapOvr>
    <a:masterClrMapping/>
  </p:clrMapOvr>
  <p:transition spd="med"/>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2477765" cy="2286794"/>
          </a:xfrm>
        </p:spPr>
        <p:txBody>
          <a:bodyPr/>
          <a:lstStyle>
            <a:lvl1pPr>
              <a:lnSpc>
                <a:spcPct val="100000"/>
              </a:lnSpc>
              <a:defRPr sz="3199">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6380919" y="284957"/>
            <a:ext cx="2476178" cy="5715794"/>
          </a:xfrm>
        </p:spPr>
        <p:txBody>
          <a:bodyPr/>
          <a:lstStyle>
            <a:lvl1pPr defTabSz="580528">
              <a:spcBef>
                <a:spcPts val="0"/>
              </a:spcBef>
              <a:defRPr>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9430110" y="284957"/>
            <a:ext cx="2474590" cy="5715794"/>
          </a:xfrm>
        </p:spPr>
        <p:txBody>
          <a:bodyPr/>
          <a:lstStyle>
            <a:lvl1pPr defTabSz="580528">
              <a:spcBef>
                <a:spcPts val="0"/>
              </a:spcBef>
              <a:defRPr>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84125" y="6402118"/>
            <a:ext cx="2477765" cy="190500"/>
          </a:xfrm>
        </p:spPr>
        <p:txBody>
          <a:bodyPr/>
          <a:lstStyle/>
          <a:p>
            <a:r>
              <a:rPr lang="en-US"/>
              <a:t>Data Integration / © 2024 IBM Corporation</a:t>
            </a:r>
          </a:p>
        </p:txBody>
      </p:sp>
    </p:spTree>
    <p:extLst>
      <p:ext uri="{BB962C8B-B14F-4D97-AF65-F5344CB8AC3E}">
        <p14:creationId xmlns:p14="http://schemas.microsoft.com/office/powerpoint/2010/main" val="2704551396"/>
      </p:ext>
    </p:extLst>
  </p:cSld>
  <p:clrMapOvr>
    <a:masterClrMapping/>
  </p:clrMapOvr>
  <p:transition spd="med"/>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1429544"/>
          </a:xfrm>
        </p:spPr>
        <p:txBody>
          <a:bodyPr rIns="457200"/>
          <a:lstStyle>
            <a:lvl1pPr>
              <a:lnSpc>
                <a:spcPct val="100000"/>
              </a:lnSpc>
              <a:defRPr sz="3199">
                <a:solidFill>
                  <a:schemeClr val="tx2"/>
                </a:solidFill>
              </a:defRPr>
            </a:lvl1pPr>
          </a:lstStyle>
          <a:p>
            <a:r>
              <a:rPr lang="en-US"/>
              <a:t>Click to edit Master title style</a:t>
            </a:r>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84125" y="6402118"/>
            <a:ext cx="2477765" cy="190500"/>
          </a:xfrm>
        </p:spPr>
        <p:txBody>
          <a:bodyPr/>
          <a:lstStyle/>
          <a:p>
            <a:r>
              <a:rPr lang="en-US"/>
              <a:t>Data Integration / © 2024 IBM Corporation</a:t>
            </a:r>
          </a:p>
        </p:txBody>
      </p:sp>
    </p:spTree>
    <p:extLst>
      <p:ext uri="{BB962C8B-B14F-4D97-AF65-F5344CB8AC3E}">
        <p14:creationId xmlns:p14="http://schemas.microsoft.com/office/powerpoint/2010/main" val="387999391"/>
      </p:ext>
    </p:extLst>
  </p:cSld>
  <p:clrMapOvr>
    <a:masterClrMapping/>
  </p:clrMapOvr>
  <p:transition spd="med"/>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87300" y="210312"/>
            <a:ext cx="8569797" cy="4095750"/>
          </a:xfrm>
        </p:spPr>
        <p:txBody>
          <a:bodyPr/>
          <a:lstStyle>
            <a:lvl1pPr>
              <a:defRPr sz="8598" b="0" i="0">
                <a:solidFill>
                  <a:schemeClr val="tx2"/>
                </a:solidFill>
                <a:latin typeface="IBM Plex Sans ExtLt" panose="020B0303050203000203" pitchFamily="34" charset="0"/>
              </a:defRPr>
            </a:lvl1pPr>
          </a:lstStyle>
          <a:p>
            <a:r>
              <a:rPr lang="en-US"/>
              <a:t>Click to edit Master title style</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84125" y="6402118"/>
            <a:ext cx="2477765" cy="190500"/>
          </a:xfrm>
        </p:spPr>
        <p:txBody>
          <a:bodyPr/>
          <a:lstStyle/>
          <a:p>
            <a:r>
              <a:rPr lang="en-US"/>
              <a:t>Data Integration / © 2024 IBM Corporation</a:t>
            </a:r>
          </a:p>
        </p:txBody>
      </p:sp>
    </p:spTree>
    <p:extLst>
      <p:ext uri="{BB962C8B-B14F-4D97-AF65-F5344CB8AC3E}">
        <p14:creationId xmlns:p14="http://schemas.microsoft.com/office/powerpoint/2010/main" val="680021533"/>
      </p:ext>
    </p:extLst>
  </p:cSld>
  <p:clrMapOvr>
    <a:masterClrMapping/>
  </p:clrMapOvr>
  <p:transition spd="med"/>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4953942" cy="1429544"/>
          </a:xfrm>
        </p:spPr>
        <p:txBody>
          <a:bodyPr/>
          <a:lstStyle>
            <a:lvl1pPr>
              <a:lnSpc>
                <a:spcPct val="100000"/>
              </a:lnSpc>
              <a:defRPr sz="3199">
                <a:solidFill>
                  <a:schemeClr val="tx2"/>
                </a:solidFill>
              </a:defRPr>
            </a:lvl1pPr>
          </a:lstStyle>
          <a:p>
            <a:r>
              <a:rPr lang="en-US"/>
              <a:t>Click to edit Master title style</a:t>
            </a:r>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6382795" y="224028"/>
            <a:ext cx="5520318" cy="4287044"/>
          </a:xfrm>
        </p:spPr>
        <p:txBody>
          <a:bodyPr/>
          <a:lstStyle>
            <a:lvl1pPr>
              <a:lnSpc>
                <a:spcPct val="100000"/>
              </a:lnSpc>
              <a:spcBef>
                <a:spcPts val="0"/>
              </a:spcBef>
              <a:defRPr sz="3199">
                <a:solidFill>
                  <a:schemeClr val="tx2"/>
                </a:solidFill>
              </a:defRPr>
            </a:lvl1pPr>
            <a:lvl2pPr marL="292549" indent="-292549">
              <a:lnSpc>
                <a:spcPct val="100000"/>
              </a:lnSpc>
              <a:spcBef>
                <a:spcPts val="0"/>
              </a:spcBef>
              <a:defRPr sz="3199">
                <a:solidFill>
                  <a:schemeClr val="tx2"/>
                </a:solidFill>
              </a:defRPr>
            </a:lvl2pPr>
            <a:lvl3pPr marL="548530" indent="-292549">
              <a:lnSpc>
                <a:spcPct val="100000"/>
              </a:lnSpc>
              <a:spcBef>
                <a:spcPts val="0"/>
              </a:spcBef>
              <a:defRPr sz="3199">
                <a:solidFill>
                  <a:schemeClr val="tx2"/>
                </a:solidFill>
              </a:defRPr>
            </a:lvl3pPr>
            <a:lvl4pPr marL="877648">
              <a:lnSpc>
                <a:spcPct val="100000"/>
              </a:lnSpc>
              <a:spcBef>
                <a:spcPts val="0"/>
              </a:spcBef>
              <a:defRPr sz="3199">
                <a:solidFill>
                  <a:schemeClr val="tx2"/>
                </a:solidFill>
              </a:defRPr>
            </a:lvl4pPr>
            <a:lvl5pPr>
              <a:lnSpc>
                <a:spcPct val="100000"/>
              </a:lnSpc>
              <a:spcBef>
                <a:spcPts val="0"/>
              </a:spcBef>
              <a:defRPr sz="3199"/>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84125" y="6402118"/>
            <a:ext cx="2477765" cy="190500"/>
          </a:xfrm>
        </p:spPr>
        <p:txBody>
          <a:bodyPr/>
          <a:lstStyle/>
          <a:p>
            <a:r>
              <a:rPr lang="en-US"/>
              <a:t>Data Integration / © 2024 IBM Corporation</a:t>
            </a:r>
          </a:p>
        </p:txBody>
      </p:sp>
    </p:spTree>
    <p:extLst>
      <p:ext uri="{BB962C8B-B14F-4D97-AF65-F5344CB8AC3E}">
        <p14:creationId xmlns:p14="http://schemas.microsoft.com/office/powerpoint/2010/main" val="1109085720"/>
      </p:ext>
    </p:extLst>
  </p:cSld>
  <p:clrMapOvr>
    <a:masterClrMapping/>
  </p:clrMapOvr>
  <p:transition spd="med"/>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210312"/>
            <a:ext cx="7330121" cy="4858544"/>
          </a:xfrm>
        </p:spPr>
        <p:txBody>
          <a:bodyPr/>
          <a:lstStyle>
            <a:lvl1pPr>
              <a:lnSpc>
                <a:spcPct val="100000"/>
              </a:lnSpc>
              <a:defRPr sz="4299">
                <a:solidFill>
                  <a:schemeClr val="tx2"/>
                </a:solidFill>
              </a:defRPr>
            </a:lvl1pPr>
          </a:lstStyle>
          <a:p>
            <a:r>
              <a:rPr lang="en-US"/>
              <a:t>Click to edit Master title style</a:t>
            </a: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84125" y="6402118"/>
            <a:ext cx="2477765" cy="190500"/>
          </a:xfrm>
        </p:spPr>
        <p:txBody>
          <a:bodyPr/>
          <a:lstStyle/>
          <a:p>
            <a:r>
              <a:rPr lang="en-US"/>
              <a:t>Data Integration / © 2024 IBM Corporation</a:t>
            </a:r>
          </a:p>
        </p:txBody>
      </p:sp>
    </p:spTree>
    <p:extLst>
      <p:ext uri="{BB962C8B-B14F-4D97-AF65-F5344CB8AC3E}">
        <p14:creationId xmlns:p14="http://schemas.microsoft.com/office/powerpoint/2010/main" val="4219421646"/>
      </p:ext>
    </p:extLst>
  </p:cSld>
  <p:clrMapOvr>
    <a:masterClrMapping/>
  </p:clrMapOvr>
  <p:transition spd="med"/>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87998" y="4649724"/>
            <a:ext cx="5524575" cy="1771650"/>
          </a:xfrm>
        </p:spPr>
        <p:txBody>
          <a:bodyPr anchor="b"/>
          <a:lstStyle>
            <a:lvl1pPr>
              <a:lnSpc>
                <a:spcPct val="90000"/>
              </a:lnSpc>
              <a:spcBef>
                <a:spcPts val="0"/>
              </a:spcBef>
              <a:defRPr sz="12897" b="0" i="0">
                <a:solidFill>
                  <a:schemeClr val="accent1"/>
                </a:solidFill>
                <a:latin typeface="IBM Plex Sans ExtLt" panose="020B0303050203000203" pitchFamily="34" charset="0"/>
              </a:defRPr>
            </a:lvl1pPr>
          </a:lstStyle>
          <a:p>
            <a:r>
              <a:rPr lang="en-US"/>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6380919" y="4648200"/>
            <a:ext cx="5523781" cy="1771650"/>
          </a:xfrm>
        </p:spPr>
        <p:txBody>
          <a:bodyPr anchor="b"/>
          <a:lstStyle>
            <a:lvl1pPr>
              <a:lnSpc>
                <a:spcPct val="90000"/>
              </a:lnSpc>
              <a:spcBef>
                <a:spcPts val="0"/>
              </a:spcBef>
              <a:defRPr sz="12897" b="0" i="0">
                <a:solidFill>
                  <a:schemeClr val="accent1"/>
                </a:solidFill>
                <a:latin typeface="IBM Plex Sans ExtLt" panose="020B0303050203000203" pitchFamily="34" charset="0"/>
              </a:defRPr>
            </a:lvl1pPr>
          </a:lstStyle>
          <a:p>
            <a:r>
              <a:rPr lang="en-US"/>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6380919" y="288036"/>
            <a:ext cx="3809504" cy="3144044"/>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87999" y="288036"/>
            <a:ext cx="3811091" cy="3144044"/>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609600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84125" y="6402118"/>
            <a:ext cx="2477765" cy="190500"/>
          </a:xfrm>
        </p:spPr>
        <p:txBody>
          <a:bodyPr/>
          <a:lstStyle/>
          <a:p>
            <a:r>
              <a:rPr lang="en-US"/>
              <a:t>Data Integration / © 2024 IBM Corporation</a:t>
            </a:r>
          </a:p>
        </p:txBody>
      </p:sp>
    </p:spTree>
    <p:extLst>
      <p:ext uri="{BB962C8B-B14F-4D97-AF65-F5344CB8AC3E}">
        <p14:creationId xmlns:p14="http://schemas.microsoft.com/office/powerpoint/2010/main" val="1308297834"/>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1" cy="762795"/>
          </a:xfrm>
        </p:spPr>
        <p:txBody>
          <a:bodyPr/>
          <a:lstStyle>
            <a:lvl1pPr>
              <a:lnSpc>
                <a:spcPct val="110000"/>
              </a:lnSpc>
              <a:defRPr sz="14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87999" y="1714500"/>
            <a:ext cx="2477765" cy="4286251"/>
          </a:xfrm>
        </p:spPr>
        <p:txBody>
          <a:bodyPr/>
          <a:lstStyle>
            <a:lvl1pPr>
              <a:spcBef>
                <a:spcPts val="0"/>
              </a:spcBef>
              <a:defRPr sz="1000" b="0" i="0">
                <a:solidFill>
                  <a:schemeClr val="tx1"/>
                </a:solidFill>
                <a:latin typeface="IBM Plex Sans" panose="020B0503050203000203" pitchFamily="34" charset="0"/>
              </a:defRPr>
            </a:lvl1pPr>
            <a:lvl2pPr marL="91438" indent="-91438">
              <a:spcBef>
                <a:spcPts val="0"/>
              </a:spcBef>
              <a:defRPr sz="1000" b="0" i="0">
                <a:solidFill>
                  <a:schemeClr val="tx1"/>
                </a:solidFill>
                <a:latin typeface="IBM Plex Sans" panose="020B0503050203000203" pitchFamily="34" charset="0"/>
              </a:defRPr>
            </a:lvl2pPr>
            <a:lvl3pPr marL="182875" indent="-91438">
              <a:spcBef>
                <a:spcPts val="0"/>
              </a:spcBef>
              <a:defRPr sz="1000" b="0" i="0">
                <a:solidFill>
                  <a:schemeClr val="tx1"/>
                </a:solidFill>
                <a:latin typeface="IBM Plex Sans" panose="020B0503050203000203" pitchFamily="34" charset="0"/>
              </a:defRPr>
            </a:lvl3pPr>
            <a:lvl4pPr marL="274313" indent="-91438">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1"/>
          </a:xfrm>
        </p:spPr>
        <p:txBody>
          <a:bodyPr/>
          <a:lstStyle>
            <a:lvl1pPr>
              <a:spcBef>
                <a:spcPts val="0"/>
              </a:spcBef>
              <a:defRPr sz="1000" b="0" i="0">
                <a:solidFill>
                  <a:schemeClr val="tx1"/>
                </a:solidFill>
                <a:latin typeface="IBM Plex Sans" panose="020B0503050203000203" pitchFamily="34" charset="0"/>
              </a:defRPr>
            </a:lvl1pPr>
            <a:lvl2pPr marL="91438" indent="-91438">
              <a:spcBef>
                <a:spcPts val="0"/>
              </a:spcBef>
              <a:defRPr sz="1000" b="0" i="0">
                <a:solidFill>
                  <a:schemeClr val="tx1"/>
                </a:solidFill>
                <a:latin typeface="IBM Plex Sans" panose="020B0503050203000203" pitchFamily="34" charset="0"/>
              </a:defRPr>
            </a:lvl2pPr>
            <a:lvl3pPr marL="182875" indent="-91438">
              <a:spcBef>
                <a:spcPts val="0"/>
              </a:spcBef>
              <a:defRPr sz="1000" b="0" i="0">
                <a:solidFill>
                  <a:schemeClr val="tx1"/>
                </a:solidFill>
                <a:latin typeface="IBM Plex Sans" panose="020B0503050203000203" pitchFamily="34" charset="0"/>
              </a:defRPr>
            </a:lvl3pPr>
            <a:lvl4pPr marL="274313" indent="-91438">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20" y="1714500"/>
            <a:ext cx="2476177" cy="4286251"/>
          </a:xfrm>
        </p:spPr>
        <p:txBody>
          <a:bodyPr/>
          <a:lstStyle>
            <a:lvl1pPr>
              <a:spcBef>
                <a:spcPts val="0"/>
              </a:spcBef>
              <a:defRPr sz="1000" b="0" i="0">
                <a:solidFill>
                  <a:schemeClr val="tx1"/>
                </a:solidFill>
                <a:latin typeface="IBM Plex Sans" panose="020B0503050203000203" pitchFamily="34" charset="0"/>
              </a:defRPr>
            </a:lvl1pPr>
            <a:lvl2pPr marL="91438" indent="-91438">
              <a:spcBef>
                <a:spcPts val="0"/>
              </a:spcBef>
              <a:defRPr sz="1000" b="0" i="0">
                <a:solidFill>
                  <a:schemeClr val="tx1"/>
                </a:solidFill>
                <a:latin typeface="IBM Plex Sans" panose="020B0503050203000203" pitchFamily="34" charset="0"/>
              </a:defRPr>
            </a:lvl2pPr>
            <a:lvl3pPr marL="182875" indent="-91438">
              <a:spcBef>
                <a:spcPts val="0"/>
              </a:spcBef>
              <a:defRPr sz="1000" b="0" i="0">
                <a:solidFill>
                  <a:schemeClr val="tx1"/>
                </a:solidFill>
                <a:latin typeface="IBM Plex Sans" panose="020B0503050203000203" pitchFamily="34" charset="0"/>
              </a:defRPr>
            </a:lvl3pPr>
            <a:lvl4pPr marL="274313" indent="-91438">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3" y="1714500"/>
            <a:ext cx="2479352" cy="4286251"/>
          </a:xfrm>
        </p:spPr>
        <p:txBody>
          <a:bodyPr/>
          <a:lstStyle>
            <a:lvl1pPr>
              <a:spcBef>
                <a:spcPts val="0"/>
              </a:spcBef>
              <a:defRPr sz="1000" b="0" i="0">
                <a:solidFill>
                  <a:schemeClr val="tx1"/>
                </a:solidFill>
                <a:latin typeface="IBM Plex Sans" panose="020B0503050203000203" pitchFamily="34" charset="0"/>
              </a:defRPr>
            </a:lvl1pPr>
            <a:lvl2pPr marL="91438" indent="-91438">
              <a:spcBef>
                <a:spcPts val="0"/>
              </a:spcBef>
              <a:defRPr sz="1000" b="0" i="0">
                <a:solidFill>
                  <a:schemeClr val="tx1"/>
                </a:solidFill>
                <a:latin typeface="IBM Plex Sans" panose="020B0503050203000203" pitchFamily="34" charset="0"/>
              </a:defRPr>
            </a:lvl2pPr>
            <a:lvl3pPr marL="182875" indent="-91438">
              <a:spcBef>
                <a:spcPts val="0"/>
              </a:spcBef>
              <a:defRPr sz="1000" b="0" i="0">
                <a:solidFill>
                  <a:schemeClr val="tx1"/>
                </a:solidFill>
                <a:latin typeface="IBM Plex Sans" panose="020B0503050203000203" pitchFamily="34" charset="0"/>
              </a:defRPr>
            </a:lvl3pPr>
            <a:lvl4pPr marL="274313" indent="-91438">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11767910" y="6469419"/>
            <a:ext cx="136791"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84126" y="6402118"/>
            <a:ext cx="2477765" cy="190500"/>
          </a:xfrm>
        </p:spPr>
        <p:txBody>
          <a:bodyPr/>
          <a:lstStyle/>
          <a:p>
            <a:endParaRPr lang="en-US"/>
          </a:p>
        </p:txBody>
      </p:sp>
    </p:spTree>
    <p:extLst>
      <p:ext uri="{BB962C8B-B14F-4D97-AF65-F5344CB8AC3E}">
        <p14:creationId xmlns:p14="http://schemas.microsoft.com/office/powerpoint/2010/main" val="2618241390"/>
      </p:ext>
    </p:extLst>
  </p:cSld>
  <p:clrMapOvr>
    <a:masterClrMapping/>
  </p:clrMapOvr>
  <p:transition spd="med"/>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383301" y="213241"/>
            <a:ext cx="2474590" cy="953294"/>
          </a:xfrm>
        </p:spPr>
        <p:txBody>
          <a:bodyPr/>
          <a:lstStyle>
            <a:lvl1pPr>
              <a:lnSpc>
                <a:spcPct val="90000"/>
              </a:lnSpc>
              <a:defRPr sz="6499">
                <a:solidFill>
                  <a:schemeClr val="accent1"/>
                </a:solidFill>
              </a:defRPr>
            </a:lvl1pPr>
          </a:lstStyle>
          <a:p>
            <a:pPr lvl="0"/>
            <a:r>
              <a:rPr lang="en-US"/>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9428523" y="214827"/>
            <a:ext cx="2474590" cy="951707"/>
          </a:xfrm>
        </p:spPr>
        <p:txBody>
          <a:bodyPr/>
          <a:lstStyle>
            <a:lvl1pPr>
              <a:lnSpc>
                <a:spcPct val="90000"/>
              </a:lnSpc>
              <a:defRPr sz="6499">
                <a:solidFill>
                  <a:schemeClr val="accent1"/>
                </a:solidFill>
              </a:defRPr>
            </a:lvl1pPr>
          </a:lstStyle>
          <a:p>
            <a:pPr lvl="0"/>
            <a:r>
              <a:rPr lang="en-US"/>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14884"/>
            <a:ext cx="2475384" cy="953956"/>
          </a:xfrm>
        </p:spPr>
        <p:txBody>
          <a:bodyPr/>
          <a:lstStyle>
            <a:lvl1pPr>
              <a:lnSpc>
                <a:spcPct val="90000"/>
              </a:lnSpc>
              <a:defRPr sz="6499">
                <a:solidFill>
                  <a:schemeClr val="accent1"/>
                </a:solidFill>
              </a:defRPr>
            </a:lvl1pPr>
            <a:lvl2pPr marL="0" indent="0">
              <a:buNone/>
              <a:defRPr/>
            </a:lvl2pPr>
          </a:lstStyle>
          <a:p>
            <a:pPr lvl="0"/>
            <a:r>
              <a:rPr lang="en-US"/>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0" cy="1429544"/>
          </a:xfrm>
        </p:spPr>
        <p:txBody>
          <a:bodyPr/>
          <a:lstStyle>
            <a:lvl1pPr>
              <a:lnSpc>
                <a:spcPct val="110000"/>
              </a:lnSpc>
              <a:defRPr sz="18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3333316" y="1166534"/>
            <a:ext cx="2475384" cy="483652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1167327"/>
            <a:ext cx="2476178"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9428522" y="1166533"/>
            <a:ext cx="2476178"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84125" y="6402118"/>
            <a:ext cx="2477765" cy="190500"/>
          </a:xfrm>
        </p:spPr>
        <p:txBody>
          <a:bodyPr/>
          <a:lstStyle/>
          <a:p>
            <a:r>
              <a:rPr lang="en-US"/>
              <a:t>Data Integration / © 2024 IBM Corporation</a:t>
            </a:r>
          </a:p>
        </p:txBody>
      </p:sp>
    </p:spTree>
    <p:extLst>
      <p:ext uri="{BB962C8B-B14F-4D97-AF65-F5344CB8AC3E}">
        <p14:creationId xmlns:p14="http://schemas.microsoft.com/office/powerpoint/2010/main" val="697949682"/>
      </p:ext>
    </p:extLst>
  </p:cSld>
  <p:clrMapOvr>
    <a:masterClrMapping/>
  </p:clrMapOvr>
  <p:transition spd="med"/>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87300" y="201168"/>
            <a:ext cx="2474590" cy="2667794"/>
          </a:xfrm>
        </p:spPr>
        <p:txBody>
          <a:bodyPr/>
          <a:lstStyle>
            <a:lvl1pPr>
              <a:lnSpc>
                <a:spcPct val="100000"/>
              </a:lnSpc>
              <a:defRPr sz="4299">
                <a:solidFill>
                  <a:schemeClr val="accent1"/>
                </a:solidFill>
              </a:defRPr>
            </a:lvl1pPr>
          </a:lstStyle>
          <a:p>
            <a:r>
              <a:rPr lang="en-US"/>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3333316" y="201168"/>
            <a:ext cx="5523781" cy="2667794"/>
          </a:xfrm>
        </p:spPr>
        <p:txBody>
          <a:bodyPr/>
          <a:lstStyle>
            <a:lvl1pPr>
              <a:lnSpc>
                <a:spcPct val="100000"/>
              </a:lnSpc>
              <a:spcBef>
                <a:spcPts val="0"/>
              </a:spcBef>
              <a:defRPr sz="4299">
                <a:solidFill>
                  <a:schemeClr val="tx1"/>
                </a:solidFill>
              </a:defRPr>
            </a:lvl1pPr>
            <a:lvl2pPr marL="393113" indent="-393113">
              <a:lnSpc>
                <a:spcPct val="100000"/>
              </a:lnSpc>
              <a:spcBef>
                <a:spcPts val="0"/>
              </a:spcBef>
              <a:defRPr sz="4299">
                <a:solidFill>
                  <a:schemeClr val="tx1"/>
                </a:solidFill>
              </a:defRPr>
            </a:lvl2pPr>
            <a:lvl3pPr marL="749658" indent="-393113">
              <a:lnSpc>
                <a:spcPct val="100000"/>
              </a:lnSpc>
              <a:spcBef>
                <a:spcPts val="0"/>
              </a:spcBef>
              <a:defRPr sz="4299">
                <a:solidFill>
                  <a:schemeClr val="tx1"/>
                </a:solidFill>
              </a:defRPr>
            </a:lvl3pPr>
            <a:lvl4pPr marL="1142771" indent="-393113">
              <a:lnSpc>
                <a:spcPct val="100000"/>
              </a:lnSpc>
              <a:spcBef>
                <a:spcPts val="0"/>
              </a:spcBef>
              <a:defRPr sz="4299">
                <a:solidFill>
                  <a:schemeClr val="tx1"/>
                </a:solidFill>
              </a:defRPr>
            </a:lvl4pPr>
            <a:lvl5pPr>
              <a:lnSpc>
                <a:spcPct val="100000"/>
              </a:lnSpc>
              <a:spcBef>
                <a:spcPts val="0"/>
              </a:spcBef>
              <a:defRPr sz="4299">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87300" y="3238500"/>
            <a:ext cx="2474590" cy="2667000"/>
          </a:xfrm>
        </p:spPr>
        <p:txBody>
          <a:bodyPr/>
          <a:lstStyle>
            <a:lvl1pPr>
              <a:lnSpc>
                <a:spcPct val="100000"/>
              </a:lnSpc>
              <a:defRPr sz="4299">
                <a:solidFill>
                  <a:schemeClr val="accent1"/>
                </a:solidFill>
              </a:defRPr>
            </a:lvl1pPr>
            <a:lvl2pPr>
              <a:lnSpc>
                <a:spcPct val="100000"/>
              </a:lnSpc>
              <a:defRPr sz="4299">
                <a:solidFill>
                  <a:schemeClr val="accent1"/>
                </a:solidFill>
              </a:defRPr>
            </a:lvl2pPr>
            <a:lvl3pPr>
              <a:lnSpc>
                <a:spcPct val="100000"/>
              </a:lnSpc>
              <a:defRPr sz="4299">
                <a:solidFill>
                  <a:schemeClr val="accent1"/>
                </a:solidFill>
              </a:defRPr>
            </a:lvl3pPr>
            <a:lvl4pPr>
              <a:lnSpc>
                <a:spcPct val="100000"/>
              </a:lnSpc>
              <a:defRPr sz="4299">
                <a:solidFill>
                  <a:schemeClr val="accent1"/>
                </a:solidFill>
              </a:defRPr>
            </a:lvl4pPr>
            <a:lvl5pPr>
              <a:lnSpc>
                <a:spcPct val="100000"/>
              </a:lnSpc>
              <a:defRPr sz="4299">
                <a:solidFill>
                  <a:schemeClr val="accent1"/>
                </a:solidFill>
              </a:defRPr>
            </a:lvl5pPr>
          </a:lstStyle>
          <a:p>
            <a:pPr lvl="0"/>
            <a:r>
              <a:rPr lang="en-US"/>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3333316" y="3238500"/>
            <a:ext cx="5523781" cy="2667000"/>
          </a:xfrm>
        </p:spPr>
        <p:txBody>
          <a:bodyPr/>
          <a:lstStyle>
            <a:lvl1pPr>
              <a:lnSpc>
                <a:spcPct val="100000"/>
              </a:lnSpc>
              <a:spcBef>
                <a:spcPts val="0"/>
              </a:spcBef>
              <a:defRPr sz="4299">
                <a:solidFill>
                  <a:schemeClr val="tx1"/>
                </a:solidFill>
              </a:defRPr>
            </a:lvl1pPr>
            <a:lvl2pPr marL="393113" indent="-393113">
              <a:lnSpc>
                <a:spcPct val="100000"/>
              </a:lnSpc>
              <a:spcBef>
                <a:spcPts val="0"/>
              </a:spcBef>
              <a:defRPr sz="4299">
                <a:solidFill>
                  <a:schemeClr val="tx1"/>
                </a:solidFill>
              </a:defRPr>
            </a:lvl2pPr>
            <a:lvl3pPr marL="749658" indent="-393113">
              <a:lnSpc>
                <a:spcPct val="100000"/>
              </a:lnSpc>
              <a:spcBef>
                <a:spcPts val="0"/>
              </a:spcBef>
              <a:defRPr sz="4299">
                <a:solidFill>
                  <a:schemeClr val="tx1"/>
                </a:solidFill>
              </a:defRPr>
            </a:lvl3pPr>
            <a:lvl4pPr marL="1142771" indent="-393113">
              <a:lnSpc>
                <a:spcPct val="100000"/>
              </a:lnSpc>
              <a:spcBef>
                <a:spcPts val="0"/>
              </a:spcBef>
              <a:defRPr sz="4299">
                <a:solidFill>
                  <a:schemeClr val="tx1"/>
                </a:solidFill>
              </a:defRPr>
            </a:lvl4pPr>
            <a:lvl5pPr>
              <a:lnSpc>
                <a:spcPct val="100000"/>
              </a:lnSpc>
              <a:spcBef>
                <a:spcPts val="0"/>
              </a:spcBef>
              <a:defRPr sz="4299">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84125" y="6402118"/>
            <a:ext cx="2477765" cy="190500"/>
          </a:xfrm>
        </p:spPr>
        <p:txBody>
          <a:bodyPr/>
          <a:lstStyle/>
          <a:p>
            <a:r>
              <a:rPr lang="en-US"/>
              <a:t>Data Integration / © 2024 IBM Corporation</a:t>
            </a:r>
          </a:p>
        </p:txBody>
      </p:sp>
    </p:spTree>
    <p:extLst>
      <p:ext uri="{BB962C8B-B14F-4D97-AF65-F5344CB8AC3E}">
        <p14:creationId xmlns:p14="http://schemas.microsoft.com/office/powerpoint/2010/main" val="581152933"/>
      </p:ext>
    </p:extLst>
  </p:cSld>
  <p:clrMapOvr>
    <a:masterClrMapping/>
  </p:clrMapOvr>
  <p:transition spd="med"/>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3333316" y="40957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3333316" y="20002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05740"/>
            <a:ext cx="2475384" cy="1429544"/>
          </a:xfrm>
        </p:spPr>
        <p:txBody>
          <a:bodyPr/>
          <a:lstStyle>
            <a:lvl1pPr>
              <a:lnSpc>
                <a:spcPct val="90000"/>
              </a:lnSpc>
              <a:defRPr sz="6499">
                <a:solidFill>
                  <a:schemeClr val="accent1"/>
                </a:solidFill>
              </a:defRPr>
            </a:lvl1pPr>
            <a:lvl2pPr marL="0" indent="0">
              <a:buNone/>
              <a:defRPr/>
            </a:lvl2pPr>
          </a:lstStyle>
          <a:p>
            <a:r>
              <a:rPr lang="en-US"/>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0" cy="1429544"/>
          </a:xfrm>
        </p:spPr>
        <p:txBody>
          <a:bodyPr/>
          <a:lstStyle>
            <a:lvl1pPr>
              <a:lnSpc>
                <a:spcPct val="110000"/>
              </a:lnSpc>
              <a:defRPr sz="18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a:lnSpc>
                <a:spcPct val="120000"/>
              </a:lnSpc>
              <a:spcBef>
                <a:spcPts val="0"/>
              </a:spcBef>
              <a:defRPr sz="800" b="0" i="0">
                <a:solidFill>
                  <a:schemeClr val="tx1"/>
                </a:solidFill>
                <a:latin typeface="IBM Plex Sans" panose="020B0503050203000203" pitchFamily="34" charset="0"/>
              </a:defRPr>
            </a:lvl2pPr>
            <a:lvl3pPr>
              <a:lnSpc>
                <a:spcPct val="120000"/>
              </a:lnSpc>
              <a:spcBef>
                <a:spcPts val="0"/>
              </a:spcBef>
              <a:defRPr sz="800" b="0" i="0">
                <a:solidFill>
                  <a:schemeClr val="tx1"/>
                </a:solidFill>
                <a:latin typeface="IBM Plex Sans" panose="020B0503050203000203" pitchFamily="34" charset="0"/>
              </a:defRPr>
            </a:lvl3pPr>
            <a:lvl4pPr>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380919" y="288036"/>
            <a:ext cx="3809504" cy="1429544"/>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2190750"/>
            <a:ext cx="3809504" cy="14287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6380919" y="4286250"/>
            <a:ext cx="3809504" cy="14287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3333316" y="2093976"/>
            <a:ext cx="2475384" cy="1428753"/>
          </a:xfrm>
        </p:spPr>
        <p:txBody>
          <a:bodyPr/>
          <a:lstStyle>
            <a:lvl1pPr>
              <a:lnSpc>
                <a:spcPct val="90000"/>
              </a:lnSpc>
              <a:defRPr sz="6499">
                <a:solidFill>
                  <a:schemeClr val="accent1"/>
                </a:solidFill>
              </a:defRPr>
            </a:lvl1pPr>
          </a:lstStyle>
          <a:p>
            <a:r>
              <a:rPr lang="en-US"/>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3333317" y="4201668"/>
            <a:ext cx="2475383" cy="1428753"/>
          </a:xfrm>
        </p:spPr>
        <p:txBody>
          <a:bodyPr/>
          <a:lstStyle>
            <a:lvl1pPr>
              <a:lnSpc>
                <a:spcPct val="90000"/>
              </a:lnSpc>
              <a:defRPr sz="6499">
                <a:solidFill>
                  <a:schemeClr val="accent1"/>
                </a:solidFill>
              </a:defRPr>
            </a:lvl1pPr>
          </a:lstStyle>
          <a:p>
            <a:r>
              <a:rPr lang="en-US"/>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84125" y="6402118"/>
            <a:ext cx="2477765" cy="190500"/>
          </a:xfrm>
        </p:spPr>
        <p:txBody>
          <a:bodyPr/>
          <a:lstStyle/>
          <a:p>
            <a:r>
              <a:rPr lang="en-US"/>
              <a:t>Data Integration / © 2024 IBM Corporation</a:t>
            </a:r>
          </a:p>
        </p:txBody>
      </p:sp>
    </p:spTree>
    <p:extLst>
      <p:ext uri="{BB962C8B-B14F-4D97-AF65-F5344CB8AC3E}">
        <p14:creationId xmlns:p14="http://schemas.microsoft.com/office/powerpoint/2010/main" val="927890899"/>
      </p:ext>
    </p:extLst>
  </p:cSld>
  <p:clrMapOvr>
    <a:masterClrMapping/>
  </p:clrMapOvr>
  <p:transition spd="med"/>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87999" y="1714500"/>
            <a:ext cx="2477765"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84125" y="6402118"/>
            <a:ext cx="2477765" cy="190500"/>
          </a:xfrm>
        </p:spPr>
        <p:txBody>
          <a:bodyPr/>
          <a:lstStyle/>
          <a:p>
            <a:r>
              <a:rPr lang="en-US"/>
              <a:t>Data Integration / © 2024 IBM Corporation</a:t>
            </a:r>
          </a:p>
        </p:txBody>
      </p:sp>
    </p:spTree>
    <p:extLst>
      <p:ext uri="{BB962C8B-B14F-4D97-AF65-F5344CB8AC3E}">
        <p14:creationId xmlns:p14="http://schemas.microsoft.com/office/powerpoint/2010/main" val="468752625"/>
      </p:ext>
    </p:extLst>
  </p:cSld>
  <p:clrMapOvr>
    <a:masterClrMapping/>
  </p:clrMapOvr>
  <p:transition spd="med"/>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762794"/>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289681" y="1714500"/>
            <a:ext cx="2475384"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3047603" y="1714500"/>
            <a:ext cx="0" cy="42862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6093683"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9142810"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84125" y="6402118"/>
            <a:ext cx="2477765" cy="190500"/>
          </a:xfrm>
        </p:spPr>
        <p:txBody>
          <a:bodyPr/>
          <a:lstStyle/>
          <a:p>
            <a:r>
              <a:rPr lang="en-US"/>
              <a:t>Data Integration / © 2024 IBM Corporation</a:t>
            </a:r>
          </a:p>
        </p:txBody>
      </p:sp>
    </p:spTree>
    <p:extLst>
      <p:ext uri="{BB962C8B-B14F-4D97-AF65-F5344CB8AC3E}">
        <p14:creationId xmlns:p14="http://schemas.microsoft.com/office/powerpoint/2010/main" val="2740614371"/>
      </p:ext>
    </p:extLst>
  </p:cSld>
  <p:clrMapOvr>
    <a:masterClrMapping/>
  </p:clrMapOvr>
  <p:transition spd="med"/>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84125" y="6402118"/>
            <a:ext cx="2477765" cy="190500"/>
          </a:xfrm>
        </p:spPr>
        <p:txBody>
          <a:bodyPr/>
          <a:lstStyle/>
          <a:p>
            <a:r>
              <a:rPr lang="en-US"/>
              <a:t>Data Integration / © 2024 IBM Corporation</a:t>
            </a:r>
          </a:p>
        </p:txBody>
      </p:sp>
    </p:spTree>
    <p:extLst>
      <p:ext uri="{BB962C8B-B14F-4D97-AF65-F5344CB8AC3E}">
        <p14:creationId xmlns:p14="http://schemas.microsoft.com/office/powerpoint/2010/main" val="2744576560"/>
      </p:ext>
    </p:extLst>
  </p:cSld>
  <p:clrMapOvr>
    <a:masterClrMapping/>
  </p:clrMapOvr>
  <p:transition spd="med"/>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87999" y="288036"/>
            <a:ext cx="2474590" cy="1048544"/>
          </a:xfrm>
        </p:spPr>
        <p:txBody>
          <a:bodyPr/>
          <a:lstStyle>
            <a:lvl1pPr>
              <a:lnSpc>
                <a:spcPct val="110000"/>
              </a:lnSpc>
              <a:defRPr sz="12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87999" y="1714500"/>
            <a:ext cx="2477765" cy="2000250"/>
          </a:xfrm>
        </p:spPr>
        <p:txBody>
          <a:bodyPr/>
          <a:lstStyle>
            <a:lvl1pPr>
              <a:lnSpc>
                <a:spcPct val="100000"/>
              </a:lnSpc>
              <a:spcBef>
                <a:spcPts val="0"/>
              </a:spcBef>
              <a:defRPr sz="18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3333316" y="1714500"/>
            <a:ext cx="2475384"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6383185" y="1714500"/>
            <a:ext cx="2470738"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9428523" y="1714500"/>
            <a:ext cx="2476177"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3333316" y="288036"/>
            <a:ext cx="607997" cy="608076"/>
          </a:xfrm>
        </p:spPr>
        <p:txBody>
          <a:bodyPr anchor="ctr"/>
          <a:lstStyle>
            <a:lvl1pPr algn="ctr">
              <a:defRPr sz="800">
                <a:solidFill>
                  <a:schemeClr val="tx1"/>
                </a:solidFill>
              </a:defRPr>
            </a:lvl1pPr>
          </a:lstStyle>
          <a:p>
            <a:r>
              <a:rPr lang="en-US"/>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6387345" y="288036"/>
            <a:ext cx="607997" cy="608076"/>
          </a:xfrm>
        </p:spPr>
        <p:txBody>
          <a:bodyPr anchor="ctr"/>
          <a:lstStyle>
            <a:lvl1pPr algn="ctr">
              <a:defRPr sz="800">
                <a:solidFill>
                  <a:schemeClr val="tx1"/>
                </a:solidFill>
              </a:defRPr>
            </a:lvl1pPr>
          </a:lstStyle>
          <a:p>
            <a:r>
              <a:rPr lang="en-US"/>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9428522" y="288036"/>
            <a:ext cx="607997" cy="608076"/>
          </a:xfrm>
        </p:spPr>
        <p:txBody>
          <a:bodyPr anchor="ctr"/>
          <a:lstStyle>
            <a:lvl1pPr algn="ctr">
              <a:defRPr sz="800">
                <a:solidFill>
                  <a:schemeClr val="tx1"/>
                </a:solidFill>
              </a:defRPr>
            </a:lvl1pPr>
          </a:lstStyle>
          <a:p>
            <a:r>
              <a:rPr lang="en-US"/>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r>
              <a:rPr lang="en-US"/>
              <a:t>Data Integration / © 2024 IBM Corporation</a:t>
            </a:r>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885526917"/>
      </p:ext>
    </p:extLst>
  </p:cSld>
  <p:clrMapOvr>
    <a:masterClrMapping/>
  </p:clrMapOvr>
  <p:transition spd="med"/>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6"/>
          </a:xfrm>
        </p:spPr>
        <p:txBody>
          <a:bodyPr/>
          <a:lstStyle>
            <a:lvl1pPr>
              <a:lnSpc>
                <a:spcPct val="100000"/>
              </a:lnSpc>
              <a:defRPr sz="3199">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5047593"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2554" y="192024"/>
            <a:ext cx="2477765" cy="570706"/>
          </a:xfrm>
        </p:spPr>
        <p:txBody>
          <a:bodyPr/>
          <a:lstStyle>
            <a:lvl1pPr>
              <a:lnSpc>
                <a:spcPct val="100000"/>
              </a:lnSpc>
              <a:spcBef>
                <a:spcPts val="0"/>
              </a:spcBef>
              <a:defRPr sz="3199">
                <a:solidFill>
                  <a:schemeClr val="tx2"/>
                </a:solidFill>
              </a:defRPr>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r>
              <a:rPr lang="en-US"/>
              <a:t>Data Integration / © 2024 IBM Corporation</a:t>
            </a:r>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391569221"/>
      </p:ext>
    </p:extLst>
  </p:cSld>
  <p:clrMapOvr>
    <a:masterClrMapping/>
  </p:clrMapOvr>
  <p:transition spd="med"/>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87999" y="288036"/>
            <a:ext cx="3711980" cy="953294"/>
          </a:xfrm>
        </p:spPr>
        <p:txBody>
          <a:bodyPr/>
          <a:lstStyle>
            <a:lvl1pPr>
              <a:lnSpc>
                <a:spcPct val="110000"/>
              </a:lnSpc>
              <a:defRPr sz="18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87999" y="1714500"/>
            <a:ext cx="5049180" cy="42862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6380919" y="1714500"/>
            <a:ext cx="5047593" cy="42862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r>
              <a:rPr lang="en-US"/>
              <a:t>Data Integration / © 2024 IBM Corporation</a:t>
            </a:r>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56859101"/>
      </p:ext>
    </p:extLst>
  </p:cSld>
  <p:clrMapOvr>
    <a:masterClrMapping/>
  </p:clrMapOvr>
  <p:transition spd="med"/>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9" y="192024"/>
            <a:ext cx="5522193" cy="2286794"/>
          </a:xfrm>
        </p:spPr>
        <p:txBody>
          <a:bodyPr rIns="457200"/>
          <a:lstStyle>
            <a:lvl1pPr>
              <a:lnSpc>
                <a:spcPct val="100000"/>
              </a:lnSpc>
              <a:defRPr>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19" y="288036"/>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2" y="288036"/>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a:t>Data Integration / © 2024 IBM Corporation</a:t>
            </a:r>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182931849"/>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p>
        </p:txBody>
      </p:sp>
      <p:sp>
        <p:nvSpPr>
          <p:cNvPr id="3" name="Footer Placeholder"/>
          <p:cNvSpPr>
            <a:spLocks noGrp="1"/>
          </p:cNvSpPr>
          <p:nvPr>
            <p:ph type="ftr" sz="quarter" idx="10"/>
          </p:nvPr>
        </p:nvSpPr>
        <p:spPr/>
        <p:txBody>
          <a:bodyPr/>
          <a:lstStyle/>
          <a:p>
            <a:r>
              <a:rPr lang="en-US"/>
              <a:t>© 2022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71166558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8" y="288036"/>
            <a:ext cx="2476178" cy="2286794"/>
          </a:xfrm>
        </p:spPr>
        <p:txBody>
          <a:bodyPr/>
          <a:lstStyle>
            <a:lvl1pPr>
              <a:lnSpc>
                <a:spcPct val="100000"/>
              </a:lnSpc>
              <a:defRPr sz="18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19" y="284957"/>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2" y="284957"/>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a:t>Data Integration / © 2024 IBM Corporation</a:t>
            </a:r>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880433522"/>
      </p:ext>
    </p:extLst>
  </p:cSld>
  <p:clrMapOvr>
    <a:masterClrMapping/>
  </p:clrMapOvr>
  <p:transition spd="med"/>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9" y="192024"/>
            <a:ext cx="5519019" cy="2286794"/>
          </a:xfrm>
        </p:spPr>
        <p:txBody>
          <a:bodyPr rIns="457200"/>
          <a:lstStyle>
            <a:lvl1pPr>
              <a:lnSpc>
                <a:spcPct val="100000"/>
              </a:lnSpc>
              <a:defRPr>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010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a:t>Data Integration / © 2024 IBM Corporation</a:t>
            </a:r>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236205927"/>
      </p:ext>
    </p:extLst>
  </p:cSld>
  <p:clrMapOvr>
    <a:masterClrMapping/>
  </p:clrMapOvr>
  <p:transition spd="med"/>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8" y="288036"/>
            <a:ext cx="2474591" cy="2286794"/>
          </a:xfrm>
        </p:spPr>
        <p:txBody>
          <a:bodyPr rIns="0"/>
          <a:lstStyle>
            <a:lvl1pPr>
              <a:lnSpc>
                <a:spcPct val="100000"/>
              </a:lnSpc>
              <a:defRPr sz="1400">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1697"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a:t>Data Integration / © 2024 IBM Corporation</a:t>
            </a:r>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760886988"/>
      </p:ext>
    </p:extLst>
  </p:cSld>
  <p:clrMapOvr>
    <a:masterClrMapping/>
  </p:clrMapOvr>
  <p:transition spd="med"/>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7"/>
          </a:xfrm>
        </p:spPr>
        <p:txBody>
          <a:bodyPr/>
          <a:lstStyle>
            <a:lvl1pPr>
              <a:lnSpc>
                <a:spcPct val="100000"/>
              </a:lnSpc>
              <a:defRPr sz="3199">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2988"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30591"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4142" y="192024"/>
            <a:ext cx="2477765" cy="570706"/>
          </a:xfrm>
        </p:spPr>
        <p:txBody>
          <a:bodyPr/>
          <a:lstStyle>
            <a:lvl1pPr>
              <a:lnSpc>
                <a:spcPct val="100000"/>
              </a:lnSpc>
              <a:spcBef>
                <a:spcPts val="0"/>
              </a:spcBef>
              <a:defRPr sz="3199">
                <a:solidFill>
                  <a:schemeClr val="tx2"/>
                </a:solidFill>
              </a:defRPr>
            </a:lvl1pPr>
            <a:lvl2pPr>
              <a:lnSpc>
                <a:spcPct val="90000"/>
              </a:lnSpc>
              <a:spcBef>
                <a:spcPts val="0"/>
              </a:spcBef>
              <a:defRPr sz="1400"/>
            </a:lvl2pPr>
            <a:lvl3pPr>
              <a:lnSpc>
                <a:spcPct val="90000"/>
              </a:lnSpc>
              <a:spcBef>
                <a:spcPts val="0"/>
              </a:spcBef>
              <a:defRPr sz="1400"/>
            </a:lvl3pPr>
            <a:lvl4pPr>
              <a:lnSpc>
                <a:spcPct val="90000"/>
              </a:lnSpc>
              <a:spcBef>
                <a:spcPts val="0"/>
              </a:spcBef>
              <a:defRPr sz="1400"/>
            </a:lvl4pPr>
            <a:lvl5pPr>
              <a:lnSpc>
                <a:spcPct val="90000"/>
              </a:lnSpc>
              <a:spcBef>
                <a:spcPts val="0"/>
              </a:spcBef>
              <a:defRPr sz="14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6380919" y="288036"/>
            <a:ext cx="607997" cy="607231"/>
          </a:xfrm>
        </p:spPr>
        <p:txBody>
          <a:bodyPr anchor="ctr"/>
          <a:lstStyle>
            <a:lvl1pPr algn="ctr">
              <a:defRPr sz="800">
                <a:solidFill>
                  <a:schemeClr val="tx1"/>
                </a:solidFill>
              </a:defRPr>
            </a:lvl1pPr>
          </a:lstStyle>
          <a:p>
            <a:r>
              <a:rPr lang="en-US"/>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9428522" y="288036"/>
            <a:ext cx="608843" cy="608076"/>
          </a:xfrm>
        </p:spPr>
        <p:txBody>
          <a:bodyPr anchor="ctr"/>
          <a:lstStyle>
            <a:lvl1pPr algn="ctr">
              <a:defRPr sz="800">
                <a:solidFill>
                  <a:schemeClr val="tx1"/>
                </a:solidFill>
              </a:defRPr>
            </a:lvl1pPr>
          </a:lstStyle>
          <a:p>
            <a:r>
              <a:rPr lang="en-US"/>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r>
              <a:rPr lang="en-US"/>
              <a:t>Data Integration / © 2024 IBM Corporation</a:t>
            </a:r>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609368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277888575"/>
      </p:ext>
    </p:extLst>
  </p:cSld>
  <p:clrMapOvr>
    <a:masterClrMapping/>
  </p:clrMapOvr>
  <p:transition spd="med"/>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87999" y="1239012"/>
            <a:ext cx="3334903"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6380919" y="1238250"/>
            <a:ext cx="3333316"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87998" y="4192524"/>
            <a:ext cx="3334904"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6380920" y="4191000"/>
            <a:ext cx="3333316"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87998" y="288036"/>
            <a:ext cx="607997" cy="608076"/>
          </a:xfrm>
        </p:spPr>
        <p:txBody>
          <a:bodyPr anchor="ctr"/>
          <a:lstStyle>
            <a:lvl1pPr algn="ctr">
              <a:defRPr sz="800"/>
            </a:lvl1pPr>
          </a:lstStyle>
          <a:p>
            <a:r>
              <a:rPr lang="en-US"/>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6380919" y="288036"/>
            <a:ext cx="607997" cy="608076"/>
          </a:xfrm>
        </p:spPr>
        <p:txBody>
          <a:bodyPr anchor="ctr"/>
          <a:lstStyle>
            <a:lvl1pPr algn="ctr">
              <a:defRPr sz="800"/>
            </a:lvl1pPr>
          </a:lstStyle>
          <a:p>
            <a:r>
              <a:rPr lang="en-US"/>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87998" y="3236976"/>
            <a:ext cx="607997" cy="608076"/>
          </a:xfrm>
        </p:spPr>
        <p:txBody>
          <a:bodyPr anchor="ctr"/>
          <a:lstStyle>
            <a:lvl1pPr algn="ctr">
              <a:defRPr sz="800"/>
            </a:lvl1pPr>
          </a:lstStyle>
          <a:p>
            <a:r>
              <a:rPr lang="en-US"/>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6380919" y="3238500"/>
            <a:ext cx="607997" cy="608076"/>
          </a:xfrm>
        </p:spPr>
        <p:txBody>
          <a:bodyPr anchor="ctr"/>
          <a:lstStyle>
            <a:lvl1pPr algn="ctr">
              <a:defRPr sz="800"/>
            </a:lvl1pPr>
          </a:lstStyle>
          <a:p>
            <a:r>
              <a:rPr lang="en-US"/>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r>
              <a:rPr lang="en-US"/>
              <a:t>Data Integration / © 2024 IBM Corporation</a:t>
            </a:r>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6095206"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139239822"/>
      </p:ext>
    </p:extLst>
  </p:cSld>
  <p:clrMapOvr>
    <a:masterClrMapping/>
  </p:clrMapOvr>
  <p:transition spd="med"/>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8" y="841248"/>
            <a:ext cx="2857128" cy="1138428"/>
          </a:xfrm>
        </p:spPr>
        <p:txBody>
          <a:bodyPr/>
          <a:lstStyle>
            <a:lvl1pPr>
              <a:lnSpc>
                <a:spcPct val="110000"/>
              </a:lnSpc>
              <a:defRPr sz="1800">
                <a:solidFill>
                  <a:schemeClr val="tx2"/>
                </a:solidFill>
              </a:defRPr>
            </a:lvl1pPr>
          </a:lstStyle>
          <a:p>
            <a:r>
              <a:rPr lang="en-US"/>
              <a:t>Click to edit Master title style</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1681"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a:t>Data Integration / © 2024 IBM Corporation</a:t>
            </a:r>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288036"/>
            <a:ext cx="2477765" cy="570706"/>
          </a:xfrm>
        </p:spPr>
        <p:txBody>
          <a:bodyPr/>
          <a:lstStyle>
            <a:lvl1pPr>
              <a:defRPr sz="14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322777355"/>
      </p:ext>
    </p:extLst>
  </p:cSld>
  <p:clrMapOvr>
    <a:masterClrMapping/>
  </p:clrMapOvr>
  <p:transition spd="med"/>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763524"/>
            <a:ext cx="5521401" cy="1138428"/>
          </a:xfrm>
        </p:spPr>
        <p:txBody>
          <a:bodyPr rIns="457200"/>
          <a:lstStyle>
            <a:lvl1pPr>
              <a:lnSpc>
                <a:spcPct val="110000"/>
              </a:lnSpc>
              <a:defRPr sz="3199">
                <a:solidFill>
                  <a:schemeClr val="tx2"/>
                </a:solidFill>
              </a:defRPr>
            </a:lvl1pPr>
          </a:lstStyle>
          <a:p>
            <a:r>
              <a:rPr lang="en-US"/>
              <a:t>Click to edit Master title style</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4957"/>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4957"/>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a:t>Data Integration / © 2024 IBM Corporation</a:t>
            </a:r>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288036"/>
            <a:ext cx="2477765" cy="224028"/>
          </a:xfrm>
        </p:spPr>
        <p:txBody>
          <a:bodyPr/>
          <a:lstStyle>
            <a:lvl1pPr>
              <a:defRPr sz="14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130891171"/>
      </p:ext>
    </p:extLst>
  </p:cSld>
  <p:clrMapOvr>
    <a:masterClrMapping/>
  </p:clrMapOvr>
  <p:transition spd="med"/>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288036"/>
            <a:ext cx="2477765" cy="2286794"/>
          </a:xfrm>
        </p:spPr>
        <p:txBody>
          <a:bodyPr/>
          <a:lstStyle>
            <a:lvl1pPr>
              <a:lnSpc>
                <a:spcPct val="100000"/>
              </a:lnSpc>
              <a:defRPr sz="1400">
                <a:solidFill>
                  <a:schemeClr val="tx2"/>
                </a:solidFill>
              </a:defRPr>
            </a:lvl1pPr>
          </a:lstStyle>
          <a:p>
            <a:r>
              <a:rPr lang="en-US"/>
              <a:t>Click to edit Master title style</a:t>
            </a:r>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28416"/>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1187"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49"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a:t>Data Integration / © 2024 IBM Corporation</a:t>
            </a:r>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830192660"/>
      </p:ext>
    </p:extLst>
  </p:cSld>
  <p:clrMapOvr>
    <a:masterClrMapping/>
  </p:clrMapOvr>
  <p:transition spd="med"/>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192024"/>
            <a:ext cx="5524575" cy="2286794"/>
          </a:xfrm>
        </p:spPr>
        <p:txBody>
          <a:bodyPr rIns="457200"/>
          <a:lstStyle>
            <a:lvl1pPr>
              <a:lnSpc>
                <a:spcPct val="100000"/>
              </a:lnSpc>
              <a:defRPr>
                <a:solidFill>
                  <a:schemeClr val="tx2"/>
                </a:solidFill>
              </a:defRPr>
            </a:lvl1pPr>
          </a:lstStyle>
          <a:p>
            <a:r>
              <a:rPr lang="en-US"/>
              <a:t>Click to edit Master title style</a:t>
            </a:r>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28416"/>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4362"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49"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a:t>Data Integration / © 2024 IBM Corporation</a:t>
            </a:r>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797339757"/>
      </p:ext>
    </p:extLst>
  </p:cSld>
  <p:clrMapOvr>
    <a:masterClrMapping/>
  </p:clrMapOvr>
  <p:transition spd="med"/>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2286794"/>
          </a:xfrm>
        </p:spPr>
        <p:txBody>
          <a:bodyPr/>
          <a:lstStyle>
            <a:lvl1pPr>
              <a:lnSpc>
                <a:spcPct val="110000"/>
              </a:lnSpc>
              <a:defRPr sz="1400">
                <a:solidFill>
                  <a:schemeClr val="tx2"/>
                </a:solidFill>
              </a:defRPr>
            </a:lvl1pPr>
          </a:lstStyle>
          <a:p>
            <a:r>
              <a:rPr lang="en-US"/>
              <a:t>Click to edit Master title style</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3332554"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3334141"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r>
              <a:rPr lang="en-US"/>
              <a:t>Data Integration / © 2024 IBM Corporation</a:t>
            </a:r>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282279591"/>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p:cNvSpPr>
            <a:spLocks noGrp="1"/>
          </p:cNvSpPr>
          <p:nvPr>
            <p:ph type="body" sz="quarter" idx="13"/>
          </p:nvPr>
        </p:nvSpPr>
        <p:spPr>
          <a:xfrm>
            <a:off x="3340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p:cNvSpPr>
            <a:spLocks noGrp="1"/>
          </p:cNvSpPr>
          <p:nvPr>
            <p:ph type="body" sz="quarter" idx="14"/>
          </p:nvPr>
        </p:nvSpPr>
        <p:spPr>
          <a:xfrm>
            <a:off x="6388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4"/>
          <p:cNvSpPr>
            <a:spLocks noGrp="1"/>
          </p:cNvSpPr>
          <p:nvPr>
            <p:ph type="body" sz="quarter" idx="15"/>
          </p:nvPr>
        </p:nvSpPr>
        <p:spPr>
          <a:xfrm>
            <a:off x="9436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a:xfrm>
            <a:off x="304890" y="6400802"/>
            <a:ext cx="5486313" cy="222249"/>
          </a:xfrm>
          <a:prstGeom prst="rect">
            <a:avLst/>
          </a:prstGeom>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92176415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87999" y="288036"/>
            <a:ext cx="2474590" cy="1429544"/>
          </a:xfrm>
        </p:spPr>
        <p:txBody>
          <a:bodyPr/>
          <a:lstStyle>
            <a:lvl1pPr>
              <a:lnSpc>
                <a:spcPct val="110000"/>
              </a:lnSpc>
              <a:defRPr sz="14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3333316" y="666750"/>
            <a:ext cx="2475384"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6380919" y="666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9428523" y="666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3333316" y="3714750"/>
            <a:ext cx="2475384"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6380920" y="3714750"/>
            <a:ext cx="2475384" cy="1896341"/>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9428523" y="3714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3333316" y="288036"/>
            <a:ext cx="201142" cy="201613"/>
          </a:xfrm>
        </p:spPr>
        <p:txBody>
          <a:bodyPr/>
          <a:lstStyle>
            <a:lvl1pPr>
              <a:defRPr sz="700">
                <a:solidFill>
                  <a:schemeClr val="tx1"/>
                </a:solidFill>
              </a:defRPr>
            </a:lvl1pPr>
          </a:lstStyle>
          <a:p>
            <a:r>
              <a:rPr lang="en-US"/>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6380920" y="288036"/>
            <a:ext cx="201142" cy="201613"/>
          </a:xfrm>
        </p:spPr>
        <p:txBody>
          <a:bodyPr/>
          <a:lstStyle>
            <a:lvl1pPr>
              <a:defRPr sz="700">
                <a:solidFill>
                  <a:schemeClr val="tx1"/>
                </a:solidFill>
              </a:defRPr>
            </a:lvl1pPr>
          </a:lstStyle>
          <a:p>
            <a:r>
              <a:rPr lang="en-US"/>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9428523" y="288036"/>
            <a:ext cx="201142" cy="201613"/>
          </a:xfrm>
        </p:spPr>
        <p:txBody>
          <a:bodyPr/>
          <a:lstStyle>
            <a:lvl1pPr>
              <a:defRPr sz="700">
                <a:solidFill>
                  <a:schemeClr val="tx1"/>
                </a:solidFill>
              </a:defRPr>
            </a:lvl1pPr>
          </a:lstStyle>
          <a:p>
            <a:r>
              <a:rPr lang="en-US"/>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3333316" y="3347315"/>
            <a:ext cx="201142" cy="201613"/>
          </a:xfrm>
        </p:spPr>
        <p:txBody>
          <a:bodyPr/>
          <a:lstStyle>
            <a:lvl1pPr>
              <a:defRPr sz="700">
                <a:solidFill>
                  <a:schemeClr val="tx1"/>
                </a:solidFill>
              </a:defRPr>
            </a:lvl1pPr>
          </a:lstStyle>
          <a:p>
            <a:r>
              <a:rPr lang="en-US"/>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6380920" y="3347315"/>
            <a:ext cx="201142" cy="201613"/>
          </a:xfrm>
        </p:spPr>
        <p:txBody>
          <a:bodyPr/>
          <a:lstStyle>
            <a:lvl1pPr>
              <a:defRPr sz="700">
                <a:solidFill>
                  <a:schemeClr val="tx1"/>
                </a:solidFill>
              </a:defRPr>
            </a:lvl1pPr>
          </a:lstStyle>
          <a:p>
            <a:r>
              <a:rPr lang="en-US"/>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9428523" y="3347315"/>
            <a:ext cx="201142" cy="201613"/>
          </a:xfrm>
        </p:spPr>
        <p:txBody>
          <a:bodyPr/>
          <a:lstStyle>
            <a:lvl1pPr>
              <a:defRPr sz="700">
                <a:solidFill>
                  <a:schemeClr val="tx1"/>
                </a:solidFill>
              </a:defRPr>
            </a:lvl1pPr>
          </a:lstStyle>
          <a:p>
            <a:r>
              <a:rPr lang="en-US"/>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r>
              <a:rPr lang="en-US"/>
              <a:t>Data Integration / © 2024 IBM Corporation</a:t>
            </a:r>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3047603" y="3048000"/>
            <a:ext cx="886027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444378726"/>
      </p:ext>
    </p:extLst>
  </p:cSld>
  <p:clrMapOvr>
    <a:masterClrMapping/>
  </p:clrMapOvr>
  <p:transition spd="med"/>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192024"/>
            <a:ext cx="5519019" cy="1706563"/>
          </a:xfrm>
        </p:spPr>
        <p:txBody>
          <a:bodyPr rIns="457200"/>
          <a:lstStyle>
            <a:lvl1pPr>
              <a:lnSpc>
                <a:spcPct val="100000"/>
              </a:lnSpc>
              <a:defRPr sz="3199">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1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0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1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010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87998" y="3332988"/>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6"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a:t>Data Integration / © 2024 IBM Corporation</a:t>
            </a:r>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69101259"/>
      </p:ext>
    </p:extLst>
  </p:cSld>
  <p:clrMapOvr>
    <a:masterClrMapping/>
  </p:clrMapOvr>
  <p:transition spd="med"/>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288036"/>
            <a:ext cx="2474590" cy="1706563"/>
          </a:xfrm>
        </p:spPr>
        <p:txBody>
          <a:bodyPr rIns="0"/>
          <a:lstStyle>
            <a:lvl1pPr>
              <a:lnSpc>
                <a:spcPct val="110000"/>
              </a:lnSpc>
              <a:defRPr sz="1800">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1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0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1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010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90042"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6"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a:t>Data Integration / © 2024 IBM Corporation</a:t>
            </a:r>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7768570"/>
      </p:ext>
    </p:extLst>
  </p:cSld>
  <p:clrMapOvr>
    <a:masterClrMapping/>
  </p:clrMapOvr>
  <p:transition spd="med"/>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3333316" y="1714500"/>
            <a:ext cx="2475384"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r>
              <a:rPr lang="en-US"/>
              <a:t>Data Integration / © 2024 IBM Corporation</a:t>
            </a:r>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6380919" y="284956"/>
            <a:ext cx="5523781" cy="6287294"/>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3134751415"/>
      </p:ext>
    </p:extLst>
  </p:cSld>
  <p:clrMapOvr>
    <a:masterClrMapping/>
  </p:clrMapOvr>
  <p:transition spd="med"/>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70048" y="6452314"/>
            <a:ext cx="134652" cy="123111"/>
          </a:xfrm>
          <a:prstGeom prst="rect">
            <a:avLst/>
          </a:prstGeom>
        </p:spPr>
        <p:txBody>
          <a:bodyPr/>
          <a:lstStyle/>
          <a:p>
            <a:fld id="{86CB4B4D-7CA3-9044-876B-883B54F8677D}" type="slidenum">
              <a:rPr lang="en-US" smtClean="0"/>
              <a:t>‹#›</a:t>
            </a:fld>
            <a:endParaRPr lang="en-US"/>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a:t>Data Integration / © 2024 IBM Corporation</a:t>
            </a:r>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3047603" y="0"/>
            <a:ext cx="9144397" cy="6858000"/>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71720030"/>
      </p:ext>
    </p:extLst>
  </p:cSld>
  <p:clrMapOvr>
    <a:masterClrMapping/>
  </p:clrMapOvr>
  <p:transition spd="med"/>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70048" y="6452314"/>
            <a:ext cx="134652" cy="123111"/>
          </a:xfrm>
          <a:prstGeom prst="rect">
            <a:avLst/>
          </a:prstGeom>
        </p:spPr>
        <p:txBody>
          <a:bodyPr/>
          <a:lstStyle/>
          <a:p>
            <a:fld id="{86CB4B4D-7CA3-9044-876B-883B54F8677D}" type="slidenum">
              <a:rPr lang="en-US" smtClean="0"/>
              <a:t>‹#›</a:t>
            </a:fld>
            <a:endParaRPr lang="en-US"/>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r>
              <a:rPr lang="en-US"/>
              <a:t>Data Integration / © 2024 IBM Corporation</a:t>
            </a:r>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3333316" y="282575"/>
            <a:ext cx="8574559" cy="6289675"/>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1144543108"/>
      </p:ext>
    </p:extLst>
  </p:cSld>
  <p:clrMapOvr>
    <a:masterClrMapping/>
  </p:clrMapOvr>
  <p:transition spd="med"/>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70048" y="6452314"/>
            <a:ext cx="134652" cy="123111"/>
          </a:xfrm>
          <a:prstGeom prst="rect">
            <a:avLst/>
          </a:prstGeom>
        </p:spPr>
        <p:txBody>
          <a:bodyPr/>
          <a:lstStyle/>
          <a:p>
            <a:fld id="{86CB4B4D-7CA3-9044-876B-883B54F8677D}" type="slidenum">
              <a:rPr lang="en-US" smtClean="0"/>
              <a:t>‹#›</a:t>
            </a:fld>
            <a:endParaRPr lang="en-US"/>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12192000" cy="6858000"/>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1177745182"/>
      </p:ext>
    </p:extLst>
  </p:cSld>
  <p:clrMapOvr>
    <a:masterClrMapping/>
  </p:clrMapOvr>
  <p:transition spd="med"/>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70048" y="6452314"/>
            <a:ext cx="134652" cy="123111"/>
          </a:xfrm>
          <a:prstGeom prst="rect">
            <a:avLst/>
          </a:prstGeom>
        </p:spPr>
        <p:txBody>
          <a:bodyPr/>
          <a:lstStyle/>
          <a:p>
            <a:fld id="{86CB4B4D-7CA3-9044-876B-883B54F8677D}" type="slidenum">
              <a:rPr lang="en-US" smtClean="0"/>
              <a:t>‹#›</a:t>
            </a:fld>
            <a:endParaRPr lang="en-US"/>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84126" y="284957"/>
            <a:ext cx="11620574" cy="6290468"/>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48091023"/>
      </p:ext>
    </p:extLst>
  </p:cSld>
  <p:clrMapOvr>
    <a:masterClrMapping/>
  </p:clrMapOvr>
  <p:transition spd="med"/>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87999" y="30607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714277" y="30607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87999" y="4762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714277" y="4762501"/>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r>
              <a:rPr lang="en-US"/>
              <a:t>Data Integration / © 2024 IBM Corporation</a:t>
            </a:r>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87999" y="1333500"/>
            <a:ext cx="1236501" cy="1238250"/>
          </a:xfrm>
          <a:solidFill>
            <a:srgbClr val="E0E0E0"/>
          </a:solidFill>
        </p:spPr>
        <p:txBody>
          <a:bodyPr anchor="ctr"/>
          <a:lstStyle>
            <a:lvl1pPr algn="ctr">
              <a:defRPr>
                <a:solidFill>
                  <a:schemeClr val="accent5"/>
                </a:solidFill>
              </a:defRPr>
            </a:lvl1pPr>
          </a:lstStyle>
          <a:p>
            <a:r>
              <a:rPr lang="en-US"/>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714277" y="13335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6377745" y="30607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7807896" y="30607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6377745" y="4762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7807896" y="4762501"/>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6377745" y="1333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7807896" y="13335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908685703"/>
      </p:ext>
    </p:extLst>
  </p:cSld>
  <p:clrMapOvr>
    <a:masterClrMapping/>
  </p:clrMapOvr>
  <p:transition spd="med"/>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2286794"/>
          </a:xfrm>
        </p:spPr>
        <p:txBody>
          <a:bodyPr/>
          <a:lstStyle>
            <a:lvl1pPr>
              <a:lnSpc>
                <a:spcPct val="110000"/>
              </a:lnSpc>
              <a:defRPr sz="1400">
                <a:solidFill>
                  <a:schemeClr val="tx2"/>
                </a:solidFill>
              </a:defRPr>
            </a:lvl1pPr>
          </a:lstStyle>
          <a:p>
            <a:r>
              <a:rPr lang="en-US"/>
              <a:t>Click to edit Master title style</a:t>
            </a:r>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3333316" y="284957"/>
            <a:ext cx="8571384" cy="5715794"/>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r>
              <a:rPr lang="en-US"/>
              <a:t>Data Integration / © 2024 IBM Corporation</a:t>
            </a:r>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576404341"/>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DEFAUL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9678276"/>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024"/>
            <a:ext cx="2477765" cy="1429544"/>
          </a:xfrm>
        </p:spPr>
        <p:txBody>
          <a:bodyPr/>
          <a:lstStyle>
            <a:lvl1pPr>
              <a:lnSpc>
                <a:spcPct val="90000"/>
              </a:lnSpc>
              <a:spcBef>
                <a:spcPts val="0"/>
              </a:spcBef>
              <a:defRPr sz="3199">
                <a:solidFill>
                  <a:schemeClr val="tx2"/>
                </a:solidFill>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r>
              <a:rPr lang="en-US"/>
              <a:t>Data Integration / © 2024 IBM Corporation</a:t>
            </a:r>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173048542"/>
      </p:ext>
    </p:extLst>
  </p:cSld>
  <p:clrMapOvr>
    <a:masterClrMapping/>
  </p:clrMapOvr>
  <p:transition spd="med"/>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3524"/>
          </a:xfrm>
        </p:spPr>
        <p:txBody>
          <a:bodyPr/>
          <a:lstStyle>
            <a:lvl1pPr>
              <a:lnSpc>
                <a:spcPct val="110000"/>
              </a:lnSpc>
              <a:defRPr sz="1400">
                <a:solidFill>
                  <a:schemeClr val="tx2"/>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a:t>Data Integration / © 2024 IBM Corporation</a:t>
            </a:r>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288922831"/>
      </p:ext>
    </p:extLst>
  </p:cSld>
  <p:clrMapOvr>
    <a:masterClrMapping/>
  </p:clrMapOvr>
  <p:transition spd="med"/>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024"/>
            <a:ext cx="2477765" cy="1429544"/>
          </a:xfrm>
        </p:spPr>
        <p:txBody>
          <a:bodyPr/>
          <a:lstStyle>
            <a:lvl1pPr>
              <a:lnSpc>
                <a:spcPct val="90000"/>
              </a:lnSpc>
              <a:spcBef>
                <a:spcPts val="0"/>
              </a:spcBef>
              <a:defRPr sz="3199">
                <a:solidFill>
                  <a:schemeClr val="tx2"/>
                </a:solidFill>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90474" y="6402388"/>
            <a:ext cx="2477765" cy="190500"/>
          </a:xfrm>
        </p:spPr>
        <p:txBody>
          <a:bodyPr/>
          <a:lstStyle/>
          <a:p>
            <a:r>
              <a:rPr lang="en-US"/>
              <a:t>Data Integration / © 2024 IBM Corporation</a:t>
            </a:r>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6380919"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292130851"/>
      </p:ext>
    </p:extLst>
  </p:cSld>
  <p:clrMapOvr>
    <a:masterClrMapping/>
  </p:clrMapOvr>
  <p:transition spd="med"/>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32004" y="3084230"/>
            <a:ext cx="1727991" cy="689541"/>
          </a:xfrm>
          <a:prstGeom prst="rect">
            <a:avLst/>
          </a:prstGeom>
        </p:spPr>
      </p:pic>
    </p:spTree>
    <p:extLst>
      <p:ext uri="{BB962C8B-B14F-4D97-AF65-F5344CB8AC3E}">
        <p14:creationId xmlns:p14="http://schemas.microsoft.com/office/powerpoint/2010/main" val="1534493920"/>
      </p:ext>
    </p:extLst>
  </p:cSld>
  <p:clrMapOvr>
    <a:masterClrMapping/>
  </p:clrMapOvr>
  <p:transition spd="med"/>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61912A2-0BF2-5B9E-75F0-2E20D0F7E31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3" y="0"/>
            <a:ext cx="12190413" cy="6858000"/>
          </a:xfrm>
          <a:prstGeom prst="rect">
            <a:avLst/>
          </a:prstGeom>
        </p:spPr>
      </p:pic>
    </p:spTree>
    <p:extLst>
      <p:ext uri="{BB962C8B-B14F-4D97-AF65-F5344CB8AC3E}">
        <p14:creationId xmlns:p14="http://schemas.microsoft.com/office/powerpoint/2010/main" val="1827847911"/>
      </p:ext>
    </p:extLst>
  </p:cSld>
  <p:clrMapOvr>
    <a:masterClrMapping/>
  </p:clrMapOvr>
  <p:transition spd="med"/>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4A6F4A8-1EAC-12C2-9800-ED80F7FA2B54}"/>
              </a:ext>
            </a:extLst>
          </p:cNvPr>
          <p:cNvSpPr>
            <a:spLocks noGrp="1"/>
          </p:cNvSpPr>
          <p:nvPr>
            <p:ph type="sldNum" sz="quarter" idx="10"/>
          </p:nvPr>
        </p:nvSpPr>
        <p:spPr/>
        <p:txBody>
          <a:bodyPr/>
          <a:lstStyle/>
          <a:p>
            <a:fld id="{86CB4B4D-7CA3-9044-876B-883B54F8677D}" type="slidenum">
              <a:rPr lang="en-US" smtClean="0"/>
              <a:pPr/>
              <a:t>‹#›</a:t>
            </a:fld>
            <a:endParaRPr lang="en-US"/>
          </a:p>
        </p:txBody>
      </p:sp>
      <p:sp>
        <p:nvSpPr>
          <p:cNvPr id="4" name="Footer Placeholder 3">
            <a:extLst>
              <a:ext uri="{FF2B5EF4-FFF2-40B4-BE49-F238E27FC236}">
                <a16:creationId xmlns:a16="http://schemas.microsoft.com/office/drawing/2014/main" id="{A4E33359-F58F-8E5B-55E8-30106D4263DA}"/>
              </a:ext>
            </a:extLst>
          </p:cNvPr>
          <p:cNvSpPr>
            <a:spLocks noGrp="1"/>
          </p:cNvSpPr>
          <p:nvPr>
            <p:ph type="ftr" sz="quarter" idx="11"/>
          </p:nvPr>
        </p:nvSpPr>
        <p:spPr/>
        <p:txBody>
          <a:bodyPr/>
          <a:lstStyle/>
          <a:p>
            <a:r>
              <a:rPr lang="en-US"/>
              <a:t>Data Integration / © 2024 IBM Corporation</a:t>
            </a:r>
          </a:p>
        </p:txBody>
      </p:sp>
    </p:spTree>
    <p:extLst>
      <p:ext uri="{BB962C8B-B14F-4D97-AF65-F5344CB8AC3E}">
        <p14:creationId xmlns:p14="http://schemas.microsoft.com/office/powerpoint/2010/main" val="3053298228"/>
      </p:ext>
    </p:extLst>
  </p:cSld>
  <p:clrMapOvr>
    <a:masterClrMapping/>
  </p:clrMapOvr>
  <p:transition spd="med"/>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Title, plain">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Title 1">
            <a:extLst>
              <a:ext uri="{FF2B5EF4-FFF2-40B4-BE49-F238E27FC236}">
                <a16:creationId xmlns:a16="http://schemas.microsoft.com/office/drawing/2014/main" id="{6733F7B7-5AD6-1E43-4FD9-3C700AC2CBD0}"/>
              </a:ext>
            </a:extLst>
          </p:cNvPr>
          <p:cNvSpPr>
            <a:spLocks noGrp="1"/>
          </p:cNvSpPr>
          <p:nvPr>
            <p:ph type="title"/>
          </p:nvPr>
        </p:nvSpPr>
        <p:spPr>
          <a:xfrm>
            <a:off x="269212" y="191937"/>
            <a:ext cx="7345034" cy="1429544"/>
          </a:xfrm>
        </p:spPr>
        <p:txBody>
          <a:bodyPr rIns="457200"/>
          <a:lstStyle>
            <a:lvl1pPr>
              <a:lnSpc>
                <a:spcPct val="100000"/>
              </a:lnSpc>
              <a:defRPr sz="3199">
                <a:solidFill>
                  <a:schemeClr val="tx2"/>
                </a:solidFill>
              </a:defRPr>
            </a:lvl1pPr>
          </a:lstStyle>
          <a:p>
            <a:r>
              <a:rPr lang="en-US"/>
              <a:t>Click to edit Master title style</a:t>
            </a:r>
          </a:p>
        </p:txBody>
      </p:sp>
      <p:sp>
        <p:nvSpPr>
          <p:cNvPr id="5" name="Footer Placeholder 1">
            <a:extLst>
              <a:ext uri="{FF2B5EF4-FFF2-40B4-BE49-F238E27FC236}">
                <a16:creationId xmlns:a16="http://schemas.microsoft.com/office/drawing/2014/main" id="{99C054CF-9453-850A-6B65-8421B4607965}"/>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
        <p:nvSpPr>
          <p:cNvPr id="2" name="TextBox 1">
            <a:extLst>
              <a:ext uri="{FF2B5EF4-FFF2-40B4-BE49-F238E27FC236}">
                <a16:creationId xmlns:a16="http://schemas.microsoft.com/office/drawing/2014/main" id="{661C1B16-BD80-D450-346C-1EE515349C99}"/>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rtlCol="0">
            <a:spAutoFit/>
          </a:bodyPr>
          <a:lstStyle/>
          <a:p>
            <a:pPr algn="r" defTabSz="1218956">
              <a:spcBef>
                <a:spcPts val="1450"/>
              </a:spcBef>
              <a:buSzPct val="100000"/>
            </a:pPr>
            <a:r>
              <a:rPr lang="en-US" sz="800" kern="0">
                <a:solidFill>
                  <a:srgbClr val="000000"/>
                </a:solidFill>
                <a:latin typeface="IBM Plex Sans" panose="020B0503050203000203" pitchFamily="34" charset="0"/>
                <a:ea typeface="+mj-ea"/>
                <a:cs typeface="+mj-cs"/>
                <a:sym typeface="IBM Plex Sans Light"/>
              </a:rPr>
              <a:t>#IBMTechXchange</a:t>
            </a:r>
          </a:p>
        </p:txBody>
      </p:sp>
    </p:spTree>
    <p:extLst>
      <p:ext uri="{BB962C8B-B14F-4D97-AF65-F5344CB8AC3E}">
        <p14:creationId xmlns:p14="http://schemas.microsoft.com/office/powerpoint/2010/main" val="256506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1_Boxes, 6 stacked,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87999" y="192600"/>
            <a:ext cx="2474590" cy="142954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3333316" y="288036"/>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6380920" y="288036"/>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9428523" y="288036"/>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3333316" y="3347315"/>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6380920" y="3347315"/>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9428523" y="3347315"/>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lvl1pPr>
              <a:defRPr b="0" i="0">
                <a:latin typeface="IBM Plex Sans Light" panose="020B0403050203000203" pitchFamily="34" charset="0"/>
              </a:defRPr>
            </a:lvl1pPr>
          </a:lstStyle>
          <a:p>
            <a:endParaRPr lang="en-US"/>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3047603" y="3701138"/>
            <a:ext cx="886027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a:cxnSpLocks/>
          </p:cNvCxnSpPr>
          <p:nvPr userDrawn="1"/>
        </p:nvCxnSpPr>
        <p:spPr bwMode="auto">
          <a:xfrm>
            <a:off x="3047603" y="794657"/>
            <a:ext cx="0" cy="584834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a:cxnSpLocks/>
          </p:cNvCxnSpPr>
          <p:nvPr userDrawn="1"/>
        </p:nvCxnSpPr>
        <p:spPr bwMode="auto">
          <a:xfrm>
            <a:off x="9142810" y="927209"/>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a:cxnSpLocks/>
          </p:cNvCxnSpPr>
          <p:nvPr userDrawn="1"/>
        </p:nvCxnSpPr>
        <p:spPr bwMode="auto">
          <a:xfrm>
            <a:off x="6093683" y="92571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Text Placeholder 6">
            <a:extLst>
              <a:ext uri="{FF2B5EF4-FFF2-40B4-BE49-F238E27FC236}">
                <a16:creationId xmlns:a16="http://schemas.microsoft.com/office/drawing/2014/main" id="{0784E564-F094-C65E-4C30-6AD26FD6AE47}"/>
              </a:ext>
            </a:extLst>
          </p:cNvPr>
          <p:cNvSpPr>
            <a:spLocks noGrp="1"/>
          </p:cNvSpPr>
          <p:nvPr>
            <p:ph type="body" sz="quarter" idx="10"/>
          </p:nvPr>
        </p:nvSpPr>
        <p:spPr>
          <a:xfrm>
            <a:off x="6363186" y="713705"/>
            <a:ext cx="2481638" cy="1858041"/>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5B384162-F420-216E-B250-BA49ED23AA36}"/>
              </a:ext>
            </a:extLst>
          </p:cNvPr>
          <p:cNvSpPr>
            <a:spLocks noGrp="1"/>
          </p:cNvSpPr>
          <p:nvPr>
            <p:ph type="body" sz="quarter" idx="24"/>
          </p:nvPr>
        </p:nvSpPr>
        <p:spPr>
          <a:xfrm>
            <a:off x="9398651" y="713705"/>
            <a:ext cx="2481638" cy="1858038"/>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6">
            <a:extLst>
              <a:ext uri="{FF2B5EF4-FFF2-40B4-BE49-F238E27FC236}">
                <a16:creationId xmlns:a16="http://schemas.microsoft.com/office/drawing/2014/main" id="{2D5D50EC-56AE-CB68-AF0D-967D997C2277}"/>
              </a:ext>
            </a:extLst>
          </p:cNvPr>
          <p:cNvSpPr>
            <a:spLocks noGrp="1"/>
          </p:cNvSpPr>
          <p:nvPr>
            <p:ph type="body" sz="quarter" idx="25"/>
          </p:nvPr>
        </p:nvSpPr>
        <p:spPr>
          <a:xfrm>
            <a:off x="6363186" y="3759417"/>
            <a:ext cx="2481638" cy="1860328"/>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95DF0382-EAC2-42E6-8F3C-D78D99701167}"/>
              </a:ext>
            </a:extLst>
          </p:cNvPr>
          <p:cNvSpPr>
            <a:spLocks noGrp="1"/>
          </p:cNvSpPr>
          <p:nvPr>
            <p:ph type="body" sz="quarter" idx="26"/>
          </p:nvPr>
        </p:nvSpPr>
        <p:spPr>
          <a:xfrm>
            <a:off x="9398651" y="3759418"/>
            <a:ext cx="2481638" cy="1860326"/>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6">
            <a:extLst>
              <a:ext uri="{FF2B5EF4-FFF2-40B4-BE49-F238E27FC236}">
                <a16:creationId xmlns:a16="http://schemas.microsoft.com/office/drawing/2014/main" id="{DD63E7DA-FA91-79CE-F137-C4CFF4237814}"/>
              </a:ext>
            </a:extLst>
          </p:cNvPr>
          <p:cNvSpPr>
            <a:spLocks noGrp="1"/>
          </p:cNvSpPr>
          <p:nvPr>
            <p:ph type="body" sz="quarter" idx="27"/>
          </p:nvPr>
        </p:nvSpPr>
        <p:spPr>
          <a:xfrm>
            <a:off x="3332555" y="713704"/>
            <a:ext cx="2481638" cy="1858041"/>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6">
            <a:extLst>
              <a:ext uri="{FF2B5EF4-FFF2-40B4-BE49-F238E27FC236}">
                <a16:creationId xmlns:a16="http://schemas.microsoft.com/office/drawing/2014/main" id="{03E415E0-33AF-4F69-4718-A13AF38331B2}"/>
              </a:ext>
            </a:extLst>
          </p:cNvPr>
          <p:cNvSpPr>
            <a:spLocks noGrp="1"/>
          </p:cNvSpPr>
          <p:nvPr>
            <p:ph type="body" sz="quarter" idx="28"/>
          </p:nvPr>
        </p:nvSpPr>
        <p:spPr>
          <a:xfrm>
            <a:off x="3332555" y="3759417"/>
            <a:ext cx="2481638" cy="1860327"/>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967685620"/>
      </p:ext>
    </p:extLst>
  </p:cSld>
  <p:clrMapOvr>
    <a:masterClrMapping/>
  </p:clrMapOvr>
  <p:transition spd="med"/>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1_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70866" y="6452314"/>
            <a:ext cx="133834" cy="123111"/>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3047603" y="0"/>
            <a:ext cx="9144397" cy="68580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7" name="Text Placeholder 6">
            <a:extLst>
              <a:ext uri="{FF2B5EF4-FFF2-40B4-BE49-F238E27FC236}">
                <a16:creationId xmlns:a16="http://schemas.microsoft.com/office/drawing/2014/main" id="{C7581521-9341-A586-10B8-D3CD3EBBADFC}"/>
              </a:ext>
            </a:extLst>
          </p:cNvPr>
          <p:cNvSpPr>
            <a:spLocks noGrp="1"/>
          </p:cNvSpPr>
          <p:nvPr>
            <p:ph type="body" sz="quarter" idx="20"/>
          </p:nvPr>
        </p:nvSpPr>
        <p:spPr>
          <a:xfrm>
            <a:off x="275969" y="1714500"/>
            <a:ext cx="2485921"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631049547"/>
      </p:ext>
    </p:extLst>
  </p:cSld>
  <p:clrMapOvr>
    <a:masterClrMapping/>
  </p:clrMapOvr>
  <p:transition spd="med"/>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1_Text, 2 columns, dividers, pictogr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6"/>
            <a:ext cx="2474590" cy="570707"/>
          </a:xfrm>
        </p:spPr>
        <p:txBody>
          <a:bodyPr/>
          <a:lstStyle>
            <a:lvl1pPr>
              <a:lnSpc>
                <a:spcPct val="100000"/>
              </a:lnSpc>
              <a:defRPr sz="3197" b="0" i="0">
                <a:solidFill>
                  <a:schemeClr val="tx2"/>
                </a:solidFill>
                <a:latin typeface="IBM Plex Sans Light" panose="020B0403050203000203" pitchFamily="34" charset="0"/>
              </a:defRPr>
            </a:lvl1pPr>
          </a:lstStyle>
          <a:p>
            <a:r>
              <a:rPr lang="en-US"/>
              <a:t>Click to edit Master title style</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3931276" y="380094"/>
            <a:ext cx="607997" cy="607231"/>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10242101" y="380094"/>
            <a:ext cx="608843" cy="608076"/>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5993954" y="342026"/>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11769264" y="6469421"/>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7" name="Text Placeholder 6">
            <a:extLst>
              <a:ext uri="{FF2B5EF4-FFF2-40B4-BE49-F238E27FC236}">
                <a16:creationId xmlns:a16="http://schemas.microsoft.com/office/drawing/2014/main" id="{BD2030D9-4E2C-5A41-AC60-E9DAA791E354}"/>
              </a:ext>
            </a:extLst>
          </p:cNvPr>
          <p:cNvSpPr>
            <a:spLocks noGrp="1"/>
          </p:cNvSpPr>
          <p:nvPr>
            <p:ph type="body" sz="quarter" idx="20"/>
          </p:nvPr>
        </p:nvSpPr>
        <p:spPr>
          <a:xfrm>
            <a:off x="2994455" y="1771570"/>
            <a:ext cx="2481638" cy="4286250"/>
          </a:xfrm>
          <a:prstGeom prst="rect">
            <a:avLst/>
          </a:prstGeom>
        </p:spPr>
        <p:txBody>
          <a:bodyPr/>
          <a:lstStyle>
            <a:lvl1pPr defTabSz="580296">
              <a:lnSpc>
                <a:spcPct val="100000"/>
              </a:lnSpc>
              <a:spcBef>
                <a:spcPts val="0"/>
              </a:spcBef>
              <a:defRPr sz="1400" b="0" i="0">
                <a:solidFill>
                  <a:schemeClr val="tx1"/>
                </a:solidFill>
                <a:latin typeface="IBM Plex Sans Light" panose="020B0403050203000203" pitchFamily="34" charset="0"/>
              </a:defRPr>
            </a:lvl1pPr>
            <a:lvl2pPr defTabSz="580296">
              <a:lnSpc>
                <a:spcPct val="100000"/>
              </a:lnSpc>
              <a:spcBef>
                <a:spcPts val="0"/>
              </a:spcBef>
              <a:defRPr sz="1400" b="0" i="0">
                <a:solidFill>
                  <a:schemeClr val="tx1"/>
                </a:solidFill>
                <a:latin typeface="IBM Plex Sans Light" panose="020B0403050203000203" pitchFamily="34" charset="0"/>
              </a:defRPr>
            </a:lvl2pPr>
            <a:lvl3pPr defTabSz="580296">
              <a:lnSpc>
                <a:spcPct val="100000"/>
              </a:lnSpc>
              <a:spcBef>
                <a:spcPts val="0"/>
              </a:spcBef>
              <a:defRPr sz="1400" b="0" i="0">
                <a:solidFill>
                  <a:schemeClr val="tx1"/>
                </a:solidFill>
                <a:latin typeface="IBM Plex Sans Light" panose="020B0403050203000203" pitchFamily="34" charset="0"/>
              </a:defRPr>
            </a:lvl3pPr>
            <a:lvl4pPr defTabSz="580296">
              <a:lnSpc>
                <a:spcPct val="100000"/>
              </a:lnSpc>
              <a:spcBef>
                <a:spcPts val="0"/>
              </a:spcBef>
              <a:defRPr sz="1400" b="0" i="0">
                <a:solidFill>
                  <a:schemeClr val="tx1"/>
                </a:solidFill>
                <a:latin typeface="IBM Plex Sans Light" panose="020B0403050203000203" pitchFamily="34" charset="0"/>
              </a:defRPr>
            </a:lvl4pPr>
            <a:lvl5pPr defTabSz="58029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6">
            <a:extLst>
              <a:ext uri="{FF2B5EF4-FFF2-40B4-BE49-F238E27FC236}">
                <a16:creationId xmlns:a16="http://schemas.microsoft.com/office/drawing/2014/main" id="{2473B493-1BC7-D878-AEAA-C60A2D67B762}"/>
              </a:ext>
            </a:extLst>
          </p:cNvPr>
          <p:cNvSpPr>
            <a:spLocks noGrp="1"/>
          </p:cNvSpPr>
          <p:nvPr>
            <p:ph type="body" sz="quarter" idx="21"/>
          </p:nvPr>
        </p:nvSpPr>
        <p:spPr>
          <a:xfrm>
            <a:off x="9305279" y="1771570"/>
            <a:ext cx="2481638" cy="4286250"/>
          </a:xfrm>
          <a:prstGeom prst="rect">
            <a:avLst/>
          </a:prstGeom>
        </p:spPr>
        <p:txBody>
          <a:bodyPr/>
          <a:lstStyle>
            <a:lvl1pPr defTabSz="580296">
              <a:lnSpc>
                <a:spcPct val="100000"/>
              </a:lnSpc>
              <a:spcBef>
                <a:spcPts val="0"/>
              </a:spcBef>
              <a:defRPr sz="1400" b="0" i="0">
                <a:solidFill>
                  <a:schemeClr val="tx1"/>
                </a:solidFill>
                <a:latin typeface="IBM Plex Sans Light" panose="020B0403050203000203" pitchFamily="34" charset="0"/>
              </a:defRPr>
            </a:lvl1pPr>
            <a:lvl2pPr defTabSz="580296">
              <a:lnSpc>
                <a:spcPct val="100000"/>
              </a:lnSpc>
              <a:spcBef>
                <a:spcPts val="0"/>
              </a:spcBef>
              <a:defRPr sz="1400" b="0" i="0">
                <a:solidFill>
                  <a:schemeClr val="tx1"/>
                </a:solidFill>
                <a:latin typeface="IBM Plex Sans Light" panose="020B0403050203000203" pitchFamily="34" charset="0"/>
              </a:defRPr>
            </a:lvl2pPr>
            <a:lvl3pPr defTabSz="580296">
              <a:lnSpc>
                <a:spcPct val="100000"/>
              </a:lnSpc>
              <a:spcBef>
                <a:spcPts val="0"/>
              </a:spcBef>
              <a:defRPr sz="1400" b="0" i="0">
                <a:solidFill>
                  <a:schemeClr val="tx1"/>
                </a:solidFill>
                <a:latin typeface="IBM Plex Sans Light" panose="020B0403050203000203" pitchFamily="34" charset="0"/>
              </a:defRPr>
            </a:lvl3pPr>
            <a:lvl4pPr defTabSz="580296">
              <a:lnSpc>
                <a:spcPct val="100000"/>
              </a:lnSpc>
              <a:spcBef>
                <a:spcPts val="0"/>
              </a:spcBef>
              <a:defRPr sz="1400" b="0" i="0">
                <a:solidFill>
                  <a:schemeClr val="tx1"/>
                </a:solidFill>
                <a:latin typeface="IBM Plex Sans Light" panose="020B0403050203000203" pitchFamily="34" charset="0"/>
              </a:defRPr>
            </a:lvl4pPr>
            <a:lvl5pPr defTabSz="58029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Picture Placeholder 11">
            <a:extLst>
              <a:ext uri="{FF2B5EF4-FFF2-40B4-BE49-F238E27FC236}">
                <a16:creationId xmlns:a16="http://schemas.microsoft.com/office/drawing/2014/main" id="{0434D1B5-26D5-7B82-0C7F-D37F24C45EE0}"/>
              </a:ext>
            </a:extLst>
          </p:cNvPr>
          <p:cNvSpPr>
            <a:spLocks noGrp="1" noChangeAspect="1"/>
          </p:cNvSpPr>
          <p:nvPr>
            <p:ph type="pic" sz="quarter" idx="22" hasCustomPrompt="1"/>
          </p:nvPr>
        </p:nvSpPr>
        <p:spPr>
          <a:xfrm>
            <a:off x="7224622" y="456294"/>
            <a:ext cx="608843" cy="608076"/>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a:t>Pictogram</a:t>
            </a:r>
          </a:p>
        </p:txBody>
      </p:sp>
      <p:sp>
        <p:nvSpPr>
          <p:cNvPr id="7" name="Text Placeholder 6">
            <a:extLst>
              <a:ext uri="{FF2B5EF4-FFF2-40B4-BE49-F238E27FC236}">
                <a16:creationId xmlns:a16="http://schemas.microsoft.com/office/drawing/2014/main" id="{D110921B-F339-EF1A-BFBE-A47FED92E0A7}"/>
              </a:ext>
            </a:extLst>
          </p:cNvPr>
          <p:cNvSpPr>
            <a:spLocks noGrp="1"/>
          </p:cNvSpPr>
          <p:nvPr>
            <p:ph type="body" sz="quarter" idx="23"/>
          </p:nvPr>
        </p:nvSpPr>
        <p:spPr>
          <a:xfrm>
            <a:off x="6287800" y="1847769"/>
            <a:ext cx="2481638" cy="4286250"/>
          </a:xfrm>
          <a:prstGeom prst="rect">
            <a:avLst/>
          </a:prstGeom>
        </p:spPr>
        <p:txBody>
          <a:bodyPr/>
          <a:lstStyle>
            <a:lvl1pPr defTabSz="580296">
              <a:lnSpc>
                <a:spcPct val="100000"/>
              </a:lnSpc>
              <a:spcBef>
                <a:spcPts val="0"/>
              </a:spcBef>
              <a:defRPr sz="1400" b="0" i="0">
                <a:solidFill>
                  <a:schemeClr val="tx1"/>
                </a:solidFill>
                <a:latin typeface="IBM Plex Sans Light" panose="020B0403050203000203" pitchFamily="34" charset="0"/>
              </a:defRPr>
            </a:lvl1pPr>
            <a:lvl2pPr defTabSz="580296">
              <a:lnSpc>
                <a:spcPct val="100000"/>
              </a:lnSpc>
              <a:spcBef>
                <a:spcPts val="0"/>
              </a:spcBef>
              <a:defRPr sz="1400" b="0" i="0">
                <a:solidFill>
                  <a:schemeClr val="tx1"/>
                </a:solidFill>
                <a:latin typeface="IBM Plex Sans Light" panose="020B0403050203000203" pitchFamily="34" charset="0"/>
              </a:defRPr>
            </a:lvl2pPr>
            <a:lvl3pPr defTabSz="580296">
              <a:lnSpc>
                <a:spcPct val="100000"/>
              </a:lnSpc>
              <a:spcBef>
                <a:spcPts val="0"/>
              </a:spcBef>
              <a:defRPr sz="1400" b="0" i="0">
                <a:solidFill>
                  <a:schemeClr val="tx1"/>
                </a:solidFill>
                <a:latin typeface="IBM Plex Sans Light" panose="020B0403050203000203" pitchFamily="34" charset="0"/>
              </a:defRPr>
            </a:lvl3pPr>
            <a:lvl4pPr defTabSz="580296">
              <a:lnSpc>
                <a:spcPct val="100000"/>
              </a:lnSpc>
              <a:spcBef>
                <a:spcPts val="0"/>
              </a:spcBef>
              <a:defRPr sz="1400" b="0" i="0">
                <a:solidFill>
                  <a:schemeClr val="tx1"/>
                </a:solidFill>
                <a:latin typeface="IBM Plex Sans Light" panose="020B0403050203000203" pitchFamily="34" charset="0"/>
              </a:defRPr>
            </a:lvl4pPr>
            <a:lvl5pPr defTabSz="58029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ED2E2539-7E6F-2398-BFD3-E93F647DC3D3}"/>
              </a:ext>
            </a:extLst>
          </p:cNvPr>
          <p:cNvCxnSpPr/>
          <p:nvPr userDrawn="1"/>
        </p:nvCxnSpPr>
        <p:spPr bwMode="auto">
          <a:xfrm>
            <a:off x="9121798" y="38009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903865242"/>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Large text, pattern">
    <p:bg>
      <p:bgPr>
        <a:solidFill>
          <a:schemeClr val="bg1"/>
        </a:solidFill>
        <a:effectLst/>
      </p:bgPr>
    </p:bg>
    <p:spTree>
      <p:nvGrpSpPr>
        <p:cNvPr id="1" name=""/>
        <p:cNvGrpSpPr/>
        <p:nvPr/>
      </p:nvGrpSpPr>
      <p:grpSpPr>
        <a:xfrm>
          <a:off x="0" y="0"/>
          <a:ext cx="0" cy="0"/>
          <a:chOff x="0" y="0"/>
          <a:chExt cx="0" cy="0"/>
        </a:xfrm>
      </p:grpSpPr>
      <p:grpSp>
        <p:nvGrpSpPr>
          <p:cNvPr id="470" name="Group 469">
            <a:extLst>
              <a:ext uri="{FF2B5EF4-FFF2-40B4-BE49-F238E27FC236}">
                <a16:creationId xmlns:a16="http://schemas.microsoft.com/office/drawing/2014/main" id="{7D045C5A-D5A3-CA8C-C9E9-6B74127339EA}"/>
              </a:ext>
            </a:extLst>
          </p:cNvPr>
          <p:cNvGrpSpPr>
            <a:grpSpLocks noChangeAspect="1"/>
          </p:cNvGrpSpPr>
          <p:nvPr userDrawn="1"/>
        </p:nvGrpSpPr>
        <p:grpSpPr>
          <a:xfrm>
            <a:off x="254136" y="251460"/>
            <a:ext cx="11683728" cy="6355080"/>
            <a:chOff x="-34412" y="228570"/>
            <a:chExt cx="24799683" cy="13487429"/>
          </a:xfrm>
          <a:solidFill>
            <a:srgbClr val="EDF5FF"/>
          </a:solidFill>
        </p:grpSpPr>
        <p:sp>
          <p:nvSpPr>
            <p:cNvPr id="471" name="Freeform: Shape 470">
              <a:extLst>
                <a:ext uri="{FF2B5EF4-FFF2-40B4-BE49-F238E27FC236}">
                  <a16:creationId xmlns:a16="http://schemas.microsoft.com/office/drawing/2014/main" id="{5090741A-E6C7-1B42-4545-4B21EB8FB5CB}"/>
                </a:ext>
              </a:extLst>
            </p:cNvPr>
            <p:cNvSpPr/>
            <p:nvPr/>
          </p:nvSpPr>
          <p:spPr>
            <a:xfrm>
              <a:off x="835769" y="228598"/>
              <a:ext cx="435077" cy="435073"/>
            </a:xfrm>
            <a:custGeom>
              <a:avLst/>
              <a:gdLst>
                <a:gd name="connsiteX0" fmla="*/ 371366 w 435077"/>
                <a:gd name="connsiteY0" fmla="*/ 63716 h 435073"/>
                <a:gd name="connsiteX1" fmla="*/ 435077 w 435077"/>
                <a:gd name="connsiteY1" fmla="*/ 217539 h 435073"/>
                <a:gd name="connsiteX2" fmla="*/ 218925 w 435077"/>
                <a:gd name="connsiteY2" fmla="*/ 217539 h 435073"/>
                <a:gd name="connsiteX3" fmla="*/ 371366 w 435077"/>
                <a:gd name="connsiteY3" fmla="*/ 281249 h 435073"/>
                <a:gd name="connsiteX4" fmla="*/ 435077 w 435077"/>
                <a:gd name="connsiteY4" fmla="*/ 435073 h 435073"/>
                <a:gd name="connsiteX5" fmla="*/ 217539 w 435077"/>
                <a:gd name="connsiteY5" fmla="*/ 435073 h 435073"/>
                <a:gd name="connsiteX6" fmla="*/ 0 w 435077"/>
                <a:gd name="connsiteY6" fmla="*/ 435073 h 435073"/>
                <a:gd name="connsiteX7" fmla="*/ 63711 w 435077"/>
                <a:gd name="connsiteY7" fmla="*/ 281249 h 435073"/>
                <a:gd name="connsiteX8" fmla="*/ 216125 w 435077"/>
                <a:gd name="connsiteY8" fmla="*/ 217539 h 435073"/>
                <a:gd name="connsiteX9" fmla="*/ 0 w 435077"/>
                <a:gd name="connsiteY9" fmla="*/ 217539 h 435073"/>
                <a:gd name="connsiteX10" fmla="*/ 63711 w 435077"/>
                <a:gd name="connsiteY10" fmla="*/ 63716 h 435073"/>
                <a:gd name="connsiteX11" fmla="*/ 217539 w 435077"/>
                <a:gd name="connsiteY11" fmla="*/ 0 h 435073"/>
                <a:gd name="connsiteX12" fmla="*/ 371366 w 435077"/>
                <a:gd name="connsiteY12" fmla="*/ 63716 h 43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3">
                  <a:moveTo>
                    <a:pt x="371366" y="63716"/>
                  </a:moveTo>
                  <a:cubicBezTo>
                    <a:pt x="412154" y="104512"/>
                    <a:pt x="435077" y="159844"/>
                    <a:pt x="435077" y="217539"/>
                  </a:cubicBezTo>
                  <a:lnTo>
                    <a:pt x="218925" y="217539"/>
                  </a:lnTo>
                  <a:cubicBezTo>
                    <a:pt x="276138" y="217907"/>
                    <a:pt x="330903" y="240784"/>
                    <a:pt x="371366" y="281249"/>
                  </a:cubicBezTo>
                  <a:cubicBezTo>
                    <a:pt x="412154" y="322046"/>
                    <a:pt x="435077" y="377379"/>
                    <a:pt x="435077" y="435073"/>
                  </a:cubicBezTo>
                  <a:lnTo>
                    <a:pt x="217539" y="435073"/>
                  </a:lnTo>
                  <a:lnTo>
                    <a:pt x="0" y="435073"/>
                  </a:lnTo>
                  <a:cubicBezTo>
                    <a:pt x="0" y="377379"/>
                    <a:pt x="22923" y="322046"/>
                    <a:pt x="63711" y="281249"/>
                  </a:cubicBezTo>
                  <a:cubicBezTo>
                    <a:pt x="104174" y="240784"/>
                    <a:pt x="158939" y="217907"/>
                    <a:pt x="216125" y="217539"/>
                  </a:cubicBezTo>
                  <a:lnTo>
                    <a:pt x="0" y="217539"/>
                  </a:lnTo>
                  <a:cubicBezTo>
                    <a:pt x="0" y="159844"/>
                    <a:pt x="22923" y="104512"/>
                    <a:pt x="63711" y="63716"/>
                  </a:cubicBezTo>
                  <a:cubicBezTo>
                    <a:pt x="104500" y="22919"/>
                    <a:pt x="159836" y="0"/>
                    <a:pt x="217539" y="0"/>
                  </a:cubicBezTo>
                  <a:cubicBezTo>
                    <a:pt x="275213" y="0"/>
                    <a:pt x="330550" y="22919"/>
                    <a:pt x="371366" y="63716"/>
                  </a:cubicBezTo>
                  <a:close/>
                </a:path>
              </a:pathLst>
            </a:custGeom>
            <a:grpFill/>
            <a:ln w="27192" cap="flat">
              <a:noFill/>
              <a:prstDash val="solid"/>
              <a:miter/>
            </a:ln>
          </p:spPr>
          <p:txBody>
            <a:bodyPr rtlCol="0" anchor="ctr"/>
            <a:lstStyle/>
            <a:p>
              <a:endParaRPr lang="uk-UA" sz="900"/>
            </a:p>
          </p:txBody>
        </p:sp>
        <p:sp>
          <p:nvSpPr>
            <p:cNvPr id="472" name="Freeform: Shape 471">
              <a:extLst>
                <a:ext uri="{FF2B5EF4-FFF2-40B4-BE49-F238E27FC236}">
                  <a16:creationId xmlns:a16="http://schemas.microsoft.com/office/drawing/2014/main" id="{5AFFC501-C9A3-E248-6E9B-299B337D2D8B}"/>
                </a:ext>
              </a:extLst>
            </p:cNvPr>
            <p:cNvSpPr/>
            <p:nvPr/>
          </p:nvSpPr>
          <p:spPr>
            <a:xfrm>
              <a:off x="-34398" y="228598"/>
              <a:ext cx="435090" cy="435078"/>
            </a:xfrm>
            <a:custGeom>
              <a:avLst/>
              <a:gdLst>
                <a:gd name="connsiteX0" fmla="*/ 217525 w 435090"/>
                <a:gd name="connsiteY0" fmla="*/ 0 h 435078"/>
                <a:gd name="connsiteX1" fmla="*/ 0 w 435090"/>
                <a:gd name="connsiteY1" fmla="*/ 0 h 435078"/>
                <a:gd name="connsiteX2" fmla="*/ 0 w 435090"/>
                <a:gd name="connsiteY2" fmla="*/ 217539 h 435078"/>
                <a:gd name="connsiteX3" fmla="*/ 217525 w 435090"/>
                <a:gd name="connsiteY3" fmla="*/ 0 h 435078"/>
                <a:gd name="connsiteX4" fmla="*/ 435091 w 435090"/>
                <a:gd name="connsiteY4" fmla="*/ 0 h 435078"/>
                <a:gd name="connsiteX5" fmla="*/ 435091 w 435090"/>
                <a:gd name="connsiteY5" fmla="*/ 217539 h 435078"/>
                <a:gd name="connsiteX6" fmla="*/ 217552 w 435090"/>
                <a:gd name="connsiteY6" fmla="*/ 0 h 435078"/>
                <a:gd name="connsiteX7" fmla="*/ 435091 w 435090"/>
                <a:gd name="connsiteY7" fmla="*/ 0 h 435078"/>
                <a:gd name="connsiteX8" fmla="*/ 217552 w 435090"/>
                <a:gd name="connsiteY8" fmla="*/ 435079 h 435078"/>
                <a:gd name="connsiteX9" fmla="*/ 435091 w 435090"/>
                <a:gd name="connsiteY9" fmla="*/ 217539 h 435078"/>
                <a:gd name="connsiteX10" fmla="*/ 435091 w 435090"/>
                <a:gd name="connsiteY10" fmla="*/ 435079 h 435078"/>
                <a:gd name="connsiteX11" fmla="*/ 217552 w 435090"/>
                <a:gd name="connsiteY11" fmla="*/ 435079 h 435078"/>
                <a:gd name="connsiteX12" fmla="*/ 217552 w 435090"/>
                <a:gd name="connsiteY12" fmla="*/ 435079 h 435078"/>
                <a:gd name="connsiteX13" fmla="*/ 11 w 435090"/>
                <a:gd name="connsiteY13" fmla="*/ 217539 h 435078"/>
                <a:gd name="connsiteX14" fmla="*/ 11 w 435090"/>
                <a:gd name="connsiteY14" fmla="*/ 435079 h 435078"/>
                <a:gd name="connsiteX15" fmla="*/ 217552 w 435090"/>
                <a:gd name="connsiteY15" fmla="*/ 435079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90" h="435078">
                  <a:moveTo>
                    <a:pt x="217525" y="0"/>
                  </a:moveTo>
                  <a:lnTo>
                    <a:pt x="0" y="0"/>
                  </a:lnTo>
                  <a:lnTo>
                    <a:pt x="0" y="217539"/>
                  </a:lnTo>
                  <a:lnTo>
                    <a:pt x="217525" y="0"/>
                  </a:lnTo>
                  <a:close/>
                  <a:moveTo>
                    <a:pt x="435091" y="0"/>
                  </a:moveTo>
                  <a:lnTo>
                    <a:pt x="435091" y="217539"/>
                  </a:lnTo>
                  <a:lnTo>
                    <a:pt x="217552" y="0"/>
                  </a:lnTo>
                  <a:lnTo>
                    <a:pt x="435091" y="0"/>
                  </a:lnTo>
                  <a:close/>
                  <a:moveTo>
                    <a:pt x="217552" y="435079"/>
                  </a:moveTo>
                  <a:lnTo>
                    <a:pt x="435091" y="217539"/>
                  </a:lnTo>
                  <a:lnTo>
                    <a:pt x="435091" y="435079"/>
                  </a:lnTo>
                  <a:lnTo>
                    <a:pt x="217552" y="435079"/>
                  </a:lnTo>
                  <a:close/>
                  <a:moveTo>
                    <a:pt x="217552" y="435079"/>
                  </a:moveTo>
                  <a:lnTo>
                    <a:pt x="11" y="217539"/>
                  </a:lnTo>
                  <a:lnTo>
                    <a:pt x="11" y="435079"/>
                  </a:lnTo>
                  <a:lnTo>
                    <a:pt x="217552" y="435079"/>
                  </a:lnTo>
                  <a:close/>
                </a:path>
              </a:pathLst>
            </a:custGeom>
            <a:grpFill/>
            <a:ln w="27192" cap="flat">
              <a:noFill/>
              <a:prstDash val="solid"/>
              <a:miter/>
            </a:ln>
          </p:spPr>
          <p:txBody>
            <a:bodyPr rtlCol="0" anchor="ctr"/>
            <a:lstStyle/>
            <a:p>
              <a:endParaRPr lang="uk-UA" sz="900"/>
            </a:p>
          </p:txBody>
        </p:sp>
        <p:sp>
          <p:nvSpPr>
            <p:cNvPr id="473" name="Freeform: Shape 472">
              <a:extLst>
                <a:ext uri="{FF2B5EF4-FFF2-40B4-BE49-F238E27FC236}">
                  <a16:creationId xmlns:a16="http://schemas.microsoft.com/office/drawing/2014/main" id="{FBA5935D-610A-4426-6A98-1DB37FDA9AE2}"/>
                </a:ext>
              </a:extLst>
            </p:cNvPr>
            <p:cNvSpPr/>
            <p:nvPr/>
          </p:nvSpPr>
          <p:spPr>
            <a:xfrm>
              <a:off x="1705924" y="228598"/>
              <a:ext cx="435077" cy="435075"/>
            </a:xfrm>
            <a:custGeom>
              <a:avLst/>
              <a:gdLst>
                <a:gd name="connsiteX0" fmla="*/ 217539 w 435077"/>
                <a:gd name="connsiteY0" fmla="*/ 217533 h 435075"/>
                <a:gd name="connsiteX1" fmla="*/ 217539 w 435077"/>
                <a:gd name="connsiteY1" fmla="*/ 0 h 435075"/>
                <a:gd name="connsiteX2" fmla="*/ 0 w 435077"/>
                <a:gd name="connsiteY2" fmla="*/ 0 h 435075"/>
                <a:gd name="connsiteX3" fmla="*/ 217539 w 435077"/>
                <a:gd name="connsiteY3" fmla="*/ 217538 h 435075"/>
                <a:gd name="connsiteX4" fmla="*/ 0 w 435077"/>
                <a:gd name="connsiteY4" fmla="*/ 435076 h 435075"/>
                <a:gd name="connsiteX5" fmla="*/ 217539 w 435077"/>
                <a:gd name="connsiteY5" fmla="*/ 435076 h 435075"/>
                <a:gd name="connsiteX6" fmla="*/ 217539 w 435077"/>
                <a:gd name="connsiteY6" fmla="*/ 435071 h 435075"/>
                <a:gd name="connsiteX7" fmla="*/ 435077 w 435077"/>
                <a:gd name="connsiteY7" fmla="*/ 217543 h 435075"/>
                <a:gd name="connsiteX8" fmla="*/ 435077 w 435077"/>
                <a:gd name="connsiteY8" fmla="*/ 217543 h 435075"/>
                <a:gd name="connsiteX9" fmla="*/ 435077 w 435077"/>
                <a:gd name="connsiteY9" fmla="*/ 217538 h 435075"/>
                <a:gd name="connsiteX10" fmla="*/ 435077 w 435077"/>
                <a:gd name="connsiteY10" fmla="*/ 217533 h 435075"/>
                <a:gd name="connsiteX11" fmla="*/ 435077 w 435077"/>
                <a:gd name="connsiteY11" fmla="*/ 217533 h 435075"/>
                <a:gd name="connsiteX12" fmla="*/ 217539 w 435077"/>
                <a:gd name="connsiteY12" fmla="*/ 5 h 435075"/>
                <a:gd name="connsiteX13" fmla="*/ 217539 w 435077"/>
                <a:gd name="connsiteY13" fmla="*/ 217533 h 435075"/>
                <a:gd name="connsiteX14" fmla="*/ 217539 w 435077"/>
                <a:gd name="connsiteY14" fmla="*/ 217533 h 43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5">
                  <a:moveTo>
                    <a:pt x="217539" y="217533"/>
                  </a:moveTo>
                  <a:lnTo>
                    <a:pt x="217539" y="0"/>
                  </a:lnTo>
                  <a:lnTo>
                    <a:pt x="0" y="0"/>
                  </a:lnTo>
                  <a:lnTo>
                    <a:pt x="217539" y="217538"/>
                  </a:lnTo>
                  <a:lnTo>
                    <a:pt x="0" y="435076"/>
                  </a:lnTo>
                  <a:lnTo>
                    <a:pt x="217539" y="435076"/>
                  </a:lnTo>
                  <a:lnTo>
                    <a:pt x="217539" y="435071"/>
                  </a:lnTo>
                  <a:lnTo>
                    <a:pt x="435077" y="217543"/>
                  </a:lnTo>
                  <a:lnTo>
                    <a:pt x="435077" y="217543"/>
                  </a:lnTo>
                  <a:lnTo>
                    <a:pt x="435077" y="217538"/>
                  </a:lnTo>
                  <a:lnTo>
                    <a:pt x="435077" y="217533"/>
                  </a:lnTo>
                  <a:lnTo>
                    <a:pt x="435077" y="217533"/>
                  </a:lnTo>
                  <a:lnTo>
                    <a:pt x="217539" y="5"/>
                  </a:lnTo>
                  <a:lnTo>
                    <a:pt x="217539" y="217533"/>
                  </a:lnTo>
                  <a:lnTo>
                    <a:pt x="217539" y="217533"/>
                  </a:lnTo>
                  <a:close/>
                </a:path>
              </a:pathLst>
            </a:custGeom>
            <a:grpFill/>
            <a:ln w="27192" cap="flat">
              <a:noFill/>
              <a:prstDash val="solid"/>
              <a:miter/>
            </a:ln>
          </p:spPr>
          <p:txBody>
            <a:bodyPr rtlCol="0" anchor="ctr"/>
            <a:lstStyle/>
            <a:p>
              <a:endParaRPr lang="uk-UA" sz="900"/>
            </a:p>
          </p:txBody>
        </p:sp>
        <p:sp>
          <p:nvSpPr>
            <p:cNvPr id="474" name="Freeform: Shape 473">
              <a:extLst>
                <a:ext uri="{FF2B5EF4-FFF2-40B4-BE49-F238E27FC236}">
                  <a16:creationId xmlns:a16="http://schemas.microsoft.com/office/drawing/2014/main" id="{AA16928D-A49D-892F-DDBE-296DEAC2DE9E}"/>
                </a:ext>
              </a:extLst>
            </p:cNvPr>
            <p:cNvSpPr/>
            <p:nvPr/>
          </p:nvSpPr>
          <p:spPr>
            <a:xfrm>
              <a:off x="2576106" y="228598"/>
              <a:ext cx="435077" cy="435078"/>
            </a:xfrm>
            <a:custGeom>
              <a:avLst/>
              <a:gdLst>
                <a:gd name="connsiteX0" fmla="*/ 0 w 435077"/>
                <a:gd name="connsiteY0" fmla="*/ 435079 h 435078"/>
                <a:gd name="connsiteX1" fmla="*/ 217512 w 435077"/>
                <a:gd name="connsiteY1" fmla="*/ 435079 h 435078"/>
                <a:gd name="connsiteX2" fmla="*/ 217512 w 435077"/>
                <a:gd name="connsiteY2" fmla="*/ 217546 h 435078"/>
                <a:gd name="connsiteX3" fmla="*/ 0 w 435077"/>
                <a:gd name="connsiteY3" fmla="*/ 435079 h 435078"/>
                <a:gd name="connsiteX4" fmla="*/ 217539 w 435077"/>
                <a:gd name="connsiteY4" fmla="*/ 0 h 435078"/>
                <a:gd name="connsiteX5" fmla="*/ 0 w 435077"/>
                <a:gd name="connsiteY5" fmla="*/ 0 h 435078"/>
                <a:gd name="connsiteX6" fmla="*/ 217539 w 435077"/>
                <a:gd name="connsiteY6" fmla="*/ 217532 h 435078"/>
                <a:gd name="connsiteX7" fmla="*/ 217539 w 435077"/>
                <a:gd name="connsiteY7" fmla="*/ 0 h 435078"/>
                <a:gd name="connsiteX8" fmla="*/ 435077 w 435077"/>
                <a:gd name="connsiteY8" fmla="*/ 435079 h 435078"/>
                <a:gd name="connsiteX9" fmla="*/ 217539 w 435077"/>
                <a:gd name="connsiteY9" fmla="*/ 435079 h 435078"/>
                <a:gd name="connsiteX10" fmla="*/ 435077 w 435077"/>
                <a:gd name="connsiteY10" fmla="*/ 217546 h 435078"/>
                <a:gd name="connsiteX11" fmla="*/ 435077 w 435077"/>
                <a:gd name="connsiteY11" fmla="*/ 435079 h 435078"/>
                <a:gd name="connsiteX12" fmla="*/ 435077 w 435077"/>
                <a:gd name="connsiteY12" fmla="*/ 0 h 435078"/>
                <a:gd name="connsiteX13" fmla="*/ 217539 w 435077"/>
                <a:gd name="connsiteY13" fmla="*/ 0 h 435078"/>
                <a:gd name="connsiteX14" fmla="*/ 435077 w 435077"/>
                <a:gd name="connsiteY14" fmla="*/ 217532 h 435078"/>
                <a:gd name="connsiteX15" fmla="*/ 435077 w 435077"/>
                <a:gd name="connsiteY15"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8">
                  <a:moveTo>
                    <a:pt x="0" y="435079"/>
                  </a:moveTo>
                  <a:lnTo>
                    <a:pt x="217512" y="435079"/>
                  </a:lnTo>
                  <a:lnTo>
                    <a:pt x="217512" y="217546"/>
                  </a:lnTo>
                  <a:lnTo>
                    <a:pt x="0" y="435079"/>
                  </a:lnTo>
                  <a:close/>
                  <a:moveTo>
                    <a:pt x="217539" y="0"/>
                  </a:moveTo>
                  <a:lnTo>
                    <a:pt x="0" y="0"/>
                  </a:lnTo>
                  <a:lnTo>
                    <a:pt x="217539" y="217532"/>
                  </a:lnTo>
                  <a:lnTo>
                    <a:pt x="217539" y="0"/>
                  </a:lnTo>
                  <a:close/>
                  <a:moveTo>
                    <a:pt x="435077" y="435079"/>
                  </a:moveTo>
                  <a:lnTo>
                    <a:pt x="217539" y="435079"/>
                  </a:lnTo>
                  <a:lnTo>
                    <a:pt x="435077" y="217546"/>
                  </a:lnTo>
                  <a:lnTo>
                    <a:pt x="435077" y="435079"/>
                  </a:lnTo>
                  <a:close/>
                  <a:moveTo>
                    <a:pt x="435077" y="0"/>
                  </a:moveTo>
                  <a:lnTo>
                    <a:pt x="217539" y="0"/>
                  </a:lnTo>
                  <a:lnTo>
                    <a:pt x="435077" y="217532"/>
                  </a:lnTo>
                  <a:lnTo>
                    <a:pt x="435077" y="0"/>
                  </a:lnTo>
                  <a:close/>
                </a:path>
              </a:pathLst>
            </a:custGeom>
            <a:grpFill/>
            <a:ln w="27192" cap="flat">
              <a:noFill/>
              <a:prstDash val="solid"/>
              <a:miter/>
            </a:ln>
          </p:spPr>
          <p:txBody>
            <a:bodyPr rtlCol="0" anchor="ctr"/>
            <a:lstStyle/>
            <a:p>
              <a:endParaRPr lang="uk-UA" sz="900"/>
            </a:p>
          </p:txBody>
        </p:sp>
        <p:sp>
          <p:nvSpPr>
            <p:cNvPr id="475" name="Freeform: Shape 474">
              <a:extLst>
                <a:ext uri="{FF2B5EF4-FFF2-40B4-BE49-F238E27FC236}">
                  <a16:creationId xmlns:a16="http://schemas.microsoft.com/office/drawing/2014/main" id="{BEA97A72-B412-EACF-F6BD-6E7894C4DB0A}"/>
                </a:ext>
              </a:extLst>
            </p:cNvPr>
            <p:cNvSpPr/>
            <p:nvPr/>
          </p:nvSpPr>
          <p:spPr>
            <a:xfrm>
              <a:off x="4316416" y="228598"/>
              <a:ext cx="435103" cy="435073"/>
            </a:xfrm>
            <a:custGeom>
              <a:avLst/>
              <a:gdLst>
                <a:gd name="connsiteX0" fmla="*/ 371365 w 435103"/>
                <a:gd name="connsiteY0" fmla="*/ 63716 h 435073"/>
                <a:gd name="connsiteX1" fmla="*/ 435077 w 435103"/>
                <a:gd name="connsiteY1" fmla="*/ 217539 h 435073"/>
                <a:gd name="connsiteX2" fmla="*/ 218952 w 435103"/>
                <a:gd name="connsiteY2" fmla="*/ 217539 h 435073"/>
                <a:gd name="connsiteX3" fmla="*/ 371365 w 435103"/>
                <a:gd name="connsiteY3" fmla="*/ 281249 h 435073"/>
                <a:gd name="connsiteX4" fmla="*/ 435104 w 435103"/>
                <a:gd name="connsiteY4" fmla="*/ 435073 h 435073"/>
                <a:gd name="connsiteX5" fmla="*/ 217565 w 435103"/>
                <a:gd name="connsiteY5" fmla="*/ 435073 h 435073"/>
                <a:gd name="connsiteX6" fmla="*/ 27 w 435103"/>
                <a:gd name="connsiteY6" fmla="*/ 435073 h 435073"/>
                <a:gd name="connsiteX7" fmla="*/ 63739 w 435103"/>
                <a:gd name="connsiteY7" fmla="*/ 281249 h 435073"/>
                <a:gd name="connsiteX8" fmla="*/ 216151 w 435103"/>
                <a:gd name="connsiteY8" fmla="*/ 217539 h 435073"/>
                <a:gd name="connsiteX9" fmla="*/ 0 w 435103"/>
                <a:gd name="connsiteY9" fmla="*/ 217539 h 435073"/>
                <a:gd name="connsiteX10" fmla="*/ 63739 w 435103"/>
                <a:gd name="connsiteY10" fmla="*/ 63716 h 435073"/>
                <a:gd name="connsiteX11" fmla="*/ 217539 w 435103"/>
                <a:gd name="connsiteY11" fmla="*/ 0 h 435073"/>
                <a:gd name="connsiteX12" fmla="*/ 371365 w 435103"/>
                <a:gd name="connsiteY12" fmla="*/ 63716 h 43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3" h="435073">
                  <a:moveTo>
                    <a:pt x="371365" y="63716"/>
                  </a:moveTo>
                  <a:cubicBezTo>
                    <a:pt x="412181" y="104512"/>
                    <a:pt x="435077" y="159844"/>
                    <a:pt x="435077" y="217539"/>
                  </a:cubicBezTo>
                  <a:lnTo>
                    <a:pt x="218952" y="217539"/>
                  </a:lnTo>
                  <a:cubicBezTo>
                    <a:pt x="276138" y="217907"/>
                    <a:pt x="330903" y="240784"/>
                    <a:pt x="371365" y="281249"/>
                  </a:cubicBezTo>
                  <a:cubicBezTo>
                    <a:pt x="412181" y="322046"/>
                    <a:pt x="435104" y="377379"/>
                    <a:pt x="435104" y="435073"/>
                  </a:cubicBezTo>
                  <a:lnTo>
                    <a:pt x="217565" y="435073"/>
                  </a:lnTo>
                  <a:lnTo>
                    <a:pt x="27" y="435073"/>
                  </a:lnTo>
                  <a:cubicBezTo>
                    <a:pt x="27" y="377379"/>
                    <a:pt x="22923" y="322046"/>
                    <a:pt x="63739" y="281249"/>
                  </a:cubicBezTo>
                  <a:cubicBezTo>
                    <a:pt x="104201" y="240784"/>
                    <a:pt x="158966" y="217907"/>
                    <a:pt x="216151" y="217539"/>
                  </a:cubicBezTo>
                  <a:lnTo>
                    <a:pt x="0" y="217539"/>
                  </a:lnTo>
                  <a:cubicBezTo>
                    <a:pt x="0" y="159844"/>
                    <a:pt x="22923" y="104512"/>
                    <a:pt x="63739" y="63716"/>
                  </a:cubicBezTo>
                  <a:cubicBezTo>
                    <a:pt x="104527" y="22919"/>
                    <a:pt x="159864" y="0"/>
                    <a:pt x="217539" y="0"/>
                  </a:cubicBezTo>
                  <a:cubicBezTo>
                    <a:pt x="275240" y="0"/>
                    <a:pt x="330577" y="22919"/>
                    <a:pt x="371365" y="63716"/>
                  </a:cubicBezTo>
                  <a:close/>
                </a:path>
              </a:pathLst>
            </a:custGeom>
            <a:grpFill/>
            <a:ln w="27192" cap="flat">
              <a:noFill/>
              <a:prstDash val="solid"/>
              <a:miter/>
            </a:ln>
          </p:spPr>
          <p:txBody>
            <a:bodyPr rtlCol="0" anchor="ctr"/>
            <a:lstStyle/>
            <a:p>
              <a:endParaRPr lang="uk-UA" sz="900"/>
            </a:p>
          </p:txBody>
        </p:sp>
        <p:sp>
          <p:nvSpPr>
            <p:cNvPr id="476" name="Freeform: Shape 475">
              <a:extLst>
                <a:ext uri="{FF2B5EF4-FFF2-40B4-BE49-F238E27FC236}">
                  <a16:creationId xmlns:a16="http://schemas.microsoft.com/office/drawing/2014/main" id="{CCEC01ED-BAD1-D0AA-E9D4-407E01E5FA3E}"/>
                </a:ext>
              </a:extLst>
            </p:cNvPr>
            <p:cNvSpPr/>
            <p:nvPr/>
          </p:nvSpPr>
          <p:spPr>
            <a:xfrm>
              <a:off x="3446261" y="228598"/>
              <a:ext cx="435077" cy="435078"/>
            </a:xfrm>
            <a:custGeom>
              <a:avLst/>
              <a:gdLst>
                <a:gd name="connsiteX0" fmla="*/ 217566 w 435077"/>
                <a:gd name="connsiteY0" fmla="*/ 0 h 435078"/>
                <a:gd name="connsiteX1" fmla="*/ 217539 w 435077"/>
                <a:gd name="connsiteY1" fmla="*/ 0 h 435078"/>
                <a:gd name="connsiteX2" fmla="*/ 27 w 435077"/>
                <a:gd name="connsiteY2" fmla="*/ 0 h 435078"/>
                <a:gd name="connsiteX3" fmla="*/ 27 w 435077"/>
                <a:gd name="connsiteY3" fmla="*/ 217539 h 435078"/>
                <a:gd name="connsiteX4" fmla="*/ 217539 w 435077"/>
                <a:gd name="connsiteY4" fmla="*/ 7 h 435078"/>
                <a:gd name="connsiteX5" fmla="*/ 435077 w 435077"/>
                <a:gd name="connsiteY5" fmla="*/ 217539 h 435078"/>
                <a:gd name="connsiteX6" fmla="*/ 217539 w 435077"/>
                <a:gd name="connsiteY6" fmla="*/ 435079 h 435078"/>
                <a:gd name="connsiteX7" fmla="*/ 0 w 435077"/>
                <a:gd name="connsiteY7" fmla="*/ 217539 h 435078"/>
                <a:gd name="connsiteX8" fmla="*/ 0 w 435077"/>
                <a:gd name="connsiteY8" fmla="*/ 435079 h 435078"/>
                <a:gd name="connsiteX9" fmla="*/ 217539 w 435077"/>
                <a:gd name="connsiteY9" fmla="*/ 435079 h 435078"/>
                <a:gd name="connsiteX10" fmla="*/ 435077 w 435077"/>
                <a:gd name="connsiteY10" fmla="*/ 435079 h 435078"/>
                <a:gd name="connsiteX11" fmla="*/ 435077 w 435077"/>
                <a:gd name="connsiteY11" fmla="*/ 217539 h 435078"/>
                <a:gd name="connsiteX12" fmla="*/ 435077 w 435077"/>
                <a:gd name="connsiteY12" fmla="*/ 0 h 435078"/>
                <a:gd name="connsiteX13" fmla="*/ 217566 w 435077"/>
                <a:gd name="connsiteY13"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8">
                  <a:moveTo>
                    <a:pt x="217566" y="0"/>
                  </a:moveTo>
                  <a:lnTo>
                    <a:pt x="217539" y="0"/>
                  </a:lnTo>
                  <a:lnTo>
                    <a:pt x="27" y="0"/>
                  </a:lnTo>
                  <a:lnTo>
                    <a:pt x="27" y="217539"/>
                  </a:lnTo>
                  <a:lnTo>
                    <a:pt x="217539" y="7"/>
                  </a:lnTo>
                  <a:lnTo>
                    <a:pt x="435077" y="217539"/>
                  </a:lnTo>
                  <a:lnTo>
                    <a:pt x="217539" y="435079"/>
                  </a:lnTo>
                  <a:lnTo>
                    <a:pt x="0" y="217539"/>
                  </a:lnTo>
                  <a:lnTo>
                    <a:pt x="0" y="435079"/>
                  </a:lnTo>
                  <a:lnTo>
                    <a:pt x="217539" y="435079"/>
                  </a:lnTo>
                  <a:lnTo>
                    <a:pt x="435077" y="435079"/>
                  </a:lnTo>
                  <a:lnTo>
                    <a:pt x="435077" y="217539"/>
                  </a:lnTo>
                  <a:lnTo>
                    <a:pt x="435077" y="0"/>
                  </a:lnTo>
                  <a:lnTo>
                    <a:pt x="217566" y="0"/>
                  </a:lnTo>
                  <a:close/>
                </a:path>
              </a:pathLst>
            </a:custGeom>
            <a:grpFill/>
            <a:ln w="27192" cap="flat">
              <a:noFill/>
              <a:prstDash val="solid"/>
              <a:miter/>
            </a:ln>
          </p:spPr>
          <p:txBody>
            <a:bodyPr rtlCol="0" anchor="ctr"/>
            <a:lstStyle/>
            <a:p>
              <a:endParaRPr lang="uk-UA" sz="900"/>
            </a:p>
          </p:txBody>
        </p:sp>
        <p:sp>
          <p:nvSpPr>
            <p:cNvPr id="477" name="Freeform: Shape 476">
              <a:extLst>
                <a:ext uri="{FF2B5EF4-FFF2-40B4-BE49-F238E27FC236}">
                  <a16:creationId xmlns:a16="http://schemas.microsoft.com/office/drawing/2014/main" id="{32EB5285-DD7E-F606-9D36-C95E194FD2BF}"/>
                </a:ext>
              </a:extLst>
            </p:cNvPr>
            <p:cNvSpPr/>
            <p:nvPr/>
          </p:nvSpPr>
          <p:spPr>
            <a:xfrm>
              <a:off x="5186597" y="228598"/>
              <a:ext cx="435077" cy="435075"/>
            </a:xfrm>
            <a:custGeom>
              <a:avLst/>
              <a:gdLst>
                <a:gd name="connsiteX0" fmla="*/ 217539 w 435077"/>
                <a:gd name="connsiteY0" fmla="*/ 217540 h 435075"/>
                <a:gd name="connsiteX1" fmla="*/ 217539 w 435077"/>
                <a:gd name="connsiteY1" fmla="*/ 217537 h 435075"/>
                <a:gd name="connsiteX2" fmla="*/ 0 w 435077"/>
                <a:gd name="connsiteY2" fmla="*/ 0 h 435075"/>
                <a:gd name="connsiteX3" fmla="*/ 217539 w 435077"/>
                <a:gd name="connsiteY3" fmla="*/ 0 h 435075"/>
                <a:gd name="connsiteX4" fmla="*/ 217539 w 435077"/>
                <a:gd name="connsiteY4" fmla="*/ 5 h 435075"/>
                <a:gd name="connsiteX5" fmla="*/ 435077 w 435077"/>
                <a:gd name="connsiteY5" fmla="*/ 217533 h 435075"/>
                <a:gd name="connsiteX6" fmla="*/ 435077 w 435077"/>
                <a:gd name="connsiteY6" fmla="*/ 217533 h 435075"/>
                <a:gd name="connsiteX7" fmla="*/ 435077 w 435077"/>
                <a:gd name="connsiteY7" fmla="*/ 217538 h 435075"/>
                <a:gd name="connsiteX8" fmla="*/ 435077 w 435077"/>
                <a:gd name="connsiteY8" fmla="*/ 217542 h 435075"/>
                <a:gd name="connsiteX9" fmla="*/ 435077 w 435077"/>
                <a:gd name="connsiteY9" fmla="*/ 217542 h 435075"/>
                <a:gd name="connsiteX10" fmla="*/ 217539 w 435077"/>
                <a:gd name="connsiteY10" fmla="*/ 435071 h 435075"/>
                <a:gd name="connsiteX11" fmla="*/ 217539 w 435077"/>
                <a:gd name="connsiteY11" fmla="*/ 435076 h 435075"/>
                <a:gd name="connsiteX12" fmla="*/ 0 w 435077"/>
                <a:gd name="connsiteY12" fmla="*/ 435076 h 435075"/>
                <a:gd name="connsiteX13" fmla="*/ 217539 w 435077"/>
                <a:gd name="connsiteY13" fmla="*/ 217540 h 43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5">
                  <a:moveTo>
                    <a:pt x="217539" y="217540"/>
                  </a:moveTo>
                  <a:lnTo>
                    <a:pt x="217539" y="217537"/>
                  </a:lnTo>
                  <a:lnTo>
                    <a:pt x="0" y="0"/>
                  </a:lnTo>
                  <a:lnTo>
                    <a:pt x="217539" y="0"/>
                  </a:lnTo>
                  <a:lnTo>
                    <a:pt x="217539" y="5"/>
                  </a:lnTo>
                  <a:lnTo>
                    <a:pt x="435077" y="217533"/>
                  </a:lnTo>
                  <a:lnTo>
                    <a:pt x="435077" y="217533"/>
                  </a:lnTo>
                  <a:lnTo>
                    <a:pt x="435077" y="217538"/>
                  </a:lnTo>
                  <a:lnTo>
                    <a:pt x="435077" y="217542"/>
                  </a:lnTo>
                  <a:lnTo>
                    <a:pt x="435077" y="217542"/>
                  </a:lnTo>
                  <a:lnTo>
                    <a:pt x="217539" y="435071"/>
                  </a:lnTo>
                  <a:lnTo>
                    <a:pt x="217539" y="435076"/>
                  </a:lnTo>
                  <a:lnTo>
                    <a:pt x="0" y="435076"/>
                  </a:lnTo>
                  <a:lnTo>
                    <a:pt x="217539" y="217540"/>
                  </a:lnTo>
                  <a:close/>
                </a:path>
              </a:pathLst>
            </a:custGeom>
            <a:grpFill/>
            <a:ln w="27192" cap="flat">
              <a:noFill/>
              <a:prstDash val="solid"/>
              <a:miter/>
            </a:ln>
          </p:spPr>
          <p:txBody>
            <a:bodyPr rtlCol="0" anchor="ctr"/>
            <a:lstStyle/>
            <a:p>
              <a:endParaRPr lang="uk-UA" sz="900"/>
            </a:p>
          </p:txBody>
        </p:sp>
        <p:sp>
          <p:nvSpPr>
            <p:cNvPr id="478" name="Freeform: Shape 477">
              <a:extLst>
                <a:ext uri="{FF2B5EF4-FFF2-40B4-BE49-F238E27FC236}">
                  <a16:creationId xmlns:a16="http://schemas.microsoft.com/office/drawing/2014/main" id="{7E283894-741C-582A-7ED8-FE80F0717969}"/>
                </a:ext>
              </a:extLst>
            </p:cNvPr>
            <p:cNvSpPr/>
            <p:nvPr/>
          </p:nvSpPr>
          <p:spPr>
            <a:xfrm>
              <a:off x="6056752" y="228598"/>
              <a:ext cx="435077" cy="435078"/>
            </a:xfrm>
            <a:custGeom>
              <a:avLst/>
              <a:gdLst>
                <a:gd name="connsiteX0" fmla="*/ 0 w 435077"/>
                <a:gd name="connsiteY0" fmla="*/ 435079 h 435078"/>
                <a:gd name="connsiteX1" fmla="*/ 217539 w 435077"/>
                <a:gd name="connsiteY1" fmla="*/ 435079 h 435078"/>
                <a:gd name="connsiteX2" fmla="*/ 217539 w 435077"/>
                <a:gd name="connsiteY2" fmla="*/ 217546 h 435078"/>
                <a:gd name="connsiteX3" fmla="*/ 0 w 435077"/>
                <a:gd name="connsiteY3" fmla="*/ 435079 h 435078"/>
                <a:gd name="connsiteX4" fmla="*/ 217539 w 435077"/>
                <a:gd name="connsiteY4" fmla="*/ 0 h 435078"/>
                <a:gd name="connsiteX5" fmla="*/ 0 w 435077"/>
                <a:gd name="connsiteY5" fmla="*/ 0 h 435078"/>
                <a:gd name="connsiteX6" fmla="*/ 217539 w 435077"/>
                <a:gd name="connsiteY6" fmla="*/ 217532 h 435078"/>
                <a:gd name="connsiteX7" fmla="*/ 217539 w 435077"/>
                <a:gd name="connsiteY7" fmla="*/ 0 h 435078"/>
                <a:gd name="connsiteX8" fmla="*/ 435077 w 435077"/>
                <a:gd name="connsiteY8" fmla="*/ 435079 h 435078"/>
                <a:gd name="connsiteX9" fmla="*/ 217539 w 435077"/>
                <a:gd name="connsiteY9" fmla="*/ 435079 h 435078"/>
                <a:gd name="connsiteX10" fmla="*/ 435077 w 435077"/>
                <a:gd name="connsiteY10" fmla="*/ 217546 h 435078"/>
                <a:gd name="connsiteX11" fmla="*/ 435077 w 435077"/>
                <a:gd name="connsiteY11" fmla="*/ 435079 h 435078"/>
                <a:gd name="connsiteX12" fmla="*/ 435077 w 435077"/>
                <a:gd name="connsiteY12" fmla="*/ 0 h 435078"/>
                <a:gd name="connsiteX13" fmla="*/ 217539 w 435077"/>
                <a:gd name="connsiteY13" fmla="*/ 0 h 435078"/>
                <a:gd name="connsiteX14" fmla="*/ 435077 w 435077"/>
                <a:gd name="connsiteY14" fmla="*/ 217532 h 435078"/>
                <a:gd name="connsiteX15" fmla="*/ 435077 w 435077"/>
                <a:gd name="connsiteY15"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8">
                  <a:moveTo>
                    <a:pt x="0" y="435079"/>
                  </a:moveTo>
                  <a:lnTo>
                    <a:pt x="217539" y="435079"/>
                  </a:lnTo>
                  <a:lnTo>
                    <a:pt x="217539" y="217546"/>
                  </a:lnTo>
                  <a:lnTo>
                    <a:pt x="0" y="435079"/>
                  </a:lnTo>
                  <a:close/>
                  <a:moveTo>
                    <a:pt x="217539" y="0"/>
                  </a:moveTo>
                  <a:lnTo>
                    <a:pt x="0" y="0"/>
                  </a:lnTo>
                  <a:lnTo>
                    <a:pt x="217539" y="217532"/>
                  </a:lnTo>
                  <a:lnTo>
                    <a:pt x="217539" y="0"/>
                  </a:lnTo>
                  <a:close/>
                  <a:moveTo>
                    <a:pt x="435077" y="435079"/>
                  </a:moveTo>
                  <a:lnTo>
                    <a:pt x="217539" y="435079"/>
                  </a:lnTo>
                  <a:lnTo>
                    <a:pt x="435077" y="217546"/>
                  </a:lnTo>
                  <a:lnTo>
                    <a:pt x="435077" y="435079"/>
                  </a:lnTo>
                  <a:close/>
                  <a:moveTo>
                    <a:pt x="435077" y="0"/>
                  </a:moveTo>
                  <a:lnTo>
                    <a:pt x="217539" y="0"/>
                  </a:lnTo>
                  <a:lnTo>
                    <a:pt x="435077" y="217532"/>
                  </a:lnTo>
                  <a:lnTo>
                    <a:pt x="435077" y="0"/>
                  </a:lnTo>
                  <a:close/>
                </a:path>
              </a:pathLst>
            </a:custGeom>
            <a:grpFill/>
            <a:ln w="27192" cap="flat">
              <a:noFill/>
              <a:prstDash val="solid"/>
              <a:miter/>
            </a:ln>
          </p:spPr>
          <p:txBody>
            <a:bodyPr rtlCol="0" anchor="ctr"/>
            <a:lstStyle/>
            <a:p>
              <a:endParaRPr lang="uk-UA" sz="900"/>
            </a:p>
          </p:txBody>
        </p:sp>
        <p:sp>
          <p:nvSpPr>
            <p:cNvPr id="479" name="Freeform: Shape 478">
              <a:extLst>
                <a:ext uri="{FF2B5EF4-FFF2-40B4-BE49-F238E27FC236}">
                  <a16:creationId xmlns:a16="http://schemas.microsoft.com/office/drawing/2014/main" id="{716A901D-C546-01BB-B00F-861D5688CF61}"/>
                </a:ext>
              </a:extLst>
            </p:cNvPr>
            <p:cNvSpPr/>
            <p:nvPr/>
          </p:nvSpPr>
          <p:spPr>
            <a:xfrm>
              <a:off x="7797062" y="228598"/>
              <a:ext cx="435104" cy="435073"/>
            </a:xfrm>
            <a:custGeom>
              <a:avLst/>
              <a:gdLst>
                <a:gd name="connsiteX0" fmla="*/ 371366 w 435104"/>
                <a:gd name="connsiteY0" fmla="*/ 63716 h 435073"/>
                <a:gd name="connsiteX1" fmla="*/ 435077 w 435104"/>
                <a:gd name="connsiteY1" fmla="*/ 217539 h 435073"/>
                <a:gd name="connsiteX2" fmla="*/ 218953 w 435104"/>
                <a:gd name="connsiteY2" fmla="*/ 217539 h 435073"/>
                <a:gd name="connsiteX3" fmla="*/ 371366 w 435104"/>
                <a:gd name="connsiteY3" fmla="*/ 281249 h 435073"/>
                <a:gd name="connsiteX4" fmla="*/ 435105 w 435104"/>
                <a:gd name="connsiteY4" fmla="*/ 435073 h 435073"/>
                <a:gd name="connsiteX5" fmla="*/ 217566 w 435104"/>
                <a:gd name="connsiteY5" fmla="*/ 435073 h 435073"/>
                <a:gd name="connsiteX6" fmla="*/ 27 w 435104"/>
                <a:gd name="connsiteY6" fmla="*/ 435073 h 435073"/>
                <a:gd name="connsiteX7" fmla="*/ 63739 w 435104"/>
                <a:gd name="connsiteY7" fmla="*/ 281249 h 435073"/>
                <a:gd name="connsiteX8" fmla="*/ 216152 w 435104"/>
                <a:gd name="connsiteY8" fmla="*/ 217539 h 435073"/>
                <a:gd name="connsiteX9" fmla="*/ 0 w 435104"/>
                <a:gd name="connsiteY9" fmla="*/ 217539 h 435073"/>
                <a:gd name="connsiteX10" fmla="*/ 63739 w 435104"/>
                <a:gd name="connsiteY10" fmla="*/ 63716 h 435073"/>
                <a:gd name="connsiteX11" fmla="*/ 217539 w 435104"/>
                <a:gd name="connsiteY11" fmla="*/ 0 h 435073"/>
                <a:gd name="connsiteX12" fmla="*/ 371366 w 435104"/>
                <a:gd name="connsiteY12" fmla="*/ 63716 h 43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4" h="435073">
                  <a:moveTo>
                    <a:pt x="371366" y="63716"/>
                  </a:moveTo>
                  <a:cubicBezTo>
                    <a:pt x="412182" y="104512"/>
                    <a:pt x="435077" y="159844"/>
                    <a:pt x="435077" y="217539"/>
                  </a:cubicBezTo>
                  <a:lnTo>
                    <a:pt x="218953" y="217539"/>
                  </a:lnTo>
                  <a:cubicBezTo>
                    <a:pt x="276138" y="217907"/>
                    <a:pt x="330904" y="240784"/>
                    <a:pt x="371366" y="281249"/>
                  </a:cubicBezTo>
                  <a:cubicBezTo>
                    <a:pt x="412182" y="322046"/>
                    <a:pt x="435105" y="377379"/>
                    <a:pt x="435105" y="435073"/>
                  </a:cubicBezTo>
                  <a:lnTo>
                    <a:pt x="217566" y="435073"/>
                  </a:lnTo>
                  <a:lnTo>
                    <a:pt x="27" y="435073"/>
                  </a:lnTo>
                  <a:cubicBezTo>
                    <a:pt x="27" y="377379"/>
                    <a:pt x="22924" y="322046"/>
                    <a:pt x="63739" y="281249"/>
                  </a:cubicBezTo>
                  <a:cubicBezTo>
                    <a:pt x="104201" y="240784"/>
                    <a:pt x="158967" y="217907"/>
                    <a:pt x="216152" y="217539"/>
                  </a:cubicBezTo>
                  <a:lnTo>
                    <a:pt x="0" y="217539"/>
                  </a:lnTo>
                  <a:cubicBezTo>
                    <a:pt x="0" y="159844"/>
                    <a:pt x="22924" y="104512"/>
                    <a:pt x="63739" y="63716"/>
                  </a:cubicBezTo>
                  <a:cubicBezTo>
                    <a:pt x="104527" y="22919"/>
                    <a:pt x="159864" y="0"/>
                    <a:pt x="217539" y="0"/>
                  </a:cubicBezTo>
                  <a:cubicBezTo>
                    <a:pt x="275241" y="0"/>
                    <a:pt x="330578" y="22919"/>
                    <a:pt x="371366" y="63716"/>
                  </a:cubicBezTo>
                  <a:close/>
                </a:path>
              </a:pathLst>
            </a:custGeom>
            <a:grpFill/>
            <a:ln w="27192" cap="flat">
              <a:noFill/>
              <a:prstDash val="solid"/>
              <a:miter/>
            </a:ln>
          </p:spPr>
          <p:txBody>
            <a:bodyPr rtlCol="0" anchor="ctr"/>
            <a:lstStyle/>
            <a:p>
              <a:endParaRPr lang="uk-UA" sz="900"/>
            </a:p>
          </p:txBody>
        </p:sp>
        <p:sp>
          <p:nvSpPr>
            <p:cNvPr id="480" name="Freeform: Shape 479">
              <a:extLst>
                <a:ext uri="{FF2B5EF4-FFF2-40B4-BE49-F238E27FC236}">
                  <a16:creationId xmlns:a16="http://schemas.microsoft.com/office/drawing/2014/main" id="{A063ACEC-45A9-3CE4-8737-DCD8E4F3B2F0}"/>
                </a:ext>
              </a:extLst>
            </p:cNvPr>
            <p:cNvSpPr/>
            <p:nvPr/>
          </p:nvSpPr>
          <p:spPr>
            <a:xfrm>
              <a:off x="6926907" y="228598"/>
              <a:ext cx="435077" cy="435078"/>
            </a:xfrm>
            <a:custGeom>
              <a:avLst/>
              <a:gdLst>
                <a:gd name="connsiteX0" fmla="*/ 217539 w 435077"/>
                <a:gd name="connsiteY0" fmla="*/ 0 h 435078"/>
                <a:gd name="connsiteX1" fmla="*/ 0 w 435077"/>
                <a:gd name="connsiteY1" fmla="*/ 0 h 435078"/>
                <a:gd name="connsiteX2" fmla="*/ 0 w 435077"/>
                <a:gd name="connsiteY2" fmla="*/ 217539 h 435078"/>
                <a:gd name="connsiteX3" fmla="*/ 0 w 435077"/>
                <a:gd name="connsiteY3" fmla="*/ 435079 h 435078"/>
                <a:gd name="connsiteX4" fmla="*/ 217539 w 435077"/>
                <a:gd name="connsiteY4" fmla="*/ 435079 h 435078"/>
                <a:gd name="connsiteX5" fmla="*/ 435077 w 435077"/>
                <a:gd name="connsiteY5" fmla="*/ 435079 h 435078"/>
                <a:gd name="connsiteX6" fmla="*/ 435077 w 435077"/>
                <a:gd name="connsiteY6" fmla="*/ 217539 h 435078"/>
                <a:gd name="connsiteX7" fmla="*/ 435077 w 435077"/>
                <a:gd name="connsiteY7" fmla="*/ 0 h 435078"/>
                <a:gd name="connsiteX8" fmla="*/ 217539 w 435077"/>
                <a:gd name="connsiteY8" fmla="*/ 0 h 435078"/>
                <a:gd name="connsiteX9" fmla="*/ 217539 w 435077"/>
                <a:gd name="connsiteY9" fmla="*/ 0 h 435078"/>
                <a:gd name="connsiteX10" fmla="*/ 435077 w 435077"/>
                <a:gd name="connsiteY10" fmla="*/ 217539 h 435078"/>
                <a:gd name="connsiteX11" fmla="*/ 217539 w 435077"/>
                <a:gd name="connsiteY11" fmla="*/ 435079 h 435078"/>
                <a:gd name="connsiteX12" fmla="*/ 0 w 435077"/>
                <a:gd name="connsiteY12" fmla="*/ 217539 h 435078"/>
                <a:gd name="connsiteX13" fmla="*/ 217539 w 435077"/>
                <a:gd name="connsiteY13"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8">
                  <a:moveTo>
                    <a:pt x="217539" y="0"/>
                  </a:moveTo>
                  <a:lnTo>
                    <a:pt x="0" y="0"/>
                  </a:lnTo>
                  <a:lnTo>
                    <a:pt x="0" y="217539"/>
                  </a:lnTo>
                  <a:lnTo>
                    <a:pt x="0" y="435079"/>
                  </a:lnTo>
                  <a:lnTo>
                    <a:pt x="217539" y="435079"/>
                  </a:lnTo>
                  <a:lnTo>
                    <a:pt x="435077" y="435079"/>
                  </a:lnTo>
                  <a:lnTo>
                    <a:pt x="435077" y="217539"/>
                  </a:lnTo>
                  <a:lnTo>
                    <a:pt x="435077" y="0"/>
                  </a:lnTo>
                  <a:lnTo>
                    <a:pt x="217539" y="0"/>
                  </a:lnTo>
                  <a:close/>
                  <a:moveTo>
                    <a:pt x="217539" y="0"/>
                  </a:moveTo>
                  <a:lnTo>
                    <a:pt x="435077" y="217539"/>
                  </a:lnTo>
                  <a:lnTo>
                    <a:pt x="217539" y="435079"/>
                  </a:lnTo>
                  <a:lnTo>
                    <a:pt x="0" y="217539"/>
                  </a:lnTo>
                  <a:lnTo>
                    <a:pt x="217539" y="0"/>
                  </a:lnTo>
                  <a:close/>
                </a:path>
              </a:pathLst>
            </a:custGeom>
            <a:grpFill/>
            <a:ln w="27192" cap="flat">
              <a:noFill/>
              <a:prstDash val="solid"/>
              <a:miter/>
            </a:ln>
          </p:spPr>
          <p:txBody>
            <a:bodyPr rtlCol="0" anchor="ctr"/>
            <a:lstStyle/>
            <a:p>
              <a:endParaRPr lang="uk-UA" sz="900"/>
            </a:p>
          </p:txBody>
        </p:sp>
        <p:sp>
          <p:nvSpPr>
            <p:cNvPr id="481" name="Freeform: Shape 480">
              <a:extLst>
                <a:ext uri="{FF2B5EF4-FFF2-40B4-BE49-F238E27FC236}">
                  <a16:creationId xmlns:a16="http://schemas.microsoft.com/office/drawing/2014/main" id="{2B6AB022-5D0E-977D-75F9-62740A31384C}"/>
                </a:ext>
              </a:extLst>
            </p:cNvPr>
            <p:cNvSpPr/>
            <p:nvPr/>
          </p:nvSpPr>
          <p:spPr>
            <a:xfrm>
              <a:off x="8667217" y="228598"/>
              <a:ext cx="435077" cy="435075"/>
            </a:xfrm>
            <a:custGeom>
              <a:avLst/>
              <a:gdLst>
                <a:gd name="connsiteX0" fmla="*/ 217539 w 435077"/>
                <a:gd name="connsiteY0" fmla="*/ 217540 h 435075"/>
                <a:gd name="connsiteX1" fmla="*/ 217539 w 435077"/>
                <a:gd name="connsiteY1" fmla="*/ 217537 h 435075"/>
                <a:gd name="connsiteX2" fmla="*/ 0 w 435077"/>
                <a:gd name="connsiteY2" fmla="*/ 0 h 435075"/>
                <a:gd name="connsiteX3" fmla="*/ 217539 w 435077"/>
                <a:gd name="connsiteY3" fmla="*/ 0 h 435075"/>
                <a:gd name="connsiteX4" fmla="*/ 217539 w 435077"/>
                <a:gd name="connsiteY4" fmla="*/ 5 h 435075"/>
                <a:gd name="connsiteX5" fmla="*/ 435077 w 435077"/>
                <a:gd name="connsiteY5" fmla="*/ 217533 h 435075"/>
                <a:gd name="connsiteX6" fmla="*/ 435077 w 435077"/>
                <a:gd name="connsiteY6" fmla="*/ 217533 h 435075"/>
                <a:gd name="connsiteX7" fmla="*/ 435077 w 435077"/>
                <a:gd name="connsiteY7" fmla="*/ 217538 h 435075"/>
                <a:gd name="connsiteX8" fmla="*/ 435077 w 435077"/>
                <a:gd name="connsiteY8" fmla="*/ 217542 h 435075"/>
                <a:gd name="connsiteX9" fmla="*/ 435077 w 435077"/>
                <a:gd name="connsiteY9" fmla="*/ 217542 h 435075"/>
                <a:gd name="connsiteX10" fmla="*/ 217539 w 435077"/>
                <a:gd name="connsiteY10" fmla="*/ 435071 h 435075"/>
                <a:gd name="connsiteX11" fmla="*/ 217539 w 435077"/>
                <a:gd name="connsiteY11" fmla="*/ 435076 h 435075"/>
                <a:gd name="connsiteX12" fmla="*/ 0 w 435077"/>
                <a:gd name="connsiteY12" fmla="*/ 435076 h 435075"/>
                <a:gd name="connsiteX13" fmla="*/ 217539 w 435077"/>
                <a:gd name="connsiteY13" fmla="*/ 217540 h 43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5">
                  <a:moveTo>
                    <a:pt x="217539" y="217540"/>
                  </a:moveTo>
                  <a:lnTo>
                    <a:pt x="217539" y="217537"/>
                  </a:lnTo>
                  <a:lnTo>
                    <a:pt x="0" y="0"/>
                  </a:lnTo>
                  <a:lnTo>
                    <a:pt x="217539" y="0"/>
                  </a:lnTo>
                  <a:lnTo>
                    <a:pt x="217539" y="5"/>
                  </a:lnTo>
                  <a:lnTo>
                    <a:pt x="435077" y="217533"/>
                  </a:lnTo>
                  <a:lnTo>
                    <a:pt x="435077" y="217533"/>
                  </a:lnTo>
                  <a:lnTo>
                    <a:pt x="435077" y="217538"/>
                  </a:lnTo>
                  <a:lnTo>
                    <a:pt x="435077" y="217542"/>
                  </a:lnTo>
                  <a:lnTo>
                    <a:pt x="435077" y="217542"/>
                  </a:lnTo>
                  <a:lnTo>
                    <a:pt x="217539" y="435071"/>
                  </a:lnTo>
                  <a:lnTo>
                    <a:pt x="217539" y="435076"/>
                  </a:lnTo>
                  <a:lnTo>
                    <a:pt x="0" y="435076"/>
                  </a:lnTo>
                  <a:lnTo>
                    <a:pt x="217539" y="217540"/>
                  </a:lnTo>
                  <a:close/>
                </a:path>
              </a:pathLst>
            </a:custGeom>
            <a:grpFill/>
            <a:ln w="27192" cap="flat">
              <a:noFill/>
              <a:prstDash val="solid"/>
              <a:miter/>
            </a:ln>
          </p:spPr>
          <p:txBody>
            <a:bodyPr rtlCol="0" anchor="ctr"/>
            <a:lstStyle/>
            <a:p>
              <a:endParaRPr lang="uk-UA" sz="900"/>
            </a:p>
          </p:txBody>
        </p:sp>
        <p:sp>
          <p:nvSpPr>
            <p:cNvPr id="482" name="Freeform: Shape 481">
              <a:extLst>
                <a:ext uri="{FF2B5EF4-FFF2-40B4-BE49-F238E27FC236}">
                  <a16:creationId xmlns:a16="http://schemas.microsoft.com/office/drawing/2014/main" id="{1672EB08-C639-7513-3FC3-388D42642FF8}"/>
                </a:ext>
              </a:extLst>
            </p:cNvPr>
            <p:cNvSpPr/>
            <p:nvPr/>
          </p:nvSpPr>
          <p:spPr>
            <a:xfrm>
              <a:off x="9537399" y="228598"/>
              <a:ext cx="435077" cy="435078"/>
            </a:xfrm>
            <a:custGeom>
              <a:avLst/>
              <a:gdLst>
                <a:gd name="connsiteX0" fmla="*/ 0 w 435077"/>
                <a:gd name="connsiteY0" fmla="*/ 435079 h 435078"/>
                <a:gd name="connsiteX1" fmla="*/ 217511 w 435077"/>
                <a:gd name="connsiteY1" fmla="*/ 435079 h 435078"/>
                <a:gd name="connsiteX2" fmla="*/ 217511 w 435077"/>
                <a:gd name="connsiteY2" fmla="*/ 217546 h 435078"/>
                <a:gd name="connsiteX3" fmla="*/ 0 w 435077"/>
                <a:gd name="connsiteY3" fmla="*/ 435079 h 435078"/>
                <a:gd name="connsiteX4" fmla="*/ 217511 w 435077"/>
                <a:gd name="connsiteY4" fmla="*/ 0 h 435078"/>
                <a:gd name="connsiteX5" fmla="*/ 0 w 435077"/>
                <a:gd name="connsiteY5" fmla="*/ 0 h 435078"/>
                <a:gd name="connsiteX6" fmla="*/ 217511 w 435077"/>
                <a:gd name="connsiteY6" fmla="*/ 217532 h 435078"/>
                <a:gd name="connsiteX7" fmla="*/ 217511 w 435077"/>
                <a:gd name="connsiteY7" fmla="*/ 0 h 435078"/>
                <a:gd name="connsiteX8" fmla="*/ 435077 w 435077"/>
                <a:gd name="connsiteY8" fmla="*/ 435079 h 435078"/>
                <a:gd name="connsiteX9" fmla="*/ 217539 w 435077"/>
                <a:gd name="connsiteY9" fmla="*/ 435079 h 435078"/>
                <a:gd name="connsiteX10" fmla="*/ 435077 w 435077"/>
                <a:gd name="connsiteY10" fmla="*/ 217546 h 435078"/>
                <a:gd name="connsiteX11" fmla="*/ 435077 w 435077"/>
                <a:gd name="connsiteY11" fmla="*/ 435079 h 435078"/>
                <a:gd name="connsiteX12" fmla="*/ 435077 w 435077"/>
                <a:gd name="connsiteY12" fmla="*/ 0 h 435078"/>
                <a:gd name="connsiteX13" fmla="*/ 217539 w 435077"/>
                <a:gd name="connsiteY13" fmla="*/ 0 h 435078"/>
                <a:gd name="connsiteX14" fmla="*/ 435077 w 435077"/>
                <a:gd name="connsiteY14" fmla="*/ 217532 h 435078"/>
                <a:gd name="connsiteX15" fmla="*/ 435077 w 435077"/>
                <a:gd name="connsiteY15"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8">
                  <a:moveTo>
                    <a:pt x="0" y="435079"/>
                  </a:moveTo>
                  <a:lnTo>
                    <a:pt x="217511" y="435079"/>
                  </a:lnTo>
                  <a:lnTo>
                    <a:pt x="217511" y="217546"/>
                  </a:lnTo>
                  <a:lnTo>
                    <a:pt x="0" y="435079"/>
                  </a:lnTo>
                  <a:close/>
                  <a:moveTo>
                    <a:pt x="217511" y="0"/>
                  </a:moveTo>
                  <a:lnTo>
                    <a:pt x="0" y="0"/>
                  </a:lnTo>
                  <a:lnTo>
                    <a:pt x="217511" y="217532"/>
                  </a:lnTo>
                  <a:lnTo>
                    <a:pt x="217511" y="0"/>
                  </a:lnTo>
                  <a:close/>
                  <a:moveTo>
                    <a:pt x="435077" y="435079"/>
                  </a:moveTo>
                  <a:lnTo>
                    <a:pt x="217539" y="435079"/>
                  </a:lnTo>
                  <a:lnTo>
                    <a:pt x="435077" y="217546"/>
                  </a:lnTo>
                  <a:lnTo>
                    <a:pt x="435077" y="435079"/>
                  </a:lnTo>
                  <a:close/>
                  <a:moveTo>
                    <a:pt x="435077" y="0"/>
                  </a:moveTo>
                  <a:lnTo>
                    <a:pt x="217539" y="0"/>
                  </a:lnTo>
                  <a:lnTo>
                    <a:pt x="435077" y="217532"/>
                  </a:lnTo>
                  <a:lnTo>
                    <a:pt x="435077" y="0"/>
                  </a:lnTo>
                  <a:close/>
                </a:path>
              </a:pathLst>
            </a:custGeom>
            <a:grpFill/>
            <a:ln w="27192" cap="flat">
              <a:noFill/>
              <a:prstDash val="solid"/>
              <a:miter/>
            </a:ln>
          </p:spPr>
          <p:txBody>
            <a:bodyPr rtlCol="0" anchor="ctr"/>
            <a:lstStyle/>
            <a:p>
              <a:endParaRPr lang="uk-UA" sz="900"/>
            </a:p>
          </p:txBody>
        </p:sp>
        <p:sp>
          <p:nvSpPr>
            <p:cNvPr id="483" name="Freeform: Shape 482">
              <a:extLst>
                <a:ext uri="{FF2B5EF4-FFF2-40B4-BE49-F238E27FC236}">
                  <a16:creationId xmlns:a16="http://schemas.microsoft.com/office/drawing/2014/main" id="{DB23C99E-A8C1-7329-881A-66B04598EC6E}"/>
                </a:ext>
              </a:extLst>
            </p:cNvPr>
            <p:cNvSpPr/>
            <p:nvPr/>
          </p:nvSpPr>
          <p:spPr>
            <a:xfrm>
              <a:off x="11277709" y="228598"/>
              <a:ext cx="435077" cy="435073"/>
            </a:xfrm>
            <a:custGeom>
              <a:avLst/>
              <a:gdLst>
                <a:gd name="connsiteX0" fmla="*/ 371365 w 435077"/>
                <a:gd name="connsiteY0" fmla="*/ 63716 h 435073"/>
                <a:gd name="connsiteX1" fmla="*/ 435077 w 435077"/>
                <a:gd name="connsiteY1" fmla="*/ 217539 h 435073"/>
                <a:gd name="connsiteX2" fmla="*/ 218953 w 435077"/>
                <a:gd name="connsiteY2" fmla="*/ 217539 h 435073"/>
                <a:gd name="connsiteX3" fmla="*/ 371365 w 435077"/>
                <a:gd name="connsiteY3" fmla="*/ 281249 h 435073"/>
                <a:gd name="connsiteX4" fmla="*/ 435077 w 435077"/>
                <a:gd name="connsiteY4" fmla="*/ 435073 h 435073"/>
                <a:gd name="connsiteX5" fmla="*/ 217539 w 435077"/>
                <a:gd name="connsiteY5" fmla="*/ 435073 h 435073"/>
                <a:gd name="connsiteX6" fmla="*/ 0 w 435077"/>
                <a:gd name="connsiteY6" fmla="*/ 435073 h 435073"/>
                <a:gd name="connsiteX7" fmla="*/ 63710 w 435077"/>
                <a:gd name="connsiteY7" fmla="*/ 281249 h 435073"/>
                <a:gd name="connsiteX8" fmla="*/ 216151 w 435077"/>
                <a:gd name="connsiteY8" fmla="*/ 217539 h 435073"/>
                <a:gd name="connsiteX9" fmla="*/ 0 w 435077"/>
                <a:gd name="connsiteY9" fmla="*/ 217539 h 435073"/>
                <a:gd name="connsiteX10" fmla="*/ 63710 w 435077"/>
                <a:gd name="connsiteY10" fmla="*/ 63716 h 435073"/>
                <a:gd name="connsiteX11" fmla="*/ 217539 w 435077"/>
                <a:gd name="connsiteY11" fmla="*/ 0 h 435073"/>
                <a:gd name="connsiteX12" fmla="*/ 371365 w 435077"/>
                <a:gd name="connsiteY12" fmla="*/ 63716 h 43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3">
                  <a:moveTo>
                    <a:pt x="371365" y="63716"/>
                  </a:moveTo>
                  <a:cubicBezTo>
                    <a:pt x="412154" y="104512"/>
                    <a:pt x="435077" y="159844"/>
                    <a:pt x="435077" y="217539"/>
                  </a:cubicBezTo>
                  <a:lnTo>
                    <a:pt x="218953" y="217539"/>
                  </a:lnTo>
                  <a:cubicBezTo>
                    <a:pt x="276137" y="217907"/>
                    <a:pt x="330902" y="240784"/>
                    <a:pt x="371365" y="281249"/>
                  </a:cubicBezTo>
                  <a:cubicBezTo>
                    <a:pt x="412154" y="322046"/>
                    <a:pt x="435077" y="377379"/>
                    <a:pt x="435077" y="435073"/>
                  </a:cubicBezTo>
                  <a:lnTo>
                    <a:pt x="217539" y="435073"/>
                  </a:lnTo>
                  <a:lnTo>
                    <a:pt x="0" y="435073"/>
                  </a:lnTo>
                  <a:cubicBezTo>
                    <a:pt x="0" y="377379"/>
                    <a:pt x="22922" y="322046"/>
                    <a:pt x="63710" y="281249"/>
                  </a:cubicBezTo>
                  <a:cubicBezTo>
                    <a:pt x="104174" y="240784"/>
                    <a:pt x="158938" y="217907"/>
                    <a:pt x="216151" y="217539"/>
                  </a:cubicBezTo>
                  <a:lnTo>
                    <a:pt x="0" y="217539"/>
                  </a:lnTo>
                  <a:cubicBezTo>
                    <a:pt x="0" y="159844"/>
                    <a:pt x="22922" y="104512"/>
                    <a:pt x="63710" y="63716"/>
                  </a:cubicBezTo>
                  <a:cubicBezTo>
                    <a:pt x="104499" y="22919"/>
                    <a:pt x="159836" y="0"/>
                    <a:pt x="217539" y="0"/>
                  </a:cubicBezTo>
                  <a:cubicBezTo>
                    <a:pt x="275239" y="0"/>
                    <a:pt x="330549" y="22919"/>
                    <a:pt x="371365" y="63716"/>
                  </a:cubicBezTo>
                  <a:close/>
                </a:path>
              </a:pathLst>
            </a:custGeom>
            <a:grpFill/>
            <a:ln w="27192" cap="flat">
              <a:noFill/>
              <a:prstDash val="solid"/>
              <a:miter/>
            </a:ln>
          </p:spPr>
          <p:txBody>
            <a:bodyPr rtlCol="0" anchor="ctr"/>
            <a:lstStyle/>
            <a:p>
              <a:endParaRPr lang="uk-UA" sz="900"/>
            </a:p>
          </p:txBody>
        </p:sp>
        <p:sp>
          <p:nvSpPr>
            <p:cNvPr id="484" name="Freeform: Shape 483">
              <a:extLst>
                <a:ext uri="{FF2B5EF4-FFF2-40B4-BE49-F238E27FC236}">
                  <a16:creationId xmlns:a16="http://schemas.microsoft.com/office/drawing/2014/main" id="{C891B117-E183-552B-5B8C-1ACF1479FAE3}"/>
                </a:ext>
              </a:extLst>
            </p:cNvPr>
            <p:cNvSpPr/>
            <p:nvPr/>
          </p:nvSpPr>
          <p:spPr>
            <a:xfrm>
              <a:off x="10407554" y="228598"/>
              <a:ext cx="435077" cy="435078"/>
            </a:xfrm>
            <a:custGeom>
              <a:avLst/>
              <a:gdLst>
                <a:gd name="connsiteX0" fmla="*/ 217539 w 435077"/>
                <a:gd name="connsiteY0" fmla="*/ 0 h 435078"/>
                <a:gd name="connsiteX1" fmla="*/ 0 w 435077"/>
                <a:gd name="connsiteY1" fmla="*/ 0 h 435078"/>
                <a:gd name="connsiteX2" fmla="*/ 0 w 435077"/>
                <a:gd name="connsiteY2" fmla="*/ 217539 h 435078"/>
                <a:gd name="connsiteX3" fmla="*/ 217539 w 435077"/>
                <a:gd name="connsiteY3" fmla="*/ 0 h 435078"/>
                <a:gd name="connsiteX4" fmla="*/ 435077 w 435077"/>
                <a:gd name="connsiteY4" fmla="*/ 0 h 435078"/>
                <a:gd name="connsiteX5" fmla="*/ 435077 w 435077"/>
                <a:gd name="connsiteY5" fmla="*/ 217539 h 435078"/>
                <a:gd name="connsiteX6" fmla="*/ 217539 w 435077"/>
                <a:gd name="connsiteY6" fmla="*/ 0 h 435078"/>
                <a:gd name="connsiteX7" fmla="*/ 435077 w 435077"/>
                <a:gd name="connsiteY7" fmla="*/ 0 h 435078"/>
                <a:gd name="connsiteX8" fmla="*/ 217539 w 435077"/>
                <a:gd name="connsiteY8" fmla="*/ 435079 h 435078"/>
                <a:gd name="connsiteX9" fmla="*/ 435077 w 435077"/>
                <a:gd name="connsiteY9" fmla="*/ 217539 h 435078"/>
                <a:gd name="connsiteX10" fmla="*/ 435077 w 435077"/>
                <a:gd name="connsiteY10" fmla="*/ 435079 h 435078"/>
                <a:gd name="connsiteX11" fmla="*/ 217539 w 435077"/>
                <a:gd name="connsiteY11" fmla="*/ 435079 h 435078"/>
                <a:gd name="connsiteX12" fmla="*/ 217539 w 435077"/>
                <a:gd name="connsiteY12" fmla="*/ 435079 h 435078"/>
                <a:gd name="connsiteX13" fmla="*/ 0 w 435077"/>
                <a:gd name="connsiteY13" fmla="*/ 217539 h 435078"/>
                <a:gd name="connsiteX14" fmla="*/ 0 w 435077"/>
                <a:gd name="connsiteY14" fmla="*/ 435079 h 435078"/>
                <a:gd name="connsiteX15" fmla="*/ 217539 w 435077"/>
                <a:gd name="connsiteY15" fmla="*/ 435079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8">
                  <a:moveTo>
                    <a:pt x="217539" y="0"/>
                  </a:moveTo>
                  <a:lnTo>
                    <a:pt x="0" y="0"/>
                  </a:lnTo>
                  <a:lnTo>
                    <a:pt x="0" y="217539"/>
                  </a:lnTo>
                  <a:lnTo>
                    <a:pt x="217539" y="0"/>
                  </a:lnTo>
                  <a:close/>
                  <a:moveTo>
                    <a:pt x="435077" y="0"/>
                  </a:moveTo>
                  <a:lnTo>
                    <a:pt x="435077" y="217539"/>
                  </a:lnTo>
                  <a:lnTo>
                    <a:pt x="217539" y="0"/>
                  </a:lnTo>
                  <a:lnTo>
                    <a:pt x="435077" y="0"/>
                  </a:lnTo>
                  <a:close/>
                  <a:moveTo>
                    <a:pt x="217539" y="435079"/>
                  </a:moveTo>
                  <a:lnTo>
                    <a:pt x="435077" y="217539"/>
                  </a:lnTo>
                  <a:lnTo>
                    <a:pt x="435077" y="435079"/>
                  </a:lnTo>
                  <a:lnTo>
                    <a:pt x="217539" y="435079"/>
                  </a:lnTo>
                  <a:close/>
                  <a:moveTo>
                    <a:pt x="217539" y="435079"/>
                  </a:moveTo>
                  <a:lnTo>
                    <a:pt x="0" y="217539"/>
                  </a:lnTo>
                  <a:lnTo>
                    <a:pt x="0" y="435079"/>
                  </a:lnTo>
                  <a:lnTo>
                    <a:pt x="217539" y="435079"/>
                  </a:lnTo>
                  <a:close/>
                </a:path>
              </a:pathLst>
            </a:custGeom>
            <a:grpFill/>
            <a:ln w="27192" cap="flat">
              <a:noFill/>
              <a:prstDash val="solid"/>
              <a:miter/>
            </a:ln>
          </p:spPr>
          <p:txBody>
            <a:bodyPr rtlCol="0" anchor="ctr"/>
            <a:lstStyle/>
            <a:p>
              <a:endParaRPr lang="uk-UA" sz="900"/>
            </a:p>
          </p:txBody>
        </p:sp>
        <p:sp>
          <p:nvSpPr>
            <p:cNvPr id="485" name="Freeform: Shape 484">
              <a:extLst>
                <a:ext uri="{FF2B5EF4-FFF2-40B4-BE49-F238E27FC236}">
                  <a16:creationId xmlns:a16="http://schemas.microsoft.com/office/drawing/2014/main" id="{DC84AB28-3539-005E-9DC2-C7BE5447525B}"/>
                </a:ext>
              </a:extLst>
            </p:cNvPr>
            <p:cNvSpPr/>
            <p:nvPr/>
          </p:nvSpPr>
          <p:spPr>
            <a:xfrm>
              <a:off x="12147836" y="228570"/>
              <a:ext cx="435077" cy="435076"/>
            </a:xfrm>
            <a:custGeom>
              <a:avLst/>
              <a:gdLst>
                <a:gd name="connsiteX0" fmla="*/ 217539 w 435077"/>
                <a:gd name="connsiteY0" fmla="*/ 217534 h 435076"/>
                <a:gd name="connsiteX1" fmla="*/ 217539 w 435077"/>
                <a:gd name="connsiteY1" fmla="*/ 0 h 435076"/>
                <a:gd name="connsiteX2" fmla="*/ 0 w 435077"/>
                <a:gd name="connsiteY2" fmla="*/ 0 h 435076"/>
                <a:gd name="connsiteX3" fmla="*/ 217539 w 435077"/>
                <a:gd name="connsiteY3" fmla="*/ 217538 h 435076"/>
                <a:gd name="connsiteX4" fmla="*/ 0 w 435077"/>
                <a:gd name="connsiteY4" fmla="*/ 435077 h 435076"/>
                <a:gd name="connsiteX5" fmla="*/ 217539 w 435077"/>
                <a:gd name="connsiteY5" fmla="*/ 435077 h 435076"/>
                <a:gd name="connsiteX6" fmla="*/ 217539 w 435077"/>
                <a:gd name="connsiteY6" fmla="*/ 435071 h 435076"/>
                <a:gd name="connsiteX7" fmla="*/ 435077 w 435077"/>
                <a:gd name="connsiteY7" fmla="*/ 217543 h 435076"/>
                <a:gd name="connsiteX8" fmla="*/ 435077 w 435077"/>
                <a:gd name="connsiteY8" fmla="*/ 217543 h 435076"/>
                <a:gd name="connsiteX9" fmla="*/ 435077 w 435077"/>
                <a:gd name="connsiteY9" fmla="*/ 217538 h 435076"/>
                <a:gd name="connsiteX10" fmla="*/ 435077 w 435077"/>
                <a:gd name="connsiteY10" fmla="*/ 217534 h 435076"/>
                <a:gd name="connsiteX11" fmla="*/ 435077 w 435077"/>
                <a:gd name="connsiteY11" fmla="*/ 217534 h 435076"/>
                <a:gd name="connsiteX12" fmla="*/ 217539 w 435077"/>
                <a:gd name="connsiteY12" fmla="*/ 5 h 435076"/>
                <a:gd name="connsiteX13" fmla="*/ 217539 w 435077"/>
                <a:gd name="connsiteY13" fmla="*/ 217534 h 435076"/>
                <a:gd name="connsiteX14" fmla="*/ 217539 w 435077"/>
                <a:gd name="connsiteY14" fmla="*/ 217534 h 435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6">
                  <a:moveTo>
                    <a:pt x="217539" y="217534"/>
                  </a:moveTo>
                  <a:lnTo>
                    <a:pt x="217539" y="0"/>
                  </a:lnTo>
                  <a:lnTo>
                    <a:pt x="0" y="0"/>
                  </a:lnTo>
                  <a:lnTo>
                    <a:pt x="217539" y="217538"/>
                  </a:lnTo>
                  <a:lnTo>
                    <a:pt x="0" y="435077"/>
                  </a:lnTo>
                  <a:lnTo>
                    <a:pt x="217539" y="435077"/>
                  </a:lnTo>
                  <a:lnTo>
                    <a:pt x="217539" y="435071"/>
                  </a:lnTo>
                  <a:lnTo>
                    <a:pt x="435077" y="217543"/>
                  </a:lnTo>
                  <a:lnTo>
                    <a:pt x="435077" y="217543"/>
                  </a:lnTo>
                  <a:lnTo>
                    <a:pt x="435077" y="217538"/>
                  </a:lnTo>
                  <a:lnTo>
                    <a:pt x="435077" y="217534"/>
                  </a:lnTo>
                  <a:lnTo>
                    <a:pt x="435077" y="217534"/>
                  </a:lnTo>
                  <a:lnTo>
                    <a:pt x="217539" y="5"/>
                  </a:lnTo>
                  <a:lnTo>
                    <a:pt x="217539" y="217534"/>
                  </a:lnTo>
                  <a:lnTo>
                    <a:pt x="217539" y="217534"/>
                  </a:lnTo>
                  <a:close/>
                </a:path>
              </a:pathLst>
            </a:custGeom>
            <a:grpFill/>
            <a:ln w="27192" cap="flat">
              <a:noFill/>
              <a:prstDash val="solid"/>
              <a:miter/>
            </a:ln>
          </p:spPr>
          <p:txBody>
            <a:bodyPr rtlCol="0" anchor="ctr"/>
            <a:lstStyle/>
            <a:p>
              <a:endParaRPr lang="uk-UA" sz="900"/>
            </a:p>
          </p:txBody>
        </p:sp>
        <p:sp>
          <p:nvSpPr>
            <p:cNvPr id="486" name="Freeform: Shape 485">
              <a:extLst>
                <a:ext uri="{FF2B5EF4-FFF2-40B4-BE49-F238E27FC236}">
                  <a16:creationId xmlns:a16="http://schemas.microsoft.com/office/drawing/2014/main" id="{86D90B4E-6DEE-CA1E-136B-E394C2CD9AF1}"/>
                </a:ext>
              </a:extLst>
            </p:cNvPr>
            <p:cNvSpPr/>
            <p:nvPr/>
          </p:nvSpPr>
          <p:spPr>
            <a:xfrm>
              <a:off x="13018045" y="228598"/>
              <a:ext cx="435077" cy="435078"/>
            </a:xfrm>
            <a:custGeom>
              <a:avLst/>
              <a:gdLst>
                <a:gd name="connsiteX0" fmla="*/ 0 w 435077"/>
                <a:gd name="connsiteY0" fmla="*/ 435079 h 435078"/>
                <a:gd name="connsiteX1" fmla="*/ 217539 w 435077"/>
                <a:gd name="connsiteY1" fmla="*/ 435079 h 435078"/>
                <a:gd name="connsiteX2" fmla="*/ 217539 w 435077"/>
                <a:gd name="connsiteY2" fmla="*/ 217546 h 435078"/>
                <a:gd name="connsiteX3" fmla="*/ 0 w 435077"/>
                <a:gd name="connsiteY3" fmla="*/ 435079 h 435078"/>
                <a:gd name="connsiteX4" fmla="*/ 217539 w 435077"/>
                <a:gd name="connsiteY4" fmla="*/ 0 h 435078"/>
                <a:gd name="connsiteX5" fmla="*/ 0 w 435077"/>
                <a:gd name="connsiteY5" fmla="*/ 0 h 435078"/>
                <a:gd name="connsiteX6" fmla="*/ 217539 w 435077"/>
                <a:gd name="connsiteY6" fmla="*/ 217532 h 435078"/>
                <a:gd name="connsiteX7" fmla="*/ 217539 w 435077"/>
                <a:gd name="connsiteY7" fmla="*/ 0 h 435078"/>
                <a:gd name="connsiteX8" fmla="*/ 435077 w 435077"/>
                <a:gd name="connsiteY8" fmla="*/ 435079 h 435078"/>
                <a:gd name="connsiteX9" fmla="*/ 217539 w 435077"/>
                <a:gd name="connsiteY9" fmla="*/ 435079 h 435078"/>
                <a:gd name="connsiteX10" fmla="*/ 435077 w 435077"/>
                <a:gd name="connsiteY10" fmla="*/ 217546 h 435078"/>
                <a:gd name="connsiteX11" fmla="*/ 435077 w 435077"/>
                <a:gd name="connsiteY11" fmla="*/ 435079 h 435078"/>
                <a:gd name="connsiteX12" fmla="*/ 435077 w 435077"/>
                <a:gd name="connsiteY12" fmla="*/ 0 h 435078"/>
                <a:gd name="connsiteX13" fmla="*/ 217539 w 435077"/>
                <a:gd name="connsiteY13" fmla="*/ 0 h 435078"/>
                <a:gd name="connsiteX14" fmla="*/ 435077 w 435077"/>
                <a:gd name="connsiteY14" fmla="*/ 217532 h 435078"/>
                <a:gd name="connsiteX15" fmla="*/ 435077 w 435077"/>
                <a:gd name="connsiteY15"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8">
                  <a:moveTo>
                    <a:pt x="0" y="435079"/>
                  </a:moveTo>
                  <a:lnTo>
                    <a:pt x="217539" y="435079"/>
                  </a:lnTo>
                  <a:lnTo>
                    <a:pt x="217539" y="217546"/>
                  </a:lnTo>
                  <a:lnTo>
                    <a:pt x="0" y="435079"/>
                  </a:lnTo>
                  <a:close/>
                  <a:moveTo>
                    <a:pt x="217539" y="0"/>
                  </a:moveTo>
                  <a:lnTo>
                    <a:pt x="0" y="0"/>
                  </a:lnTo>
                  <a:lnTo>
                    <a:pt x="217539" y="217532"/>
                  </a:lnTo>
                  <a:lnTo>
                    <a:pt x="217539" y="0"/>
                  </a:lnTo>
                  <a:close/>
                  <a:moveTo>
                    <a:pt x="435077" y="435079"/>
                  </a:moveTo>
                  <a:lnTo>
                    <a:pt x="217539" y="435079"/>
                  </a:lnTo>
                  <a:lnTo>
                    <a:pt x="435077" y="217546"/>
                  </a:lnTo>
                  <a:lnTo>
                    <a:pt x="435077" y="435079"/>
                  </a:lnTo>
                  <a:close/>
                  <a:moveTo>
                    <a:pt x="435077" y="0"/>
                  </a:moveTo>
                  <a:lnTo>
                    <a:pt x="217539" y="0"/>
                  </a:lnTo>
                  <a:lnTo>
                    <a:pt x="435077" y="217532"/>
                  </a:lnTo>
                  <a:lnTo>
                    <a:pt x="435077" y="0"/>
                  </a:lnTo>
                  <a:close/>
                </a:path>
              </a:pathLst>
            </a:custGeom>
            <a:grpFill/>
            <a:ln w="27192" cap="flat">
              <a:noFill/>
              <a:prstDash val="solid"/>
              <a:miter/>
            </a:ln>
          </p:spPr>
          <p:txBody>
            <a:bodyPr rtlCol="0" anchor="ctr"/>
            <a:lstStyle/>
            <a:p>
              <a:endParaRPr lang="uk-UA" sz="900"/>
            </a:p>
          </p:txBody>
        </p:sp>
        <p:sp>
          <p:nvSpPr>
            <p:cNvPr id="487" name="Freeform: Shape 486">
              <a:extLst>
                <a:ext uri="{FF2B5EF4-FFF2-40B4-BE49-F238E27FC236}">
                  <a16:creationId xmlns:a16="http://schemas.microsoft.com/office/drawing/2014/main" id="{E46F1A34-EB43-1500-24B7-7ECECB658909}"/>
                </a:ext>
              </a:extLst>
            </p:cNvPr>
            <p:cNvSpPr/>
            <p:nvPr/>
          </p:nvSpPr>
          <p:spPr>
            <a:xfrm>
              <a:off x="14758382" y="228598"/>
              <a:ext cx="435077" cy="435073"/>
            </a:xfrm>
            <a:custGeom>
              <a:avLst/>
              <a:gdLst>
                <a:gd name="connsiteX0" fmla="*/ 371367 w 435077"/>
                <a:gd name="connsiteY0" fmla="*/ 63716 h 435073"/>
                <a:gd name="connsiteX1" fmla="*/ 435077 w 435077"/>
                <a:gd name="connsiteY1" fmla="*/ 217539 h 435073"/>
                <a:gd name="connsiteX2" fmla="*/ 218953 w 435077"/>
                <a:gd name="connsiteY2" fmla="*/ 217539 h 435073"/>
                <a:gd name="connsiteX3" fmla="*/ 371367 w 435077"/>
                <a:gd name="connsiteY3" fmla="*/ 281249 h 435073"/>
                <a:gd name="connsiteX4" fmla="*/ 435077 w 435077"/>
                <a:gd name="connsiteY4" fmla="*/ 435073 h 435073"/>
                <a:gd name="connsiteX5" fmla="*/ 217539 w 435077"/>
                <a:gd name="connsiteY5" fmla="*/ 435073 h 435073"/>
                <a:gd name="connsiteX6" fmla="*/ 0 w 435077"/>
                <a:gd name="connsiteY6" fmla="*/ 435073 h 435073"/>
                <a:gd name="connsiteX7" fmla="*/ 63712 w 435077"/>
                <a:gd name="connsiteY7" fmla="*/ 281249 h 435073"/>
                <a:gd name="connsiteX8" fmla="*/ 216125 w 435077"/>
                <a:gd name="connsiteY8" fmla="*/ 217539 h 435073"/>
                <a:gd name="connsiteX9" fmla="*/ 0 w 435077"/>
                <a:gd name="connsiteY9" fmla="*/ 217539 h 435073"/>
                <a:gd name="connsiteX10" fmla="*/ 63712 w 435077"/>
                <a:gd name="connsiteY10" fmla="*/ 63716 h 435073"/>
                <a:gd name="connsiteX11" fmla="*/ 217539 w 435077"/>
                <a:gd name="connsiteY11" fmla="*/ 0 h 435073"/>
                <a:gd name="connsiteX12" fmla="*/ 371367 w 435077"/>
                <a:gd name="connsiteY12" fmla="*/ 63716 h 43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3">
                  <a:moveTo>
                    <a:pt x="371367" y="63716"/>
                  </a:moveTo>
                  <a:cubicBezTo>
                    <a:pt x="412155" y="104512"/>
                    <a:pt x="435077" y="159844"/>
                    <a:pt x="435077" y="217539"/>
                  </a:cubicBezTo>
                  <a:lnTo>
                    <a:pt x="218953" y="217539"/>
                  </a:lnTo>
                  <a:cubicBezTo>
                    <a:pt x="276139" y="217907"/>
                    <a:pt x="330904" y="240784"/>
                    <a:pt x="371367" y="281249"/>
                  </a:cubicBezTo>
                  <a:cubicBezTo>
                    <a:pt x="412155" y="322046"/>
                    <a:pt x="435077" y="377379"/>
                    <a:pt x="435077" y="435073"/>
                  </a:cubicBezTo>
                  <a:lnTo>
                    <a:pt x="217539" y="435073"/>
                  </a:lnTo>
                  <a:lnTo>
                    <a:pt x="0" y="435073"/>
                  </a:lnTo>
                  <a:cubicBezTo>
                    <a:pt x="0" y="377379"/>
                    <a:pt x="22924" y="322046"/>
                    <a:pt x="63712" y="281249"/>
                  </a:cubicBezTo>
                  <a:cubicBezTo>
                    <a:pt x="104174" y="240784"/>
                    <a:pt x="158940" y="217907"/>
                    <a:pt x="216125" y="217539"/>
                  </a:cubicBezTo>
                  <a:lnTo>
                    <a:pt x="0" y="217539"/>
                  </a:lnTo>
                  <a:cubicBezTo>
                    <a:pt x="0" y="159844"/>
                    <a:pt x="22924" y="104512"/>
                    <a:pt x="63712" y="63716"/>
                  </a:cubicBezTo>
                  <a:cubicBezTo>
                    <a:pt x="104501" y="22919"/>
                    <a:pt x="159836" y="0"/>
                    <a:pt x="217539" y="0"/>
                  </a:cubicBezTo>
                  <a:cubicBezTo>
                    <a:pt x="275241" y="0"/>
                    <a:pt x="330550" y="22919"/>
                    <a:pt x="371367" y="63716"/>
                  </a:cubicBezTo>
                  <a:close/>
                </a:path>
              </a:pathLst>
            </a:custGeom>
            <a:grpFill/>
            <a:ln w="27192" cap="flat">
              <a:noFill/>
              <a:prstDash val="solid"/>
              <a:miter/>
            </a:ln>
          </p:spPr>
          <p:txBody>
            <a:bodyPr rtlCol="0" anchor="ctr"/>
            <a:lstStyle/>
            <a:p>
              <a:endParaRPr lang="uk-UA" sz="900"/>
            </a:p>
          </p:txBody>
        </p:sp>
        <p:sp>
          <p:nvSpPr>
            <p:cNvPr id="488" name="Freeform: Shape 487">
              <a:extLst>
                <a:ext uri="{FF2B5EF4-FFF2-40B4-BE49-F238E27FC236}">
                  <a16:creationId xmlns:a16="http://schemas.microsoft.com/office/drawing/2014/main" id="{92C0726B-1B99-BB1A-4688-10F31BFB2E8A}"/>
                </a:ext>
              </a:extLst>
            </p:cNvPr>
            <p:cNvSpPr/>
            <p:nvPr/>
          </p:nvSpPr>
          <p:spPr>
            <a:xfrm>
              <a:off x="13888200" y="228598"/>
              <a:ext cx="435077" cy="435078"/>
            </a:xfrm>
            <a:custGeom>
              <a:avLst/>
              <a:gdLst>
                <a:gd name="connsiteX0" fmla="*/ 217565 w 435077"/>
                <a:gd name="connsiteY0" fmla="*/ 0 h 435078"/>
                <a:gd name="connsiteX1" fmla="*/ 217539 w 435077"/>
                <a:gd name="connsiteY1" fmla="*/ 0 h 435078"/>
                <a:gd name="connsiteX2" fmla="*/ 27 w 435077"/>
                <a:gd name="connsiteY2" fmla="*/ 0 h 435078"/>
                <a:gd name="connsiteX3" fmla="*/ 27 w 435077"/>
                <a:gd name="connsiteY3" fmla="*/ 217539 h 435078"/>
                <a:gd name="connsiteX4" fmla="*/ 217565 w 435077"/>
                <a:gd name="connsiteY4" fmla="*/ 7 h 435078"/>
                <a:gd name="connsiteX5" fmla="*/ 435077 w 435077"/>
                <a:gd name="connsiteY5" fmla="*/ 217539 h 435078"/>
                <a:gd name="connsiteX6" fmla="*/ 217539 w 435077"/>
                <a:gd name="connsiteY6" fmla="*/ 435079 h 435078"/>
                <a:gd name="connsiteX7" fmla="*/ 0 w 435077"/>
                <a:gd name="connsiteY7" fmla="*/ 217539 h 435078"/>
                <a:gd name="connsiteX8" fmla="*/ 0 w 435077"/>
                <a:gd name="connsiteY8" fmla="*/ 435079 h 435078"/>
                <a:gd name="connsiteX9" fmla="*/ 217539 w 435077"/>
                <a:gd name="connsiteY9" fmla="*/ 435079 h 435078"/>
                <a:gd name="connsiteX10" fmla="*/ 435077 w 435077"/>
                <a:gd name="connsiteY10" fmla="*/ 435079 h 435078"/>
                <a:gd name="connsiteX11" fmla="*/ 435077 w 435077"/>
                <a:gd name="connsiteY11" fmla="*/ 217539 h 435078"/>
                <a:gd name="connsiteX12" fmla="*/ 435077 w 435077"/>
                <a:gd name="connsiteY12" fmla="*/ 0 h 435078"/>
                <a:gd name="connsiteX13" fmla="*/ 217565 w 435077"/>
                <a:gd name="connsiteY13"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8">
                  <a:moveTo>
                    <a:pt x="217565" y="0"/>
                  </a:moveTo>
                  <a:lnTo>
                    <a:pt x="217539" y="0"/>
                  </a:lnTo>
                  <a:lnTo>
                    <a:pt x="27" y="0"/>
                  </a:lnTo>
                  <a:lnTo>
                    <a:pt x="27" y="217539"/>
                  </a:lnTo>
                  <a:lnTo>
                    <a:pt x="217565" y="7"/>
                  </a:lnTo>
                  <a:lnTo>
                    <a:pt x="435077" y="217539"/>
                  </a:lnTo>
                  <a:lnTo>
                    <a:pt x="217539" y="435079"/>
                  </a:lnTo>
                  <a:lnTo>
                    <a:pt x="0" y="217539"/>
                  </a:lnTo>
                  <a:lnTo>
                    <a:pt x="0" y="435079"/>
                  </a:lnTo>
                  <a:lnTo>
                    <a:pt x="217539" y="435079"/>
                  </a:lnTo>
                  <a:lnTo>
                    <a:pt x="435077" y="435079"/>
                  </a:lnTo>
                  <a:lnTo>
                    <a:pt x="435077" y="217539"/>
                  </a:lnTo>
                  <a:lnTo>
                    <a:pt x="435077" y="0"/>
                  </a:lnTo>
                  <a:lnTo>
                    <a:pt x="217565" y="0"/>
                  </a:lnTo>
                  <a:close/>
                </a:path>
              </a:pathLst>
            </a:custGeom>
            <a:grpFill/>
            <a:ln w="27192" cap="flat">
              <a:noFill/>
              <a:prstDash val="solid"/>
              <a:miter/>
            </a:ln>
          </p:spPr>
          <p:txBody>
            <a:bodyPr rtlCol="0" anchor="ctr"/>
            <a:lstStyle/>
            <a:p>
              <a:endParaRPr lang="uk-UA" sz="900"/>
            </a:p>
          </p:txBody>
        </p:sp>
        <p:sp>
          <p:nvSpPr>
            <p:cNvPr id="489" name="Freeform: Shape 488">
              <a:extLst>
                <a:ext uri="{FF2B5EF4-FFF2-40B4-BE49-F238E27FC236}">
                  <a16:creationId xmlns:a16="http://schemas.microsoft.com/office/drawing/2014/main" id="{209C3DAC-39E3-5C3C-37B7-6FF10DC19D62}"/>
                </a:ext>
              </a:extLst>
            </p:cNvPr>
            <p:cNvSpPr/>
            <p:nvPr/>
          </p:nvSpPr>
          <p:spPr>
            <a:xfrm>
              <a:off x="15628536" y="228598"/>
              <a:ext cx="435077" cy="435075"/>
            </a:xfrm>
            <a:custGeom>
              <a:avLst/>
              <a:gdLst>
                <a:gd name="connsiteX0" fmla="*/ 217539 w 435077"/>
                <a:gd name="connsiteY0" fmla="*/ 217540 h 435075"/>
                <a:gd name="connsiteX1" fmla="*/ 217539 w 435077"/>
                <a:gd name="connsiteY1" fmla="*/ 217537 h 435075"/>
                <a:gd name="connsiteX2" fmla="*/ 0 w 435077"/>
                <a:gd name="connsiteY2" fmla="*/ 0 h 435075"/>
                <a:gd name="connsiteX3" fmla="*/ 217539 w 435077"/>
                <a:gd name="connsiteY3" fmla="*/ 0 h 435075"/>
                <a:gd name="connsiteX4" fmla="*/ 217539 w 435077"/>
                <a:gd name="connsiteY4" fmla="*/ 5 h 435075"/>
                <a:gd name="connsiteX5" fmla="*/ 435077 w 435077"/>
                <a:gd name="connsiteY5" fmla="*/ 217533 h 435075"/>
                <a:gd name="connsiteX6" fmla="*/ 435077 w 435077"/>
                <a:gd name="connsiteY6" fmla="*/ 217533 h 435075"/>
                <a:gd name="connsiteX7" fmla="*/ 435077 w 435077"/>
                <a:gd name="connsiteY7" fmla="*/ 217538 h 435075"/>
                <a:gd name="connsiteX8" fmla="*/ 435077 w 435077"/>
                <a:gd name="connsiteY8" fmla="*/ 217542 h 435075"/>
                <a:gd name="connsiteX9" fmla="*/ 435077 w 435077"/>
                <a:gd name="connsiteY9" fmla="*/ 217542 h 435075"/>
                <a:gd name="connsiteX10" fmla="*/ 217539 w 435077"/>
                <a:gd name="connsiteY10" fmla="*/ 435071 h 435075"/>
                <a:gd name="connsiteX11" fmla="*/ 217539 w 435077"/>
                <a:gd name="connsiteY11" fmla="*/ 435076 h 435075"/>
                <a:gd name="connsiteX12" fmla="*/ 0 w 435077"/>
                <a:gd name="connsiteY12" fmla="*/ 435076 h 435075"/>
                <a:gd name="connsiteX13" fmla="*/ 217539 w 435077"/>
                <a:gd name="connsiteY13" fmla="*/ 217540 h 43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5">
                  <a:moveTo>
                    <a:pt x="217539" y="217540"/>
                  </a:moveTo>
                  <a:lnTo>
                    <a:pt x="217539" y="217537"/>
                  </a:lnTo>
                  <a:lnTo>
                    <a:pt x="0" y="0"/>
                  </a:lnTo>
                  <a:lnTo>
                    <a:pt x="217539" y="0"/>
                  </a:lnTo>
                  <a:lnTo>
                    <a:pt x="217539" y="5"/>
                  </a:lnTo>
                  <a:lnTo>
                    <a:pt x="435077" y="217533"/>
                  </a:lnTo>
                  <a:lnTo>
                    <a:pt x="435077" y="217533"/>
                  </a:lnTo>
                  <a:lnTo>
                    <a:pt x="435077" y="217538"/>
                  </a:lnTo>
                  <a:lnTo>
                    <a:pt x="435077" y="217542"/>
                  </a:lnTo>
                  <a:lnTo>
                    <a:pt x="435077" y="217542"/>
                  </a:lnTo>
                  <a:lnTo>
                    <a:pt x="217539" y="435071"/>
                  </a:lnTo>
                  <a:lnTo>
                    <a:pt x="217539" y="435076"/>
                  </a:lnTo>
                  <a:lnTo>
                    <a:pt x="0" y="435076"/>
                  </a:lnTo>
                  <a:lnTo>
                    <a:pt x="217539" y="217540"/>
                  </a:lnTo>
                  <a:close/>
                </a:path>
              </a:pathLst>
            </a:custGeom>
            <a:grpFill/>
            <a:ln w="27192" cap="flat">
              <a:noFill/>
              <a:prstDash val="solid"/>
              <a:miter/>
            </a:ln>
          </p:spPr>
          <p:txBody>
            <a:bodyPr rtlCol="0" anchor="ctr"/>
            <a:lstStyle/>
            <a:p>
              <a:endParaRPr lang="uk-UA" sz="900"/>
            </a:p>
          </p:txBody>
        </p:sp>
        <p:sp>
          <p:nvSpPr>
            <p:cNvPr id="490" name="Freeform: Shape 489">
              <a:extLst>
                <a:ext uri="{FF2B5EF4-FFF2-40B4-BE49-F238E27FC236}">
                  <a16:creationId xmlns:a16="http://schemas.microsoft.com/office/drawing/2014/main" id="{83CEA7E7-BEF6-FB8B-79D6-074E18FA7757}"/>
                </a:ext>
              </a:extLst>
            </p:cNvPr>
            <p:cNvSpPr/>
            <p:nvPr/>
          </p:nvSpPr>
          <p:spPr>
            <a:xfrm>
              <a:off x="16498719" y="228598"/>
              <a:ext cx="435077" cy="435078"/>
            </a:xfrm>
            <a:custGeom>
              <a:avLst/>
              <a:gdLst>
                <a:gd name="connsiteX0" fmla="*/ 0 w 435077"/>
                <a:gd name="connsiteY0" fmla="*/ 435079 h 435078"/>
                <a:gd name="connsiteX1" fmla="*/ 217510 w 435077"/>
                <a:gd name="connsiteY1" fmla="*/ 435079 h 435078"/>
                <a:gd name="connsiteX2" fmla="*/ 217510 w 435077"/>
                <a:gd name="connsiteY2" fmla="*/ 217546 h 435078"/>
                <a:gd name="connsiteX3" fmla="*/ 0 w 435077"/>
                <a:gd name="connsiteY3" fmla="*/ 435079 h 435078"/>
                <a:gd name="connsiteX4" fmla="*/ 217510 w 435077"/>
                <a:gd name="connsiteY4" fmla="*/ 0 h 435078"/>
                <a:gd name="connsiteX5" fmla="*/ 0 w 435077"/>
                <a:gd name="connsiteY5" fmla="*/ 0 h 435078"/>
                <a:gd name="connsiteX6" fmla="*/ 217510 w 435077"/>
                <a:gd name="connsiteY6" fmla="*/ 217532 h 435078"/>
                <a:gd name="connsiteX7" fmla="*/ 217510 w 435077"/>
                <a:gd name="connsiteY7" fmla="*/ 0 h 435078"/>
                <a:gd name="connsiteX8" fmla="*/ 435077 w 435077"/>
                <a:gd name="connsiteY8" fmla="*/ 435079 h 435078"/>
                <a:gd name="connsiteX9" fmla="*/ 217539 w 435077"/>
                <a:gd name="connsiteY9" fmla="*/ 435079 h 435078"/>
                <a:gd name="connsiteX10" fmla="*/ 435077 w 435077"/>
                <a:gd name="connsiteY10" fmla="*/ 217546 h 435078"/>
                <a:gd name="connsiteX11" fmla="*/ 435077 w 435077"/>
                <a:gd name="connsiteY11" fmla="*/ 435079 h 435078"/>
                <a:gd name="connsiteX12" fmla="*/ 435077 w 435077"/>
                <a:gd name="connsiteY12" fmla="*/ 0 h 435078"/>
                <a:gd name="connsiteX13" fmla="*/ 217539 w 435077"/>
                <a:gd name="connsiteY13" fmla="*/ 0 h 435078"/>
                <a:gd name="connsiteX14" fmla="*/ 435077 w 435077"/>
                <a:gd name="connsiteY14" fmla="*/ 217532 h 435078"/>
                <a:gd name="connsiteX15" fmla="*/ 435077 w 435077"/>
                <a:gd name="connsiteY15"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8">
                  <a:moveTo>
                    <a:pt x="0" y="435079"/>
                  </a:moveTo>
                  <a:lnTo>
                    <a:pt x="217510" y="435079"/>
                  </a:lnTo>
                  <a:lnTo>
                    <a:pt x="217510" y="217546"/>
                  </a:lnTo>
                  <a:lnTo>
                    <a:pt x="0" y="435079"/>
                  </a:lnTo>
                  <a:close/>
                  <a:moveTo>
                    <a:pt x="217510" y="0"/>
                  </a:moveTo>
                  <a:lnTo>
                    <a:pt x="0" y="0"/>
                  </a:lnTo>
                  <a:lnTo>
                    <a:pt x="217510" y="217532"/>
                  </a:lnTo>
                  <a:lnTo>
                    <a:pt x="217510" y="0"/>
                  </a:lnTo>
                  <a:close/>
                  <a:moveTo>
                    <a:pt x="435077" y="435079"/>
                  </a:moveTo>
                  <a:lnTo>
                    <a:pt x="217539" y="435079"/>
                  </a:lnTo>
                  <a:lnTo>
                    <a:pt x="435077" y="217546"/>
                  </a:lnTo>
                  <a:lnTo>
                    <a:pt x="435077" y="435079"/>
                  </a:lnTo>
                  <a:close/>
                  <a:moveTo>
                    <a:pt x="435077" y="0"/>
                  </a:moveTo>
                  <a:lnTo>
                    <a:pt x="217539" y="0"/>
                  </a:lnTo>
                  <a:lnTo>
                    <a:pt x="435077" y="217532"/>
                  </a:lnTo>
                  <a:lnTo>
                    <a:pt x="435077" y="0"/>
                  </a:lnTo>
                  <a:close/>
                </a:path>
              </a:pathLst>
            </a:custGeom>
            <a:grpFill/>
            <a:ln w="27192" cap="flat">
              <a:noFill/>
              <a:prstDash val="solid"/>
              <a:miter/>
            </a:ln>
          </p:spPr>
          <p:txBody>
            <a:bodyPr rtlCol="0" anchor="ctr"/>
            <a:lstStyle/>
            <a:p>
              <a:endParaRPr lang="uk-UA" sz="900"/>
            </a:p>
          </p:txBody>
        </p:sp>
        <p:sp>
          <p:nvSpPr>
            <p:cNvPr id="491" name="Freeform: Shape 490">
              <a:extLst>
                <a:ext uri="{FF2B5EF4-FFF2-40B4-BE49-F238E27FC236}">
                  <a16:creationId xmlns:a16="http://schemas.microsoft.com/office/drawing/2014/main" id="{B6C15501-A2DD-D6FD-594D-2993D0898DC7}"/>
                </a:ext>
              </a:extLst>
            </p:cNvPr>
            <p:cNvSpPr/>
            <p:nvPr/>
          </p:nvSpPr>
          <p:spPr>
            <a:xfrm>
              <a:off x="18239029" y="228598"/>
              <a:ext cx="435077" cy="435073"/>
            </a:xfrm>
            <a:custGeom>
              <a:avLst/>
              <a:gdLst>
                <a:gd name="connsiteX0" fmla="*/ 371365 w 435077"/>
                <a:gd name="connsiteY0" fmla="*/ 63716 h 435073"/>
                <a:gd name="connsiteX1" fmla="*/ 435077 w 435077"/>
                <a:gd name="connsiteY1" fmla="*/ 217539 h 435073"/>
                <a:gd name="connsiteX2" fmla="*/ 218953 w 435077"/>
                <a:gd name="connsiteY2" fmla="*/ 217539 h 435073"/>
                <a:gd name="connsiteX3" fmla="*/ 371365 w 435077"/>
                <a:gd name="connsiteY3" fmla="*/ 281249 h 435073"/>
                <a:gd name="connsiteX4" fmla="*/ 435077 w 435077"/>
                <a:gd name="connsiteY4" fmla="*/ 435073 h 435073"/>
                <a:gd name="connsiteX5" fmla="*/ 217539 w 435077"/>
                <a:gd name="connsiteY5" fmla="*/ 435073 h 435073"/>
                <a:gd name="connsiteX6" fmla="*/ 0 w 435077"/>
                <a:gd name="connsiteY6" fmla="*/ 435073 h 435073"/>
                <a:gd name="connsiteX7" fmla="*/ 63710 w 435077"/>
                <a:gd name="connsiteY7" fmla="*/ 281249 h 435073"/>
                <a:gd name="connsiteX8" fmla="*/ 216151 w 435077"/>
                <a:gd name="connsiteY8" fmla="*/ 217539 h 435073"/>
                <a:gd name="connsiteX9" fmla="*/ 0 w 435077"/>
                <a:gd name="connsiteY9" fmla="*/ 217539 h 435073"/>
                <a:gd name="connsiteX10" fmla="*/ 63710 w 435077"/>
                <a:gd name="connsiteY10" fmla="*/ 63716 h 435073"/>
                <a:gd name="connsiteX11" fmla="*/ 217539 w 435077"/>
                <a:gd name="connsiteY11" fmla="*/ 0 h 435073"/>
                <a:gd name="connsiteX12" fmla="*/ 371365 w 435077"/>
                <a:gd name="connsiteY12" fmla="*/ 63716 h 43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3">
                  <a:moveTo>
                    <a:pt x="371365" y="63716"/>
                  </a:moveTo>
                  <a:cubicBezTo>
                    <a:pt x="412154" y="104512"/>
                    <a:pt x="435077" y="159844"/>
                    <a:pt x="435077" y="217539"/>
                  </a:cubicBezTo>
                  <a:lnTo>
                    <a:pt x="218953" y="217539"/>
                  </a:lnTo>
                  <a:cubicBezTo>
                    <a:pt x="276137" y="217907"/>
                    <a:pt x="330904" y="240784"/>
                    <a:pt x="371365" y="281249"/>
                  </a:cubicBezTo>
                  <a:cubicBezTo>
                    <a:pt x="412154" y="322046"/>
                    <a:pt x="435077" y="377379"/>
                    <a:pt x="435077" y="435073"/>
                  </a:cubicBezTo>
                  <a:lnTo>
                    <a:pt x="217539" y="435073"/>
                  </a:lnTo>
                  <a:lnTo>
                    <a:pt x="0" y="435073"/>
                  </a:lnTo>
                  <a:cubicBezTo>
                    <a:pt x="0" y="377379"/>
                    <a:pt x="22922" y="322046"/>
                    <a:pt x="63710" y="281249"/>
                  </a:cubicBezTo>
                  <a:cubicBezTo>
                    <a:pt x="104200" y="240784"/>
                    <a:pt x="158967" y="217907"/>
                    <a:pt x="216151" y="217539"/>
                  </a:cubicBezTo>
                  <a:lnTo>
                    <a:pt x="0" y="217539"/>
                  </a:lnTo>
                  <a:cubicBezTo>
                    <a:pt x="0" y="159844"/>
                    <a:pt x="22922" y="104512"/>
                    <a:pt x="63710" y="63716"/>
                  </a:cubicBezTo>
                  <a:cubicBezTo>
                    <a:pt x="104527" y="22919"/>
                    <a:pt x="159836" y="0"/>
                    <a:pt x="217539" y="0"/>
                  </a:cubicBezTo>
                  <a:cubicBezTo>
                    <a:pt x="275241" y="0"/>
                    <a:pt x="330577" y="22919"/>
                    <a:pt x="371365" y="63716"/>
                  </a:cubicBezTo>
                  <a:close/>
                </a:path>
              </a:pathLst>
            </a:custGeom>
            <a:grpFill/>
            <a:ln w="27192" cap="flat">
              <a:noFill/>
              <a:prstDash val="solid"/>
              <a:miter/>
            </a:ln>
          </p:spPr>
          <p:txBody>
            <a:bodyPr rtlCol="0" anchor="ctr"/>
            <a:lstStyle/>
            <a:p>
              <a:endParaRPr lang="uk-UA" sz="900"/>
            </a:p>
          </p:txBody>
        </p:sp>
        <p:sp>
          <p:nvSpPr>
            <p:cNvPr id="492" name="Freeform: Shape 491">
              <a:extLst>
                <a:ext uri="{FF2B5EF4-FFF2-40B4-BE49-F238E27FC236}">
                  <a16:creationId xmlns:a16="http://schemas.microsoft.com/office/drawing/2014/main" id="{F7742D2C-9D4D-1949-EC2D-E20F85B98E08}"/>
                </a:ext>
              </a:extLst>
            </p:cNvPr>
            <p:cNvSpPr/>
            <p:nvPr/>
          </p:nvSpPr>
          <p:spPr>
            <a:xfrm>
              <a:off x="17368874" y="228598"/>
              <a:ext cx="435077" cy="435078"/>
            </a:xfrm>
            <a:custGeom>
              <a:avLst/>
              <a:gdLst>
                <a:gd name="connsiteX0" fmla="*/ 217539 w 435077"/>
                <a:gd name="connsiteY0" fmla="*/ 0 h 435078"/>
                <a:gd name="connsiteX1" fmla="*/ 0 w 435077"/>
                <a:gd name="connsiteY1" fmla="*/ 0 h 435078"/>
                <a:gd name="connsiteX2" fmla="*/ 0 w 435077"/>
                <a:gd name="connsiteY2" fmla="*/ 217539 h 435078"/>
                <a:gd name="connsiteX3" fmla="*/ 217539 w 435077"/>
                <a:gd name="connsiteY3" fmla="*/ 0 h 435078"/>
                <a:gd name="connsiteX4" fmla="*/ 435077 w 435077"/>
                <a:gd name="connsiteY4" fmla="*/ 0 h 435078"/>
                <a:gd name="connsiteX5" fmla="*/ 435077 w 435077"/>
                <a:gd name="connsiteY5" fmla="*/ 217539 h 435078"/>
                <a:gd name="connsiteX6" fmla="*/ 217539 w 435077"/>
                <a:gd name="connsiteY6" fmla="*/ 0 h 435078"/>
                <a:gd name="connsiteX7" fmla="*/ 435077 w 435077"/>
                <a:gd name="connsiteY7" fmla="*/ 0 h 435078"/>
                <a:gd name="connsiteX8" fmla="*/ 217539 w 435077"/>
                <a:gd name="connsiteY8" fmla="*/ 435079 h 435078"/>
                <a:gd name="connsiteX9" fmla="*/ 435077 w 435077"/>
                <a:gd name="connsiteY9" fmla="*/ 217539 h 435078"/>
                <a:gd name="connsiteX10" fmla="*/ 435077 w 435077"/>
                <a:gd name="connsiteY10" fmla="*/ 435079 h 435078"/>
                <a:gd name="connsiteX11" fmla="*/ 217539 w 435077"/>
                <a:gd name="connsiteY11" fmla="*/ 435079 h 435078"/>
                <a:gd name="connsiteX12" fmla="*/ 217539 w 435077"/>
                <a:gd name="connsiteY12" fmla="*/ 435079 h 435078"/>
                <a:gd name="connsiteX13" fmla="*/ 0 w 435077"/>
                <a:gd name="connsiteY13" fmla="*/ 217539 h 435078"/>
                <a:gd name="connsiteX14" fmla="*/ 0 w 435077"/>
                <a:gd name="connsiteY14" fmla="*/ 435079 h 435078"/>
                <a:gd name="connsiteX15" fmla="*/ 217539 w 435077"/>
                <a:gd name="connsiteY15" fmla="*/ 435079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8">
                  <a:moveTo>
                    <a:pt x="217539" y="0"/>
                  </a:moveTo>
                  <a:lnTo>
                    <a:pt x="0" y="0"/>
                  </a:lnTo>
                  <a:lnTo>
                    <a:pt x="0" y="217539"/>
                  </a:lnTo>
                  <a:lnTo>
                    <a:pt x="217539" y="0"/>
                  </a:lnTo>
                  <a:close/>
                  <a:moveTo>
                    <a:pt x="435077" y="0"/>
                  </a:moveTo>
                  <a:lnTo>
                    <a:pt x="435077" y="217539"/>
                  </a:lnTo>
                  <a:lnTo>
                    <a:pt x="217539" y="0"/>
                  </a:lnTo>
                  <a:lnTo>
                    <a:pt x="435077" y="0"/>
                  </a:lnTo>
                  <a:close/>
                  <a:moveTo>
                    <a:pt x="217539" y="435079"/>
                  </a:moveTo>
                  <a:lnTo>
                    <a:pt x="435077" y="217539"/>
                  </a:lnTo>
                  <a:lnTo>
                    <a:pt x="435077" y="435079"/>
                  </a:lnTo>
                  <a:lnTo>
                    <a:pt x="217539" y="435079"/>
                  </a:lnTo>
                  <a:close/>
                  <a:moveTo>
                    <a:pt x="217539" y="435079"/>
                  </a:moveTo>
                  <a:lnTo>
                    <a:pt x="0" y="217539"/>
                  </a:lnTo>
                  <a:lnTo>
                    <a:pt x="0" y="435079"/>
                  </a:lnTo>
                  <a:lnTo>
                    <a:pt x="217539" y="435079"/>
                  </a:lnTo>
                  <a:close/>
                </a:path>
              </a:pathLst>
            </a:custGeom>
            <a:grpFill/>
            <a:ln w="27192" cap="flat">
              <a:noFill/>
              <a:prstDash val="solid"/>
              <a:miter/>
            </a:ln>
          </p:spPr>
          <p:txBody>
            <a:bodyPr rtlCol="0" anchor="ctr"/>
            <a:lstStyle/>
            <a:p>
              <a:endParaRPr lang="uk-UA" sz="900"/>
            </a:p>
          </p:txBody>
        </p:sp>
        <p:sp>
          <p:nvSpPr>
            <p:cNvPr id="493" name="Freeform: Shape 492">
              <a:extLst>
                <a:ext uri="{FF2B5EF4-FFF2-40B4-BE49-F238E27FC236}">
                  <a16:creationId xmlns:a16="http://schemas.microsoft.com/office/drawing/2014/main" id="{03D3A3F3-C335-2A06-37E9-01E138883CB6}"/>
                </a:ext>
              </a:extLst>
            </p:cNvPr>
            <p:cNvSpPr/>
            <p:nvPr/>
          </p:nvSpPr>
          <p:spPr>
            <a:xfrm>
              <a:off x="19109210" y="228598"/>
              <a:ext cx="435077" cy="435075"/>
            </a:xfrm>
            <a:custGeom>
              <a:avLst/>
              <a:gdLst>
                <a:gd name="connsiteX0" fmla="*/ 217539 w 435077"/>
                <a:gd name="connsiteY0" fmla="*/ 217533 h 435075"/>
                <a:gd name="connsiteX1" fmla="*/ 217539 w 435077"/>
                <a:gd name="connsiteY1" fmla="*/ 0 h 435075"/>
                <a:gd name="connsiteX2" fmla="*/ 0 w 435077"/>
                <a:gd name="connsiteY2" fmla="*/ 0 h 435075"/>
                <a:gd name="connsiteX3" fmla="*/ 217539 w 435077"/>
                <a:gd name="connsiteY3" fmla="*/ 217538 h 435075"/>
                <a:gd name="connsiteX4" fmla="*/ 0 w 435077"/>
                <a:gd name="connsiteY4" fmla="*/ 435076 h 435075"/>
                <a:gd name="connsiteX5" fmla="*/ 217539 w 435077"/>
                <a:gd name="connsiteY5" fmla="*/ 435076 h 435075"/>
                <a:gd name="connsiteX6" fmla="*/ 217539 w 435077"/>
                <a:gd name="connsiteY6" fmla="*/ 435071 h 435075"/>
                <a:gd name="connsiteX7" fmla="*/ 435051 w 435077"/>
                <a:gd name="connsiteY7" fmla="*/ 217542 h 435075"/>
                <a:gd name="connsiteX8" fmla="*/ 435077 w 435077"/>
                <a:gd name="connsiteY8" fmla="*/ 217542 h 435075"/>
                <a:gd name="connsiteX9" fmla="*/ 435051 w 435077"/>
                <a:gd name="connsiteY9" fmla="*/ 217537 h 435075"/>
                <a:gd name="connsiteX10" fmla="*/ 435077 w 435077"/>
                <a:gd name="connsiteY10" fmla="*/ 217533 h 435075"/>
                <a:gd name="connsiteX11" fmla="*/ 435051 w 435077"/>
                <a:gd name="connsiteY11" fmla="*/ 217533 h 435075"/>
                <a:gd name="connsiteX12" fmla="*/ 217539 w 435077"/>
                <a:gd name="connsiteY12" fmla="*/ 4 h 435075"/>
                <a:gd name="connsiteX13" fmla="*/ 217539 w 435077"/>
                <a:gd name="connsiteY13" fmla="*/ 217533 h 435075"/>
                <a:gd name="connsiteX14" fmla="*/ 217539 w 435077"/>
                <a:gd name="connsiteY14" fmla="*/ 217533 h 43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5">
                  <a:moveTo>
                    <a:pt x="217539" y="217533"/>
                  </a:moveTo>
                  <a:lnTo>
                    <a:pt x="217539" y="0"/>
                  </a:lnTo>
                  <a:lnTo>
                    <a:pt x="0" y="0"/>
                  </a:lnTo>
                  <a:lnTo>
                    <a:pt x="217539" y="217538"/>
                  </a:lnTo>
                  <a:lnTo>
                    <a:pt x="0" y="435076"/>
                  </a:lnTo>
                  <a:lnTo>
                    <a:pt x="217539" y="435076"/>
                  </a:lnTo>
                  <a:lnTo>
                    <a:pt x="217539" y="435071"/>
                  </a:lnTo>
                  <a:lnTo>
                    <a:pt x="435051" y="217542"/>
                  </a:lnTo>
                  <a:lnTo>
                    <a:pt x="435077" y="217542"/>
                  </a:lnTo>
                  <a:lnTo>
                    <a:pt x="435051" y="217537"/>
                  </a:lnTo>
                  <a:lnTo>
                    <a:pt x="435077" y="217533"/>
                  </a:lnTo>
                  <a:lnTo>
                    <a:pt x="435051" y="217533"/>
                  </a:lnTo>
                  <a:lnTo>
                    <a:pt x="217539" y="4"/>
                  </a:lnTo>
                  <a:lnTo>
                    <a:pt x="217539" y="217533"/>
                  </a:lnTo>
                  <a:lnTo>
                    <a:pt x="217539" y="217533"/>
                  </a:lnTo>
                  <a:close/>
                </a:path>
              </a:pathLst>
            </a:custGeom>
            <a:grpFill/>
            <a:ln w="27192" cap="flat">
              <a:noFill/>
              <a:prstDash val="solid"/>
              <a:miter/>
            </a:ln>
          </p:spPr>
          <p:txBody>
            <a:bodyPr rtlCol="0" anchor="ctr"/>
            <a:lstStyle/>
            <a:p>
              <a:endParaRPr lang="uk-UA" sz="900"/>
            </a:p>
          </p:txBody>
        </p:sp>
        <p:sp>
          <p:nvSpPr>
            <p:cNvPr id="494" name="Freeform: Shape 493">
              <a:extLst>
                <a:ext uri="{FF2B5EF4-FFF2-40B4-BE49-F238E27FC236}">
                  <a16:creationId xmlns:a16="http://schemas.microsoft.com/office/drawing/2014/main" id="{BC9CD344-5E2D-89E7-C768-C36BC0B5116F}"/>
                </a:ext>
              </a:extLst>
            </p:cNvPr>
            <p:cNvSpPr/>
            <p:nvPr/>
          </p:nvSpPr>
          <p:spPr>
            <a:xfrm>
              <a:off x="19979365" y="228598"/>
              <a:ext cx="435077" cy="435067"/>
            </a:xfrm>
            <a:custGeom>
              <a:avLst/>
              <a:gdLst>
                <a:gd name="connsiteX0" fmla="*/ 0 w 435077"/>
                <a:gd name="connsiteY0" fmla="*/ 435068 h 435067"/>
                <a:gd name="connsiteX1" fmla="*/ 217539 w 435077"/>
                <a:gd name="connsiteY1" fmla="*/ 435068 h 435067"/>
                <a:gd name="connsiteX2" fmla="*/ 217539 w 435077"/>
                <a:gd name="connsiteY2" fmla="*/ 217535 h 435067"/>
                <a:gd name="connsiteX3" fmla="*/ 0 w 435077"/>
                <a:gd name="connsiteY3" fmla="*/ 435068 h 435067"/>
                <a:gd name="connsiteX4" fmla="*/ 217539 w 435077"/>
                <a:gd name="connsiteY4" fmla="*/ 0 h 435067"/>
                <a:gd name="connsiteX5" fmla="*/ 0 w 435077"/>
                <a:gd name="connsiteY5" fmla="*/ 0 h 435067"/>
                <a:gd name="connsiteX6" fmla="*/ 217539 w 435077"/>
                <a:gd name="connsiteY6" fmla="*/ 217532 h 435067"/>
                <a:gd name="connsiteX7" fmla="*/ 217539 w 435077"/>
                <a:gd name="connsiteY7" fmla="*/ 0 h 435067"/>
                <a:gd name="connsiteX8" fmla="*/ 435077 w 435077"/>
                <a:gd name="connsiteY8" fmla="*/ 435068 h 435067"/>
                <a:gd name="connsiteX9" fmla="*/ 217539 w 435077"/>
                <a:gd name="connsiteY9" fmla="*/ 435068 h 435067"/>
                <a:gd name="connsiteX10" fmla="*/ 435077 w 435077"/>
                <a:gd name="connsiteY10" fmla="*/ 217535 h 435067"/>
                <a:gd name="connsiteX11" fmla="*/ 435077 w 435077"/>
                <a:gd name="connsiteY11" fmla="*/ 435068 h 435067"/>
                <a:gd name="connsiteX12" fmla="*/ 435077 w 435077"/>
                <a:gd name="connsiteY12" fmla="*/ 0 h 435067"/>
                <a:gd name="connsiteX13" fmla="*/ 217539 w 435077"/>
                <a:gd name="connsiteY13" fmla="*/ 0 h 435067"/>
                <a:gd name="connsiteX14" fmla="*/ 435077 w 435077"/>
                <a:gd name="connsiteY14" fmla="*/ 217532 h 435067"/>
                <a:gd name="connsiteX15" fmla="*/ 435077 w 435077"/>
                <a:gd name="connsiteY15" fmla="*/ 0 h 435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67">
                  <a:moveTo>
                    <a:pt x="0" y="435068"/>
                  </a:moveTo>
                  <a:lnTo>
                    <a:pt x="217539" y="435068"/>
                  </a:lnTo>
                  <a:lnTo>
                    <a:pt x="217539" y="217535"/>
                  </a:lnTo>
                  <a:lnTo>
                    <a:pt x="0" y="435068"/>
                  </a:lnTo>
                  <a:close/>
                  <a:moveTo>
                    <a:pt x="217539" y="0"/>
                  </a:moveTo>
                  <a:lnTo>
                    <a:pt x="0" y="0"/>
                  </a:lnTo>
                  <a:lnTo>
                    <a:pt x="217539" y="217532"/>
                  </a:lnTo>
                  <a:lnTo>
                    <a:pt x="217539" y="0"/>
                  </a:lnTo>
                  <a:close/>
                  <a:moveTo>
                    <a:pt x="435077" y="435068"/>
                  </a:moveTo>
                  <a:lnTo>
                    <a:pt x="217539" y="435068"/>
                  </a:lnTo>
                  <a:lnTo>
                    <a:pt x="435077" y="217535"/>
                  </a:lnTo>
                  <a:lnTo>
                    <a:pt x="435077" y="435068"/>
                  </a:lnTo>
                  <a:close/>
                  <a:moveTo>
                    <a:pt x="435077" y="0"/>
                  </a:moveTo>
                  <a:lnTo>
                    <a:pt x="217539" y="0"/>
                  </a:lnTo>
                  <a:lnTo>
                    <a:pt x="435077" y="217532"/>
                  </a:lnTo>
                  <a:lnTo>
                    <a:pt x="435077" y="0"/>
                  </a:lnTo>
                  <a:close/>
                </a:path>
              </a:pathLst>
            </a:custGeom>
            <a:grpFill/>
            <a:ln w="27192" cap="flat">
              <a:noFill/>
              <a:prstDash val="solid"/>
              <a:miter/>
            </a:ln>
          </p:spPr>
          <p:txBody>
            <a:bodyPr rtlCol="0" anchor="ctr"/>
            <a:lstStyle/>
            <a:p>
              <a:endParaRPr lang="uk-UA" sz="900"/>
            </a:p>
          </p:txBody>
        </p:sp>
        <p:sp>
          <p:nvSpPr>
            <p:cNvPr id="495" name="Freeform: Shape 494">
              <a:extLst>
                <a:ext uri="{FF2B5EF4-FFF2-40B4-BE49-F238E27FC236}">
                  <a16:creationId xmlns:a16="http://schemas.microsoft.com/office/drawing/2014/main" id="{DD51F0E1-5267-ADC4-D404-5A4CF2BBFE42}"/>
                </a:ext>
              </a:extLst>
            </p:cNvPr>
            <p:cNvSpPr/>
            <p:nvPr/>
          </p:nvSpPr>
          <p:spPr>
            <a:xfrm>
              <a:off x="21719702" y="228598"/>
              <a:ext cx="435077" cy="435073"/>
            </a:xfrm>
            <a:custGeom>
              <a:avLst/>
              <a:gdLst>
                <a:gd name="connsiteX0" fmla="*/ 371339 w 435077"/>
                <a:gd name="connsiteY0" fmla="*/ 63716 h 435073"/>
                <a:gd name="connsiteX1" fmla="*/ 435077 w 435077"/>
                <a:gd name="connsiteY1" fmla="*/ 217539 h 435073"/>
                <a:gd name="connsiteX2" fmla="*/ 218926 w 435077"/>
                <a:gd name="connsiteY2" fmla="*/ 217539 h 435073"/>
                <a:gd name="connsiteX3" fmla="*/ 371367 w 435077"/>
                <a:gd name="connsiteY3" fmla="*/ 281249 h 435073"/>
                <a:gd name="connsiteX4" fmla="*/ 435077 w 435077"/>
                <a:gd name="connsiteY4" fmla="*/ 435073 h 435073"/>
                <a:gd name="connsiteX5" fmla="*/ 217539 w 435077"/>
                <a:gd name="connsiteY5" fmla="*/ 435073 h 435073"/>
                <a:gd name="connsiteX6" fmla="*/ 0 w 435077"/>
                <a:gd name="connsiteY6" fmla="*/ 435073 h 435073"/>
                <a:gd name="connsiteX7" fmla="*/ 63712 w 435077"/>
                <a:gd name="connsiteY7" fmla="*/ 281249 h 435073"/>
                <a:gd name="connsiteX8" fmla="*/ 216125 w 435077"/>
                <a:gd name="connsiteY8" fmla="*/ 217539 h 435073"/>
                <a:gd name="connsiteX9" fmla="*/ 0 w 435077"/>
                <a:gd name="connsiteY9" fmla="*/ 217539 h 435073"/>
                <a:gd name="connsiteX10" fmla="*/ 63712 w 435077"/>
                <a:gd name="connsiteY10" fmla="*/ 63716 h 435073"/>
                <a:gd name="connsiteX11" fmla="*/ 217539 w 435077"/>
                <a:gd name="connsiteY11" fmla="*/ 0 h 435073"/>
                <a:gd name="connsiteX12" fmla="*/ 371339 w 435077"/>
                <a:gd name="connsiteY12" fmla="*/ 63716 h 43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3">
                  <a:moveTo>
                    <a:pt x="371339" y="63716"/>
                  </a:moveTo>
                  <a:cubicBezTo>
                    <a:pt x="412155" y="104512"/>
                    <a:pt x="435077" y="159844"/>
                    <a:pt x="435077" y="217539"/>
                  </a:cubicBezTo>
                  <a:lnTo>
                    <a:pt x="218926" y="217539"/>
                  </a:lnTo>
                  <a:cubicBezTo>
                    <a:pt x="276112" y="217907"/>
                    <a:pt x="330877" y="240784"/>
                    <a:pt x="371367" y="281249"/>
                  </a:cubicBezTo>
                  <a:cubicBezTo>
                    <a:pt x="412155" y="322046"/>
                    <a:pt x="435077" y="377379"/>
                    <a:pt x="435077" y="435073"/>
                  </a:cubicBezTo>
                  <a:lnTo>
                    <a:pt x="217539" y="435073"/>
                  </a:lnTo>
                  <a:lnTo>
                    <a:pt x="0" y="435073"/>
                  </a:lnTo>
                  <a:cubicBezTo>
                    <a:pt x="0" y="377379"/>
                    <a:pt x="22924" y="322046"/>
                    <a:pt x="63712" y="281249"/>
                  </a:cubicBezTo>
                  <a:cubicBezTo>
                    <a:pt x="104175" y="240784"/>
                    <a:pt x="158940" y="217907"/>
                    <a:pt x="216125" y="217539"/>
                  </a:cubicBezTo>
                  <a:lnTo>
                    <a:pt x="0" y="217539"/>
                  </a:lnTo>
                  <a:cubicBezTo>
                    <a:pt x="0" y="159844"/>
                    <a:pt x="22897" y="104512"/>
                    <a:pt x="63712" y="63716"/>
                  </a:cubicBezTo>
                  <a:cubicBezTo>
                    <a:pt x="104501" y="22919"/>
                    <a:pt x="159838" y="0"/>
                    <a:pt x="217539" y="0"/>
                  </a:cubicBezTo>
                  <a:cubicBezTo>
                    <a:pt x="275215" y="0"/>
                    <a:pt x="330550" y="22919"/>
                    <a:pt x="371339" y="63716"/>
                  </a:cubicBezTo>
                  <a:close/>
                </a:path>
              </a:pathLst>
            </a:custGeom>
            <a:grpFill/>
            <a:ln w="27192" cap="flat">
              <a:noFill/>
              <a:prstDash val="solid"/>
              <a:miter/>
            </a:ln>
          </p:spPr>
          <p:txBody>
            <a:bodyPr rtlCol="0" anchor="ctr"/>
            <a:lstStyle/>
            <a:p>
              <a:endParaRPr lang="uk-UA" sz="900"/>
            </a:p>
          </p:txBody>
        </p:sp>
        <p:sp>
          <p:nvSpPr>
            <p:cNvPr id="496" name="Freeform: Shape 495">
              <a:extLst>
                <a:ext uri="{FF2B5EF4-FFF2-40B4-BE49-F238E27FC236}">
                  <a16:creationId xmlns:a16="http://schemas.microsoft.com/office/drawing/2014/main" id="{B3D8B661-04DC-44F6-C38F-309611F3BABB}"/>
                </a:ext>
              </a:extLst>
            </p:cNvPr>
            <p:cNvSpPr/>
            <p:nvPr/>
          </p:nvSpPr>
          <p:spPr>
            <a:xfrm>
              <a:off x="20849520" y="228598"/>
              <a:ext cx="435103" cy="435078"/>
            </a:xfrm>
            <a:custGeom>
              <a:avLst/>
              <a:gdLst>
                <a:gd name="connsiteX0" fmla="*/ 217539 w 435103"/>
                <a:gd name="connsiteY0" fmla="*/ 0 h 435078"/>
                <a:gd name="connsiteX1" fmla="*/ 0 w 435103"/>
                <a:gd name="connsiteY1" fmla="*/ 0 h 435078"/>
                <a:gd name="connsiteX2" fmla="*/ 0 w 435103"/>
                <a:gd name="connsiteY2" fmla="*/ 217539 h 435078"/>
                <a:gd name="connsiteX3" fmla="*/ 217539 w 435103"/>
                <a:gd name="connsiteY3" fmla="*/ 0 h 435078"/>
                <a:gd name="connsiteX4" fmla="*/ 435104 w 435103"/>
                <a:gd name="connsiteY4" fmla="*/ 0 h 435078"/>
                <a:gd name="connsiteX5" fmla="*/ 435104 w 435103"/>
                <a:gd name="connsiteY5" fmla="*/ 217539 h 435078"/>
                <a:gd name="connsiteX6" fmla="*/ 217565 w 435103"/>
                <a:gd name="connsiteY6" fmla="*/ 0 h 435078"/>
                <a:gd name="connsiteX7" fmla="*/ 435104 w 435103"/>
                <a:gd name="connsiteY7" fmla="*/ 0 h 435078"/>
                <a:gd name="connsiteX8" fmla="*/ 217565 w 435103"/>
                <a:gd name="connsiteY8" fmla="*/ 435079 h 435078"/>
                <a:gd name="connsiteX9" fmla="*/ 435104 w 435103"/>
                <a:gd name="connsiteY9" fmla="*/ 217539 h 435078"/>
                <a:gd name="connsiteX10" fmla="*/ 435104 w 435103"/>
                <a:gd name="connsiteY10" fmla="*/ 435079 h 435078"/>
                <a:gd name="connsiteX11" fmla="*/ 217565 w 435103"/>
                <a:gd name="connsiteY11" fmla="*/ 435079 h 435078"/>
                <a:gd name="connsiteX12" fmla="*/ 217565 w 435103"/>
                <a:gd name="connsiteY12" fmla="*/ 435079 h 435078"/>
                <a:gd name="connsiteX13" fmla="*/ 27 w 435103"/>
                <a:gd name="connsiteY13" fmla="*/ 217539 h 435078"/>
                <a:gd name="connsiteX14" fmla="*/ 27 w 435103"/>
                <a:gd name="connsiteY14" fmla="*/ 435079 h 435078"/>
                <a:gd name="connsiteX15" fmla="*/ 217565 w 435103"/>
                <a:gd name="connsiteY15" fmla="*/ 435079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3" h="435078">
                  <a:moveTo>
                    <a:pt x="217539" y="0"/>
                  </a:moveTo>
                  <a:lnTo>
                    <a:pt x="0" y="0"/>
                  </a:lnTo>
                  <a:lnTo>
                    <a:pt x="0" y="217539"/>
                  </a:lnTo>
                  <a:lnTo>
                    <a:pt x="217539" y="0"/>
                  </a:lnTo>
                  <a:close/>
                  <a:moveTo>
                    <a:pt x="435104" y="0"/>
                  </a:moveTo>
                  <a:lnTo>
                    <a:pt x="435104" y="217539"/>
                  </a:lnTo>
                  <a:lnTo>
                    <a:pt x="217565" y="0"/>
                  </a:lnTo>
                  <a:lnTo>
                    <a:pt x="435104" y="0"/>
                  </a:lnTo>
                  <a:close/>
                  <a:moveTo>
                    <a:pt x="217565" y="435079"/>
                  </a:moveTo>
                  <a:lnTo>
                    <a:pt x="435104" y="217539"/>
                  </a:lnTo>
                  <a:lnTo>
                    <a:pt x="435104" y="435079"/>
                  </a:lnTo>
                  <a:lnTo>
                    <a:pt x="217565" y="435079"/>
                  </a:lnTo>
                  <a:close/>
                  <a:moveTo>
                    <a:pt x="217565" y="435079"/>
                  </a:moveTo>
                  <a:lnTo>
                    <a:pt x="27" y="217539"/>
                  </a:lnTo>
                  <a:lnTo>
                    <a:pt x="27" y="435079"/>
                  </a:lnTo>
                  <a:lnTo>
                    <a:pt x="217565" y="435079"/>
                  </a:lnTo>
                  <a:close/>
                </a:path>
              </a:pathLst>
            </a:custGeom>
            <a:grpFill/>
            <a:ln w="27192" cap="flat">
              <a:noFill/>
              <a:prstDash val="solid"/>
              <a:miter/>
            </a:ln>
          </p:spPr>
          <p:txBody>
            <a:bodyPr rtlCol="0" anchor="ctr"/>
            <a:lstStyle/>
            <a:p>
              <a:endParaRPr lang="uk-UA" sz="900"/>
            </a:p>
          </p:txBody>
        </p:sp>
        <p:sp>
          <p:nvSpPr>
            <p:cNvPr id="497" name="Freeform: Shape 496">
              <a:extLst>
                <a:ext uri="{FF2B5EF4-FFF2-40B4-BE49-F238E27FC236}">
                  <a16:creationId xmlns:a16="http://schemas.microsoft.com/office/drawing/2014/main" id="{1E5CAA48-3A93-F987-7247-84A433689DB4}"/>
                </a:ext>
              </a:extLst>
            </p:cNvPr>
            <p:cNvSpPr/>
            <p:nvPr/>
          </p:nvSpPr>
          <p:spPr>
            <a:xfrm>
              <a:off x="22589856" y="228598"/>
              <a:ext cx="435077" cy="435075"/>
            </a:xfrm>
            <a:custGeom>
              <a:avLst/>
              <a:gdLst>
                <a:gd name="connsiteX0" fmla="*/ 217539 w 435077"/>
                <a:gd name="connsiteY0" fmla="*/ 217533 h 435075"/>
                <a:gd name="connsiteX1" fmla="*/ 217539 w 435077"/>
                <a:gd name="connsiteY1" fmla="*/ 0 h 435075"/>
                <a:gd name="connsiteX2" fmla="*/ 0 w 435077"/>
                <a:gd name="connsiteY2" fmla="*/ 0 h 435075"/>
                <a:gd name="connsiteX3" fmla="*/ 217539 w 435077"/>
                <a:gd name="connsiteY3" fmla="*/ 217538 h 435075"/>
                <a:gd name="connsiteX4" fmla="*/ 0 w 435077"/>
                <a:gd name="connsiteY4" fmla="*/ 435076 h 435075"/>
                <a:gd name="connsiteX5" fmla="*/ 217539 w 435077"/>
                <a:gd name="connsiteY5" fmla="*/ 435076 h 435075"/>
                <a:gd name="connsiteX6" fmla="*/ 217539 w 435077"/>
                <a:gd name="connsiteY6" fmla="*/ 435071 h 435075"/>
                <a:gd name="connsiteX7" fmla="*/ 435077 w 435077"/>
                <a:gd name="connsiteY7" fmla="*/ 217542 h 435075"/>
                <a:gd name="connsiteX8" fmla="*/ 435077 w 435077"/>
                <a:gd name="connsiteY8" fmla="*/ 217542 h 435075"/>
                <a:gd name="connsiteX9" fmla="*/ 435077 w 435077"/>
                <a:gd name="connsiteY9" fmla="*/ 217537 h 435075"/>
                <a:gd name="connsiteX10" fmla="*/ 435077 w 435077"/>
                <a:gd name="connsiteY10" fmla="*/ 217533 h 435075"/>
                <a:gd name="connsiteX11" fmla="*/ 435077 w 435077"/>
                <a:gd name="connsiteY11" fmla="*/ 217533 h 435075"/>
                <a:gd name="connsiteX12" fmla="*/ 217539 w 435077"/>
                <a:gd name="connsiteY12" fmla="*/ 4 h 435075"/>
                <a:gd name="connsiteX13" fmla="*/ 217539 w 435077"/>
                <a:gd name="connsiteY13" fmla="*/ 217533 h 435075"/>
                <a:gd name="connsiteX14" fmla="*/ 217539 w 435077"/>
                <a:gd name="connsiteY14" fmla="*/ 217533 h 43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5">
                  <a:moveTo>
                    <a:pt x="217539" y="217533"/>
                  </a:moveTo>
                  <a:lnTo>
                    <a:pt x="217539" y="0"/>
                  </a:lnTo>
                  <a:lnTo>
                    <a:pt x="0" y="0"/>
                  </a:lnTo>
                  <a:lnTo>
                    <a:pt x="217539" y="217538"/>
                  </a:lnTo>
                  <a:lnTo>
                    <a:pt x="0" y="435076"/>
                  </a:lnTo>
                  <a:lnTo>
                    <a:pt x="217539" y="435076"/>
                  </a:lnTo>
                  <a:lnTo>
                    <a:pt x="217539" y="435071"/>
                  </a:lnTo>
                  <a:lnTo>
                    <a:pt x="435077" y="217542"/>
                  </a:lnTo>
                  <a:lnTo>
                    <a:pt x="435077" y="217542"/>
                  </a:lnTo>
                  <a:lnTo>
                    <a:pt x="435077" y="217537"/>
                  </a:lnTo>
                  <a:lnTo>
                    <a:pt x="435077" y="217533"/>
                  </a:lnTo>
                  <a:lnTo>
                    <a:pt x="435077" y="217533"/>
                  </a:lnTo>
                  <a:lnTo>
                    <a:pt x="217539" y="4"/>
                  </a:lnTo>
                  <a:lnTo>
                    <a:pt x="217539" y="217533"/>
                  </a:lnTo>
                  <a:lnTo>
                    <a:pt x="217539" y="217533"/>
                  </a:lnTo>
                  <a:close/>
                </a:path>
              </a:pathLst>
            </a:custGeom>
            <a:grpFill/>
            <a:ln w="27192" cap="flat">
              <a:noFill/>
              <a:prstDash val="solid"/>
              <a:miter/>
            </a:ln>
          </p:spPr>
          <p:txBody>
            <a:bodyPr rtlCol="0" anchor="ctr"/>
            <a:lstStyle/>
            <a:p>
              <a:endParaRPr lang="uk-UA" sz="900"/>
            </a:p>
          </p:txBody>
        </p:sp>
        <p:sp>
          <p:nvSpPr>
            <p:cNvPr id="498" name="Freeform: Shape 497">
              <a:extLst>
                <a:ext uri="{FF2B5EF4-FFF2-40B4-BE49-F238E27FC236}">
                  <a16:creationId xmlns:a16="http://schemas.microsoft.com/office/drawing/2014/main" id="{9FDC5016-73AB-9AE1-3401-39A8381621DD}"/>
                </a:ext>
              </a:extLst>
            </p:cNvPr>
            <p:cNvSpPr/>
            <p:nvPr/>
          </p:nvSpPr>
          <p:spPr>
            <a:xfrm>
              <a:off x="23460039" y="228598"/>
              <a:ext cx="435077" cy="435067"/>
            </a:xfrm>
            <a:custGeom>
              <a:avLst/>
              <a:gdLst>
                <a:gd name="connsiteX0" fmla="*/ 0 w 435077"/>
                <a:gd name="connsiteY0" fmla="*/ 435065 h 435067"/>
                <a:gd name="connsiteX1" fmla="*/ 217510 w 435077"/>
                <a:gd name="connsiteY1" fmla="*/ 435068 h 435067"/>
                <a:gd name="connsiteX2" fmla="*/ 217510 w 435077"/>
                <a:gd name="connsiteY2" fmla="*/ 217535 h 435067"/>
                <a:gd name="connsiteX3" fmla="*/ 0 w 435077"/>
                <a:gd name="connsiteY3" fmla="*/ 435065 h 435067"/>
                <a:gd name="connsiteX4" fmla="*/ 217539 w 435077"/>
                <a:gd name="connsiteY4" fmla="*/ 0 h 435067"/>
                <a:gd name="connsiteX5" fmla="*/ 0 w 435077"/>
                <a:gd name="connsiteY5" fmla="*/ 0 h 435067"/>
                <a:gd name="connsiteX6" fmla="*/ 217539 w 435077"/>
                <a:gd name="connsiteY6" fmla="*/ 217532 h 435067"/>
                <a:gd name="connsiteX7" fmla="*/ 217539 w 435077"/>
                <a:gd name="connsiteY7" fmla="*/ 0 h 435067"/>
                <a:gd name="connsiteX8" fmla="*/ 435077 w 435077"/>
                <a:gd name="connsiteY8" fmla="*/ 435068 h 435067"/>
                <a:gd name="connsiteX9" fmla="*/ 217539 w 435077"/>
                <a:gd name="connsiteY9" fmla="*/ 435068 h 435067"/>
                <a:gd name="connsiteX10" fmla="*/ 435077 w 435077"/>
                <a:gd name="connsiteY10" fmla="*/ 217535 h 435067"/>
                <a:gd name="connsiteX11" fmla="*/ 435077 w 435077"/>
                <a:gd name="connsiteY11" fmla="*/ 435068 h 435067"/>
                <a:gd name="connsiteX12" fmla="*/ 435077 w 435077"/>
                <a:gd name="connsiteY12" fmla="*/ 0 h 435067"/>
                <a:gd name="connsiteX13" fmla="*/ 217539 w 435077"/>
                <a:gd name="connsiteY13" fmla="*/ 0 h 435067"/>
                <a:gd name="connsiteX14" fmla="*/ 435077 w 435077"/>
                <a:gd name="connsiteY14" fmla="*/ 217532 h 435067"/>
                <a:gd name="connsiteX15" fmla="*/ 435077 w 435077"/>
                <a:gd name="connsiteY15" fmla="*/ 0 h 435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67">
                  <a:moveTo>
                    <a:pt x="0" y="435065"/>
                  </a:moveTo>
                  <a:lnTo>
                    <a:pt x="217510" y="435068"/>
                  </a:lnTo>
                  <a:lnTo>
                    <a:pt x="217510" y="217535"/>
                  </a:lnTo>
                  <a:lnTo>
                    <a:pt x="0" y="435065"/>
                  </a:lnTo>
                  <a:close/>
                  <a:moveTo>
                    <a:pt x="217539" y="0"/>
                  </a:moveTo>
                  <a:lnTo>
                    <a:pt x="0" y="0"/>
                  </a:lnTo>
                  <a:lnTo>
                    <a:pt x="217539" y="217532"/>
                  </a:lnTo>
                  <a:lnTo>
                    <a:pt x="217539" y="0"/>
                  </a:lnTo>
                  <a:close/>
                  <a:moveTo>
                    <a:pt x="435077" y="435068"/>
                  </a:moveTo>
                  <a:lnTo>
                    <a:pt x="217539" y="435068"/>
                  </a:lnTo>
                  <a:lnTo>
                    <a:pt x="435077" y="217535"/>
                  </a:lnTo>
                  <a:lnTo>
                    <a:pt x="435077" y="435068"/>
                  </a:lnTo>
                  <a:close/>
                  <a:moveTo>
                    <a:pt x="435077" y="0"/>
                  </a:moveTo>
                  <a:lnTo>
                    <a:pt x="217539" y="0"/>
                  </a:lnTo>
                  <a:lnTo>
                    <a:pt x="435077" y="217532"/>
                  </a:lnTo>
                  <a:lnTo>
                    <a:pt x="435077" y="0"/>
                  </a:lnTo>
                  <a:close/>
                </a:path>
              </a:pathLst>
            </a:custGeom>
            <a:grpFill/>
            <a:ln w="27192" cap="flat">
              <a:noFill/>
              <a:prstDash val="solid"/>
              <a:miter/>
            </a:ln>
          </p:spPr>
          <p:txBody>
            <a:bodyPr rtlCol="0" anchor="ctr"/>
            <a:lstStyle/>
            <a:p>
              <a:endParaRPr lang="uk-UA" sz="900"/>
            </a:p>
          </p:txBody>
        </p:sp>
        <p:sp>
          <p:nvSpPr>
            <p:cNvPr id="499" name="Freeform: Shape 498">
              <a:extLst>
                <a:ext uri="{FF2B5EF4-FFF2-40B4-BE49-F238E27FC236}">
                  <a16:creationId xmlns:a16="http://schemas.microsoft.com/office/drawing/2014/main" id="{3E69F44C-FEE2-BB63-F7F6-FA8D5EA30886}"/>
                </a:ext>
              </a:extLst>
            </p:cNvPr>
            <p:cNvSpPr/>
            <p:nvPr/>
          </p:nvSpPr>
          <p:spPr>
            <a:xfrm>
              <a:off x="24330194" y="228598"/>
              <a:ext cx="435077" cy="435078"/>
            </a:xfrm>
            <a:custGeom>
              <a:avLst/>
              <a:gdLst>
                <a:gd name="connsiteX0" fmla="*/ 217539 w 435077"/>
                <a:gd name="connsiteY0" fmla="*/ 0 h 435078"/>
                <a:gd name="connsiteX1" fmla="*/ 0 w 435077"/>
                <a:gd name="connsiteY1" fmla="*/ 0 h 435078"/>
                <a:gd name="connsiteX2" fmla="*/ 0 w 435077"/>
                <a:gd name="connsiteY2" fmla="*/ 217539 h 435078"/>
                <a:gd name="connsiteX3" fmla="*/ 0 w 435077"/>
                <a:gd name="connsiteY3" fmla="*/ 435079 h 435078"/>
                <a:gd name="connsiteX4" fmla="*/ 217539 w 435077"/>
                <a:gd name="connsiteY4" fmla="*/ 435079 h 435078"/>
                <a:gd name="connsiteX5" fmla="*/ 435077 w 435077"/>
                <a:gd name="connsiteY5" fmla="*/ 435079 h 435078"/>
                <a:gd name="connsiteX6" fmla="*/ 435077 w 435077"/>
                <a:gd name="connsiteY6" fmla="*/ 217539 h 435078"/>
                <a:gd name="connsiteX7" fmla="*/ 435077 w 435077"/>
                <a:gd name="connsiteY7" fmla="*/ 0 h 435078"/>
                <a:gd name="connsiteX8" fmla="*/ 217539 w 435077"/>
                <a:gd name="connsiteY8" fmla="*/ 0 h 435078"/>
                <a:gd name="connsiteX9" fmla="*/ 217539 w 435077"/>
                <a:gd name="connsiteY9" fmla="*/ 0 h 435078"/>
                <a:gd name="connsiteX10" fmla="*/ 435077 w 435077"/>
                <a:gd name="connsiteY10" fmla="*/ 217539 h 435078"/>
                <a:gd name="connsiteX11" fmla="*/ 217539 w 435077"/>
                <a:gd name="connsiteY11" fmla="*/ 435079 h 435078"/>
                <a:gd name="connsiteX12" fmla="*/ 0 w 435077"/>
                <a:gd name="connsiteY12" fmla="*/ 217539 h 435078"/>
                <a:gd name="connsiteX13" fmla="*/ 217539 w 435077"/>
                <a:gd name="connsiteY13"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8">
                  <a:moveTo>
                    <a:pt x="217539" y="0"/>
                  </a:moveTo>
                  <a:lnTo>
                    <a:pt x="0" y="0"/>
                  </a:lnTo>
                  <a:lnTo>
                    <a:pt x="0" y="217539"/>
                  </a:lnTo>
                  <a:lnTo>
                    <a:pt x="0" y="435079"/>
                  </a:lnTo>
                  <a:lnTo>
                    <a:pt x="217539" y="435079"/>
                  </a:lnTo>
                  <a:lnTo>
                    <a:pt x="435077" y="435079"/>
                  </a:lnTo>
                  <a:lnTo>
                    <a:pt x="435077" y="217539"/>
                  </a:lnTo>
                  <a:lnTo>
                    <a:pt x="435077" y="0"/>
                  </a:lnTo>
                  <a:lnTo>
                    <a:pt x="217539" y="0"/>
                  </a:lnTo>
                  <a:close/>
                  <a:moveTo>
                    <a:pt x="217539" y="0"/>
                  </a:moveTo>
                  <a:lnTo>
                    <a:pt x="435077" y="217539"/>
                  </a:lnTo>
                  <a:lnTo>
                    <a:pt x="217539" y="435079"/>
                  </a:lnTo>
                  <a:lnTo>
                    <a:pt x="0" y="217539"/>
                  </a:lnTo>
                  <a:lnTo>
                    <a:pt x="217539" y="0"/>
                  </a:lnTo>
                  <a:close/>
                </a:path>
              </a:pathLst>
            </a:custGeom>
            <a:grpFill/>
            <a:ln w="27192" cap="flat">
              <a:noFill/>
              <a:prstDash val="solid"/>
              <a:miter/>
            </a:ln>
          </p:spPr>
          <p:txBody>
            <a:bodyPr rtlCol="0" anchor="ctr"/>
            <a:lstStyle/>
            <a:p>
              <a:endParaRPr lang="uk-UA" sz="900"/>
            </a:p>
          </p:txBody>
        </p:sp>
        <p:sp>
          <p:nvSpPr>
            <p:cNvPr id="500" name="Freeform: Shape 499">
              <a:extLst>
                <a:ext uri="{FF2B5EF4-FFF2-40B4-BE49-F238E27FC236}">
                  <a16:creationId xmlns:a16="http://schemas.microsoft.com/office/drawing/2014/main" id="{EB5E416E-EC8C-B047-4137-AD1AD0B19FEF}"/>
                </a:ext>
              </a:extLst>
            </p:cNvPr>
            <p:cNvSpPr/>
            <p:nvPr/>
          </p:nvSpPr>
          <p:spPr>
            <a:xfrm>
              <a:off x="835769" y="1098754"/>
              <a:ext cx="435077" cy="435077"/>
            </a:xfrm>
            <a:custGeom>
              <a:avLst/>
              <a:gdLst>
                <a:gd name="connsiteX0" fmla="*/ 63711 w 435077"/>
                <a:gd name="connsiteY0" fmla="*/ 153824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4 h 435077"/>
                <a:gd name="connsiteX5" fmla="*/ 217539 w 435077"/>
                <a:gd name="connsiteY5" fmla="*/ 217539 h 435077"/>
                <a:gd name="connsiteX6" fmla="*/ 63711 w 435077"/>
                <a:gd name="connsiteY6" fmla="*/ 153824 h 435077"/>
                <a:gd name="connsiteX7" fmla="*/ 63711 w 435077"/>
                <a:gd name="connsiteY7" fmla="*/ 281256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6 h 435077"/>
                <a:gd name="connsiteX12" fmla="*/ 217539 w 435077"/>
                <a:gd name="connsiteY12" fmla="*/ 217539 h 435077"/>
                <a:gd name="connsiteX13" fmla="*/ 63711 w 435077"/>
                <a:gd name="connsiteY13" fmla="*/ 281256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1" y="153824"/>
                  </a:moveTo>
                  <a:cubicBezTo>
                    <a:pt x="22923" y="113028"/>
                    <a:pt x="0" y="57697"/>
                    <a:pt x="0" y="0"/>
                  </a:cubicBezTo>
                  <a:lnTo>
                    <a:pt x="217539" y="0"/>
                  </a:lnTo>
                  <a:lnTo>
                    <a:pt x="435077" y="0"/>
                  </a:lnTo>
                  <a:cubicBezTo>
                    <a:pt x="435077" y="57697"/>
                    <a:pt x="412154" y="113028"/>
                    <a:pt x="371366" y="153824"/>
                  </a:cubicBezTo>
                  <a:cubicBezTo>
                    <a:pt x="330550" y="194621"/>
                    <a:pt x="275213" y="217539"/>
                    <a:pt x="217539" y="217539"/>
                  </a:cubicBezTo>
                  <a:cubicBezTo>
                    <a:pt x="159836" y="217539"/>
                    <a:pt x="104500" y="194621"/>
                    <a:pt x="63711" y="153824"/>
                  </a:cubicBezTo>
                  <a:close/>
                  <a:moveTo>
                    <a:pt x="63711" y="281256"/>
                  </a:moveTo>
                  <a:cubicBezTo>
                    <a:pt x="22923" y="322052"/>
                    <a:pt x="0" y="377383"/>
                    <a:pt x="0" y="435077"/>
                  </a:cubicBezTo>
                  <a:lnTo>
                    <a:pt x="217539" y="435077"/>
                  </a:lnTo>
                  <a:lnTo>
                    <a:pt x="435077" y="435077"/>
                  </a:lnTo>
                  <a:cubicBezTo>
                    <a:pt x="435077" y="377383"/>
                    <a:pt x="412154" y="322052"/>
                    <a:pt x="371366" y="281256"/>
                  </a:cubicBezTo>
                  <a:cubicBezTo>
                    <a:pt x="330550" y="240459"/>
                    <a:pt x="275213" y="217539"/>
                    <a:pt x="217539" y="217539"/>
                  </a:cubicBezTo>
                  <a:cubicBezTo>
                    <a:pt x="159836" y="217539"/>
                    <a:pt x="104500" y="240459"/>
                    <a:pt x="63711" y="281256"/>
                  </a:cubicBezTo>
                  <a:close/>
                </a:path>
              </a:pathLst>
            </a:custGeom>
            <a:grpFill/>
            <a:ln w="27192" cap="flat">
              <a:noFill/>
              <a:prstDash val="solid"/>
              <a:miter/>
            </a:ln>
          </p:spPr>
          <p:txBody>
            <a:bodyPr rtlCol="0" anchor="ctr"/>
            <a:lstStyle/>
            <a:p>
              <a:endParaRPr lang="uk-UA" sz="900"/>
            </a:p>
          </p:txBody>
        </p:sp>
        <p:sp>
          <p:nvSpPr>
            <p:cNvPr id="501" name="Freeform: Shape 500">
              <a:extLst>
                <a:ext uri="{FF2B5EF4-FFF2-40B4-BE49-F238E27FC236}">
                  <a16:creationId xmlns:a16="http://schemas.microsoft.com/office/drawing/2014/main" id="{0E16334E-E103-4800-8FEB-A4402044DCD0}"/>
                </a:ext>
              </a:extLst>
            </p:cNvPr>
            <p:cNvSpPr/>
            <p:nvPr/>
          </p:nvSpPr>
          <p:spPr>
            <a:xfrm>
              <a:off x="-34398" y="1098754"/>
              <a:ext cx="435063" cy="435077"/>
            </a:xfrm>
            <a:custGeom>
              <a:avLst/>
              <a:gdLst>
                <a:gd name="connsiteX0" fmla="*/ 435064 w 435063"/>
                <a:gd name="connsiteY0" fmla="*/ 435077 h 435077"/>
                <a:gd name="connsiteX1" fmla="*/ 435064 w 435063"/>
                <a:gd name="connsiteY1" fmla="*/ 0 h 435077"/>
                <a:gd name="connsiteX2" fmla="*/ 217552 w 435063"/>
                <a:gd name="connsiteY2" fmla="*/ 217544 h 435077"/>
                <a:gd name="connsiteX3" fmla="*/ 435064 w 435063"/>
                <a:gd name="connsiteY3" fmla="*/ 435077 h 435077"/>
                <a:gd name="connsiteX4" fmla="*/ 0 w 435063"/>
                <a:gd name="connsiteY4" fmla="*/ 435077 h 435077"/>
                <a:gd name="connsiteX5" fmla="*/ 0 w 435063"/>
                <a:gd name="connsiteY5" fmla="*/ 3 h 435077"/>
                <a:gd name="connsiteX6" fmla="*/ 217525 w 435063"/>
                <a:gd name="connsiteY6" fmla="*/ 217544 h 435077"/>
                <a:gd name="connsiteX7" fmla="*/ 0 w 435063"/>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63" h="435077">
                  <a:moveTo>
                    <a:pt x="435064" y="435077"/>
                  </a:moveTo>
                  <a:lnTo>
                    <a:pt x="435064" y="0"/>
                  </a:lnTo>
                  <a:lnTo>
                    <a:pt x="217552" y="217544"/>
                  </a:lnTo>
                  <a:lnTo>
                    <a:pt x="435064" y="435077"/>
                  </a:lnTo>
                  <a:close/>
                  <a:moveTo>
                    <a:pt x="0" y="435077"/>
                  </a:moveTo>
                  <a:lnTo>
                    <a:pt x="0" y="3"/>
                  </a:lnTo>
                  <a:lnTo>
                    <a:pt x="217525" y="217544"/>
                  </a:lnTo>
                  <a:lnTo>
                    <a:pt x="0" y="435077"/>
                  </a:lnTo>
                  <a:close/>
                </a:path>
              </a:pathLst>
            </a:custGeom>
            <a:grpFill/>
            <a:ln w="27192" cap="flat">
              <a:noFill/>
              <a:prstDash val="solid"/>
              <a:miter/>
            </a:ln>
          </p:spPr>
          <p:txBody>
            <a:bodyPr rtlCol="0" anchor="ctr"/>
            <a:lstStyle/>
            <a:p>
              <a:endParaRPr lang="uk-UA" sz="900"/>
            </a:p>
          </p:txBody>
        </p:sp>
        <p:sp>
          <p:nvSpPr>
            <p:cNvPr id="502" name="Freeform: Shape 501">
              <a:extLst>
                <a:ext uri="{FF2B5EF4-FFF2-40B4-BE49-F238E27FC236}">
                  <a16:creationId xmlns:a16="http://schemas.microsoft.com/office/drawing/2014/main" id="{A1BD153B-AF39-33CD-6AE5-A85D411C4354}"/>
                </a:ext>
              </a:extLst>
            </p:cNvPr>
            <p:cNvSpPr/>
            <p:nvPr/>
          </p:nvSpPr>
          <p:spPr>
            <a:xfrm>
              <a:off x="1705924" y="1098754"/>
              <a:ext cx="435077" cy="435077"/>
            </a:xfrm>
            <a:custGeom>
              <a:avLst/>
              <a:gdLst>
                <a:gd name="connsiteX0" fmla="*/ 435077 w 435077"/>
                <a:gd name="connsiteY0" fmla="*/ 435077 h 435077"/>
                <a:gd name="connsiteX1" fmla="*/ 435077 w 435077"/>
                <a:gd name="connsiteY1" fmla="*/ 217547 h 435077"/>
                <a:gd name="connsiteX2" fmla="*/ 435077 w 435077"/>
                <a:gd name="connsiteY2" fmla="*/ 16 h 435077"/>
                <a:gd name="connsiteX3" fmla="*/ 217566 w 435077"/>
                <a:gd name="connsiteY3" fmla="*/ 16 h 435077"/>
                <a:gd name="connsiteX4" fmla="*/ 435077 w 435077"/>
                <a:gd name="connsiteY4" fmla="*/ 217547 h 435077"/>
                <a:gd name="connsiteX5" fmla="*/ 217566 w 435077"/>
                <a:gd name="connsiteY5" fmla="*/ 435077 h 435077"/>
                <a:gd name="connsiteX6" fmla="*/ 435077 w 435077"/>
                <a:gd name="connsiteY6" fmla="*/ 435077 h 435077"/>
                <a:gd name="connsiteX7" fmla="*/ 0 w 435077"/>
                <a:gd name="connsiteY7" fmla="*/ 217531 h 435077"/>
                <a:gd name="connsiteX8" fmla="*/ 0 w 435077"/>
                <a:gd name="connsiteY8" fmla="*/ 0 h 435077"/>
                <a:gd name="connsiteX9" fmla="*/ 217539 w 435077"/>
                <a:gd name="connsiteY9" fmla="*/ 217531 h 435077"/>
                <a:gd name="connsiteX10" fmla="*/ 0 w 435077"/>
                <a:gd name="connsiteY10" fmla="*/ 217531 h 435077"/>
                <a:gd name="connsiteX11" fmla="*/ 0 w 435077"/>
                <a:gd name="connsiteY11" fmla="*/ 435072 h 435077"/>
                <a:gd name="connsiteX12" fmla="*/ 0 w 435077"/>
                <a:gd name="connsiteY12" fmla="*/ 217541 h 435077"/>
                <a:gd name="connsiteX13" fmla="*/ 217539 w 435077"/>
                <a:gd name="connsiteY13" fmla="*/ 217541 h 435077"/>
                <a:gd name="connsiteX14" fmla="*/ 0 w 435077"/>
                <a:gd name="connsiteY14" fmla="*/ 43507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47"/>
                  </a:lnTo>
                  <a:lnTo>
                    <a:pt x="435077" y="16"/>
                  </a:lnTo>
                  <a:lnTo>
                    <a:pt x="217566" y="16"/>
                  </a:lnTo>
                  <a:lnTo>
                    <a:pt x="435077" y="217547"/>
                  </a:lnTo>
                  <a:lnTo>
                    <a:pt x="217566" y="435077"/>
                  </a:lnTo>
                  <a:lnTo>
                    <a:pt x="435077" y="435077"/>
                  </a:lnTo>
                  <a:close/>
                  <a:moveTo>
                    <a:pt x="0" y="217531"/>
                  </a:moveTo>
                  <a:lnTo>
                    <a:pt x="0" y="0"/>
                  </a:lnTo>
                  <a:lnTo>
                    <a:pt x="217539" y="217531"/>
                  </a:lnTo>
                  <a:lnTo>
                    <a:pt x="0" y="217531"/>
                  </a:lnTo>
                  <a:close/>
                  <a:moveTo>
                    <a:pt x="0" y="435072"/>
                  </a:moveTo>
                  <a:lnTo>
                    <a:pt x="0" y="217541"/>
                  </a:lnTo>
                  <a:lnTo>
                    <a:pt x="217539" y="217541"/>
                  </a:lnTo>
                  <a:lnTo>
                    <a:pt x="0" y="435072"/>
                  </a:lnTo>
                  <a:close/>
                </a:path>
              </a:pathLst>
            </a:custGeom>
            <a:grpFill/>
            <a:ln w="27192" cap="flat">
              <a:noFill/>
              <a:prstDash val="solid"/>
              <a:miter/>
            </a:ln>
          </p:spPr>
          <p:txBody>
            <a:bodyPr rtlCol="0" anchor="ctr"/>
            <a:lstStyle/>
            <a:p>
              <a:endParaRPr lang="uk-UA" sz="900"/>
            </a:p>
          </p:txBody>
        </p:sp>
        <p:sp>
          <p:nvSpPr>
            <p:cNvPr id="503" name="Freeform: Shape 502">
              <a:extLst>
                <a:ext uri="{FF2B5EF4-FFF2-40B4-BE49-F238E27FC236}">
                  <a16:creationId xmlns:a16="http://schemas.microsoft.com/office/drawing/2014/main" id="{67CC1FB2-9598-B2D8-012F-CB27A74D0AF6}"/>
                </a:ext>
              </a:extLst>
            </p:cNvPr>
            <p:cNvSpPr/>
            <p:nvPr/>
          </p:nvSpPr>
          <p:spPr>
            <a:xfrm>
              <a:off x="2576106" y="1098754"/>
              <a:ext cx="435077" cy="435077"/>
            </a:xfrm>
            <a:custGeom>
              <a:avLst/>
              <a:gdLst>
                <a:gd name="connsiteX0" fmla="*/ 217539 w 435077"/>
                <a:gd name="connsiteY0" fmla="*/ 435069 h 435077"/>
                <a:gd name="connsiteX1" fmla="*/ 217539 w 435077"/>
                <a:gd name="connsiteY1" fmla="*/ 0 h 435077"/>
                <a:gd name="connsiteX2" fmla="*/ 435077 w 435077"/>
                <a:gd name="connsiteY2" fmla="*/ 217541 h 435077"/>
                <a:gd name="connsiteX3" fmla="*/ 217539 w 435077"/>
                <a:gd name="connsiteY3" fmla="*/ 435069 h 435077"/>
                <a:gd name="connsiteX4" fmla="*/ 0 w 435077"/>
                <a:gd name="connsiteY4" fmla="*/ 435077 h 435077"/>
                <a:gd name="connsiteX5" fmla="*/ 0 w 435077"/>
                <a:gd name="connsiteY5" fmla="*/ 8 h 435077"/>
                <a:gd name="connsiteX6" fmla="*/ 217512 w 435077"/>
                <a:gd name="connsiteY6" fmla="*/ 217547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69"/>
                  </a:moveTo>
                  <a:lnTo>
                    <a:pt x="217539" y="0"/>
                  </a:lnTo>
                  <a:lnTo>
                    <a:pt x="435077" y="217541"/>
                  </a:lnTo>
                  <a:lnTo>
                    <a:pt x="217539" y="435069"/>
                  </a:lnTo>
                  <a:close/>
                  <a:moveTo>
                    <a:pt x="0" y="435077"/>
                  </a:moveTo>
                  <a:lnTo>
                    <a:pt x="0" y="8"/>
                  </a:lnTo>
                  <a:lnTo>
                    <a:pt x="217512" y="217547"/>
                  </a:lnTo>
                  <a:lnTo>
                    <a:pt x="0" y="435077"/>
                  </a:lnTo>
                  <a:close/>
                </a:path>
              </a:pathLst>
            </a:custGeom>
            <a:grpFill/>
            <a:ln w="27192" cap="flat">
              <a:noFill/>
              <a:prstDash val="solid"/>
              <a:miter/>
            </a:ln>
          </p:spPr>
          <p:txBody>
            <a:bodyPr rtlCol="0" anchor="ctr"/>
            <a:lstStyle/>
            <a:p>
              <a:endParaRPr lang="uk-UA" sz="900"/>
            </a:p>
          </p:txBody>
        </p:sp>
        <p:sp>
          <p:nvSpPr>
            <p:cNvPr id="504" name="Freeform: Shape 503">
              <a:extLst>
                <a:ext uri="{FF2B5EF4-FFF2-40B4-BE49-F238E27FC236}">
                  <a16:creationId xmlns:a16="http://schemas.microsoft.com/office/drawing/2014/main" id="{261203A5-9A78-46AF-1766-358548BCBD46}"/>
                </a:ext>
              </a:extLst>
            </p:cNvPr>
            <p:cNvSpPr/>
            <p:nvPr/>
          </p:nvSpPr>
          <p:spPr>
            <a:xfrm>
              <a:off x="4316416" y="1098754"/>
              <a:ext cx="435077" cy="435077"/>
            </a:xfrm>
            <a:custGeom>
              <a:avLst/>
              <a:gdLst>
                <a:gd name="connsiteX0" fmla="*/ 63739 w 435077"/>
                <a:gd name="connsiteY0" fmla="*/ 153824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4 h 435077"/>
                <a:gd name="connsiteX5" fmla="*/ 217539 w 435077"/>
                <a:gd name="connsiteY5" fmla="*/ 217539 h 435077"/>
                <a:gd name="connsiteX6" fmla="*/ 63739 w 435077"/>
                <a:gd name="connsiteY6" fmla="*/ 153824 h 435077"/>
                <a:gd name="connsiteX7" fmla="*/ 63739 w 435077"/>
                <a:gd name="connsiteY7" fmla="*/ 281256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6 h 435077"/>
                <a:gd name="connsiteX12" fmla="*/ 217539 w 435077"/>
                <a:gd name="connsiteY12" fmla="*/ 217539 h 435077"/>
                <a:gd name="connsiteX13" fmla="*/ 63739 w 435077"/>
                <a:gd name="connsiteY13" fmla="*/ 281256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4"/>
                  </a:moveTo>
                  <a:cubicBezTo>
                    <a:pt x="22923" y="113028"/>
                    <a:pt x="0" y="57697"/>
                    <a:pt x="0" y="0"/>
                  </a:cubicBezTo>
                  <a:lnTo>
                    <a:pt x="217539" y="0"/>
                  </a:lnTo>
                  <a:lnTo>
                    <a:pt x="435077" y="0"/>
                  </a:lnTo>
                  <a:cubicBezTo>
                    <a:pt x="435077" y="57697"/>
                    <a:pt x="412181" y="113028"/>
                    <a:pt x="371365" y="153824"/>
                  </a:cubicBezTo>
                  <a:cubicBezTo>
                    <a:pt x="330577" y="194621"/>
                    <a:pt x="275240" y="217539"/>
                    <a:pt x="217539" y="217539"/>
                  </a:cubicBezTo>
                  <a:cubicBezTo>
                    <a:pt x="159864" y="217539"/>
                    <a:pt x="104527" y="194621"/>
                    <a:pt x="63739" y="153824"/>
                  </a:cubicBezTo>
                  <a:close/>
                  <a:moveTo>
                    <a:pt x="63739" y="281256"/>
                  </a:moveTo>
                  <a:cubicBezTo>
                    <a:pt x="22923" y="322052"/>
                    <a:pt x="0" y="377383"/>
                    <a:pt x="0" y="435077"/>
                  </a:cubicBezTo>
                  <a:lnTo>
                    <a:pt x="217539" y="435077"/>
                  </a:lnTo>
                  <a:lnTo>
                    <a:pt x="435077" y="435077"/>
                  </a:lnTo>
                  <a:cubicBezTo>
                    <a:pt x="435077" y="377383"/>
                    <a:pt x="412181" y="322052"/>
                    <a:pt x="371365" y="281256"/>
                  </a:cubicBezTo>
                  <a:cubicBezTo>
                    <a:pt x="330577" y="240459"/>
                    <a:pt x="275240" y="217539"/>
                    <a:pt x="217539" y="217539"/>
                  </a:cubicBezTo>
                  <a:cubicBezTo>
                    <a:pt x="159864" y="217539"/>
                    <a:pt x="104527" y="240459"/>
                    <a:pt x="63739" y="281256"/>
                  </a:cubicBezTo>
                  <a:close/>
                </a:path>
              </a:pathLst>
            </a:custGeom>
            <a:grpFill/>
            <a:ln w="27192" cap="flat">
              <a:noFill/>
              <a:prstDash val="solid"/>
              <a:miter/>
            </a:ln>
          </p:spPr>
          <p:txBody>
            <a:bodyPr rtlCol="0" anchor="ctr"/>
            <a:lstStyle/>
            <a:p>
              <a:endParaRPr lang="uk-UA" sz="900"/>
            </a:p>
          </p:txBody>
        </p:sp>
        <p:sp>
          <p:nvSpPr>
            <p:cNvPr id="505" name="Freeform: Shape 504">
              <a:extLst>
                <a:ext uri="{FF2B5EF4-FFF2-40B4-BE49-F238E27FC236}">
                  <a16:creationId xmlns:a16="http://schemas.microsoft.com/office/drawing/2014/main" id="{D95F8299-C7E8-E6EF-7CF8-6A598D0262B1}"/>
                </a:ext>
              </a:extLst>
            </p:cNvPr>
            <p:cNvSpPr/>
            <p:nvPr/>
          </p:nvSpPr>
          <p:spPr>
            <a:xfrm>
              <a:off x="3446261" y="1098754"/>
              <a:ext cx="435077" cy="435077"/>
            </a:xfrm>
            <a:custGeom>
              <a:avLst/>
              <a:gdLst>
                <a:gd name="connsiteX0" fmla="*/ 435077 w 435077"/>
                <a:gd name="connsiteY0" fmla="*/ 435077 h 435077"/>
                <a:gd name="connsiteX1" fmla="*/ 435077 w 435077"/>
                <a:gd name="connsiteY1" fmla="*/ 0 h 435077"/>
                <a:gd name="connsiteX2" fmla="*/ 217566 w 435077"/>
                <a:gd name="connsiteY2" fmla="*/ 217544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44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6" y="217544"/>
                  </a:lnTo>
                  <a:lnTo>
                    <a:pt x="435077" y="435077"/>
                  </a:lnTo>
                  <a:close/>
                  <a:moveTo>
                    <a:pt x="0" y="435077"/>
                  </a:moveTo>
                  <a:lnTo>
                    <a:pt x="0" y="3"/>
                  </a:lnTo>
                  <a:lnTo>
                    <a:pt x="217539" y="217544"/>
                  </a:lnTo>
                  <a:lnTo>
                    <a:pt x="0" y="435077"/>
                  </a:lnTo>
                  <a:close/>
                </a:path>
              </a:pathLst>
            </a:custGeom>
            <a:grpFill/>
            <a:ln w="27192" cap="flat">
              <a:noFill/>
              <a:prstDash val="solid"/>
              <a:miter/>
            </a:ln>
          </p:spPr>
          <p:txBody>
            <a:bodyPr rtlCol="0" anchor="ctr"/>
            <a:lstStyle/>
            <a:p>
              <a:endParaRPr lang="uk-UA" sz="900"/>
            </a:p>
          </p:txBody>
        </p:sp>
        <p:sp>
          <p:nvSpPr>
            <p:cNvPr id="506" name="Freeform: Shape 505">
              <a:extLst>
                <a:ext uri="{FF2B5EF4-FFF2-40B4-BE49-F238E27FC236}">
                  <a16:creationId xmlns:a16="http://schemas.microsoft.com/office/drawing/2014/main" id="{C39F323B-2923-58D0-B9B6-534633326738}"/>
                </a:ext>
              </a:extLst>
            </p:cNvPr>
            <p:cNvSpPr/>
            <p:nvPr/>
          </p:nvSpPr>
          <p:spPr>
            <a:xfrm>
              <a:off x="5186597" y="1098754"/>
              <a:ext cx="435077" cy="435077"/>
            </a:xfrm>
            <a:custGeom>
              <a:avLst/>
              <a:gdLst>
                <a:gd name="connsiteX0" fmla="*/ 435077 w 435077"/>
                <a:gd name="connsiteY0" fmla="*/ 435077 h 435077"/>
                <a:gd name="connsiteX1" fmla="*/ 435077 w 435077"/>
                <a:gd name="connsiteY1" fmla="*/ 217547 h 435077"/>
                <a:gd name="connsiteX2" fmla="*/ 435077 w 435077"/>
                <a:gd name="connsiteY2" fmla="*/ 16 h 435077"/>
                <a:gd name="connsiteX3" fmla="*/ 217539 w 435077"/>
                <a:gd name="connsiteY3" fmla="*/ 16 h 435077"/>
                <a:gd name="connsiteX4" fmla="*/ 435077 w 435077"/>
                <a:gd name="connsiteY4" fmla="*/ 217547 h 435077"/>
                <a:gd name="connsiteX5" fmla="*/ 217539 w 435077"/>
                <a:gd name="connsiteY5" fmla="*/ 435077 h 435077"/>
                <a:gd name="connsiteX6" fmla="*/ 435077 w 435077"/>
                <a:gd name="connsiteY6" fmla="*/ 435077 h 435077"/>
                <a:gd name="connsiteX7" fmla="*/ 0 w 435077"/>
                <a:gd name="connsiteY7" fmla="*/ 217531 h 435077"/>
                <a:gd name="connsiteX8" fmla="*/ 0 w 435077"/>
                <a:gd name="connsiteY8" fmla="*/ 0 h 435077"/>
                <a:gd name="connsiteX9" fmla="*/ 217512 w 435077"/>
                <a:gd name="connsiteY9" fmla="*/ 217531 h 435077"/>
                <a:gd name="connsiteX10" fmla="*/ 0 w 435077"/>
                <a:gd name="connsiteY10" fmla="*/ 217531 h 435077"/>
                <a:gd name="connsiteX11" fmla="*/ 0 w 435077"/>
                <a:gd name="connsiteY11" fmla="*/ 435072 h 435077"/>
                <a:gd name="connsiteX12" fmla="*/ 0 w 435077"/>
                <a:gd name="connsiteY12" fmla="*/ 217541 h 435077"/>
                <a:gd name="connsiteX13" fmla="*/ 217512 w 435077"/>
                <a:gd name="connsiteY13" fmla="*/ 217541 h 435077"/>
                <a:gd name="connsiteX14" fmla="*/ 0 w 435077"/>
                <a:gd name="connsiteY14" fmla="*/ 43507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47"/>
                  </a:lnTo>
                  <a:lnTo>
                    <a:pt x="435077" y="16"/>
                  </a:lnTo>
                  <a:lnTo>
                    <a:pt x="217539" y="16"/>
                  </a:lnTo>
                  <a:lnTo>
                    <a:pt x="435077" y="217547"/>
                  </a:lnTo>
                  <a:lnTo>
                    <a:pt x="217539" y="435077"/>
                  </a:lnTo>
                  <a:lnTo>
                    <a:pt x="435077" y="435077"/>
                  </a:lnTo>
                  <a:close/>
                  <a:moveTo>
                    <a:pt x="0" y="217531"/>
                  </a:moveTo>
                  <a:lnTo>
                    <a:pt x="0" y="0"/>
                  </a:lnTo>
                  <a:lnTo>
                    <a:pt x="217512" y="217531"/>
                  </a:lnTo>
                  <a:lnTo>
                    <a:pt x="0" y="217531"/>
                  </a:lnTo>
                  <a:close/>
                  <a:moveTo>
                    <a:pt x="0" y="435072"/>
                  </a:moveTo>
                  <a:lnTo>
                    <a:pt x="0" y="217541"/>
                  </a:lnTo>
                  <a:lnTo>
                    <a:pt x="217512" y="217541"/>
                  </a:lnTo>
                  <a:lnTo>
                    <a:pt x="0" y="435072"/>
                  </a:lnTo>
                  <a:close/>
                </a:path>
              </a:pathLst>
            </a:custGeom>
            <a:grpFill/>
            <a:ln w="27192" cap="flat">
              <a:noFill/>
              <a:prstDash val="solid"/>
              <a:miter/>
            </a:ln>
          </p:spPr>
          <p:txBody>
            <a:bodyPr rtlCol="0" anchor="ctr"/>
            <a:lstStyle/>
            <a:p>
              <a:endParaRPr lang="uk-UA" sz="900"/>
            </a:p>
          </p:txBody>
        </p:sp>
        <p:sp>
          <p:nvSpPr>
            <p:cNvPr id="507" name="Freeform: Shape 506">
              <a:extLst>
                <a:ext uri="{FF2B5EF4-FFF2-40B4-BE49-F238E27FC236}">
                  <a16:creationId xmlns:a16="http://schemas.microsoft.com/office/drawing/2014/main" id="{DF74C273-5A93-FBFA-2D2F-EF8F7D3A2C2F}"/>
                </a:ext>
              </a:extLst>
            </p:cNvPr>
            <p:cNvSpPr/>
            <p:nvPr/>
          </p:nvSpPr>
          <p:spPr>
            <a:xfrm>
              <a:off x="6056752" y="1098754"/>
              <a:ext cx="435077" cy="435077"/>
            </a:xfrm>
            <a:custGeom>
              <a:avLst/>
              <a:gdLst>
                <a:gd name="connsiteX0" fmla="*/ 217539 w 435077"/>
                <a:gd name="connsiteY0" fmla="*/ 435069 h 435077"/>
                <a:gd name="connsiteX1" fmla="*/ 217539 w 435077"/>
                <a:gd name="connsiteY1" fmla="*/ 0 h 435077"/>
                <a:gd name="connsiteX2" fmla="*/ 435077 w 435077"/>
                <a:gd name="connsiteY2" fmla="*/ 217541 h 435077"/>
                <a:gd name="connsiteX3" fmla="*/ 217539 w 435077"/>
                <a:gd name="connsiteY3" fmla="*/ 435069 h 435077"/>
                <a:gd name="connsiteX4" fmla="*/ 0 w 435077"/>
                <a:gd name="connsiteY4" fmla="*/ 435077 h 435077"/>
                <a:gd name="connsiteX5" fmla="*/ 0 w 435077"/>
                <a:gd name="connsiteY5" fmla="*/ 8 h 435077"/>
                <a:gd name="connsiteX6" fmla="*/ 217539 w 435077"/>
                <a:gd name="connsiteY6" fmla="*/ 217547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69"/>
                  </a:moveTo>
                  <a:lnTo>
                    <a:pt x="217539" y="0"/>
                  </a:lnTo>
                  <a:lnTo>
                    <a:pt x="435077" y="217541"/>
                  </a:lnTo>
                  <a:lnTo>
                    <a:pt x="217539" y="435069"/>
                  </a:lnTo>
                  <a:close/>
                  <a:moveTo>
                    <a:pt x="0" y="435077"/>
                  </a:moveTo>
                  <a:lnTo>
                    <a:pt x="0" y="8"/>
                  </a:lnTo>
                  <a:lnTo>
                    <a:pt x="217539" y="217547"/>
                  </a:lnTo>
                  <a:lnTo>
                    <a:pt x="0" y="435077"/>
                  </a:lnTo>
                  <a:close/>
                </a:path>
              </a:pathLst>
            </a:custGeom>
            <a:grpFill/>
            <a:ln w="27192" cap="flat">
              <a:noFill/>
              <a:prstDash val="solid"/>
              <a:miter/>
            </a:ln>
          </p:spPr>
          <p:txBody>
            <a:bodyPr rtlCol="0" anchor="ctr"/>
            <a:lstStyle/>
            <a:p>
              <a:endParaRPr lang="uk-UA" sz="900"/>
            </a:p>
          </p:txBody>
        </p:sp>
        <p:sp>
          <p:nvSpPr>
            <p:cNvPr id="508" name="Freeform: Shape 507">
              <a:extLst>
                <a:ext uri="{FF2B5EF4-FFF2-40B4-BE49-F238E27FC236}">
                  <a16:creationId xmlns:a16="http://schemas.microsoft.com/office/drawing/2014/main" id="{D2A740CE-AC57-92E3-6BD5-2CA355739CF1}"/>
                </a:ext>
              </a:extLst>
            </p:cNvPr>
            <p:cNvSpPr/>
            <p:nvPr/>
          </p:nvSpPr>
          <p:spPr>
            <a:xfrm>
              <a:off x="7797062" y="1098754"/>
              <a:ext cx="435077" cy="435077"/>
            </a:xfrm>
            <a:custGeom>
              <a:avLst/>
              <a:gdLst>
                <a:gd name="connsiteX0" fmla="*/ 63739 w 435077"/>
                <a:gd name="connsiteY0" fmla="*/ 153824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4 h 435077"/>
                <a:gd name="connsiteX5" fmla="*/ 217539 w 435077"/>
                <a:gd name="connsiteY5" fmla="*/ 217539 h 435077"/>
                <a:gd name="connsiteX6" fmla="*/ 63739 w 435077"/>
                <a:gd name="connsiteY6" fmla="*/ 153824 h 435077"/>
                <a:gd name="connsiteX7" fmla="*/ 63739 w 435077"/>
                <a:gd name="connsiteY7" fmla="*/ 281256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6 h 435077"/>
                <a:gd name="connsiteX12" fmla="*/ 217539 w 435077"/>
                <a:gd name="connsiteY12" fmla="*/ 217539 h 435077"/>
                <a:gd name="connsiteX13" fmla="*/ 63739 w 435077"/>
                <a:gd name="connsiteY13" fmla="*/ 281256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4"/>
                  </a:moveTo>
                  <a:cubicBezTo>
                    <a:pt x="22924" y="113028"/>
                    <a:pt x="0" y="57697"/>
                    <a:pt x="0" y="0"/>
                  </a:cubicBezTo>
                  <a:lnTo>
                    <a:pt x="217539" y="0"/>
                  </a:lnTo>
                  <a:lnTo>
                    <a:pt x="435077" y="0"/>
                  </a:lnTo>
                  <a:cubicBezTo>
                    <a:pt x="435077" y="57697"/>
                    <a:pt x="412182" y="113028"/>
                    <a:pt x="371366" y="153824"/>
                  </a:cubicBezTo>
                  <a:cubicBezTo>
                    <a:pt x="330578" y="194621"/>
                    <a:pt x="275241" y="217539"/>
                    <a:pt x="217539" y="217539"/>
                  </a:cubicBezTo>
                  <a:cubicBezTo>
                    <a:pt x="159864" y="217539"/>
                    <a:pt x="104527" y="194621"/>
                    <a:pt x="63739" y="153824"/>
                  </a:cubicBezTo>
                  <a:close/>
                  <a:moveTo>
                    <a:pt x="63739" y="281256"/>
                  </a:moveTo>
                  <a:cubicBezTo>
                    <a:pt x="22924" y="322052"/>
                    <a:pt x="0" y="377383"/>
                    <a:pt x="0" y="435077"/>
                  </a:cubicBezTo>
                  <a:lnTo>
                    <a:pt x="217539" y="435077"/>
                  </a:lnTo>
                  <a:lnTo>
                    <a:pt x="435077" y="435077"/>
                  </a:lnTo>
                  <a:cubicBezTo>
                    <a:pt x="435077" y="377383"/>
                    <a:pt x="412182" y="322052"/>
                    <a:pt x="371366" y="281256"/>
                  </a:cubicBezTo>
                  <a:cubicBezTo>
                    <a:pt x="330578" y="240459"/>
                    <a:pt x="275241" y="217539"/>
                    <a:pt x="217539" y="217539"/>
                  </a:cubicBezTo>
                  <a:cubicBezTo>
                    <a:pt x="159864" y="217539"/>
                    <a:pt x="104527" y="240459"/>
                    <a:pt x="63739" y="281256"/>
                  </a:cubicBezTo>
                  <a:close/>
                </a:path>
              </a:pathLst>
            </a:custGeom>
            <a:grpFill/>
            <a:ln w="27192" cap="flat">
              <a:noFill/>
              <a:prstDash val="solid"/>
              <a:miter/>
            </a:ln>
          </p:spPr>
          <p:txBody>
            <a:bodyPr rtlCol="0" anchor="ctr"/>
            <a:lstStyle/>
            <a:p>
              <a:endParaRPr lang="uk-UA" sz="900"/>
            </a:p>
          </p:txBody>
        </p:sp>
        <p:sp>
          <p:nvSpPr>
            <p:cNvPr id="509" name="Freeform: Shape 508">
              <a:extLst>
                <a:ext uri="{FF2B5EF4-FFF2-40B4-BE49-F238E27FC236}">
                  <a16:creationId xmlns:a16="http://schemas.microsoft.com/office/drawing/2014/main" id="{07D62913-B011-4A06-436F-698E3A6D3076}"/>
                </a:ext>
              </a:extLst>
            </p:cNvPr>
            <p:cNvSpPr/>
            <p:nvPr/>
          </p:nvSpPr>
          <p:spPr>
            <a:xfrm>
              <a:off x="6926907" y="1098754"/>
              <a:ext cx="435077" cy="435077"/>
            </a:xfrm>
            <a:custGeom>
              <a:avLst/>
              <a:gdLst>
                <a:gd name="connsiteX0" fmla="*/ 435077 w 435077"/>
                <a:gd name="connsiteY0" fmla="*/ 435077 h 435077"/>
                <a:gd name="connsiteX1" fmla="*/ 435077 w 435077"/>
                <a:gd name="connsiteY1" fmla="*/ 0 h 435077"/>
                <a:gd name="connsiteX2" fmla="*/ 217566 w 435077"/>
                <a:gd name="connsiteY2" fmla="*/ 217544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44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6" y="217544"/>
                  </a:lnTo>
                  <a:lnTo>
                    <a:pt x="435077" y="435077"/>
                  </a:lnTo>
                  <a:close/>
                  <a:moveTo>
                    <a:pt x="0" y="435077"/>
                  </a:moveTo>
                  <a:lnTo>
                    <a:pt x="0" y="3"/>
                  </a:lnTo>
                  <a:lnTo>
                    <a:pt x="217539" y="217544"/>
                  </a:lnTo>
                  <a:lnTo>
                    <a:pt x="0" y="435077"/>
                  </a:lnTo>
                  <a:close/>
                </a:path>
              </a:pathLst>
            </a:custGeom>
            <a:grpFill/>
            <a:ln w="27192" cap="flat">
              <a:noFill/>
              <a:prstDash val="solid"/>
              <a:miter/>
            </a:ln>
          </p:spPr>
          <p:txBody>
            <a:bodyPr rtlCol="0" anchor="ctr"/>
            <a:lstStyle/>
            <a:p>
              <a:endParaRPr lang="uk-UA" sz="900"/>
            </a:p>
          </p:txBody>
        </p:sp>
        <p:sp>
          <p:nvSpPr>
            <p:cNvPr id="510" name="Freeform: Shape 509">
              <a:extLst>
                <a:ext uri="{FF2B5EF4-FFF2-40B4-BE49-F238E27FC236}">
                  <a16:creationId xmlns:a16="http://schemas.microsoft.com/office/drawing/2014/main" id="{017D64C4-49B4-27FD-50BC-A375E3FC8EA6}"/>
                </a:ext>
              </a:extLst>
            </p:cNvPr>
            <p:cNvSpPr/>
            <p:nvPr/>
          </p:nvSpPr>
          <p:spPr>
            <a:xfrm>
              <a:off x="8667217" y="1098754"/>
              <a:ext cx="435077" cy="435077"/>
            </a:xfrm>
            <a:custGeom>
              <a:avLst/>
              <a:gdLst>
                <a:gd name="connsiteX0" fmla="*/ 435077 w 435077"/>
                <a:gd name="connsiteY0" fmla="*/ 435077 h 435077"/>
                <a:gd name="connsiteX1" fmla="*/ 435077 w 435077"/>
                <a:gd name="connsiteY1" fmla="*/ 217547 h 435077"/>
                <a:gd name="connsiteX2" fmla="*/ 435077 w 435077"/>
                <a:gd name="connsiteY2" fmla="*/ 16 h 435077"/>
                <a:gd name="connsiteX3" fmla="*/ 217566 w 435077"/>
                <a:gd name="connsiteY3" fmla="*/ 16 h 435077"/>
                <a:gd name="connsiteX4" fmla="*/ 435077 w 435077"/>
                <a:gd name="connsiteY4" fmla="*/ 217547 h 435077"/>
                <a:gd name="connsiteX5" fmla="*/ 217566 w 435077"/>
                <a:gd name="connsiteY5" fmla="*/ 435077 h 435077"/>
                <a:gd name="connsiteX6" fmla="*/ 435077 w 435077"/>
                <a:gd name="connsiteY6" fmla="*/ 435077 h 435077"/>
                <a:gd name="connsiteX7" fmla="*/ 0 w 435077"/>
                <a:gd name="connsiteY7" fmla="*/ 217531 h 435077"/>
                <a:gd name="connsiteX8" fmla="*/ 0 w 435077"/>
                <a:gd name="connsiteY8" fmla="*/ 0 h 435077"/>
                <a:gd name="connsiteX9" fmla="*/ 217539 w 435077"/>
                <a:gd name="connsiteY9" fmla="*/ 217531 h 435077"/>
                <a:gd name="connsiteX10" fmla="*/ 0 w 435077"/>
                <a:gd name="connsiteY10" fmla="*/ 217531 h 435077"/>
                <a:gd name="connsiteX11" fmla="*/ 0 w 435077"/>
                <a:gd name="connsiteY11" fmla="*/ 435072 h 435077"/>
                <a:gd name="connsiteX12" fmla="*/ 0 w 435077"/>
                <a:gd name="connsiteY12" fmla="*/ 217541 h 435077"/>
                <a:gd name="connsiteX13" fmla="*/ 217539 w 435077"/>
                <a:gd name="connsiteY13" fmla="*/ 217541 h 435077"/>
                <a:gd name="connsiteX14" fmla="*/ 0 w 435077"/>
                <a:gd name="connsiteY14" fmla="*/ 43507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47"/>
                  </a:lnTo>
                  <a:lnTo>
                    <a:pt x="435077" y="16"/>
                  </a:lnTo>
                  <a:lnTo>
                    <a:pt x="217566" y="16"/>
                  </a:lnTo>
                  <a:lnTo>
                    <a:pt x="435077" y="217547"/>
                  </a:lnTo>
                  <a:lnTo>
                    <a:pt x="217566" y="435077"/>
                  </a:lnTo>
                  <a:lnTo>
                    <a:pt x="435077" y="435077"/>
                  </a:lnTo>
                  <a:close/>
                  <a:moveTo>
                    <a:pt x="0" y="217531"/>
                  </a:moveTo>
                  <a:lnTo>
                    <a:pt x="0" y="0"/>
                  </a:lnTo>
                  <a:lnTo>
                    <a:pt x="217539" y="217531"/>
                  </a:lnTo>
                  <a:lnTo>
                    <a:pt x="0" y="217531"/>
                  </a:lnTo>
                  <a:close/>
                  <a:moveTo>
                    <a:pt x="0" y="435072"/>
                  </a:moveTo>
                  <a:lnTo>
                    <a:pt x="0" y="217541"/>
                  </a:lnTo>
                  <a:lnTo>
                    <a:pt x="217539" y="217541"/>
                  </a:lnTo>
                  <a:lnTo>
                    <a:pt x="0" y="435072"/>
                  </a:lnTo>
                  <a:close/>
                </a:path>
              </a:pathLst>
            </a:custGeom>
            <a:grpFill/>
            <a:ln w="27192" cap="flat">
              <a:noFill/>
              <a:prstDash val="solid"/>
              <a:miter/>
            </a:ln>
          </p:spPr>
          <p:txBody>
            <a:bodyPr rtlCol="0" anchor="ctr"/>
            <a:lstStyle/>
            <a:p>
              <a:endParaRPr lang="uk-UA" sz="900"/>
            </a:p>
          </p:txBody>
        </p:sp>
        <p:sp>
          <p:nvSpPr>
            <p:cNvPr id="511" name="Freeform: Shape 510">
              <a:extLst>
                <a:ext uri="{FF2B5EF4-FFF2-40B4-BE49-F238E27FC236}">
                  <a16:creationId xmlns:a16="http://schemas.microsoft.com/office/drawing/2014/main" id="{A9E47EE9-11DC-63D4-5B11-DC832CCCF9D1}"/>
                </a:ext>
              </a:extLst>
            </p:cNvPr>
            <p:cNvSpPr/>
            <p:nvPr/>
          </p:nvSpPr>
          <p:spPr>
            <a:xfrm>
              <a:off x="9537399" y="1098754"/>
              <a:ext cx="435077" cy="435077"/>
            </a:xfrm>
            <a:custGeom>
              <a:avLst/>
              <a:gdLst>
                <a:gd name="connsiteX0" fmla="*/ 217539 w 435077"/>
                <a:gd name="connsiteY0" fmla="*/ 435069 h 435077"/>
                <a:gd name="connsiteX1" fmla="*/ 217539 w 435077"/>
                <a:gd name="connsiteY1" fmla="*/ 0 h 435077"/>
                <a:gd name="connsiteX2" fmla="*/ 435077 w 435077"/>
                <a:gd name="connsiteY2" fmla="*/ 217541 h 435077"/>
                <a:gd name="connsiteX3" fmla="*/ 217539 w 435077"/>
                <a:gd name="connsiteY3" fmla="*/ 435069 h 435077"/>
                <a:gd name="connsiteX4" fmla="*/ 0 w 435077"/>
                <a:gd name="connsiteY4" fmla="*/ 435077 h 435077"/>
                <a:gd name="connsiteX5" fmla="*/ 0 w 435077"/>
                <a:gd name="connsiteY5" fmla="*/ 8 h 435077"/>
                <a:gd name="connsiteX6" fmla="*/ 217539 w 435077"/>
                <a:gd name="connsiteY6" fmla="*/ 217547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69"/>
                  </a:moveTo>
                  <a:lnTo>
                    <a:pt x="217539" y="0"/>
                  </a:lnTo>
                  <a:lnTo>
                    <a:pt x="435077" y="217541"/>
                  </a:lnTo>
                  <a:lnTo>
                    <a:pt x="217539" y="435069"/>
                  </a:lnTo>
                  <a:close/>
                  <a:moveTo>
                    <a:pt x="0" y="435077"/>
                  </a:moveTo>
                  <a:lnTo>
                    <a:pt x="0" y="8"/>
                  </a:lnTo>
                  <a:lnTo>
                    <a:pt x="217539" y="217547"/>
                  </a:lnTo>
                  <a:lnTo>
                    <a:pt x="0" y="435077"/>
                  </a:lnTo>
                  <a:close/>
                </a:path>
              </a:pathLst>
            </a:custGeom>
            <a:grpFill/>
            <a:ln w="27192" cap="flat">
              <a:noFill/>
              <a:prstDash val="solid"/>
              <a:miter/>
            </a:ln>
          </p:spPr>
          <p:txBody>
            <a:bodyPr rtlCol="0" anchor="ctr"/>
            <a:lstStyle/>
            <a:p>
              <a:endParaRPr lang="uk-UA" sz="900"/>
            </a:p>
          </p:txBody>
        </p:sp>
        <p:sp>
          <p:nvSpPr>
            <p:cNvPr id="512" name="Freeform: Shape 511">
              <a:extLst>
                <a:ext uri="{FF2B5EF4-FFF2-40B4-BE49-F238E27FC236}">
                  <a16:creationId xmlns:a16="http://schemas.microsoft.com/office/drawing/2014/main" id="{B4C0A413-6DF4-3C6E-326C-95420F9B1B5C}"/>
                </a:ext>
              </a:extLst>
            </p:cNvPr>
            <p:cNvSpPr/>
            <p:nvPr/>
          </p:nvSpPr>
          <p:spPr>
            <a:xfrm>
              <a:off x="11277709" y="1098754"/>
              <a:ext cx="435077" cy="435077"/>
            </a:xfrm>
            <a:custGeom>
              <a:avLst/>
              <a:gdLst>
                <a:gd name="connsiteX0" fmla="*/ 63710 w 435077"/>
                <a:gd name="connsiteY0" fmla="*/ 153824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4 h 435077"/>
                <a:gd name="connsiteX5" fmla="*/ 217539 w 435077"/>
                <a:gd name="connsiteY5" fmla="*/ 217539 h 435077"/>
                <a:gd name="connsiteX6" fmla="*/ 63710 w 435077"/>
                <a:gd name="connsiteY6" fmla="*/ 153824 h 435077"/>
                <a:gd name="connsiteX7" fmla="*/ 63710 w 435077"/>
                <a:gd name="connsiteY7" fmla="*/ 281256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6 h 435077"/>
                <a:gd name="connsiteX12" fmla="*/ 217539 w 435077"/>
                <a:gd name="connsiteY12" fmla="*/ 217539 h 435077"/>
                <a:gd name="connsiteX13" fmla="*/ 63710 w 435077"/>
                <a:gd name="connsiteY13" fmla="*/ 281256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4"/>
                  </a:moveTo>
                  <a:cubicBezTo>
                    <a:pt x="22922" y="113028"/>
                    <a:pt x="0" y="57697"/>
                    <a:pt x="0" y="0"/>
                  </a:cubicBezTo>
                  <a:lnTo>
                    <a:pt x="217539" y="0"/>
                  </a:lnTo>
                  <a:lnTo>
                    <a:pt x="435077" y="0"/>
                  </a:lnTo>
                  <a:cubicBezTo>
                    <a:pt x="435077" y="57697"/>
                    <a:pt x="412154" y="113028"/>
                    <a:pt x="371365" y="153824"/>
                  </a:cubicBezTo>
                  <a:cubicBezTo>
                    <a:pt x="330549" y="194621"/>
                    <a:pt x="275239" y="217539"/>
                    <a:pt x="217539" y="217539"/>
                  </a:cubicBezTo>
                  <a:cubicBezTo>
                    <a:pt x="159836" y="217539"/>
                    <a:pt x="104499" y="194621"/>
                    <a:pt x="63710" y="153824"/>
                  </a:cubicBezTo>
                  <a:close/>
                  <a:moveTo>
                    <a:pt x="63710" y="281256"/>
                  </a:moveTo>
                  <a:cubicBezTo>
                    <a:pt x="22922" y="322052"/>
                    <a:pt x="0" y="377383"/>
                    <a:pt x="0" y="435077"/>
                  </a:cubicBezTo>
                  <a:lnTo>
                    <a:pt x="217539" y="435077"/>
                  </a:lnTo>
                  <a:lnTo>
                    <a:pt x="435077" y="435077"/>
                  </a:lnTo>
                  <a:cubicBezTo>
                    <a:pt x="435077" y="377383"/>
                    <a:pt x="412154" y="322052"/>
                    <a:pt x="371365" y="281256"/>
                  </a:cubicBezTo>
                  <a:cubicBezTo>
                    <a:pt x="330549" y="240459"/>
                    <a:pt x="275239" y="217539"/>
                    <a:pt x="217539" y="217539"/>
                  </a:cubicBezTo>
                  <a:cubicBezTo>
                    <a:pt x="159836" y="217539"/>
                    <a:pt x="104499" y="240459"/>
                    <a:pt x="63710" y="281256"/>
                  </a:cubicBezTo>
                  <a:close/>
                </a:path>
              </a:pathLst>
            </a:custGeom>
            <a:grpFill/>
            <a:ln w="27192" cap="flat">
              <a:noFill/>
              <a:prstDash val="solid"/>
              <a:miter/>
            </a:ln>
          </p:spPr>
          <p:txBody>
            <a:bodyPr rtlCol="0" anchor="ctr"/>
            <a:lstStyle/>
            <a:p>
              <a:endParaRPr lang="uk-UA" sz="900"/>
            </a:p>
          </p:txBody>
        </p:sp>
        <p:sp>
          <p:nvSpPr>
            <p:cNvPr id="513" name="Freeform: Shape 512">
              <a:extLst>
                <a:ext uri="{FF2B5EF4-FFF2-40B4-BE49-F238E27FC236}">
                  <a16:creationId xmlns:a16="http://schemas.microsoft.com/office/drawing/2014/main" id="{1578C613-DF92-39C3-B2BE-9F7DED971CBD}"/>
                </a:ext>
              </a:extLst>
            </p:cNvPr>
            <p:cNvSpPr/>
            <p:nvPr/>
          </p:nvSpPr>
          <p:spPr>
            <a:xfrm>
              <a:off x="10407554" y="1098754"/>
              <a:ext cx="435077" cy="435077"/>
            </a:xfrm>
            <a:custGeom>
              <a:avLst/>
              <a:gdLst>
                <a:gd name="connsiteX0" fmla="*/ 435077 w 435077"/>
                <a:gd name="connsiteY0" fmla="*/ 435077 h 435077"/>
                <a:gd name="connsiteX1" fmla="*/ 435077 w 435077"/>
                <a:gd name="connsiteY1" fmla="*/ 0 h 435077"/>
                <a:gd name="connsiteX2" fmla="*/ 217539 w 435077"/>
                <a:gd name="connsiteY2" fmla="*/ 217544 h 435077"/>
                <a:gd name="connsiteX3" fmla="*/ 435077 w 435077"/>
                <a:gd name="connsiteY3" fmla="*/ 435077 h 435077"/>
                <a:gd name="connsiteX4" fmla="*/ 0 w 435077"/>
                <a:gd name="connsiteY4" fmla="*/ 435077 h 435077"/>
                <a:gd name="connsiteX5" fmla="*/ 0 w 435077"/>
                <a:gd name="connsiteY5" fmla="*/ 3 h 435077"/>
                <a:gd name="connsiteX6" fmla="*/ 217511 w 435077"/>
                <a:gd name="connsiteY6" fmla="*/ 217544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44"/>
                  </a:lnTo>
                  <a:lnTo>
                    <a:pt x="435077" y="435077"/>
                  </a:lnTo>
                  <a:close/>
                  <a:moveTo>
                    <a:pt x="0" y="435077"/>
                  </a:moveTo>
                  <a:lnTo>
                    <a:pt x="0" y="3"/>
                  </a:lnTo>
                  <a:lnTo>
                    <a:pt x="217511" y="217544"/>
                  </a:lnTo>
                  <a:lnTo>
                    <a:pt x="0" y="435077"/>
                  </a:lnTo>
                  <a:close/>
                </a:path>
              </a:pathLst>
            </a:custGeom>
            <a:grpFill/>
            <a:ln w="27192" cap="flat">
              <a:noFill/>
              <a:prstDash val="solid"/>
              <a:miter/>
            </a:ln>
          </p:spPr>
          <p:txBody>
            <a:bodyPr rtlCol="0" anchor="ctr"/>
            <a:lstStyle/>
            <a:p>
              <a:endParaRPr lang="uk-UA" sz="900"/>
            </a:p>
          </p:txBody>
        </p:sp>
        <p:sp>
          <p:nvSpPr>
            <p:cNvPr id="514" name="Freeform: Shape 513">
              <a:extLst>
                <a:ext uri="{FF2B5EF4-FFF2-40B4-BE49-F238E27FC236}">
                  <a16:creationId xmlns:a16="http://schemas.microsoft.com/office/drawing/2014/main" id="{63D25B03-3D1A-161A-97B5-7E94079FB94D}"/>
                </a:ext>
              </a:extLst>
            </p:cNvPr>
            <p:cNvSpPr/>
            <p:nvPr/>
          </p:nvSpPr>
          <p:spPr>
            <a:xfrm>
              <a:off x="12147864" y="1098754"/>
              <a:ext cx="435077" cy="435077"/>
            </a:xfrm>
            <a:custGeom>
              <a:avLst/>
              <a:gdLst>
                <a:gd name="connsiteX0" fmla="*/ 435077 w 435077"/>
                <a:gd name="connsiteY0" fmla="*/ 435077 h 435077"/>
                <a:gd name="connsiteX1" fmla="*/ 435077 w 435077"/>
                <a:gd name="connsiteY1" fmla="*/ 217547 h 435077"/>
                <a:gd name="connsiteX2" fmla="*/ 435077 w 435077"/>
                <a:gd name="connsiteY2" fmla="*/ 16 h 435077"/>
                <a:gd name="connsiteX3" fmla="*/ 217565 w 435077"/>
                <a:gd name="connsiteY3" fmla="*/ 16 h 435077"/>
                <a:gd name="connsiteX4" fmla="*/ 435077 w 435077"/>
                <a:gd name="connsiteY4" fmla="*/ 217547 h 435077"/>
                <a:gd name="connsiteX5" fmla="*/ 217565 w 435077"/>
                <a:gd name="connsiteY5" fmla="*/ 435077 h 435077"/>
                <a:gd name="connsiteX6" fmla="*/ 435077 w 435077"/>
                <a:gd name="connsiteY6" fmla="*/ 435077 h 435077"/>
                <a:gd name="connsiteX7" fmla="*/ 0 w 435077"/>
                <a:gd name="connsiteY7" fmla="*/ 217531 h 435077"/>
                <a:gd name="connsiteX8" fmla="*/ 0 w 435077"/>
                <a:gd name="connsiteY8" fmla="*/ 0 h 435077"/>
                <a:gd name="connsiteX9" fmla="*/ 217539 w 435077"/>
                <a:gd name="connsiteY9" fmla="*/ 217531 h 435077"/>
                <a:gd name="connsiteX10" fmla="*/ 0 w 435077"/>
                <a:gd name="connsiteY10" fmla="*/ 217531 h 435077"/>
                <a:gd name="connsiteX11" fmla="*/ 0 w 435077"/>
                <a:gd name="connsiteY11" fmla="*/ 435072 h 435077"/>
                <a:gd name="connsiteX12" fmla="*/ 0 w 435077"/>
                <a:gd name="connsiteY12" fmla="*/ 217541 h 435077"/>
                <a:gd name="connsiteX13" fmla="*/ 217539 w 435077"/>
                <a:gd name="connsiteY13" fmla="*/ 217541 h 435077"/>
                <a:gd name="connsiteX14" fmla="*/ 0 w 435077"/>
                <a:gd name="connsiteY14" fmla="*/ 43507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47"/>
                  </a:lnTo>
                  <a:lnTo>
                    <a:pt x="435077" y="16"/>
                  </a:lnTo>
                  <a:lnTo>
                    <a:pt x="217565" y="16"/>
                  </a:lnTo>
                  <a:lnTo>
                    <a:pt x="435077" y="217547"/>
                  </a:lnTo>
                  <a:lnTo>
                    <a:pt x="217565" y="435077"/>
                  </a:lnTo>
                  <a:lnTo>
                    <a:pt x="435077" y="435077"/>
                  </a:lnTo>
                  <a:close/>
                  <a:moveTo>
                    <a:pt x="0" y="217531"/>
                  </a:moveTo>
                  <a:lnTo>
                    <a:pt x="0" y="0"/>
                  </a:lnTo>
                  <a:lnTo>
                    <a:pt x="217539" y="217531"/>
                  </a:lnTo>
                  <a:lnTo>
                    <a:pt x="0" y="217531"/>
                  </a:lnTo>
                  <a:close/>
                  <a:moveTo>
                    <a:pt x="0" y="435072"/>
                  </a:moveTo>
                  <a:lnTo>
                    <a:pt x="0" y="217541"/>
                  </a:lnTo>
                  <a:lnTo>
                    <a:pt x="217539" y="217541"/>
                  </a:lnTo>
                  <a:lnTo>
                    <a:pt x="0" y="435072"/>
                  </a:lnTo>
                  <a:close/>
                </a:path>
              </a:pathLst>
            </a:custGeom>
            <a:grpFill/>
            <a:ln w="27192" cap="flat">
              <a:noFill/>
              <a:prstDash val="solid"/>
              <a:miter/>
            </a:ln>
          </p:spPr>
          <p:txBody>
            <a:bodyPr rtlCol="0" anchor="ctr"/>
            <a:lstStyle/>
            <a:p>
              <a:endParaRPr lang="uk-UA" sz="900"/>
            </a:p>
          </p:txBody>
        </p:sp>
        <p:sp>
          <p:nvSpPr>
            <p:cNvPr id="515" name="Freeform: Shape 514">
              <a:extLst>
                <a:ext uri="{FF2B5EF4-FFF2-40B4-BE49-F238E27FC236}">
                  <a16:creationId xmlns:a16="http://schemas.microsoft.com/office/drawing/2014/main" id="{522CF534-588A-8D22-7179-C2EE720CAAE6}"/>
                </a:ext>
              </a:extLst>
            </p:cNvPr>
            <p:cNvSpPr/>
            <p:nvPr/>
          </p:nvSpPr>
          <p:spPr>
            <a:xfrm>
              <a:off x="13018045" y="1098754"/>
              <a:ext cx="435077" cy="435077"/>
            </a:xfrm>
            <a:custGeom>
              <a:avLst/>
              <a:gdLst>
                <a:gd name="connsiteX0" fmla="*/ 217539 w 435077"/>
                <a:gd name="connsiteY0" fmla="*/ 435069 h 435077"/>
                <a:gd name="connsiteX1" fmla="*/ 217539 w 435077"/>
                <a:gd name="connsiteY1" fmla="*/ 0 h 435077"/>
                <a:gd name="connsiteX2" fmla="*/ 435077 w 435077"/>
                <a:gd name="connsiteY2" fmla="*/ 217541 h 435077"/>
                <a:gd name="connsiteX3" fmla="*/ 217539 w 435077"/>
                <a:gd name="connsiteY3" fmla="*/ 435069 h 435077"/>
                <a:gd name="connsiteX4" fmla="*/ 0 w 435077"/>
                <a:gd name="connsiteY4" fmla="*/ 435077 h 435077"/>
                <a:gd name="connsiteX5" fmla="*/ 0 w 435077"/>
                <a:gd name="connsiteY5" fmla="*/ 8 h 435077"/>
                <a:gd name="connsiteX6" fmla="*/ 217539 w 435077"/>
                <a:gd name="connsiteY6" fmla="*/ 217547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69"/>
                  </a:moveTo>
                  <a:lnTo>
                    <a:pt x="217539" y="0"/>
                  </a:lnTo>
                  <a:lnTo>
                    <a:pt x="435077" y="217541"/>
                  </a:lnTo>
                  <a:lnTo>
                    <a:pt x="217539" y="435069"/>
                  </a:lnTo>
                  <a:close/>
                  <a:moveTo>
                    <a:pt x="0" y="435077"/>
                  </a:moveTo>
                  <a:lnTo>
                    <a:pt x="0" y="8"/>
                  </a:lnTo>
                  <a:lnTo>
                    <a:pt x="217539" y="217547"/>
                  </a:lnTo>
                  <a:lnTo>
                    <a:pt x="0" y="435077"/>
                  </a:lnTo>
                  <a:close/>
                </a:path>
              </a:pathLst>
            </a:custGeom>
            <a:grpFill/>
            <a:ln w="27192" cap="flat">
              <a:noFill/>
              <a:prstDash val="solid"/>
              <a:miter/>
            </a:ln>
          </p:spPr>
          <p:txBody>
            <a:bodyPr rtlCol="0" anchor="ctr"/>
            <a:lstStyle/>
            <a:p>
              <a:endParaRPr lang="uk-UA" sz="900"/>
            </a:p>
          </p:txBody>
        </p:sp>
        <p:sp>
          <p:nvSpPr>
            <p:cNvPr id="516" name="Freeform: Shape 515">
              <a:extLst>
                <a:ext uri="{FF2B5EF4-FFF2-40B4-BE49-F238E27FC236}">
                  <a16:creationId xmlns:a16="http://schemas.microsoft.com/office/drawing/2014/main" id="{AA54DE48-FAF1-EB5C-AD75-6CB5512AA541}"/>
                </a:ext>
              </a:extLst>
            </p:cNvPr>
            <p:cNvSpPr/>
            <p:nvPr/>
          </p:nvSpPr>
          <p:spPr>
            <a:xfrm>
              <a:off x="14758382" y="1098754"/>
              <a:ext cx="435077" cy="435077"/>
            </a:xfrm>
            <a:custGeom>
              <a:avLst/>
              <a:gdLst>
                <a:gd name="connsiteX0" fmla="*/ 63712 w 435077"/>
                <a:gd name="connsiteY0" fmla="*/ 153824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4 h 435077"/>
                <a:gd name="connsiteX5" fmla="*/ 217539 w 435077"/>
                <a:gd name="connsiteY5" fmla="*/ 217539 h 435077"/>
                <a:gd name="connsiteX6" fmla="*/ 63712 w 435077"/>
                <a:gd name="connsiteY6" fmla="*/ 153824 h 435077"/>
                <a:gd name="connsiteX7" fmla="*/ 63712 w 435077"/>
                <a:gd name="connsiteY7" fmla="*/ 281256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56 h 435077"/>
                <a:gd name="connsiteX12" fmla="*/ 217539 w 435077"/>
                <a:gd name="connsiteY12" fmla="*/ 217539 h 435077"/>
                <a:gd name="connsiteX13" fmla="*/ 63712 w 435077"/>
                <a:gd name="connsiteY13" fmla="*/ 281256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4"/>
                  </a:moveTo>
                  <a:cubicBezTo>
                    <a:pt x="22924" y="113028"/>
                    <a:pt x="0" y="57697"/>
                    <a:pt x="0" y="0"/>
                  </a:cubicBezTo>
                  <a:lnTo>
                    <a:pt x="217539" y="0"/>
                  </a:lnTo>
                  <a:lnTo>
                    <a:pt x="435077" y="0"/>
                  </a:lnTo>
                  <a:cubicBezTo>
                    <a:pt x="435077" y="57697"/>
                    <a:pt x="412155" y="113028"/>
                    <a:pt x="371367" y="153824"/>
                  </a:cubicBezTo>
                  <a:cubicBezTo>
                    <a:pt x="330550" y="194621"/>
                    <a:pt x="275241" y="217539"/>
                    <a:pt x="217539" y="217539"/>
                  </a:cubicBezTo>
                  <a:cubicBezTo>
                    <a:pt x="159836" y="217539"/>
                    <a:pt x="104501" y="194621"/>
                    <a:pt x="63712" y="153824"/>
                  </a:cubicBezTo>
                  <a:close/>
                  <a:moveTo>
                    <a:pt x="63712" y="281256"/>
                  </a:moveTo>
                  <a:cubicBezTo>
                    <a:pt x="22924" y="322052"/>
                    <a:pt x="0" y="377383"/>
                    <a:pt x="0" y="435077"/>
                  </a:cubicBezTo>
                  <a:lnTo>
                    <a:pt x="217539" y="435077"/>
                  </a:lnTo>
                  <a:lnTo>
                    <a:pt x="435077" y="435077"/>
                  </a:lnTo>
                  <a:cubicBezTo>
                    <a:pt x="435077" y="377383"/>
                    <a:pt x="412155" y="322052"/>
                    <a:pt x="371367" y="281256"/>
                  </a:cubicBezTo>
                  <a:cubicBezTo>
                    <a:pt x="330550" y="240459"/>
                    <a:pt x="275241" y="217539"/>
                    <a:pt x="217539" y="217539"/>
                  </a:cubicBezTo>
                  <a:cubicBezTo>
                    <a:pt x="159836" y="217539"/>
                    <a:pt x="104501" y="240459"/>
                    <a:pt x="63712" y="281256"/>
                  </a:cubicBezTo>
                  <a:close/>
                </a:path>
              </a:pathLst>
            </a:custGeom>
            <a:grpFill/>
            <a:ln w="27192" cap="flat">
              <a:noFill/>
              <a:prstDash val="solid"/>
              <a:miter/>
            </a:ln>
          </p:spPr>
          <p:txBody>
            <a:bodyPr rtlCol="0" anchor="ctr"/>
            <a:lstStyle/>
            <a:p>
              <a:endParaRPr lang="uk-UA" sz="900"/>
            </a:p>
          </p:txBody>
        </p:sp>
        <p:sp>
          <p:nvSpPr>
            <p:cNvPr id="517" name="Freeform: Shape 516">
              <a:extLst>
                <a:ext uri="{FF2B5EF4-FFF2-40B4-BE49-F238E27FC236}">
                  <a16:creationId xmlns:a16="http://schemas.microsoft.com/office/drawing/2014/main" id="{06D1108D-9DCB-4D85-7F86-5210B092AF87}"/>
                </a:ext>
              </a:extLst>
            </p:cNvPr>
            <p:cNvSpPr/>
            <p:nvPr/>
          </p:nvSpPr>
          <p:spPr>
            <a:xfrm>
              <a:off x="13888200" y="1098754"/>
              <a:ext cx="435077" cy="435077"/>
            </a:xfrm>
            <a:custGeom>
              <a:avLst/>
              <a:gdLst>
                <a:gd name="connsiteX0" fmla="*/ 435077 w 435077"/>
                <a:gd name="connsiteY0" fmla="*/ 435077 h 435077"/>
                <a:gd name="connsiteX1" fmla="*/ 435077 w 435077"/>
                <a:gd name="connsiteY1" fmla="*/ 0 h 435077"/>
                <a:gd name="connsiteX2" fmla="*/ 217565 w 435077"/>
                <a:gd name="connsiteY2" fmla="*/ 217544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44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44"/>
                  </a:lnTo>
                  <a:lnTo>
                    <a:pt x="435077" y="435077"/>
                  </a:lnTo>
                  <a:close/>
                  <a:moveTo>
                    <a:pt x="0" y="435077"/>
                  </a:moveTo>
                  <a:lnTo>
                    <a:pt x="0" y="3"/>
                  </a:lnTo>
                  <a:lnTo>
                    <a:pt x="217539" y="217544"/>
                  </a:lnTo>
                  <a:lnTo>
                    <a:pt x="0" y="435077"/>
                  </a:lnTo>
                  <a:close/>
                </a:path>
              </a:pathLst>
            </a:custGeom>
            <a:grpFill/>
            <a:ln w="27192" cap="flat">
              <a:noFill/>
              <a:prstDash val="solid"/>
              <a:miter/>
            </a:ln>
          </p:spPr>
          <p:txBody>
            <a:bodyPr rtlCol="0" anchor="ctr"/>
            <a:lstStyle/>
            <a:p>
              <a:endParaRPr lang="uk-UA" sz="900"/>
            </a:p>
          </p:txBody>
        </p:sp>
        <p:sp>
          <p:nvSpPr>
            <p:cNvPr id="518" name="Freeform: Shape 517">
              <a:extLst>
                <a:ext uri="{FF2B5EF4-FFF2-40B4-BE49-F238E27FC236}">
                  <a16:creationId xmlns:a16="http://schemas.microsoft.com/office/drawing/2014/main" id="{A06C25BB-3F5E-3D42-40CA-533827F90C71}"/>
                </a:ext>
              </a:extLst>
            </p:cNvPr>
            <p:cNvSpPr/>
            <p:nvPr/>
          </p:nvSpPr>
          <p:spPr>
            <a:xfrm>
              <a:off x="15628536" y="1098754"/>
              <a:ext cx="435077" cy="435077"/>
            </a:xfrm>
            <a:custGeom>
              <a:avLst/>
              <a:gdLst>
                <a:gd name="connsiteX0" fmla="*/ 435077 w 435077"/>
                <a:gd name="connsiteY0" fmla="*/ 435077 h 435077"/>
                <a:gd name="connsiteX1" fmla="*/ 435077 w 435077"/>
                <a:gd name="connsiteY1" fmla="*/ 217547 h 435077"/>
                <a:gd name="connsiteX2" fmla="*/ 435077 w 435077"/>
                <a:gd name="connsiteY2" fmla="*/ 16 h 435077"/>
                <a:gd name="connsiteX3" fmla="*/ 217567 w 435077"/>
                <a:gd name="connsiteY3" fmla="*/ 16 h 435077"/>
                <a:gd name="connsiteX4" fmla="*/ 435077 w 435077"/>
                <a:gd name="connsiteY4" fmla="*/ 217547 h 435077"/>
                <a:gd name="connsiteX5" fmla="*/ 217567 w 435077"/>
                <a:gd name="connsiteY5" fmla="*/ 435077 h 435077"/>
                <a:gd name="connsiteX6" fmla="*/ 435077 w 435077"/>
                <a:gd name="connsiteY6" fmla="*/ 435077 h 435077"/>
                <a:gd name="connsiteX7" fmla="*/ 0 w 435077"/>
                <a:gd name="connsiteY7" fmla="*/ 217531 h 435077"/>
                <a:gd name="connsiteX8" fmla="*/ 0 w 435077"/>
                <a:gd name="connsiteY8" fmla="*/ 0 h 435077"/>
                <a:gd name="connsiteX9" fmla="*/ 217539 w 435077"/>
                <a:gd name="connsiteY9" fmla="*/ 217531 h 435077"/>
                <a:gd name="connsiteX10" fmla="*/ 0 w 435077"/>
                <a:gd name="connsiteY10" fmla="*/ 217531 h 435077"/>
                <a:gd name="connsiteX11" fmla="*/ 0 w 435077"/>
                <a:gd name="connsiteY11" fmla="*/ 435072 h 435077"/>
                <a:gd name="connsiteX12" fmla="*/ 0 w 435077"/>
                <a:gd name="connsiteY12" fmla="*/ 217541 h 435077"/>
                <a:gd name="connsiteX13" fmla="*/ 217539 w 435077"/>
                <a:gd name="connsiteY13" fmla="*/ 217541 h 435077"/>
                <a:gd name="connsiteX14" fmla="*/ 0 w 435077"/>
                <a:gd name="connsiteY14" fmla="*/ 43507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47"/>
                  </a:lnTo>
                  <a:lnTo>
                    <a:pt x="435077" y="16"/>
                  </a:lnTo>
                  <a:lnTo>
                    <a:pt x="217567" y="16"/>
                  </a:lnTo>
                  <a:lnTo>
                    <a:pt x="435077" y="217547"/>
                  </a:lnTo>
                  <a:lnTo>
                    <a:pt x="217567" y="435077"/>
                  </a:lnTo>
                  <a:lnTo>
                    <a:pt x="435077" y="435077"/>
                  </a:lnTo>
                  <a:close/>
                  <a:moveTo>
                    <a:pt x="0" y="217531"/>
                  </a:moveTo>
                  <a:lnTo>
                    <a:pt x="0" y="0"/>
                  </a:lnTo>
                  <a:lnTo>
                    <a:pt x="217539" y="217531"/>
                  </a:lnTo>
                  <a:lnTo>
                    <a:pt x="0" y="217531"/>
                  </a:lnTo>
                  <a:close/>
                  <a:moveTo>
                    <a:pt x="0" y="435072"/>
                  </a:moveTo>
                  <a:lnTo>
                    <a:pt x="0" y="217541"/>
                  </a:lnTo>
                  <a:lnTo>
                    <a:pt x="217539" y="217541"/>
                  </a:lnTo>
                  <a:lnTo>
                    <a:pt x="0" y="435072"/>
                  </a:lnTo>
                  <a:close/>
                </a:path>
              </a:pathLst>
            </a:custGeom>
            <a:grpFill/>
            <a:ln w="27192" cap="flat">
              <a:noFill/>
              <a:prstDash val="solid"/>
              <a:miter/>
            </a:ln>
          </p:spPr>
          <p:txBody>
            <a:bodyPr rtlCol="0" anchor="ctr"/>
            <a:lstStyle/>
            <a:p>
              <a:endParaRPr lang="uk-UA" sz="900"/>
            </a:p>
          </p:txBody>
        </p:sp>
        <p:sp>
          <p:nvSpPr>
            <p:cNvPr id="519" name="Freeform: Shape 518">
              <a:extLst>
                <a:ext uri="{FF2B5EF4-FFF2-40B4-BE49-F238E27FC236}">
                  <a16:creationId xmlns:a16="http://schemas.microsoft.com/office/drawing/2014/main" id="{4E1B15F9-E97A-20E6-2150-6EF23F273C67}"/>
                </a:ext>
              </a:extLst>
            </p:cNvPr>
            <p:cNvSpPr/>
            <p:nvPr/>
          </p:nvSpPr>
          <p:spPr>
            <a:xfrm>
              <a:off x="16498719" y="1098754"/>
              <a:ext cx="435077" cy="435077"/>
            </a:xfrm>
            <a:custGeom>
              <a:avLst/>
              <a:gdLst>
                <a:gd name="connsiteX0" fmla="*/ 217539 w 435077"/>
                <a:gd name="connsiteY0" fmla="*/ 435069 h 435077"/>
                <a:gd name="connsiteX1" fmla="*/ 217539 w 435077"/>
                <a:gd name="connsiteY1" fmla="*/ 0 h 435077"/>
                <a:gd name="connsiteX2" fmla="*/ 435077 w 435077"/>
                <a:gd name="connsiteY2" fmla="*/ 217541 h 435077"/>
                <a:gd name="connsiteX3" fmla="*/ 217539 w 435077"/>
                <a:gd name="connsiteY3" fmla="*/ 435069 h 435077"/>
                <a:gd name="connsiteX4" fmla="*/ 0 w 435077"/>
                <a:gd name="connsiteY4" fmla="*/ 435077 h 435077"/>
                <a:gd name="connsiteX5" fmla="*/ 0 w 435077"/>
                <a:gd name="connsiteY5" fmla="*/ 8 h 435077"/>
                <a:gd name="connsiteX6" fmla="*/ 217539 w 435077"/>
                <a:gd name="connsiteY6" fmla="*/ 217547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69"/>
                  </a:moveTo>
                  <a:lnTo>
                    <a:pt x="217539" y="0"/>
                  </a:lnTo>
                  <a:lnTo>
                    <a:pt x="435077" y="217541"/>
                  </a:lnTo>
                  <a:lnTo>
                    <a:pt x="217539" y="435069"/>
                  </a:lnTo>
                  <a:close/>
                  <a:moveTo>
                    <a:pt x="0" y="435077"/>
                  </a:moveTo>
                  <a:lnTo>
                    <a:pt x="0" y="8"/>
                  </a:lnTo>
                  <a:lnTo>
                    <a:pt x="217539" y="217547"/>
                  </a:lnTo>
                  <a:lnTo>
                    <a:pt x="0" y="435077"/>
                  </a:lnTo>
                  <a:close/>
                </a:path>
              </a:pathLst>
            </a:custGeom>
            <a:grpFill/>
            <a:ln w="27192" cap="flat">
              <a:noFill/>
              <a:prstDash val="solid"/>
              <a:miter/>
            </a:ln>
          </p:spPr>
          <p:txBody>
            <a:bodyPr rtlCol="0" anchor="ctr"/>
            <a:lstStyle/>
            <a:p>
              <a:endParaRPr lang="uk-UA" sz="900"/>
            </a:p>
          </p:txBody>
        </p:sp>
        <p:sp>
          <p:nvSpPr>
            <p:cNvPr id="520" name="Freeform: Shape 519">
              <a:extLst>
                <a:ext uri="{FF2B5EF4-FFF2-40B4-BE49-F238E27FC236}">
                  <a16:creationId xmlns:a16="http://schemas.microsoft.com/office/drawing/2014/main" id="{B60E7F1D-43D1-FE2C-1F22-203121B1D81B}"/>
                </a:ext>
              </a:extLst>
            </p:cNvPr>
            <p:cNvSpPr/>
            <p:nvPr/>
          </p:nvSpPr>
          <p:spPr>
            <a:xfrm>
              <a:off x="18239029" y="1098754"/>
              <a:ext cx="435077" cy="435077"/>
            </a:xfrm>
            <a:custGeom>
              <a:avLst/>
              <a:gdLst>
                <a:gd name="connsiteX0" fmla="*/ 63710 w 435077"/>
                <a:gd name="connsiteY0" fmla="*/ 153824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4 h 435077"/>
                <a:gd name="connsiteX5" fmla="*/ 217539 w 435077"/>
                <a:gd name="connsiteY5" fmla="*/ 217539 h 435077"/>
                <a:gd name="connsiteX6" fmla="*/ 63710 w 435077"/>
                <a:gd name="connsiteY6" fmla="*/ 153824 h 435077"/>
                <a:gd name="connsiteX7" fmla="*/ 63710 w 435077"/>
                <a:gd name="connsiteY7" fmla="*/ 281256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6 h 435077"/>
                <a:gd name="connsiteX12" fmla="*/ 217539 w 435077"/>
                <a:gd name="connsiteY12" fmla="*/ 217539 h 435077"/>
                <a:gd name="connsiteX13" fmla="*/ 63710 w 435077"/>
                <a:gd name="connsiteY13" fmla="*/ 281256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4"/>
                  </a:moveTo>
                  <a:cubicBezTo>
                    <a:pt x="22922" y="113028"/>
                    <a:pt x="0" y="57697"/>
                    <a:pt x="0" y="0"/>
                  </a:cubicBezTo>
                  <a:lnTo>
                    <a:pt x="217539" y="0"/>
                  </a:lnTo>
                  <a:lnTo>
                    <a:pt x="435077" y="0"/>
                  </a:lnTo>
                  <a:cubicBezTo>
                    <a:pt x="435077" y="57697"/>
                    <a:pt x="412154" y="113028"/>
                    <a:pt x="371365" y="153824"/>
                  </a:cubicBezTo>
                  <a:cubicBezTo>
                    <a:pt x="330577" y="194621"/>
                    <a:pt x="275241" y="217539"/>
                    <a:pt x="217539" y="217539"/>
                  </a:cubicBezTo>
                  <a:cubicBezTo>
                    <a:pt x="159836" y="217539"/>
                    <a:pt x="104527" y="194621"/>
                    <a:pt x="63710" y="153824"/>
                  </a:cubicBezTo>
                  <a:close/>
                  <a:moveTo>
                    <a:pt x="63710" y="281256"/>
                  </a:moveTo>
                  <a:cubicBezTo>
                    <a:pt x="22922" y="322052"/>
                    <a:pt x="0" y="377383"/>
                    <a:pt x="0" y="435077"/>
                  </a:cubicBezTo>
                  <a:lnTo>
                    <a:pt x="217539" y="435077"/>
                  </a:lnTo>
                  <a:lnTo>
                    <a:pt x="435077" y="435077"/>
                  </a:lnTo>
                  <a:cubicBezTo>
                    <a:pt x="435077" y="377383"/>
                    <a:pt x="412154" y="322052"/>
                    <a:pt x="371365" y="281256"/>
                  </a:cubicBezTo>
                  <a:cubicBezTo>
                    <a:pt x="330577" y="240459"/>
                    <a:pt x="275241" y="217539"/>
                    <a:pt x="217539" y="217539"/>
                  </a:cubicBezTo>
                  <a:cubicBezTo>
                    <a:pt x="159836" y="217539"/>
                    <a:pt x="104527" y="240459"/>
                    <a:pt x="63710" y="281256"/>
                  </a:cubicBezTo>
                  <a:close/>
                </a:path>
              </a:pathLst>
            </a:custGeom>
            <a:grpFill/>
            <a:ln w="27192" cap="flat">
              <a:noFill/>
              <a:prstDash val="solid"/>
              <a:miter/>
            </a:ln>
          </p:spPr>
          <p:txBody>
            <a:bodyPr rtlCol="0" anchor="ctr"/>
            <a:lstStyle/>
            <a:p>
              <a:endParaRPr lang="uk-UA" sz="900"/>
            </a:p>
          </p:txBody>
        </p:sp>
        <p:sp>
          <p:nvSpPr>
            <p:cNvPr id="521" name="Freeform: Shape 520">
              <a:extLst>
                <a:ext uri="{FF2B5EF4-FFF2-40B4-BE49-F238E27FC236}">
                  <a16:creationId xmlns:a16="http://schemas.microsoft.com/office/drawing/2014/main" id="{3D873586-51B3-2C95-84F5-41B3D1F4DA48}"/>
                </a:ext>
              </a:extLst>
            </p:cNvPr>
            <p:cNvSpPr/>
            <p:nvPr/>
          </p:nvSpPr>
          <p:spPr>
            <a:xfrm>
              <a:off x="17368874" y="1098754"/>
              <a:ext cx="435077" cy="435077"/>
            </a:xfrm>
            <a:custGeom>
              <a:avLst/>
              <a:gdLst>
                <a:gd name="connsiteX0" fmla="*/ 435077 w 435077"/>
                <a:gd name="connsiteY0" fmla="*/ 435077 h 435077"/>
                <a:gd name="connsiteX1" fmla="*/ 435077 w 435077"/>
                <a:gd name="connsiteY1" fmla="*/ 0 h 435077"/>
                <a:gd name="connsiteX2" fmla="*/ 217539 w 435077"/>
                <a:gd name="connsiteY2" fmla="*/ 217544 h 435077"/>
                <a:gd name="connsiteX3" fmla="*/ 435077 w 435077"/>
                <a:gd name="connsiteY3" fmla="*/ 435077 h 435077"/>
                <a:gd name="connsiteX4" fmla="*/ 0 w 435077"/>
                <a:gd name="connsiteY4" fmla="*/ 435077 h 435077"/>
                <a:gd name="connsiteX5" fmla="*/ 0 w 435077"/>
                <a:gd name="connsiteY5" fmla="*/ 3 h 435077"/>
                <a:gd name="connsiteX6" fmla="*/ 217510 w 435077"/>
                <a:gd name="connsiteY6" fmla="*/ 217544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44"/>
                  </a:lnTo>
                  <a:lnTo>
                    <a:pt x="435077" y="435077"/>
                  </a:lnTo>
                  <a:close/>
                  <a:moveTo>
                    <a:pt x="0" y="435077"/>
                  </a:moveTo>
                  <a:lnTo>
                    <a:pt x="0" y="3"/>
                  </a:lnTo>
                  <a:lnTo>
                    <a:pt x="217510" y="217544"/>
                  </a:lnTo>
                  <a:lnTo>
                    <a:pt x="0" y="435077"/>
                  </a:lnTo>
                  <a:close/>
                </a:path>
              </a:pathLst>
            </a:custGeom>
            <a:grpFill/>
            <a:ln w="27192" cap="flat">
              <a:noFill/>
              <a:prstDash val="solid"/>
              <a:miter/>
            </a:ln>
          </p:spPr>
          <p:txBody>
            <a:bodyPr rtlCol="0" anchor="ctr"/>
            <a:lstStyle/>
            <a:p>
              <a:endParaRPr lang="uk-UA" sz="900"/>
            </a:p>
          </p:txBody>
        </p:sp>
        <p:sp>
          <p:nvSpPr>
            <p:cNvPr id="522" name="Freeform: Shape 521">
              <a:extLst>
                <a:ext uri="{FF2B5EF4-FFF2-40B4-BE49-F238E27FC236}">
                  <a16:creationId xmlns:a16="http://schemas.microsoft.com/office/drawing/2014/main" id="{95417B23-A58C-764C-B85F-A273AA9BCFD5}"/>
                </a:ext>
              </a:extLst>
            </p:cNvPr>
            <p:cNvSpPr/>
            <p:nvPr/>
          </p:nvSpPr>
          <p:spPr>
            <a:xfrm>
              <a:off x="19109210" y="1098754"/>
              <a:ext cx="435077" cy="435077"/>
            </a:xfrm>
            <a:custGeom>
              <a:avLst/>
              <a:gdLst>
                <a:gd name="connsiteX0" fmla="*/ 435077 w 435077"/>
                <a:gd name="connsiteY0" fmla="*/ 435077 h 435077"/>
                <a:gd name="connsiteX1" fmla="*/ 435077 w 435077"/>
                <a:gd name="connsiteY1" fmla="*/ 217547 h 435077"/>
                <a:gd name="connsiteX2" fmla="*/ 435077 w 435077"/>
                <a:gd name="connsiteY2" fmla="*/ 16 h 435077"/>
                <a:gd name="connsiteX3" fmla="*/ 217539 w 435077"/>
                <a:gd name="connsiteY3" fmla="*/ 16 h 435077"/>
                <a:gd name="connsiteX4" fmla="*/ 435077 w 435077"/>
                <a:gd name="connsiteY4" fmla="*/ 217547 h 435077"/>
                <a:gd name="connsiteX5" fmla="*/ 217539 w 435077"/>
                <a:gd name="connsiteY5" fmla="*/ 435077 h 435077"/>
                <a:gd name="connsiteX6" fmla="*/ 435077 w 435077"/>
                <a:gd name="connsiteY6" fmla="*/ 435077 h 435077"/>
                <a:gd name="connsiteX7" fmla="*/ 0 w 435077"/>
                <a:gd name="connsiteY7" fmla="*/ 217531 h 435077"/>
                <a:gd name="connsiteX8" fmla="*/ 0 w 435077"/>
                <a:gd name="connsiteY8" fmla="*/ 0 h 435077"/>
                <a:gd name="connsiteX9" fmla="*/ 217512 w 435077"/>
                <a:gd name="connsiteY9" fmla="*/ 217531 h 435077"/>
                <a:gd name="connsiteX10" fmla="*/ 0 w 435077"/>
                <a:gd name="connsiteY10" fmla="*/ 217531 h 435077"/>
                <a:gd name="connsiteX11" fmla="*/ 0 w 435077"/>
                <a:gd name="connsiteY11" fmla="*/ 435072 h 435077"/>
                <a:gd name="connsiteX12" fmla="*/ 0 w 435077"/>
                <a:gd name="connsiteY12" fmla="*/ 217541 h 435077"/>
                <a:gd name="connsiteX13" fmla="*/ 217512 w 435077"/>
                <a:gd name="connsiteY13" fmla="*/ 217541 h 435077"/>
                <a:gd name="connsiteX14" fmla="*/ 0 w 435077"/>
                <a:gd name="connsiteY14" fmla="*/ 43507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47"/>
                  </a:lnTo>
                  <a:lnTo>
                    <a:pt x="435077" y="16"/>
                  </a:lnTo>
                  <a:lnTo>
                    <a:pt x="217539" y="16"/>
                  </a:lnTo>
                  <a:lnTo>
                    <a:pt x="435077" y="217547"/>
                  </a:lnTo>
                  <a:lnTo>
                    <a:pt x="217539" y="435077"/>
                  </a:lnTo>
                  <a:lnTo>
                    <a:pt x="435077" y="435077"/>
                  </a:lnTo>
                  <a:close/>
                  <a:moveTo>
                    <a:pt x="0" y="217531"/>
                  </a:moveTo>
                  <a:lnTo>
                    <a:pt x="0" y="0"/>
                  </a:lnTo>
                  <a:lnTo>
                    <a:pt x="217512" y="217531"/>
                  </a:lnTo>
                  <a:lnTo>
                    <a:pt x="0" y="217531"/>
                  </a:lnTo>
                  <a:close/>
                  <a:moveTo>
                    <a:pt x="0" y="435072"/>
                  </a:moveTo>
                  <a:lnTo>
                    <a:pt x="0" y="217541"/>
                  </a:lnTo>
                  <a:lnTo>
                    <a:pt x="217512" y="217541"/>
                  </a:lnTo>
                  <a:lnTo>
                    <a:pt x="0" y="435072"/>
                  </a:lnTo>
                  <a:close/>
                </a:path>
              </a:pathLst>
            </a:custGeom>
            <a:grpFill/>
            <a:ln w="27192" cap="flat">
              <a:noFill/>
              <a:prstDash val="solid"/>
              <a:miter/>
            </a:ln>
          </p:spPr>
          <p:txBody>
            <a:bodyPr rtlCol="0" anchor="ctr"/>
            <a:lstStyle/>
            <a:p>
              <a:endParaRPr lang="uk-UA" sz="900"/>
            </a:p>
          </p:txBody>
        </p:sp>
        <p:sp>
          <p:nvSpPr>
            <p:cNvPr id="523" name="Freeform: Shape 522">
              <a:extLst>
                <a:ext uri="{FF2B5EF4-FFF2-40B4-BE49-F238E27FC236}">
                  <a16:creationId xmlns:a16="http://schemas.microsoft.com/office/drawing/2014/main" id="{FC506718-A23C-BB33-CA7D-370FBD13F058}"/>
                </a:ext>
              </a:extLst>
            </p:cNvPr>
            <p:cNvSpPr/>
            <p:nvPr/>
          </p:nvSpPr>
          <p:spPr>
            <a:xfrm>
              <a:off x="19979365" y="1098754"/>
              <a:ext cx="435077" cy="435077"/>
            </a:xfrm>
            <a:custGeom>
              <a:avLst/>
              <a:gdLst>
                <a:gd name="connsiteX0" fmla="*/ 217539 w 435077"/>
                <a:gd name="connsiteY0" fmla="*/ 435069 h 435077"/>
                <a:gd name="connsiteX1" fmla="*/ 217539 w 435077"/>
                <a:gd name="connsiteY1" fmla="*/ 0 h 435077"/>
                <a:gd name="connsiteX2" fmla="*/ 435077 w 435077"/>
                <a:gd name="connsiteY2" fmla="*/ 217541 h 435077"/>
                <a:gd name="connsiteX3" fmla="*/ 217539 w 435077"/>
                <a:gd name="connsiteY3" fmla="*/ 435069 h 435077"/>
                <a:gd name="connsiteX4" fmla="*/ 0 w 435077"/>
                <a:gd name="connsiteY4" fmla="*/ 435077 h 435077"/>
                <a:gd name="connsiteX5" fmla="*/ 0 w 435077"/>
                <a:gd name="connsiteY5" fmla="*/ 8 h 435077"/>
                <a:gd name="connsiteX6" fmla="*/ 217539 w 435077"/>
                <a:gd name="connsiteY6" fmla="*/ 217547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69"/>
                  </a:moveTo>
                  <a:lnTo>
                    <a:pt x="217539" y="0"/>
                  </a:lnTo>
                  <a:lnTo>
                    <a:pt x="435077" y="217541"/>
                  </a:lnTo>
                  <a:lnTo>
                    <a:pt x="217539" y="435069"/>
                  </a:lnTo>
                  <a:close/>
                  <a:moveTo>
                    <a:pt x="0" y="435077"/>
                  </a:moveTo>
                  <a:lnTo>
                    <a:pt x="0" y="8"/>
                  </a:lnTo>
                  <a:lnTo>
                    <a:pt x="217539" y="217547"/>
                  </a:lnTo>
                  <a:lnTo>
                    <a:pt x="0" y="435077"/>
                  </a:lnTo>
                  <a:close/>
                </a:path>
              </a:pathLst>
            </a:custGeom>
            <a:grpFill/>
            <a:ln w="27192" cap="flat">
              <a:noFill/>
              <a:prstDash val="solid"/>
              <a:miter/>
            </a:ln>
          </p:spPr>
          <p:txBody>
            <a:bodyPr rtlCol="0" anchor="ctr"/>
            <a:lstStyle/>
            <a:p>
              <a:endParaRPr lang="uk-UA" sz="900"/>
            </a:p>
          </p:txBody>
        </p:sp>
        <p:sp>
          <p:nvSpPr>
            <p:cNvPr id="524" name="Freeform: Shape 523">
              <a:extLst>
                <a:ext uri="{FF2B5EF4-FFF2-40B4-BE49-F238E27FC236}">
                  <a16:creationId xmlns:a16="http://schemas.microsoft.com/office/drawing/2014/main" id="{D14C327B-94C9-FEA8-236A-1CD0866ABA06}"/>
                </a:ext>
              </a:extLst>
            </p:cNvPr>
            <p:cNvSpPr/>
            <p:nvPr/>
          </p:nvSpPr>
          <p:spPr>
            <a:xfrm>
              <a:off x="21719702" y="1098754"/>
              <a:ext cx="435077" cy="435077"/>
            </a:xfrm>
            <a:custGeom>
              <a:avLst/>
              <a:gdLst>
                <a:gd name="connsiteX0" fmla="*/ 63712 w 435077"/>
                <a:gd name="connsiteY0" fmla="*/ 153824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4 h 435077"/>
                <a:gd name="connsiteX5" fmla="*/ 217539 w 435077"/>
                <a:gd name="connsiteY5" fmla="*/ 217539 h 435077"/>
                <a:gd name="connsiteX6" fmla="*/ 63712 w 435077"/>
                <a:gd name="connsiteY6" fmla="*/ 153824 h 435077"/>
                <a:gd name="connsiteX7" fmla="*/ 63712 w 435077"/>
                <a:gd name="connsiteY7" fmla="*/ 281256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56 h 435077"/>
                <a:gd name="connsiteX12" fmla="*/ 217539 w 435077"/>
                <a:gd name="connsiteY12" fmla="*/ 217539 h 435077"/>
                <a:gd name="connsiteX13" fmla="*/ 63712 w 435077"/>
                <a:gd name="connsiteY13" fmla="*/ 281256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4"/>
                  </a:moveTo>
                  <a:cubicBezTo>
                    <a:pt x="22897" y="113028"/>
                    <a:pt x="0" y="57697"/>
                    <a:pt x="0" y="0"/>
                  </a:cubicBezTo>
                  <a:lnTo>
                    <a:pt x="217539" y="0"/>
                  </a:lnTo>
                  <a:lnTo>
                    <a:pt x="435077" y="0"/>
                  </a:lnTo>
                  <a:cubicBezTo>
                    <a:pt x="435077" y="57697"/>
                    <a:pt x="412155" y="113028"/>
                    <a:pt x="371339" y="153824"/>
                  </a:cubicBezTo>
                  <a:cubicBezTo>
                    <a:pt x="330550" y="194621"/>
                    <a:pt x="275215" y="217539"/>
                    <a:pt x="217539" y="217539"/>
                  </a:cubicBezTo>
                  <a:cubicBezTo>
                    <a:pt x="159838" y="217539"/>
                    <a:pt x="104501" y="194621"/>
                    <a:pt x="63712" y="153824"/>
                  </a:cubicBezTo>
                  <a:close/>
                  <a:moveTo>
                    <a:pt x="63712" y="281256"/>
                  </a:moveTo>
                  <a:cubicBezTo>
                    <a:pt x="22897" y="322052"/>
                    <a:pt x="0" y="377383"/>
                    <a:pt x="0" y="435077"/>
                  </a:cubicBezTo>
                  <a:lnTo>
                    <a:pt x="217539" y="435077"/>
                  </a:lnTo>
                  <a:lnTo>
                    <a:pt x="435077" y="435077"/>
                  </a:lnTo>
                  <a:cubicBezTo>
                    <a:pt x="435077" y="377383"/>
                    <a:pt x="412155" y="322052"/>
                    <a:pt x="371339" y="281256"/>
                  </a:cubicBezTo>
                  <a:cubicBezTo>
                    <a:pt x="330550" y="240459"/>
                    <a:pt x="275215" y="217539"/>
                    <a:pt x="217539" y="217539"/>
                  </a:cubicBezTo>
                  <a:cubicBezTo>
                    <a:pt x="159838" y="217539"/>
                    <a:pt x="104501" y="240459"/>
                    <a:pt x="63712" y="281256"/>
                  </a:cubicBezTo>
                  <a:close/>
                </a:path>
              </a:pathLst>
            </a:custGeom>
            <a:grpFill/>
            <a:ln w="27192" cap="flat">
              <a:noFill/>
              <a:prstDash val="solid"/>
              <a:miter/>
            </a:ln>
          </p:spPr>
          <p:txBody>
            <a:bodyPr rtlCol="0" anchor="ctr"/>
            <a:lstStyle/>
            <a:p>
              <a:endParaRPr lang="uk-UA" sz="900"/>
            </a:p>
          </p:txBody>
        </p:sp>
        <p:sp>
          <p:nvSpPr>
            <p:cNvPr id="525" name="Freeform: Shape 524">
              <a:extLst>
                <a:ext uri="{FF2B5EF4-FFF2-40B4-BE49-F238E27FC236}">
                  <a16:creationId xmlns:a16="http://schemas.microsoft.com/office/drawing/2014/main" id="{56910BFD-FD30-6086-C732-36DF7C3A5786}"/>
                </a:ext>
              </a:extLst>
            </p:cNvPr>
            <p:cNvSpPr/>
            <p:nvPr/>
          </p:nvSpPr>
          <p:spPr>
            <a:xfrm>
              <a:off x="20849520" y="1098754"/>
              <a:ext cx="435077" cy="435077"/>
            </a:xfrm>
            <a:custGeom>
              <a:avLst/>
              <a:gdLst>
                <a:gd name="connsiteX0" fmla="*/ 435077 w 435077"/>
                <a:gd name="connsiteY0" fmla="*/ 435077 h 435077"/>
                <a:gd name="connsiteX1" fmla="*/ 435077 w 435077"/>
                <a:gd name="connsiteY1" fmla="*/ 0 h 435077"/>
                <a:gd name="connsiteX2" fmla="*/ 217565 w 435077"/>
                <a:gd name="connsiteY2" fmla="*/ 217544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44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44"/>
                  </a:lnTo>
                  <a:lnTo>
                    <a:pt x="435077" y="435077"/>
                  </a:lnTo>
                  <a:close/>
                  <a:moveTo>
                    <a:pt x="0" y="435077"/>
                  </a:moveTo>
                  <a:lnTo>
                    <a:pt x="0" y="3"/>
                  </a:lnTo>
                  <a:lnTo>
                    <a:pt x="217539" y="217544"/>
                  </a:lnTo>
                  <a:lnTo>
                    <a:pt x="0" y="435077"/>
                  </a:lnTo>
                  <a:close/>
                </a:path>
              </a:pathLst>
            </a:custGeom>
            <a:grpFill/>
            <a:ln w="27192" cap="flat">
              <a:noFill/>
              <a:prstDash val="solid"/>
              <a:miter/>
            </a:ln>
          </p:spPr>
          <p:txBody>
            <a:bodyPr rtlCol="0" anchor="ctr"/>
            <a:lstStyle/>
            <a:p>
              <a:endParaRPr lang="uk-UA" sz="900"/>
            </a:p>
          </p:txBody>
        </p:sp>
        <p:sp>
          <p:nvSpPr>
            <p:cNvPr id="526" name="Freeform: Shape 525">
              <a:extLst>
                <a:ext uri="{FF2B5EF4-FFF2-40B4-BE49-F238E27FC236}">
                  <a16:creationId xmlns:a16="http://schemas.microsoft.com/office/drawing/2014/main" id="{1F784630-6259-2BF6-48D5-F20163430E93}"/>
                </a:ext>
              </a:extLst>
            </p:cNvPr>
            <p:cNvSpPr/>
            <p:nvPr/>
          </p:nvSpPr>
          <p:spPr>
            <a:xfrm>
              <a:off x="22589856" y="1098754"/>
              <a:ext cx="435077" cy="435077"/>
            </a:xfrm>
            <a:custGeom>
              <a:avLst/>
              <a:gdLst>
                <a:gd name="connsiteX0" fmla="*/ 435077 w 435077"/>
                <a:gd name="connsiteY0" fmla="*/ 435077 h 435077"/>
                <a:gd name="connsiteX1" fmla="*/ 435077 w 435077"/>
                <a:gd name="connsiteY1" fmla="*/ 217547 h 435077"/>
                <a:gd name="connsiteX2" fmla="*/ 435077 w 435077"/>
                <a:gd name="connsiteY2" fmla="*/ 16 h 435077"/>
                <a:gd name="connsiteX3" fmla="*/ 217567 w 435077"/>
                <a:gd name="connsiteY3" fmla="*/ 16 h 435077"/>
                <a:gd name="connsiteX4" fmla="*/ 435077 w 435077"/>
                <a:gd name="connsiteY4" fmla="*/ 217547 h 435077"/>
                <a:gd name="connsiteX5" fmla="*/ 217567 w 435077"/>
                <a:gd name="connsiteY5" fmla="*/ 435077 h 435077"/>
                <a:gd name="connsiteX6" fmla="*/ 435077 w 435077"/>
                <a:gd name="connsiteY6" fmla="*/ 435077 h 435077"/>
                <a:gd name="connsiteX7" fmla="*/ 0 w 435077"/>
                <a:gd name="connsiteY7" fmla="*/ 217531 h 435077"/>
                <a:gd name="connsiteX8" fmla="*/ 0 w 435077"/>
                <a:gd name="connsiteY8" fmla="*/ 0 h 435077"/>
                <a:gd name="connsiteX9" fmla="*/ 217539 w 435077"/>
                <a:gd name="connsiteY9" fmla="*/ 217531 h 435077"/>
                <a:gd name="connsiteX10" fmla="*/ 0 w 435077"/>
                <a:gd name="connsiteY10" fmla="*/ 217531 h 435077"/>
                <a:gd name="connsiteX11" fmla="*/ 0 w 435077"/>
                <a:gd name="connsiteY11" fmla="*/ 435072 h 435077"/>
                <a:gd name="connsiteX12" fmla="*/ 0 w 435077"/>
                <a:gd name="connsiteY12" fmla="*/ 217541 h 435077"/>
                <a:gd name="connsiteX13" fmla="*/ 217539 w 435077"/>
                <a:gd name="connsiteY13" fmla="*/ 217541 h 435077"/>
                <a:gd name="connsiteX14" fmla="*/ 0 w 435077"/>
                <a:gd name="connsiteY14" fmla="*/ 43507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47"/>
                  </a:lnTo>
                  <a:lnTo>
                    <a:pt x="435077" y="16"/>
                  </a:lnTo>
                  <a:lnTo>
                    <a:pt x="217567" y="16"/>
                  </a:lnTo>
                  <a:lnTo>
                    <a:pt x="435077" y="217547"/>
                  </a:lnTo>
                  <a:lnTo>
                    <a:pt x="217567" y="435077"/>
                  </a:lnTo>
                  <a:lnTo>
                    <a:pt x="435077" y="435077"/>
                  </a:lnTo>
                  <a:close/>
                  <a:moveTo>
                    <a:pt x="0" y="217531"/>
                  </a:moveTo>
                  <a:lnTo>
                    <a:pt x="0" y="0"/>
                  </a:lnTo>
                  <a:lnTo>
                    <a:pt x="217539" y="217531"/>
                  </a:lnTo>
                  <a:lnTo>
                    <a:pt x="0" y="217531"/>
                  </a:lnTo>
                  <a:close/>
                  <a:moveTo>
                    <a:pt x="0" y="435072"/>
                  </a:moveTo>
                  <a:lnTo>
                    <a:pt x="0" y="217541"/>
                  </a:lnTo>
                  <a:lnTo>
                    <a:pt x="217539" y="217541"/>
                  </a:lnTo>
                  <a:lnTo>
                    <a:pt x="0" y="435072"/>
                  </a:lnTo>
                  <a:close/>
                </a:path>
              </a:pathLst>
            </a:custGeom>
            <a:grpFill/>
            <a:ln w="27192" cap="flat">
              <a:noFill/>
              <a:prstDash val="solid"/>
              <a:miter/>
            </a:ln>
          </p:spPr>
          <p:txBody>
            <a:bodyPr rtlCol="0" anchor="ctr"/>
            <a:lstStyle/>
            <a:p>
              <a:endParaRPr lang="uk-UA" sz="900"/>
            </a:p>
          </p:txBody>
        </p:sp>
        <p:sp>
          <p:nvSpPr>
            <p:cNvPr id="527" name="Freeform: Shape 526">
              <a:extLst>
                <a:ext uri="{FF2B5EF4-FFF2-40B4-BE49-F238E27FC236}">
                  <a16:creationId xmlns:a16="http://schemas.microsoft.com/office/drawing/2014/main" id="{1A24BBAA-0FC4-6D17-E2B9-3F947CA123A7}"/>
                </a:ext>
              </a:extLst>
            </p:cNvPr>
            <p:cNvSpPr/>
            <p:nvPr/>
          </p:nvSpPr>
          <p:spPr>
            <a:xfrm>
              <a:off x="23460039" y="1098754"/>
              <a:ext cx="435077" cy="435077"/>
            </a:xfrm>
            <a:custGeom>
              <a:avLst/>
              <a:gdLst>
                <a:gd name="connsiteX0" fmla="*/ 217539 w 435077"/>
                <a:gd name="connsiteY0" fmla="*/ 435069 h 435077"/>
                <a:gd name="connsiteX1" fmla="*/ 217539 w 435077"/>
                <a:gd name="connsiteY1" fmla="*/ 0 h 435077"/>
                <a:gd name="connsiteX2" fmla="*/ 435077 w 435077"/>
                <a:gd name="connsiteY2" fmla="*/ 217541 h 435077"/>
                <a:gd name="connsiteX3" fmla="*/ 217539 w 435077"/>
                <a:gd name="connsiteY3" fmla="*/ 435069 h 435077"/>
                <a:gd name="connsiteX4" fmla="*/ 0 w 435077"/>
                <a:gd name="connsiteY4" fmla="*/ 435077 h 435077"/>
                <a:gd name="connsiteX5" fmla="*/ 0 w 435077"/>
                <a:gd name="connsiteY5" fmla="*/ 8 h 435077"/>
                <a:gd name="connsiteX6" fmla="*/ 217539 w 435077"/>
                <a:gd name="connsiteY6" fmla="*/ 217547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69"/>
                  </a:moveTo>
                  <a:lnTo>
                    <a:pt x="217539" y="0"/>
                  </a:lnTo>
                  <a:lnTo>
                    <a:pt x="435077" y="217541"/>
                  </a:lnTo>
                  <a:lnTo>
                    <a:pt x="217539" y="435069"/>
                  </a:lnTo>
                  <a:close/>
                  <a:moveTo>
                    <a:pt x="0" y="435077"/>
                  </a:moveTo>
                  <a:lnTo>
                    <a:pt x="0" y="8"/>
                  </a:lnTo>
                  <a:lnTo>
                    <a:pt x="217539" y="217547"/>
                  </a:lnTo>
                  <a:lnTo>
                    <a:pt x="0" y="435077"/>
                  </a:lnTo>
                  <a:close/>
                </a:path>
              </a:pathLst>
            </a:custGeom>
            <a:grpFill/>
            <a:ln w="27192" cap="flat">
              <a:noFill/>
              <a:prstDash val="solid"/>
              <a:miter/>
            </a:ln>
          </p:spPr>
          <p:txBody>
            <a:bodyPr rtlCol="0" anchor="ctr"/>
            <a:lstStyle/>
            <a:p>
              <a:endParaRPr lang="uk-UA" sz="900"/>
            </a:p>
          </p:txBody>
        </p:sp>
        <p:sp>
          <p:nvSpPr>
            <p:cNvPr id="528" name="Freeform: Shape 527">
              <a:extLst>
                <a:ext uri="{FF2B5EF4-FFF2-40B4-BE49-F238E27FC236}">
                  <a16:creationId xmlns:a16="http://schemas.microsoft.com/office/drawing/2014/main" id="{03BE9659-270F-A6D1-BF75-678F8794D63A}"/>
                </a:ext>
              </a:extLst>
            </p:cNvPr>
            <p:cNvSpPr/>
            <p:nvPr/>
          </p:nvSpPr>
          <p:spPr>
            <a:xfrm>
              <a:off x="24330194" y="1098754"/>
              <a:ext cx="435077" cy="435077"/>
            </a:xfrm>
            <a:custGeom>
              <a:avLst/>
              <a:gdLst>
                <a:gd name="connsiteX0" fmla="*/ 435077 w 435077"/>
                <a:gd name="connsiteY0" fmla="*/ 435077 h 435077"/>
                <a:gd name="connsiteX1" fmla="*/ 435077 w 435077"/>
                <a:gd name="connsiteY1" fmla="*/ 0 h 435077"/>
                <a:gd name="connsiteX2" fmla="*/ 217539 w 435077"/>
                <a:gd name="connsiteY2" fmla="*/ 217544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44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44"/>
                  </a:lnTo>
                  <a:lnTo>
                    <a:pt x="435077" y="435077"/>
                  </a:lnTo>
                  <a:close/>
                  <a:moveTo>
                    <a:pt x="0" y="435077"/>
                  </a:moveTo>
                  <a:lnTo>
                    <a:pt x="0" y="3"/>
                  </a:lnTo>
                  <a:lnTo>
                    <a:pt x="217539" y="217544"/>
                  </a:lnTo>
                  <a:lnTo>
                    <a:pt x="0" y="435077"/>
                  </a:lnTo>
                  <a:close/>
                </a:path>
              </a:pathLst>
            </a:custGeom>
            <a:grpFill/>
            <a:ln w="27192" cap="flat">
              <a:noFill/>
              <a:prstDash val="solid"/>
              <a:miter/>
            </a:ln>
          </p:spPr>
          <p:txBody>
            <a:bodyPr rtlCol="0" anchor="ctr"/>
            <a:lstStyle/>
            <a:p>
              <a:endParaRPr lang="uk-UA" sz="900"/>
            </a:p>
          </p:txBody>
        </p:sp>
        <p:sp>
          <p:nvSpPr>
            <p:cNvPr id="529" name="Freeform: Shape 528">
              <a:extLst>
                <a:ext uri="{FF2B5EF4-FFF2-40B4-BE49-F238E27FC236}">
                  <a16:creationId xmlns:a16="http://schemas.microsoft.com/office/drawing/2014/main" id="{1A0C5BC8-3743-AD73-0485-BF3B12AA0E27}"/>
                </a:ext>
              </a:extLst>
            </p:cNvPr>
            <p:cNvSpPr/>
            <p:nvPr/>
          </p:nvSpPr>
          <p:spPr>
            <a:xfrm>
              <a:off x="835769" y="5449529"/>
              <a:ext cx="435077" cy="435077"/>
            </a:xfrm>
            <a:custGeom>
              <a:avLst/>
              <a:gdLst>
                <a:gd name="connsiteX0" fmla="*/ 371366 w 435077"/>
                <a:gd name="connsiteY0" fmla="*/ 63712 h 435077"/>
                <a:gd name="connsiteX1" fmla="*/ 435077 w 435077"/>
                <a:gd name="connsiteY1" fmla="*/ 217539 h 435077"/>
                <a:gd name="connsiteX2" fmla="*/ 217702 w 435077"/>
                <a:gd name="connsiteY2" fmla="*/ 217539 h 435077"/>
                <a:gd name="connsiteX3" fmla="*/ 371366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1 w 435077"/>
                <a:gd name="connsiteY7" fmla="*/ 281250 h 435077"/>
                <a:gd name="connsiteX8" fmla="*/ 217375 w 435077"/>
                <a:gd name="connsiteY8" fmla="*/ 217539 h 435077"/>
                <a:gd name="connsiteX9" fmla="*/ 0 w 435077"/>
                <a:gd name="connsiteY9" fmla="*/ 217539 h 435077"/>
                <a:gd name="connsiteX10" fmla="*/ 63711 w 435077"/>
                <a:gd name="connsiteY10" fmla="*/ 63712 h 435077"/>
                <a:gd name="connsiteX11" fmla="*/ 217539 w 435077"/>
                <a:gd name="connsiteY11" fmla="*/ 0 h 435077"/>
                <a:gd name="connsiteX12" fmla="*/ 371366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2"/>
                  </a:moveTo>
                  <a:cubicBezTo>
                    <a:pt x="412154" y="104527"/>
                    <a:pt x="435077" y="159837"/>
                    <a:pt x="435077" y="217539"/>
                  </a:cubicBezTo>
                  <a:lnTo>
                    <a:pt x="217702" y="217539"/>
                  </a:lnTo>
                  <a:cubicBezTo>
                    <a:pt x="275349" y="217593"/>
                    <a:pt x="330604" y="240489"/>
                    <a:pt x="371366" y="281250"/>
                  </a:cubicBezTo>
                  <a:cubicBezTo>
                    <a:pt x="412154" y="322066"/>
                    <a:pt x="435077" y="377375"/>
                    <a:pt x="435077" y="435077"/>
                  </a:cubicBezTo>
                  <a:lnTo>
                    <a:pt x="217539" y="435077"/>
                  </a:lnTo>
                  <a:lnTo>
                    <a:pt x="0" y="435077"/>
                  </a:lnTo>
                  <a:cubicBezTo>
                    <a:pt x="0" y="377375"/>
                    <a:pt x="22923" y="322066"/>
                    <a:pt x="63711" y="281250"/>
                  </a:cubicBezTo>
                  <a:cubicBezTo>
                    <a:pt x="104473" y="240489"/>
                    <a:pt x="159728" y="217593"/>
                    <a:pt x="217375" y="217539"/>
                  </a:cubicBezTo>
                  <a:lnTo>
                    <a:pt x="0" y="217539"/>
                  </a:lnTo>
                  <a:cubicBezTo>
                    <a:pt x="0" y="159837"/>
                    <a:pt x="22923" y="104527"/>
                    <a:pt x="63711" y="63712"/>
                  </a:cubicBezTo>
                  <a:cubicBezTo>
                    <a:pt x="104500" y="22923"/>
                    <a:pt x="159836" y="0"/>
                    <a:pt x="217539" y="0"/>
                  </a:cubicBezTo>
                  <a:cubicBezTo>
                    <a:pt x="275213" y="0"/>
                    <a:pt x="330550" y="22923"/>
                    <a:pt x="371366" y="63712"/>
                  </a:cubicBezTo>
                  <a:close/>
                </a:path>
              </a:pathLst>
            </a:custGeom>
            <a:grpFill/>
            <a:ln w="27192" cap="flat">
              <a:noFill/>
              <a:prstDash val="solid"/>
              <a:miter/>
            </a:ln>
          </p:spPr>
          <p:txBody>
            <a:bodyPr rtlCol="0" anchor="ctr"/>
            <a:lstStyle/>
            <a:p>
              <a:endParaRPr lang="uk-UA" sz="900"/>
            </a:p>
          </p:txBody>
        </p:sp>
        <p:sp>
          <p:nvSpPr>
            <p:cNvPr id="530" name="Freeform: Shape 529">
              <a:extLst>
                <a:ext uri="{FF2B5EF4-FFF2-40B4-BE49-F238E27FC236}">
                  <a16:creationId xmlns:a16="http://schemas.microsoft.com/office/drawing/2014/main" id="{16FCED13-A54D-8138-A70D-CA5A09435C2E}"/>
                </a:ext>
              </a:extLst>
            </p:cNvPr>
            <p:cNvSpPr/>
            <p:nvPr/>
          </p:nvSpPr>
          <p:spPr>
            <a:xfrm>
              <a:off x="-34398" y="5449529"/>
              <a:ext cx="435090" cy="435077"/>
            </a:xfrm>
            <a:custGeom>
              <a:avLst/>
              <a:gdLst>
                <a:gd name="connsiteX0" fmla="*/ 217525 w 435090"/>
                <a:gd name="connsiteY0" fmla="*/ 0 h 435077"/>
                <a:gd name="connsiteX1" fmla="*/ 0 w 435090"/>
                <a:gd name="connsiteY1" fmla="*/ 0 h 435077"/>
                <a:gd name="connsiteX2" fmla="*/ 0 w 435090"/>
                <a:gd name="connsiteY2" fmla="*/ 217539 h 435077"/>
                <a:gd name="connsiteX3" fmla="*/ 217525 w 435090"/>
                <a:gd name="connsiteY3" fmla="*/ 0 h 435077"/>
                <a:gd name="connsiteX4" fmla="*/ 435091 w 435090"/>
                <a:gd name="connsiteY4" fmla="*/ 0 h 435077"/>
                <a:gd name="connsiteX5" fmla="*/ 435091 w 435090"/>
                <a:gd name="connsiteY5" fmla="*/ 217539 h 435077"/>
                <a:gd name="connsiteX6" fmla="*/ 217552 w 435090"/>
                <a:gd name="connsiteY6" fmla="*/ 0 h 435077"/>
                <a:gd name="connsiteX7" fmla="*/ 435091 w 435090"/>
                <a:gd name="connsiteY7" fmla="*/ 0 h 435077"/>
                <a:gd name="connsiteX8" fmla="*/ 217552 w 435090"/>
                <a:gd name="connsiteY8" fmla="*/ 435077 h 435077"/>
                <a:gd name="connsiteX9" fmla="*/ 435091 w 435090"/>
                <a:gd name="connsiteY9" fmla="*/ 217539 h 435077"/>
                <a:gd name="connsiteX10" fmla="*/ 435091 w 435090"/>
                <a:gd name="connsiteY10" fmla="*/ 435077 h 435077"/>
                <a:gd name="connsiteX11" fmla="*/ 217552 w 435090"/>
                <a:gd name="connsiteY11" fmla="*/ 435077 h 435077"/>
                <a:gd name="connsiteX12" fmla="*/ 217552 w 435090"/>
                <a:gd name="connsiteY12" fmla="*/ 435077 h 435077"/>
                <a:gd name="connsiteX13" fmla="*/ 11 w 435090"/>
                <a:gd name="connsiteY13" fmla="*/ 217539 h 435077"/>
                <a:gd name="connsiteX14" fmla="*/ 11 w 435090"/>
                <a:gd name="connsiteY14" fmla="*/ 435077 h 435077"/>
                <a:gd name="connsiteX15" fmla="*/ 217552 w 435090"/>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90" h="435077">
                  <a:moveTo>
                    <a:pt x="217525" y="0"/>
                  </a:moveTo>
                  <a:lnTo>
                    <a:pt x="0" y="0"/>
                  </a:lnTo>
                  <a:lnTo>
                    <a:pt x="0" y="217539"/>
                  </a:lnTo>
                  <a:lnTo>
                    <a:pt x="217525" y="0"/>
                  </a:lnTo>
                  <a:close/>
                  <a:moveTo>
                    <a:pt x="435091" y="0"/>
                  </a:moveTo>
                  <a:lnTo>
                    <a:pt x="435091" y="217539"/>
                  </a:lnTo>
                  <a:lnTo>
                    <a:pt x="217552" y="0"/>
                  </a:lnTo>
                  <a:lnTo>
                    <a:pt x="435091" y="0"/>
                  </a:lnTo>
                  <a:close/>
                  <a:moveTo>
                    <a:pt x="217552" y="435077"/>
                  </a:moveTo>
                  <a:lnTo>
                    <a:pt x="435091" y="217539"/>
                  </a:lnTo>
                  <a:lnTo>
                    <a:pt x="435091" y="435077"/>
                  </a:lnTo>
                  <a:lnTo>
                    <a:pt x="217552" y="435077"/>
                  </a:lnTo>
                  <a:close/>
                  <a:moveTo>
                    <a:pt x="217552" y="435077"/>
                  </a:moveTo>
                  <a:lnTo>
                    <a:pt x="11" y="217539"/>
                  </a:lnTo>
                  <a:lnTo>
                    <a:pt x="11" y="435077"/>
                  </a:lnTo>
                  <a:lnTo>
                    <a:pt x="217552" y="435077"/>
                  </a:lnTo>
                  <a:close/>
                </a:path>
              </a:pathLst>
            </a:custGeom>
            <a:grpFill/>
            <a:ln w="27192" cap="flat">
              <a:noFill/>
              <a:prstDash val="solid"/>
              <a:miter/>
            </a:ln>
          </p:spPr>
          <p:txBody>
            <a:bodyPr rtlCol="0" anchor="ctr"/>
            <a:lstStyle/>
            <a:p>
              <a:endParaRPr lang="uk-UA" sz="900"/>
            </a:p>
          </p:txBody>
        </p:sp>
        <p:sp>
          <p:nvSpPr>
            <p:cNvPr id="531" name="Freeform: Shape 530">
              <a:extLst>
                <a:ext uri="{FF2B5EF4-FFF2-40B4-BE49-F238E27FC236}">
                  <a16:creationId xmlns:a16="http://schemas.microsoft.com/office/drawing/2014/main" id="{9FC35F60-D800-891E-C9D0-6FAE09C3C014}"/>
                </a:ext>
              </a:extLst>
            </p:cNvPr>
            <p:cNvSpPr/>
            <p:nvPr/>
          </p:nvSpPr>
          <p:spPr>
            <a:xfrm>
              <a:off x="1705924" y="544952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532" name="Freeform: Shape 531">
              <a:extLst>
                <a:ext uri="{FF2B5EF4-FFF2-40B4-BE49-F238E27FC236}">
                  <a16:creationId xmlns:a16="http://schemas.microsoft.com/office/drawing/2014/main" id="{621B3299-1DB3-C590-5602-CACBD0256334}"/>
                </a:ext>
              </a:extLst>
            </p:cNvPr>
            <p:cNvSpPr/>
            <p:nvPr/>
          </p:nvSpPr>
          <p:spPr>
            <a:xfrm>
              <a:off x="2576106" y="5449529"/>
              <a:ext cx="435077" cy="435077"/>
            </a:xfrm>
            <a:custGeom>
              <a:avLst/>
              <a:gdLst>
                <a:gd name="connsiteX0" fmla="*/ 0 w 435077"/>
                <a:gd name="connsiteY0" fmla="*/ 435077 h 435077"/>
                <a:gd name="connsiteX1" fmla="*/ 217512 w 435077"/>
                <a:gd name="connsiteY1" fmla="*/ 435077 h 435077"/>
                <a:gd name="connsiteX2" fmla="*/ 217512 w 435077"/>
                <a:gd name="connsiteY2" fmla="*/ 217566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66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12" y="435077"/>
                  </a:lnTo>
                  <a:lnTo>
                    <a:pt x="217512" y="217566"/>
                  </a:lnTo>
                  <a:lnTo>
                    <a:pt x="0" y="435077"/>
                  </a:lnTo>
                  <a:close/>
                  <a:moveTo>
                    <a:pt x="217539" y="0"/>
                  </a:moveTo>
                  <a:lnTo>
                    <a:pt x="0" y="0"/>
                  </a:lnTo>
                  <a:lnTo>
                    <a:pt x="217539" y="217539"/>
                  </a:lnTo>
                  <a:lnTo>
                    <a:pt x="217539" y="0"/>
                  </a:lnTo>
                  <a:close/>
                  <a:moveTo>
                    <a:pt x="435077" y="435077"/>
                  </a:moveTo>
                  <a:lnTo>
                    <a:pt x="217539" y="435077"/>
                  </a:lnTo>
                  <a:lnTo>
                    <a:pt x="435077" y="217566"/>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533" name="Freeform: Shape 532">
              <a:extLst>
                <a:ext uri="{FF2B5EF4-FFF2-40B4-BE49-F238E27FC236}">
                  <a16:creationId xmlns:a16="http://schemas.microsoft.com/office/drawing/2014/main" id="{735A62E1-4F1E-0C35-5CCC-D91E83092B5A}"/>
                </a:ext>
              </a:extLst>
            </p:cNvPr>
            <p:cNvSpPr/>
            <p:nvPr/>
          </p:nvSpPr>
          <p:spPr>
            <a:xfrm>
              <a:off x="4316416" y="5449529"/>
              <a:ext cx="435103" cy="435077"/>
            </a:xfrm>
            <a:custGeom>
              <a:avLst/>
              <a:gdLst>
                <a:gd name="connsiteX0" fmla="*/ 371365 w 435103"/>
                <a:gd name="connsiteY0" fmla="*/ 63712 h 435077"/>
                <a:gd name="connsiteX1" fmla="*/ 435077 w 435103"/>
                <a:gd name="connsiteY1" fmla="*/ 217539 h 435077"/>
                <a:gd name="connsiteX2" fmla="*/ 217729 w 435103"/>
                <a:gd name="connsiteY2" fmla="*/ 217539 h 435077"/>
                <a:gd name="connsiteX3" fmla="*/ 371365 w 435103"/>
                <a:gd name="connsiteY3" fmla="*/ 281250 h 435077"/>
                <a:gd name="connsiteX4" fmla="*/ 435104 w 435103"/>
                <a:gd name="connsiteY4" fmla="*/ 435077 h 435077"/>
                <a:gd name="connsiteX5" fmla="*/ 217565 w 435103"/>
                <a:gd name="connsiteY5" fmla="*/ 435077 h 435077"/>
                <a:gd name="connsiteX6" fmla="*/ 27 w 435103"/>
                <a:gd name="connsiteY6" fmla="*/ 435077 h 435077"/>
                <a:gd name="connsiteX7" fmla="*/ 63739 w 435103"/>
                <a:gd name="connsiteY7" fmla="*/ 281250 h 435077"/>
                <a:gd name="connsiteX8" fmla="*/ 217375 w 435103"/>
                <a:gd name="connsiteY8" fmla="*/ 217539 h 435077"/>
                <a:gd name="connsiteX9" fmla="*/ 0 w 435103"/>
                <a:gd name="connsiteY9" fmla="*/ 217539 h 435077"/>
                <a:gd name="connsiteX10" fmla="*/ 63739 w 435103"/>
                <a:gd name="connsiteY10" fmla="*/ 63712 h 435077"/>
                <a:gd name="connsiteX11" fmla="*/ 217539 w 435103"/>
                <a:gd name="connsiteY11" fmla="*/ 0 h 435077"/>
                <a:gd name="connsiteX12" fmla="*/ 371365 w 435103"/>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3" h="435077">
                  <a:moveTo>
                    <a:pt x="371365" y="63712"/>
                  </a:moveTo>
                  <a:cubicBezTo>
                    <a:pt x="412181" y="104527"/>
                    <a:pt x="435077" y="159837"/>
                    <a:pt x="435077" y="217539"/>
                  </a:cubicBezTo>
                  <a:lnTo>
                    <a:pt x="217729" y="217539"/>
                  </a:lnTo>
                  <a:cubicBezTo>
                    <a:pt x="275349" y="217593"/>
                    <a:pt x="330632" y="240489"/>
                    <a:pt x="371365" y="281250"/>
                  </a:cubicBezTo>
                  <a:cubicBezTo>
                    <a:pt x="412181" y="322066"/>
                    <a:pt x="435104" y="377375"/>
                    <a:pt x="435104" y="435077"/>
                  </a:cubicBezTo>
                  <a:lnTo>
                    <a:pt x="217565" y="435077"/>
                  </a:lnTo>
                  <a:lnTo>
                    <a:pt x="27" y="435077"/>
                  </a:lnTo>
                  <a:cubicBezTo>
                    <a:pt x="27" y="377375"/>
                    <a:pt x="22923" y="322066"/>
                    <a:pt x="63739" y="281250"/>
                  </a:cubicBezTo>
                  <a:cubicBezTo>
                    <a:pt x="104500" y="240489"/>
                    <a:pt x="159755" y="217593"/>
                    <a:pt x="217375" y="217539"/>
                  </a:cubicBezTo>
                  <a:lnTo>
                    <a:pt x="0" y="217539"/>
                  </a:lnTo>
                  <a:cubicBezTo>
                    <a:pt x="0" y="159837"/>
                    <a:pt x="22923" y="104527"/>
                    <a:pt x="63739" y="63712"/>
                  </a:cubicBezTo>
                  <a:cubicBezTo>
                    <a:pt x="104527" y="22923"/>
                    <a:pt x="159864" y="0"/>
                    <a:pt x="217539" y="0"/>
                  </a:cubicBezTo>
                  <a:cubicBezTo>
                    <a:pt x="275240" y="0"/>
                    <a:pt x="330577" y="22923"/>
                    <a:pt x="371365" y="63712"/>
                  </a:cubicBezTo>
                  <a:close/>
                </a:path>
              </a:pathLst>
            </a:custGeom>
            <a:grpFill/>
            <a:ln w="27192" cap="flat">
              <a:noFill/>
              <a:prstDash val="solid"/>
              <a:miter/>
            </a:ln>
          </p:spPr>
          <p:txBody>
            <a:bodyPr rtlCol="0" anchor="ctr"/>
            <a:lstStyle/>
            <a:p>
              <a:endParaRPr lang="uk-UA" sz="900"/>
            </a:p>
          </p:txBody>
        </p:sp>
        <p:sp>
          <p:nvSpPr>
            <p:cNvPr id="534" name="Freeform: Shape 533">
              <a:extLst>
                <a:ext uri="{FF2B5EF4-FFF2-40B4-BE49-F238E27FC236}">
                  <a16:creationId xmlns:a16="http://schemas.microsoft.com/office/drawing/2014/main" id="{BF3E0F49-7CE0-2B05-1C39-C8D5728F07F4}"/>
                </a:ext>
              </a:extLst>
            </p:cNvPr>
            <p:cNvSpPr/>
            <p:nvPr/>
          </p:nvSpPr>
          <p:spPr>
            <a:xfrm>
              <a:off x="3446261" y="5449529"/>
              <a:ext cx="435077" cy="435077"/>
            </a:xfrm>
            <a:custGeom>
              <a:avLst/>
              <a:gdLst>
                <a:gd name="connsiteX0" fmla="*/ 217566 w 435077"/>
                <a:gd name="connsiteY0" fmla="*/ 0 h 435077"/>
                <a:gd name="connsiteX1" fmla="*/ 217539 w 435077"/>
                <a:gd name="connsiteY1" fmla="*/ 0 h 435077"/>
                <a:gd name="connsiteX2" fmla="*/ 27 w 435077"/>
                <a:gd name="connsiteY2" fmla="*/ 0 h 435077"/>
                <a:gd name="connsiteX3" fmla="*/ 27 w 435077"/>
                <a:gd name="connsiteY3" fmla="*/ 217539 h 435077"/>
                <a:gd name="connsiteX4" fmla="*/ 217539 w 435077"/>
                <a:gd name="connsiteY4" fmla="*/ 0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66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66" y="0"/>
                  </a:moveTo>
                  <a:lnTo>
                    <a:pt x="217539" y="0"/>
                  </a:lnTo>
                  <a:lnTo>
                    <a:pt x="27" y="0"/>
                  </a:lnTo>
                  <a:lnTo>
                    <a:pt x="27" y="217539"/>
                  </a:lnTo>
                  <a:lnTo>
                    <a:pt x="217539" y="0"/>
                  </a:lnTo>
                  <a:lnTo>
                    <a:pt x="435077" y="217539"/>
                  </a:lnTo>
                  <a:lnTo>
                    <a:pt x="217539" y="435077"/>
                  </a:lnTo>
                  <a:lnTo>
                    <a:pt x="0" y="217539"/>
                  </a:lnTo>
                  <a:lnTo>
                    <a:pt x="0" y="435077"/>
                  </a:lnTo>
                  <a:lnTo>
                    <a:pt x="217539" y="435077"/>
                  </a:lnTo>
                  <a:lnTo>
                    <a:pt x="435077" y="435077"/>
                  </a:lnTo>
                  <a:lnTo>
                    <a:pt x="435077" y="217539"/>
                  </a:lnTo>
                  <a:lnTo>
                    <a:pt x="435077" y="0"/>
                  </a:lnTo>
                  <a:lnTo>
                    <a:pt x="217566" y="0"/>
                  </a:lnTo>
                  <a:close/>
                </a:path>
              </a:pathLst>
            </a:custGeom>
            <a:grpFill/>
            <a:ln w="27192" cap="flat">
              <a:noFill/>
              <a:prstDash val="solid"/>
              <a:miter/>
            </a:ln>
          </p:spPr>
          <p:txBody>
            <a:bodyPr rtlCol="0" anchor="ctr"/>
            <a:lstStyle/>
            <a:p>
              <a:endParaRPr lang="uk-UA" sz="900"/>
            </a:p>
          </p:txBody>
        </p:sp>
        <p:sp>
          <p:nvSpPr>
            <p:cNvPr id="535" name="Freeform: Shape 534">
              <a:extLst>
                <a:ext uri="{FF2B5EF4-FFF2-40B4-BE49-F238E27FC236}">
                  <a16:creationId xmlns:a16="http://schemas.microsoft.com/office/drawing/2014/main" id="{756D8E05-2411-D892-CB06-F9430FCD0042}"/>
                </a:ext>
              </a:extLst>
            </p:cNvPr>
            <p:cNvSpPr/>
            <p:nvPr/>
          </p:nvSpPr>
          <p:spPr>
            <a:xfrm>
              <a:off x="5186597" y="5449529"/>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0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39 h 435077"/>
                <a:gd name="connsiteX9" fmla="*/ 435077 w 435077"/>
                <a:gd name="connsiteY9" fmla="*/ 217539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0"/>
                  </a:lnTo>
                  <a:lnTo>
                    <a:pt x="435077" y="217539"/>
                  </a:lnTo>
                  <a:lnTo>
                    <a:pt x="435077" y="217539"/>
                  </a:lnTo>
                  <a:lnTo>
                    <a:pt x="435077" y="217539"/>
                  </a:lnTo>
                  <a:lnTo>
                    <a:pt x="435077" y="217539"/>
                  </a:lnTo>
                  <a:lnTo>
                    <a:pt x="435077" y="217539"/>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536" name="Freeform: Shape 535">
              <a:extLst>
                <a:ext uri="{FF2B5EF4-FFF2-40B4-BE49-F238E27FC236}">
                  <a16:creationId xmlns:a16="http://schemas.microsoft.com/office/drawing/2014/main" id="{A80A16FA-F525-95B6-42FC-BBB52E268BCD}"/>
                </a:ext>
              </a:extLst>
            </p:cNvPr>
            <p:cNvSpPr/>
            <p:nvPr/>
          </p:nvSpPr>
          <p:spPr>
            <a:xfrm>
              <a:off x="6056752" y="5449529"/>
              <a:ext cx="435077" cy="435077"/>
            </a:xfrm>
            <a:custGeom>
              <a:avLst/>
              <a:gdLst>
                <a:gd name="connsiteX0" fmla="*/ 0 w 435077"/>
                <a:gd name="connsiteY0" fmla="*/ 435077 h 435077"/>
                <a:gd name="connsiteX1" fmla="*/ 217539 w 435077"/>
                <a:gd name="connsiteY1" fmla="*/ 435077 h 435077"/>
                <a:gd name="connsiteX2" fmla="*/ 217539 w 435077"/>
                <a:gd name="connsiteY2" fmla="*/ 217566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66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66"/>
                  </a:lnTo>
                  <a:lnTo>
                    <a:pt x="0" y="435077"/>
                  </a:lnTo>
                  <a:close/>
                  <a:moveTo>
                    <a:pt x="217539" y="0"/>
                  </a:moveTo>
                  <a:lnTo>
                    <a:pt x="0" y="0"/>
                  </a:lnTo>
                  <a:lnTo>
                    <a:pt x="217539" y="217539"/>
                  </a:lnTo>
                  <a:lnTo>
                    <a:pt x="217539" y="0"/>
                  </a:lnTo>
                  <a:close/>
                  <a:moveTo>
                    <a:pt x="435077" y="435077"/>
                  </a:moveTo>
                  <a:lnTo>
                    <a:pt x="217539" y="435077"/>
                  </a:lnTo>
                  <a:lnTo>
                    <a:pt x="435077" y="217566"/>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537" name="Freeform: Shape 536">
              <a:extLst>
                <a:ext uri="{FF2B5EF4-FFF2-40B4-BE49-F238E27FC236}">
                  <a16:creationId xmlns:a16="http://schemas.microsoft.com/office/drawing/2014/main" id="{97E657CE-76E1-6C1B-92AE-16A7D2F75082}"/>
                </a:ext>
              </a:extLst>
            </p:cNvPr>
            <p:cNvSpPr/>
            <p:nvPr/>
          </p:nvSpPr>
          <p:spPr>
            <a:xfrm>
              <a:off x="7797062" y="5449529"/>
              <a:ext cx="435104" cy="435077"/>
            </a:xfrm>
            <a:custGeom>
              <a:avLst/>
              <a:gdLst>
                <a:gd name="connsiteX0" fmla="*/ 371366 w 435104"/>
                <a:gd name="connsiteY0" fmla="*/ 63712 h 435077"/>
                <a:gd name="connsiteX1" fmla="*/ 435077 w 435104"/>
                <a:gd name="connsiteY1" fmla="*/ 217539 h 435077"/>
                <a:gd name="connsiteX2" fmla="*/ 217730 w 435104"/>
                <a:gd name="connsiteY2" fmla="*/ 217539 h 435077"/>
                <a:gd name="connsiteX3" fmla="*/ 371366 w 435104"/>
                <a:gd name="connsiteY3" fmla="*/ 281250 h 435077"/>
                <a:gd name="connsiteX4" fmla="*/ 435105 w 435104"/>
                <a:gd name="connsiteY4" fmla="*/ 435077 h 435077"/>
                <a:gd name="connsiteX5" fmla="*/ 217566 w 435104"/>
                <a:gd name="connsiteY5" fmla="*/ 435077 h 435077"/>
                <a:gd name="connsiteX6" fmla="*/ 27 w 435104"/>
                <a:gd name="connsiteY6" fmla="*/ 435077 h 435077"/>
                <a:gd name="connsiteX7" fmla="*/ 63739 w 435104"/>
                <a:gd name="connsiteY7" fmla="*/ 281250 h 435077"/>
                <a:gd name="connsiteX8" fmla="*/ 217376 w 435104"/>
                <a:gd name="connsiteY8" fmla="*/ 217539 h 435077"/>
                <a:gd name="connsiteX9" fmla="*/ 0 w 435104"/>
                <a:gd name="connsiteY9" fmla="*/ 217539 h 435077"/>
                <a:gd name="connsiteX10" fmla="*/ 63739 w 435104"/>
                <a:gd name="connsiteY10" fmla="*/ 63712 h 435077"/>
                <a:gd name="connsiteX11" fmla="*/ 217539 w 435104"/>
                <a:gd name="connsiteY11" fmla="*/ 0 h 435077"/>
                <a:gd name="connsiteX12" fmla="*/ 371366 w 435104"/>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4" h="435077">
                  <a:moveTo>
                    <a:pt x="371366" y="63712"/>
                  </a:moveTo>
                  <a:cubicBezTo>
                    <a:pt x="412182" y="104527"/>
                    <a:pt x="435077" y="159837"/>
                    <a:pt x="435077" y="217539"/>
                  </a:cubicBezTo>
                  <a:lnTo>
                    <a:pt x="217730" y="217539"/>
                  </a:lnTo>
                  <a:cubicBezTo>
                    <a:pt x="275350" y="217593"/>
                    <a:pt x="330632" y="240489"/>
                    <a:pt x="371366" y="281250"/>
                  </a:cubicBezTo>
                  <a:cubicBezTo>
                    <a:pt x="412182" y="322066"/>
                    <a:pt x="435105" y="377375"/>
                    <a:pt x="435105" y="435077"/>
                  </a:cubicBezTo>
                  <a:lnTo>
                    <a:pt x="217566" y="435077"/>
                  </a:lnTo>
                  <a:lnTo>
                    <a:pt x="27" y="435077"/>
                  </a:lnTo>
                  <a:cubicBezTo>
                    <a:pt x="27" y="377375"/>
                    <a:pt x="22924" y="322066"/>
                    <a:pt x="63739" y="281250"/>
                  </a:cubicBezTo>
                  <a:cubicBezTo>
                    <a:pt x="104501" y="240489"/>
                    <a:pt x="159755" y="217593"/>
                    <a:pt x="217376" y="217539"/>
                  </a:cubicBezTo>
                  <a:lnTo>
                    <a:pt x="0" y="217539"/>
                  </a:lnTo>
                  <a:cubicBezTo>
                    <a:pt x="0" y="159837"/>
                    <a:pt x="22924" y="104527"/>
                    <a:pt x="63739" y="63712"/>
                  </a:cubicBezTo>
                  <a:cubicBezTo>
                    <a:pt x="104527" y="22923"/>
                    <a:pt x="159864" y="0"/>
                    <a:pt x="217539" y="0"/>
                  </a:cubicBezTo>
                  <a:cubicBezTo>
                    <a:pt x="275241" y="0"/>
                    <a:pt x="330578" y="22923"/>
                    <a:pt x="371366" y="63712"/>
                  </a:cubicBezTo>
                  <a:close/>
                </a:path>
              </a:pathLst>
            </a:custGeom>
            <a:grpFill/>
            <a:ln w="27192" cap="flat">
              <a:noFill/>
              <a:prstDash val="solid"/>
              <a:miter/>
            </a:ln>
          </p:spPr>
          <p:txBody>
            <a:bodyPr rtlCol="0" anchor="ctr"/>
            <a:lstStyle/>
            <a:p>
              <a:endParaRPr lang="uk-UA" sz="900"/>
            </a:p>
          </p:txBody>
        </p:sp>
        <p:sp>
          <p:nvSpPr>
            <p:cNvPr id="538" name="Freeform: Shape 537">
              <a:extLst>
                <a:ext uri="{FF2B5EF4-FFF2-40B4-BE49-F238E27FC236}">
                  <a16:creationId xmlns:a16="http://schemas.microsoft.com/office/drawing/2014/main" id="{B960BC0C-A758-36A4-5E14-A26FB5BED052}"/>
                </a:ext>
              </a:extLst>
            </p:cNvPr>
            <p:cNvSpPr/>
            <p:nvPr/>
          </p:nvSpPr>
          <p:spPr>
            <a:xfrm>
              <a:off x="6926907" y="544952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p>
          </p:txBody>
        </p:sp>
        <p:sp>
          <p:nvSpPr>
            <p:cNvPr id="539" name="Freeform: Shape 538">
              <a:extLst>
                <a:ext uri="{FF2B5EF4-FFF2-40B4-BE49-F238E27FC236}">
                  <a16:creationId xmlns:a16="http://schemas.microsoft.com/office/drawing/2014/main" id="{FA16D04C-3191-BCE5-F131-075BFCC649EA}"/>
                </a:ext>
              </a:extLst>
            </p:cNvPr>
            <p:cNvSpPr/>
            <p:nvPr/>
          </p:nvSpPr>
          <p:spPr>
            <a:xfrm>
              <a:off x="8667217" y="5449529"/>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0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39 h 435077"/>
                <a:gd name="connsiteX9" fmla="*/ 435077 w 435077"/>
                <a:gd name="connsiteY9" fmla="*/ 217539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0"/>
                  </a:lnTo>
                  <a:lnTo>
                    <a:pt x="435077" y="217539"/>
                  </a:lnTo>
                  <a:lnTo>
                    <a:pt x="435077" y="217539"/>
                  </a:lnTo>
                  <a:lnTo>
                    <a:pt x="435077" y="217539"/>
                  </a:lnTo>
                  <a:lnTo>
                    <a:pt x="435077" y="217539"/>
                  </a:lnTo>
                  <a:lnTo>
                    <a:pt x="435077" y="217539"/>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540" name="Freeform: Shape 539">
              <a:extLst>
                <a:ext uri="{FF2B5EF4-FFF2-40B4-BE49-F238E27FC236}">
                  <a16:creationId xmlns:a16="http://schemas.microsoft.com/office/drawing/2014/main" id="{408218D5-0862-2707-5CAC-22E05D13EC80}"/>
                </a:ext>
              </a:extLst>
            </p:cNvPr>
            <p:cNvSpPr/>
            <p:nvPr/>
          </p:nvSpPr>
          <p:spPr>
            <a:xfrm>
              <a:off x="9537399" y="5449529"/>
              <a:ext cx="435077" cy="435077"/>
            </a:xfrm>
            <a:custGeom>
              <a:avLst/>
              <a:gdLst>
                <a:gd name="connsiteX0" fmla="*/ 0 w 435077"/>
                <a:gd name="connsiteY0" fmla="*/ 435077 h 435077"/>
                <a:gd name="connsiteX1" fmla="*/ 217511 w 435077"/>
                <a:gd name="connsiteY1" fmla="*/ 435077 h 435077"/>
                <a:gd name="connsiteX2" fmla="*/ 217511 w 435077"/>
                <a:gd name="connsiteY2" fmla="*/ 217539 h 435077"/>
                <a:gd name="connsiteX3" fmla="*/ 0 w 435077"/>
                <a:gd name="connsiteY3" fmla="*/ 435077 h 435077"/>
                <a:gd name="connsiteX4" fmla="*/ 217511 w 435077"/>
                <a:gd name="connsiteY4" fmla="*/ 0 h 435077"/>
                <a:gd name="connsiteX5" fmla="*/ 0 w 435077"/>
                <a:gd name="connsiteY5" fmla="*/ 0 h 435077"/>
                <a:gd name="connsiteX6" fmla="*/ 217511 w 435077"/>
                <a:gd name="connsiteY6" fmla="*/ 217539 h 435077"/>
                <a:gd name="connsiteX7" fmla="*/ 217511 w 435077"/>
                <a:gd name="connsiteY7" fmla="*/ 0 h 435077"/>
                <a:gd name="connsiteX8" fmla="*/ 435077 w 435077"/>
                <a:gd name="connsiteY8" fmla="*/ 435077 h 435077"/>
                <a:gd name="connsiteX9" fmla="*/ 217539 w 435077"/>
                <a:gd name="connsiteY9" fmla="*/ 435077 h 435077"/>
                <a:gd name="connsiteX10" fmla="*/ 435077 w 435077"/>
                <a:gd name="connsiteY10" fmla="*/ 217566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11" y="435077"/>
                  </a:lnTo>
                  <a:lnTo>
                    <a:pt x="217511" y="217539"/>
                  </a:lnTo>
                  <a:lnTo>
                    <a:pt x="0" y="435077"/>
                  </a:lnTo>
                  <a:close/>
                  <a:moveTo>
                    <a:pt x="217511" y="0"/>
                  </a:moveTo>
                  <a:lnTo>
                    <a:pt x="0" y="0"/>
                  </a:lnTo>
                  <a:lnTo>
                    <a:pt x="217511" y="217539"/>
                  </a:lnTo>
                  <a:lnTo>
                    <a:pt x="217511" y="0"/>
                  </a:lnTo>
                  <a:close/>
                  <a:moveTo>
                    <a:pt x="435077" y="435077"/>
                  </a:moveTo>
                  <a:lnTo>
                    <a:pt x="217539" y="435077"/>
                  </a:lnTo>
                  <a:lnTo>
                    <a:pt x="435077" y="217566"/>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541" name="Freeform: Shape 540">
              <a:extLst>
                <a:ext uri="{FF2B5EF4-FFF2-40B4-BE49-F238E27FC236}">
                  <a16:creationId xmlns:a16="http://schemas.microsoft.com/office/drawing/2014/main" id="{6DD4460D-4C9B-5573-F184-EF0EFEBAED59}"/>
                </a:ext>
              </a:extLst>
            </p:cNvPr>
            <p:cNvSpPr/>
            <p:nvPr/>
          </p:nvSpPr>
          <p:spPr>
            <a:xfrm>
              <a:off x="11277709" y="5449529"/>
              <a:ext cx="435077" cy="435077"/>
            </a:xfrm>
            <a:custGeom>
              <a:avLst/>
              <a:gdLst>
                <a:gd name="connsiteX0" fmla="*/ 371365 w 435077"/>
                <a:gd name="connsiteY0" fmla="*/ 63712 h 435077"/>
                <a:gd name="connsiteX1" fmla="*/ 435077 w 435077"/>
                <a:gd name="connsiteY1" fmla="*/ 217539 h 435077"/>
                <a:gd name="connsiteX2" fmla="*/ 217701 w 435077"/>
                <a:gd name="connsiteY2" fmla="*/ 217539 h 435077"/>
                <a:gd name="connsiteX3" fmla="*/ 371365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0 w 435077"/>
                <a:gd name="connsiteY7" fmla="*/ 281250 h 435077"/>
                <a:gd name="connsiteX8" fmla="*/ 217374 w 435077"/>
                <a:gd name="connsiteY8" fmla="*/ 217539 h 435077"/>
                <a:gd name="connsiteX9" fmla="*/ 0 w 435077"/>
                <a:gd name="connsiteY9" fmla="*/ 217539 h 435077"/>
                <a:gd name="connsiteX10" fmla="*/ 63710 w 435077"/>
                <a:gd name="connsiteY10" fmla="*/ 63712 h 435077"/>
                <a:gd name="connsiteX11" fmla="*/ 217539 w 435077"/>
                <a:gd name="connsiteY11" fmla="*/ 0 h 435077"/>
                <a:gd name="connsiteX12" fmla="*/ 371365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12"/>
                  </a:moveTo>
                  <a:cubicBezTo>
                    <a:pt x="412154" y="104527"/>
                    <a:pt x="435077" y="159837"/>
                    <a:pt x="435077" y="217539"/>
                  </a:cubicBezTo>
                  <a:lnTo>
                    <a:pt x="217701" y="217539"/>
                  </a:lnTo>
                  <a:cubicBezTo>
                    <a:pt x="275349" y="217593"/>
                    <a:pt x="330603" y="240489"/>
                    <a:pt x="371365" y="281250"/>
                  </a:cubicBezTo>
                  <a:cubicBezTo>
                    <a:pt x="412154" y="322066"/>
                    <a:pt x="435077" y="377375"/>
                    <a:pt x="435077" y="435077"/>
                  </a:cubicBezTo>
                  <a:lnTo>
                    <a:pt x="217539" y="435077"/>
                  </a:lnTo>
                  <a:lnTo>
                    <a:pt x="0" y="435077"/>
                  </a:lnTo>
                  <a:cubicBezTo>
                    <a:pt x="0" y="377375"/>
                    <a:pt x="22922" y="322066"/>
                    <a:pt x="63710" y="281250"/>
                  </a:cubicBezTo>
                  <a:cubicBezTo>
                    <a:pt x="104472" y="240489"/>
                    <a:pt x="159727" y="217593"/>
                    <a:pt x="217374" y="217539"/>
                  </a:cubicBezTo>
                  <a:lnTo>
                    <a:pt x="0" y="217539"/>
                  </a:lnTo>
                  <a:cubicBezTo>
                    <a:pt x="0" y="159837"/>
                    <a:pt x="22922" y="104527"/>
                    <a:pt x="63710" y="63712"/>
                  </a:cubicBezTo>
                  <a:cubicBezTo>
                    <a:pt x="104499" y="22923"/>
                    <a:pt x="159836" y="0"/>
                    <a:pt x="217539" y="0"/>
                  </a:cubicBezTo>
                  <a:cubicBezTo>
                    <a:pt x="275239" y="0"/>
                    <a:pt x="330549" y="22923"/>
                    <a:pt x="371365" y="63712"/>
                  </a:cubicBezTo>
                  <a:close/>
                </a:path>
              </a:pathLst>
            </a:custGeom>
            <a:grpFill/>
            <a:ln w="27192" cap="flat">
              <a:noFill/>
              <a:prstDash val="solid"/>
              <a:miter/>
            </a:ln>
          </p:spPr>
          <p:txBody>
            <a:bodyPr rtlCol="0" anchor="ctr"/>
            <a:lstStyle/>
            <a:p>
              <a:endParaRPr lang="uk-UA" sz="900"/>
            </a:p>
          </p:txBody>
        </p:sp>
        <p:sp>
          <p:nvSpPr>
            <p:cNvPr id="542" name="Freeform: Shape 541">
              <a:extLst>
                <a:ext uri="{FF2B5EF4-FFF2-40B4-BE49-F238E27FC236}">
                  <a16:creationId xmlns:a16="http://schemas.microsoft.com/office/drawing/2014/main" id="{32886169-662D-51DB-CF86-4DDB8B18889E}"/>
                </a:ext>
              </a:extLst>
            </p:cNvPr>
            <p:cNvSpPr/>
            <p:nvPr/>
          </p:nvSpPr>
          <p:spPr>
            <a:xfrm>
              <a:off x="10407554" y="544952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543" name="Freeform: Shape 542">
              <a:extLst>
                <a:ext uri="{FF2B5EF4-FFF2-40B4-BE49-F238E27FC236}">
                  <a16:creationId xmlns:a16="http://schemas.microsoft.com/office/drawing/2014/main" id="{B96E6C34-0B1D-0592-66BE-FA6C79B642B2}"/>
                </a:ext>
              </a:extLst>
            </p:cNvPr>
            <p:cNvSpPr/>
            <p:nvPr/>
          </p:nvSpPr>
          <p:spPr>
            <a:xfrm>
              <a:off x="12147836" y="544952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544" name="Freeform: Shape 543">
              <a:extLst>
                <a:ext uri="{FF2B5EF4-FFF2-40B4-BE49-F238E27FC236}">
                  <a16:creationId xmlns:a16="http://schemas.microsoft.com/office/drawing/2014/main" id="{1C7D337C-EC46-B2DF-8082-C9A2883D9B9F}"/>
                </a:ext>
              </a:extLst>
            </p:cNvPr>
            <p:cNvSpPr/>
            <p:nvPr/>
          </p:nvSpPr>
          <p:spPr>
            <a:xfrm>
              <a:off x="13018045" y="5449529"/>
              <a:ext cx="435077" cy="435077"/>
            </a:xfrm>
            <a:custGeom>
              <a:avLst/>
              <a:gdLst>
                <a:gd name="connsiteX0" fmla="*/ 0 w 435077"/>
                <a:gd name="connsiteY0" fmla="*/ 435077 h 435077"/>
                <a:gd name="connsiteX1" fmla="*/ 217539 w 435077"/>
                <a:gd name="connsiteY1" fmla="*/ 435077 h 435077"/>
                <a:gd name="connsiteX2" fmla="*/ 217539 w 435077"/>
                <a:gd name="connsiteY2" fmla="*/ 217566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66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66"/>
                  </a:lnTo>
                  <a:lnTo>
                    <a:pt x="0" y="435077"/>
                  </a:lnTo>
                  <a:close/>
                  <a:moveTo>
                    <a:pt x="217539" y="0"/>
                  </a:moveTo>
                  <a:lnTo>
                    <a:pt x="0" y="0"/>
                  </a:lnTo>
                  <a:lnTo>
                    <a:pt x="217539" y="217539"/>
                  </a:lnTo>
                  <a:lnTo>
                    <a:pt x="217539" y="0"/>
                  </a:lnTo>
                  <a:close/>
                  <a:moveTo>
                    <a:pt x="435077" y="435077"/>
                  </a:moveTo>
                  <a:lnTo>
                    <a:pt x="217539" y="435077"/>
                  </a:lnTo>
                  <a:lnTo>
                    <a:pt x="435077" y="217566"/>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545" name="Freeform: Shape 544">
              <a:extLst>
                <a:ext uri="{FF2B5EF4-FFF2-40B4-BE49-F238E27FC236}">
                  <a16:creationId xmlns:a16="http://schemas.microsoft.com/office/drawing/2014/main" id="{FDEC55D7-CD34-2726-D13D-4A3DD92A1FE2}"/>
                </a:ext>
              </a:extLst>
            </p:cNvPr>
            <p:cNvSpPr/>
            <p:nvPr/>
          </p:nvSpPr>
          <p:spPr>
            <a:xfrm>
              <a:off x="14758382" y="5449529"/>
              <a:ext cx="435077" cy="435077"/>
            </a:xfrm>
            <a:custGeom>
              <a:avLst/>
              <a:gdLst>
                <a:gd name="connsiteX0" fmla="*/ 371367 w 435077"/>
                <a:gd name="connsiteY0" fmla="*/ 63712 h 435077"/>
                <a:gd name="connsiteX1" fmla="*/ 435077 w 435077"/>
                <a:gd name="connsiteY1" fmla="*/ 217539 h 435077"/>
                <a:gd name="connsiteX2" fmla="*/ 217703 w 435077"/>
                <a:gd name="connsiteY2" fmla="*/ 217539 h 435077"/>
                <a:gd name="connsiteX3" fmla="*/ 371367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7376 w 435077"/>
                <a:gd name="connsiteY8" fmla="*/ 217539 h 435077"/>
                <a:gd name="connsiteX9" fmla="*/ 0 w 435077"/>
                <a:gd name="connsiteY9" fmla="*/ 217539 h 435077"/>
                <a:gd name="connsiteX10" fmla="*/ 63712 w 435077"/>
                <a:gd name="connsiteY10" fmla="*/ 63712 h 435077"/>
                <a:gd name="connsiteX11" fmla="*/ 217539 w 435077"/>
                <a:gd name="connsiteY11" fmla="*/ 0 h 435077"/>
                <a:gd name="connsiteX12" fmla="*/ 371367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7" y="63712"/>
                  </a:moveTo>
                  <a:cubicBezTo>
                    <a:pt x="412155" y="104527"/>
                    <a:pt x="435077" y="159837"/>
                    <a:pt x="435077" y="217539"/>
                  </a:cubicBezTo>
                  <a:lnTo>
                    <a:pt x="217703" y="217539"/>
                  </a:lnTo>
                  <a:cubicBezTo>
                    <a:pt x="275351" y="217593"/>
                    <a:pt x="330605" y="240489"/>
                    <a:pt x="371367" y="281250"/>
                  </a:cubicBezTo>
                  <a:cubicBezTo>
                    <a:pt x="412155" y="322066"/>
                    <a:pt x="435077" y="377375"/>
                    <a:pt x="435077" y="435077"/>
                  </a:cubicBezTo>
                  <a:lnTo>
                    <a:pt x="217539" y="435077"/>
                  </a:lnTo>
                  <a:lnTo>
                    <a:pt x="0" y="435077"/>
                  </a:lnTo>
                  <a:cubicBezTo>
                    <a:pt x="0" y="377375"/>
                    <a:pt x="22924" y="322066"/>
                    <a:pt x="63712" y="281250"/>
                  </a:cubicBezTo>
                  <a:cubicBezTo>
                    <a:pt x="104474" y="240489"/>
                    <a:pt x="159728" y="217593"/>
                    <a:pt x="217376" y="217539"/>
                  </a:cubicBezTo>
                  <a:lnTo>
                    <a:pt x="0" y="217539"/>
                  </a:lnTo>
                  <a:cubicBezTo>
                    <a:pt x="0" y="159837"/>
                    <a:pt x="22924" y="104527"/>
                    <a:pt x="63712" y="63712"/>
                  </a:cubicBezTo>
                  <a:cubicBezTo>
                    <a:pt x="104501" y="22923"/>
                    <a:pt x="159836" y="0"/>
                    <a:pt x="217539" y="0"/>
                  </a:cubicBezTo>
                  <a:cubicBezTo>
                    <a:pt x="275241" y="0"/>
                    <a:pt x="330550" y="22923"/>
                    <a:pt x="371367" y="63712"/>
                  </a:cubicBezTo>
                  <a:close/>
                </a:path>
              </a:pathLst>
            </a:custGeom>
            <a:grpFill/>
            <a:ln w="27192" cap="flat">
              <a:noFill/>
              <a:prstDash val="solid"/>
              <a:miter/>
            </a:ln>
          </p:spPr>
          <p:txBody>
            <a:bodyPr rtlCol="0" anchor="ctr"/>
            <a:lstStyle/>
            <a:p>
              <a:endParaRPr lang="uk-UA" sz="900"/>
            </a:p>
          </p:txBody>
        </p:sp>
        <p:sp>
          <p:nvSpPr>
            <p:cNvPr id="546" name="Freeform: Shape 545">
              <a:extLst>
                <a:ext uri="{FF2B5EF4-FFF2-40B4-BE49-F238E27FC236}">
                  <a16:creationId xmlns:a16="http://schemas.microsoft.com/office/drawing/2014/main" id="{DCC1B709-294A-01DD-6667-9E92963C5EA1}"/>
                </a:ext>
              </a:extLst>
            </p:cNvPr>
            <p:cNvSpPr/>
            <p:nvPr/>
          </p:nvSpPr>
          <p:spPr>
            <a:xfrm>
              <a:off x="13888200" y="5449529"/>
              <a:ext cx="435077" cy="435077"/>
            </a:xfrm>
            <a:custGeom>
              <a:avLst/>
              <a:gdLst>
                <a:gd name="connsiteX0" fmla="*/ 217565 w 435077"/>
                <a:gd name="connsiteY0" fmla="*/ 0 h 435077"/>
                <a:gd name="connsiteX1" fmla="*/ 217539 w 435077"/>
                <a:gd name="connsiteY1" fmla="*/ 0 h 435077"/>
                <a:gd name="connsiteX2" fmla="*/ 27 w 435077"/>
                <a:gd name="connsiteY2" fmla="*/ 0 h 435077"/>
                <a:gd name="connsiteX3" fmla="*/ 27 w 435077"/>
                <a:gd name="connsiteY3" fmla="*/ 217539 h 435077"/>
                <a:gd name="connsiteX4" fmla="*/ 217565 w 435077"/>
                <a:gd name="connsiteY4" fmla="*/ 0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65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65" y="0"/>
                  </a:moveTo>
                  <a:lnTo>
                    <a:pt x="217539" y="0"/>
                  </a:lnTo>
                  <a:lnTo>
                    <a:pt x="27" y="0"/>
                  </a:lnTo>
                  <a:lnTo>
                    <a:pt x="27" y="217539"/>
                  </a:lnTo>
                  <a:lnTo>
                    <a:pt x="217565" y="0"/>
                  </a:lnTo>
                  <a:lnTo>
                    <a:pt x="435077" y="217539"/>
                  </a:lnTo>
                  <a:lnTo>
                    <a:pt x="217539" y="435077"/>
                  </a:lnTo>
                  <a:lnTo>
                    <a:pt x="0" y="217539"/>
                  </a:lnTo>
                  <a:lnTo>
                    <a:pt x="0" y="435077"/>
                  </a:lnTo>
                  <a:lnTo>
                    <a:pt x="217539" y="435077"/>
                  </a:lnTo>
                  <a:lnTo>
                    <a:pt x="435077" y="435077"/>
                  </a:lnTo>
                  <a:lnTo>
                    <a:pt x="435077" y="217539"/>
                  </a:lnTo>
                  <a:lnTo>
                    <a:pt x="435077" y="0"/>
                  </a:lnTo>
                  <a:lnTo>
                    <a:pt x="217565" y="0"/>
                  </a:lnTo>
                  <a:close/>
                </a:path>
              </a:pathLst>
            </a:custGeom>
            <a:grpFill/>
            <a:ln w="27192" cap="flat">
              <a:noFill/>
              <a:prstDash val="solid"/>
              <a:miter/>
            </a:ln>
          </p:spPr>
          <p:txBody>
            <a:bodyPr rtlCol="0" anchor="ctr"/>
            <a:lstStyle/>
            <a:p>
              <a:endParaRPr lang="uk-UA" sz="900"/>
            </a:p>
          </p:txBody>
        </p:sp>
        <p:sp>
          <p:nvSpPr>
            <p:cNvPr id="547" name="Freeform: Shape 546">
              <a:extLst>
                <a:ext uri="{FF2B5EF4-FFF2-40B4-BE49-F238E27FC236}">
                  <a16:creationId xmlns:a16="http://schemas.microsoft.com/office/drawing/2014/main" id="{8875E503-D9F5-096B-3E8A-61E8B47AAC77}"/>
                </a:ext>
              </a:extLst>
            </p:cNvPr>
            <p:cNvSpPr/>
            <p:nvPr/>
          </p:nvSpPr>
          <p:spPr>
            <a:xfrm>
              <a:off x="15628536" y="5449529"/>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0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39 h 435077"/>
                <a:gd name="connsiteX9" fmla="*/ 435077 w 435077"/>
                <a:gd name="connsiteY9" fmla="*/ 217539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0"/>
                  </a:lnTo>
                  <a:lnTo>
                    <a:pt x="435077" y="217539"/>
                  </a:lnTo>
                  <a:lnTo>
                    <a:pt x="435077" y="217539"/>
                  </a:lnTo>
                  <a:lnTo>
                    <a:pt x="435077" y="217539"/>
                  </a:lnTo>
                  <a:lnTo>
                    <a:pt x="435077" y="217539"/>
                  </a:lnTo>
                  <a:lnTo>
                    <a:pt x="435077" y="217539"/>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548" name="Freeform: Shape 547">
              <a:extLst>
                <a:ext uri="{FF2B5EF4-FFF2-40B4-BE49-F238E27FC236}">
                  <a16:creationId xmlns:a16="http://schemas.microsoft.com/office/drawing/2014/main" id="{078747FC-123A-04F9-A9C7-325137629010}"/>
                </a:ext>
              </a:extLst>
            </p:cNvPr>
            <p:cNvSpPr/>
            <p:nvPr/>
          </p:nvSpPr>
          <p:spPr>
            <a:xfrm>
              <a:off x="16498719" y="5449529"/>
              <a:ext cx="435077" cy="435077"/>
            </a:xfrm>
            <a:custGeom>
              <a:avLst/>
              <a:gdLst>
                <a:gd name="connsiteX0" fmla="*/ 0 w 435077"/>
                <a:gd name="connsiteY0" fmla="*/ 435077 h 435077"/>
                <a:gd name="connsiteX1" fmla="*/ 217510 w 435077"/>
                <a:gd name="connsiteY1" fmla="*/ 435077 h 435077"/>
                <a:gd name="connsiteX2" fmla="*/ 217510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66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10" y="435077"/>
                  </a:lnTo>
                  <a:lnTo>
                    <a:pt x="217510" y="217539"/>
                  </a:lnTo>
                  <a:lnTo>
                    <a:pt x="0" y="435077"/>
                  </a:lnTo>
                  <a:close/>
                  <a:moveTo>
                    <a:pt x="217539" y="0"/>
                  </a:moveTo>
                  <a:lnTo>
                    <a:pt x="0" y="0"/>
                  </a:lnTo>
                  <a:lnTo>
                    <a:pt x="217539" y="217539"/>
                  </a:lnTo>
                  <a:lnTo>
                    <a:pt x="217539" y="0"/>
                  </a:lnTo>
                  <a:close/>
                  <a:moveTo>
                    <a:pt x="435077" y="435077"/>
                  </a:moveTo>
                  <a:lnTo>
                    <a:pt x="217539" y="435077"/>
                  </a:lnTo>
                  <a:lnTo>
                    <a:pt x="435077" y="217566"/>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549" name="Freeform: Shape 548">
              <a:extLst>
                <a:ext uri="{FF2B5EF4-FFF2-40B4-BE49-F238E27FC236}">
                  <a16:creationId xmlns:a16="http://schemas.microsoft.com/office/drawing/2014/main" id="{FA4A0CB4-4913-E278-C282-77015DA68845}"/>
                </a:ext>
              </a:extLst>
            </p:cNvPr>
            <p:cNvSpPr/>
            <p:nvPr/>
          </p:nvSpPr>
          <p:spPr>
            <a:xfrm>
              <a:off x="18239029" y="5449529"/>
              <a:ext cx="435077" cy="435077"/>
            </a:xfrm>
            <a:custGeom>
              <a:avLst/>
              <a:gdLst>
                <a:gd name="connsiteX0" fmla="*/ 371365 w 435077"/>
                <a:gd name="connsiteY0" fmla="*/ 63712 h 435077"/>
                <a:gd name="connsiteX1" fmla="*/ 435077 w 435077"/>
                <a:gd name="connsiteY1" fmla="*/ 217539 h 435077"/>
                <a:gd name="connsiteX2" fmla="*/ 217701 w 435077"/>
                <a:gd name="connsiteY2" fmla="*/ 217539 h 435077"/>
                <a:gd name="connsiteX3" fmla="*/ 371365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0 w 435077"/>
                <a:gd name="connsiteY7" fmla="*/ 281250 h 435077"/>
                <a:gd name="connsiteX8" fmla="*/ 217374 w 435077"/>
                <a:gd name="connsiteY8" fmla="*/ 217539 h 435077"/>
                <a:gd name="connsiteX9" fmla="*/ 0 w 435077"/>
                <a:gd name="connsiteY9" fmla="*/ 217539 h 435077"/>
                <a:gd name="connsiteX10" fmla="*/ 63710 w 435077"/>
                <a:gd name="connsiteY10" fmla="*/ 63712 h 435077"/>
                <a:gd name="connsiteX11" fmla="*/ 217539 w 435077"/>
                <a:gd name="connsiteY11" fmla="*/ 0 h 435077"/>
                <a:gd name="connsiteX12" fmla="*/ 371365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12"/>
                  </a:moveTo>
                  <a:cubicBezTo>
                    <a:pt x="412154" y="104527"/>
                    <a:pt x="435077" y="159837"/>
                    <a:pt x="435077" y="217539"/>
                  </a:cubicBezTo>
                  <a:lnTo>
                    <a:pt x="217701" y="217539"/>
                  </a:lnTo>
                  <a:cubicBezTo>
                    <a:pt x="275349" y="217593"/>
                    <a:pt x="330603" y="240489"/>
                    <a:pt x="371365" y="281250"/>
                  </a:cubicBezTo>
                  <a:cubicBezTo>
                    <a:pt x="412154" y="322066"/>
                    <a:pt x="435077" y="377375"/>
                    <a:pt x="435077" y="435077"/>
                  </a:cubicBezTo>
                  <a:lnTo>
                    <a:pt x="217539" y="435077"/>
                  </a:lnTo>
                  <a:lnTo>
                    <a:pt x="0" y="435077"/>
                  </a:lnTo>
                  <a:cubicBezTo>
                    <a:pt x="0" y="377375"/>
                    <a:pt x="22922" y="322066"/>
                    <a:pt x="63710" y="281250"/>
                  </a:cubicBezTo>
                  <a:cubicBezTo>
                    <a:pt x="104472" y="240489"/>
                    <a:pt x="159755" y="217593"/>
                    <a:pt x="217374" y="217539"/>
                  </a:cubicBezTo>
                  <a:lnTo>
                    <a:pt x="0" y="217539"/>
                  </a:lnTo>
                  <a:cubicBezTo>
                    <a:pt x="0" y="159837"/>
                    <a:pt x="22922" y="104527"/>
                    <a:pt x="63710" y="63712"/>
                  </a:cubicBezTo>
                  <a:cubicBezTo>
                    <a:pt x="104527" y="22923"/>
                    <a:pt x="159836" y="0"/>
                    <a:pt x="217539" y="0"/>
                  </a:cubicBezTo>
                  <a:cubicBezTo>
                    <a:pt x="275241" y="0"/>
                    <a:pt x="330577" y="22923"/>
                    <a:pt x="371365" y="63712"/>
                  </a:cubicBezTo>
                  <a:close/>
                </a:path>
              </a:pathLst>
            </a:custGeom>
            <a:grpFill/>
            <a:ln w="27192" cap="flat">
              <a:noFill/>
              <a:prstDash val="solid"/>
              <a:miter/>
            </a:ln>
          </p:spPr>
          <p:txBody>
            <a:bodyPr rtlCol="0" anchor="ctr"/>
            <a:lstStyle/>
            <a:p>
              <a:endParaRPr lang="uk-UA" sz="900"/>
            </a:p>
          </p:txBody>
        </p:sp>
        <p:sp>
          <p:nvSpPr>
            <p:cNvPr id="550" name="Freeform: Shape 549">
              <a:extLst>
                <a:ext uri="{FF2B5EF4-FFF2-40B4-BE49-F238E27FC236}">
                  <a16:creationId xmlns:a16="http://schemas.microsoft.com/office/drawing/2014/main" id="{DBA1F04D-CCA3-0AE1-5FDA-871D3A13C633}"/>
                </a:ext>
              </a:extLst>
            </p:cNvPr>
            <p:cNvSpPr/>
            <p:nvPr/>
          </p:nvSpPr>
          <p:spPr>
            <a:xfrm>
              <a:off x="17368874" y="544952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551" name="Freeform: Shape 550">
              <a:extLst>
                <a:ext uri="{FF2B5EF4-FFF2-40B4-BE49-F238E27FC236}">
                  <a16:creationId xmlns:a16="http://schemas.microsoft.com/office/drawing/2014/main" id="{4D1E4E31-0BAC-A718-AB65-C0BF3A646084}"/>
                </a:ext>
              </a:extLst>
            </p:cNvPr>
            <p:cNvSpPr/>
            <p:nvPr/>
          </p:nvSpPr>
          <p:spPr>
            <a:xfrm>
              <a:off x="19109210" y="544952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51 w 435077"/>
                <a:gd name="connsiteY7" fmla="*/ 217539 h 435077"/>
                <a:gd name="connsiteX8" fmla="*/ 435077 w 435077"/>
                <a:gd name="connsiteY8" fmla="*/ 217539 h 435077"/>
                <a:gd name="connsiteX9" fmla="*/ 435051 w 435077"/>
                <a:gd name="connsiteY9" fmla="*/ 217539 h 435077"/>
                <a:gd name="connsiteX10" fmla="*/ 435077 w 435077"/>
                <a:gd name="connsiteY10" fmla="*/ 217539 h 435077"/>
                <a:gd name="connsiteX11" fmla="*/ 435051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51" y="217539"/>
                  </a:lnTo>
                  <a:lnTo>
                    <a:pt x="435077" y="217539"/>
                  </a:lnTo>
                  <a:lnTo>
                    <a:pt x="435051" y="217539"/>
                  </a:lnTo>
                  <a:lnTo>
                    <a:pt x="435077" y="217539"/>
                  </a:lnTo>
                  <a:lnTo>
                    <a:pt x="435051"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552" name="Freeform: Shape 551">
              <a:extLst>
                <a:ext uri="{FF2B5EF4-FFF2-40B4-BE49-F238E27FC236}">
                  <a16:creationId xmlns:a16="http://schemas.microsoft.com/office/drawing/2014/main" id="{3AF12688-C9C1-05D9-8756-217608CD3AE1}"/>
                </a:ext>
              </a:extLst>
            </p:cNvPr>
            <p:cNvSpPr/>
            <p:nvPr/>
          </p:nvSpPr>
          <p:spPr>
            <a:xfrm>
              <a:off x="19979365" y="5449529"/>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66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39" y="435077"/>
                  </a:lnTo>
                  <a:lnTo>
                    <a:pt x="435077" y="217566"/>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553" name="Freeform: Shape 552">
              <a:extLst>
                <a:ext uri="{FF2B5EF4-FFF2-40B4-BE49-F238E27FC236}">
                  <a16:creationId xmlns:a16="http://schemas.microsoft.com/office/drawing/2014/main" id="{9769292A-557C-EF03-3338-227DB1437D8F}"/>
                </a:ext>
              </a:extLst>
            </p:cNvPr>
            <p:cNvSpPr/>
            <p:nvPr/>
          </p:nvSpPr>
          <p:spPr>
            <a:xfrm>
              <a:off x="21719702" y="5449529"/>
              <a:ext cx="435077" cy="435077"/>
            </a:xfrm>
            <a:custGeom>
              <a:avLst/>
              <a:gdLst>
                <a:gd name="connsiteX0" fmla="*/ 371339 w 435077"/>
                <a:gd name="connsiteY0" fmla="*/ 63712 h 435077"/>
                <a:gd name="connsiteX1" fmla="*/ 435077 w 435077"/>
                <a:gd name="connsiteY1" fmla="*/ 217539 h 435077"/>
                <a:gd name="connsiteX2" fmla="*/ 217703 w 435077"/>
                <a:gd name="connsiteY2" fmla="*/ 217539 h 435077"/>
                <a:gd name="connsiteX3" fmla="*/ 371367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7350 w 435077"/>
                <a:gd name="connsiteY8" fmla="*/ 217539 h 435077"/>
                <a:gd name="connsiteX9" fmla="*/ 0 w 435077"/>
                <a:gd name="connsiteY9" fmla="*/ 217539 h 435077"/>
                <a:gd name="connsiteX10" fmla="*/ 63712 w 435077"/>
                <a:gd name="connsiteY10" fmla="*/ 63712 h 435077"/>
                <a:gd name="connsiteX11" fmla="*/ 217539 w 435077"/>
                <a:gd name="connsiteY11" fmla="*/ 0 h 435077"/>
                <a:gd name="connsiteX12" fmla="*/ 371339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12"/>
                  </a:moveTo>
                  <a:cubicBezTo>
                    <a:pt x="412155" y="104527"/>
                    <a:pt x="435077" y="159837"/>
                    <a:pt x="435077" y="217539"/>
                  </a:cubicBezTo>
                  <a:lnTo>
                    <a:pt x="217703" y="217539"/>
                  </a:lnTo>
                  <a:cubicBezTo>
                    <a:pt x="275322" y="217593"/>
                    <a:pt x="330605" y="240489"/>
                    <a:pt x="371367" y="281250"/>
                  </a:cubicBezTo>
                  <a:cubicBezTo>
                    <a:pt x="412155" y="322066"/>
                    <a:pt x="435077" y="377375"/>
                    <a:pt x="435077" y="435077"/>
                  </a:cubicBezTo>
                  <a:lnTo>
                    <a:pt x="217539" y="435077"/>
                  </a:lnTo>
                  <a:lnTo>
                    <a:pt x="0" y="435077"/>
                  </a:lnTo>
                  <a:cubicBezTo>
                    <a:pt x="0" y="377375"/>
                    <a:pt x="22924" y="322066"/>
                    <a:pt x="63712" y="281250"/>
                  </a:cubicBezTo>
                  <a:cubicBezTo>
                    <a:pt x="104474" y="240489"/>
                    <a:pt x="159728" y="217593"/>
                    <a:pt x="217350" y="217539"/>
                  </a:cubicBezTo>
                  <a:lnTo>
                    <a:pt x="0" y="217539"/>
                  </a:lnTo>
                  <a:cubicBezTo>
                    <a:pt x="0" y="159837"/>
                    <a:pt x="22897" y="104527"/>
                    <a:pt x="63712" y="63712"/>
                  </a:cubicBezTo>
                  <a:cubicBezTo>
                    <a:pt x="104501" y="22923"/>
                    <a:pt x="159838" y="0"/>
                    <a:pt x="217539" y="0"/>
                  </a:cubicBezTo>
                  <a:cubicBezTo>
                    <a:pt x="275215" y="0"/>
                    <a:pt x="330550" y="22923"/>
                    <a:pt x="371339" y="63712"/>
                  </a:cubicBezTo>
                  <a:close/>
                </a:path>
              </a:pathLst>
            </a:custGeom>
            <a:grpFill/>
            <a:ln w="27192" cap="flat">
              <a:noFill/>
              <a:prstDash val="solid"/>
              <a:miter/>
            </a:ln>
          </p:spPr>
          <p:txBody>
            <a:bodyPr rtlCol="0" anchor="ctr"/>
            <a:lstStyle/>
            <a:p>
              <a:endParaRPr lang="uk-UA" sz="900"/>
            </a:p>
          </p:txBody>
        </p:sp>
        <p:sp>
          <p:nvSpPr>
            <p:cNvPr id="554" name="Freeform: Shape 553">
              <a:extLst>
                <a:ext uri="{FF2B5EF4-FFF2-40B4-BE49-F238E27FC236}">
                  <a16:creationId xmlns:a16="http://schemas.microsoft.com/office/drawing/2014/main" id="{A057F449-459A-0004-4483-22E12F81B4E9}"/>
                </a:ext>
              </a:extLst>
            </p:cNvPr>
            <p:cNvSpPr/>
            <p:nvPr/>
          </p:nvSpPr>
          <p:spPr>
            <a:xfrm>
              <a:off x="20849520" y="5449529"/>
              <a:ext cx="435103" cy="435077"/>
            </a:xfrm>
            <a:custGeom>
              <a:avLst/>
              <a:gdLst>
                <a:gd name="connsiteX0" fmla="*/ 217539 w 435103"/>
                <a:gd name="connsiteY0" fmla="*/ 0 h 435077"/>
                <a:gd name="connsiteX1" fmla="*/ 0 w 435103"/>
                <a:gd name="connsiteY1" fmla="*/ 0 h 435077"/>
                <a:gd name="connsiteX2" fmla="*/ 0 w 435103"/>
                <a:gd name="connsiteY2" fmla="*/ 217539 h 435077"/>
                <a:gd name="connsiteX3" fmla="*/ 217539 w 435103"/>
                <a:gd name="connsiteY3" fmla="*/ 0 h 435077"/>
                <a:gd name="connsiteX4" fmla="*/ 435104 w 435103"/>
                <a:gd name="connsiteY4" fmla="*/ 0 h 435077"/>
                <a:gd name="connsiteX5" fmla="*/ 435104 w 435103"/>
                <a:gd name="connsiteY5" fmla="*/ 217539 h 435077"/>
                <a:gd name="connsiteX6" fmla="*/ 217565 w 435103"/>
                <a:gd name="connsiteY6" fmla="*/ 0 h 435077"/>
                <a:gd name="connsiteX7" fmla="*/ 435104 w 435103"/>
                <a:gd name="connsiteY7" fmla="*/ 0 h 435077"/>
                <a:gd name="connsiteX8" fmla="*/ 217565 w 435103"/>
                <a:gd name="connsiteY8" fmla="*/ 435077 h 435077"/>
                <a:gd name="connsiteX9" fmla="*/ 435104 w 435103"/>
                <a:gd name="connsiteY9" fmla="*/ 217539 h 435077"/>
                <a:gd name="connsiteX10" fmla="*/ 435104 w 435103"/>
                <a:gd name="connsiteY10" fmla="*/ 435077 h 435077"/>
                <a:gd name="connsiteX11" fmla="*/ 217565 w 435103"/>
                <a:gd name="connsiteY11" fmla="*/ 435077 h 435077"/>
                <a:gd name="connsiteX12" fmla="*/ 217565 w 435103"/>
                <a:gd name="connsiteY12" fmla="*/ 435077 h 435077"/>
                <a:gd name="connsiteX13" fmla="*/ 27 w 435103"/>
                <a:gd name="connsiteY13" fmla="*/ 217539 h 435077"/>
                <a:gd name="connsiteX14" fmla="*/ 27 w 435103"/>
                <a:gd name="connsiteY14" fmla="*/ 435077 h 435077"/>
                <a:gd name="connsiteX15" fmla="*/ 217565 w 435103"/>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3" h="435077">
                  <a:moveTo>
                    <a:pt x="217539" y="0"/>
                  </a:moveTo>
                  <a:lnTo>
                    <a:pt x="0" y="0"/>
                  </a:lnTo>
                  <a:lnTo>
                    <a:pt x="0" y="217539"/>
                  </a:lnTo>
                  <a:lnTo>
                    <a:pt x="217539" y="0"/>
                  </a:lnTo>
                  <a:close/>
                  <a:moveTo>
                    <a:pt x="435104" y="0"/>
                  </a:moveTo>
                  <a:lnTo>
                    <a:pt x="435104" y="217539"/>
                  </a:lnTo>
                  <a:lnTo>
                    <a:pt x="217565" y="0"/>
                  </a:lnTo>
                  <a:lnTo>
                    <a:pt x="435104" y="0"/>
                  </a:lnTo>
                  <a:close/>
                  <a:moveTo>
                    <a:pt x="217565" y="435077"/>
                  </a:moveTo>
                  <a:lnTo>
                    <a:pt x="435104" y="217539"/>
                  </a:lnTo>
                  <a:lnTo>
                    <a:pt x="435104" y="435077"/>
                  </a:lnTo>
                  <a:lnTo>
                    <a:pt x="217565" y="435077"/>
                  </a:lnTo>
                  <a:close/>
                  <a:moveTo>
                    <a:pt x="217565" y="435077"/>
                  </a:moveTo>
                  <a:lnTo>
                    <a:pt x="27" y="217539"/>
                  </a:lnTo>
                  <a:lnTo>
                    <a:pt x="27" y="435077"/>
                  </a:lnTo>
                  <a:lnTo>
                    <a:pt x="217565" y="435077"/>
                  </a:lnTo>
                  <a:close/>
                </a:path>
              </a:pathLst>
            </a:custGeom>
            <a:grpFill/>
            <a:ln w="27192" cap="flat">
              <a:noFill/>
              <a:prstDash val="solid"/>
              <a:miter/>
            </a:ln>
          </p:spPr>
          <p:txBody>
            <a:bodyPr rtlCol="0" anchor="ctr"/>
            <a:lstStyle/>
            <a:p>
              <a:endParaRPr lang="uk-UA" sz="900"/>
            </a:p>
          </p:txBody>
        </p:sp>
        <p:sp>
          <p:nvSpPr>
            <p:cNvPr id="555" name="Freeform: Shape 554">
              <a:extLst>
                <a:ext uri="{FF2B5EF4-FFF2-40B4-BE49-F238E27FC236}">
                  <a16:creationId xmlns:a16="http://schemas.microsoft.com/office/drawing/2014/main" id="{62AFC1A1-B76F-E19E-494B-74E6FAE8FEA7}"/>
                </a:ext>
              </a:extLst>
            </p:cNvPr>
            <p:cNvSpPr/>
            <p:nvPr/>
          </p:nvSpPr>
          <p:spPr>
            <a:xfrm>
              <a:off x="22589856" y="544952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556" name="Freeform: Shape 555">
              <a:extLst>
                <a:ext uri="{FF2B5EF4-FFF2-40B4-BE49-F238E27FC236}">
                  <a16:creationId xmlns:a16="http://schemas.microsoft.com/office/drawing/2014/main" id="{EBB0BCF8-58B8-DE3B-B6E9-2B7BF5538EA6}"/>
                </a:ext>
              </a:extLst>
            </p:cNvPr>
            <p:cNvSpPr/>
            <p:nvPr/>
          </p:nvSpPr>
          <p:spPr>
            <a:xfrm>
              <a:off x="23460039" y="5449529"/>
              <a:ext cx="435077" cy="435077"/>
            </a:xfrm>
            <a:custGeom>
              <a:avLst/>
              <a:gdLst>
                <a:gd name="connsiteX0" fmla="*/ 0 w 435077"/>
                <a:gd name="connsiteY0" fmla="*/ 435077 h 435077"/>
                <a:gd name="connsiteX1" fmla="*/ 217510 w 435077"/>
                <a:gd name="connsiteY1" fmla="*/ 435077 h 435077"/>
                <a:gd name="connsiteX2" fmla="*/ 217510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66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10" y="435077"/>
                  </a:lnTo>
                  <a:lnTo>
                    <a:pt x="217510" y="217539"/>
                  </a:lnTo>
                  <a:lnTo>
                    <a:pt x="0" y="435077"/>
                  </a:lnTo>
                  <a:close/>
                  <a:moveTo>
                    <a:pt x="217539" y="0"/>
                  </a:moveTo>
                  <a:lnTo>
                    <a:pt x="0" y="0"/>
                  </a:lnTo>
                  <a:lnTo>
                    <a:pt x="217539" y="217539"/>
                  </a:lnTo>
                  <a:lnTo>
                    <a:pt x="217539" y="0"/>
                  </a:lnTo>
                  <a:close/>
                  <a:moveTo>
                    <a:pt x="435077" y="435077"/>
                  </a:moveTo>
                  <a:lnTo>
                    <a:pt x="217539" y="435077"/>
                  </a:lnTo>
                  <a:lnTo>
                    <a:pt x="435077" y="217566"/>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557" name="Freeform: Shape 556">
              <a:extLst>
                <a:ext uri="{FF2B5EF4-FFF2-40B4-BE49-F238E27FC236}">
                  <a16:creationId xmlns:a16="http://schemas.microsoft.com/office/drawing/2014/main" id="{6CB34D5F-A449-10B3-5809-CAD199B7E4E0}"/>
                </a:ext>
              </a:extLst>
            </p:cNvPr>
            <p:cNvSpPr/>
            <p:nvPr/>
          </p:nvSpPr>
          <p:spPr>
            <a:xfrm>
              <a:off x="24330194" y="544952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p>
          </p:txBody>
        </p:sp>
        <p:sp>
          <p:nvSpPr>
            <p:cNvPr id="558" name="Freeform: Shape 557">
              <a:extLst>
                <a:ext uri="{FF2B5EF4-FFF2-40B4-BE49-F238E27FC236}">
                  <a16:creationId xmlns:a16="http://schemas.microsoft.com/office/drawing/2014/main" id="{56B088AE-77B0-0621-9051-E10B2BB24B81}"/>
                </a:ext>
              </a:extLst>
            </p:cNvPr>
            <p:cNvSpPr/>
            <p:nvPr/>
          </p:nvSpPr>
          <p:spPr>
            <a:xfrm>
              <a:off x="835769" y="6319683"/>
              <a:ext cx="435077" cy="435077"/>
            </a:xfrm>
            <a:custGeom>
              <a:avLst/>
              <a:gdLst>
                <a:gd name="connsiteX0" fmla="*/ 63711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1 w 435077"/>
                <a:gd name="connsiteY6" fmla="*/ 153827 h 435077"/>
                <a:gd name="connsiteX7" fmla="*/ 63711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1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1" y="153827"/>
                  </a:moveTo>
                  <a:cubicBezTo>
                    <a:pt x="22923" y="113038"/>
                    <a:pt x="0" y="57702"/>
                    <a:pt x="0" y="0"/>
                  </a:cubicBezTo>
                  <a:lnTo>
                    <a:pt x="217539" y="0"/>
                  </a:lnTo>
                  <a:lnTo>
                    <a:pt x="435077" y="0"/>
                  </a:lnTo>
                  <a:cubicBezTo>
                    <a:pt x="435077" y="57702"/>
                    <a:pt x="412154" y="113038"/>
                    <a:pt x="371366" y="153827"/>
                  </a:cubicBezTo>
                  <a:cubicBezTo>
                    <a:pt x="330550" y="194616"/>
                    <a:pt x="275213" y="217539"/>
                    <a:pt x="217539" y="217539"/>
                  </a:cubicBezTo>
                  <a:cubicBezTo>
                    <a:pt x="159836" y="217539"/>
                    <a:pt x="104500" y="194616"/>
                    <a:pt x="63711" y="153827"/>
                  </a:cubicBezTo>
                  <a:close/>
                  <a:moveTo>
                    <a:pt x="63711" y="281250"/>
                  </a:moveTo>
                  <a:cubicBezTo>
                    <a:pt x="22923" y="322066"/>
                    <a:pt x="0" y="377375"/>
                    <a:pt x="0" y="435077"/>
                  </a:cubicBezTo>
                  <a:lnTo>
                    <a:pt x="217539" y="435077"/>
                  </a:lnTo>
                  <a:lnTo>
                    <a:pt x="435077" y="435077"/>
                  </a:lnTo>
                  <a:cubicBezTo>
                    <a:pt x="435077" y="377375"/>
                    <a:pt x="412154" y="322066"/>
                    <a:pt x="371366" y="281250"/>
                  </a:cubicBezTo>
                  <a:cubicBezTo>
                    <a:pt x="330550" y="240462"/>
                    <a:pt x="275213" y="217539"/>
                    <a:pt x="217539" y="217539"/>
                  </a:cubicBezTo>
                  <a:cubicBezTo>
                    <a:pt x="159836" y="217539"/>
                    <a:pt x="104500" y="240462"/>
                    <a:pt x="63711" y="281250"/>
                  </a:cubicBezTo>
                  <a:close/>
                </a:path>
              </a:pathLst>
            </a:custGeom>
            <a:grpFill/>
            <a:ln w="27192" cap="flat">
              <a:noFill/>
              <a:prstDash val="solid"/>
              <a:miter/>
            </a:ln>
          </p:spPr>
          <p:txBody>
            <a:bodyPr rtlCol="0" anchor="ctr"/>
            <a:lstStyle/>
            <a:p>
              <a:endParaRPr lang="uk-UA" sz="900"/>
            </a:p>
          </p:txBody>
        </p:sp>
        <p:sp>
          <p:nvSpPr>
            <p:cNvPr id="559" name="Freeform: Shape 558">
              <a:extLst>
                <a:ext uri="{FF2B5EF4-FFF2-40B4-BE49-F238E27FC236}">
                  <a16:creationId xmlns:a16="http://schemas.microsoft.com/office/drawing/2014/main" id="{D6C8424A-7D8C-C9B9-F261-0A565B9C778C}"/>
                </a:ext>
              </a:extLst>
            </p:cNvPr>
            <p:cNvSpPr/>
            <p:nvPr/>
          </p:nvSpPr>
          <p:spPr>
            <a:xfrm>
              <a:off x="-34393" y="6319683"/>
              <a:ext cx="435085" cy="435077"/>
            </a:xfrm>
            <a:custGeom>
              <a:avLst/>
              <a:gdLst>
                <a:gd name="connsiteX0" fmla="*/ 435086 w 435085"/>
                <a:gd name="connsiteY0" fmla="*/ 435077 h 435077"/>
                <a:gd name="connsiteX1" fmla="*/ 435086 w 435085"/>
                <a:gd name="connsiteY1" fmla="*/ 0 h 435077"/>
                <a:gd name="connsiteX2" fmla="*/ 217547 w 435085"/>
                <a:gd name="connsiteY2" fmla="*/ 217539 h 435077"/>
                <a:gd name="connsiteX3" fmla="*/ 435086 w 435085"/>
                <a:gd name="connsiteY3" fmla="*/ 435077 h 435077"/>
                <a:gd name="connsiteX4" fmla="*/ 0 w 435085"/>
                <a:gd name="connsiteY4" fmla="*/ 435077 h 435077"/>
                <a:gd name="connsiteX5" fmla="*/ 0 w 435085"/>
                <a:gd name="connsiteY5" fmla="*/ 0 h 435077"/>
                <a:gd name="connsiteX6" fmla="*/ 217520 w 435085"/>
                <a:gd name="connsiteY6" fmla="*/ 217539 h 435077"/>
                <a:gd name="connsiteX7" fmla="*/ 0 w 435085"/>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85" h="435077">
                  <a:moveTo>
                    <a:pt x="435086" y="435077"/>
                  </a:moveTo>
                  <a:lnTo>
                    <a:pt x="435086" y="0"/>
                  </a:lnTo>
                  <a:lnTo>
                    <a:pt x="217547" y="217539"/>
                  </a:lnTo>
                  <a:lnTo>
                    <a:pt x="435086" y="435077"/>
                  </a:lnTo>
                  <a:close/>
                  <a:moveTo>
                    <a:pt x="0" y="435077"/>
                  </a:moveTo>
                  <a:lnTo>
                    <a:pt x="0" y="0"/>
                  </a:lnTo>
                  <a:lnTo>
                    <a:pt x="217520" y="217539"/>
                  </a:lnTo>
                  <a:lnTo>
                    <a:pt x="0" y="435077"/>
                  </a:lnTo>
                  <a:close/>
                </a:path>
              </a:pathLst>
            </a:custGeom>
            <a:grpFill/>
            <a:ln w="27192" cap="flat">
              <a:noFill/>
              <a:prstDash val="solid"/>
              <a:miter/>
            </a:ln>
          </p:spPr>
          <p:txBody>
            <a:bodyPr rtlCol="0" anchor="ctr"/>
            <a:lstStyle/>
            <a:p>
              <a:endParaRPr lang="uk-UA" sz="900"/>
            </a:p>
          </p:txBody>
        </p:sp>
        <p:sp>
          <p:nvSpPr>
            <p:cNvPr id="560" name="Freeform: Shape 559">
              <a:extLst>
                <a:ext uri="{FF2B5EF4-FFF2-40B4-BE49-F238E27FC236}">
                  <a16:creationId xmlns:a16="http://schemas.microsoft.com/office/drawing/2014/main" id="{DE780D16-CAF9-1296-E2C0-3830480B1CD7}"/>
                </a:ext>
              </a:extLst>
            </p:cNvPr>
            <p:cNvSpPr/>
            <p:nvPr/>
          </p:nvSpPr>
          <p:spPr>
            <a:xfrm>
              <a:off x="1705924" y="6319683"/>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6 w 435077"/>
                <a:gd name="connsiteY3" fmla="*/ 27 h 435077"/>
                <a:gd name="connsiteX4" fmla="*/ 435077 w 435077"/>
                <a:gd name="connsiteY4" fmla="*/ 217539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6" y="27"/>
                  </a:lnTo>
                  <a:lnTo>
                    <a:pt x="435077" y="217539"/>
                  </a:lnTo>
                  <a:lnTo>
                    <a:pt x="217566"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561" name="Freeform: Shape 560">
              <a:extLst>
                <a:ext uri="{FF2B5EF4-FFF2-40B4-BE49-F238E27FC236}">
                  <a16:creationId xmlns:a16="http://schemas.microsoft.com/office/drawing/2014/main" id="{D4E1894D-29EF-4A07-6A1C-A80F070DB9F2}"/>
                </a:ext>
              </a:extLst>
            </p:cNvPr>
            <p:cNvSpPr/>
            <p:nvPr/>
          </p:nvSpPr>
          <p:spPr>
            <a:xfrm>
              <a:off x="2576106" y="6319683"/>
              <a:ext cx="435077" cy="435077"/>
            </a:xfrm>
            <a:custGeom>
              <a:avLst/>
              <a:gdLst>
                <a:gd name="connsiteX0" fmla="*/ 0 w 435077"/>
                <a:gd name="connsiteY0" fmla="*/ 435077 h 435077"/>
                <a:gd name="connsiteX1" fmla="*/ 0 w 435077"/>
                <a:gd name="connsiteY1" fmla="*/ 0 h 435077"/>
                <a:gd name="connsiteX2" fmla="*/ 217512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12"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562" name="Freeform: Shape 561">
              <a:extLst>
                <a:ext uri="{FF2B5EF4-FFF2-40B4-BE49-F238E27FC236}">
                  <a16:creationId xmlns:a16="http://schemas.microsoft.com/office/drawing/2014/main" id="{E8872A5E-5753-D743-8AA4-7954907D93F4}"/>
                </a:ext>
              </a:extLst>
            </p:cNvPr>
            <p:cNvSpPr/>
            <p:nvPr/>
          </p:nvSpPr>
          <p:spPr>
            <a:xfrm>
              <a:off x="4316416" y="6319683"/>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39 w 435077"/>
                <a:gd name="connsiteY6" fmla="*/ 153827 h 435077"/>
                <a:gd name="connsiteX7" fmla="*/ 63739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0 h 435077"/>
                <a:gd name="connsiteX12" fmla="*/ 217539 w 435077"/>
                <a:gd name="connsiteY12" fmla="*/ 217539 h 435077"/>
                <a:gd name="connsiteX13" fmla="*/ 63739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3" y="113038"/>
                    <a:pt x="0" y="57702"/>
                    <a:pt x="0" y="0"/>
                  </a:cubicBezTo>
                  <a:lnTo>
                    <a:pt x="217539" y="0"/>
                  </a:lnTo>
                  <a:lnTo>
                    <a:pt x="435077" y="0"/>
                  </a:lnTo>
                  <a:cubicBezTo>
                    <a:pt x="435077" y="57702"/>
                    <a:pt x="412181" y="113038"/>
                    <a:pt x="371365" y="153827"/>
                  </a:cubicBezTo>
                  <a:cubicBezTo>
                    <a:pt x="330577" y="194616"/>
                    <a:pt x="275240" y="217539"/>
                    <a:pt x="217539" y="217539"/>
                  </a:cubicBezTo>
                  <a:cubicBezTo>
                    <a:pt x="159864" y="217539"/>
                    <a:pt x="104527" y="194616"/>
                    <a:pt x="63739" y="153827"/>
                  </a:cubicBezTo>
                  <a:close/>
                  <a:moveTo>
                    <a:pt x="63739" y="281250"/>
                  </a:moveTo>
                  <a:cubicBezTo>
                    <a:pt x="22923" y="322066"/>
                    <a:pt x="0" y="377375"/>
                    <a:pt x="0" y="435077"/>
                  </a:cubicBezTo>
                  <a:lnTo>
                    <a:pt x="217539" y="435077"/>
                  </a:lnTo>
                  <a:lnTo>
                    <a:pt x="435077" y="435077"/>
                  </a:lnTo>
                  <a:cubicBezTo>
                    <a:pt x="435077" y="377375"/>
                    <a:pt x="412181" y="322066"/>
                    <a:pt x="371365" y="281250"/>
                  </a:cubicBezTo>
                  <a:cubicBezTo>
                    <a:pt x="330577" y="240462"/>
                    <a:pt x="275240" y="217539"/>
                    <a:pt x="217539" y="217539"/>
                  </a:cubicBezTo>
                  <a:cubicBezTo>
                    <a:pt x="159864" y="217539"/>
                    <a:pt x="104527" y="240462"/>
                    <a:pt x="63739" y="281250"/>
                  </a:cubicBezTo>
                  <a:close/>
                </a:path>
              </a:pathLst>
            </a:custGeom>
            <a:grpFill/>
            <a:ln w="27192" cap="flat">
              <a:noFill/>
              <a:prstDash val="solid"/>
              <a:miter/>
            </a:ln>
          </p:spPr>
          <p:txBody>
            <a:bodyPr rtlCol="0" anchor="ctr"/>
            <a:lstStyle/>
            <a:p>
              <a:endParaRPr lang="uk-UA" sz="900"/>
            </a:p>
          </p:txBody>
        </p:sp>
        <p:sp>
          <p:nvSpPr>
            <p:cNvPr id="563" name="Freeform: Shape 562">
              <a:extLst>
                <a:ext uri="{FF2B5EF4-FFF2-40B4-BE49-F238E27FC236}">
                  <a16:creationId xmlns:a16="http://schemas.microsoft.com/office/drawing/2014/main" id="{EA548D06-ACBC-A503-A5D4-7665A55C9F16}"/>
                </a:ext>
              </a:extLst>
            </p:cNvPr>
            <p:cNvSpPr/>
            <p:nvPr/>
          </p:nvSpPr>
          <p:spPr>
            <a:xfrm>
              <a:off x="3446261" y="6319683"/>
              <a:ext cx="435077" cy="435077"/>
            </a:xfrm>
            <a:custGeom>
              <a:avLst/>
              <a:gdLst>
                <a:gd name="connsiteX0" fmla="*/ 435077 w 435077"/>
                <a:gd name="connsiteY0" fmla="*/ 435077 h 435077"/>
                <a:gd name="connsiteX1" fmla="*/ 435077 w 435077"/>
                <a:gd name="connsiteY1" fmla="*/ 0 h 435077"/>
                <a:gd name="connsiteX2" fmla="*/ 217566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6"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564" name="Freeform: Shape 563">
              <a:extLst>
                <a:ext uri="{FF2B5EF4-FFF2-40B4-BE49-F238E27FC236}">
                  <a16:creationId xmlns:a16="http://schemas.microsoft.com/office/drawing/2014/main" id="{BA97D7B3-467E-CC85-975C-53880808BC50}"/>
                </a:ext>
              </a:extLst>
            </p:cNvPr>
            <p:cNvSpPr/>
            <p:nvPr/>
          </p:nvSpPr>
          <p:spPr>
            <a:xfrm>
              <a:off x="5186597" y="6319683"/>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39 w 435077"/>
                <a:gd name="connsiteY3" fmla="*/ 27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39" y="27"/>
                  </a:lnTo>
                  <a:lnTo>
                    <a:pt x="435077" y="217539"/>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565" name="Freeform: Shape 564">
              <a:extLst>
                <a:ext uri="{FF2B5EF4-FFF2-40B4-BE49-F238E27FC236}">
                  <a16:creationId xmlns:a16="http://schemas.microsoft.com/office/drawing/2014/main" id="{BA64E9A5-A689-84FE-9248-93868904829D}"/>
                </a:ext>
              </a:extLst>
            </p:cNvPr>
            <p:cNvSpPr/>
            <p:nvPr/>
          </p:nvSpPr>
          <p:spPr>
            <a:xfrm>
              <a:off x="6056752" y="6319683"/>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566" name="Freeform: Shape 565">
              <a:extLst>
                <a:ext uri="{FF2B5EF4-FFF2-40B4-BE49-F238E27FC236}">
                  <a16:creationId xmlns:a16="http://schemas.microsoft.com/office/drawing/2014/main" id="{8C3EA9C0-B172-59C9-C93B-56B25FF2B7C7}"/>
                </a:ext>
              </a:extLst>
            </p:cNvPr>
            <p:cNvSpPr/>
            <p:nvPr/>
          </p:nvSpPr>
          <p:spPr>
            <a:xfrm>
              <a:off x="7797062" y="6319683"/>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39 w 435077"/>
                <a:gd name="connsiteY6" fmla="*/ 153827 h 435077"/>
                <a:gd name="connsiteX7" fmla="*/ 63739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39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4" y="113038"/>
                    <a:pt x="0" y="57702"/>
                    <a:pt x="0" y="0"/>
                  </a:cubicBezTo>
                  <a:lnTo>
                    <a:pt x="217539" y="0"/>
                  </a:lnTo>
                  <a:lnTo>
                    <a:pt x="435077" y="0"/>
                  </a:lnTo>
                  <a:cubicBezTo>
                    <a:pt x="435077" y="57702"/>
                    <a:pt x="412182" y="113038"/>
                    <a:pt x="371366" y="153827"/>
                  </a:cubicBezTo>
                  <a:cubicBezTo>
                    <a:pt x="330578" y="194616"/>
                    <a:pt x="275241" y="217539"/>
                    <a:pt x="217539" y="217539"/>
                  </a:cubicBezTo>
                  <a:cubicBezTo>
                    <a:pt x="159864" y="217539"/>
                    <a:pt x="104527" y="194616"/>
                    <a:pt x="63739" y="153827"/>
                  </a:cubicBezTo>
                  <a:close/>
                  <a:moveTo>
                    <a:pt x="63739" y="281250"/>
                  </a:moveTo>
                  <a:cubicBezTo>
                    <a:pt x="22924" y="322066"/>
                    <a:pt x="0" y="377375"/>
                    <a:pt x="0" y="435077"/>
                  </a:cubicBezTo>
                  <a:lnTo>
                    <a:pt x="217539" y="435077"/>
                  </a:lnTo>
                  <a:lnTo>
                    <a:pt x="435077" y="435077"/>
                  </a:lnTo>
                  <a:cubicBezTo>
                    <a:pt x="435077" y="377375"/>
                    <a:pt x="412182" y="322066"/>
                    <a:pt x="371366" y="281250"/>
                  </a:cubicBezTo>
                  <a:cubicBezTo>
                    <a:pt x="330578" y="240462"/>
                    <a:pt x="275241" y="217539"/>
                    <a:pt x="217539" y="217539"/>
                  </a:cubicBezTo>
                  <a:cubicBezTo>
                    <a:pt x="159864" y="217539"/>
                    <a:pt x="104527" y="240462"/>
                    <a:pt x="63739" y="281250"/>
                  </a:cubicBezTo>
                  <a:close/>
                </a:path>
              </a:pathLst>
            </a:custGeom>
            <a:grpFill/>
            <a:ln w="27192" cap="flat">
              <a:noFill/>
              <a:prstDash val="solid"/>
              <a:miter/>
            </a:ln>
          </p:spPr>
          <p:txBody>
            <a:bodyPr rtlCol="0" anchor="ctr"/>
            <a:lstStyle/>
            <a:p>
              <a:endParaRPr lang="uk-UA" sz="900"/>
            </a:p>
          </p:txBody>
        </p:sp>
        <p:sp>
          <p:nvSpPr>
            <p:cNvPr id="567" name="Freeform: Shape 566">
              <a:extLst>
                <a:ext uri="{FF2B5EF4-FFF2-40B4-BE49-F238E27FC236}">
                  <a16:creationId xmlns:a16="http://schemas.microsoft.com/office/drawing/2014/main" id="{CE098EE0-02C9-B443-3761-DFAEC72DEAA5}"/>
                </a:ext>
              </a:extLst>
            </p:cNvPr>
            <p:cNvSpPr/>
            <p:nvPr/>
          </p:nvSpPr>
          <p:spPr>
            <a:xfrm>
              <a:off x="6926907" y="6319683"/>
              <a:ext cx="435077" cy="435077"/>
            </a:xfrm>
            <a:custGeom>
              <a:avLst/>
              <a:gdLst>
                <a:gd name="connsiteX0" fmla="*/ 435077 w 435077"/>
                <a:gd name="connsiteY0" fmla="*/ 435077 h 435077"/>
                <a:gd name="connsiteX1" fmla="*/ 435077 w 435077"/>
                <a:gd name="connsiteY1" fmla="*/ 0 h 435077"/>
                <a:gd name="connsiteX2" fmla="*/ 217566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6"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568" name="Freeform: Shape 567">
              <a:extLst>
                <a:ext uri="{FF2B5EF4-FFF2-40B4-BE49-F238E27FC236}">
                  <a16:creationId xmlns:a16="http://schemas.microsoft.com/office/drawing/2014/main" id="{66D2C5F9-4EB4-1C51-B64D-0C613728C0D7}"/>
                </a:ext>
              </a:extLst>
            </p:cNvPr>
            <p:cNvSpPr/>
            <p:nvPr/>
          </p:nvSpPr>
          <p:spPr>
            <a:xfrm>
              <a:off x="8667217" y="6319683"/>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6 w 435077"/>
                <a:gd name="connsiteY3" fmla="*/ 27 h 435077"/>
                <a:gd name="connsiteX4" fmla="*/ 435077 w 435077"/>
                <a:gd name="connsiteY4" fmla="*/ 217539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6" y="27"/>
                  </a:lnTo>
                  <a:lnTo>
                    <a:pt x="435077" y="217539"/>
                  </a:lnTo>
                  <a:lnTo>
                    <a:pt x="217566"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569" name="Freeform: Shape 568">
              <a:extLst>
                <a:ext uri="{FF2B5EF4-FFF2-40B4-BE49-F238E27FC236}">
                  <a16:creationId xmlns:a16="http://schemas.microsoft.com/office/drawing/2014/main" id="{224B0A5F-BBA7-E9DD-5539-870A48558E98}"/>
                </a:ext>
              </a:extLst>
            </p:cNvPr>
            <p:cNvSpPr/>
            <p:nvPr/>
          </p:nvSpPr>
          <p:spPr>
            <a:xfrm>
              <a:off x="9537399" y="6319683"/>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570" name="Freeform: Shape 569">
              <a:extLst>
                <a:ext uri="{FF2B5EF4-FFF2-40B4-BE49-F238E27FC236}">
                  <a16:creationId xmlns:a16="http://schemas.microsoft.com/office/drawing/2014/main" id="{DA5B768F-795C-BB69-C2DD-014CFA0DAB3E}"/>
                </a:ext>
              </a:extLst>
            </p:cNvPr>
            <p:cNvSpPr/>
            <p:nvPr/>
          </p:nvSpPr>
          <p:spPr>
            <a:xfrm>
              <a:off x="11277709" y="6319683"/>
              <a:ext cx="435077" cy="435077"/>
            </a:xfrm>
            <a:custGeom>
              <a:avLst/>
              <a:gdLst>
                <a:gd name="connsiteX0" fmla="*/ 63710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0 w 435077"/>
                <a:gd name="connsiteY6" fmla="*/ 153827 h 435077"/>
                <a:gd name="connsiteX7" fmla="*/ 63710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0 h 435077"/>
                <a:gd name="connsiteX12" fmla="*/ 217539 w 435077"/>
                <a:gd name="connsiteY12" fmla="*/ 217539 h 435077"/>
                <a:gd name="connsiteX13" fmla="*/ 63710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7"/>
                  </a:moveTo>
                  <a:cubicBezTo>
                    <a:pt x="22922" y="113038"/>
                    <a:pt x="0" y="57702"/>
                    <a:pt x="0" y="0"/>
                  </a:cubicBezTo>
                  <a:lnTo>
                    <a:pt x="217539" y="0"/>
                  </a:lnTo>
                  <a:lnTo>
                    <a:pt x="435077" y="0"/>
                  </a:lnTo>
                  <a:cubicBezTo>
                    <a:pt x="435077" y="57702"/>
                    <a:pt x="412154" y="113038"/>
                    <a:pt x="371365" y="153827"/>
                  </a:cubicBezTo>
                  <a:cubicBezTo>
                    <a:pt x="330549" y="194616"/>
                    <a:pt x="275239" y="217539"/>
                    <a:pt x="217539" y="217539"/>
                  </a:cubicBezTo>
                  <a:cubicBezTo>
                    <a:pt x="159836" y="217539"/>
                    <a:pt x="104499" y="194616"/>
                    <a:pt x="63710" y="153827"/>
                  </a:cubicBezTo>
                  <a:close/>
                  <a:moveTo>
                    <a:pt x="63710" y="281250"/>
                  </a:moveTo>
                  <a:cubicBezTo>
                    <a:pt x="22922" y="322066"/>
                    <a:pt x="0" y="377375"/>
                    <a:pt x="0" y="435077"/>
                  </a:cubicBezTo>
                  <a:lnTo>
                    <a:pt x="217539" y="435077"/>
                  </a:lnTo>
                  <a:lnTo>
                    <a:pt x="435077" y="435077"/>
                  </a:lnTo>
                  <a:cubicBezTo>
                    <a:pt x="435077" y="377375"/>
                    <a:pt x="412154" y="322066"/>
                    <a:pt x="371365" y="281250"/>
                  </a:cubicBezTo>
                  <a:cubicBezTo>
                    <a:pt x="330549" y="240462"/>
                    <a:pt x="275239" y="217539"/>
                    <a:pt x="217539" y="217539"/>
                  </a:cubicBezTo>
                  <a:cubicBezTo>
                    <a:pt x="159836" y="217539"/>
                    <a:pt x="104499" y="240462"/>
                    <a:pt x="63710" y="281250"/>
                  </a:cubicBezTo>
                  <a:close/>
                </a:path>
              </a:pathLst>
            </a:custGeom>
            <a:grpFill/>
            <a:ln w="27192" cap="flat">
              <a:noFill/>
              <a:prstDash val="solid"/>
              <a:miter/>
            </a:ln>
          </p:spPr>
          <p:txBody>
            <a:bodyPr rtlCol="0" anchor="ctr"/>
            <a:lstStyle/>
            <a:p>
              <a:endParaRPr lang="uk-UA" sz="900"/>
            </a:p>
          </p:txBody>
        </p:sp>
        <p:sp>
          <p:nvSpPr>
            <p:cNvPr id="571" name="Freeform: Shape 570">
              <a:extLst>
                <a:ext uri="{FF2B5EF4-FFF2-40B4-BE49-F238E27FC236}">
                  <a16:creationId xmlns:a16="http://schemas.microsoft.com/office/drawing/2014/main" id="{DE13E892-8D6E-936F-6370-85ED71FB0A66}"/>
                </a:ext>
              </a:extLst>
            </p:cNvPr>
            <p:cNvSpPr/>
            <p:nvPr/>
          </p:nvSpPr>
          <p:spPr>
            <a:xfrm>
              <a:off x="10407554" y="631968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1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1" y="217539"/>
                  </a:lnTo>
                  <a:lnTo>
                    <a:pt x="0" y="435077"/>
                  </a:lnTo>
                  <a:close/>
                </a:path>
              </a:pathLst>
            </a:custGeom>
            <a:grpFill/>
            <a:ln w="27192" cap="flat">
              <a:noFill/>
              <a:prstDash val="solid"/>
              <a:miter/>
            </a:ln>
          </p:spPr>
          <p:txBody>
            <a:bodyPr rtlCol="0" anchor="ctr"/>
            <a:lstStyle/>
            <a:p>
              <a:endParaRPr lang="uk-UA" sz="900"/>
            </a:p>
          </p:txBody>
        </p:sp>
        <p:sp>
          <p:nvSpPr>
            <p:cNvPr id="572" name="Freeform: Shape 571">
              <a:extLst>
                <a:ext uri="{FF2B5EF4-FFF2-40B4-BE49-F238E27FC236}">
                  <a16:creationId xmlns:a16="http://schemas.microsoft.com/office/drawing/2014/main" id="{A9337616-36F8-37D7-AB71-8C8A72A8B83A}"/>
                </a:ext>
              </a:extLst>
            </p:cNvPr>
            <p:cNvSpPr/>
            <p:nvPr/>
          </p:nvSpPr>
          <p:spPr>
            <a:xfrm>
              <a:off x="12147864" y="6319683"/>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5 w 435077"/>
                <a:gd name="connsiteY3" fmla="*/ 27 h 435077"/>
                <a:gd name="connsiteX4" fmla="*/ 435077 w 435077"/>
                <a:gd name="connsiteY4" fmla="*/ 217539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5" y="27"/>
                  </a:lnTo>
                  <a:lnTo>
                    <a:pt x="435077" y="217539"/>
                  </a:lnTo>
                  <a:lnTo>
                    <a:pt x="217565"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573" name="Freeform: Shape 572">
              <a:extLst>
                <a:ext uri="{FF2B5EF4-FFF2-40B4-BE49-F238E27FC236}">
                  <a16:creationId xmlns:a16="http://schemas.microsoft.com/office/drawing/2014/main" id="{DC3BB092-BAC0-3346-22C0-8A8719C961AE}"/>
                </a:ext>
              </a:extLst>
            </p:cNvPr>
            <p:cNvSpPr/>
            <p:nvPr/>
          </p:nvSpPr>
          <p:spPr>
            <a:xfrm>
              <a:off x="13018045" y="6319683"/>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574" name="Freeform: Shape 573">
              <a:extLst>
                <a:ext uri="{FF2B5EF4-FFF2-40B4-BE49-F238E27FC236}">
                  <a16:creationId xmlns:a16="http://schemas.microsoft.com/office/drawing/2014/main" id="{F5A2398A-F772-000F-8CA2-5780578E24B9}"/>
                </a:ext>
              </a:extLst>
            </p:cNvPr>
            <p:cNvSpPr/>
            <p:nvPr/>
          </p:nvSpPr>
          <p:spPr>
            <a:xfrm>
              <a:off x="14758382" y="631968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8"/>
                    <a:pt x="0" y="57702"/>
                    <a:pt x="0" y="0"/>
                  </a:cubicBezTo>
                  <a:lnTo>
                    <a:pt x="217539" y="0"/>
                  </a:lnTo>
                  <a:lnTo>
                    <a:pt x="435077" y="0"/>
                  </a:lnTo>
                  <a:cubicBezTo>
                    <a:pt x="435077" y="57702"/>
                    <a:pt x="412155" y="113038"/>
                    <a:pt x="371367" y="153827"/>
                  </a:cubicBezTo>
                  <a:cubicBezTo>
                    <a:pt x="330550" y="194616"/>
                    <a:pt x="275241" y="217539"/>
                    <a:pt x="217539" y="217539"/>
                  </a:cubicBezTo>
                  <a:cubicBezTo>
                    <a:pt x="159836" y="217539"/>
                    <a:pt x="104501" y="194616"/>
                    <a:pt x="63712" y="153827"/>
                  </a:cubicBezTo>
                  <a:close/>
                  <a:moveTo>
                    <a:pt x="63712" y="281250"/>
                  </a:moveTo>
                  <a:cubicBezTo>
                    <a:pt x="22924" y="322066"/>
                    <a:pt x="0" y="377375"/>
                    <a:pt x="0" y="435077"/>
                  </a:cubicBezTo>
                  <a:lnTo>
                    <a:pt x="217539" y="435077"/>
                  </a:lnTo>
                  <a:lnTo>
                    <a:pt x="435077" y="435077"/>
                  </a:lnTo>
                  <a:cubicBezTo>
                    <a:pt x="435077" y="377375"/>
                    <a:pt x="412155" y="322066"/>
                    <a:pt x="371367" y="281250"/>
                  </a:cubicBezTo>
                  <a:cubicBezTo>
                    <a:pt x="330550" y="240462"/>
                    <a:pt x="275241" y="217539"/>
                    <a:pt x="217539" y="217539"/>
                  </a:cubicBezTo>
                  <a:cubicBezTo>
                    <a:pt x="159836" y="217539"/>
                    <a:pt x="104501" y="240462"/>
                    <a:pt x="63712" y="281250"/>
                  </a:cubicBezTo>
                  <a:close/>
                </a:path>
              </a:pathLst>
            </a:custGeom>
            <a:grpFill/>
            <a:ln w="27192" cap="flat">
              <a:noFill/>
              <a:prstDash val="solid"/>
              <a:miter/>
            </a:ln>
          </p:spPr>
          <p:txBody>
            <a:bodyPr rtlCol="0" anchor="ctr"/>
            <a:lstStyle/>
            <a:p>
              <a:endParaRPr lang="uk-UA" sz="900"/>
            </a:p>
          </p:txBody>
        </p:sp>
        <p:sp>
          <p:nvSpPr>
            <p:cNvPr id="575" name="Freeform: Shape 574">
              <a:extLst>
                <a:ext uri="{FF2B5EF4-FFF2-40B4-BE49-F238E27FC236}">
                  <a16:creationId xmlns:a16="http://schemas.microsoft.com/office/drawing/2014/main" id="{0AFFE39F-0F28-31FE-61A8-61EAB9731CC8}"/>
                </a:ext>
              </a:extLst>
            </p:cNvPr>
            <p:cNvSpPr/>
            <p:nvPr/>
          </p:nvSpPr>
          <p:spPr>
            <a:xfrm>
              <a:off x="13888227" y="631968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576" name="Freeform: Shape 575">
              <a:extLst>
                <a:ext uri="{FF2B5EF4-FFF2-40B4-BE49-F238E27FC236}">
                  <a16:creationId xmlns:a16="http://schemas.microsoft.com/office/drawing/2014/main" id="{EA1A7DE6-41B0-7027-E9EE-1E2F5E2F8F9A}"/>
                </a:ext>
              </a:extLst>
            </p:cNvPr>
            <p:cNvSpPr/>
            <p:nvPr/>
          </p:nvSpPr>
          <p:spPr>
            <a:xfrm>
              <a:off x="15628536" y="6319683"/>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7 w 435077"/>
                <a:gd name="connsiteY3" fmla="*/ 27 h 435077"/>
                <a:gd name="connsiteX4" fmla="*/ 435077 w 435077"/>
                <a:gd name="connsiteY4" fmla="*/ 217539 h 435077"/>
                <a:gd name="connsiteX5" fmla="*/ 217567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7" y="27"/>
                  </a:lnTo>
                  <a:lnTo>
                    <a:pt x="435077" y="217539"/>
                  </a:lnTo>
                  <a:lnTo>
                    <a:pt x="217567"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577" name="Freeform: Shape 576">
              <a:extLst>
                <a:ext uri="{FF2B5EF4-FFF2-40B4-BE49-F238E27FC236}">
                  <a16:creationId xmlns:a16="http://schemas.microsoft.com/office/drawing/2014/main" id="{B37BCFE3-B095-5573-C481-2580E4B5B124}"/>
                </a:ext>
              </a:extLst>
            </p:cNvPr>
            <p:cNvSpPr/>
            <p:nvPr/>
          </p:nvSpPr>
          <p:spPr>
            <a:xfrm>
              <a:off x="16498719" y="6319683"/>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578" name="Freeform: Shape 577">
              <a:extLst>
                <a:ext uri="{FF2B5EF4-FFF2-40B4-BE49-F238E27FC236}">
                  <a16:creationId xmlns:a16="http://schemas.microsoft.com/office/drawing/2014/main" id="{84B4ABEE-4B22-CA90-10D0-99708CD681AA}"/>
                </a:ext>
              </a:extLst>
            </p:cNvPr>
            <p:cNvSpPr/>
            <p:nvPr/>
          </p:nvSpPr>
          <p:spPr>
            <a:xfrm>
              <a:off x="18239029" y="6319683"/>
              <a:ext cx="435077" cy="435077"/>
            </a:xfrm>
            <a:custGeom>
              <a:avLst/>
              <a:gdLst>
                <a:gd name="connsiteX0" fmla="*/ 63710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0 w 435077"/>
                <a:gd name="connsiteY6" fmla="*/ 153827 h 435077"/>
                <a:gd name="connsiteX7" fmla="*/ 63710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0 h 435077"/>
                <a:gd name="connsiteX12" fmla="*/ 217539 w 435077"/>
                <a:gd name="connsiteY12" fmla="*/ 217539 h 435077"/>
                <a:gd name="connsiteX13" fmla="*/ 63710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7"/>
                  </a:moveTo>
                  <a:cubicBezTo>
                    <a:pt x="22922" y="113038"/>
                    <a:pt x="0" y="57702"/>
                    <a:pt x="0" y="0"/>
                  </a:cubicBezTo>
                  <a:lnTo>
                    <a:pt x="217539" y="0"/>
                  </a:lnTo>
                  <a:lnTo>
                    <a:pt x="435077" y="0"/>
                  </a:lnTo>
                  <a:cubicBezTo>
                    <a:pt x="435077" y="57702"/>
                    <a:pt x="412154" y="113038"/>
                    <a:pt x="371365" y="153827"/>
                  </a:cubicBezTo>
                  <a:cubicBezTo>
                    <a:pt x="330577" y="194616"/>
                    <a:pt x="275241" y="217539"/>
                    <a:pt x="217539" y="217539"/>
                  </a:cubicBezTo>
                  <a:cubicBezTo>
                    <a:pt x="159836" y="217539"/>
                    <a:pt x="104527" y="194616"/>
                    <a:pt x="63710" y="153827"/>
                  </a:cubicBezTo>
                  <a:close/>
                  <a:moveTo>
                    <a:pt x="63710" y="281250"/>
                  </a:moveTo>
                  <a:cubicBezTo>
                    <a:pt x="22922" y="322066"/>
                    <a:pt x="0" y="377375"/>
                    <a:pt x="0" y="435077"/>
                  </a:cubicBezTo>
                  <a:lnTo>
                    <a:pt x="217539" y="435077"/>
                  </a:lnTo>
                  <a:lnTo>
                    <a:pt x="435077" y="435077"/>
                  </a:lnTo>
                  <a:cubicBezTo>
                    <a:pt x="435077" y="377375"/>
                    <a:pt x="412154" y="322066"/>
                    <a:pt x="371365" y="281250"/>
                  </a:cubicBezTo>
                  <a:cubicBezTo>
                    <a:pt x="330577" y="240462"/>
                    <a:pt x="275241" y="217539"/>
                    <a:pt x="217539" y="217539"/>
                  </a:cubicBezTo>
                  <a:cubicBezTo>
                    <a:pt x="159836" y="217539"/>
                    <a:pt x="104527" y="240462"/>
                    <a:pt x="63710" y="281250"/>
                  </a:cubicBezTo>
                  <a:close/>
                </a:path>
              </a:pathLst>
            </a:custGeom>
            <a:grpFill/>
            <a:ln w="27192" cap="flat">
              <a:noFill/>
              <a:prstDash val="solid"/>
              <a:miter/>
            </a:ln>
          </p:spPr>
          <p:txBody>
            <a:bodyPr rtlCol="0" anchor="ctr"/>
            <a:lstStyle/>
            <a:p>
              <a:endParaRPr lang="uk-UA" sz="900"/>
            </a:p>
          </p:txBody>
        </p:sp>
        <p:sp>
          <p:nvSpPr>
            <p:cNvPr id="579" name="Freeform: Shape 578">
              <a:extLst>
                <a:ext uri="{FF2B5EF4-FFF2-40B4-BE49-F238E27FC236}">
                  <a16:creationId xmlns:a16="http://schemas.microsoft.com/office/drawing/2014/main" id="{3B05F35B-5359-0A39-24D9-47CAE1950704}"/>
                </a:ext>
              </a:extLst>
            </p:cNvPr>
            <p:cNvSpPr/>
            <p:nvPr/>
          </p:nvSpPr>
          <p:spPr>
            <a:xfrm>
              <a:off x="17368874" y="631968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0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0" y="217539"/>
                  </a:lnTo>
                  <a:lnTo>
                    <a:pt x="0" y="435077"/>
                  </a:lnTo>
                  <a:close/>
                </a:path>
              </a:pathLst>
            </a:custGeom>
            <a:grpFill/>
            <a:ln w="27192" cap="flat">
              <a:noFill/>
              <a:prstDash val="solid"/>
              <a:miter/>
            </a:ln>
          </p:spPr>
          <p:txBody>
            <a:bodyPr rtlCol="0" anchor="ctr"/>
            <a:lstStyle/>
            <a:p>
              <a:endParaRPr lang="uk-UA" sz="900"/>
            </a:p>
          </p:txBody>
        </p:sp>
        <p:sp>
          <p:nvSpPr>
            <p:cNvPr id="580" name="Freeform: Shape 579">
              <a:extLst>
                <a:ext uri="{FF2B5EF4-FFF2-40B4-BE49-F238E27FC236}">
                  <a16:creationId xmlns:a16="http://schemas.microsoft.com/office/drawing/2014/main" id="{62469147-94C7-1DB8-302E-C5717ABF9947}"/>
                </a:ext>
              </a:extLst>
            </p:cNvPr>
            <p:cNvSpPr/>
            <p:nvPr/>
          </p:nvSpPr>
          <p:spPr>
            <a:xfrm>
              <a:off x="19109210" y="6319683"/>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39 w 435077"/>
                <a:gd name="connsiteY3" fmla="*/ 27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39" y="27"/>
                  </a:lnTo>
                  <a:lnTo>
                    <a:pt x="435077" y="217539"/>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581" name="Freeform: Shape 580">
              <a:extLst>
                <a:ext uri="{FF2B5EF4-FFF2-40B4-BE49-F238E27FC236}">
                  <a16:creationId xmlns:a16="http://schemas.microsoft.com/office/drawing/2014/main" id="{747C1BF2-24AB-D88D-1A26-B9BAB517F2FD}"/>
                </a:ext>
              </a:extLst>
            </p:cNvPr>
            <p:cNvSpPr/>
            <p:nvPr/>
          </p:nvSpPr>
          <p:spPr>
            <a:xfrm>
              <a:off x="19979365" y="6319683"/>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582" name="Freeform: Shape 581">
              <a:extLst>
                <a:ext uri="{FF2B5EF4-FFF2-40B4-BE49-F238E27FC236}">
                  <a16:creationId xmlns:a16="http://schemas.microsoft.com/office/drawing/2014/main" id="{EC23B9DF-3FE4-94A3-81E9-B574516FA62D}"/>
                </a:ext>
              </a:extLst>
            </p:cNvPr>
            <p:cNvSpPr/>
            <p:nvPr/>
          </p:nvSpPr>
          <p:spPr>
            <a:xfrm>
              <a:off x="21719702" y="631968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897" y="113038"/>
                    <a:pt x="0" y="57702"/>
                    <a:pt x="0" y="0"/>
                  </a:cubicBezTo>
                  <a:lnTo>
                    <a:pt x="217539" y="0"/>
                  </a:lnTo>
                  <a:lnTo>
                    <a:pt x="435077" y="0"/>
                  </a:lnTo>
                  <a:cubicBezTo>
                    <a:pt x="435077" y="57702"/>
                    <a:pt x="412155" y="113038"/>
                    <a:pt x="371339" y="153827"/>
                  </a:cubicBezTo>
                  <a:cubicBezTo>
                    <a:pt x="330550" y="194616"/>
                    <a:pt x="275215" y="217539"/>
                    <a:pt x="217539" y="217539"/>
                  </a:cubicBezTo>
                  <a:cubicBezTo>
                    <a:pt x="159838" y="217539"/>
                    <a:pt x="104501" y="194616"/>
                    <a:pt x="63712" y="153827"/>
                  </a:cubicBezTo>
                  <a:close/>
                  <a:moveTo>
                    <a:pt x="63712" y="281250"/>
                  </a:moveTo>
                  <a:cubicBezTo>
                    <a:pt x="22897" y="322066"/>
                    <a:pt x="0" y="377375"/>
                    <a:pt x="0" y="435077"/>
                  </a:cubicBezTo>
                  <a:lnTo>
                    <a:pt x="217539" y="435077"/>
                  </a:lnTo>
                  <a:lnTo>
                    <a:pt x="435077" y="435077"/>
                  </a:lnTo>
                  <a:cubicBezTo>
                    <a:pt x="435077" y="377375"/>
                    <a:pt x="412155" y="322066"/>
                    <a:pt x="371339" y="281250"/>
                  </a:cubicBezTo>
                  <a:cubicBezTo>
                    <a:pt x="330550" y="240462"/>
                    <a:pt x="275215" y="217539"/>
                    <a:pt x="217539" y="217539"/>
                  </a:cubicBezTo>
                  <a:cubicBezTo>
                    <a:pt x="159838" y="217539"/>
                    <a:pt x="104501" y="240462"/>
                    <a:pt x="63712" y="281250"/>
                  </a:cubicBezTo>
                  <a:close/>
                </a:path>
              </a:pathLst>
            </a:custGeom>
            <a:grpFill/>
            <a:ln w="27192" cap="flat">
              <a:noFill/>
              <a:prstDash val="solid"/>
              <a:miter/>
            </a:ln>
          </p:spPr>
          <p:txBody>
            <a:bodyPr rtlCol="0" anchor="ctr"/>
            <a:lstStyle/>
            <a:p>
              <a:endParaRPr lang="uk-UA" sz="900"/>
            </a:p>
          </p:txBody>
        </p:sp>
        <p:sp>
          <p:nvSpPr>
            <p:cNvPr id="583" name="Freeform: Shape 582">
              <a:extLst>
                <a:ext uri="{FF2B5EF4-FFF2-40B4-BE49-F238E27FC236}">
                  <a16:creationId xmlns:a16="http://schemas.microsoft.com/office/drawing/2014/main" id="{EF5C5589-EBE1-4D83-3F73-A08A9076BFEC}"/>
                </a:ext>
              </a:extLst>
            </p:cNvPr>
            <p:cNvSpPr/>
            <p:nvPr/>
          </p:nvSpPr>
          <p:spPr>
            <a:xfrm>
              <a:off x="20849520" y="6319683"/>
              <a:ext cx="435077" cy="435077"/>
            </a:xfrm>
            <a:custGeom>
              <a:avLst/>
              <a:gdLst>
                <a:gd name="connsiteX0" fmla="*/ 435077 w 435077"/>
                <a:gd name="connsiteY0" fmla="*/ 435077 h 435077"/>
                <a:gd name="connsiteX1" fmla="*/ 435077 w 435077"/>
                <a:gd name="connsiteY1" fmla="*/ 0 h 435077"/>
                <a:gd name="connsiteX2" fmla="*/ 217565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584" name="Freeform: Shape 583">
              <a:extLst>
                <a:ext uri="{FF2B5EF4-FFF2-40B4-BE49-F238E27FC236}">
                  <a16:creationId xmlns:a16="http://schemas.microsoft.com/office/drawing/2014/main" id="{4049B1FD-7041-88F7-793F-A49892D64A67}"/>
                </a:ext>
              </a:extLst>
            </p:cNvPr>
            <p:cNvSpPr/>
            <p:nvPr/>
          </p:nvSpPr>
          <p:spPr>
            <a:xfrm>
              <a:off x="22589856" y="6319683"/>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7 w 435077"/>
                <a:gd name="connsiteY3" fmla="*/ 27 h 435077"/>
                <a:gd name="connsiteX4" fmla="*/ 435077 w 435077"/>
                <a:gd name="connsiteY4" fmla="*/ 217539 h 435077"/>
                <a:gd name="connsiteX5" fmla="*/ 217567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7" y="27"/>
                  </a:lnTo>
                  <a:lnTo>
                    <a:pt x="435077" y="217539"/>
                  </a:lnTo>
                  <a:lnTo>
                    <a:pt x="217567"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585" name="Freeform: Shape 584">
              <a:extLst>
                <a:ext uri="{FF2B5EF4-FFF2-40B4-BE49-F238E27FC236}">
                  <a16:creationId xmlns:a16="http://schemas.microsoft.com/office/drawing/2014/main" id="{89083359-B57B-CF9C-ED05-1EBD475F725E}"/>
                </a:ext>
              </a:extLst>
            </p:cNvPr>
            <p:cNvSpPr/>
            <p:nvPr/>
          </p:nvSpPr>
          <p:spPr>
            <a:xfrm>
              <a:off x="23460039" y="6319683"/>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586" name="Freeform: Shape 585">
              <a:extLst>
                <a:ext uri="{FF2B5EF4-FFF2-40B4-BE49-F238E27FC236}">
                  <a16:creationId xmlns:a16="http://schemas.microsoft.com/office/drawing/2014/main" id="{26AEA455-288C-E855-5B11-62CEA30F5977}"/>
                </a:ext>
              </a:extLst>
            </p:cNvPr>
            <p:cNvSpPr/>
            <p:nvPr/>
          </p:nvSpPr>
          <p:spPr>
            <a:xfrm>
              <a:off x="24330194" y="631968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587" name="Freeform: Shape 586">
              <a:extLst>
                <a:ext uri="{FF2B5EF4-FFF2-40B4-BE49-F238E27FC236}">
                  <a16:creationId xmlns:a16="http://schemas.microsoft.com/office/drawing/2014/main" id="{2A5C4725-8EAB-2744-3846-3D7EE39DCA00}"/>
                </a:ext>
              </a:extLst>
            </p:cNvPr>
            <p:cNvSpPr/>
            <p:nvPr/>
          </p:nvSpPr>
          <p:spPr>
            <a:xfrm>
              <a:off x="835769" y="196890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588" name="Freeform: Shape 587">
              <a:extLst>
                <a:ext uri="{FF2B5EF4-FFF2-40B4-BE49-F238E27FC236}">
                  <a16:creationId xmlns:a16="http://schemas.microsoft.com/office/drawing/2014/main" id="{A26F120D-71FA-9F09-574A-0085301AD6BD}"/>
                </a:ext>
              </a:extLst>
            </p:cNvPr>
            <p:cNvSpPr/>
            <p:nvPr/>
          </p:nvSpPr>
          <p:spPr>
            <a:xfrm>
              <a:off x="-34398" y="1968909"/>
              <a:ext cx="435063" cy="435077"/>
            </a:xfrm>
            <a:custGeom>
              <a:avLst/>
              <a:gdLst>
                <a:gd name="connsiteX0" fmla="*/ 0 w 435063"/>
                <a:gd name="connsiteY0" fmla="*/ 435075 h 435077"/>
                <a:gd name="connsiteX1" fmla="*/ 217525 w 435063"/>
                <a:gd name="connsiteY1" fmla="*/ 435075 h 435077"/>
                <a:gd name="connsiteX2" fmla="*/ 217525 w 435063"/>
                <a:gd name="connsiteY2" fmla="*/ 217547 h 435077"/>
                <a:gd name="connsiteX3" fmla="*/ 0 w 435063"/>
                <a:gd name="connsiteY3" fmla="*/ 435075 h 435077"/>
                <a:gd name="connsiteX4" fmla="*/ 217525 w 435063"/>
                <a:gd name="connsiteY4" fmla="*/ 0 h 435077"/>
                <a:gd name="connsiteX5" fmla="*/ 3 w 435063"/>
                <a:gd name="connsiteY5" fmla="*/ 0 h 435077"/>
                <a:gd name="connsiteX6" fmla="*/ 217525 w 435063"/>
                <a:gd name="connsiteY6" fmla="*/ 217528 h 435077"/>
                <a:gd name="connsiteX7" fmla="*/ 217525 w 435063"/>
                <a:gd name="connsiteY7" fmla="*/ 0 h 435077"/>
                <a:gd name="connsiteX8" fmla="*/ 435064 w 435063"/>
                <a:gd name="connsiteY8" fmla="*/ 435077 h 435077"/>
                <a:gd name="connsiteX9" fmla="*/ 217552 w 435063"/>
                <a:gd name="connsiteY9" fmla="*/ 435077 h 435077"/>
                <a:gd name="connsiteX10" fmla="*/ 435064 w 435063"/>
                <a:gd name="connsiteY10" fmla="*/ 217547 h 435077"/>
                <a:gd name="connsiteX11" fmla="*/ 435064 w 435063"/>
                <a:gd name="connsiteY11" fmla="*/ 435077 h 435077"/>
                <a:gd name="connsiteX12" fmla="*/ 435064 w 435063"/>
                <a:gd name="connsiteY12" fmla="*/ 3 h 435077"/>
                <a:gd name="connsiteX13" fmla="*/ 217552 w 435063"/>
                <a:gd name="connsiteY13" fmla="*/ 3 h 435077"/>
                <a:gd name="connsiteX14" fmla="*/ 435064 w 435063"/>
                <a:gd name="connsiteY14" fmla="*/ 217531 h 435077"/>
                <a:gd name="connsiteX15" fmla="*/ 435064 w 435063"/>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63" h="435077">
                  <a:moveTo>
                    <a:pt x="0" y="435075"/>
                  </a:moveTo>
                  <a:lnTo>
                    <a:pt x="217525" y="435075"/>
                  </a:lnTo>
                  <a:lnTo>
                    <a:pt x="217525" y="217547"/>
                  </a:lnTo>
                  <a:lnTo>
                    <a:pt x="0" y="435075"/>
                  </a:lnTo>
                  <a:close/>
                  <a:moveTo>
                    <a:pt x="217525" y="0"/>
                  </a:moveTo>
                  <a:lnTo>
                    <a:pt x="3" y="0"/>
                  </a:lnTo>
                  <a:lnTo>
                    <a:pt x="217525" y="217528"/>
                  </a:lnTo>
                  <a:lnTo>
                    <a:pt x="217525" y="0"/>
                  </a:lnTo>
                  <a:close/>
                  <a:moveTo>
                    <a:pt x="435064" y="435077"/>
                  </a:moveTo>
                  <a:lnTo>
                    <a:pt x="217552" y="435077"/>
                  </a:lnTo>
                  <a:lnTo>
                    <a:pt x="435064" y="217547"/>
                  </a:lnTo>
                  <a:lnTo>
                    <a:pt x="435064" y="435077"/>
                  </a:lnTo>
                  <a:close/>
                  <a:moveTo>
                    <a:pt x="435064" y="3"/>
                  </a:moveTo>
                  <a:lnTo>
                    <a:pt x="217552" y="3"/>
                  </a:lnTo>
                  <a:lnTo>
                    <a:pt x="435064" y="217531"/>
                  </a:lnTo>
                  <a:lnTo>
                    <a:pt x="435064" y="3"/>
                  </a:lnTo>
                  <a:close/>
                </a:path>
              </a:pathLst>
            </a:custGeom>
            <a:grpFill/>
            <a:ln w="27192" cap="flat">
              <a:noFill/>
              <a:prstDash val="solid"/>
              <a:miter/>
            </a:ln>
          </p:spPr>
          <p:txBody>
            <a:bodyPr rtlCol="0" anchor="ctr"/>
            <a:lstStyle/>
            <a:p>
              <a:endParaRPr lang="uk-UA" sz="900"/>
            </a:p>
          </p:txBody>
        </p:sp>
        <p:sp>
          <p:nvSpPr>
            <p:cNvPr id="589" name="Freeform: Shape 588">
              <a:extLst>
                <a:ext uri="{FF2B5EF4-FFF2-40B4-BE49-F238E27FC236}">
                  <a16:creationId xmlns:a16="http://schemas.microsoft.com/office/drawing/2014/main" id="{BB6279EB-A766-DB42-809C-4EAF13C89394}"/>
                </a:ext>
              </a:extLst>
            </p:cNvPr>
            <p:cNvSpPr/>
            <p:nvPr/>
          </p:nvSpPr>
          <p:spPr>
            <a:xfrm>
              <a:off x="1705924" y="1968909"/>
              <a:ext cx="435077" cy="435077"/>
            </a:xfrm>
            <a:custGeom>
              <a:avLst/>
              <a:gdLst>
                <a:gd name="connsiteX0" fmla="*/ 371366 w 435077"/>
                <a:gd name="connsiteY0" fmla="*/ 63714 h 435077"/>
                <a:gd name="connsiteX1" fmla="*/ 435077 w 435077"/>
                <a:gd name="connsiteY1" fmla="*/ 217539 h 435077"/>
                <a:gd name="connsiteX2" fmla="*/ 217729 w 435077"/>
                <a:gd name="connsiteY2" fmla="*/ 217539 h 435077"/>
                <a:gd name="connsiteX3" fmla="*/ 371366 w 435077"/>
                <a:gd name="connsiteY3" fmla="*/ 281253 h 435077"/>
                <a:gd name="connsiteX4" fmla="*/ 435077 w 435077"/>
                <a:gd name="connsiteY4" fmla="*/ 435077 h 435077"/>
                <a:gd name="connsiteX5" fmla="*/ 217539 w 435077"/>
                <a:gd name="connsiteY5" fmla="*/ 435077 h 435077"/>
                <a:gd name="connsiteX6" fmla="*/ 0 w 435077"/>
                <a:gd name="connsiteY6" fmla="*/ 435077 h 435077"/>
                <a:gd name="connsiteX7" fmla="*/ 63711 w 435077"/>
                <a:gd name="connsiteY7" fmla="*/ 281253 h 435077"/>
                <a:gd name="connsiteX8" fmla="*/ 217375 w 435077"/>
                <a:gd name="connsiteY8" fmla="*/ 217539 h 435077"/>
                <a:gd name="connsiteX9" fmla="*/ 0 w 435077"/>
                <a:gd name="connsiteY9" fmla="*/ 217539 h 435077"/>
                <a:gd name="connsiteX10" fmla="*/ 63711 w 435077"/>
                <a:gd name="connsiteY10" fmla="*/ 63714 h 435077"/>
                <a:gd name="connsiteX11" fmla="*/ 217539 w 435077"/>
                <a:gd name="connsiteY11" fmla="*/ 0 h 435077"/>
                <a:gd name="connsiteX12" fmla="*/ 371366 w 435077"/>
                <a:gd name="connsiteY12" fmla="*/ 63714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4"/>
                  </a:moveTo>
                  <a:cubicBezTo>
                    <a:pt x="412154" y="104511"/>
                    <a:pt x="435077" y="159842"/>
                    <a:pt x="435077" y="217539"/>
                  </a:cubicBezTo>
                  <a:lnTo>
                    <a:pt x="217729" y="217539"/>
                  </a:lnTo>
                  <a:cubicBezTo>
                    <a:pt x="275349" y="217582"/>
                    <a:pt x="330604" y="240497"/>
                    <a:pt x="371366" y="281253"/>
                  </a:cubicBezTo>
                  <a:cubicBezTo>
                    <a:pt x="412154" y="322050"/>
                    <a:pt x="435077" y="377381"/>
                    <a:pt x="435077" y="435077"/>
                  </a:cubicBezTo>
                  <a:lnTo>
                    <a:pt x="217539" y="435077"/>
                  </a:lnTo>
                  <a:lnTo>
                    <a:pt x="0" y="435077"/>
                  </a:lnTo>
                  <a:cubicBezTo>
                    <a:pt x="0" y="377381"/>
                    <a:pt x="22923" y="322050"/>
                    <a:pt x="63711" y="281253"/>
                  </a:cubicBezTo>
                  <a:cubicBezTo>
                    <a:pt x="104473" y="240497"/>
                    <a:pt x="159755" y="217582"/>
                    <a:pt x="217375" y="217539"/>
                  </a:cubicBezTo>
                  <a:lnTo>
                    <a:pt x="0" y="217539"/>
                  </a:lnTo>
                  <a:cubicBezTo>
                    <a:pt x="0" y="159842"/>
                    <a:pt x="22923" y="104511"/>
                    <a:pt x="63711" y="63714"/>
                  </a:cubicBezTo>
                  <a:cubicBezTo>
                    <a:pt x="104527" y="22918"/>
                    <a:pt x="159836" y="0"/>
                    <a:pt x="217539" y="0"/>
                  </a:cubicBezTo>
                  <a:cubicBezTo>
                    <a:pt x="275241" y="0"/>
                    <a:pt x="330577" y="22918"/>
                    <a:pt x="371366" y="63714"/>
                  </a:cubicBezTo>
                  <a:close/>
                </a:path>
              </a:pathLst>
            </a:custGeom>
            <a:grpFill/>
            <a:ln w="27192" cap="flat">
              <a:noFill/>
              <a:prstDash val="solid"/>
              <a:miter/>
            </a:ln>
          </p:spPr>
          <p:txBody>
            <a:bodyPr rtlCol="0" anchor="ctr"/>
            <a:lstStyle/>
            <a:p>
              <a:endParaRPr lang="uk-UA" sz="900"/>
            </a:p>
          </p:txBody>
        </p:sp>
        <p:sp>
          <p:nvSpPr>
            <p:cNvPr id="590" name="Freeform: Shape 589">
              <a:extLst>
                <a:ext uri="{FF2B5EF4-FFF2-40B4-BE49-F238E27FC236}">
                  <a16:creationId xmlns:a16="http://schemas.microsoft.com/office/drawing/2014/main" id="{D9793E90-D2E9-7CC8-D71E-7036FE5AF88B}"/>
                </a:ext>
              </a:extLst>
            </p:cNvPr>
            <p:cNvSpPr/>
            <p:nvPr/>
          </p:nvSpPr>
          <p:spPr>
            <a:xfrm>
              <a:off x="2576106" y="1968909"/>
              <a:ext cx="435077" cy="435074"/>
            </a:xfrm>
            <a:custGeom>
              <a:avLst/>
              <a:gdLst>
                <a:gd name="connsiteX0" fmla="*/ 217539 w 435077"/>
                <a:gd name="connsiteY0" fmla="*/ 217533 h 435074"/>
                <a:gd name="connsiteX1" fmla="*/ 217539 w 435077"/>
                <a:gd name="connsiteY1" fmla="*/ 0 h 435074"/>
                <a:gd name="connsiteX2" fmla="*/ 0 w 435077"/>
                <a:gd name="connsiteY2" fmla="*/ 0 h 435074"/>
                <a:gd name="connsiteX3" fmla="*/ 217539 w 435077"/>
                <a:gd name="connsiteY3" fmla="*/ 217539 h 435074"/>
                <a:gd name="connsiteX4" fmla="*/ 0 w 435077"/>
                <a:gd name="connsiteY4" fmla="*/ 435075 h 435074"/>
                <a:gd name="connsiteX5" fmla="*/ 217539 w 435077"/>
                <a:gd name="connsiteY5" fmla="*/ 435075 h 435074"/>
                <a:gd name="connsiteX6" fmla="*/ 217539 w 435077"/>
                <a:gd name="connsiteY6" fmla="*/ 435072 h 435074"/>
                <a:gd name="connsiteX7" fmla="*/ 435050 w 435077"/>
                <a:gd name="connsiteY7" fmla="*/ 217541 h 435074"/>
                <a:gd name="connsiteX8" fmla="*/ 435077 w 435077"/>
                <a:gd name="connsiteY8" fmla="*/ 217541 h 435074"/>
                <a:gd name="connsiteX9" fmla="*/ 435077 w 435077"/>
                <a:gd name="connsiteY9" fmla="*/ 217536 h 435074"/>
                <a:gd name="connsiteX10" fmla="*/ 435077 w 435077"/>
                <a:gd name="connsiteY10" fmla="*/ 217533 h 435074"/>
                <a:gd name="connsiteX11" fmla="*/ 435050 w 435077"/>
                <a:gd name="connsiteY11" fmla="*/ 217533 h 435074"/>
                <a:gd name="connsiteX12" fmla="*/ 217539 w 435077"/>
                <a:gd name="connsiteY12" fmla="*/ 3 h 435074"/>
                <a:gd name="connsiteX13" fmla="*/ 217539 w 435077"/>
                <a:gd name="connsiteY13" fmla="*/ 217533 h 435074"/>
                <a:gd name="connsiteX14" fmla="*/ 217539 w 435077"/>
                <a:gd name="connsiteY14" fmla="*/ 217533 h 43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4">
                  <a:moveTo>
                    <a:pt x="217539" y="217533"/>
                  </a:moveTo>
                  <a:lnTo>
                    <a:pt x="217539" y="0"/>
                  </a:lnTo>
                  <a:lnTo>
                    <a:pt x="0" y="0"/>
                  </a:lnTo>
                  <a:lnTo>
                    <a:pt x="217539" y="217539"/>
                  </a:lnTo>
                  <a:lnTo>
                    <a:pt x="0" y="435075"/>
                  </a:lnTo>
                  <a:lnTo>
                    <a:pt x="217539" y="435075"/>
                  </a:lnTo>
                  <a:lnTo>
                    <a:pt x="217539" y="435072"/>
                  </a:lnTo>
                  <a:lnTo>
                    <a:pt x="435050" y="217541"/>
                  </a:lnTo>
                  <a:lnTo>
                    <a:pt x="435077" y="217541"/>
                  </a:lnTo>
                  <a:lnTo>
                    <a:pt x="435077" y="217536"/>
                  </a:lnTo>
                  <a:lnTo>
                    <a:pt x="435077" y="217533"/>
                  </a:lnTo>
                  <a:lnTo>
                    <a:pt x="435050" y="217533"/>
                  </a:lnTo>
                  <a:lnTo>
                    <a:pt x="217539" y="3"/>
                  </a:lnTo>
                  <a:lnTo>
                    <a:pt x="217539" y="217533"/>
                  </a:lnTo>
                  <a:lnTo>
                    <a:pt x="217539" y="217533"/>
                  </a:lnTo>
                  <a:close/>
                </a:path>
              </a:pathLst>
            </a:custGeom>
            <a:grpFill/>
            <a:ln w="27192" cap="flat">
              <a:noFill/>
              <a:prstDash val="solid"/>
              <a:miter/>
            </a:ln>
          </p:spPr>
          <p:txBody>
            <a:bodyPr rtlCol="0" anchor="ctr"/>
            <a:lstStyle/>
            <a:p>
              <a:endParaRPr lang="uk-UA" sz="900"/>
            </a:p>
          </p:txBody>
        </p:sp>
        <p:sp>
          <p:nvSpPr>
            <p:cNvPr id="591" name="Freeform: Shape 590">
              <a:extLst>
                <a:ext uri="{FF2B5EF4-FFF2-40B4-BE49-F238E27FC236}">
                  <a16:creationId xmlns:a16="http://schemas.microsoft.com/office/drawing/2014/main" id="{28B65969-941F-E95F-706E-365769D9EB62}"/>
                </a:ext>
              </a:extLst>
            </p:cNvPr>
            <p:cNvSpPr/>
            <p:nvPr/>
          </p:nvSpPr>
          <p:spPr>
            <a:xfrm>
              <a:off x="4316416" y="1968909"/>
              <a:ext cx="435077" cy="435077"/>
            </a:xfrm>
            <a:custGeom>
              <a:avLst/>
              <a:gdLst>
                <a:gd name="connsiteX0" fmla="*/ 217565 w 435077"/>
                <a:gd name="connsiteY0" fmla="*/ 0 h 435077"/>
                <a:gd name="connsiteX1" fmla="*/ 217539 w 435077"/>
                <a:gd name="connsiteY1" fmla="*/ 0 h 435077"/>
                <a:gd name="connsiteX2" fmla="*/ 27 w 435077"/>
                <a:gd name="connsiteY2" fmla="*/ 0 h 435077"/>
                <a:gd name="connsiteX3" fmla="*/ 27 w 435077"/>
                <a:gd name="connsiteY3" fmla="*/ 217539 h 435077"/>
                <a:gd name="connsiteX4" fmla="*/ 217565 w 435077"/>
                <a:gd name="connsiteY4" fmla="*/ 5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65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65" y="0"/>
                  </a:moveTo>
                  <a:lnTo>
                    <a:pt x="217539" y="0"/>
                  </a:lnTo>
                  <a:lnTo>
                    <a:pt x="27" y="0"/>
                  </a:lnTo>
                  <a:lnTo>
                    <a:pt x="27" y="217539"/>
                  </a:lnTo>
                  <a:lnTo>
                    <a:pt x="217565" y="5"/>
                  </a:lnTo>
                  <a:lnTo>
                    <a:pt x="435077" y="217539"/>
                  </a:lnTo>
                  <a:lnTo>
                    <a:pt x="217539" y="435077"/>
                  </a:lnTo>
                  <a:lnTo>
                    <a:pt x="0" y="217539"/>
                  </a:lnTo>
                  <a:lnTo>
                    <a:pt x="0" y="435077"/>
                  </a:lnTo>
                  <a:lnTo>
                    <a:pt x="217539" y="435077"/>
                  </a:lnTo>
                  <a:lnTo>
                    <a:pt x="435077" y="435077"/>
                  </a:lnTo>
                  <a:lnTo>
                    <a:pt x="435077" y="217539"/>
                  </a:lnTo>
                  <a:lnTo>
                    <a:pt x="435077" y="0"/>
                  </a:lnTo>
                  <a:lnTo>
                    <a:pt x="217565" y="0"/>
                  </a:lnTo>
                  <a:close/>
                </a:path>
              </a:pathLst>
            </a:custGeom>
            <a:grpFill/>
            <a:ln w="27192" cap="flat">
              <a:noFill/>
              <a:prstDash val="solid"/>
              <a:miter/>
            </a:ln>
          </p:spPr>
          <p:txBody>
            <a:bodyPr rtlCol="0" anchor="ctr"/>
            <a:lstStyle/>
            <a:p>
              <a:endParaRPr lang="uk-UA" sz="900"/>
            </a:p>
          </p:txBody>
        </p:sp>
        <p:sp>
          <p:nvSpPr>
            <p:cNvPr id="592" name="Freeform: Shape 591">
              <a:extLst>
                <a:ext uri="{FF2B5EF4-FFF2-40B4-BE49-F238E27FC236}">
                  <a16:creationId xmlns:a16="http://schemas.microsoft.com/office/drawing/2014/main" id="{E8097A05-BE03-1400-D8FE-7DD2780B6C2F}"/>
                </a:ext>
              </a:extLst>
            </p:cNvPr>
            <p:cNvSpPr/>
            <p:nvPr/>
          </p:nvSpPr>
          <p:spPr>
            <a:xfrm>
              <a:off x="3446261" y="1968909"/>
              <a:ext cx="435077" cy="435077"/>
            </a:xfrm>
            <a:custGeom>
              <a:avLst/>
              <a:gdLst>
                <a:gd name="connsiteX0" fmla="*/ 0 w 435077"/>
                <a:gd name="connsiteY0" fmla="*/ 435077 h 435077"/>
                <a:gd name="connsiteX1" fmla="*/ 217539 w 435077"/>
                <a:gd name="connsiteY1" fmla="*/ 435077 h 435077"/>
                <a:gd name="connsiteX2" fmla="*/ 217539 w 435077"/>
                <a:gd name="connsiteY2" fmla="*/ 217547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28 h 435077"/>
                <a:gd name="connsiteX7" fmla="*/ 217539 w 435077"/>
                <a:gd name="connsiteY7" fmla="*/ 0 h 435077"/>
                <a:gd name="connsiteX8" fmla="*/ 435077 w 435077"/>
                <a:gd name="connsiteY8" fmla="*/ 435077 h 435077"/>
                <a:gd name="connsiteX9" fmla="*/ 217566 w 435077"/>
                <a:gd name="connsiteY9" fmla="*/ 435077 h 435077"/>
                <a:gd name="connsiteX10" fmla="*/ 435077 w 435077"/>
                <a:gd name="connsiteY10" fmla="*/ 217547 h 435077"/>
                <a:gd name="connsiteX11" fmla="*/ 435077 w 435077"/>
                <a:gd name="connsiteY11" fmla="*/ 435077 h 435077"/>
                <a:gd name="connsiteX12" fmla="*/ 435077 w 435077"/>
                <a:gd name="connsiteY12" fmla="*/ 3 h 435077"/>
                <a:gd name="connsiteX13" fmla="*/ 217566 w 435077"/>
                <a:gd name="connsiteY13" fmla="*/ 3 h 435077"/>
                <a:gd name="connsiteX14" fmla="*/ 435077 w 435077"/>
                <a:gd name="connsiteY14" fmla="*/ 217531 h 435077"/>
                <a:gd name="connsiteX15" fmla="*/ 435077 w 435077"/>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47"/>
                  </a:lnTo>
                  <a:lnTo>
                    <a:pt x="0" y="435077"/>
                  </a:lnTo>
                  <a:close/>
                  <a:moveTo>
                    <a:pt x="217539" y="0"/>
                  </a:moveTo>
                  <a:lnTo>
                    <a:pt x="0" y="0"/>
                  </a:lnTo>
                  <a:lnTo>
                    <a:pt x="217539" y="217528"/>
                  </a:lnTo>
                  <a:lnTo>
                    <a:pt x="217539" y="0"/>
                  </a:lnTo>
                  <a:close/>
                  <a:moveTo>
                    <a:pt x="435077" y="435077"/>
                  </a:moveTo>
                  <a:lnTo>
                    <a:pt x="217566" y="435077"/>
                  </a:lnTo>
                  <a:lnTo>
                    <a:pt x="435077" y="217547"/>
                  </a:lnTo>
                  <a:lnTo>
                    <a:pt x="435077" y="435077"/>
                  </a:lnTo>
                  <a:close/>
                  <a:moveTo>
                    <a:pt x="435077" y="3"/>
                  </a:moveTo>
                  <a:lnTo>
                    <a:pt x="217566" y="3"/>
                  </a:lnTo>
                  <a:lnTo>
                    <a:pt x="435077" y="217531"/>
                  </a:lnTo>
                  <a:lnTo>
                    <a:pt x="435077" y="3"/>
                  </a:lnTo>
                  <a:close/>
                </a:path>
              </a:pathLst>
            </a:custGeom>
            <a:grpFill/>
            <a:ln w="27192" cap="flat">
              <a:noFill/>
              <a:prstDash val="solid"/>
              <a:miter/>
            </a:ln>
          </p:spPr>
          <p:txBody>
            <a:bodyPr rtlCol="0" anchor="ctr"/>
            <a:lstStyle/>
            <a:p>
              <a:endParaRPr lang="uk-UA" sz="900"/>
            </a:p>
          </p:txBody>
        </p:sp>
        <p:sp>
          <p:nvSpPr>
            <p:cNvPr id="593" name="Freeform: Shape 592">
              <a:extLst>
                <a:ext uri="{FF2B5EF4-FFF2-40B4-BE49-F238E27FC236}">
                  <a16:creationId xmlns:a16="http://schemas.microsoft.com/office/drawing/2014/main" id="{D7363F12-3BA4-9FB7-2AF5-6B3B36E5C80D}"/>
                </a:ext>
              </a:extLst>
            </p:cNvPr>
            <p:cNvSpPr/>
            <p:nvPr/>
          </p:nvSpPr>
          <p:spPr>
            <a:xfrm>
              <a:off x="5186597" y="1968909"/>
              <a:ext cx="435077" cy="435077"/>
            </a:xfrm>
            <a:custGeom>
              <a:avLst/>
              <a:gdLst>
                <a:gd name="connsiteX0" fmla="*/ 371366 w 435077"/>
                <a:gd name="connsiteY0" fmla="*/ 63714 h 435077"/>
                <a:gd name="connsiteX1" fmla="*/ 435077 w 435077"/>
                <a:gd name="connsiteY1" fmla="*/ 217539 h 435077"/>
                <a:gd name="connsiteX2" fmla="*/ 217702 w 435077"/>
                <a:gd name="connsiteY2" fmla="*/ 217539 h 435077"/>
                <a:gd name="connsiteX3" fmla="*/ 371366 w 435077"/>
                <a:gd name="connsiteY3" fmla="*/ 281253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3 h 435077"/>
                <a:gd name="connsiteX8" fmla="*/ 217376 w 435077"/>
                <a:gd name="connsiteY8" fmla="*/ 217539 h 435077"/>
                <a:gd name="connsiteX9" fmla="*/ 0 w 435077"/>
                <a:gd name="connsiteY9" fmla="*/ 217539 h 435077"/>
                <a:gd name="connsiteX10" fmla="*/ 63712 w 435077"/>
                <a:gd name="connsiteY10" fmla="*/ 63714 h 435077"/>
                <a:gd name="connsiteX11" fmla="*/ 217539 w 435077"/>
                <a:gd name="connsiteY11" fmla="*/ 0 h 435077"/>
                <a:gd name="connsiteX12" fmla="*/ 371366 w 435077"/>
                <a:gd name="connsiteY12" fmla="*/ 63714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4"/>
                  </a:moveTo>
                  <a:cubicBezTo>
                    <a:pt x="412155" y="104511"/>
                    <a:pt x="435077" y="159842"/>
                    <a:pt x="435077" y="217539"/>
                  </a:cubicBezTo>
                  <a:lnTo>
                    <a:pt x="217702" y="217539"/>
                  </a:lnTo>
                  <a:cubicBezTo>
                    <a:pt x="275350" y="217582"/>
                    <a:pt x="330605" y="240497"/>
                    <a:pt x="371366" y="281253"/>
                  </a:cubicBezTo>
                  <a:cubicBezTo>
                    <a:pt x="412155" y="322050"/>
                    <a:pt x="435077" y="377381"/>
                    <a:pt x="435077" y="435077"/>
                  </a:cubicBezTo>
                  <a:lnTo>
                    <a:pt x="217539" y="435077"/>
                  </a:lnTo>
                  <a:lnTo>
                    <a:pt x="0" y="435077"/>
                  </a:lnTo>
                  <a:cubicBezTo>
                    <a:pt x="0" y="377381"/>
                    <a:pt x="22924" y="322050"/>
                    <a:pt x="63712" y="281253"/>
                  </a:cubicBezTo>
                  <a:cubicBezTo>
                    <a:pt x="104473" y="240497"/>
                    <a:pt x="159728" y="217582"/>
                    <a:pt x="217376" y="217539"/>
                  </a:cubicBezTo>
                  <a:lnTo>
                    <a:pt x="0" y="217539"/>
                  </a:lnTo>
                  <a:cubicBezTo>
                    <a:pt x="0" y="159842"/>
                    <a:pt x="22924" y="104511"/>
                    <a:pt x="63712" y="63714"/>
                  </a:cubicBezTo>
                  <a:cubicBezTo>
                    <a:pt x="104501" y="22918"/>
                    <a:pt x="159837" y="0"/>
                    <a:pt x="217539" y="0"/>
                  </a:cubicBezTo>
                  <a:cubicBezTo>
                    <a:pt x="275241" y="0"/>
                    <a:pt x="330550" y="22918"/>
                    <a:pt x="371366" y="63714"/>
                  </a:cubicBezTo>
                  <a:close/>
                </a:path>
              </a:pathLst>
            </a:custGeom>
            <a:grpFill/>
            <a:ln w="27192" cap="flat">
              <a:noFill/>
              <a:prstDash val="solid"/>
              <a:miter/>
            </a:ln>
          </p:spPr>
          <p:txBody>
            <a:bodyPr rtlCol="0" anchor="ctr"/>
            <a:lstStyle/>
            <a:p>
              <a:endParaRPr lang="uk-UA" sz="900"/>
            </a:p>
          </p:txBody>
        </p:sp>
        <p:sp>
          <p:nvSpPr>
            <p:cNvPr id="594" name="Freeform: Shape 593">
              <a:extLst>
                <a:ext uri="{FF2B5EF4-FFF2-40B4-BE49-F238E27FC236}">
                  <a16:creationId xmlns:a16="http://schemas.microsoft.com/office/drawing/2014/main" id="{62057885-4B99-9CDB-4560-6B7B2221436A}"/>
                </a:ext>
              </a:extLst>
            </p:cNvPr>
            <p:cNvSpPr/>
            <p:nvPr/>
          </p:nvSpPr>
          <p:spPr>
            <a:xfrm>
              <a:off x="6056752" y="1968909"/>
              <a:ext cx="435077" cy="435074"/>
            </a:xfrm>
            <a:custGeom>
              <a:avLst/>
              <a:gdLst>
                <a:gd name="connsiteX0" fmla="*/ 217539 w 435077"/>
                <a:gd name="connsiteY0" fmla="*/ 217539 h 435074"/>
                <a:gd name="connsiteX1" fmla="*/ 217539 w 435077"/>
                <a:gd name="connsiteY1" fmla="*/ 217536 h 435074"/>
                <a:gd name="connsiteX2" fmla="*/ 0 w 435077"/>
                <a:gd name="connsiteY2" fmla="*/ 0 h 435074"/>
                <a:gd name="connsiteX3" fmla="*/ 217539 w 435077"/>
                <a:gd name="connsiteY3" fmla="*/ 0 h 435074"/>
                <a:gd name="connsiteX4" fmla="*/ 217539 w 435077"/>
                <a:gd name="connsiteY4" fmla="*/ 5 h 435074"/>
                <a:gd name="connsiteX5" fmla="*/ 435077 w 435077"/>
                <a:gd name="connsiteY5" fmla="*/ 217533 h 435074"/>
                <a:gd name="connsiteX6" fmla="*/ 435077 w 435077"/>
                <a:gd name="connsiteY6" fmla="*/ 217533 h 435074"/>
                <a:gd name="connsiteX7" fmla="*/ 435077 w 435077"/>
                <a:gd name="connsiteY7" fmla="*/ 217539 h 435074"/>
                <a:gd name="connsiteX8" fmla="*/ 435077 w 435077"/>
                <a:gd name="connsiteY8" fmla="*/ 217541 h 435074"/>
                <a:gd name="connsiteX9" fmla="*/ 435077 w 435077"/>
                <a:gd name="connsiteY9" fmla="*/ 217541 h 435074"/>
                <a:gd name="connsiteX10" fmla="*/ 217539 w 435077"/>
                <a:gd name="connsiteY10" fmla="*/ 435072 h 435074"/>
                <a:gd name="connsiteX11" fmla="*/ 217539 w 435077"/>
                <a:gd name="connsiteY11" fmla="*/ 435075 h 435074"/>
                <a:gd name="connsiteX12" fmla="*/ 0 w 435077"/>
                <a:gd name="connsiteY12" fmla="*/ 435075 h 435074"/>
                <a:gd name="connsiteX13" fmla="*/ 217539 w 435077"/>
                <a:gd name="connsiteY13" fmla="*/ 217539 h 43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4">
                  <a:moveTo>
                    <a:pt x="217539" y="217539"/>
                  </a:moveTo>
                  <a:lnTo>
                    <a:pt x="217539" y="217536"/>
                  </a:lnTo>
                  <a:lnTo>
                    <a:pt x="0" y="0"/>
                  </a:lnTo>
                  <a:lnTo>
                    <a:pt x="217539" y="0"/>
                  </a:lnTo>
                  <a:lnTo>
                    <a:pt x="217539" y="5"/>
                  </a:lnTo>
                  <a:lnTo>
                    <a:pt x="435077" y="217533"/>
                  </a:lnTo>
                  <a:lnTo>
                    <a:pt x="435077" y="217533"/>
                  </a:lnTo>
                  <a:lnTo>
                    <a:pt x="435077" y="217539"/>
                  </a:lnTo>
                  <a:lnTo>
                    <a:pt x="435077" y="217541"/>
                  </a:lnTo>
                  <a:lnTo>
                    <a:pt x="435077" y="217541"/>
                  </a:lnTo>
                  <a:lnTo>
                    <a:pt x="217539" y="435072"/>
                  </a:lnTo>
                  <a:lnTo>
                    <a:pt x="217539" y="435075"/>
                  </a:lnTo>
                  <a:lnTo>
                    <a:pt x="0" y="435075"/>
                  </a:lnTo>
                  <a:lnTo>
                    <a:pt x="217539" y="217539"/>
                  </a:lnTo>
                  <a:close/>
                </a:path>
              </a:pathLst>
            </a:custGeom>
            <a:grpFill/>
            <a:ln w="27192" cap="flat">
              <a:noFill/>
              <a:prstDash val="solid"/>
              <a:miter/>
            </a:ln>
          </p:spPr>
          <p:txBody>
            <a:bodyPr rtlCol="0" anchor="ctr"/>
            <a:lstStyle/>
            <a:p>
              <a:endParaRPr lang="uk-UA" sz="900"/>
            </a:p>
          </p:txBody>
        </p:sp>
        <p:sp>
          <p:nvSpPr>
            <p:cNvPr id="595" name="Freeform: Shape 594">
              <a:extLst>
                <a:ext uri="{FF2B5EF4-FFF2-40B4-BE49-F238E27FC236}">
                  <a16:creationId xmlns:a16="http://schemas.microsoft.com/office/drawing/2014/main" id="{1ACF9880-C9EB-C239-AE49-50522B9CE53D}"/>
                </a:ext>
              </a:extLst>
            </p:cNvPr>
            <p:cNvSpPr/>
            <p:nvPr/>
          </p:nvSpPr>
          <p:spPr>
            <a:xfrm>
              <a:off x="7797062" y="196890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p>
          </p:txBody>
        </p:sp>
        <p:sp>
          <p:nvSpPr>
            <p:cNvPr id="596" name="Freeform: Shape 595">
              <a:extLst>
                <a:ext uri="{FF2B5EF4-FFF2-40B4-BE49-F238E27FC236}">
                  <a16:creationId xmlns:a16="http://schemas.microsoft.com/office/drawing/2014/main" id="{33FCC14F-3D2F-7DF3-7AF5-174255338883}"/>
                </a:ext>
              </a:extLst>
            </p:cNvPr>
            <p:cNvSpPr/>
            <p:nvPr/>
          </p:nvSpPr>
          <p:spPr>
            <a:xfrm>
              <a:off x="6926907" y="1968909"/>
              <a:ext cx="435077" cy="435077"/>
            </a:xfrm>
            <a:custGeom>
              <a:avLst/>
              <a:gdLst>
                <a:gd name="connsiteX0" fmla="*/ 0 w 435077"/>
                <a:gd name="connsiteY0" fmla="*/ 435077 h 435077"/>
                <a:gd name="connsiteX1" fmla="*/ 217539 w 435077"/>
                <a:gd name="connsiteY1" fmla="*/ 435077 h 435077"/>
                <a:gd name="connsiteX2" fmla="*/ 217539 w 435077"/>
                <a:gd name="connsiteY2" fmla="*/ 217547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28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47 h 435077"/>
                <a:gd name="connsiteX11" fmla="*/ 435077 w 435077"/>
                <a:gd name="connsiteY11" fmla="*/ 435077 h 435077"/>
                <a:gd name="connsiteX12" fmla="*/ 435077 w 435077"/>
                <a:gd name="connsiteY12" fmla="*/ 3 h 435077"/>
                <a:gd name="connsiteX13" fmla="*/ 217539 w 435077"/>
                <a:gd name="connsiteY13" fmla="*/ 3 h 435077"/>
                <a:gd name="connsiteX14" fmla="*/ 435077 w 435077"/>
                <a:gd name="connsiteY14" fmla="*/ 217531 h 435077"/>
                <a:gd name="connsiteX15" fmla="*/ 435077 w 435077"/>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47"/>
                  </a:lnTo>
                  <a:lnTo>
                    <a:pt x="0" y="435077"/>
                  </a:lnTo>
                  <a:close/>
                  <a:moveTo>
                    <a:pt x="217539" y="0"/>
                  </a:moveTo>
                  <a:lnTo>
                    <a:pt x="0" y="0"/>
                  </a:lnTo>
                  <a:lnTo>
                    <a:pt x="217539" y="217528"/>
                  </a:lnTo>
                  <a:lnTo>
                    <a:pt x="217539" y="0"/>
                  </a:lnTo>
                  <a:close/>
                  <a:moveTo>
                    <a:pt x="435077" y="435077"/>
                  </a:moveTo>
                  <a:lnTo>
                    <a:pt x="217539" y="435077"/>
                  </a:lnTo>
                  <a:lnTo>
                    <a:pt x="435077" y="217547"/>
                  </a:lnTo>
                  <a:lnTo>
                    <a:pt x="435077" y="435077"/>
                  </a:lnTo>
                  <a:close/>
                  <a:moveTo>
                    <a:pt x="435077" y="3"/>
                  </a:moveTo>
                  <a:lnTo>
                    <a:pt x="217539" y="3"/>
                  </a:lnTo>
                  <a:lnTo>
                    <a:pt x="435077" y="217531"/>
                  </a:lnTo>
                  <a:lnTo>
                    <a:pt x="435077" y="3"/>
                  </a:lnTo>
                  <a:close/>
                </a:path>
              </a:pathLst>
            </a:custGeom>
            <a:grpFill/>
            <a:ln w="27192" cap="flat">
              <a:noFill/>
              <a:prstDash val="solid"/>
              <a:miter/>
            </a:ln>
          </p:spPr>
          <p:txBody>
            <a:bodyPr rtlCol="0" anchor="ctr"/>
            <a:lstStyle/>
            <a:p>
              <a:endParaRPr lang="uk-UA" sz="900"/>
            </a:p>
          </p:txBody>
        </p:sp>
        <p:sp>
          <p:nvSpPr>
            <p:cNvPr id="597" name="Freeform: Shape 596">
              <a:extLst>
                <a:ext uri="{FF2B5EF4-FFF2-40B4-BE49-F238E27FC236}">
                  <a16:creationId xmlns:a16="http://schemas.microsoft.com/office/drawing/2014/main" id="{283DB402-E18B-72CF-A1E7-697A21E99894}"/>
                </a:ext>
              </a:extLst>
            </p:cNvPr>
            <p:cNvSpPr/>
            <p:nvPr/>
          </p:nvSpPr>
          <p:spPr>
            <a:xfrm>
              <a:off x="8667217" y="1968909"/>
              <a:ext cx="435104" cy="435077"/>
            </a:xfrm>
            <a:custGeom>
              <a:avLst/>
              <a:gdLst>
                <a:gd name="connsiteX0" fmla="*/ 371366 w 435104"/>
                <a:gd name="connsiteY0" fmla="*/ 63714 h 435077"/>
                <a:gd name="connsiteX1" fmla="*/ 435077 w 435104"/>
                <a:gd name="connsiteY1" fmla="*/ 217539 h 435077"/>
                <a:gd name="connsiteX2" fmla="*/ 217730 w 435104"/>
                <a:gd name="connsiteY2" fmla="*/ 217539 h 435077"/>
                <a:gd name="connsiteX3" fmla="*/ 371366 w 435104"/>
                <a:gd name="connsiteY3" fmla="*/ 281253 h 435077"/>
                <a:gd name="connsiteX4" fmla="*/ 435105 w 435104"/>
                <a:gd name="connsiteY4" fmla="*/ 435077 h 435077"/>
                <a:gd name="connsiteX5" fmla="*/ 217566 w 435104"/>
                <a:gd name="connsiteY5" fmla="*/ 435077 h 435077"/>
                <a:gd name="connsiteX6" fmla="*/ 27 w 435104"/>
                <a:gd name="connsiteY6" fmla="*/ 435077 h 435077"/>
                <a:gd name="connsiteX7" fmla="*/ 63739 w 435104"/>
                <a:gd name="connsiteY7" fmla="*/ 281253 h 435077"/>
                <a:gd name="connsiteX8" fmla="*/ 217376 w 435104"/>
                <a:gd name="connsiteY8" fmla="*/ 217539 h 435077"/>
                <a:gd name="connsiteX9" fmla="*/ 0 w 435104"/>
                <a:gd name="connsiteY9" fmla="*/ 217539 h 435077"/>
                <a:gd name="connsiteX10" fmla="*/ 63739 w 435104"/>
                <a:gd name="connsiteY10" fmla="*/ 63714 h 435077"/>
                <a:gd name="connsiteX11" fmla="*/ 217539 w 435104"/>
                <a:gd name="connsiteY11" fmla="*/ 0 h 435077"/>
                <a:gd name="connsiteX12" fmla="*/ 371366 w 435104"/>
                <a:gd name="connsiteY12" fmla="*/ 63714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4" h="435077">
                  <a:moveTo>
                    <a:pt x="371366" y="63714"/>
                  </a:moveTo>
                  <a:cubicBezTo>
                    <a:pt x="412182" y="104511"/>
                    <a:pt x="435077" y="159842"/>
                    <a:pt x="435077" y="217539"/>
                  </a:cubicBezTo>
                  <a:lnTo>
                    <a:pt x="217730" y="217539"/>
                  </a:lnTo>
                  <a:cubicBezTo>
                    <a:pt x="275350" y="217582"/>
                    <a:pt x="330632" y="240497"/>
                    <a:pt x="371366" y="281253"/>
                  </a:cubicBezTo>
                  <a:cubicBezTo>
                    <a:pt x="412182" y="322050"/>
                    <a:pt x="435105" y="377381"/>
                    <a:pt x="435105" y="435077"/>
                  </a:cubicBezTo>
                  <a:lnTo>
                    <a:pt x="217566" y="435077"/>
                  </a:lnTo>
                  <a:lnTo>
                    <a:pt x="27" y="435077"/>
                  </a:lnTo>
                  <a:cubicBezTo>
                    <a:pt x="27" y="377381"/>
                    <a:pt x="22924" y="322050"/>
                    <a:pt x="63739" y="281253"/>
                  </a:cubicBezTo>
                  <a:cubicBezTo>
                    <a:pt x="104501" y="240497"/>
                    <a:pt x="159755" y="217582"/>
                    <a:pt x="217376" y="217539"/>
                  </a:cubicBezTo>
                  <a:lnTo>
                    <a:pt x="0" y="217539"/>
                  </a:lnTo>
                  <a:cubicBezTo>
                    <a:pt x="0" y="159842"/>
                    <a:pt x="22924" y="104511"/>
                    <a:pt x="63739" y="63714"/>
                  </a:cubicBezTo>
                  <a:cubicBezTo>
                    <a:pt x="104527" y="22918"/>
                    <a:pt x="159864" y="0"/>
                    <a:pt x="217539" y="0"/>
                  </a:cubicBezTo>
                  <a:cubicBezTo>
                    <a:pt x="275241" y="0"/>
                    <a:pt x="330578" y="22918"/>
                    <a:pt x="371366" y="63714"/>
                  </a:cubicBezTo>
                  <a:close/>
                </a:path>
              </a:pathLst>
            </a:custGeom>
            <a:grpFill/>
            <a:ln w="27192" cap="flat">
              <a:noFill/>
              <a:prstDash val="solid"/>
              <a:miter/>
            </a:ln>
          </p:spPr>
          <p:txBody>
            <a:bodyPr rtlCol="0" anchor="ctr"/>
            <a:lstStyle/>
            <a:p>
              <a:endParaRPr lang="uk-UA" sz="900"/>
            </a:p>
          </p:txBody>
        </p:sp>
        <p:sp>
          <p:nvSpPr>
            <p:cNvPr id="598" name="Freeform: Shape 597">
              <a:extLst>
                <a:ext uri="{FF2B5EF4-FFF2-40B4-BE49-F238E27FC236}">
                  <a16:creationId xmlns:a16="http://schemas.microsoft.com/office/drawing/2014/main" id="{B5279061-CAA5-3868-113E-53D2B3E8EDFF}"/>
                </a:ext>
              </a:extLst>
            </p:cNvPr>
            <p:cNvSpPr/>
            <p:nvPr/>
          </p:nvSpPr>
          <p:spPr>
            <a:xfrm>
              <a:off x="9537399" y="1968909"/>
              <a:ext cx="435077" cy="435074"/>
            </a:xfrm>
            <a:custGeom>
              <a:avLst/>
              <a:gdLst>
                <a:gd name="connsiteX0" fmla="*/ 217539 w 435077"/>
                <a:gd name="connsiteY0" fmla="*/ 217539 h 435074"/>
                <a:gd name="connsiteX1" fmla="*/ 217539 w 435077"/>
                <a:gd name="connsiteY1" fmla="*/ 217536 h 435074"/>
                <a:gd name="connsiteX2" fmla="*/ 0 w 435077"/>
                <a:gd name="connsiteY2" fmla="*/ 0 h 435074"/>
                <a:gd name="connsiteX3" fmla="*/ 217539 w 435077"/>
                <a:gd name="connsiteY3" fmla="*/ 0 h 435074"/>
                <a:gd name="connsiteX4" fmla="*/ 217539 w 435077"/>
                <a:gd name="connsiteY4" fmla="*/ 5 h 435074"/>
                <a:gd name="connsiteX5" fmla="*/ 435050 w 435077"/>
                <a:gd name="connsiteY5" fmla="*/ 217533 h 435074"/>
                <a:gd name="connsiteX6" fmla="*/ 435077 w 435077"/>
                <a:gd name="connsiteY6" fmla="*/ 217533 h 435074"/>
                <a:gd name="connsiteX7" fmla="*/ 435050 w 435077"/>
                <a:gd name="connsiteY7" fmla="*/ 217539 h 435074"/>
                <a:gd name="connsiteX8" fmla="*/ 435077 w 435077"/>
                <a:gd name="connsiteY8" fmla="*/ 217541 h 435074"/>
                <a:gd name="connsiteX9" fmla="*/ 435050 w 435077"/>
                <a:gd name="connsiteY9" fmla="*/ 217541 h 435074"/>
                <a:gd name="connsiteX10" fmla="*/ 217539 w 435077"/>
                <a:gd name="connsiteY10" fmla="*/ 435072 h 435074"/>
                <a:gd name="connsiteX11" fmla="*/ 217539 w 435077"/>
                <a:gd name="connsiteY11" fmla="*/ 435075 h 435074"/>
                <a:gd name="connsiteX12" fmla="*/ 0 w 435077"/>
                <a:gd name="connsiteY12" fmla="*/ 435075 h 435074"/>
                <a:gd name="connsiteX13" fmla="*/ 217539 w 435077"/>
                <a:gd name="connsiteY13" fmla="*/ 217539 h 43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4">
                  <a:moveTo>
                    <a:pt x="217539" y="217539"/>
                  </a:moveTo>
                  <a:lnTo>
                    <a:pt x="217539" y="217536"/>
                  </a:lnTo>
                  <a:lnTo>
                    <a:pt x="0" y="0"/>
                  </a:lnTo>
                  <a:lnTo>
                    <a:pt x="217539" y="0"/>
                  </a:lnTo>
                  <a:lnTo>
                    <a:pt x="217539" y="5"/>
                  </a:lnTo>
                  <a:lnTo>
                    <a:pt x="435050" y="217533"/>
                  </a:lnTo>
                  <a:lnTo>
                    <a:pt x="435077" y="217533"/>
                  </a:lnTo>
                  <a:lnTo>
                    <a:pt x="435050" y="217539"/>
                  </a:lnTo>
                  <a:lnTo>
                    <a:pt x="435077" y="217541"/>
                  </a:lnTo>
                  <a:lnTo>
                    <a:pt x="435050" y="217541"/>
                  </a:lnTo>
                  <a:lnTo>
                    <a:pt x="217539" y="435072"/>
                  </a:lnTo>
                  <a:lnTo>
                    <a:pt x="217539" y="435075"/>
                  </a:lnTo>
                  <a:lnTo>
                    <a:pt x="0" y="435075"/>
                  </a:lnTo>
                  <a:lnTo>
                    <a:pt x="217539" y="217539"/>
                  </a:lnTo>
                  <a:close/>
                </a:path>
              </a:pathLst>
            </a:custGeom>
            <a:grpFill/>
            <a:ln w="27192" cap="flat">
              <a:noFill/>
              <a:prstDash val="solid"/>
              <a:miter/>
            </a:ln>
          </p:spPr>
          <p:txBody>
            <a:bodyPr rtlCol="0" anchor="ctr"/>
            <a:lstStyle/>
            <a:p>
              <a:endParaRPr lang="uk-UA" sz="900"/>
            </a:p>
          </p:txBody>
        </p:sp>
        <p:sp>
          <p:nvSpPr>
            <p:cNvPr id="599" name="Freeform: Shape 598">
              <a:extLst>
                <a:ext uri="{FF2B5EF4-FFF2-40B4-BE49-F238E27FC236}">
                  <a16:creationId xmlns:a16="http://schemas.microsoft.com/office/drawing/2014/main" id="{0B41F9FE-E1A9-8A8A-3B3C-86B9FF5F28E3}"/>
                </a:ext>
              </a:extLst>
            </p:cNvPr>
            <p:cNvSpPr/>
            <p:nvPr/>
          </p:nvSpPr>
          <p:spPr>
            <a:xfrm>
              <a:off x="11277709" y="196890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600" name="Freeform: Shape 599">
              <a:extLst>
                <a:ext uri="{FF2B5EF4-FFF2-40B4-BE49-F238E27FC236}">
                  <a16:creationId xmlns:a16="http://schemas.microsoft.com/office/drawing/2014/main" id="{C092F179-20EC-6542-2EAD-F2C879747FBB}"/>
                </a:ext>
              </a:extLst>
            </p:cNvPr>
            <p:cNvSpPr/>
            <p:nvPr/>
          </p:nvSpPr>
          <p:spPr>
            <a:xfrm>
              <a:off x="10407554" y="1968909"/>
              <a:ext cx="435077" cy="435077"/>
            </a:xfrm>
            <a:custGeom>
              <a:avLst/>
              <a:gdLst>
                <a:gd name="connsiteX0" fmla="*/ 0 w 435077"/>
                <a:gd name="connsiteY0" fmla="*/ 435075 h 435077"/>
                <a:gd name="connsiteX1" fmla="*/ 217511 w 435077"/>
                <a:gd name="connsiteY1" fmla="*/ 435075 h 435077"/>
                <a:gd name="connsiteX2" fmla="*/ 217511 w 435077"/>
                <a:gd name="connsiteY2" fmla="*/ 217547 h 435077"/>
                <a:gd name="connsiteX3" fmla="*/ 0 w 435077"/>
                <a:gd name="connsiteY3" fmla="*/ 435075 h 435077"/>
                <a:gd name="connsiteX4" fmla="*/ 217511 w 435077"/>
                <a:gd name="connsiteY4" fmla="*/ 0 h 435077"/>
                <a:gd name="connsiteX5" fmla="*/ 0 w 435077"/>
                <a:gd name="connsiteY5" fmla="*/ 0 h 435077"/>
                <a:gd name="connsiteX6" fmla="*/ 217511 w 435077"/>
                <a:gd name="connsiteY6" fmla="*/ 217528 h 435077"/>
                <a:gd name="connsiteX7" fmla="*/ 217511 w 435077"/>
                <a:gd name="connsiteY7" fmla="*/ 0 h 435077"/>
                <a:gd name="connsiteX8" fmla="*/ 435077 w 435077"/>
                <a:gd name="connsiteY8" fmla="*/ 435077 h 435077"/>
                <a:gd name="connsiteX9" fmla="*/ 217539 w 435077"/>
                <a:gd name="connsiteY9" fmla="*/ 435077 h 435077"/>
                <a:gd name="connsiteX10" fmla="*/ 435077 w 435077"/>
                <a:gd name="connsiteY10" fmla="*/ 217547 h 435077"/>
                <a:gd name="connsiteX11" fmla="*/ 435077 w 435077"/>
                <a:gd name="connsiteY11" fmla="*/ 435077 h 435077"/>
                <a:gd name="connsiteX12" fmla="*/ 435077 w 435077"/>
                <a:gd name="connsiteY12" fmla="*/ 3 h 435077"/>
                <a:gd name="connsiteX13" fmla="*/ 217539 w 435077"/>
                <a:gd name="connsiteY13" fmla="*/ 3 h 435077"/>
                <a:gd name="connsiteX14" fmla="*/ 435077 w 435077"/>
                <a:gd name="connsiteY14" fmla="*/ 217531 h 435077"/>
                <a:gd name="connsiteX15" fmla="*/ 435077 w 435077"/>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5"/>
                  </a:moveTo>
                  <a:lnTo>
                    <a:pt x="217511" y="435075"/>
                  </a:lnTo>
                  <a:lnTo>
                    <a:pt x="217511" y="217547"/>
                  </a:lnTo>
                  <a:lnTo>
                    <a:pt x="0" y="435075"/>
                  </a:lnTo>
                  <a:close/>
                  <a:moveTo>
                    <a:pt x="217511" y="0"/>
                  </a:moveTo>
                  <a:lnTo>
                    <a:pt x="0" y="0"/>
                  </a:lnTo>
                  <a:lnTo>
                    <a:pt x="217511" y="217528"/>
                  </a:lnTo>
                  <a:lnTo>
                    <a:pt x="217511" y="0"/>
                  </a:lnTo>
                  <a:close/>
                  <a:moveTo>
                    <a:pt x="435077" y="435077"/>
                  </a:moveTo>
                  <a:lnTo>
                    <a:pt x="217539" y="435077"/>
                  </a:lnTo>
                  <a:lnTo>
                    <a:pt x="435077" y="217547"/>
                  </a:lnTo>
                  <a:lnTo>
                    <a:pt x="435077" y="435077"/>
                  </a:lnTo>
                  <a:close/>
                  <a:moveTo>
                    <a:pt x="435077" y="3"/>
                  </a:moveTo>
                  <a:lnTo>
                    <a:pt x="217539" y="3"/>
                  </a:lnTo>
                  <a:lnTo>
                    <a:pt x="435077" y="217531"/>
                  </a:lnTo>
                  <a:lnTo>
                    <a:pt x="435077" y="3"/>
                  </a:lnTo>
                  <a:close/>
                </a:path>
              </a:pathLst>
            </a:custGeom>
            <a:grpFill/>
            <a:ln w="27192" cap="flat">
              <a:noFill/>
              <a:prstDash val="solid"/>
              <a:miter/>
            </a:ln>
          </p:spPr>
          <p:txBody>
            <a:bodyPr rtlCol="0" anchor="ctr"/>
            <a:lstStyle/>
            <a:p>
              <a:endParaRPr lang="uk-UA" sz="900"/>
            </a:p>
          </p:txBody>
        </p:sp>
        <p:sp>
          <p:nvSpPr>
            <p:cNvPr id="601" name="Freeform: Shape 600">
              <a:extLst>
                <a:ext uri="{FF2B5EF4-FFF2-40B4-BE49-F238E27FC236}">
                  <a16:creationId xmlns:a16="http://schemas.microsoft.com/office/drawing/2014/main" id="{6178D465-9BFB-6EC4-CB7B-DD02825A9FFC}"/>
                </a:ext>
              </a:extLst>
            </p:cNvPr>
            <p:cNvSpPr/>
            <p:nvPr/>
          </p:nvSpPr>
          <p:spPr>
            <a:xfrm>
              <a:off x="12147864" y="1968909"/>
              <a:ext cx="435103" cy="435077"/>
            </a:xfrm>
            <a:custGeom>
              <a:avLst/>
              <a:gdLst>
                <a:gd name="connsiteX0" fmla="*/ 371365 w 435103"/>
                <a:gd name="connsiteY0" fmla="*/ 63714 h 435077"/>
                <a:gd name="connsiteX1" fmla="*/ 435077 w 435103"/>
                <a:gd name="connsiteY1" fmla="*/ 217539 h 435077"/>
                <a:gd name="connsiteX2" fmla="*/ 217728 w 435103"/>
                <a:gd name="connsiteY2" fmla="*/ 217539 h 435077"/>
                <a:gd name="connsiteX3" fmla="*/ 371365 w 435103"/>
                <a:gd name="connsiteY3" fmla="*/ 281253 h 435077"/>
                <a:gd name="connsiteX4" fmla="*/ 435104 w 435103"/>
                <a:gd name="connsiteY4" fmla="*/ 435077 h 435077"/>
                <a:gd name="connsiteX5" fmla="*/ 217565 w 435103"/>
                <a:gd name="connsiteY5" fmla="*/ 435077 h 435077"/>
                <a:gd name="connsiteX6" fmla="*/ 27 w 435103"/>
                <a:gd name="connsiteY6" fmla="*/ 435077 h 435077"/>
                <a:gd name="connsiteX7" fmla="*/ 63739 w 435103"/>
                <a:gd name="connsiteY7" fmla="*/ 281253 h 435077"/>
                <a:gd name="connsiteX8" fmla="*/ 217374 w 435103"/>
                <a:gd name="connsiteY8" fmla="*/ 217539 h 435077"/>
                <a:gd name="connsiteX9" fmla="*/ 0 w 435103"/>
                <a:gd name="connsiteY9" fmla="*/ 217539 h 435077"/>
                <a:gd name="connsiteX10" fmla="*/ 63739 w 435103"/>
                <a:gd name="connsiteY10" fmla="*/ 63714 h 435077"/>
                <a:gd name="connsiteX11" fmla="*/ 217539 w 435103"/>
                <a:gd name="connsiteY11" fmla="*/ 0 h 435077"/>
                <a:gd name="connsiteX12" fmla="*/ 371365 w 435103"/>
                <a:gd name="connsiteY12" fmla="*/ 63714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3" h="435077">
                  <a:moveTo>
                    <a:pt x="371365" y="63714"/>
                  </a:moveTo>
                  <a:cubicBezTo>
                    <a:pt x="412180" y="104511"/>
                    <a:pt x="435077" y="159842"/>
                    <a:pt x="435077" y="217539"/>
                  </a:cubicBezTo>
                  <a:lnTo>
                    <a:pt x="217728" y="217539"/>
                  </a:lnTo>
                  <a:cubicBezTo>
                    <a:pt x="275349" y="217582"/>
                    <a:pt x="330632" y="240497"/>
                    <a:pt x="371365" y="281253"/>
                  </a:cubicBezTo>
                  <a:cubicBezTo>
                    <a:pt x="412180" y="322050"/>
                    <a:pt x="435104" y="377381"/>
                    <a:pt x="435104" y="435077"/>
                  </a:cubicBezTo>
                  <a:lnTo>
                    <a:pt x="217565" y="435077"/>
                  </a:lnTo>
                  <a:lnTo>
                    <a:pt x="27" y="435077"/>
                  </a:lnTo>
                  <a:cubicBezTo>
                    <a:pt x="27" y="377381"/>
                    <a:pt x="22922" y="322050"/>
                    <a:pt x="63739" y="281253"/>
                  </a:cubicBezTo>
                  <a:cubicBezTo>
                    <a:pt x="104499" y="240497"/>
                    <a:pt x="159755" y="217582"/>
                    <a:pt x="217374" y="217539"/>
                  </a:cubicBezTo>
                  <a:lnTo>
                    <a:pt x="0" y="217539"/>
                  </a:lnTo>
                  <a:cubicBezTo>
                    <a:pt x="0" y="159842"/>
                    <a:pt x="22922" y="104511"/>
                    <a:pt x="63739" y="63714"/>
                  </a:cubicBezTo>
                  <a:cubicBezTo>
                    <a:pt x="104527" y="22918"/>
                    <a:pt x="159863" y="0"/>
                    <a:pt x="217539" y="0"/>
                  </a:cubicBezTo>
                  <a:cubicBezTo>
                    <a:pt x="275239" y="0"/>
                    <a:pt x="330577" y="22918"/>
                    <a:pt x="371365" y="63714"/>
                  </a:cubicBezTo>
                  <a:close/>
                </a:path>
              </a:pathLst>
            </a:custGeom>
            <a:grpFill/>
            <a:ln w="27192" cap="flat">
              <a:noFill/>
              <a:prstDash val="solid"/>
              <a:miter/>
            </a:ln>
          </p:spPr>
          <p:txBody>
            <a:bodyPr rtlCol="0" anchor="ctr"/>
            <a:lstStyle/>
            <a:p>
              <a:endParaRPr lang="uk-UA" sz="900"/>
            </a:p>
          </p:txBody>
        </p:sp>
        <p:sp>
          <p:nvSpPr>
            <p:cNvPr id="602" name="Freeform: Shape 601">
              <a:extLst>
                <a:ext uri="{FF2B5EF4-FFF2-40B4-BE49-F238E27FC236}">
                  <a16:creationId xmlns:a16="http://schemas.microsoft.com/office/drawing/2014/main" id="{04D71500-512E-6906-E4E0-621BB5591572}"/>
                </a:ext>
              </a:extLst>
            </p:cNvPr>
            <p:cNvSpPr/>
            <p:nvPr/>
          </p:nvSpPr>
          <p:spPr>
            <a:xfrm>
              <a:off x="13017991" y="1968906"/>
              <a:ext cx="435077" cy="435077"/>
            </a:xfrm>
            <a:custGeom>
              <a:avLst/>
              <a:gdLst>
                <a:gd name="connsiteX0" fmla="*/ 217539 w 435077"/>
                <a:gd name="connsiteY0" fmla="*/ 217533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2 h 435077"/>
                <a:gd name="connsiteX7" fmla="*/ 435077 w 435077"/>
                <a:gd name="connsiteY7" fmla="*/ 217541 h 435077"/>
                <a:gd name="connsiteX8" fmla="*/ 435077 w 435077"/>
                <a:gd name="connsiteY8" fmla="*/ 217541 h 435077"/>
                <a:gd name="connsiteX9" fmla="*/ 435077 w 435077"/>
                <a:gd name="connsiteY9" fmla="*/ 217539 h 435077"/>
                <a:gd name="connsiteX10" fmla="*/ 435077 w 435077"/>
                <a:gd name="connsiteY10" fmla="*/ 217533 h 435077"/>
                <a:gd name="connsiteX11" fmla="*/ 435077 w 435077"/>
                <a:gd name="connsiteY11" fmla="*/ 217533 h 435077"/>
                <a:gd name="connsiteX12" fmla="*/ 217539 w 435077"/>
                <a:gd name="connsiteY12" fmla="*/ 5 h 435077"/>
                <a:gd name="connsiteX13" fmla="*/ 217539 w 435077"/>
                <a:gd name="connsiteY13" fmla="*/ 217533 h 435077"/>
                <a:gd name="connsiteX14" fmla="*/ 217539 w 435077"/>
                <a:gd name="connsiteY14" fmla="*/ 21753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3"/>
                  </a:moveTo>
                  <a:lnTo>
                    <a:pt x="217539" y="0"/>
                  </a:lnTo>
                  <a:lnTo>
                    <a:pt x="0" y="0"/>
                  </a:lnTo>
                  <a:lnTo>
                    <a:pt x="217539" y="217539"/>
                  </a:lnTo>
                  <a:lnTo>
                    <a:pt x="0" y="435077"/>
                  </a:lnTo>
                  <a:lnTo>
                    <a:pt x="217539" y="435077"/>
                  </a:lnTo>
                  <a:lnTo>
                    <a:pt x="217539" y="435072"/>
                  </a:lnTo>
                  <a:lnTo>
                    <a:pt x="435077" y="217541"/>
                  </a:lnTo>
                  <a:lnTo>
                    <a:pt x="435077" y="217541"/>
                  </a:lnTo>
                  <a:lnTo>
                    <a:pt x="435077" y="217539"/>
                  </a:lnTo>
                  <a:lnTo>
                    <a:pt x="435077" y="217533"/>
                  </a:lnTo>
                  <a:lnTo>
                    <a:pt x="435077" y="217533"/>
                  </a:lnTo>
                  <a:lnTo>
                    <a:pt x="217539" y="5"/>
                  </a:lnTo>
                  <a:lnTo>
                    <a:pt x="217539" y="217533"/>
                  </a:lnTo>
                  <a:lnTo>
                    <a:pt x="217539" y="217533"/>
                  </a:lnTo>
                  <a:close/>
                </a:path>
              </a:pathLst>
            </a:custGeom>
            <a:grpFill/>
            <a:ln w="27192" cap="flat">
              <a:noFill/>
              <a:prstDash val="solid"/>
              <a:miter/>
            </a:ln>
          </p:spPr>
          <p:txBody>
            <a:bodyPr rtlCol="0" anchor="ctr"/>
            <a:lstStyle/>
            <a:p>
              <a:endParaRPr lang="uk-UA" sz="900"/>
            </a:p>
          </p:txBody>
        </p:sp>
        <p:sp>
          <p:nvSpPr>
            <p:cNvPr id="603" name="Freeform: Shape 602">
              <a:extLst>
                <a:ext uri="{FF2B5EF4-FFF2-40B4-BE49-F238E27FC236}">
                  <a16:creationId xmlns:a16="http://schemas.microsoft.com/office/drawing/2014/main" id="{0E685AE3-8EA1-0871-3D35-F76D596FD186}"/>
                </a:ext>
              </a:extLst>
            </p:cNvPr>
            <p:cNvSpPr/>
            <p:nvPr/>
          </p:nvSpPr>
          <p:spPr>
            <a:xfrm>
              <a:off x="14758382" y="1968909"/>
              <a:ext cx="435077" cy="435077"/>
            </a:xfrm>
            <a:custGeom>
              <a:avLst/>
              <a:gdLst>
                <a:gd name="connsiteX0" fmla="*/ 217539 w 435077"/>
                <a:gd name="connsiteY0" fmla="*/ 0 h 435077"/>
                <a:gd name="connsiteX1" fmla="*/ 217539 w 435077"/>
                <a:gd name="connsiteY1" fmla="*/ 0 h 435077"/>
                <a:gd name="connsiteX2" fmla="*/ 0 w 435077"/>
                <a:gd name="connsiteY2" fmla="*/ 0 h 435077"/>
                <a:gd name="connsiteX3" fmla="*/ 0 w 435077"/>
                <a:gd name="connsiteY3" fmla="*/ 217539 h 435077"/>
                <a:gd name="connsiteX4" fmla="*/ 217539 w 435077"/>
                <a:gd name="connsiteY4" fmla="*/ 5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217539" y="0"/>
                  </a:lnTo>
                  <a:lnTo>
                    <a:pt x="0" y="0"/>
                  </a:lnTo>
                  <a:lnTo>
                    <a:pt x="0" y="217539"/>
                  </a:lnTo>
                  <a:lnTo>
                    <a:pt x="217539" y="5"/>
                  </a:lnTo>
                  <a:lnTo>
                    <a:pt x="435077" y="217539"/>
                  </a:lnTo>
                  <a:lnTo>
                    <a:pt x="217539" y="435077"/>
                  </a:lnTo>
                  <a:lnTo>
                    <a:pt x="0" y="217539"/>
                  </a:lnTo>
                  <a:lnTo>
                    <a:pt x="0" y="435077"/>
                  </a:lnTo>
                  <a:lnTo>
                    <a:pt x="217539" y="435077"/>
                  </a:lnTo>
                  <a:lnTo>
                    <a:pt x="435077" y="435077"/>
                  </a:lnTo>
                  <a:lnTo>
                    <a:pt x="435077" y="217539"/>
                  </a:lnTo>
                  <a:lnTo>
                    <a:pt x="435077" y="0"/>
                  </a:lnTo>
                  <a:lnTo>
                    <a:pt x="217539" y="0"/>
                  </a:lnTo>
                  <a:close/>
                </a:path>
              </a:pathLst>
            </a:custGeom>
            <a:grpFill/>
            <a:ln w="27192" cap="flat">
              <a:noFill/>
              <a:prstDash val="solid"/>
              <a:miter/>
            </a:ln>
          </p:spPr>
          <p:txBody>
            <a:bodyPr rtlCol="0" anchor="ctr"/>
            <a:lstStyle/>
            <a:p>
              <a:endParaRPr lang="uk-UA" sz="900"/>
            </a:p>
          </p:txBody>
        </p:sp>
        <p:sp>
          <p:nvSpPr>
            <p:cNvPr id="604" name="Freeform: Shape 603">
              <a:extLst>
                <a:ext uri="{FF2B5EF4-FFF2-40B4-BE49-F238E27FC236}">
                  <a16:creationId xmlns:a16="http://schemas.microsoft.com/office/drawing/2014/main" id="{F223A14F-61E4-86C3-EC91-6873468AFE5B}"/>
                </a:ext>
              </a:extLst>
            </p:cNvPr>
            <p:cNvSpPr/>
            <p:nvPr/>
          </p:nvSpPr>
          <p:spPr>
            <a:xfrm>
              <a:off x="13888200" y="1968909"/>
              <a:ext cx="435077" cy="435077"/>
            </a:xfrm>
            <a:custGeom>
              <a:avLst/>
              <a:gdLst>
                <a:gd name="connsiteX0" fmla="*/ 0 w 435077"/>
                <a:gd name="connsiteY0" fmla="*/ 435077 h 435077"/>
                <a:gd name="connsiteX1" fmla="*/ 217539 w 435077"/>
                <a:gd name="connsiteY1" fmla="*/ 435077 h 435077"/>
                <a:gd name="connsiteX2" fmla="*/ 217539 w 435077"/>
                <a:gd name="connsiteY2" fmla="*/ 217547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28 h 435077"/>
                <a:gd name="connsiteX7" fmla="*/ 217539 w 435077"/>
                <a:gd name="connsiteY7" fmla="*/ 0 h 435077"/>
                <a:gd name="connsiteX8" fmla="*/ 435077 w 435077"/>
                <a:gd name="connsiteY8" fmla="*/ 435077 h 435077"/>
                <a:gd name="connsiteX9" fmla="*/ 217565 w 435077"/>
                <a:gd name="connsiteY9" fmla="*/ 435077 h 435077"/>
                <a:gd name="connsiteX10" fmla="*/ 435077 w 435077"/>
                <a:gd name="connsiteY10" fmla="*/ 217547 h 435077"/>
                <a:gd name="connsiteX11" fmla="*/ 435077 w 435077"/>
                <a:gd name="connsiteY11" fmla="*/ 435077 h 435077"/>
                <a:gd name="connsiteX12" fmla="*/ 435077 w 435077"/>
                <a:gd name="connsiteY12" fmla="*/ 3 h 435077"/>
                <a:gd name="connsiteX13" fmla="*/ 217565 w 435077"/>
                <a:gd name="connsiteY13" fmla="*/ 3 h 435077"/>
                <a:gd name="connsiteX14" fmla="*/ 435077 w 435077"/>
                <a:gd name="connsiteY14" fmla="*/ 217531 h 435077"/>
                <a:gd name="connsiteX15" fmla="*/ 435077 w 435077"/>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47"/>
                  </a:lnTo>
                  <a:lnTo>
                    <a:pt x="0" y="435077"/>
                  </a:lnTo>
                  <a:close/>
                  <a:moveTo>
                    <a:pt x="217539" y="0"/>
                  </a:moveTo>
                  <a:lnTo>
                    <a:pt x="0" y="0"/>
                  </a:lnTo>
                  <a:lnTo>
                    <a:pt x="217539" y="217528"/>
                  </a:lnTo>
                  <a:lnTo>
                    <a:pt x="217539" y="0"/>
                  </a:lnTo>
                  <a:close/>
                  <a:moveTo>
                    <a:pt x="435077" y="435077"/>
                  </a:moveTo>
                  <a:lnTo>
                    <a:pt x="217565" y="435077"/>
                  </a:lnTo>
                  <a:lnTo>
                    <a:pt x="435077" y="217547"/>
                  </a:lnTo>
                  <a:lnTo>
                    <a:pt x="435077" y="435077"/>
                  </a:lnTo>
                  <a:close/>
                  <a:moveTo>
                    <a:pt x="435077" y="3"/>
                  </a:moveTo>
                  <a:lnTo>
                    <a:pt x="217565" y="3"/>
                  </a:lnTo>
                  <a:lnTo>
                    <a:pt x="435077" y="217531"/>
                  </a:lnTo>
                  <a:lnTo>
                    <a:pt x="435077" y="3"/>
                  </a:lnTo>
                  <a:close/>
                </a:path>
              </a:pathLst>
            </a:custGeom>
            <a:grpFill/>
            <a:ln w="27192" cap="flat">
              <a:noFill/>
              <a:prstDash val="solid"/>
              <a:miter/>
            </a:ln>
          </p:spPr>
          <p:txBody>
            <a:bodyPr rtlCol="0" anchor="ctr"/>
            <a:lstStyle/>
            <a:p>
              <a:endParaRPr lang="uk-UA" sz="900"/>
            </a:p>
          </p:txBody>
        </p:sp>
        <p:sp>
          <p:nvSpPr>
            <p:cNvPr id="605" name="Freeform: Shape 604">
              <a:extLst>
                <a:ext uri="{FF2B5EF4-FFF2-40B4-BE49-F238E27FC236}">
                  <a16:creationId xmlns:a16="http://schemas.microsoft.com/office/drawing/2014/main" id="{6505BD05-6C2B-A528-E8F8-224DA1BB06C9}"/>
                </a:ext>
              </a:extLst>
            </p:cNvPr>
            <p:cNvSpPr/>
            <p:nvPr/>
          </p:nvSpPr>
          <p:spPr>
            <a:xfrm>
              <a:off x="15628536" y="1968909"/>
              <a:ext cx="435077" cy="435077"/>
            </a:xfrm>
            <a:custGeom>
              <a:avLst/>
              <a:gdLst>
                <a:gd name="connsiteX0" fmla="*/ 371367 w 435077"/>
                <a:gd name="connsiteY0" fmla="*/ 63714 h 435077"/>
                <a:gd name="connsiteX1" fmla="*/ 435077 w 435077"/>
                <a:gd name="connsiteY1" fmla="*/ 217539 h 435077"/>
                <a:gd name="connsiteX2" fmla="*/ 217730 w 435077"/>
                <a:gd name="connsiteY2" fmla="*/ 217539 h 435077"/>
                <a:gd name="connsiteX3" fmla="*/ 371367 w 435077"/>
                <a:gd name="connsiteY3" fmla="*/ 281253 h 435077"/>
                <a:gd name="connsiteX4" fmla="*/ 435077 w 435077"/>
                <a:gd name="connsiteY4" fmla="*/ 435077 h 435077"/>
                <a:gd name="connsiteX5" fmla="*/ 217539 w 435077"/>
                <a:gd name="connsiteY5" fmla="*/ 435077 h 435077"/>
                <a:gd name="connsiteX6" fmla="*/ 0 w 435077"/>
                <a:gd name="connsiteY6" fmla="*/ 435077 h 435077"/>
                <a:gd name="connsiteX7" fmla="*/ 63739 w 435077"/>
                <a:gd name="connsiteY7" fmla="*/ 281253 h 435077"/>
                <a:gd name="connsiteX8" fmla="*/ 217376 w 435077"/>
                <a:gd name="connsiteY8" fmla="*/ 217539 h 435077"/>
                <a:gd name="connsiteX9" fmla="*/ 0 w 435077"/>
                <a:gd name="connsiteY9" fmla="*/ 217539 h 435077"/>
                <a:gd name="connsiteX10" fmla="*/ 63712 w 435077"/>
                <a:gd name="connsiteY10" fmla="*/ 63714 h 435077"/>
                <a:gd name="connsiteX11" fmla="*/ 217539 w 435077"/>
                <a:gd name="connsiteY11" fmla="*/ 0 h 435077"/>
                <a:gd name="connsiteX12" fmla="*/ 371367 w 435077"/>
                <a:gd name="connsiteY12" fmla="*/ 63714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7" y="63714"/>
                  </a:moveTo>
                  <a:cubicBezTo>
                    <a:pt x="412155" y="104511"/>
                    <a:pt x="435077" y="159842"/>
                    <a:pt x="435077" y="217539"/>
                  </a:cubicBezTo>
                  <a:lnTo>
                    <a:pt x="217730" y="217539"/>
                  </a:lnTo>
                  <a:cubicBezTo>
                    <a:pt x="275351" y="217582"/>
                    <a:pt x="330605" y="240497"/>
                    <a:pt x="371367" y="281253"/>
                  </a:cubicBezTo>
                  <a:cubicBezTo>
                    <a:pt x="412182" y="322050"/>
                    <a:pt x="435077" y="377381"/>
                    <a:pt x="435077" y="435077"/>
                  </a:cubicBezTo>
                  <a:lnTo>
                    <a:pt x="217539" y="435077"/>
                  </a:lnTo>
                  <a:lnTo>
                    <a:pt x="0" y="435077"/>
                  </a:lnTo>
                  <a:cubicBezTo>
                    <a:pt x="0" y="377381"/>
                    <a:pt x="22924" y="322050"/>
                    <a:pt x="63739" y="281253"/>
                  </a:cubicBezTo>
                  <a:cubicBezTo>
                    <a:pt x="104474" y="240497"/>
                    <a:pt x="159755" y="217582"/>
                    <a:pt x="217376" y="217539"/>
                  </a:cubicBezTo>
                  <a:lnTo>
                    <a:pt x="0" y="217539"/>
                  </a:lnTo>
                  <a:cubicBezTo>
                    <a:pt x="0" y="159842"/>
                    <a:pt x="22924" y="104511"/>
                    <a:pt x="63712" y="63714"/>
                  </a:cubicBezTo>
                  <a:cubicBezTo>
                    <a:pt x="104527" y="22918"/>
                    <a:pt x="159865" y="0"/>
                    <a:pt x="217539" y="0"/>
                  </a:cubicBezTo>
                  <a:cubicBezTo>
                    <a:pt x="275241" y="0"/>
                    <a:pt x="330578" y="22918"/>
                    <a:pt x="371367" y="63714"/>
                  </a:cubicBezTo>
                  <a:close/>
                </a:path>
              </a:pathLst>
            </a:custGeom>
            <a:grpFill/>
            <a:ln w="27192" cap="flat">
              <a:noFill/>
              <a:prstDash val="solid"/>
              <a:miter/>
            </a:ln>
          </p:spPr>
          <p:txBody>
            <a:bodyPr rtlCol="0" anchor="ctr"/>
            <a:lstStyle/>
            <a:p>
              <a:endParaRPr lang="uk-UA" sz="900"/>
            </a:p>
          </p:txBody>
        </p:sp>
        <p:sp>
          <p:nvSpPr>
            <p:cNvPr id="606" name="Freeform: Shape 605">
              <a:extLst>
                <a:ext uri="{FF2B5EF4-FFF2-40B4-BE49-F238E27FC236}">
                  <a16:creationId xmlns:a16="http://schemas.microsoft.com/office/drawing/2014/main" id="{7CD4DF6B-2DFE-680E-E8F4-F177EB7D72F7}"/>
                </a:ext>
              </a:extLst>
            </p:cNvPr>
            <p:cNvSpPr/>
            <p:nvPr/>
          </p:nvSpPr>
          <p:spPr>
            <a:xfrm>
              <a:off x="16498719" y="1968909"/>
              <a:ext cx="435077" cy="435074"/>
            </a:xfrm>
            <a:custGeom>
              <a:avLst/>
              <a:gdLst>
                <a:gd name="connsiteX0" fmla="*/ 217539 w 435077"/>
                <a:gd name="connsiteY0" fmla="*/ 217533 h 435074"/>
                <a:gd name="connsiteX1" fmla="*/ 217539 w 435077"/>
                <a:gd name="connsiteY1" fmla="*/ 0 h 435074"/>
                <a:gd name="connsiteX2" fmla="*/ 0 w 435077"/>
                <a:gd name="connsiteY2" fmla="*/ 0 h 435074"/>
                <a:gd name="connsiteX3" fmla="*/ 217539 w 435077"/>
                <a:gd name="connsiteY3" fmla="*/ 217539 h 435074"/>
                <a:gd name="connsiteX4" fmla="*/ 0 w 435077"/>
                <a:gd name="connsiteY4" fmla="*/ 435075 h 435074"/>
                <a:gd name="connsiteX5" fmla="*/ 217539 w 435077"/>
                <a:gd name="connsiteY5" fmla="*/ 435075 h 435074"/>
                <a:gd name="connsiteX6" fmla="*/ 217539 w 435077"/>
                <a:gd name="connsiteY6" fmla="*/ 435072 h 435074"/>
                <a:gd name="connsiteX7" fmla="*/ 435049 w 435077"/>
                <a:gd name="connsiteY7" fmla="*/ 217541 h 435074"/>
                <a:gd name="connsiteX8" fmla="*/ 435077 w 435077"/>
                <a:gd name="connsiteY8" fmla="*/ 217541 h 435074"/>
                <a:gd name="connsiteX9" fmla="*/ 435049 w 435077"/>
                <a:gd name="connsiteY9" fmla="*/ 217536 h 435074"/>
                <a:gd name="connsiteX10" fmla="*/ 435077 w 435077"/>
                <a:gd name="connsiteY10" fmla="*/ 217533 h 435074"/>
                <a:gd name="connsiteX11" fmla="*/ 435049 w 435077"/>
                <a:gd name="connsiteY11" fmla="*/ 217533 h 435074"/>
                <a:gd name="connsiteX12" fmla="*/ 217539 w 435077"/>
                <a:gd name="connsiteY12" fmla="*/ 3 h 435074"/>
                <a:gd name="connsiteX13" fmla="*/ 217539 w 435077"/>
                <a:gd name="connsiteY13" fmla="*/ 217533 h 435074"/>
                <a:gd name="connsiteX14" fmla="*/ 217539 w 435077"/>
                <a:gd name="connsiteY14" fmla="*/ 217533 h 43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4">
                  <a:moveTo>
                    <a:pt x="217539" y="217533"/>
                  </a:moveTo>
                  <a:lnTo>
                    <a:pt x="217539" y="0"/>
                  </a:lnTo>
                  <a:lnTo>
                    <a:pt x="0" y="0"/>
                  </a:lnTo>
                  <a:lnTo>
                    <a:pt x="217539" y="217539"/>
                  </a:lnTo>
                  <a:lnTo>
                    <a:pt x="0" y="435075"/>
                  </a:lnTo>
                  <a:lnTo>
                    <a:pt x="217539" y="435075"/>
                  </a:lnTo>
                  <a:lnTo>
                    <a:pt x="217539" y="435072"/>
                  </a:lnTo>
                  <a:lnTo>
                    <a:pt x="435049" y="217541"/>
                  </a:lnTo>
                  <a:lnTo>
                    <a:pt x="435077" y="217541"/>
                  </a:lnTo>
                  <a:lnTo>
                    <a:pt x="435049" y="217536"/>
                  </a:lnTo>
                  <a:lnTo>
                    <a:pt x="435077" y="217533"/>
                  </a:lnTo>
                  <a:lnTo>
                    <a:pt x="435049" y="217533"/>
                  </a:lnTo>
                  <a:lnTo>
                    <a:pt x="217539" y="3"/>
                  </a:lnTo>
                  <a:lnTo>
                    <a:pt x="217539" y="217533"/>
                  </a:lnTo>
                  <a:lnTo>
                    <a:pt x="217539" y="217533"/>
                  </a:lnTo>
                  <a:close/>
                </a:path>
              </a:pathLst>
            </a:custGeom>
            <a:grpFill/>
            <a:ln w="27192" cap="flat">
              <a:noFill/>
              <a:prstDash val="solid"/>
              <a:miter/>
            </a:ln>
          </p:spPr>
          <p:txBody>
            <a:bodyPr rtlCol="0" anchor="ctr"/>
            <a:lstStyle/>
            <a:p>
              <a:endParaRPr lang="uk-UA" sz="900"/>
            </a:p>
          </p:txBody>
        </p:sp>
        <p:sp>
          <p:nvSpPr>
            <p:cNvPr id="607" name="Freeform: Shape 606">
              <a:extLst>
                <a:ext uri="{FF2B5EF4-FFF2-40B4-BE49-F238E27FC236}">
                  <a16:creationId xmlns:a16="http://schemas.microsoft.com/office/drawing/2014/main" id="{625D50B8-E16B-C433-5C7E-16F02E036582}"/>
                </a:ext>
              </a:extLst>
            </p:cNvPr>
            <p:cNvSpPr/>
            <p:nvPr/>
          </p:nvSpPr>
          <p:spPr>
            <a:xfrm>
              <a:off x="18239029" y="196890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608" name="Freeform: Shape 607">
              <a:extLst>
                <a:ext uri="{FF2B5EF4-FFF2-40B4-BE49-F238E27FC236}">
                  <a16:creationId xmlns:a16="http://schemas.microsoft.com/office/drawing/2014/main" id="{1434A9D8-25A0-DFD0-9CCC-3BD4884555EC}"/>
                </a:ext>
              </a:extLst>
            </p:cNvPr>
            <p:cNvSpPr/>
            <p:nvPr/>
          </p:nvSpPr>
          <p:spPr>
            <a:xfrm>
              <a:off x="17368874" y="1968909"/>
              <a:ext cx="435077" cy="435077"/>
            </a:xfrm>
            <a:custGeom>
              <a:avLst/>
              <a:gdLst>
                <a:gd name="connsiteX0" fmla="*/ 0 w 435077"/>
                <a:gd name="connsiteY0" fmla="*/ 435077 h 435077"/>
                <a:gd name="connsiteX1" fmla="*/ 217539 w 435077"/>
                <a:gd name="connsiteY1" fmla="*/ 435077 h 435077"/>
                <a:gd name="connsiteX2" fmla="*/ 217539 w 435077"/>
                <a:gd name="connsiteY2" fmla="*/ 217547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28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47 h 435077"/>
                <a:gd name="connsiteX11" fmla="*/ 435077 w 435077"/>
                <a:gd name="connsiteY11" fmla="*/ 435077 h 435077"/>
                <a:gd name="connsiteX12" fmla="*/ 435077 w 435077"/>
                <a:gd name="connsiteY12" fmla="*/ 3 h 435077"/>
                <a:gd name="connsiteX13" fmla="*/ 217539 w 435077"/>
                <a:gd name="connsiteY13" fmla="*/ 3 h 435077"/>
                <a:gd name="connsiteX14" fmla="*/ 435077 w 435077"/>
                <a:gd name="connsiteY14" fmla="*/ 217531 h 435077"/>
                <a:gd name="connsiteX15" fmla="*/ 435077 w 435077"/>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47"/>
                  </a:lnTo>
                  <a:lnTo>
                    <a:pt x="0" y="435077"/>
                  </a:lnTo>
                  <a:close/>
                  <a:moveTo>
                    <a:pt x="217539" y="0"/>
                  </a:moveTo>
                  <a:lnTo>
                    <a:pt x="0" y="0"/>
                  </a:lnTo>
                  <a:lnTo>
                    <a:pt x="217539" y="217528"/>
                  </a:lnTo>
                  <a:lnTo>
                    <a:pt x="217539" y="0"/>
                  </a:lnTo>
                  <a:close/>
                  <a:moveTo>
                    <a:pt x="435077" y="435077"/>
                  </a:moveTo>
                  <a:lnTo>
                    <a:pt x="217539" y="435077"/>
                  </a:lnTo>
                  <a:lnTo>
                    <a:pt x="435077" y="217547"/>
                  </a:lnTo>
                  <a:lnTo>
                    <a:pt x="435077" y="435077"/>
                  </a:lnTo>
                  <a:close/>
                  <a:moveTo>
                    <a:pt x="435077" y="3"/>
                  </a:moveTo>
                  <a:lnTo>
                    <a:pt x="217539" y="3"/>
                  </a:lnTo>
                  <a:lnTo>
                    <a:pt x="435077" y="217531"/>
                  </a:lnTo>
                  <a:lnTo>
                    <a:pt x="435077" y="3"/>
                  </a:lnTo>
                  <a:close/>
                </a:path>
              </a:pathLst>
            </a:custGeom>
            <a:grpFill/>
            <a:ln w="27192" cap="flat">
              <a:noFill/>
              <a:prstDash val="solid"/>
              <a:miter/>
            </a:ln>
          </p:spPr>
          <p:txBody>
            <a:bodyPr rtlCol="0" anchor="ctr"/>
            <a:lstStyle/>
            <a:p>
              <a:endParaRPr lang="uk-UA" sz="900"/>
            </a:p>
          </p:txBody>
        </p:sp>
        <p:sp>
          <p:nvSpPr>
            <p:cNvPr id="609" name="Freeform: Shape 608">
              <a:extLst>
                <a:ext uri="{FF2B5EF4-FFF2-40B4-BE49-F238E27FC236}">
                  <a16:creationId xmlns:a16="http://schemas.microsoft.com/office/drawing/2014/main" id="{2F6A0501-8128-7857-B699-7AD83340FD31}"/>
                </a:ext>
              </a:extLst>
            </p:cNvPr>
            <p:cNvSpPr/>
            <p:nvPr/>
          </p:nvSpPr>
          <p:spPr>
            <a:xfrm>
              <a:off x="19109210" y="1968909"/>
              <a:ext cx="435077" cy="435077"/>
            </a:xfrm>
            <a:custGeom>
              <a:avLst/>
              <a:gdLst>
                <a:gd name="connsiteX0" fmla="*/ 371339 w 435077"/>
                <a:gd name="connsiteY0" fmla="*/ 63714 h 435077"/>
                <a:gd name="connsiteX1" fmla="*/ 435077 w 435077"/>
                <a:gd name="connsiteY1" fmla="*/ 217539 h 435077"/>
                <a:gd name="connsiteX2" fmla="*/ 217701 w 435077"/>
                <a:gd name="connsiteY2" fmla="*/ 217539 h 435077"/>
                <a:gd name="connsiteX3" fmla="*/ 371365 w 435077"/>
                <a:gd name="connsiteY3" fmla="*/ 281253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3 h 435077"/>
                <a:gd name="connsiteX8" fmla="*/ 217376 w 435077"/>
                <a:gd name="connsiteY8" fmla="*/ 217539 h 435077"/>
                <a:gd name="connsiteX9" fmla="*/ 0 w 435077"/>
                <a:gd name="connsiteY9" fmla="*/ 217539 h 435077"/>
                <a:gd name="connsiteX10" fmla="*/ 63712 w 435077"/>
                <a:gd name="connsiteY10" fmla="*/ 63714 h 435077"/>
                <a:gd name="connsiteX11" fmla="*/ 217539 w 435077"/>
                <a:gd name="connsiteY11" fmla="*/ 0 h 435077"/>
                <a:gd name="connsiteX12" fmla="*/ 371339 w 435077"/>
                <a:gd name="connsiteY12" fmla="*/ 63714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14"/>
                  </a:moveTo>
                  <a:cubicBezTo>
                    <a:pt x="412154" y="104511"/>
                    <a:pt x="435077" y="159842"/>
                    <a:pt x="435077" y="217539"/>
                  </a:cubicBezTo>
                  <a:lnTo>
                    <a:pt x="217701" y="217539"/>
                  </a:lnTo>
                  <a:cubicBezTo>
                    <a:pt x="275322" y="217582"/>
                    <a:pt x="330605" y="240497"/>
                    <a:pt x="371365" y="281253"/>
                  </a:cubicBezTo>
                  <a:cubicBezTo>
                    <a:pt x="412154" y="322050"/>
                    <a:pt x="435077" y="377381"/>
                    <a:pt x="435077" y="435077"/>
                  </a:cubicBezTo>
                  <a:lnTo>
                    <a:pt x="217539" y="435077"/>
                  </a:lnTo>
                  <a:lnTo>
                    <a:pt x="0" y="435077"/>
                  </a:lnTo>
                  <a:cubicBezTo>
                    <a:pt x="0" y="377381"/>
                    <a:pt x="22924" y="322050"/>
                    <a:pt x="63712" y="281253"/>
                  </a:cubicBezTo>
                  <a:cubicBezTo>
                    <a:pt x="104472" y="240497"/>
                    <a:pt x="159728" y="217582"/>
                    <a:pt x="217376" y="217539"/>
                  </a:cubicBezTo>
                  <a:lnTo>
                    <a:pt x="0" y="217539"/>
                  </a:lnTo>
                  <a:cubicBezTo>
                    <a:pt x="0" y="159842"/>
                    <a:pt x="22895" y="104511"/>
                    <a:pt x="63712" y="63714"/>
                  </a:cubicBezTo>
                  <a:cubicBezTo>
                    <a:pt x="104501" y="22918"/>
                    <a:pt x="159836" y="0"/>
                    <a:pt x="217539" y="0"/>
                  </a:cubicBezTo>
                  <a:cubicBezTo>
                    <a:pt x="275215" y="0"/>
                    <a:pt x="330550" y="22918"/>
                    <a:pt x="371339" y="63714"/>
                  </a:cubicBezTo>
                  <a:close/>
                </a:path>
              </a:pathLst>
            </a:custGeom>
            <a:grpFill/>
            <a:ln w="27192" cap="flat">
              <a:noFill/>
              <a:prstDash val="solid"/>
              <a:miter/>
            </a:ln>
          </p:spPr>
          <p:txBody>
            <a:bodyPr rtlCol="0" anchor="ctr"/>
            <a:lstStyle/>
            <a:p>
              <a:endParaRPr lang="uk-UA" sz="900"/>
            </a:p>
          </p:txBody>
        </p:sp>
        <p:sp>
          <p:nvSpPr>
            <p:cNvPr id="610" name="Freeform: Shape 609">
              <a:extLst>
                <a:ext uri="{FF2B5EF4-FFF2-40B4-BE49-F238E27FC236}">
                  <a16:creationId xmlns:a16="http://schemas.microsoft.com/office/drawing/2014/main" id="{61975D37-335A-A1F0-5E1C-3424F4C54DD5}"/>
                </a:ext>
              </a:extLst>
            </p:cNvPr>
            <p:cNvSpPr/>
            <p:nvPr/>
          </p:nvSpPr>
          <p:spPr>
            <a:xfrm>
              <a:off x="19979365" y="1968909"/>
              <a:ext cx="435077" cy="435074"/>
            </a:xfrm>
            <a:custGeom>
              <a:avLst/>
              <a:gdLst>
                <a:gd name="connsiteX0" fmla="*/ 217539 w 435077"/>
                <a:gd name="connsiteY0" fmla="*/ 217533 h 435074"/>
                <a:gd name="connsiteX1" fmla="*/ 217539 w 435077"/>
                <a:gd name="connsiteY1" fmla="*/ 0 h 435074"/>
                <a:gd name="connsiteX2" fmla="*/ 0 w 435077"/>
                <a:gd name="connsiteY2" fmla="*/ 0 h 435074"/>
                <a:gd name="connsiteX3" fmla="*/ 217539 w 435077"/>
                <a:gd name="connsiteY3" fmla="*/ 217539 h 435074"/>
                <a:gd name="connsiteX4" fmla="*/ 0 w 435077"/>
                <a:gd name="connsiteY4" fmla="*/ 435075 h 435074"/>
                <a:gd name="connsiteX5" fmla="*/ 217539 w 435077"/>
                <a:gd name="connsiteY5" fmla="*/ 435075 h 435074"/>
                <a:gd name="connsiteX6" fmla="*/ 217539 w 435077"/>
                <a:gd name="connsiteY6" fmla="*/ 435072 h 435074"/>
                <a:gd name="connsiteX7" fmla="*/ 435051 w 435077"/>
                <a:gd name="connsiteY7" fmla="*/ 217541 h 435074"/>
                <a:gd name="connsiteX8" fmla="*/ 435077 w 435077"/>
                <a:gd name="connsiteY8" fmla="*/ 217541 h 435074"/>
                <a:gd name="connsiteX9" fmla="*/ 435077 w 435077"/>
                <a:gd name="connsiteY9" fmla="*/ 217536 h 435074"/>
                <a:gd name="connsiteX10" fmla="*/ 435077 w 435077"/>
                <a:gd name="connsiteY10" fmla="*/ 217533 h 435074"/>
                <a:gd name="connsiteX11" fmla="*/ 435077 w 435077"/>
                <a:gd name="connsiteY11" fmla="*/ 217533 h 435074"/>
                <a:gd name="connsiteX12" fmla="*/ 217539 w 435077"/>
                <a:gd name="connsiteY12" fmla="*/ 3 h 435074"/>
                <a:gd name="connsiteX13" fmla="*/ 217539 w 435077"/>
                <a:gd name="connsiteY13" fmla="*/ 217533 h 435074"/>
                <a:gd name="connsiteX14" fmla="*/ 217539 w 435077"/>
                <a:gd name="connsiteY14" fmla="*/ 217533 h 43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4">
                  <a:moveTo>
                    <a:pt x="217539" y="217533"/>
                  </a:moveTo>
                  <a:lnTo>
                    <a:pt x="217539" y="0"/>
                  </a:lnTo>
                  <a:lnTo>
                    <a:pt x="0" y="0"/>
                  </a:lnTo>
                  <a:lnTo>
                    <a:pt x="217539" y="217539"/>
                  </a:lnTo>
                  <a:lnTo>
                    <a:pt x="0" y="435075"/>
                  </a:lnTo>
                  <a:lnTo>
                    <a:pt x="217539" y="435075"/>
                  </a:lnTo>
                  <a:lnTo>
                    <a:pt x="217539" y="435072"/>
                  </a:lnTo>
                  <a:lnTo>
                    <a:pt x="435051" y="217541"/>
                  </a:lnTo>
                  <a:lnTo>
                    <a:pt x="435077" y="217541"/>
                  </a:lnTo>
                  <a:lnTo>
                    <a:pt x="435077" y="217536"/>
                  </a:lnTo>
                  <a:lnTo>
                    <a:pt x="435077" y="217533"/>
                  </a:lnTo>
                  <a:lnTo>
                    <a:pt x="435077" y="217533"/>
                  </a:lnTo>
                  <a:lnTo>
                    <a:pt x="217539" y="3"/>
                  </a:lnTo>
                  <a:lnTo>
                    <a:pt x="217539" y="217533"/>
                  </a:lnTo>
                  <a:lnTo>
                    <a:pt x="217539" y="217533"/>
                  </a:lnTo>
                  <a:close/>
                </a:path>
              </a:pathLst>
            </a:custGeom>
            <a:grpFill/>
            <a:ln w="27192" cap="flat">
              <a:noFill/>
              <a:prstDash val="solid"/>
              <a:miter/>
            </a:ln>
          </p:spPr>
          <p:txBody>
            <a:bodyPr rtlCol="0" anchor="ctr"/>
            <a:lstStyle/>
            <a:p>
              <a:endParaRPr lang="uk-UA" sz="900"/>
            </a:p>
          </p:txBody>
        </p:sp>
        <p:sp>
          <p:nvSpPr>
            <p:cNvPr id="611" name="Freeform: Shape 610">
              <a:extLst>
                <a:ext uri="{FF2B5EF4-FFF2-40B4-BE49-F238E27FC236}">
                  <a16:creationId xmlns:a16="http://schemas.microsoft.com/office/drawing/2014/main" id="{ECC02CFD-5C5A-2CEF-2B65-811AD956E681}"/>
                </a:ext>
              </a:extLst>
            </p:cNvPr>
            <p:cNvSpPr/>
            <p:nvPr/>
          </p:nvSpPr>
          <p:spPr>
            <a:xfrm>
              <a:off x="21719702" y="196890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612" name="Freeform: Shape 611">
              <a:extLst>
                <a:ext uri="{FF2B5EF4-FFF2-40B4-BE49-F238E27FC236}">
                  <a16:creationId xmlns:a16="http://schemas.microsoft.com/office/drawing/2014/main" id="{574060E0-0A70-E6CE-22D1-A5644875EE3D}"/>
                </a:ext>
              </a:extLst>
            </p:cNvPr>
            <p:cNvSpPr/>
            <p:nvPr/>
          </p:nvSpPr>
          <p:spPr>
            <a:xfrm>
              <a:off x="20849520" y="1968909"/>
              <a:ext cx="435077" cy="435077"/>
            </a:xfrm>
            <a:custGeom>
              <a:avLst/>
              <a:gdLst>
                <a:gd name="connsiteX0" fmla="*/ 0 w 435077"/>
                <a:gd name="connsiteY0" fmla="*/ 435077 h 435077"/>
                <a:gd name="connsiteX1" fmla="*/ 217539 w 435077"/>
                <a:gd name="connsiteY1" fmla="*/ 435077 h 435077"/>
                <a:gd name="connsiteX2" fmla="*/ 217539 w 435077"/>
                <a:gd name="connsiteY2" fmla="*/ 217547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28 h 435077"/>
                <a:gd name="connsiteX7" fmla="*/ 217539 w 435077"/>
                <a:gd name="connsiteY7" fmla="*/ 0 h 435077"/>
                <a:gd name="connsiteX8" fmla="*/ 435077 w 435077"/>
                <a:gd name="connsiteY8" fmla="*/ 435077 h 435077"/>
                <a:gd name="connsiteX9" fmla="*/ 217565 w 435077"/>
                <a:gd name="connsiteY9" fmla="*/ 435077 h 435077"/>
                <a:gd name="connsiteX10" fmla="*/ 435077 w 435077"/>
                <a:gd name="connsiteY10" fmla="*/ 217547 h 435077"/>
                <a:gd name="connsiteX11" fmla="*/ 435077 w 435077"/>
                <a:gd name="connsiteY11" fmla="*/ 435077 h 435077"/>
                <a:gd name="connsiteX12" fmla="*/ 435077 w 435077"/>
                <a:gd name="connsiteY12" fmla="*/ 3 h 435077"/>
                <a:gd name="connsiteX13" fmla="*/ 217565 w 435077"/>
                <a:gd name="connsiteY13" fmla="*/ 3 h 435077"/>
                <a:gd name="connsiteX14" fmla="*/ 435077 w 435077"/>
                <a:gd name="connsiteY14" fmla="*/ 217531 h 435077"/>
                <a:gd name="connsiteX15" fmla="*/ 435077 w 435077"/>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47"/>
                  </a:lnTo>
                  <a:lnTo>
                    <a:pt x="0" y="435077"/>
                  </a:lnTo>
                  <a:close/>
                  <a:moveTo>
                    <a:pt x="217539" y="0"/>
                  </a:moveTo>
                  <a:lnTo>
                    <a:pt x="0" y="0"/>
                  </a:lnTo>
                  <a:lnTo>
                    <a:pt x="217539" y="217528"/>
                  </a:lnTo>
                  <a:lnTo>
                    <a:pt x="217539" y="0"/>
                  </a:lnTo>
                  <a:close/>
                  <a:moveTo>
                    <a:pt x="435077" y="435077"/>
                  </a:moveTo>
                  <a:lnTo>
                    <a:pt x="217565" y="435077"/>
                  </a:lnTo>
                  <a:lnTo>
                    <a:pt x="435077" y="217547"/>
                  </a:lnTo>
                  <a:lnTo>
                    <a:pt x="435077" y="435077"/>
                  </a:lnTo>
                  <a:close/>
                  <a:moveTo>
                    <a:pt x="435077" y="3"/>
                  </a:moveTo>
                  <a:lnTo>
                    <a:pt x="217565" y="3"/>
                  </a:lnTo>
                  <a:lnTo>
                    <a:pt x="435077" y="217531"/>
                  </a:lnTo>
                  <a:lnTo>
                    <a:pt x="435077" y="3"/>
                  </a:lnTo>
                  <a:close/>
                </a:path>
              </a:pathLst>
            </a:custGeom>
            <a:grpFill/>
            <a:ln w="27192" cap="flat">
              <a:noFill/>
              <a:prstDash val="solid"/>
              <a:miter/>
            </a:ln>
          </p:spPr>
          <p:txBody>
            <a:bodyPr rtlCol="0" anchor="ctr"/>
            <a:lstStyle/>
            <a:p>
              <a:endParaRPr lang="uk-UA" sz="900"/>
            </a:p>
          </p:txBody>
        </p:sp>
        <p:sp>
          <p:nvSpPr>
            <p:cNvPr id="613" name="Freeform: Shape 612">
              <a:extLst>
                <a:ext uri="{FF2B5EF4-FFF2-40B4-BE49-F238E27FC236}">
                  <a16:creationId xmlns:a16="http://schemas.microsoft.com/office/drawing/2014/main" id="{8CF62A33-33EF-4248-F76A-C9A5CEE808CA}"/>
                </a:ext>
              </a:extLst>
            </p:cNvPr>
            <p:cNvSpPr/>
            <p:nvPr/>
          </p:nvSpPr>
          <p:spPr>
            <a:xfrm>
              <a:off x="22589856" y="1968909"/>
              <a:ext cx="435077" cy="435077"/>
            </a:xfrm>
            <a:custGeom>
              <a:avLst/>
              <a:gdLst>
                <a:gd name="connsiteX0" fmla="*/ 371367 w 435077"/>
                <a:gd name="connsiteY0" fmla="*/ 63714 h 435077"/>
                <a:gd name="connsiteX1" fmla="*/ 435077 w 435077"/>
                <a:gd name="connsiteY1" fmla="*/ 217539 h 435077"/>
                <a:gd name="connsiteX2" fmla="*/ 217703 w 435077"/>
                <a:gd name="connsiteY2" fmla="*/ 217539 h 435077"/>
                <a:gd name="connsiteX3" fmla="*/ 371367 w 435077"/>
                <a:gd name="connsiteY3" fmla="*/ 281253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3 h 435077"/>
                <a:gd name="connsiteX8" fmla="*/ 217376 w 435077"/>
                <a:gd name="connsiteY8" fmla="*/ 217539 h 435077"/>
                <a:gd name="connsiteX9" fmla="*/ 0 w 435077"/>
                <a:gd name="connsiteY9" fmla="*/ 217539 h 435077"/>
                <a:gd name="connsiteX10" fmla="*/ 63712 w 435077"/>
                <a:gd name="connsiteY10" fmla="*/ 63714 h 435077"/>
                <a:gd name="connsiteX11" fmla="*/ 217539 w 435077"/>
                <a:gd name="connsiteY11" fmla="*/ 0 h 435077"/>
                <a:gd name="connsiteX12" fmla="*/ 371367 w 435077"/>
                <a:gd name="connsiteY12" fmla="*/ 63714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7" y="63714"/>
                  </a:moveTo>
                  <a:cubicBezTo>
                    <a:pt x="412155" y="104511"/>
                    <a:pt x="435077" y="159842"/>
                    <a:pt x="435077" y="217539"/>
                  </a:cubicBezTo>
                  <a:lnTo>
                    <a:pt x="217703" y="217539"/>
                  </a:lnTo>
                  <a:cubicBezTo>
                    <a:pt x="275351" y="217582"/>
                    <a:pt x="330605" y="240497"/>
                    <a:pt x="371367" y="281253"/>
                  </a:cubicBezTo>
                  <a:cubicBezTo>
                    <a:pt x="412155" y="322050"/>
                    <a:pt x="435077" y="377381"/>
                    <a:pt x="435077" y="435077"/>
                  </a:cubicBezTo>
                  <a:lnTo>
                    <a:pt x="217539" y="435077"/>
                  </a:lnTo>
                  <a:lnTo>
                    <a:pt x="0" y="435077"/>
                  </a:lnTo>
                  <a:cubicBezTo>
                    <a:pt x="0" y="377381"/>
                    <a:pt x="22924" y="322050"/>
                    <a:pt x="63712" y="281253"/>
                  </a:cubicBezTo>
                  <a:cubicBezTo>
                    <a:pt x="104474" y="240497"/>
                    <a:pt x="159755" y="217582"/>
                    <a:pt x="217376" y="217539"/>
                  </a:cubicBezTo>
                  <a:lnTo>
                    <a:pt x="0" y="217539"/>
                  </a:lnTo>
                  <a:cubicBezTo>
                    <a:pt x="0" y="159842"/>
                    <a:pt x="22924" y="104511"/>
                    <a:pt x="63712" y="63714"/>
                  </a:cubicBezTo>
                  <a:cubicBezTo>
                    <a:pt x="104529" y="22918"/>
                    <a:pt x="159838" y="0"/>
                    <a:pt x="217539" y="0"/>
                  </a:cubicBezTo>
                  <a:cubicBezTo>
                    <a:pt x="275241" y="0"/>
                    <a:pt x="330578" y="22918"/>
                    <a:pt x="371367" y="63714"/>
                  </a:cubicBezTo>
                  <a:close/>
                </a:path>
              </a:pathLst>
            </a:custGeom>
            <a:grpFill/>
            <a:ln w="27192" cap="flat">
              <a:noFill/>
              <a:prstDash val="solid"/>
              <a:miter/>
            </a:ln>
          </p:spPr>
          <p:txBody>
            <a:bodyPr rtlCol="0" anchor="ctr"/>
            <a:lstStyle/>
            <a:p>
              <a:endParaRPr lang="uk-UA" sz="900"/>
            </a:p>
          </p:txBody>
        </p:sp>
        <p:sp>
          <p:nvSpPr>
            <p:cNvPr id="614" name="Freeform: Shape 613">
              <a:extLst>
                <a:ext uri="{FF2B5EF4-FFF2-40B4-BE49-F238E27FC236}">
                  <a16:creationId xmlns:a16="http://schemas.microsoft.com/office/drawing/2014/main" id="{FADEAB07-560D-28C5-195D-FD932435C82A}"/>
                </a:ext>
              </a:extLst>
            </p:cNvPr>
            <p:cNvSpPr/>
            <p:nvPr/>
          </p:nvSpPr>
          <p:spPr>
            <a:xfrm>
              <a:off x="23460039" y="1968909"/>
              <a:ext cx="435077" cy="435074"/>
            </a:xfrm>
            <a:custGeom>
              <a:avLst/>
              <a:gdLst>
                <a:gd name="connsiteX0" fmla="*/ 217539 w 435077"/>
                <a:gd name="connsiteY0" fmla="*/ 217533 h 435074"/>
                <a:gd name="connsiteX1" fmla="*/ 217539 w 435077"/>
                <a:gd name="connsiteY1" fmla="*/ 0 h 435074"/>
                <a:gd name="connsiteX2" fmla="*/ 0 w 435077"/>
                <a:gd name="connsiteY2" fmla="*/ 0 h 435074"/>
                <a:gd name="connsiteX3" fmla="*/ 217539 w 435077"/>
                <a:gd name="connsiteY3" fmla="*/ 217539 h 435074"/>
                <a:gd name="connsiteX4" fmla="*/ 0 w 435077"/>
                <a:gd name="connsiteY4" fmla="*/ 435075 h 435074"/>
                <a:gd name="connsiteX5" fmla="*/ 217510 w 435077"/>
                <a:gd name="connsiteY5" fmla="*/ 435075 h 435074"/>
                <a:gd name="connsiteX6" fmla="*/ 217510 w 435077"/>
                <a:gd name="connsiteY6" fmla="*/ 435072 h 435074"/>
                <a:gd name="connsiteX7" fmla="*/ 435049 w 435077"/>
                <a:gd name="connsiteY7" fmla="*/ 217541 h 435074"/>
                <a:gd name="connsiteX8" fmla="*/ 435077 w 435077"/>
                <a:gd name="connsiteY8" fmla="*/ 217541 h 435074"/>
                <a:gd name="connsiteX9" fmla="*/ 435049 w 435077"/>
                <a:gd name="connsiteY9" fmla="*/ 217536 h 435074"/>
                <a:gd name="connsiteX10" fmla="*/ 435049 w 435077"/>
                <a:gd name="connsiteY10" fmla="*/ 217533 h 435074"/>
                <a:gd name="connsiteX11" fmla="*/ 435049 w 435077"/>
                <a:gd name="connsiteY11" fmla="*/ 217533 h 435074"/>
                <a:gd name="connsiteX12" fmla="*/ 217539 w 435077"/>
                <a:gd name="connsiteY12" fmla="*/ 3 h 435074"/>
                <a:gd name="connsiteX13" fmla="*/ 217539 w 435077"/>
                <a:gd name="connsiteY13" fmla="*/ 217533 h 435074"/>
                <a:gd name="connsiteX14" fmla="*/ 217539 w 435077"/>
                <a:gd name="connsiteY14" fmla="*/ 217533 h 43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4">
                  <a:moveTo>
                    <a:pt x="217539" y="217533"/>
                  </a:moveTo>
                  <a:lnTo>
                    <a:pt x="217539" y="0"/>
                  </a:lnTo>
                  <a:lnTo>
                    <a:pt x="0" y="0"/>
                  </a:lnTo>
                  <a:lnTo>
                    <a:pt x="217539" y="217539"/>
                  </a:lnTo>
                  <a:lnTo>
                    <a:pt x="0" y="435075"/>
                  </a:lnTo>
                  <a:lnTo>
                    <a:pt x="217510" y="435075"/>
                  </a:lnTo>
                  <a:lnTo>
                    <a:pt x="217510" y="435072"/>
                  </a:lnTo>
                  <a:lnTo>
                    <a:pt x="435049" y="217541"/>
                  </a:lnTo>
                  <a:lnTo>
                    <a:pt x="435077" y="217541"/>
                  </a:lnTo>
                  <a:lnTo>
                    <a:pt x="435049" y="217536"/>
                  </a:lnTo>
                  <a:lnTo>
                    <a:pt x="435049" y="217533"/>
                  </a:lnTo>
                  <a:lnTo>
                    <a:pt x="435049" y="217533"/>
                  </a:lnTo>
                  <a:lnTo>
                    <a:pt x="217539" y="3"/>
                  </a:lnTo>
                  <a:lnTo>
                    <a:pt x="217539" y="217533"/>
                  </a:lnTo>
                  <a:lnTo>
                    <a:pt x="217539" y="217533"/>
                  </a:lnTo>
                  <a:close/>
                </a:path>
              </a:pathLst>
            </a:custGeom>
            <a:grpFill/>
            <a:ln w="27192" cap="flat">
              <a:noFill/>
              <a:prstDash val="solid"/>
              <a:miter/>
            </a:ln>
          </p:spPr>
          <p:txBody>
            <a:bodyPr rtlCol="0" anchor="ctr"/>
            <a:lstStyle/>
            <a:p>
              <a:endParaRPr lang="uk-UA" sz="900"/>
            </a:p>
          </p:txBody>
        </p:sp>
        <p:sp>
          <p:nvSpPr>
            <p:cNvPr id="615" name="Freeform: Shape 614">
              <a:extLst>
                <a:ext uri="{FF2B5EF4-FFF2-40B4-BE49-F238E27FC236}">
                  <a16:creationId xmlns:a16="http://schemas.microsoft.com/office/drawing/2014/main" id="{2D608A7D-B4F0-ED5A-33AB-AC8888F70B24}"/>
                </a:ext>
              </a:extLst>
            </p:cNvPr>
            <p:cNvSpPr/>
            <p:nvPr/>
          </p:nvSpPr>
          <p:spPr>
            <a:xfrm>
              <a:off x="24330194" y="1968909"/>
              <a:ext cx="435077" cy="435077"/>
            </a:xfrm>
            <a:custGeom>
              <a:avLst/>
              <a:gdLst>
                <a:gd name="connsiteX0" fmla="*/ 0 w 435077"/>
                <a:gd name="connsiteY0" fmla="*/ 435077 h 435077"/>
                <a:gd name="connsiteX1" fmla="*/ 217539 w 435077"/>
                <a:gd name="connsiteY1" fmla="*/ 435077 h 435077"/>
                <a:gd name="connsiteX2" fmla="*/ 217539 w 435077"/>
                <a:gd name="connsiteY2" fmla="*/ 217547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28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47 h 435077"/>
                <a:gd name="connsiteX11" fmla="*/ 435077 w 435077"/>
                <a:gd name="connsiteY11" fmla="*/ 435077 h 435077"/>
                <a:gd name="connsiteX12" fmla="*/ 435077 w 435077"/>
                <a:gd name="connsiteY12" fmla="*/ 3 h 435077"/>
                <a:gd name="connsiteX13" fmla="*/ 217539 w 435077"/>
                <a:gd name="connsiteY13" fmla="*/ 3 h 435077"/>
                <a:gd name="connsiteX14" fmla="*/ 435077 w 435077"/>
                <a:gd name="connsiteY14" fmla="*/ 217531 h 435077"/>
                <a:gd name="connsiteX15" fmla="*/ 435077 w 435077"/>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47"/>
                  </a:lnTo>
                  <a:lnTo>
                    <a:pt x="0" y="435077"/>
                  </a:lnTo>
                  <a:close/>
                  <a:moveTo>
                    <a:pt x="217539" y="0"/>
                  </a:moveTo>
                  <a:lnTo>
                    <a:pt x="0" y="0"/>
                  </a:lnTo>
                  <a:lnTo>
                    <a:pt x="217539" y="217528"/>
                  </a:lnTo>
                  <a:lnTo>
                    <a:pt x="217539" y="0"/>
                  </a:lnTo>
                  <a:close/>
                  <a:moveTo>
                    <a:pt x="435077" y="435077"/>
                  </a:moveTo>
                  <a:lnTo>
                    <a:pt x="217539" y="435077"/>
                  </a:lnTo>
                  <a:lnTo>
                    <a:pt x="435077" y="217547"/>
                  </a:lnTo>
                  <a:lnTo>
                    <a:pt x="435077" y="435077"/>
                  </a:lnTo>
                  <a:close/>
                  <a:moveTo>
                    <a:pt x="435077" y="3"/>
                  </a:moveTo>
                  <a:lnTo>
                    <a:pt x="217539" y="3"/>
                  </a:lnTo>
                  <a:lnTo>
                    <a:pt x="435077" y="217531"/>
                  </a:lnTo>
                  <a:lnTo>
                    <a:pt x="435077" y="3"/>
                  </a:lnTo>
                  <a:close/>
                </a:path>
              </a:pathLst>
            </a:custGeom>
            <a:grpFill/>
            <a:ln w="27192" cap="flat">
              <a:noFill/>
              <a:prstDash val="solid"/>
              <a:miter/>
            </a:ln>
          </p:spPr>
          <p:txBody>
            <a:bodyPr rtlCol="0" anchor="ctr"/>
            <a:lstStyle/>
            <a:p>
              <a:endParaRPr lang="uk-UA" sz="900"/>
            </a:p>
          </p:txBody>
        </p:sp>
        <p:sp>
          <p:nvSpPr>
            <p:cNvPr id="616" name="Freeform: Shape 615">
              <a:extLst>
                <a:ext uri="{FF2B5EF4-FFF2-40B4-BE49-F238E27FC236}">
                  <a16:creationId xmlns:a16="http://schemas.microsoft.com/office/drawing/2014/main" id="{27FC2AD1-3357-BC4D-9411-CB362ACD6F72}"/>
                </a:ext>
              </a:extLst>
            </p:cNvPr>
            <p:cNvSpPr/>
            <p:nvPr/>
          </p:nvSpPr>
          <p:spPr>
            <a:xfrm>
              <a:off x="835769" y="2839064"/>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3 h 435077"/>
                <a:gd name="connsiteX6" fmla="*/ 217511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3"/>
                  </a:lnTo>
                  <a:lnTo>
                    <a:pt x="217511" y="217539"/>
                  </a:lnTo>
                  <a:lnTo>
                    <a:pt x="0" y="435077"/>
                  </a:lnTo>
                  <a:close/>
                </a:path>
              </a:pathLst>
            </a:custGeom>
            <a:grpFill/>
            <a:ln w="27192" cap="flat">
              <a:noFill/>
              <a:prstDash val="solid"/>
              <a:miter/>
            </a:ln>
          </p:spPr>
          <p:txBody>
            <a:bodyPr rtlCol="0" anchor="ctr"/>
            <a:lstStyle/>
            <a:p>
              <a:endParaRPr lang="uk-UA" sz="900"/>
            </a:p>
          </p:txBody>
        </p:sp>
        <p:sp>
          <p:nvSpPr>
            <p:cNvPr id="617" name="Freeform: Shape 616">
              <a:extLst>
                <a:ext uri="{FF2B5EF4-FFF2-40B4-BE49-F238E27FC236}">
                  <a16:creationId xmlns:a16="http://schemas.microsoft.com/office/drawing/2014/main" id="{80C52DC7-E2BA-BEDF-A1E3-471275E787E9}"/>
                </a:ext>
              </a:extLst>
            </p:cNvPr>
            <p:cNvSpPr/>
            <p:nvPr/>
          </p:nvSpPr>
          <p:spPr>
            <a:xfrm>
              <a:off x="-34398" y="2839064"/>
              <a:ext cx="435090" cy="435077"/>
            </a:xfrm>
            <a:custGeom>
              <a:avLst/>
              <a:gdLst>
                <a:gd name="connsiteX0" fmla="*/ 0 w 435090"/>
                <a:gd name="connsiteY0" fmla="*/ 435077 h 435077"/>
                <a:gd name="connsiteX1" fmla="*/ 0 w 435090"/>
                <a:gd name="connsiteY1" fmla="*/ 0 h 435077"/>
                <a:gd name="connsiteX2" fmla="*/ 217525 w 435090"/>
                <a:gd name="connsiteY2" fmla="*/ 217539 h 435077"/>
                <a:gd name="connsiteX3" fmla="*/ 0 w 435090"/>
                <a:gd name="connsiteY3" fmla="*/ 435077 h 435077"/>
                <a:gd name="connsiteX4" fmla="*/ 217552 w 435090"/>
                <a:gd name="connsiteY4" fmla="*/ 435077 h 435077"/>
                <a:gd name="connsiteX5" fmla="*/ 217552 w 435090"/>
                <a:gd name="connsiteY5" fmla="*/ 0 h 435077"/>
                <a:gd name="connsiteX6" fmla="*/ 435091 w 435090"/>
                <a:gd name="connsiteY6" fmla="*/ 217539 h 435077"/>
                <a:gd name="connsiteX7" fmla="*/ 217552 w 435090"/>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90" h="435077">
                  <a:moveTo>
                    <a:pt x="0" y="435077"/>
                  </a:moveTo>
                  <a:lnTo>
                    <a:pt x="0" y="0"/>
                  </a:lnTo>
                  <a:lnTo>
                    <a:pt x="217525" y="217539"/>
                  </a:lnTo>
                  <a:lnTo>
                    <a:pt x="0" y="435077"/>
                  </a:lnTo>
                  <a:close/>
                  <a:moveTo>
                    <a:pt x="217552" y="435077"/>
                  </a:moveTo>
                  <a:lnTo>
                    <a:pt x="217552" y="0"/>
                  </a:lnTo>
                  <a:lnTo>
                    <a:pt x="435091" y="217539"/>
                  </a:lnTo>
                  <a:lnTo>
                    <a:pt x="217552" y="435077"/>
                  </a:lnTo>
                  <a:close/>
                </a:path>
              </a:pathLst>
            </a:custGeom>
            <a:grpFill/>
            <a:ln w="27192" cap="flat">
              <a:noFill/>
              <a:prstDash val="solid"/>
              <a:miter/>
            </a:ln>
          </p:spPr>
          <p:txBody>
            <a:bodyPr rtlCol="0" anchor="ctr"/>
            <a:lstStyle/>
            <a:p>
              <a:endParaRPr lang="uk-UA" sz="900"/>
            </a:p>
          </p:txBody>
        </p:sp>
        <p:sp>
          <p:nvSpPr>
            <p:cNvPr id="618" name="Freeform: Shape 617">
              <a:extLst>
                <a:ext uri="{FF2B5EF4-FFF2-40B4-BE49-F238E27FC236}">
                  <a16:creationId xmlns:a16="http://schemas.microsoft.com/office/drawing/2014/main" id="{D2DFAC8A-35E6-A698-DB14-165F6F5288B6}"/>
                </a:ext>
              </a:extLst>
            </p:cNvPr>
            <p:cNvSpPr/>
            <p:nvPr/>
          </p:nvSpPr>
          <p:spPr>
            <a:xfrm>
              <a:off x="1705924" y="2839064"/>
              <a:ext cx="435077" cy="435077"/>
            </a:xfrm>
            <a:custGeom>
              <a:avLst/>
              <a:gdLst>
                <a:gd name="connsiteX0" fmla="*/ 63711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1 w 435077"/>
                <a:gd name="connsiteY6" fmla="*/ 153827 h 435077"/>
                <a:gd name="connsiteX7" fmla="*/ 63711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1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1" y="153827"/>
                  </a:moveTo>
                  <a:cubicBezTo>
                    <a:pt x="22923" y="113038"/>
                    <a:pt x="0" y="57694"/>
                    <a:pt x="0" y="0"/>
                  </a:cubicBezTo>
                  <a:lnTo>
                    <a:pt x="217539" y="0"/>
                  </a:lnTo>
                  <a:lnTo>
                    <a:pt x="435077" y="0"/>
                  </a:lnTo>
                  <a:cubicBezTo>
                    <a:pt x="435077" y="57694"/>
                    <a:pt x="412154" y="113038"/>
                    <a:pt x="371366" y="153827"/>
                  </a:cubicBezTo>
                  <a:cubicBezTo>
                    <a:pt x="330577" y="194616"/>
                    <a:pt x="275241" y="217539"/>
                    <a:pt x="217539" y="217539"/>
                  </a:cubicBezTo>
                  <a:cubicBezTo>
                    <a:pt x="159836" y="217539"/>
                    <a:pt x="104527" y="194616"/>
                    <a:pt x="63711" y="153827"/>
                  </a:cubicBezTo>
                  <a:close/>
                  <a:moveTo>
                    <a:pt x="63711" y="281250"/>
                  </a:moveTo>
                  <a:cubicBezTo>
                    <a:pt x="22923" y="322039"/>
                    <a:pt x="0" y="377375"/>
                    <a:pt x="0" y="435077"/>
                  </a:cubicBezTo>
                  <a:lnTo>
                    <a:pt x="217539" y="435077"/>
                  </a:lnTo>
                  <a:lnTo>
                    <a:pt x="435077" y="435077"/>
                  </a:lnTo>
                  <a:cubicBezTo>
                    <a:pt x="435077" y="377375"/>
                    <a:pt x="412154" y="322039"/>
                    <a:pt x="371366" y="281250"/>
                  </a:cubicBezTo>
                  <a:cubicBezTo>
                    <a:pt x="330577" y="240462"/>
                    <a:pt x="275241" y="217539"/>
                    <a:pt x="217539" y="217539"/>
                  </a:cubicBezTo>
                  <a:cubicBezTo>
                    <a:pt x="159836" y="217539"/>
                    <a:pt x="104527" y="240462"/>
                    <a:pt x="63711" y="281250"/>
                  </a:cubicBezTo>
                  <a:close/>
                </a:path>
              </a:pathLst>
            </a:custGeom>
            <a:grpFill/>
            <a:ln w="27192" cap="flat">
              <a:noFill/>
              <a:prstDash val="solid"/>
              <a:miter/>
            </a:ln>
          </p:spPr>
          <p:txBody>
            <a:bodyPr rtlCol="0" anchor="ctr"/>
            <a:lstStyle/>
            <a:p>
              <a:endParaRPr lang="uk-UA" sz="900"/>
            </a:p>
          </p:txBody>
        </p:sp>
        <p:sp>
          <p:nvSpPr>
            <p:cNvPr id="619" name="Freeform: Shape 618">
              <a:extLst>
                <a:ext uri="{FF2B5EF4-FFF2-40B4-BE49-F238E27FC236}">
                  <a16:creationId xmlns:a16="http://schemas.microsoft.com/office/drawing/2014/main" id="{A62F9D5F-6595-02DE-83EB-5430F8A931EA}"/>
                </a:ext>
              </a:extLst>
            </p:cNvPr>
            <p:cNvSpPr/>
            <p:nvPr/>
          </p:nvSpPr>
          <p:spPr>
            <a:xfrm>
              <a:off x="2576106" y="2839064"/>
              <a:ext cx="435077" cy="435077"/>
            </a:xfrm>
            <a:custGeom>
              <a:avLst/>
              <a:gdLst>
                <a:gd name="connsiteX0" fmla="*/ 435077 w 435077"/>
                <a:gd name="connsiteY0" fmla="*/ 435077 h 435077"/>
                <a:gd name="connsiteX1" fmla="*/ 435077 w 435077"/>
                <a:gd name="connsiteY1" fmla="*/ 217539 h 435077"/>
                <a:gd name="connsiteX2" fmla="*/ 435077 w 435077"/>
                <a:gd name="connsiteY2" fmla="*/ 14 h 435077"/>
                <a:gd name="connsiteX3" fmla="*/ 217539 w 435077"/>
                <a:gd name="connsiteY3" fmla="*/ 14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14"/>
                  </a:lnTo>
                  <a:lnTo>
                    <a:pt x="217539" y="14"/>
                  </a:lnTo>
                  <a:lnTo>
                    <a:pt x="435077" y="217539"/>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620" name="Freeform: Shape 619">
              <a:extLst>
                <a:ext uri="{FF2B5EF4-FFF2-40B4-BE49-F238E27FC236}">
                  <a16:creationId xmlns:a16="http://schemas.microsoft.com/office/drawing/2014/main" id="{901DCABD-319D-A226-B92E-4CC73C0C4729}"/>
                </a:ext>
              </a:extLst>
            </p:cNvPr>
            <p:cNvSpPr/>
            <p:nvPr/>
          </p:nvSpPr>
          <p:spPr>
            <a:xfrm>
              <a:off x="4316442" y="2839064"/>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3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3"/>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621" name="Freeform: Shape 620">
              <a:extLst>
                <a:ext uri="{FF2B5EF4-FFF2-40B4-BE49-F238E27FC236}">
                  <a16:creationId xmlns:a16="http://schemas.microsoft.com/office/drawing/2014/main" id="{BFCFFB58-349F-2CCC-6DA7-02C1BC21EDE1}"/>
                </a:ext>
              </a:extLst>
            </p:cNvPr>
            <p:cNvSpPr/>
            <p:nvPr/>
          </p:nvSpPr>
          <p:spPr>
            <a:xfrm>
              <a:off x="3446261" y="2839064"/>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622" name="Freeform: Shape 621">
              <a:extLst>
                <a:ext uri="{FF2B5EF4-FFF2-40B4-BE49-F238E27FC236}">
                  <a16:creationId xmlns:a16="http://schemas.microsoft.com/office/drawing/2014/main" id="{14942195-8566-0430-22BC-A2BB1D6B96A5}"/>
                </a:ext>
              </a:extLst>
            </p:cNvPr>
            <p:cNvSpPr/>
            <p:nvPr/>
          </p:nvSpPr>
          <p:spPr>
            <a:xfrm>
              <a:off x="5186597" y="283906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8"/>
                    <a:pt x="0" y="57694"/>
                    <a:pt x="0" y="0"/>
                  </a:cubicBezTo>
                  <a:lnTo>
                    <a:pt x="217539" y="0"/>
                  </a:lnTo>
                  <a:lnTo>
                    <a:pt x="435077" y="0"/>
                  </a:lnTo>
                  <a:cubicBezTo>
                    <a:pt x="435077" y="57694"/>
                    <a:pt x="412155" y="113038"/>
                    <a:pt x="371366" y="153827"/>
                  </a:cubicBezTo>
                  <a:cubicBezTo>
                    <a:pt x="330550" y="194616"/>
                    <a:pt x="275241" y="217539"/>
                    <a:pt x="217539" y="217539"/>
                  </a:cubicBezTo>
                  <a:cubicBezTo>
                    <a:pt x="159837" y="217539"/>
                    <a:pt x="104501" y="194616"/>
                    <a:pt x="63712" y="153827"/>
                  </a:cubicBezTo>
                  <a:close/>
                  <a:moveTo>
                    <a:pt x="63712" y="281250"/>
                  </a:moveTo>
                  <a:cubicBezTo>
                    <a:pt x="22924" y="322039"/>
                    <a:pt x="0" y="377375"/>
                    <a:pt x="0" y="435077"/>
                  </a:cubicBezTo>
                  <a:lnTo>
                    <a:pt x="217539" y="435077"/>
                  </a:lnTo>
                  <a:lnTo>
                    <a:pt x="435077" y="435077"/>
                  </a:lnTo>
                  <a:cubicBezTo>
                    <a:pt x="435077" y="377375"/>
                    <a:pt x="412155" y="322039"/>
                    <a:pt x="371366" y="281250"/>
                  </a:cubicBezTo>
                  <a:cubicBezTo>
                    <a:pt x="330550" y="240462"/>
                    <a:pt x="275241" y="217539"/>
                    <a:pt x="217539" y="217539"/>
                  </a:cubicBezTo>
                  <a:cubicBezTo>
                    <a:pt x="159837" y="217539"/>
                    <a:pt x="104501" y="240462"/>
                    <a:pt x="63712" y="281250"/>
                  </a:cubicBezTo>
                  <a:close/>
                </a:path>
              </a:pathLst>
            </a:custGeom>
            <a:grpFill/>
            <a:ln w="27192" cap="flat">
              <a:noFill/>
              <a:prstDash val="solid"/>
              <a:miter/>
            </a:ln>
          </p:spPr>
          <p:txBody>
            <a:bodyPr rtlCol="0" anchor="ctr"/>
            <a:lstStyle/>
            <a:p>
              <a:endParaRPr lang="uk-UA" sz="900"/>
            </a:p>
          </p:txBody>
        </p:sp>
        <p:sp>
          <p:nvSpPr>
            <p:cNvPr id="623" name="Freeform: Shape 622">
              <a:extLst>
                <a:ext uri="{FF2B5EF4-FFF2-40B4-BE49-F238E27FC236}">
                  <a16:creationId xmlns:a16="http://schemas.microsoft.com/office/drawing/2014/main" id="{6ABC68CC-D917-CF96-8440-E74CCAD6E270}"/>
                </a:ext>
              </a:extLst>
            </p:cNvPr>
            <p:cNvSpPr/>
            <p:nvPr/>
          </p:nvSpPr>
          <p:spPr>
            <a:xfrm>
              <a:off x="6056752" y="2839064"/>
              <a:ext cx="435077" cy="435077"/>
            </a:xfrm>
            <a:custGeom>
              <a:avLst/>
              <a:gdLst>
                <a:gd name="connsiteX0" fmla="*/ 435077 w 435077"/>
                <a:gd name="connsiteY0" fmla="*/ 435077 h 435077"/>
                <a:gd name="connsiteX1" fmla="*/ 435077 w 435077"/>
                <a:gd name="connsiteY1" fmla="*/ 217539 h 435077"/>
                <a:gd name="connsiteX2" fmla="*/ 435077 w 435077"/>
                <a:gd name="connsiteY2" fmla="*/ 14 h 435077"/>
                <a:gd name="connsiteX3" fmla="*/ 217539 w 435077"/>
                <a:gd name="connsiteY3" fmla="*/ 14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14"/>
                  </a:lnTo>
                  <a:lnTo>
                    <a:pt x="217539" y="14"/>
                  </a:lnTo>
                  <a:lnTo>
                    <a:pt x="435077" y="217539"/>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624" name="Freeform: Shape 623">
              <a:extLst>
                <a:ext uri="{FF2B5EF4-FFF2-40B4-BE49-F238E27FC236}">
                  <a16:creationId xmlns:a16="http://schemas.microsoft.com/office/drawing/2014/main" id="{71FE1F97-B46B-2621-AB22-F13F4154D377}"/>
                </a:ext>
              </a:extLst>
            </p:cNvPr>
            <p:cNvSpPr/>
            <p:nvPr/>
          </p:nvSpPr>
          <p:spPr>
            <a:xfrm>
              <a:off x="7797089" y="2839064"/>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3 h 435077"/>
                <a:gd name="connsiteX6" fmla="*/ 217511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3"/>
                  </a:lnTo>
                  <a:lnTo>
                    <a:pt x="217511" y="217539"/>
                  </a:lnTo>
                  <a:lnTo>
                    <a:pt x="0" y="435077"/>
                  </a:lnTo>
                  <a:close/>
                </a:path>
              </a:pathLst>
            </a:custGeom>
            <a:grpFill/>
            <a:ln w="27192" cap="flat">
              <a:noFill/>
              <a:prstDash val="solid"/>
              <a:miter/>
            </a:ln>
          </p:spPr>
          <p:txBody>
            <a:bodyPr rtlCol="0" anchor="ctr"/>
            <a:lstStyle/>
            <a:p>
              <a:endParaRPr lang="uk-UA" sz="900"/>
            </a:p>
          </p:txBody>
        </p:sp>
        <p:sp>
          <p:nvSpPr>
            <p:cNvPr id="625" name="Freeform: Shape 624">
              <a:extLst>
                <a:ext uri="{FF2B5EF4-FFF2-40B4-BE49-F238E27FC236}">
                  <a16:creationId xmlns:a16="http://schemas.microsoft.com/office/drawing/2014/main" id="{5E4FD793-FB49-3570-8BB8-1B70E98A1F5A}"/>
                </a:ext>
              </a:extLst>
            </p:cNvPr>
            <p:cNvSpPr/>
            <p:nvPr/>
          </p:nvSpPr>
          <p:spPr>
            <a:xfrm>
              <a:off x="6926907" y="2839064"/>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626" name="Freeform: Shape 625">
              <a:extLst>
                <a:ext uri="{FF2B5EF4-FFF2-40B4-BE49-F238E27FC236}">
                  <a16:creationId xmlns:a16="http://schemas.microsoft.com/office/drawing/2014/main" id="{0D01165E-2C4C-FC33-7D47-FC3114C51BBE}"/>
                </a:ext>
              </a:extLst>
            </p:cNvPr>
            <p:cNvSpPr/>
            <p:nvPr/>
          </p:nvSpPr>
          <p:spPr>
            <a:xfrm>
              <a:off x="8667217" y="2839064"/>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39 w 435077"/>
                <a:gd name="connsiteY6" fmla="*/ 153827 h 435077"/>
                <a:gd name="connsiteX7" fmla="*/ 63739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39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4" y="113038"/>
                    <a:pt x="0" y="57694"/>
                    <a:pt x="0" y="0"/>
                  </a:cubicBezTo>
                  <a:lnTo>
                    <a:pt x="217539" y="0"/>
                  </a:lnTo>
                  <a:lnTo>
                    <a:pt x="435077" y="0"/>
                  </a:lnTo>
                  <a:cubicBezTo>
                    <a:pt x="435077" y="57694"/>
                    <a:pt x="412182" y="113038"/>
                    <a:pt x="371366" y="153827"/>
                  </a:cubicBezTo>
                  <a:cubicBezTo>
                    <a:pt x="330578" y="194616"/>
                    <a:pt x="275241" y="217539"/>
                    <a:pt x="217539" y="217539"/>
                  </a:cubicBezTo>
                  <a:cubicBezTo>
                    <a:pt x="159864" y="217539"/>
                    <a:pt x="104527" y="194616"/>
                    <a:pt x="63739" y="153827"/>
                  </a:cubicBezTo>
                  <a:close/>
                  <a:moveTo>
                    <a:pt x="63739" y="281250"/>
                  </a:moveTo>
                  <a:cubicBezTo>
                    <a:pt x="22924" y="322039"/>
                    <a:pt x="0" y="377375"/>
                    <a:pt x="0" y="435077"/>
                  </a:cubicBezTo>
                  <a:lnTo>
                    <a:pt x="217539" y="435077"/>
                  </a:lnTo>
                  <a:lnTo>
                    <a:pt x="435077" y="435077"/>
                  </a:lnTo>
                  <a:cubicBezTo>
                    <a:pt x="435077" y="377375"/>
                    <a:pt x="412182" y="322039"/>
                    <a:pt x="371366" y="281250"/>
                  </a:cubicBezTo>
                  <a:cubicBezTo>
                    <a:pt x="330578" y="240462"/>
                    <a:pt x="275241" y="217539"/>
                    <a:pt x="217539" y="217539"/>
                  </a:cubicBezTo>
                  <a:cubicBezTo>
                    <a:pt x="159864" y="217539"/>
                    <a:pt x="104527" y="240462"/>
                    <a:pt x="63739" y="281250"/>
                  </a:cubicBezTo>
                  <a:close/>
                </a:path>
              </a:pathLst>
            </a:custGeom>
            <a:grpFill/>
            <a:ln w="27192" cap="flat">
              <a:noFill/>
              <a:prstDash val="solid"/>
              <a:miter/>
            </a:ln>
          </p:spPr>
          <p:txBody>
            <a:bodyPr rtlCol="0" anchor="ctr"/>
            <a:lstStyle/>
            <a:p>
              <a:endParaRPr lang="uk-UA" sz="900"/>
            </a:p>
          </p:txBody>
        </p:sp>
        <p:sp>
          <p:nvSpPr>
            <p:cNvPr id="627" name="Freeform: Shape 626">
              <a:extLst>
                <a:ext uri="{FF2B5EF4-FFF2-40B4-BE49-F238E27FC236}">
                  <a16:creationId xmlns:a16="http://schemas.microsoft.com/office/drawing/2014/main" id="{02C5E79B-1953-918D-90D4-FC16199DAB04}"/>
                </a:ext>
              </a:extLst>
            </p:cNvPr>
            <p:cNvSpPr/>
            <p:nvPr/>
          </p:nvSpPr>
          <p:spPr>
            <a:xfrm>
              <a:off x="9537399" y="2839064"/>
              <a:ext cx="435077" cy="435077"/>
            </a:xfrm>
            <a:custGeom>
              <a:avLst/>
              <a:gdLst>
                <a:gd name="connsiteX0" fmla="*/ 435077 w 435077"/>
                <a:gd name="connsiteY0" fmla="*/ 435077 h 435077"/>
                <a:gd name="connsiteX1" fmla="*/ 435077 w 435077"/>
                <a:gd name="connsiteY1" fmla="*/ 217539 h 435077"/>
                <a:gd name="connsiteX2" fmla="*/ 435077 w 435077"/>
                <a:gd name="connsiteY2" fmla="*/ 14 h 435077"/>
                <a:gd name="connsiteX3" fmla="*/ 217539 w 435077"/>
                <a:gd name="connsiteY3" fmla="*/ 14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1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1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14"/>
                  </a:lnTo>
                  <a:lnTo>
                    <a:pt x="217539" y="14"/>
                  </a:lnTo>
                  <a:lnTo>
                    <a:pt x="435077" y="217539"/>
                  </a:lnTo>
                  <a:lnTo>
                    <a:pt x="217539" y="435077"/>
                  </a:lnTo>
                  <a:lnTo>
                    <a:pt x="435077" y="435077"/>
                  </a:lnTo>
                  <a:close/>
                  <a:moveTo>
                    <a:pt x="0" y="217539"/>
                  </a:moveTo>
                  <a:lnTo>
                    <a:pt x="0" y="0"/>
                  </a:lnTo>
                  <a:lnTo>
                    <a:pt x="217511" y="217539"/>
                  </a:lnTo>
                  <a:lnTo>
                    <a:pt x="0" y="217539"/>
                  </a:lnTo>
                  <a:close/>
                  <a:moveTo>
                    <a:pt x="0" y="435077"/>
                  </a:moveTo>
                  <a:lnTo>
                    <a:pt x="0" y="217539"/>
                  </a:lnTo>
                  <a:lnTo>
                    <a:pt x="217511" y="217539"/>
                  </a:lnTo>
                  <a:lnTo>
                    <a:pt x="0" y="435077"/>
                  </a:lnTo>
                  <a:close/>
                </a:path>
              </a:pathLst>
            </a:custGeom>
            <a:grpFill/>
            <a:ln w="27192" cap="flat">
              <a:noFill/>
              <a:prstDash val="solid"/>
              <a:miter/>
            </a:ln>
          </p:spPr>
          <p:txBody>
            <a:bodyPr rtlCol="0" anchor="ctr"/>
            <a:lstStyle/>
            <a:p>
              <a:endParaRPr lang="uk-UA" sz="900"/>
            </a:p>
          </p:txBody>
        </p:sp>
        <p:sp>
          <p:nvSpPr>
            <p:cNvPr id="628" name="Freeform: Shape 627">
              <a:extLst>
                <a:ext uri="{FF2B5EF4-FFF2-40B4-BE49-F238E27FC236}">
                  <a16:creationId xmlns:a16="http://schemas.microsoft.com/office/drawing/2014/main" id="{5D674C10-D820-BCAD-B45A-8ACF04E01732}"/>
                </a:ext>
              </a:extLst>
            </p:cNvPr>
            <p:cNvSpPr/>
            <p:nvPr/>
          </p:nvSpPr>
          <p:spPr>
            <a:xfrm>
              <a:off x="11277709" y="2839064"/>
              <a:ext cx="435077" cy="435077"/>
            </a:xfrm>
            <a:custGeom>
              <a:avLst/>
              <a:gdLst>
                <a:gd name="connsiteX0" fmla="*/ 435077 w 435077"/>
                <a:gd name="connsiteY0" fmla="*/ 435077 h 435077"/>
                <a:gd name="connsiteX1" fmla="*/ 435077 w 435077"/>
                <a:gd name="connsiteY1" fmla="*/ 0 h 435077"/>
                <a:gd name="connsiteX2" fmla="*/ 217565 w 435077"/>
                <a:gd name="connsiteY2" fmla="*/ 217539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39"/>
                  </a:lnTo>
                  <a:lnTo>
                    <a:pt x="435077" y="435077"/>
                  </a:lnTo>
                  <a:close/>
                  <a:moveTo>
                    <a:pt x="0" y="435077"/>
                  </a:moveTo>
                  <a:lnTo>
                    <a:pt x="0" y="3"/>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629" name="Freeform: Shape 628">
              <a:extLst>
                <a:ext uri="{FF2B5EF4-FFF2-40B4-BE49-F238E27FC236}">
                  <a16:creationId xmlns:a16="http://schemas.microsoft.com/office/drawing/2014/main" id="{8E5E00A3-3202-0FE6-5FD1-98BAB8CAA443}"/>
                </a:ext>
              </a:extLst>
            </p:cNvPr>
            <p:cNvSpPr/>
            <p:nvPr/>
          </p:nvSpPr>
          <p:spPr>
            <a:xfrm>
              <a:off x="10407554" y="2839064"/>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630" name="Freeform: Shape 629">
              <a:extLst>
                <a:ext uri="{FF2B5EF4-FFF2-40B4-BE49-F238E27FC236}">
                  <a16:creationId xmlns:a16="http://schemas.microsoft.com/office/drawing/2014/main" id="{2CB10AF1-E671-2076-70D9-E19C416B611D}"/>
                </a:ext>
              </a:extLst>
            </p:cNvPr>
            <p:cNvSpPr/>
            <p:nvPr/>
          </p:nvSpPr>
          <p:spPr>
            <a:xfrm>
              <a:off x="12147864" y="2839064"/>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39 w 435077"/>
                <a:gd name="connsiteY6" fmla="*/ 153827 h 435077"/>
                <a:gd name="connsiteX7" fmla="*/ 63739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0 h 435077"/>
                <a:gd name="connsiteX12" fmla="*/ 217539 w 435077"/>
                <a:gd name="connsiteY12" fmla="*/ 217539 h 435077"/>
                <a:gd name="connsiteX13" fmla="*/ 63739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2" y="113038"/>
                    <a:pt x="0" y="57694"/>
                    <a:pt x="0" y="0"/>
                  </a:cubicBezTo>
                  <a:lnTo>
                    <a:pt x="217539" y="0"/>
                  </a:lnTo>
                  <a:lnTo>
                    <a:pt x="435077" y="0"/>
                  </a:lnTo>
                  <a:cubicBezTo>
                    <a:pt x="435077" y="57694"/>
                    <a:pt x="412180" y="113038"/>
                    <a:pt x="371365" y="153827"/>
                  </a:cubicBezTo>
                  <a:cubicBezTo>
                    <a:pt x="330577" y="194616"/>
                    <a:pt x="275239" y="217539"/>
                    <a:pt x="217539" y="217539"/>
                  </a:cubicBezTo>
                  <a:cubicBezTo>
                    <a:pt x="159863" y="217539"/>
                    <a:pt x="104527" y="194616"/>
                    <a:pt x="63739" y="153827"/>
                  </a:cubicBezTo>
                  <a:close/>
                  <a:moveTo>
                    <a:pt x="63739" y="281250"/>
                  </a:moveTo>
                  <a:cubicBezTo>
                    <a:pt x="22922" y="322039"/>
                    <a:pt x="0" y="377375"/>
                    <a:pt x="0" y="435077"/>
                  </a:cubicBezTo>
                  <a:lnTo>
                    <a:pt x="217539" y="435077"/>
                  </a:lnTo>
                  <a:lnTo>
                    <a:pt x="435077" y="435077"/>
                  </a:lnTo>
                  <a:cubicBezTo>
                    <a:pt x="435077" y="377375"/>
                    <a:pt x="412180" y="322039"/>
                    <a:pt x="371365" y="281250"/>
                  </a:cubicBezTo>
                  <a:cubicBezTo>
                    <a:pt x="330577" y="240462"/>
                    <a:pt x="275239" y="217539"/>
                    <a:pt x="217539" y="217539"/>
                  </a:cubicBezTo>
                  <a:cubicBezTo>
                    <a:pt x="159863" y="217539"/>
                    <a:pt x="104527" y="240462"/>
                    <a:pt x="63739" y="281250"/>
                  </a:cubicBezTo>
                  <a:close/>
                </a:path>
              </a:pathLst>
            </a:custGeom>
            <a:grpFill/>
            <a:ln w="27192" cap="flat">
              <a:noFill/>
              <a:prstDash val="solid"/>
              <a:miter/>
            </a:ln>
          </p:spPr>
          <p:txBody>
            <a:bodyPr rtlCol="0" anchor="ctr"/>
            <a:lstStyle/>
            <a:p>
              <a:endParaRPr lang="uk-UA" sz="900"/>
            </a:p>
          </p:txBody>
        </p:sp>
        <p:sp>
          <p:nvSpPr>
            <p:cNvPr id="631" name="Freeform: Shape 630">
              <a:extLst>
                <a:ext uri="{FF2B5EF4-FFF2-40B4-BE49-F238E27FC236}">
                  <a16:creationId xmlns:a16="http://schemas.microsoft.com/office/drawing/2014/main" id="{E839A21C-ED41-7F88-27BA-4FBE066A3481}"/>
                </a:ext>
              </a:extLst>
            </p:cNvPr>
            <p:cNvSpPr/>
            <p:nvPr/>
          </p:nvSpPr>
          <p:spPr>
            <a:xfrm>
              <a:off x="13018045" y="2839064"/>
              <a:ext cx="435077" cy="435077"/>
            </a:xfrm>
            <a:custGeom>
              <a:avLst/>
              <a:gdLst>
                <a:gd name="connsiteX0" fmla="*/ 435077 w 435077"/>
                <a:gd name="connsiteY0" fmla="*/ 435077 h 435077"/>
                <a:gd name="connsiteX1" fmla="*/ 435077 w 435077"/>
                <a:gd name="connsiteY1" fmla="*/ 217539 h 435077"/>
                <a:gd name="connsiteX2" fmla="*/ 435077 w 435077"/>
                <a:gd name="connsiteY2" fmla="*/ 14 h 435077"/>
                <a:gd name="connsiteX3" fmla="*/ 217539 w 435077"/>
                <a:gd name="connsiteY3" fmla="*/ 14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14"/>
                  </a:lnTo>
                  <a:lnTo>
                    <a:pt x="217539" y="14"/>
                  </a:lnTo>
                  <a:lnTo>
                    <a:pt x="435077" y="217539"/>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632" name="Freeform: Shape 631">
              <a:extLst>
                <a:ext uri="{FF2B5EF4-FFF2-40B4-BE49-F238E27FC236}">
                  <a16:creationId xmlns:a16="http://schemas.microsoft.com/office/drawing/2014/main" id="{DD1B7FA0-3749-7953-F2B2-35567C83A651}"/>
                </a:ext>
              </a:extLst>
            </p:cNvPr>
            <p:cNvSpPr/>
            <p:nvPr/>
          </p:nvSpPr>
          <p:spPr>
            <a:xfrm>
              <a:off x="14758382" y="2839064"/>
              <a:ext cx="435077" cy="435077"/>
            </a:xfrm>
            <a:custGeom>
              <a:avLst/>
              <a:gdLst>
                <a:gd name="connsiteX0" fmla="*/ 435077 w 435077"/>
                <a:gd name="connsiteY0" fmla="*/ 435077 h 435077"/>
                <a:gd name="connsiteX1" fmla="*/ 435077 w 435077"/>
                <a:gd name="connsiteY1" fmla="*/ 0 h 435077"/>
                <a:gd name="connsiteX2" fmla="*/ 217567 w 435077"/>
                <a:gd name="connsiteY2" fmla="*/ 217539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7" y="217539"/>
                  </a:lnTo>
                  <a:lnTo>
                    <a:pt x="435077" y="435077"/>
                  </a:lnTo>
                  <a:close/>
                  <a:moveTo>
                    <a:pt x="0" y="435077"/>
                  </a:moveTo>
                  <a:lnTo>
                    <a:pt x="0" y="3"/>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633" name="Freeform: Shape 632">
              <a:extLst>
                <a:ext uri="{FF2B5EF4-FFF2-40B4-BE49-F238E27FC236}">
                  <a16:creationId xmlns:a16="http://schemas.microsoft.com/office/drawing/2014/main" id="{D9E50AF1-259B-9541-6658-B277D782145D}"/>
                </a:ext>
              </a:extLst>
            </p:cNvPr>
            <p:cNvSpPr/>
            <p:nvPr/>
          </p:nvSpPr>
          <p:spPr>
            <a:xfrm>
              <a:off x="13888200" y="2839064"/>
              <a:ext cx="435103" cy="435077"/>
            </a:xfrm>
            <a:custGeom>
              <a:avLst/>
              <a:gdLst>
                <a:gd name="connsiteX0" fmla="*/ 0 w 435103"/>
                <a:gd name="connsiteY0" fmla="*/ 435077 h 435077"/>
                <a:gd name="connsiteX1" fmla="*/ 0 w 435103"/>
                <a:gd name="connsiteY1" fmla="*/ 0 h 435077"/>
                <a:gd name="connsiteX2" fmla="*/ 217539 w 435103"/>
                <a:gd name="connsiteY2" fmla="*/ 217539 h 435077"/>
                <a:gd name="connsiteX3" fmla="*/ 0 w 435103"/>
                <a:gd name="connsiteY3" fmla="*/ 435077 h 435077"/>
                <a:gd name="connsiteX4" fmla="*/ 217565 w 435103"/>
                <a:gd name="connsiteY4" fmla="*/ 435077 h 435077"/>
                <a:gd name="connsiteX5" fmla="*/ 217565 w 435103"/>
                <a:gd name="connsiteY5" fmla="*/ 0 h 435077"/>
                <a:gd name="connsiteX6" fmla="*/ 435104 w 435103"/>
                <a:gd name="connsiteY6" fmla="*/ 217539 h 435077"/>
                <a:gd name="connsiteX7" fmla="*/ 217565 w 435103"/>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103" h="435077">
                  <a:moveTo>
                    <a:pt x="0" y="435077"/>
                  </a:moveTo>
                  <a:lnTo>
                    <a:pt x="0" y="0"/>
                  </a:lnTo>
                  <a:lnTo>
                    <a:pt x="217539" y="217539"/>
                  </a:lnTo>
                  <a:lnTo>
                    <a:pt x="0" y="435077"/>
                  </a:lnTo>
                  <a:close/>
                  <a:moveTo>
                    <a:pt x="217565" y="435077"/>
                  </a:moveTo>
                  <a:lnTo>
                    <a:pt x="217565" y="0"/>
                  </a:lnTo>
                  <a:lnTo>
                    <a:pt x="435104" y="217539"/>
                  </a:lnTo>
                  <a:lnTo>
                    <a:pt x="217565" y="435077"/>
                  </a:lnTo>
                  <a:close/>
                </a:path>
              </a:pathLst>
            </a:custGeom>
            <a:grpFill/>
            <a:ln w="27192" cap="flat">
              <a:noFill/>
              <a:prstDash val="solid"/>
              <a:miter/>
            </a:ln>
          </p:spPr>
          <p:txBody>
            <a:bodyPr rtlCol="0" anchor="ctr"/>
            <a:lstStyle/>
            <a:p>
              <a:endParaRPr lang="uk-UA" sz="900"/>
            </a:p>
          </p:txBody>
        </p:sp>
        <p:sp>
          <p:nvSpPr>
            <p:cNvPr id="634" name="Freeform: Shape 633">
              <a:extLst>
                <a:ext uri="{FF2B5EF4-FFF2-40B4-BE49-F238E27FC236}">
                  <a16:creationId xmlns:a16="http://schemas.microsoft.com/office/drawing/2014/main" id="{862AF28F-1907-6191-326F-5A416C791892}"/>
                </a:ext>
              </a:extLst>
            </p:cNvPr>
            <p:cNvSpPr/>
            <p:nvPr/>
          </p:nvSpPr>
          <p:spPr>
            <a:xfrm>
              <a:off x="15628536" y="283906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8"/>
                    <a:pt x="0" y="57694"/>
                    <a:pt x="0" y="0"/>
                  </a:cubicBezTo>
                  <a:lnTo>
                    <a:pt x="217539" y="0"/>
                  </a:lnTo>
                  <a:lnTo>
                    <a:pt x="435077" y="0"/>
                  </a:lnTo>
                  <a:cubicBezTo>
                    <a:pt x="435077" y="57694"/>
                    <a:pt x="412155" y="113038"/>
                    <a:pt x="371367" y="153827"/>
                  </a:cubicBezTo>
                  <a:cubicBezTo>
                    <a:pt x="330578" y="194616"/>
                    <a:pt x="275241" y="217539"/>
                    <a:pt x="217539" y="217539"/>
                  </a:cubicBezTo>
                  <a:cubicBezTo>
                    <a:pt x="159865" y="217539"/>
                    <a:pt x="104527" y="194616"/>
                    <a:pt x="63712" y="153827"/>
                  </a:cubicBezTo>
                  <a:close/>
                  <a:moveTo>
                    <a:pt x="63712" y="281250"/>
                  </a:moveTo>
                  <a:cubicBezTo>
                    <a:pt x="22924" y="322039"/>
                    <a:pt x="0" y="377375"/>
                    <a:pt x="0" y="435077"/>
                  </a:cubicBezTo>
                  <a:lnTo>
                    <a:pt x="217539" y="435077"/>
                  </a:lnTo>
                  <a:lnTo>
                    <a:pt x="435077" y="435077"/>
                  </a:lnTo>
                  <a:cubicBezTo>
                    <a:pt x="435077" y="377375"/>
                    <a:pt x="412155" y="322039"/>
                    <a:pt x="371367" y="281250"/>
                  </a:cubicBezTo>
                  <a:cubicBezTo>
                    <a:pt x="330578" y="240462"/>
                    <a:pt x="275241" y="217539"/>
                    <a:pt x="217539" y="217539"/>
                  </a:cubicBezTo>
                  <a:cubicBezTo>
                    <a:pt x="159865" y="217539"/>
                    <a:pt x="104527" y="240462"/>
                    <a:pt x="63712" y="281250"/>
                  </a:cubicBezTo>
                  <a:close/>
                </a:path>
              </a:pathLst>
            </a:custGeom>
            <a:grpFill/>
            <a:ln w="27192" cap="flat">
              <a:noFill/>
              <a:prstDash val="solid"/>
              <a:miter/>
            </a:ln>
          </p:spPr>
          <p:txBody>
            <a:bodyPr rtlCol="0" anchor="ctr"/>
            <a:lstStyle/>
            <a:p>
              <a:endParaRPr lang="uk-UA" sz="900"/>
            </a:p>
          </p:txBody>
        </p:sp>
        <p:sp>
          <p:nvSpPr>
            <p:cNvPr id="635" name="Freeform: Shape 634">
              <a:extLst>
                <a:ext uri="{FF2B5EF4-FFF2-40B4-BE49-F238E27FC236}">
                  <a16:creationId xmlns:a16="http://schemas.microsoft.com/office/drawing/2014/main" id="{503DCA9D-4B2E-E8D3-3638-D57B85EAE0D0}"/>
                </a:ext>
              </a:extLst>
            </p:cNvPr>
            <p:cNvSpPr/>
            <p:nvPr/>
          </p:nvSpPr>
          <p:spPr>
            <a:xfrm>
              <a:off x="16498719" y="2839064"/>
              <a:ext cx="435077" cy="435077"/>
            </a:xfrm>
            <a:custGeom>
              <a:avLst/>
              <a:gdLst>
                <a:gd name="connsiteX0" fmla="*/ 435077 w 435077"/>
                <a:gd name="connsiteY0" fmla="*/ 435077 h 435077"/>
                <a:gd name="connsiteX1" fmla="*/ 435077 w 435077"/>
                <a:gd name="connsiteY1" fmla="*/ 217539 h 435077"/>
                <a:gd name="connsiteX2" fmla="*/ 435077 w 435077"/>
                <a:gd name="connsiteY2" fmla="*/ 14 h 435077"/>
                <a:gd name="connsiteX3" fmla="*/ 217539 w 435077"/>
                <a:gd name="connsiteY3" fmla="*/ 14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0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0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14"/>
                  </a:lnTo>
                  <a:lnTo>
                    <a:pt x="217539" y="14"/>
                  </a:lnTo>
                  <a:lnTo>
                    <a:pt x="435077" y="217539"/>
                  </a:lnTo>
                  <a:lnTo>
                    <a:pt x="217539" y="435077"/>
                  </a:lnTo>
                  <a:lnTo>
                    <a:pt x="435077" y="435077"/>
                  </a:lnTo>
                  <a:close/>
                  <a:moveTo>
                    <a:pt x="0" y="217539"/>
                  </a:moveTo>
                  <a:lnTo>
                    <a:pt x="0" y="0"/>
                  </a:lnTo>
                  <a:lnTo>
                    <a:pt x="217510" y="217539"/>
                  </a:lnTo>
                  <a:lnTo>
                    <a:pt x="0" y="217539"/>
                  </a:lnTo>
                  <a:close/>
                  <a:moveTo>
                    <a:pt x="0" y="435077"/>
                  </a:moveTo>
                  <a:lnTo>
                    <a:pt x="0" y="217539"/>
                  </a:lnTo>
                  <a:lnTo>
                    <a:pt x="217510" y="217539"/>
                  </a:lnTo>
                  <a:lnTo>
                    <a:pt x="0" y="435077"/>
                  </a:lnTo>
                  <a:close/>
                </a:path>
              </a:pathLst>
            </a:custGeom>
            <a:grpFill/>
            <a:ln w="27192" cap="flat">
              <a:noFill/>
              <a:prstDash val="solid"/>
              <a:miter/>
            </a:ln>
          </p:spPr>
          <p:txBody>
            <a:bodyPr rtlCol="0" anchor="ctr"/>
            <a:lstStyle/>
            <a:p>
              <a:endParaRPr lang="uk-UA" sz="900"/>
            </a:p>
          </p:txBody>
        </p:sp>
        <p:sp>
          <p:nvSpPr>
            <p:cNvPr id="636" name="Freeform: Shape 635">
              <a:extLst>
                <a:ext uri="{FF2B5EF4-FFF2-40B4-BE49-F238E27FC236}">
                  <a16:creationId xmlns:a16="http://schemas.microsoft.com/office/drawing/2014/main" id="{11E54C70-F269-1327-82E6-C8E7610DE9B6}"/>
                </a:ext>
              </a:extLst>
            </p:cNvPr>
            <p:cNvSpPr/>
            <p:nvPr/>
          </p:nvSpPr>
          <p:spPr>
            <a:xfrm>
              <a:off x="18239029" y="2839064"/>
              <a:ext cx="435077" cy="435077"/>
            </a:xfrm>
            <a:custGeom>
              <a:avLst/>
              <a:gdLst>
                <a:gd name="connsiteX0" fmla="*/ 435077 w 435077"/>
                <a:gd name="connsiteY0" fmla="*/ 435077 h 435077"/>
                <a:gd name="connsiteX1" fmla="*/ 435077 w 435077"/>
                <a:gd name="connsiteY1" fmla="*/ 0 h 435077"/>
                <a:gd name="connsiteX2" fmla="*/ 217565 w 435077"/>
                <a:gd name="connsiteY2" fmla="*/ 217539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39"/>
                  </a:lnTo>
                  <a:lnTo>
                    <a:pt x="435077" y="435077"/>
                  </a:lnTo>
                  <a:close/>
                  <a:moveTo>
                    <a:pt x="0" y="435077"/>
                  </a:moveTo>
                  <a:lnTo>
                    <a:pt x="0" y="3"/>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637" name="Freeform: Shape 636">
              <a:extLst>
                <a:ext uri="{FF2B5EF4-FFF2-40B4-BE49-F238E27FC236}">
                  <a16:creationId xmlns:a16="http://schemas.microsoft.com/office/drawing/2014/main" id="{C705BA17-BA9B-1E74-CEEC-C00A1E2C6FD5}"/>
                </a:ext>
              </a:extLst>
            </p:cNvPr>
            <p:cNvSpPr/>
            <p:nvPr/>
          </p:nvSpPr>
          <p:spPr>
            <a:xfrm>
              <a:off x="17368874" y="2839064"/>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638" name="Freeform: Shape 637">
              <a:extLst>
                <a:ext uri="{FF2B5EF4-FFF2-40B4-BE49-F238E27FC236}">
                  <a16:creationId xmlns:a16="http://schemas.microsoft.com/office/drawing/2014/main" id="{ECFC1DB1-5F0E-A01F-F96F-1DCB7B0F61C1}"/>
                </a:ext>
              </a:extLst>
            </p:cNvPr>
            <p:cNvSpPr/>
            <p:nvPr/>
          </p:nvSpPr>
          <p:spPr>
            <a:xfrm>
              <a:off x="19109210" y="283906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895" y="113038"/>
                    <a:pt x="0" y="57694"/>
                    <a:pt x="0" y="0"/>
                  </a:cubicBezTo>
                  <a:lnTo>
                    <a:pt x="217539" y="0"/>
                  </a:lnTo>
                  <a:lnTo>
                    <a:pt x="435077" y="0"/>
                  </a:lnTo>
                  <a:cubicBezTo>
                    <a:pt x="435077" y="57694"/>
                    <a:pt x="412154" y="113038"/>
                    <a:pt x="371339" y="153827"/>
                  </a:cubicBezTo>
                  <a:cubicBezTo>
                    <a:pt x="330550" y="194616"/>
                    <a:pt x="275215" y="217539"/>
                    <a:pt x="217539" y="217539"/>
                  </a:cubicBezTo>
                  <a:cubicBezTo>
                    <a:pt x="159836" y="217539"/>
                    <a:pt x="104501" y="194616"/>
                    <a:pt x="63712" y="153827"/>
                  </a:cubicBezTo>
                  <a:close/>
                  <a:moveTo>
                    <a:pt x="63712" y="281250"/>
                  </a:moveTo>
                  <a:cubicBezTo>
                    <a:pt x="22895" y="322039"/>
                    <a:pt x="0" y="377375"/>
                    <a:pt x="0" y="435077"/>
                  </a:cubicBezTo>
                  <a:lnTo>
                    <a:pt x="217539" y="435077"/>
                  </a:lnTo>
                  <a:lnTo>
                    <a:pt x="435077" y="435077"/>
                  </a:lnTo>
                  <a:cubicBezTo>
                    <a:pt x="435077" y="377375"/>
                    <a:pt x="412154" y="322039"/>
                    <a:pt x="371339" y="281250"/>
                  </a:cubicBezTo>
                  <a:cubicBezTo>
                    <a:pt x="330550" y="240462"/>
                    <a:pt x="275215" y="217539"/>
                    <a:pt x="217539" y="217539"/>
                  </a:cubicBezTo>
                  <a:cubicBezTo>
                    <a:pt x="159836" y="217539"/>
                    <a:pt x="104501" y="240462"/>
                    <a:pt x="63712" y="281250"/>
                  </a:cubicBezTo>
                  <a:close/>
                </a:path>
              </a:pathLst>
            </a:custGeom>
            <a:grpFill/>
            <a:ln w="27192" cap="flat">
              <a:noFill/>
              <a:prstDash val="solid"/>
              <a:miter/>
            </a:ln>
          </p:spPr>
          <p:txBody>
            <a:bodyPr rtlCol="0" anchor="ctr"/>
            <a:lstStyle/>
            <a:p>
              <a:endParaRPr lang="uk-UA" sz="900"/>
            </a:p>
          </p:txBody>
        </p:sp>
        <p:sp>
          <p:nvSpPr>
            <p:cNvPr id="639" name="Freeform: Shape 638">
              <a:extLst>
                <a:ext uri="{FF2B5EF4-FFF2-40B4-BE49-F238E27FC236}">
                  <a16:creationId xmlns:a16="http://schemas.microsoft.com/office/drawing/2014/main" id="{562BE938-E8EE-69C1-E413-60544AACE964}"/>
                </a:ext>
              </a:extLst>
            </p:cNvPr>
            <p:cNvSpPr/>
            <p:nvPr/>
          </p:nvSpPr>
          <p:spPr>
            <a:xfrm>
              <a:off x="19979365" y="2839064"/>
              <a:ext cx="435077" cy="435077"/>
            </a:xfrm>
            <a:custGeom>
              <a:avLst/>
              <a:gdLst>
                <a:gd name="connsiteX0" fmla="*/ 435077 w 435077"/>
                <a:gd name="connsiteY0" fmla="*/ 435077 h 435077"/>
                <a:gd name="connsiteX1" fmla="*/ 435077 w 435077"/>
                <a:gd name="connsiteY1" fmla="*/ 217539 h 435077"/>
                <a:gd name="connsiteX2" fmla="*/ 435077 w 435077"/>
                <a:gd name="connsiteY2" fmla="*/ 14 h 435077"/>
                <a:gd name="connsiteX3" fmla="*/ 217539 w 435077"/>
                <a:gd name="connsiteY3" fmla="*/ 14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14"/>
                  </a:lnTo>
                  <a:lnTo>
                    <a:pt x="217539" y="14"/>
                  </a:lnTo>
                  <a:lnTo>
                    <a:pt x="435077" y="217539"/>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640" name="Freeform: Shape 639">
              <a:extLst>
                <a:ext uri="{FF2B5EF4-FFF2-40B4-BE49-F238E27FC236}">
                  <a16:creationId xmlns:a16="http://schemas.microsoft.com/office/drawing/2014/main" id="{63E5E84A-5F84-A6A3-B0B8-3B161E1B0825}"/>
                </a:ext>
              </a:extLst>
            </p:cNvPr>
            <p:cNvSpPr/>
            <p:nvPr/>
          </p:nvSpPr>
          <p:spPr>
            <a:xfrm>
              <a:off x="21719702" y="2839064"/>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3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3"/>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641" name="Freeform: Shape 640">
              <a:extLst>
                <a:ext uri="{FF2B5EF4-FFF2-40B4-BE49-F238E27FC236}">
                  <a16:creationId xmlns:a16="http://schemas.microsoft.com/office/drawing/2014/main" id="{568E5BE3-6C07-F156-E2D0-DEA00629BDC0}"/>
                </a:ext>
              </a:extLst>
            </p:cNvPr>
            <p:cNvSpPr/>
            <p:nvPr/>
          </p:nvSpPr>
          <p:spPr>
            <a:xfrm>
              <a:off x="20849520" y="2839064"/>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65 w 435077"/>
                <a:gd name="connsiteY4" fmla="*/ 435077 h 435077"/>
                <a:gd name="connsiteX5" fmla="*/ 217565 w 435077"/>
                <a:gd name="connsiteY5" fmla="*/ 0 h 435077"/>
                <a:gd name="connsiteX6" fmla="*/ 435077 w 435077"/>
                <a:gd name="connsiteY6" fmla="*/ 217539 h 435077"/>
                <a:gd name="connsiteX7" fmla="*/ 217565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65" y="435077"/>
                  </a:moveTo>
                  <a:lnTo>
                    <a:pt x="217565" y="0"/>
                  </a:lnTo>
                  <a:lnTo>
                    <a:pt x="435077" y="217539"/>
                  </a:lnTo>
                  <a:lnTo>
                    <a:pt x="217565" y="435077"/>
                  </a:lnTo>
                  <a:close/>
                </a:path>
              </a:pathLst>
            </a:custGeom>
            <a:grpFill/>
            <a:ln w="27192" cap="flat">
              <a:noFill/>
              <a:prstDash val="solid"/>
              <a:miter/>
            </a:ln>
          </p:spPr>
          <p:txBody>
            <a:bodyPr rtlCol="0" anchor="ctr"/>
            <a:lstStyle/>
            <a:p>
              <a:endParaRPr lang="uk-UA" sz="900"/>
            </a:p>
          </p:txBody>
        </p:sp>
        <p:sp>
          <p:nvSpPr>
            <p:cNvPr id="642" name="Freeform: Shape 641">
              <a:extLst>
                <a:ext uri="{FF2B5EF4-FFF2-40B4-BE49-F238E27FC236}">
                  <a16:creationId xmlns:a16="http://schemas.microsoft.com/office/drawing/2014/main" id="{D857006F-CF85-8B0F-60C2-DABCBCC3BF30}"/>
                </a:ext>
              </a:extLst>
            </p:cNvPr>
            <p:cNvSpPr/>
            <p:nvPr/>
          </p:nvSpPr>
          <p:spPr>
            <a:xfrm>
              <a:off x="22589856" y="283906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8"/>
                    <a:pt x="0" y="57694"/>
                    <a:pt x="0" y="0"/>
                  </a:cubicBezTo>
                  <a:lnTo>
                    <a:pt x="217539" y="0"/>
                  </a:lnTo>
                  <a:lnTo>
                    <a:pt x="435077" y="0"/>
                  </a:lnTo>
                  <a:cubicBezTo>
                    <a:pt x="435077" y="57694"/>
                    <a:pt x="412155" y="113038"/>
                    <a:pt x="371367" y="153827"/>
                  </a:cubicBezTo>
                  <a:cubicBezTo>
                    <a:pt x="330578" y="194616"/>
                    <a:pt x="275241" y="217539"/>
                    <a:pt x="217539" y="217539"/>
                  </a:cubicBezTo>
                  <a:cubicBezTo>
                    <a:pt x="159838" y="217539"/>
                    <a:pt x="104529" y="194616"/>
                    <a:pt x="63712" y="153827"/>
                  </a:cubicBezTo>
                  <a:close/>
                  <a:moveTo>
                    <a:pt x="63712" y="281250"/>
                  </a:moveTo>
                  <a:cubicBezTo>
                    <a:pt x="22924" y="322039"/>
                    <a:pt x="0" y="377375"/>
                    <a:pt x="0" y="435077"/>
                  </a:cubicBezTo>
                  <a:lnTo>
                    <a:pt x="217539" y="435077"/>
                  </a:lnTo>
                  <a:lnTo>
                    <a:pt x="435077" y="435077"/>
                  </a:lnTo>
                  <a:cubicBezTo>
                    <a:pt x="435077" y="377375"/>
                    <a:pt x="412155" y="322039"/>
                    <a:pt x="371367" y="281250"/>
                  </a:cubicBezTo>
                  <a:cubicBezTo>
                    <a:pt x="330578" y="240462"/>
                    <a:pt x="275241" y="217539"/>
                    <a:pt x="217539" y="217539"/>
                  </a:cubicBezTo>
                  <a:cubicBezTo>
                    <a:pt x="159838" y="217539"/>
                    <a:pt x="104529" y="240462"/>
                    <a:pt x="63712" y="281250"/>
                  </a:cubicBezTo>
                  <a:close/>
                </a:path>
              </a:pathLst>
            </a:custGeom>
            <a:grpFill/>
            <a:ln w="27192" cap="flat">
              <a:noFill/>
              <a:prstDash val="solid"/>
              <a:miter/>
            </a:ln>
          </p:spPr>
          <p:txBody>
            <a:bodyPr rtlCol="0" anchor="ctr"/>
            <a:lstStyle/>
            <a:p>
              <a:endParaRPr lang="uk-UA" sz="900"/>
            </a:p>
          </p:txBody>
        </p:sp>
        <p:sp>
          <p:nvSpPr>
            <p:cNvPr id="643" name="Freeform: Shape 642">
              <a:extLst>
                <a:ext uri="{FF2B5EF4-FFF2-40B4-BE49-F238E27FC236}">
                  <a16:creationId xmlns:a16="http://schemas.microsoft.com/office/drawing/2014/main" id="{77922B51-42E6-272D-2E86-CAD7B98D7C4F}"/>
                </a:ext>
              </a:extLst>
            </p:cNvPr>
            <p:cNvSpPr/>
            <p:nvPr/>
          </p:nvSpPr>
          <p:spPr>
            <a:xfrm>
              <a:off x="23460011" y="2839064"/>
              <a:ext cx="435105" cy="435077"/>
            </a:xfrm>
            <a:custGeom>
              <a:avLst/>
              <a:gdLst>
                <a:gd name="connsiteX0" fmla="*/ 435106 w 435105"/>
                <a:gd name="connsiteY0" fmla="*/ 435077 h 435077"/>
                <a:gd name="connsiteX1" fmla="*/ 435106 w 435105"/>
                <a:gd name="connsiteY1" fmla="*/ 217539 h 435077"/>
                <a:gd name="connsiteX2" fmla="*/ 435106 w 435105"/>
                <a:gd name="connsiteY2" fmla="*/ 14 h 435077"/>
                <a:gd name="connsiteX3" fmla="*/ 217567 w 435105"/>
                <a:gd name="connsiteY3" fmla="*/ 14 h 435077"/>
                <a:gd name="connsiteX4" fmla="*/ 435106 w 435105"/>
                <a:gd name="connsiteY4" fmla="*/ 217539 h 435077"/>
                <a:gd name="connsiteX5" fmla="*/ 217567 w 435105"/>
                <a:gd name="connsiteY5" fmla="*/ 435077 h 435077"/>
                <a:gd name="connsiteX6" fmla="*/ 435106 w 435105"/>
                <a:gd name="connsiteY6" fmla="*/ 435077 h 435077"/>
                <a:gd name="connsiteX7" fmla="*/ 0 w 435105"/>
                <a:gd name="connsiteY7" fmla="*/ 217539 h 435077"/>
                <a:gd name="connsiteX8" fmla="*/ 0 w 435105"/>
                <a:gd name="connsiteY8" fmla="*/ 0 h 435077"/>
                <a:gd name="connsiteX9" fmla="*/ 217539 w 435105"/>
                <a:gd name="connsiteY9" fmla="*/ 217539 h 435077"/>
                <a:gd name="connsiteX10" fmla="*/ 0 w 435105"/>
                <a:gd name="connsiteY10" fmla="*/ 217539 h 435077"/>
                <a:gd name="connsiteX11" fmla="*/ 0 w 435105"/>
                <a:gd name="connsiteY11" fmla="*/ 435077 h 435077"/>
                <a:gd name="connsiteX12" fmla="*/ 0 w 435105"/>
                <a:gd name="connsiteY12" fmla="*/ 217539 h 435077"/>
                <a:gd name="connsiteX13" fmla="*/ 217539 w 435105"/>
                <a:gd name="connsiteY13" fmla="*/ 217539 h 435077"/>
                <a:gd name="connsiteX14" fmla="*/ 0 w 435105"/>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105" h="435077">
                  <a:moveTo>
                    <a:pt x="435106" y="435077"/>
                  </a:moveTo>
                  <a:lnTo>
                    <a:pt x="435106" y="217539"/>
                  </a:lnTo>
                  <a:lnTo>
                    <a:pt x="435106" y="14"/>
                  </a:lnTo>
                  <a:lnTo>
                    <a:pt x="217567" y="14"/>
                  </a:lnTo>
                  <a:lnTo>
                    <a:pt x="435106" y="217539"/>
                  </a:lnTo>
                  <a:lnTo>
                    <a:pt x="217567" y="435077"/>
                  </a:lnTo>
                  <a:lnTo>
                    <a:pt x="435106"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644" name="Freeform: Shape 643">
              <a:extLst>
                <a:ext uri="{FF2B5EF4-FFF2-40B4-BE49-F238E27FC236}">
                  <a16:creationId xmlns:a16="http://schemas.microsoft.com/office/drawing/2014/main" id="{0936B598-E4F5-E701-FD38-F718027553BD}"/>
                </a:ext>
              </a:extLst>
            </p:cNvPr>
            <p:cNvSpPr/>
            <p:nvPr/>
          </p:nvSpPr>
          <p:spPr>
            <a:xfrm>
              <a:off x="24330194" y="2839064"/>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645" name="Freeform: Shape 644">
              <a:extLst>
                <a:ext uri="{FF2B5EF4-FFF2-40B4-BE49-F238E27FC236}">
                  <a16:creationId xmlns:a16="http://schemas.microsoft.com/office/drawing/2014/main" id="{0225C001-A143-AF2B-BC95-516FE2935A3E}"/>
                </a:ext>
              </a:extLst>
            </p:cNvPr>
            <p:cNvSpPr/>
            <p:nvPr/>
          </p:nvSpPr>
          <p:spPr>
            <a:xfrm>
              <a:off x="835769" y="3709219"/>
              <a:ext cx="435077" cy="435077"/>
            </a:xfrm>
            <a:custGeom>
              <a:avLst/>
              <a:gdLst>
                <a:gd name="connsiteX0" fmla="*/ 0 w 435077"/>
                <a:gd name="connsiteY0" fmla="*/ 435077 h 435077"/>
                <a:gd name="connsiteX1" fmla="*/ 217511 w 435077"/>
                <a:gd name="connsiteY1" fmla="*/ 435077 h 435077"/>
                <a:gd name="connsiteX2" fmla="*/ 217511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11" y="435077"/>
                  </a:lnTo>
                  <a:lnTo>
                    <a:pt x="217511"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646" name="Freeform: Shape 645">
              <a:extLst>
                <a:ext uri="{FF2B5EF4-FFF2-40B4-BE49-F238E27FC236}">
                  <a16:creationId xmlns:a16="http://schemas.microsoft.com/office/drawing/2014/main" id="{732B3898-D3A1-1D16-ACA4-8A205BB4EA4B}"/>
                </a:ext>
              </a:extLst>
            </p:cNvPr>
            <p:cNvSpPr/>
            <p:nvPr/>
          </p:nvSpPr>
          <p:spPr>
            <a:xfrm>
              <a:off x="-34398" y="3709219"/>
              <a:ext cx="435063" cy="435077"/>
            </a:xfrm>
            <a:custGeom>
              <a:avLst/>
              <a:gdLst>
                <a:gd name="connsiteX0" fmla="*/ 217525 w 435063"/>
                <a:gd name="connsiteY0" fmla="*/ 217539 h 435077"/>
                <a:gd name="connsiteX1" fmla="*/ 217525 w 435063"/>
                <a:gd name="connsiteY1" fmla="*/ 0 h 435077"/>
                <a:gd name="connsiteX2" fmla="*/ 0 w 435063"/>
                <a:gd name="connsiteY2" fmla="*/ 0 h 435077"/>
                <a:gd name="connsiteX3" fmla="*/ 217525 w 435063"/>
                <a:gd name="connsiteY3" fmla="*/ 217539 h 435077"/>
                <a:gd name="connsiteX4" fmla="*/ 0 w 435063"/>
                <a:gd name="connsiteY4" fmla="*/ 435077 h 435077"/>
                <a:gd name="connsiteX5" fmla="*/ 217525 w 435063"/>
                <a:gd name="connsiteY5" fmla="*/ 435077 h 435077"/>
                <a:gd name="connsiteX6" fmla="*/ 217525 w 435063"/>
                <a:gd name="connsiteY6" fmla="*/ 435077 h 435077"/>
                <a:gd name="connsiteX7" fmla="*/ 435064 w 435063"/>
                <a:gd name="connsiteY7" fmla="*/ 217539 h 435077"/>
                <a:gd name="connsiteX8" fmla="*/ 435064 w 435063"/>
                <a:gd name="connsiteY8" fmla="*/ 217539 h 435077"/>
                <a:gd name="connsiteX9" fmla="*/ 435064 w 435063"/>
                <a:gd name="connsiteY9" fmla="*/ 217539 h 435077"/>
                <a:gd name="connsiteX10" fmla="*/ 435064 w 435063"/>
                <a:gd name="connsiteY10" fmla="*/ 217539 h 435077"/>
                <a:gd name="connsiteX11" fmla="*/ 435064 w 435063"/>
                <a:gd name="connsiteY11" fmla="*/ 217539 h 435077"/>
                <a:gd name="connsiteX12" fmla="*/ 217525 w 435063"/>
                <a:gd name="connsiteY12" fmla="*/ 0 h 435077"/>
                <a:gd name="connsiteX13" fmla="*/ 217525 w 435063"/>
                <a:gd name="connsiteY13" fmla="*/ 217539 h 435077"/>
                <a:gd name="connsiteX14" fmla="*/ 217525 w 435063"/>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63" h="435077">
                  <a:moveTo>
                    <a:pt x="217525" y="217539"/>
                  </a:moveTo>
                  <a:lnTo>
                    <a:pt x="217525" y="0"/>
                  </a:lnTo>
                  <a:lnTo>
                    <a:pt x="0" y="0"/>
                  </a:lnTo>
                  <a:lnTo>
                    <a:pt x="217525" y="217539"/>
                  </a:lnTo>
                  <a:lnTo>
                    <a:pt x="0" y="435077"/>
                  </a:lnTo>
                  <a:lnTo>
                    <a:pt x="217525" y="435077"/>
                  </a:lnTo>
                  <a:lnTo>
                    <a:pt x="217525" y="435077"/>
                  </a:lnTo>
                  <a:lnTo>
                    <a:pt x="435064" y="217539"/>
                  </a:lnTo>
                  <a:lnTo>
                    <a:pt x="435064" y="217539"/>
                  </a:lnTo>
                  <a:lnTo>
                    <a:pt x="435064" y="217539"/>
                  </a:lnTo>
                  <a:lnTo>
                    <a:pt x="435064" y="217539"/>
                  </a:lnTo>
                  <a:lnTo>
                    <a:pt x="435064" y="217539"/>
                  </a:lnTo>
                  <a:lnTo>
                    <a:pt x="217525" y="0"/>
                  </a:lnTo>
                  <a:lnTo>
                    <a:pt x="217525" y="217539"/>
                  </a:lnTo>
                  <a:lnTo>
                    <a:pt x="217525" y="217539"/>
                  </a:lnTo>
                  <a:close/>
                </a:path>
              </a:pathLst>
            </a:custGeom>
            <a:grpFill/>
            <a:ln w="27192" cap="flat">
              <a:noFill/>
              <a:prstDash val="solid"/>
              <a:miter/>
            </a:ln>
          </p:spPr>
          <p:txBody>
            <a:bodyPr rtlCol="0" anchor="ctr"/>
            <a:lstStyle/>
            <a:p>
              <a:endParaRPr lang="uk-UA" sz="900"/>
            </a:p>
          </p:txBody>
        </p:sp>
        <p:sp>
          <p:nvSpPr>
            <p:cNvPr id="647" name="Freeform: Shape 646">
              <a:extLst>
                <a:ext uri="{FF2B5EF4-FFF2-40B4-BE49-F238E27FC236}">
                  <a16:creationId xmlns:a16="http://schemas.microsoft.com/office/drawing/2014/main" id="{5A6F9E6D-BB85-174D-F6A3-38627FA948EB}"/>
                </a:ext>
              </a:extLst>
            </p:cNvPr>
            <p:cNvSpPr/>
            <p:nvPr/>
          </p:nvSpPr>
          <p:spPr>
            <a:xfrm>
              <a:off x="1705924" y="3709219"/>
              <a:ext cx="435104" cy="435077"/>
            </a:xfrm>
            <a:custGeom>
              <a:avLst/>
              <a:gdLst>
                <a:gd name="connsiteX0" fmla="*/ 217539 w 435104"/>
                <a:gd name="connsiteY0" fmla="*/ 0 h 435077"/>
                <a:gd name="connsiteX1" fmla="*/ 0 w 435104"/>
                <a:gd name="connsiteY1" fmla="*/ 0 h 435077"/>
                <a:gd name="connsiteX2" fmla="*/ 0 w 435104"/>
                <a:gd name="connsiteY2" fmla="*/ 217539 h 435077"/>
                <a:gd name="connsiteX3" fmla="*/ 217539 w 435104"/>
                <a:gd name="connsiteY3" fmla="*/ 0 h 435077"/>
                <a:gd name="connsiteX4" fmla="*/ 435104 w 435104"/>
                <a:gd name="connsiteY4" fmla="*/ 0 h 435077"/>
                <a:gd name="connsiteX5" fmla="*/ 435104 w 435104"/>
                <a:gd name="connsiteY5" fmla="*/ 217539 h 435077"/>
                <a:gd name="connsiteX6" fmla="*/ 217566 w 435104"/>
                <a:gd name="connsiteY6" fmla="*/ 0 h 435077"/>
                <a:gd name="connsiteX7" fmla="*/ 435104 w 435104"/>
                <a:gd name="connsiteY7" fmla="*/ 0 h 435077"/>
                <a:gd name="connsiteX8" fmla="*/ 217566 w 435104"/>
                <a:gd name="connsiteY8" fmla="*/ 435077 h 435077"/>
                <a:gd name="connsiteX9" fmla="*/ 435104 w 435104"/>
                <a:gd name="connsiteY9" fmla="*/ 217539 h 435077"/>
                <a:gd name="connsiteX10" fmla="*/ 435104 w 435104"/>
                <a:gd name="connsiteY10" fmla="*/ 435077 h 435077"/>
                <a:gd name="connsiteX11" fmla="*/ 217566 w 435104"/>
                <a:gd name="connsiteY11" fmla="*/ 435077 h 435077"/>
                <a:gd name="connsiteX12" fmla="*/ 217566 w 435104"/>
                <a:gd name="connsiteY12" fmla="*/ 435077 h 435077"/>
                <a:gd name="connsiteX13" fmla="*/ 27 w 435104"/>
                <a:gd name="connsiteY13" fmla="*/ 217539 h 435077"/>
                <a:gd name="connsiteX14" fmla="*/ 27 w 435104"/>
                <a:gd name="connsiteY14" fmla="*/ 435077 h 435077"/>
                <a:gd name="connsiteX15" fmla="*/ 217566 w 435104"/>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4" h="435077">
                  <a:moveTo>
                    <a:pt x="217539" y="0"/>
                  </a:moveTo>
                  <a:lnTo>
                    <a:pt x="0" y="0"/>
                  </a:lnTo>
                  <a:lnTo>
                    <a:pt x="0" y="217539"/>
                  </a:lnTo>
                  <a:lnTo>
                    <a:pt x="217539" y="0"/>
                  </a:lnTo>
                  <a:close/>
                  <a:moveTo>
                    <a:pt x="435104" y="0"/>
                  </a:moveTo>
                  <a:lnTo>
                    <a:pt x="435104" y="217539"/>
                  </a:lnTo>
                  <a:lnTo>
                    <a:pt x="217566" y="0"/>
                  </a:lnTo>
                  <a:lnTo>
                    <a:pt x="435104" y="0"/>
                  </a:lnTo>
                  <a:close/>
                  <a:moveTo>
                    <a:pt x="217566" y="435077"/>
                  </a:moveTo>
                  <a:lnTo>
                    <a:pt x="435104" y="217539"/>
                  </a:lnTo>
                  <a:lnTo>
                    <a:pt x="435104" y="435077"/>
                  </a:lnTo>
                  <a:lnTo>
                    <a:pt x="217566" y="435077"/>
                  </a:lnTo>
                  <a:close/>
                  <a:moveTo>
                    <a:pt x="217566" y="435077"/>
                  </a:moveTo>
                  <a:lnTo>
                    <a:pt x="27" y="217539"/>
                  </a:lnTo>
                  <a:lnTo>
                    <a:pt x="27" y="435077"/>
                  </a:lnTo>
                  <a:lnTo>
                    <a:pt x="217566" y="435077"/>
                  </a:lnTo>
                  <a:close/>
                </a:path>
              </a:pathLst>
            </a:custGeom>
            <a:grpFill/>
            <a:ln w="27192" cap="flat">
              <a:noFill/>
              <a:prstDash val="solid"/>
              <a:miter/>
            </a:ln>
          </p:spPr>
          <p:txBody>
            <a:bodyPr rtlCol="0" anchor="ctr"/>
            <a:lstStyle/>
            <a:p>
              <a:endParaRPr lang="uk-UA" sz="900"/>
            </a:p>
          </p:txBody>
        </p:sp>
        <p:sp>
          <p:nvSpPr>
            <p:cNvPr id="648" name="Freeform: Shape 647">
              <a:extLst>
                <a:ext uri="{FF2B5EF4-FFF2-40B4-BE49-F238E27FC236}">
                  <a16:creationId xmlns:a16="http://schemas.microsoft.com/office/drawing/2014/main" id="{A85ADE95-8E91-8CC2-DE2D-21DF455BE919}"/>
                </a:ext>
              </a:extLst>
            </p:cNvPr>
            <p:cNvSpPr/>
            <p:nvPr/>
          </p:nvSpPr>
          <p:spPr>
            <a:xfrm>
              <a:off x="2576106" y="3709219"/>
              <a:ext cx="435077" cy="435077"/>
            </a:xfrm>
            <a:custGeom>
              <a:avLst/>
              <a:gdLst>
                <a:gd name="connsiteX0" fmla="*/ 371366 w 435077"/>
                <a:gd name="connsiteY0" fmla="*/ 63712 h 435077"/>
                <a:gd name="connsiteX1" fmla="*/ 435077 w 435077"/>
                <a:gd name="connsiteY1" fmla="*/ 217539 h 435077"/>
                <a:gd name="connsiteX2" fmla="*/ 218925 w 435077"/>
                <a:gd name="connsiteY2" fmla="*/ 217539 h 435077"/>
                <a:gd name="connsiteX3" fmla="*/ 371366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25 w 435077"/>
                <a:gd name="connsiteY8" fmla="*/ 217539 h 435077"/>
                <a:gd name="connsiteX9" fmla="*/ 0 w 435077"/>
                <a:gd name="connsiteY9" fmla="*/ 217539 h 435077"/>
                <a:gd name="connsiteX10" fmla="*/ 63712 w 435077"/>
                <a:gd name="connsiteY10" fmla="*/ 63712 h 435077"/>
                <a:gd name="connsiteX11" fmla="*/ 217539 w 435077"/>
                <a:gd name="connsiteY11" fmla="*/ 0 h 435077"/>
                <a:gd name="connsiteX12" fmla="*/ 371366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2"/>
                  </a:moveTo>
                  <a:cubicBezTo>
                    <a:pt x="412154" y="104500"/>
                    <a:pt x="435077" y="159837"/>
                    <a:pt x="435077" y="217539"/>
                  </a:cubicBezTo>
                  <a:lnTo>
                    <a:pt x="218925" y="217539"/>
                  </a:lnTo>
                  <a:cubicBezTo>
                    <a:pt x="276138" y="217892"/>
                    <a:pt x="330904" y="240788"/>
                    <a:pt x="371366" y="281250"/>
                  </a:cubicBezTo>
                  <a:cubicBezTo>
                    <a:pt x="412154" y="322039"/>
                    <a:pt x="435077" y="377375"/>
                    <a:pt x="435077" y="435077"/>
                  </a:cubicBezTo>
                  <a:lnTo>
                    <a:pt x="217539" y="435077"/>
                  </a:lnTo>
                  <a:lnTo>
                    <a:pt x="0" y="435077"/>
                  </a:lnTo>
                  <a:cubicBezTo>
                    <a:pt x="0" y="377375"/>
                    <a:pt x="22923" y="322039"/>
                    <a:pt x="63712" y="281250"/>
                  </a:cubicBezTo>
                  <a:cubicBezTo>
                    <a:pt x="104174" y="240788"/>
                    <a:pt x="158939" y="217892"/>
                    <a:pt x="216125" y="217539"/>
                  </a:cubicBezTo>
                  <a:lnTo>
                    <a:pt x="0" y="217539"/>
                  </a:lnTo>
                  <a:cubicBezTo>
                    <a:pt x="0" y="159837"/>
                    <a:pt x="22923" y="104500"/>
                    <a:pt x="63712" y="63712"/>
                  </a:cubicBezTo>
                  <a:cubicBezTo>
                    <a:pt x="104500" y="22923"/>
                    <a:pt x="159837" y="0"/>
                    <a:pt x="217539" y="0"/>
                  </a:cubicBezTo>
                  <a:cubicBezTo>
                    <a:pt x="275214" y="0"/>
                    <a:pt x="330550" y="22923"/>
                    <a:pt x="371366" y="63712"/>
                  </a:cubicBezTo>
                  <a:close/>
                </a:path>
              </a:pathLst>
            </a:custGeom>
            <a:grpFill/>
            <a:ln w="27192" cap="flat">
              <a:noFill/>
              <a:prstDash val="solid"/>
              <a:miter/>
            </a:ln>
          </p:spPr>
          <p:txBody>
            <a:bodyPr rtlCol="0" anchor="ctr"/>
            <a:lstStyle/>
            <a:p>
              <a:endParaRPr lang="uk-UA" sz="900"/>
            </a:p>
          </p:txBody>
        </p:sp>
        <p:sp>
          <p:nvSpPr>
            <p:cNvPr id="649" name="Freeform: Shape 648">
              <a:extLst>
                <a:ext uri="{FF2B5EF4-FFF2-40B4-BE49-F238E27FC236}">
                  <a16:creationId xmlns:a16="http://schemas.microsoft.com/office/drawing/2014/main" id="{639C6C8D-82DA-D307-650B-956B18A7DEA5}"/>
                </a:ext>
              </a:extLst>
            </p:cNvPr>
            <p:cNvSpPr/>
            <p:nvPr/>
          </p:nvSpPr>
          <p:spPr>
            <a:xfrm>
              <a:off x="4316442" y="3709219"/>
              <a:ext cx="435050" cy="435077"/>
            </a:xfrm>
            <a:custGeom>
              <a:avLst/>
              <a:gdLst>
                <a:gd name="connsiteX0" fmla="*/ 0 w 435050"/>
                <a:gd name="connsiteY0" fmla="*/ 435077 h 435077"/>
                <a:gd name="connsiteX1" fmla="*/ 217512 w 435050"/>
                <a:gd name="connsiteY1" fmla="*/ 435077 h 435077"/>
                <a:gd name="connsiteX2" fmla="*/ 217512 w 435050"/>
                <a:gd name="connsiteY2" fmla="*/ 217539 h 435077"/>
                <a:gd name="connsiteX3" fmla="*/ 0 w 435050"/>
                <a:gd name="connsiteY3" fmla="*/ 435077 h 435077"/>
                <a:gd name="connsiteX4" fmla="*/ 217512 w 435050"/>
                <a:gd name="connsiteY4" fmla="*/ 0 h 435077"/>
                <a:gd name="connsiteX5" fmla="*/ 0 w 435050"/>
                <a:gd name="connsiteY5" fmla="*/ 0 h 435077"/>
                <a:gd name="connsiteX6" fmla="*/ 217512 w 435050"/>
                <a:gd name="connsiteY6" fmla="*/ 217539 h 435077"/>
                <a:gd name="connsiteX7" fmla="*/ 217512 w 435050"/>
                <a:gd name="connsiteY7" fmla="*/ 0 h 435077"/>
                <a:gd name="connsiteX8" fmla="*/ 435051 w 435050"/>
                <a:gd name="connsiteY8" fmla="*/ 435077 h 435077"/>
                <a:gd name="connsiteX9" fmla="*/ 217539 w 435050"/>
                <a:gd name="connsiteY9" fmla="*/ 435077 h 435077"/>
                <a:gd name="connsiteX10" fmla="*/ 435051 w 435050"/>
                <a:gd name="connsiteY10" fmla="*/ 217539 h 435077"/>
                <a:gd name="connsiteX11" fmla="*/ 435051 w 435050"/>
                <a:gd name="connsiteY11" fmla="*/ 435077 h 435077"/>
                <a:gd name="connsiteX12" fmla="*/ 435051 w 435050"/>
                <a:gd name="connsiteY12" fmla="*/ 0 h 435077"/>
                <a:gd name="connsiteX13" fmla="*/ 217539 w 435050"/>
                <a:gd name="connsiteY13" fmla="*/ 0 h 435077"/>
                <a:gd name="connsiteX14" fmla="*/ 435051 w 435050"/>
                <a:gd name="connsiteY14" fmla="*/ 217539 h 435077"/>
                <a:gd name="connsiteX15" fmla="*/ 435051 w 435050"/>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50" h="435077">
                  <a:moveTo>
                    <a:pt x="0" y="435077"/>
                  </a:moveTo>
                  <a:lnTo>
                    <a:pt x="217512" y="435077"/>
                  </a:lnTo>
                  <a:lnTo>
                    <a:pt x="217512" y="217539"/>
                  </a:lnTo>
                  <a:lnTo>
                    <a:pt x="0" y="435077"/>
                  </a:lnTo>
                  <a:close/>
                  <a:moveTo>
                    <a:pt x="217512" y="0"/>
                  </a:moveTo>
                  <a:lnTo>
                    <a:pt x="0" y="0"/>
                  </a:lnTo>
                  <a:lnTo>
                    <a:pt x="217512" y="217539"/>
                  </a:lnTo>
                  <a:lnTo>
                    <a:pt x="217512" y="0"/>
                  </a:lnTo>
                  <a:close/>
                  <a:moveTo>
                    <a:pt x="435051" y="435077"/>
                  </a:moveTo>
                  <a:lnTo>
                    <a:pt x="217539" y="435077"/>
                  </a:lnTo>
                  <a:lnTo>
                    <a:pt x="435051" y="217539"/>
                  </a:lnTo>
                  <a:lnTo>
                    <a:pt x="435051" y="435077"/>
                  </a:lnTo>
                  <a:close/>
                  <a:moveTo>
                    <a:pt x="435051" y="0"/>
                  </a:moveTo>
                  <a:lnTo>
                    <a:pt x="217539" y="0"/>
                  </a:lnTo>
                  <a:lnTo>
                    <a:pt x="435051" y="217539"/>
                  </a:lnTo>
                  <a:lnTo>
                    <a:pt x="435051" y="0"/>
                  </a:lnTo>
                  <a:close/>
                </a:path>
              </a:pathLst>
            </a:custGeom>
            <a:grpFill/>
            <a:ln w="27192" cap="flat">
              <a:noFill/>
              <a:prstDash val="solid"/>
              <a:miter/>
            </a:ln>
          </p:spPr>
          <p:txBody>
            <a:bodyPr rtlCol="0" anchor="ctr"/>
            <a:lstStyle/>
            <a:p>
              <a:endParaRPr lang="uk-UA" sz="900"/>
            </a:p>
          </p:txBody>
        </p:sp>
        <p:sp>
          <p:nvSpPr>
            <p:cNvPr id="650" name="Freeform: Shape 649">
              <a:extLst>
                <a:ext uri="{FF2B5EF4-FFF2-40B4-BE49-F238E27FC236}">
                  <a16:creationId xmlns:a16="http://schemas.microsoft.com/office/drawing/2014/main" id="{7B53CE89-1413-61F4-5B1A-10CA51483A26}"/>
                </a:ext>
              </a:extLst>
            </p:cNvPr>
            <p:cNvSpPr/>
            <p:nvPr/>
          </p:nvSpPr>
          <p:spPr>
            <a:xfrm>
              <a:off x="3446261" y="370921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651" name="Freeform: Shape 650">
              <a:extLst>
                <a:ext uri="{FF2B5EF4-FFF2-40B4-BE49-F238E27FC236}">
                  <a16:creationId xmlns:a16="http://schemas.microsoft.com/office/drawing/2014/main" id="{A8B93350-B8FD-BFEA-BDD4-AD1F78CE28AF}"/>
                </a:ext>
              </a:extLst>
            </p:cNvPr>
            <p:cNvSpPr/>
            <p:nvPr/>
          </p:nvSpPr>
          <p:spPr>
            <a:xfrm>
              <a:off x="5186597" y="3709219"/>
              <a:ext cx="435077" cy="435077"/>
            </a:xfrm>
            <a:custGeom>
              <a:avLst/>
              <a:gdLst>
                <a:gd name="connsiteX0" fmla="*/ 217539 w 435077"/>
                <a:gd name="connsiteY0" fmla="*/ 0 h 435077"/>
                <a:gd name="connsiteX1" fmla="*/ 217539 w 435077"/>
                <a:gd name="connsiteY1" fmla="*/ 0 h 435077"/>
                <a:gd name="connsiteX2" fmla="*/ 0 w 435077"/>
                <a:gd name="connsiteY2" fmla="*/ 0 h 435077"/>
                <a:gd name="connsiteX3" fmla="*/ 0 w 435077"/>
                <a:gd name="connsiteY3" fmla="*/ 217539 h 435077"/>
                <a:gd name="connsiteX4" fmla="*/ 217539 w 435077"/>
                <a:gd name="connsiteY4" fmla="*/ 0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217539" y="0"/>
                  </a:lnTo>
                  <a:lnTo>
                    <a:pt x="0" y="0"/>
                  </a:lnTo>
                  <a:lnTo>
                    <a:pt x="0" y="217539"/>
                  </a:lnTo>
                  <a:lnTo>
                    <a:pt x="217539" y="0"/>
                  </a:lnTo>
                  <a:lnTo>
                    <a:pt x="435077" y="217539"/>
                  </a:lnTo>
                  <a:lnTo>
                    <a:pt x="217539" y="435077"/>
                  </a:lnTo>
                  <a:lnTo>
                    <a:pt x="0" y="217539"/>
                  </a:lnTo>
                  <a:lnTo>
                    <a:pt x="0" y="435077"/>
                  </a:lnTo>
                  <a:lnTo>
                    <a:pt x="217539" y="435077"/>
                  </a:lnTo>
                  <a:lnTo>
                    <a:pt x="435077" y="435077"/>
                  </a:lnTo>
                  <a:lnTo>
                    <a:pt x="435077" y="217539"/>
                  </a:lnTo>
                  <a:lnTo>
                    <a:pt x="435077" y="0"/>
                  </a:lnTo>
                  <a:lnTo>
                    <a:pt x="217539" y="0"/>
                  </a:lnTo>
                  <a:close/>
                </a:path>
              </a:pathLst>
            </a:custGeom>
            <a:grpFill/>
            <a:ln w="27192" cap="flat">
              <a:noFill/>
              <a:prstDash val="solid"/>
              <a:miter/>
            </a:ln>
          </p:spPr>
          <p:txBody>
            <a:bodyPr rtlCol="0" anchor="ctr"/>
            <a:lstStyle/>
            <a:p>
              <a:endParaRPr lang="uk-UA" sz="900"/>
            </a:p>
          </p:txBody>
        </p:sp>
        <p:sp>
          <p:nvSpPr>
            <p:cNvPr id="652" name="Freeform: Shape 651">
              <a:extLst>
                <a:ext uri="{FF2B5EF4-FFF2-40B4-BE49-F238E27FC236}">
                  <a16:creationId xmlns:a16="http://schemas.microsoft.com/office/drawing/2014/main" id="{5DB266F8-AD9D-CA44-76F9-F69DC8366FC3}"/>
                </a:ext>
              </a:extLst>
            </p:cNvPr>
            <p:cNvSpPr/>
            <p:nvPr/>
          </p:nvSpPr>
          <p:spPr>
            <a:xfrm>
              <a:off x="6056752" y="3709219"/>
              <a:ext cx="435077" cy="435077"/>
            </a:xfrm>
            <a:custGeom>
              <a:avLst/>
              <a:gdLst>
                <a:gd name="connsiteX0" fmla="*/ 371366 w 435077"/>
                <a:gd name="connsiteY0" fmla="*/ 63712 h 435077"/>
                <a:gd name="connsiteX1" fmla="*/ 435077 w 435077"/>
                <a:gd name="connsiteY1" fmla="*/ 217539 h 435077"/>
                <a:gd name="connsiteX2" fmla="*/ 218953 w 435077"/>
                <a:gd name="connsiteY2" fmla="*/ 217539 h 435077"/>
                <a:gd name="connsiteX3" fmla="*/ 371366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25 w 435077"/>
                <a:gd name="connsiteY8" fmla="*/ 217539 h 435077"/>
                <a:gd name="connsiteX9" fmla="*/ 0 w 435077"/>
                <a:gd name="connsiteY9" fmla="*/ 217539 h 435077"/>
                <a:gd name="connsiteX10" fmla="*/ 63712 w 435077"/>
                <a:gd name="connsiteY10" fmla="*/ 63712 h 435077"/>
                <a:gd name="connsiteX11" fmla="*/ 217539 w 435077"/>
                <a:gd name="connsiteY11" fmla="*/ 0 h 435077"/>
                <a:gd name="connsiteX12" fmla="*/ 371366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2"/>
                  </a:moveTo>
                  <a:cubicBezTo>
                    <a:pt x="412155" y="104500"/>
                    <a:pt x="435077" y="159837"/>
                    <a:pt x="435077" y="217539"/>
                  </a:cubicBezTo>
                  <a:lnTo>
                    <a:pt x="218953" y="217539"/>
                  </a:lnTo>
                  <a:cubicBezTo>
                    <a:pt x="276138" y="217892"/>
                    <a:pt x="330904" y="240788"/>
                    <a:pt x="371366" y="281250"/>
                  </a:cubicBezTo>
                  <a:cubicBezTo>
                    <a:pt x="412155" y="322039"/>
                    <a:pt x="435077" y="377375"/>
                    <a:pt x="435077" y="435077"/>
                  </a:cubicBezTo>
                  <a:lnTo>
                    <a:pt x="217539" y="435077"/>
                  </a:lnTo>
                  <a:lnTo>
                    <a:pt x="0" y="435077"/>
                  </a:lnTo>
                  <a:cubicBezTo>
                    <a:pt x="0" y="377375"/>
                    <a:pt x="22924" y="322039"/>
                    <a:pt x="63712" y="281250"/>
                  </a:cubicBezTo>
                  <a:cubicBezTo>
                    <a:pt x="104175" y="240788"/>
                    <a:pt x="158939" y="217892"/>
                    <a:pt x="216125" y="217539"/>
                  </a:cubicBezTo>
                  <a:lnTo>
                    <a:pt x="0" y="217539"/>
                  </a:lnTo>
                  <a:cubicBezTo>
                    <a:pt x="0" y="159837"/>
                    <a:pt x="22924" y="104500"/>
                    <a:pt x="63712" y="63712"/>
                  </a:cubicBezTo>
                  <a:cubicBezTo>
                    <a:pt x="104501" y="22923"/>
                    <a:pt x="159837" y="0"/>
                    <a:pt x="217539" y="0"/>
                  </a:cubicBezTo>
                  <a:cubicBezTo>
                    <a:pt x="275241" y="0"/>
                    <a:pt x="330550" y="22923"/>
                    <a:pt x="371366" y="63712"/>
                  </a:cubicBezTo>
                  <a:close/>
                </a:path>
              </a:pathLst>
            </a:custGeom>
            <a:grpFill/>
            <a:ln w="27192" cap="flat">
              <a:noFill/>
              <a:prstDash val="solid"/>
              <a:miter/>
            </a:ln>
          </p:spPr>
          <p:txBody>
            <a:bodyPr rtlCol="0" anchor="ctr"/>
            <a:lstStyle/>
            <a:p>
              <a:endParaRPr lang="uk-UA" sz="900"/>
            </a:p>
          </p:txBody>
        </p:sp>
        <p:sp>
          <p:nvSpPr>
            <p:cNvPr id="653" name="Freeform: Shape 652">
              <a:extLst>
                <a:ext uri="{FF2B5EF4-FFF2-40B4-BE49-F238E27FC236}">
                  <a16:creationId xmlns:a16="http://schemas.microsoft.com/office/drawing/2014/main" id="{033D2841-6823-74E9-F514-47C64E6C7DBC}"/>
                </a:ext>
              </a:extLst>
            </p:cNvPr>
            <p:cNvSpPr/>
            <p:nvPr/>
          </p:nvSpPr>
          <p:spPr>
            <a:xfrm>
              <a:off x="7797089" y="3709219"/>
              <a:ext cx="435050" cy="435077"/>
            </a:xfrm>
            <a:custGeom>
              <a:avLst/>
              <a:gdLst>
                <a:gd name="connsiteX0" fmla="*/ 0 w 435050"/>
                <a:gd name="connsiteY0" fmla="*/ 435077 h 435077"/>
                <a:gd name="connsiteX1" fmla="*/ 217511 w 435050"/>
                <a:gd name="connsiteY1" fmla="*/ 435077 h 435077"/>
                <a:gd name="connsiteX2" fmla="*/ 217511 w 435050"/>
                <a:gd name="connsiteY2" fmla="*/ 217539 h 435077"/>
                <a:gd name="connsiteX3" fmla="*/ 0 w 435050"/>
                <a:gd name="connsiteY3" fmla="*/ 435077 h 435077"/>
                <a:gd name="connsiteX4" fmla="*/ 217511 w 435050"/>
                <a:gd name="connsiteY4" fmla="*/ 0 h 435077"/>
                <a:gd name="connsiteX5" fmla="*/ 0 w 435050"/>
                <a:gd name="connsiteY5" fmla="*/ 0 h 435077"/>
                <a:gd name="connsiteX6" fmla="*/ 217511 w 435050"/>
                <a:gd name="connsiteY6" fmla="*/ 217539 h 435077"/>
                <a:gd name="connsiteX7" fmla="*/ 217511 w 435050"/>
                <a:gd name="connsiteY7" fmla="*/ 0 h 435077"/>
                <a:gd name="connsiteX8" fmla="*/ 435050 w 435050"/>
                <a:gd name="connsiteY8" fmla="*/ 435077 h 435077"/>
                <a:gd name="connsiteX9" fmla="*/ 217539 w 435050"/>
                <a:gd name="connsiteY9" fmla="*/ 435077 h 435077"/>
                <a:gd name="connsiteX10" fmla="*/ 435050 w 435050"/>
                <a:gd name="connsiteY10" fmla="*/ 217539 h 435077"/>
                <a:gd name="connsiteX11" fmla="*/ 435050 w 435050"/>
                <a:gd name="connsiteY11" fmla="*/ 435077 h 435077"/>
                <a:gd name="connsiteX12" fmla="*/ 435050 w 435050"/>
                <a:gd name="connsiteY12" fmla="*/ 0 h 435077"/>
                <a:gd name="connsiteX13" fmla="*/ 217539 w 435050"/>
                <a:gd name="connsiteY13" fmla="*/ 0 h 435077"/>
                <a:gd name="connsiteX14" fmla="*/ 435050 w 435050"/>
                <a:gd name="connsiteY14" fmla="*/ 217539 h 435077"/>
                <a:gd name="connsiteX15" fmla="*/ 435050 w 435050"/>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50" h="435077">
                  <a:moveTo>
                    <a:pt x="0" y="435077"/>
                  </a:moveTo>
                  <a:lnTo>
                    <a:pt x="217511" y="435077"/>
                  </a:lnTo>
                  <a:lnTo>
                    <a:pt x="217511" y="217539"/>
                  </a:lnTo>
                  <a:lnTo>
                    <a:pt x="0" y="435077"/>
                  </a:lnTo>
                  <a:close/>
                  <a:moveTo>
                    <a:pt x="217511" y="0"/>
                  </a:moveTo>
                  <a:lnTo>
                    <a:pt x="0" y="0"/>
                  </a:lnTo>
                  <a:lnTo>
                    <a:pt x="217511" y="217539"/>
                  </a:lnTo>
                  <a:lnTo>
                    <a:pt x="217511" y="0"/>
                  </a:lnTo>
                  <a:close/>
                  <a:moveTo>
                    <a:pt x="435050" y="435077"/>
                  </a:moveTo>
                  <a:lnTo>
                    <a:pt x="217539" y="435077"/>
                  </a:lnTo>
                  <a:lnTo>
                    <a:pt x="435050" y="217539"/>
                  </a:lnTo>
                  <a:lnTo>
                    <a:pt x="435050" y="435077"/>
                  </a:lnTo>
                  <a:close/>
                  <a:moveTo>
                    <a:pt x="435050" y="0"/>
                  </a:moveTo>
                  <a:lnTo>
                    <a:pt x="217539" y="0"/>
                  </a:lnTo>
                  <a:lnTo>
                    <a:pt x="435050" y="217539"/>
                  </a:lnTo>
                  <a:lnTo>
                    <a:pt x="435050" y="0"/>
                  </a:lnTo>
                  <a:close/>
                </a:path>
              </a:pathLst>
            </a:custGeom>
            <a:grpFill/>
            <a:ln w="27192" cap="flat">
              <a:noFill/>
              <a:prstDash val="solid"/>
              <a:miter/>
            </a:ln>
          </p:spPr>
          <p:txBody>
            <a:bodyPr rtlCol="0" anchor="ctr"/>
            <a:lstStyle/>
            <a:p>
              <a:endParaRPr lang="uk-UA" sz="900"/>
            </a:p>
          </p:txBody>
        </p:sp>
        <p:sp>
          <p:nvSpPr>
            <p:cNvPr id="654" name="Freeform: Shape 653">
              <a:extLst>
                <a:ext uri="{FF2B5EF4-FFF2-40B4-BE49-F238E27FC236}">
                  <a16:creationId xmlns:a16="http://schemas.microsoft.com/office/drawing/2014/main" id="{A0B7D7A0-CBC0-86A1-E468-B45333970824}"/>
                </a:ext>
              </a:extLst>
            </p:cNvPr>
            <p:cNvSpPr/>
            <p:nvPr/>
          </p:nvSpPr>
          <p:spPr>
            <a:xfrm>
              <a:off x="6926907" y="3709219"/>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0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39 h 435077"/>
                <a:gd name="connsiteX9" fmla="*/ 435077 w 435077"/>
                <a:gd name="connsiteY9" fmla="*/ 217539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0"/>
                  </a:lnTo>
                  <a:lnTo>
                    <a:pt x="435077" y="217539"/>
                  </a:lnTo>
                  <a:lnTo>
                    <a:pt x="435077" y="217539"/>
                  </a:lnTo>
                  <a:lnTo>
                    <a:pt x="435077" y="217539"/>
                  </a:lnTo>
                  <a:lnTo>
                    <a:pt x="435077" y="217539"/>
                  </a:lnTo>
                  <a:lnTo>
                    <a:pt x="435077" y="217539"/>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655" name="Freeform: Shape 654">
              <a:extLst>
                <a:ext uri="{FF2B5EF4-FFF2-40B4-BE49-F238E27FC236}">
                  <a16:creationId xmlns:a16="http://schemas.microsoft.com/office/drawing/2014/main" id="{82C9497B-32F2-9BBB-11AA-4663A4CC4B2B}"/>
                </a:ext>
              </a:extLst>
            </p:cNvPr>
            <p:cNvSpPr/>
            <p:nvPr/>
          </p:nvSpPr>
          <p:spPr>
            <a:xfrm>
              <a:off x="8667217" y="370921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p>
          </p:txBody>
        </p:sp>
        <p:sp>
          <p:nvSpPr>
            <p:cNvPr id="656" name="Freeform: Shape 655">
              <a:extLst>
                <a:ext uri="{FF2B5EF4-FFF2-40B4-BE49-F238E27FC236}">
                  <a16:creationId xmlns:a16="http://schemas.microsoft.com/office/drawing/2014/main" id="{751B6995-E31C-B1AD-3ED3-246D14EFD385}"/>
                </a:ext>
              </a:extLst>
            </p:cNvPr>
            <p:cNvSpPr/>
            <p:nvPr/>
          </p:nvSpPr>
          <p:spPr>
            <a:xfrm>
              <a:off x="9537399" y="3709219"/>
              <a:ext cx="435077" cy="435077"/>
            </a:xfrm>
            <a:custGeom>
              <a:avLst/>
              <a:gdLst>
                <a:gd name="connsiteX0" fmla="*/ 371366 w 435077"/>
                <a:gd name="connsiteY0" fmla="*/ 63712 h 435077"/>
                <a:gd name="connsiteX1" fmla="*/ 435077 w 435077"/>
                <a:gd name="connsiteY1" fmla="*/ 217539 h 435077"/>
                <a:gd name="connsiteX2" fmla="*/ 218925 w 435077"/>
                <a:gd name="connsiteY2" fmla="*/ 217539 h 435077"/>
                <a:gd name="connsiteX3" fmla="*/ 371366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1 w 435077"/>
                <a:gd name="connsiteY7" fmla="*/ 281250 h 435077"/>
                <a:gd name="connsiteX8" fmla="*/ 216125 w 435077"/>
                <a:gd name="connsiteY8" fmla="*/ 217539 h 435077"/>
                <a:gd name="connsiteX9" fmla="*/ 0 w 435077"/>
                <a:gd name="connsiteY9" fmla="*/ 217539 h 435077"/>
                <a:gd name="connsiteX10" fmla="*/ 63711 w 435077"/>
                <a:gd name="connsiteY10" fmla="*/ 63712 h 435077"/>
                <a:gd name="connsiteX11" fmla="*/ 217539 w 435077"/>
                <a:gd name="connsiteY11" fmla="*/ 0 h 435077"/>
                <a:gd name="connsiteX12" fmla="*/ 371366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2"/>
                  </a:moveTo>
                  <a:cubicBezTo>
                    <a:pt x="412155" y="104500"/>
                    <a:pt x="435077" y="159837"/>
                    <a:pt x="435077" y="217539"/>
                  </a:cubicBezTo>
                  <a:lnTo>
                    <a:pt x="218925" y="217539"/>
                  </a:lnTo>
                  <a:cubicBezTo>
                    <a:pt x="276111" y="217892"/>
                    <a:pt x="330904" y="240788"/>
                    <a:pt x="371366" y="281250"/>
                  </a:cubicBezTo>
                  <a:cubicBezTo>
                    <a:pt x="412155" y="322039"/>
                    <a:pt x="435077" y="377375"/>
                    <a:pt x="435077" y="435077"/>
                  </a:cubicBezTo>
                  <a:lnTo>
                    <a:pt x="217539" y="435077"/>
                  </a:lnTo>
                  <a:lnTo>
                    <a:pt x="0" y="435077"/>
                  </a:lnTo>
                  <a:cubicBezTo>
                    <a:pt x="0" y="377375"/>
                    <a:pt x="22923" y="322039"/>
                    <a:pt x="63711" y="281250"/>
                  </a:cubicBezTo>
                  <a:cubicBezTo>
                    <a:pt x="104174" y="240788"/>
                    <a:pt x="158939" y="217892"/>
                    <a:pt x="216125" y="217539"/>
                  </a:cubicBezTo>
                  <a:lnTo>
                    <a:pt x="0" y="217539"/>
                  </a:lnTo>
                  <a:cubicBezTo>
                    <a:pt x="0" y="159837"/>
                    <a:pt x="22923" y="104500"/>
                    <a:pt x="63711" y="63712"/>
                  </a:cubicBezTo>
                  <a:cubicBezTo>
                    <a:pt x="104500" y="22923"/>
                    <a:pt x="159836" y="0"/>
                    <a:pt x="217539" y="0"/>
                  </a:cubicBezTo>
                  <a:cubicBezTo>
                    <a:pt x="275214" y="0"/>
                    <a:pt x="330550" y="22923"/>
                    <a:pt x="371366" y="63712"/>
                  </a:cubicBezTo>
                  <a:close/>
                </a:path>
              </a:pathLst>
            </a:custGeom>
            <a:grpFill/>
            <a:ln w="27192" cap="flat">
              <a:noFill/>
              <a:prstDash val="solid"/>
              <a:miter/>
            </a:ln>
          </p:spPr>
          <p:txBody>
            <a:bodyPr rtlCol="0" anchor="ctr"/>
            <a:lstStyle/>
            <a:p>
              <a:endParaRPr lang="uk-UA" sz="900"/>
            </a:p>
          </p:txBody>
        </p:sp>
        <p:sp>
          <p:nvSpPr>
            <p:cNvPr id="657" name="Freeform: Shape 656">
              <a:extLst>
                <a:ext uri="{FF2B5EF4-FFF2-40B4-BE49-F238E27FC236}">
                  <a16:creationId xmlns:a16="http://schemas.microsoft.com/office/drawing/2014/main" id="{9A304235-BC7A-75A5-E571-1B2CD9E928B6}"/>
                </a:ext>
              </a:extLst>
            </p:cNvPr>
            <p:cNvSpPr/>
            <p:nvPr/>
          </p:nvSpPr>
          <p:spPr>
            <a:xfrm>
              <a:off x="11277709" y="3709219"/>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658" name="Freeform: Shape 657">
              <a:extLst>
                <a:ext uri="{FF2B5EF4-FFF2-40B4-BE49-F238E27FC236}">
                  <a16:creationId xmlns:a16="http://schemas.microsoft.com/office/drawing/2014/main" id="{1A8CA6B9-2760-CAF3-13D5-96680F9E80AB}"/>
                </a:ext>
              </a:extLst>
            </p:cNvPr>
            <p:cNvSpPr/>
            <p:nvPr/>
          </p:nvSpPr>
          <p:spPr>
            <a:xfrm>
              <a:off x="10407554" y="3709219"/>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0 h 435077"/>
                <a:gd name="connsiteX5" fmla="*/ 435050 w 435077"/>
                <a:gd name="connsiteY5" fmla="*/ 217539 h 435077"/>
                <a:gd name="connsiteX6" fmla="*/ 435077 w 435077"/>
                <a:gd name="connsiteY6" fmla="*/ 217539 h 435077"/>
                <a:gd name="connsiteX7" fmla="*/ 435050 w 435077"/>
                <a:gd name="connsiteY7" fmla="*/ 217539 h 435077"/>
                <a:gd name="connsiteX8" fmla="*/ 435077 w 435077"/>
                <a:gd name="connsiteY8" fmla="*/ 217539 h 435077"/>
                <a:gd name="connsiteX9" fmla="*/ 435050 w 435077"/>
                <a:gd name="connsiteY9" fmla="*/ 217539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0"/>
                  </a:lnTo>
                  <a:lnTo>
                    <a:pt x="435050" y="217539"/>
                  </a:lnTo>
                  <a:lnTo>
                    <a:pt x="435077" y="217539"/>
                  </a:lnTo>
                  <a:lnTo>
                    <a:pt x="435050" y="217539"/>
                  </a:lnTo>
                  <a:lnTo>
                    <a:pt x="435077" y="217539"/>
                  </a:lnTo>
                  <a:lnTo>
                    <a:pt x="435050" y="217539"/>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659" name="Freeform: Shape 658">
              <a:extLst>
                <a:ext uri="{FF2B5EF4-FFF2-40B4-BE49-F238E27FC236}">
                  <a16:creationId xmlns:a16="http://schemas.microsoft.com/office/drawing/2014/main" id="{C53DDB7B-CB31-E583-7618-3E16E286AE19}"/>
                </a:ext>
              </a:extLst>
            </p:cNvPr>
            <p:cNvSpPr/>
            <p:nvPr/>
          </p:nvSpPr>
          <p:spPr>
            <a:xfrm>
              <a:off x="12147864" y="3709219"/>
              <a:ext cx="435103" cy="435077"/>
            </a:xfrm>
            <a:custGeom>
              <a:avLst/>
              <a:gdLst>
                <a:gd name="connsiteX0" fmla="*/ 217539 w 435103"/>
                <a:gd name="connsiteY0" fmla="*/ 0 h 435077"/>
                <a:gd name="connsiteX1" fmla="*/ 0 w 435103"/>
                <a:gd name="connsiteY1" fmla="*/ 0 h 435077"/>
                <a:gd name="connsiteX2" fmla="*/ 0 w 435103"/>
                <a:gd name="connsiteY2" fmla="*/ 217539 h 435077"/>
                <a:gd name="connsiteX3" fmla="*/ 217539 w 435103"/>
                <a:gd name="connsiteY3" fmla="*/ 0 h 435077"/>
                <a:gd name="connsiteX4" fmla="*/ 435104 w 435103"/>
                <a:gd name="connsiteY4" fmla="*/ 0 h 435077"/>
                <a:gd name="connsiteX5" fmla="*/ 435104 w 435103"/>
                <a:gd name="connsiteY5" fmla="*/ 217539 h 435077"/>
                <a:gd name="connsiteX6" fmla="*/ 217565 w 435103"/>
                <a:gd name="connsiteY6" fmla="*/ 0 h 435077"/>
                <a:gd name="connsiteX7" fmla="*/ 435104 w 435103"/>
                <a:gd name="connsiteY7" fmla="*/ 0 h 435077"/>
                <a:gd name="connsiteX8" fmla="*/ 217565 w 435103"/>
                <a:gd name="connsiteY8" fmla="*/ 435077 h 435077"/>
                <a:gd name="connsiteX9" fmla="*/ 435104 w 435103"/>
                <a:gd name="connsiteY9" fmla="*/ 217539 h 435077"/>
                <a:gd name="connsiteX10" fmla="*/ 435104 w 435103"/>
                <a:gd name="connsiteY10" fmla="*/ 435077 h 435077"/>
                <a:gd name="connsiteX11" fmla="*/ 217565 w 435103"/>
                <a:gd name="connsiteY11" fmla="*/ 435077 h 435077"/>
                <a:gd name="connsiteX12" fmla="*/ 217565 w 435103"/>
                <a:gd name="connsiteY12" fmla="*/ 435077 h 435077"/>
                <a:gd name="connsiteX13" fmla="*/ 27 w 435103"/>
                <a:gd name="connsiteY13" fmla="*/ 217539 h 435077"/>
                <a:gd name="connsiteX14" fmla="*/ 27 w 435103"/>
                <a:gd name="connsiteY14" fmla="*/ 435077 h 435077"/>
                <a:gd name="connsiteX15" fmla="*/ 217565 w 435103"/>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3" h="435077">
                  <a:moveTo>
                    <a:pt x="217539" y="0"/>
                  </a:moveTo>
                  <a:lnTo>
                    <a:pt x="0" y="0"/>
                  </a:lnTo>
                  <a:lnTo>
                    <a:pt x="0" y="217539"/>
                  </a:lnTo>
                  <a:lnTo>
                    <a:pt x="217539" y="0"/>
                  </a:lnTo>
                  <a:close/>
                  <a:moveTo>
                    <a:pt x="435104" y="0"/>
                  </a:moveTo>
                  <a:lnTo>
                    <a:pt x="435104" y="217539"/>
                  </a:lnTo>
                  <a:lnTo>
                    <a:pt x="217565" y="0"/>
                  </a:lnTo>
                  <a:lnTo>
                    <a:pt x="435104" y="0"/>
                  </a:lnTo>
                  <a:close/>
                  <a:moveTo>
                    <a:pt x="217565" y="435077"/>
                  </a:moveTo>
                  <a:lnTo>
                    <a:pt x="435104" y="217539"/>
                  </a:lnTo>
                  <a:lnTo>
                    <a:pt x="435104" y="435077"/>
                  </a:lnTo>
                  <a:lnTo>
                    <a:pt x="217565" y="435077"/>
                  </a:lnTo>
                  <a:close/>
                  <a:moveTo>
                    <a:pt x="217565" y="435077"/>
                  </a:moveTo>
                  <a:lnTo>
                    <a:pt x="27" y="217539"/>
                  </a:lnTo>
                  <a:lnTo>
                    <a:pt x="27" y="435077"/>
                  </a:lnTo>
                  <a:lnTo>
                    <a:pt x="217565" y="435077"/>
                  </a:lnTo>
                  <a:close/>
                </a:path>
              </a:pathLst>
            </a:custGeom>
            <a:grpFill/>
            <a:ln w="27192" cap="flat">
              <a:noFill/>
              <a:prstDash val="solid"/>
              <a:miter/>
            </a:ln>
          </p:spPr>
          <p:txBody>
            <a:bodyPr rtlCol="0" anchor="ctr"/>
            <a:lstStyle/>
            <a:p>
              <a:endParaRPr lang="uk-UA" sz="900"/>
            </a:p>
          </p:txBody>
        </p:sp>
        <p:sp>
          <p:nvSpPr>
            <p:cNvPr id="660" name="Freeform: Shape 659">
              <a:extLst>
                <a:ext uri="{FF2B5EF4-FFF2-40B4-BE49-F238E27FC236}">
                  <a16:creationId xmlns:a16="http://schemas.microsoft.com/office/drawing/2014/main" id="{4ADEECB1-BEA4-D53D-E1C9-13B389E69ABC}"/>
                </a:ext>
              </a:extLst>
            </p:cNvPr>
            <p:cNvSpPr/>
            <p:nvPr/>
          </p:nvSpPr>
          <p:spPr>
            <a:xfrm>
              <a:off x="13018045" y="3709219"/>
              <a:ext cx="435077" cy="435077"/>
            </a:xfrm>
            <a:custGeom>
              <a:avLst/>
              <a:gdLst>
                <a:gd name="connsiteX0" fmla="*/ 371365 w 435077"/>
                <a:gd name="connsiteY0" fmla="*/ 63712 h 435077"/>
                <a:gd name="connsiteX1" fmla="*/ 435077 w 435077"/>
                <a:gd name="connsiteY1" fmla="*/ 217539 h 435077"/>
                <a:gd name="connsiteX2" fmla="*/ 218953 w 435077"/>
                <a:gd name="connsiteY2" fmla="*/ 217539 h 435077"/>
                <a:gd name="connsiteX3" fmla="*/ 371365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51 w 435077"/>
                <a:gd name="connsiteY8" fmla="*/ 217539 h 435077"/>
                <a:gd name="connsiteX9" fmla="*/ 0 w 435077"/>
                <a:gd name="connsiteY9" fmla="*/ 217539 h 435077"/>
                <a:gd name="connsiteX10" fmla="*/ 63712 w 435077"/>
                <a:gd name="connsiteY10" fmla="*/ 63712 h 435077"/>
                <a:gd name="connsiteX11" fmla="*/ 217539 w 435077"/>
                <a:gd name="connsiteY11" fmla="*/ 0 h 435077"/>
                <a:gd name="connsiteX12" fmla="*/ 371365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12"/>
                  </a:moveTo>
                  <a:cubicBezTo>
                    <a:pt x="412154" y="104500"/>
                    <a:pt x="435077" y="159837"/>
                    <a:pt x="435077" y="217539"/>
                  </a:cubicBezTo>
                  <a:lnTo>
                    <a:pt x="218953" y="217539"/>
                  </a:lnTo>
                  <a:cubicBezTo>
                    <a:pt x="276137" y="217892"/>
                    <a:pt x="330904" y="240788"/>
                    <a:pt x="371365" y="281250"/>
                  </a:cubicBezTo>
                  <a:cubicBezTo>
                    <a:pt x="412154" y="322039"/>
                    <a:pt x="435077" y="377375"/>
                    <a:pt x="435077" y="435077"/>
                  </a:cubicBezTo>
                  <a:lnTo>
                    <a:pt x="217539" y="435077"/>
                  </a:lnTo>
                  <a:lnTo>
                    <a:pt x="0" y="435077"/>
                  </a:lnTo>
                  <a:cubicBezTo>
                    <a:pt x="0" y="377375"/>
                    <a:pt x="22924" y="322039"/>
                    <a:pt x="63712" y="281250"/>
                  </a:cubicBezTo>
                  <a:cubicBezTo>
                    <a:pt x="104174" y="240788"/>
                    <a:pt x="158938" y="217892"/>
                    <a:pt x="216151" y="217539"/>
                  </a:cubicBezTo>
                  <a:lnTo>
                    <a:pt x="0" y="217539"/>
                  </a:lnTo>
                  <a:cubicBezTo>
                    <a:pt x="0" y="159837"/>
                    <a:pt x="22924" y="104500"/>
                    <a:pt x="63712" y="63712"/>
                  </a:cubicBezTo>
                  <a:cubicBezTo>
                    <a:pt x="104501" y="22923"/>
                    <a:pt x="159836" y="0"/>
                    <a:pt x="217539" y="0"/>
                  </a:cubicBezTo>
                  <a:cubicBezTo>
                    <a:pt x="275241" y="0"/>
                    <a:pt x="330550" y="22923"/>
                    <a:pt x="371365" y="63712"/>
                  </a:cubicBezTo>
                  <a:close/>
                </a:path>
              </a:pathLst>
            </a:custGeom>
            <a:grpFill/>
            <a:ln w="27192" cap="flat">
              <a:noFill/>
              <a:prstDash val="solid"/>
              <a:miter/>
            </a:ln>
          </p:spPr>
          <p:txBody>
            <a:bodyPr rtlCol="0" anchor="ctr"/>
            <a:lstStyle/>
            <a:p>
              <a:endParaRPr lang="uk-UA" sz="900"/>
            </a:p>
          </p:txBody>
        </p:sp>
        <p:sp>
          <p:nvSpPr>
            <p:cNvPr id="661" name="Freeform: Shape 660">
              <a:extLst>
                <a:ext uri="{FF2B5EF4-FFF2-40B4-BE49-F238E27FC236}">
                  <a16:creationId xmlns:a16="http://schemas.microsoft.com/office/drawing/2014/main" id="{E1677A19-296E-235F-9DD1-4A80BA936CB0}"/>
                </a:ext>
              </a:extLst>
            </p:cNvPr>
            <p:cNvSpPr/>
            <p:nvPr/>
          </p:nvSpPr>
          <p:spPr>
            <a:xfrm>
              <a:off x="14758382" y="3709219"/>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662" name="Freeform: Shape 661">
              <a:extLst>
                <a:ext uri="{FF2B5EF4-FFF2-40B4-BE49-F238E27FC236}">
                  <a16:creationId xmlns:a16="http://schemas.microsoft.com/office/drawing/2014/main" id="{E00FA776-EF80-32A0-D9C8-8B67E1782904}"/>
                </a:ext>
              </a:extLst>
            </p:cNvPr>
            <p:cNvSpPr/>
            <p:nvPr/>
          </p:nvSpPr>
          <p:spPr>
            <a:xfrm>
              <a:off x="13888174" y="3709192"/>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663" name="Freeform: Shape 662">
              <a:extLst>
                <a:ext uri="{FF2B5EF4-FFF2-40B4-BE49-F238E27FC236}">
                  <a16:creationId xmlns:a16="http://schemas.microsoft.com/office/drawing/2014/main" id="{FB0DFEA2-54A5-7E64-9EB8-A107D7D13410}"/>
                </a:ext>
              </a:extLst>
            </p:cNvPr>
            <p:cNvSpPr/>
            <p:nvPr/>
          </p:nvSpPr>
          <p:spPr>
            <a:xfrm>
              <a:off x="15628536" y="3709219"/>
              <a:ext cx="435077" cy="435077"/>
            </a:xfrm>
            <a:custGeom>
              <a:avLst/>
              <a:gdLst>
                <a:gd name="connsiteX0" fmla="*/ 217567 w 435077"/>
                <a:gd name="connsiteY0" fmla="*/ 0 h 435077"/>
                <a:gd name="connsiteX1" fmla="*/ 217539 w 435077"/>
                <a:gd name="connsiteY1" fmla="*/ 0 h 435077"/>
                <a:gd name="connsiteX2" fmla="*/ 28 w 435077"/>
                <a:gd name="connsiteY2" fmla="*/ 0 h 435077"/>
                <a:gd name="connsiteX3" fmla="*/ 28 w 435077"/>
                <a:gd name="connsiteY3" fmla="*/ 217539 h 435077"/>
                <a:gd name="connsiteX4" fmla="*/ 217567 w 435077"/>
                <a:gd name="connsiteY4" fmla="*/ 0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67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67" y="0"/>
                  </a:moveTo>
                  <a:lnTo>
                    <a:pt x="217539" y="0"/>
                  </a:lnTo>
                  <a:lnTo>
                    <a:pt x="28" y="0"/>
                  </a:lnTo>
                  <a:lnTo>
                    <a:pt x="28" y="217539"/>
                  </a:lnTo>
                  <a:lnTo>
                    <a:pt x="217567" y="0"/>
                  </a:lnTo>
                  <a:lnTo>
                    <a:pt x="435077" y="217539"/>
                  </a:lnTo>
                  <a:lnTo>
                    <a:pt x="217539" y="435077"/>
                  </a:lnTo>
                  <a:lnTo>
                    <a:pt x="0" y="217539"/>
                  </a:lnTo>
                  <a:lnTo>
                    <a:pt x="0" y="435077"/>
                  </a:lnTo>
                  <a:lnTo>
                    <a:pt x="217539" y="435077"/>
                  </a:lnTo>
                  <a:lnTo>
                    <a:pt x="435077" y="435077"/>
                  </a:lnTo>
                  <a:lnTo>
                    <a:pt x="435077" y="217539"/>
                  </a:lnTo>
                  <a:lnTo>
                    <a:pt x="435077" y="0"/>
                  </a:lnTo>
                  <a:lnTo>
                    <a:pt x="217567" y="0"/>
                  </a:lnTo>
                  <a:close/>
                </a:path>
              </a:pathLst>
            </a:custGeom>
            <a:grpFill/>
            <a:ln w="27192" cap="flat">
              <a:noFill/>
              <a:prstDash val="solid"/>
              <a:miter/>
            </a:ln>
          </p:spPr>
          <p:txBody>
            <a:bodyPr rtlCol="0" anchor="ctr"/>
            <a:lstStyle/>
            <a:p>
              <a:endParaRPr lang="uk-UA" sz="900"/>
            </a:p>
          </p:txBody>
        </p:sp>
        <p:sp>
          <p:nvSpPr>
            <p:cNvPr id="664" name="Freeform: Shape 663">
              <a:extLst>
                <a:ext uri="{FF2B5EF4-FFF2-40B4-BE49-F238E27FC236}">
                  <a16:creationId xmlns:a16="http://schemas.microsoft.com/office/drawing/2014/main" id="{E2FCE37D-5115-B48E-0E48-DF796B42F214}"/>
                </a:ext>
              </a:extLst>
            </p:cNvPr>
            <p:cNvSpPr/>
            <p:nvPr/>
          </p:nvSpPr>
          <p:spPr>
            <a:xfrm>
              <a:off x="16498719" y="3709219"/>
              <a:ext cx="435077" cy="435077"/>
            </a:xfrm>
            <a:custGeom>
              <a:avLst/>
              <a:gdLst>
                <a:gd name="connsiteX0" fmla="*/ 371339 w 435077"/>
                <a:gd name="connsiteY0" fmla="*/ 63712 h 435077"/>
                <a:gd name="connsiteX1" fmla="*/ 435077 w 435077"/>
                <a:gd name="connsiteY1" fmla="*/ 217539 h 435077"/>
                <a:gd name="connsiteX2" fmla="*/ 218925 w 435077"/>
                <a:gd name="connsiteY2" fmla="*/ 217539 h 435077"/>
                <a:gd name="connsiteX3" fmla="*/ 371365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0 w 435077"/>
                <a:gd name="connsiteY7" fmla="*/ 281250 h 435077"/>
                <a:gd name="connsiteX8" fmla="*/ 216125 w 435077"/>
                <a:gd name="connsiteY8" fmla="*/ 217539 h 435077"/>
                <a:gd name="connsiteX9" fmla="*/ 0 w 435077"/>
                <a:gd name="connsiteY9" fmla="*/ 217539 h 435077"/>
                <a:gd name="connsiteX10" fmla="*/ 63710 w 435077"/>
                <a:gd name="connsiteY10" fmla="*/ 63712 h 435077"/>
                <a:gd name="connsiteX11" fmla="*/ 217539 w 435077"/>
                <a:gd name="connsiteY11" fmla="*/ 0 h 435077"/>
                <a:gd name="connsiteX12" fmla="*/ 371339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12"/>
                  </a:moveTo>
                  <a:cubicBezTo>
                    <a:pt x="412154" y="104500"/>
                    <a:pt x="435077" y="159837"/>
                    <a:pt x="435077" y="217539"/>
                  </a:cubicBezTo>
                  <a:lnTo>
                    <a:pt x="218925" y="217539"/>
                  </a:lnTo>
                  <a:cubicBezTo>
                    <a:pt x="276111" y="217892"/>
                    <a:pt x="330876" y="240788"/>
                    <a:pt x="371365" y="281250"/>
                  </a:cubicBezTo>
                  <a:cubicBezTo>
                    <a:pt x="412154" y="322039"/>
                    <a:pt x="435077" y="377375"/>
                    <a:pt x="435077" y="435077"/>
                  </a:cubicBezTo>
                  <a:lnTo>
                    <a:pt x="217539" y="435077"/>
                  </a:lnTo>
                  <a:lnTo>
                    <a:pt x="0" y="435077"/>
                  </a:lnTo>
                  <a:cubicBezTo>
                    <a:pt x="0" y="377375"/>
                    <a:pt x="22922" y="322039"/>
                    <a:pt x="63710" y="281250"/>
                  </a:cubicBezTo>
                  <a:cubicBezTo>
                    <a:pt x="104174" y="240788"/>
                    <a:pt x="158938" y="217892"/>
                    <a:pt x="216125" y="217539"/>
                  </a:cubicBezTo>
                  <a:lnTo>
                    <a:pt x="0" y="217539"/>
                  </a:lnTo>
                  <a:cubicBezTo>
                    <a:pt x="0" y="159837"/>
                    <a:pt x="22895" y="104500"/>
                    <a:pt x="63710" y="63712"/>
                  </a:cubicBezTo>
                  <a:cubicBezTo>
                    <a:pt x="104499" y="22923"/>
                    <a:pt x="159836" y="0"/>
                    <a:pt x="217539" y="0"/>
                  </a:cubicBezTo>
                  <a:cubicBezTo>
                    <a:pt x="275213" y="0"/>
                    <a:pt x="330550" y="22923"/>
                    <a:pt x="371339" y="63712"/>
                  </a:cubicBezTo>
                  <a:close/>
                </a:path>
              </a:pathLst>
            </a:custGeom>
            <a:grpFill/>
            <a:ln w="27192" cap="flat">
              <a:noFill/>
              <a:prstDash val="solid"/>
              <a:miter/>
            </a:ln>
          </p:spPr>
          <p:txBody>
            <a:bodyPr rtlCol="0" anchor="ctr"/>
            <a:lstStyle/>
            <a:p>
              <a:endParaRPr lang="uk-UA" sz="900"/>
            </a:p>
          </p:txBody>
        </p:sp>
        <p:sp>
          <p:nvSpPr>
            <p:cNvPr id="665" name="Freeform: Shape 664">
              <a:extLst>
                <a:ext uri="{FF2B5EF4-FFF2-40B4-BE49-F238E27FC236}">
                  <a16:creationId xmlns:a16="http://schemas.microsoft.com/office/drawing/2014/main" id="{CEBB2411-48C6-27BE-6F04-7F72A93ABDC9}"/>
                </a:ext>
              </a:extLst>
            </p:cNvPr>
            <p:cNvSpPr/>
            <p:nvPr/>
          </p:nvSpPr>
          <p:spPr>
            <a:xfrm>
              <a:off x="18239029" y="3709219"/>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65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65"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666" name="Freeform: Shape 665">
              <a:extLst>
                <a:ext uri="{FF2B5EF4-FFF2-40B4-BE49-F238E27FC236}">
                  <a16:creationId xmlns:a16="http://schemas.microsoft.com/office/drawing/2014/main" id="{2FA1E8C8-655A-2E6D-3EA3-1C9075570D81}"/>
                </a:ext>
              </a:extLst>
            </p:cNvPr>
            <p:cNvSpPr/>
            <p:nvPr/>
          </p:nvSpPr>
          <p:spPr>
            <a:xfrm>
              <a:off x="17368874" y="370921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667" name="Freeform: Shape 666">
              <a:extLst>
                <a:ext uri="{FF2B5EF4-FFF2-40B4-BE49-F238E27FC236}">
                  <a16:creationId xmlns:a16="http://schemas.microsoft.com/office/drawing/2014/main" id="{E6F7EF1B-D85F-7EDC-2161-F3E9D47586DF}"/>
                </a:ext>
              </a:extLst>
            </p:cNvPr>
            <p:cNvSpPr/>
            <p:nvPr/>
          </p:nvSpPr>
          <p:spPr>
            <a:xfrm>
              <a:off x="19109210" y="370921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668" name="Freeform: Shape 667">
              <a:extLst>
                <a:ext uri="{FF2B5EF4-FFF2-40B4-BE49-F238E27FC236}">
                  <a16:creationId xmlns:a16="http://schemas.microsoft.com/office/drawing/2014/main" id="{AD958CA6-5DD3-8461-F2AB-0E5161A1F673}"/>
                </a:ext>
              </a:extLst>
            </p:cNvPr>
            <p:cNvSpPr/>
            <p:nvPr/>
          </p:nvSpPr>
          <p:spPr>
            <a:xfrm>
              <a:off x="19979365" y="3709219"/>
              <a:ext cx="435077" cy="435077"/>
            </a:xfrm>
            <a:custGeom>
              <a:avLst/>
              <a:gdLst>
                <a:gd name="connsiteX0" fmla="*/ 371365 w 435077"/>
                <a:gd name="connsiteY0" fmla="*/ 63712 h 435077"/>
                <a:gd name="connsiteX1" fmla="*/ 435077 w 435077"/>
                <a:gd name="connsiteY1" fmla="*/ 217539 h 435077"/>
                <a:gd name="connsiteX2" fmla="*/ 218953 w 435077"/>
                <a:gd name="connsiteY2" fmla="*/ 217539 h 435077"/>
                <a:gd name="connsiteX3" fmla="*/ 371365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25 w 435077"/>
                <a:gd name="connsiteY8" fmla="*/ 217539 h 435077"/>
                <a:gd name="connsiteX9" fmla="*/ 0 w 435077"/>
                <a:gd name="connsiteY9" fmla="*/ 217539 h 435077"/>
                <a:gd name="connsiteX10" fmla="*/ 63712 w 435077"/>
                <a:gd name="connsiteY10" fmla="*/ 63712 h 435077"/>
                <a:gd name="connsiteX11" fmla="*/ 217539 w 435077"/>
                <a:gd name="connsiteY11" fmla="*/ 0 h 435077"/>
                <a:gd name="connsiteX12" fmla="*/ 371365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12"/>
                  </a:moveTo>
                  <a:cubicBezTo>
                    <a:pt x="412154" y="104500"/>
                    <a:pt x="435077" y="159837"/>
                    <a:pt x="435077" y="217539"/>
                  </a:cubicBezTo>
                  <a:lnTo>
                    <a:pt x="218953" y="217539"/>
                  </a:lnTo>
                  <a:cubicBezTo>
                    <a:pt x="276139" y="217892"/>
                    <a:pt x="330904" y="240788"/>
                    <a:pt x="371365" y="281250"/>
                  </a:cubicBezTo>
                  <a:cubicBezTo>
                    <a:pt x="412154" y="322039"/>
                    <a:pt x="435077" y="377375"/>
                    <a:pt x="435077" y="435077"/>
                  </a:cubicBezTo>
                  <a:lnTo>
                    <a:pt x="217539" y="435077"/>
                  </a:lnTo>
                  <a:lnTo>
                    <a:pt x="0" y="435077"/>
                  </a:lnTo>
                  <a:cubicBezTo>
                    <a:pt x="0" y="377375"/>
                    <a:pt x="22924" y="322039"/>
                    <a:pt x="63712" y="281250"/>
                  </a:cubicBezTo>
                  <a:cubicBezTo>
                    <a:pt x="104174" y="240788"/>
                    <a:pt x="158940" y="217892"/>
                    <a:pt x="216125" y="217539"/>
                  </a:cubicBezTo>
                  <a:lnTo>
                    <a:pt x="0" y="217539"/>
                  </a:lnTo>
                  <a:cubicBezTo>
                    <a:pt x="0" y="159837"/>
                    <a:pt x="22924" y="104500"/>
                    <a:pt x="63712" y="63712"/>
                  </a:cubicBezTo>
                  <a:cubicBezTo>
                    <a:pt x="104501" y="22923"/>
                    <a:pt x="159836" y="0"/>
                    <a:pt x="217539" y="0"/>
                  </a:cubicBezTo>
                  <a:cubicBezTo>
                    <a:pt x="275241" y="0"/>
                    <a:pt x="330550" y="22923"/>
                    <a:pt x="371365" y="63712"/>
                  </a:cubicBezTo>
                  <a:close/>
                </a:path>
              </a:pathLst>
            </a:custGeom>
            <a:grpFill/>
            <a:ln w="27192" cap="flat">
              <a:noFill/>
              <a:prstDash val="solid"/>
              <a:miter/>
            </a:ln>
          </p:spPr>
          <p:txBody>
            <a:bodyPr rtlCol="0" anchor="ctr"/>
            <a:lstStyle/>
            <a:p>
              <a:endParaRPr lang="uk-UA" sz="900"/>
            </a:p>
          </p:txBody>
        </p:sp>
        <p:sp>
          <p:nvSpPr>
            <p:cNvPr id="669" name="Freeform: Shape 668">
              <a:extLst>
                <a:ext uri="{FF2B5EF4-FFF2-40B4-BE49-F238E27FC236}">
                  <a16:creationId xmlns:a16="http://schemas.microsoft.com/office/drawing/2014/main" id="{5E2C5A1C-D1D4-8A2B-0D67-3B84F9FD5A4C}"/>
                </a:ext>
              </a:extLst>
            </p:cNvPr>
            <p:cNvSpPr/>
            <p:nvPr/>
          </p:nvSpPr>
          <p:spPr>
            <a:xfrm>
              <a:off x="21719702" y="3709219"/>
              <a:ext cx="435077" cy="435077"/>
            </a:xfrm>
            <a:custGeom>
              <a:avLst/>
              <a:gdLst>
                <a:gd name="connsiteX0" fmla="*/ 0 w 435077"/>
                <a:gd name="connsiteY0" fmla="*/ 435077 h 435077"/>
                <a:gd name="connsiteX1" fmla="*/ 217512 w 435077"/>
                <a:gd name="connsiteY1" fmla="*/ 435077 h 435077"/>
                <a:gd name="connsiteX2" fmla="*/ 217512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12" y="435077"/>
                  </a:lnTo>
                  <a:lnTo>
                    <a:pt x="217512"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670" name="Freeform: Shape 669">
              <a:extLst>
                <a:ext uri="{FF2B5EF4-FFF2-40B4-BE49-F238E27FC236}">
                  <a16:creationId xmlns:a16="http://schemas.microsoft.com/office/drawing/2014/main" id="{F6475B96-3A80-6063-E647-16CBB213E238}"/>
                </a:ext>
              </a:extLst>
            </p:cNvPr>
            <p:cNvSpPr/>
            <p:nvPr/>
          </p:nvSpPr>
          <p:spPr>
            <a:xfrm>
              <a:off x="20849520" y="370921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671" name="Freeform: Shape 670">
              <a:extLst>
                <a:ext uri="{FF2B5EF4-FFF2-40B4-BE49-F238E27FC236}">
                  <a16:creationId xmlns:a16="http://schemas.microsoft.com/office/drawing/2014/main" id="{D732FF60-E47A-4B5F-738F-311386C6E4E9}"/>
                </a:ext>
              </a:extLst>
            </p:cNvPr>
            <p:cNvSpPr/>
            <p:nvPr/>
          </p:nvSpPr>
          <p:spPr>
            <a:xfrm>
              <a:off x="22589856" y="370921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672" name="Freeform: Shape 671">
              <a:extLst>
                <a:ext uri="{FF2B5EF4-FFF2-40B4-BE49-F238E27FC236}">
                  <a16:creationId xmlns:a16="http://schemas.microsoft.com/office/drawing/2014/main" id="{4C5301DE-F007-DB70-D8C5-C932AEE35FD1}"/>
                </a:ext>
              </a:extLst>
            </p:cNvPr>
            <p:cNvSpPr/>
            <p:nvPr/>
          </p:nvSpPr>
          <p:spPr>
            <a:xfrm>
              <a:off x="23460039" y="3709219"/>
              <a:ext cx="435077" cy="435077"/>
            </a:xfrm>
            <a:custGeom>
              <a:avLst/>
              <a:gdLst>
                <a:gd name="connsiteX0" fmla="*/ 371339 w 435077"/>
                <a:gd name="connsiteY0" fmla="*/ 63712 h 435077"/>
                <a:gd name="connsiteX1" fmla="*/ 435077 w 435077"/>
                <a:gd name="connsiteY1" fmla="*/ 217539 h 435077"/>
                <a:gd name="connsiteX2" fmla="*/ 218925 w 435077"/>
                <a:gd name="connsiteY2" fmla="*/ 217539 h 435077"/>
                <a:gd name="connsiteX3" fmla="*/ 371339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25 w 435077"/>
                <a:gd name="connsiteY8" fmla="*/ 217539 h 435077"/>
                <a:gd name="connsiteX9" fmla="*/ 0 w 435077"/>
                <a:gd name="connsiteY9" fmla="*/ 217539 h 435077"/>
                <a:gd name="connsiteX10" fmla="*/ 63712 w 435077"/>
                <a:gd name="connsiteY10" fmla="*/ 63712 h 435077"/>
                <a:gd name="connsiteX11" fmla="*/ 217539 w 435077"/>
                <a:gd name="connsiteY11" fmla="*/ 0 h 435077"/>
                <a:gd name="connsiteX12" fmla="*/ 371339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12"/>
                  </a:moveTo>
                  <a:cubicBezTo>
                    <a:pt x="412154" y="104500"/>
                    <a:pt x="435077" y="159837"/>
                    <a:pt x="435077" y="217539"/>
                  </a:cubicBezTo>
                  <a:lnTo>
                    <a:pt x="218925" y="217539"/>
                  </a:lnTo>
                  <a:cubicBezTo>
                    <a:pt x="276111" y="217892"/>
                    <a:pt x="330876" y="240788"/>
                    <a:pt x="371339" y="281250"/>
                  </a:cubicBezTo>
                  <a:cubicBezTo>
                    <a:pt x="412154" y="322039"/>
                    <a:pt x="435077" y="377375"/>
                    <a:pt x="435077" y="435077"/>
                  </a:cubicBezTo>
                  <a:lnTo>
                    <a:pt x="217539" y="435077"/>
                  </a:lnTo>
                  <a:lnTo>
                    <a:pt x="0" y="435077"/>
                  </a:lnTo>
                  <a:cubicBezTo>
                    <a:pt x="0" y="377375"/>
                    <a:pt x="22895" y="322039"/>
                    <a:pt x="63712" y="281250"/>
                  </a:cubicBezTo>
                  <a:cubicBezTo>
                    <a:pt x="104174" y="240788"/>
                    <a:pt x="158938" y="217892"/>
                    <a:pt x="216125" y="217539"/>
                  </a:cubicBezTo>
                  <a:lnTo>
                    <a:pt x="0" y="217539"/>
                  </a:lnTo>
                  <a:cubicBezTo>
                    <a:pt x="0" y="159837"/>
                    <a:pt x="22895" y="104500"/>
                    <a:pt x="63712" y="63712"/>
                  </a:cubicBezTo>
                  <a:cubicBezTo>
                    <a:pt x="104501" y="22923"/>
                    <a:pt x="159836" y="0"/>
                    <a:pt x="217539" y="0"/>
                  </a:cubicBezTo>
                  <a:cubicBezTo>
                    <a:pt x="275213" y="0"/>
                    <a:pt x="330550" y="22923"/>
                    <a:pt x="371339" y="63712"/>
                  </a:cubicBezTo>
                  <a:close/>
                </a:path>
              </a:pathLst>
            </a:custGeom>
            <a:grpFill/>
            <a:ln w="27192" cap="flat">
              <a:noFill/>
              <a:prstDash val="solid"/>
              <a:miter/>
            </a:ln>
          </p:spPr>
          <p:txBody>
            <a:bodyPr rtlCol="0" anchor="ctr"/>
            <a:lstStyle/>
            <a:p>
              <a:endParaRPr lang="uk-UA" sz="900"/>
            </a:p>
          </p:txBody>
        </p:sp>
        <p:sp>
          <p:nvSpPr>
            <p:cNvPr id="673" name="Freeform: Shape 672">
              <a:extLst>
                <a:ext uri="{FF2B5EF4-FFF2-40B4-BE49-F238E27FC236}">
                  <a16:creationId xmlns:a16="http://schemas.microsoft.com/office/drawing/2014/main" id="{ED6C71BF-EC9A-884A-A826-714A0988E981}"/>
                </a:ext>
              </a:extLst>
            </p:cNvPr>
            <p:cNvSpPr/>
            <p:nvPr/>
          </p:nvSpPr>
          <p:spPr>
            <a:xfrm>
              <a:off x="24330194" y="370921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674" name="Freeform: Shape 673">
              <a:extLst>
                <a:ext uri="{FF2B5EF4-FFF2-40B4-BE49-F238E27FC236}">
                  <a16:creationId xmlns:a16="http://schemas.microsoft.com/office/drawing/2014/main" id="{B84933E6-0B80-6C93-E0CE-EB5DE55720F4}"/>
                </a:ext>
              </a:extLst>
            </p:cNvPr>
            <p:cNvSpPr/>
            <p:nvPr/>
          </p:nvSpPr>
          <p:spPr>
            <a:xfrm>
              <a:off x="835769" y="4579374"/>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675" name="Freeform: Shape 674">
              <a:extLst>
                <a:ext uri="{FF2B5EF4-FFF2-40B4-BE49-F238E27FC236}">
                  <a16:creationId xmlns:a16="http://schemas.microsoft.com/office/drawing/2014/main" id="{D9A897A4-B3DA-832F-8847-5178131CDA9D}"/>
                </a:ext>
              </a:extLst>
            </p:cNvPr>
            <p:cNvSpPr/>
            <p:nvPr/>
          </p:nvSpPr>
          <p:spPr>
            <a:xfrm>
              <a:off x="-34398" y="4579374"/>
              <a:ext cx="435063" cy="435077"/>
            </a:xfrm>
            <a:custGeom>
              <a:avLst/>
              <a:gdLst>
                <a:gd name="connsiteX0" fmla="*/ 435064 w 435063"/>
                <a:gd name="connsiteY0" fmla="*/ 435077 h 435077"/>
                <a:gd name="connsiteX1" fmla="*/ 435064 w 435063"/>
                <a:gd name="connsiteY1" fmla="*/ 217539 h 435077"/>
                <a:gd name="connsiteX2" fmla="*/ 435064 w 435063"/>
                <a:gd name="connsiteY2" fmla="*/ 27 h 435077"/>
                <a:gd name="connsiteX3" fmla="*/ 217552 w 435063"/>
                <a:gd name="connsiteY3" fmla="*/ 27 h 435077"/>
                <a:gd name="connsiteX4" fmla="*/ 435064 w 435063"/>
                <a:gd name="connsiteY4" fmla="*/ 217539 h 435077"/>
                <a:gd name="connsiteX5" fmla="*/ 217552 w 435063"/>
                <a:gd name="connsiteY5" fmla="*/ 435077 h 435077"/>
                <a:gd name="connsiteX6" fmla="*/ 435064 w 435063"/>
                <a:gd name="connsiteY6" fmla="*/ 435077 h 435077"/>
                <a:gd name="connsiteX7" fmla="*/ 0 w 435063"/>
                <a:gd name="connsiteY7" fmla="*/ 217539 h 435077"/>
                <a:gd name="connsiteX8" fmla="*/ 0 w 435063"/>
                <a:gd name="connsiteY8" fmla="*/ 0 h 435077"/>
                <a:gd name="connsiteX9" fmla="*/ 217525 w 435063"/>
                <a:gd name="connsiteY9" fmla="*/ 217539 h 435077"/>
                <a:gd name="connsiteX10" fmla="*/ 0 w 435063"/>
                <a:gd name="connsiteY10" fmla="*/ 217539 h 435077"/>
                <a:gd name="connsiteX11" fmla="*/ 0 w 435063"/>
                <a:gd name="connsiteY11" fmla="*/ 435077 h 435077"/>
                <a:gd name="connsiteX12" fmla="*/ 0 w 435063"/>
                <a:gd name="connsiteY12" fmla="*/ 217539 h 435077"/>
                <a:gd name="connsiteX13" fmla="*/ 217525 w 435063"/>
                <a:gd name="connsiteY13" fmla="*/ 217539 h 435077"/>
                <a:gd name="connsiteX14" fmla="*/ 0 w 435063"/>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63" h="435077">
                  <a:moveTo>
                    <a:pt x="435064" y="435077"/>
                  </a:moveTo>
                  <a:lnTo>
                    <a:pt x="435064" y="217539"/>
                  </a:lnTo>
                  <a:lnTo>
                    <a:pt x="435064" y="27"/>
                  </a:lnTo>
                  <a:lnTo>
                    <a:pt x="217552" y="27"/>
                  </a:lnTo>
                  <a:lnTo>
                    <a:pt x="435064" y="217539"/>
                  </a:lnTo>
                  <a:lnTo>
                    <a:pt x="217552" y="435077"/>
                  </a:lnTo>
                  <a:lnTo>
                    <a:pt x="435064" y="435077"/>
                  </a:lnTo>
                  <a:close/>
                  <a:moveTo>
                    <a:pt x="0" y="217539"/>
                  </a:moveTo>
                  <a:lnTo>
                    <a:pt x="0" y="0"/>
                  </a:lnTo>
                  <a:lnTo>
                    <a:pt x="217525" y="217539"/>
                  </a:lnTo>
                  <a:lnTo>
                    <a:pt x="0" y="217539"/>
                  </a:lnTo>
                  <a:close/>
                  <a:moveTo>
                    <a:pt x="0" y="435077"/>
                  </a:moveTo>
                  <a:lnTo>
                    <a:pt x="0" y="217539"/>
                  </a:lnTo>
                  <a:lnTo>
                    <a:pt x="217525" y="217539"/>
                  </a:lnTo>
                  <a:lnTo>
                    <a:pt x="0" y="435077"/>
                  </a:lnTo>
                  <a:close/>
                </a:path>
              </a:pathLst>
            </a:custGeom>
            <a:grpFill/>
            <a:ln w="27192" cap="flat">
              <a:noFill/>
              <a:prstDash val="solid"/>
              <a:miter/>
            </a:ln>
          </p:spPr>
          <p:txBody>
            <a:bodyPr rtlCol="0" anchor="ctr"/>
            <a:lstStyle/>
            <a:p>
              <a:endParaRPr lang="uk-UA" sz="900"/>
            </a:p>
          </p:txBody>
        </p:sp>
        <p:sp>
          <p:nvSpPr>
            <p:cNvPr id="676" name="Freeform: Shape 675">
              <a:extLst>
                <a:ext uri="{FF2B5EF4-FFF2-40B4-BE49-F238E27FC236}">
                  <a16:creationId xmlns:a16="http://schemas.microsoft.com/office/drawing/2014/main" id="{7CDDD3CA-0E81-8F3E-884F-75CC5D1F2193}"/>
                </a:ext>
              </a:extLst>
            </p:cNvPr>
            <p:cNvSpPr/>
            <p:nvPr/>
          </p:nvSpPr>
          <p:spPr>
            <a:xfrm>
              <a:off x="1705924" y="4579374"/>
              <a:ext cx="435077" cy="435077"/>
            </a:xfrm>
            <a:custGeom>
              <a:avLst/>
              <a:gdLst>
                <a:gd name="connsiteX0" fmla="*/ 435077 w 435077"/>
                <a:gd name="connsiteY0" fmla="*/ 435077 h 435077"/>
                <a:gd name="connsiteX1" fmla="*/ 435077 w 435077"/>
                <a:gd name="connsiteY1" fmla="*/ 0 h 435077"/>
                <a:gd name="connsiteX2" fmla="*/ 217566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6"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677" name="Freeform: Shape 676">
              <a:extLst>
                <a:ext uri="{FF2B5EF4-FFF2-40B4-BE49-F238E27FC236}">
                  <a16:creationId xmlns:a16="http://schemas.microsoft.com/office/drawing/2014/main" id="{2C60ADB5-9EA5-F03E-6EB4-C973A313A551}"/>
                </a:ext>
              </a:extLst>
            </p:cNvPr>
            <p:cNvSpPr/>
            <p:nvPr/>
          </p:nvSpPr>
          <p:spPr>
            <a:xfrm>
              <a:off x="2576106" y="457937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3" y="113038"/>
                    <a:pt x="0" y="57702"/>
                    <a:pt x="0" y="0"/>
                  </a:cubicBezTo>
                  <a:lnTo>
                    <a:pt x="217539" y="0"/>
                  </a:lnTo>
                  <a:lnTo>
                    <a:pt x="435077" y="0"/>
                  </a:lnTo>
                  <a:cubicBezTo>
                    <a:pt x="435077" y="57702"/>
                    <a:pt x="412154" y="113038"/>
                    <a:pt x="371366" y="153827"/>
                  </a:cubicBezTo>
                  <a:cubicBezTo>
                    <a:pt x="330550" y="194616"/>
                    <a:pt x="275214" y="217539"/>
                    <a:pt x="217539" y="217539"/>
                  </a:cubicBezTo>
                  <a:cubicBezTo>
                    <a:pt x="159837" y="217539"/>
                    <a:pt x="104500" y="194616"/>
                    <a:pt x="63712" y="153827"/>
                  </a:cubicBezTo>
                  <a:close/>
                  <a:moveTo>
                    <a:pt x="63712" y="281250"/>
                  </a:moveTo>
                  <a:cubicBezTo>
                    <a:pt x="22923" y="322066"/>
                    <a:pt x="0" y="377375"/>
                    <a:pt x="0" y="435077"/>
                  </a:cubicBezTo>
                  <a:lnTo>
                    <a:pt x="217539" y="435077"/>
                  </a:lnTo>
                  <a:lnTo>
                    <a:pt x="435077" y="435077"/>
                  </a:lnTo>
                  <a:cubicBezTo>
                    <a:pt x="435077" y="377375"/>
                    <a:pt x="412154" y="322066"/>
                    <a:pt x="371366" y="281250"/>
                  </a:cubicBezTo>
                  <a:cubicBezTo>
                    <a:pt x="330550" y="240462"/>
                    <a:pt x="275214" y="217539"/>
                    <a:pt x="217539" y="217539"/>
                  </a:cubicBezTo>
                  <a:cubicBezTo>
                    <a:pt x="159837" y="217539"/>
                    <a:pt x="104500" y="240462"/>
                    <a:pt x="63712" y="281250"/>
                  </a:cubicBezTo>
                  <a:close/>
                </a:path>
              </a:pathLst>
            </a:custGeom>
            <a:grpFill/>
            <a:ln w="27192" cap="flat">
              <a:noFill/>
              <a:prstDash val="solid"/>
              <a:miter/>
            </a:ln>
          </p:spPr>
          <p:txBody>
            <a:bodyPr rtlCol="0" anchor="ctr"/>
            <a:lstStyle/>
            <a:p>
              <a:endParaRPr lang="uk-UA" sz="900"/>
            </a:p>
          </p:txBody>
        </p:sp>
        <p:sp>
          <p:nvSpPr>
            <p:cNvPr id="678" name="Freeform: Shape 677">
              <a:extLst>
                <a:ext uri="{FF2B5EF4-FFF2-40B4-BE49-F238E27FC236}">
                  <a16:creationId xmlns:a16="http://schemas.microsoft.com/office/drawing/2014/main" id="{A164E6F2-B4B3-EA62-BB85-55A40E1373F1}"/>
                </a:ext>
              </a:extLst>
            </p:cNvPr>
            <p:cNvSpPr/>
            <p:nvPr/>
          </p:nvSpPr>
          <p:spPr>
            <a:xfrm>
              <a:off x="4316416" y="4579374"/>
              <a:ext cx="435077" cy="435077"/>
            </a:xfrm>
            <a:custGeom>
              <a:avLst/>
              <a:gdLst>
                <a:gd name="connsiteX0" fmla="*/ 217565 w 435077"/>
                <a:gd name="connsiteY0" fmla="*/ 435077 h 435077"/>
                <a:gd name="connsiteX1" fmla="*/ 217565 w 435077"/>
                <a:gd name="connsiteY1" fmla="*/ 0 h 435077"/>
                <a:gd name="connsiteX2" fmla="*/ 435077 w 435077"/>
                <a:gd name="connsiteY2" fmla="*/ 217539 h 435077"/>
                <a:gd name="connsiteX3" fmla="*/ 217565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65" y="435077"/>
                  </a:moveTo>
                  <a:lnTo>
                    <a:pt x="217565" y="0"/>
                  </a:lnTo>
                  <a:lnTo>
                    <a:pt x="435077" y="217539"/>
                  </a:lnTo>
                  <a:lnTo>
                    <a:pt x="217565"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679" name="Freeform: Shape 678">
              <a:extLst>
                <a:ext uri="{FF2B5EF4-FFF2-40B4-BE49-F238E27FC236}">
                  <a16:creationId xmlns:a16="http://schemas.microsoft.com/office/drawing/2014/main" id="{74D2C706-32AE-0F44-55EB-71A0F2E2C23D}"/>
                </a:ext>
              </a:extLst>
            </p:cNvPr>
            <p:cNvSpPr/>
            <p:nvPr/>
          </p:nvSpPr>
          <p:spPr>
            <a:xfrm>
              <a:off x="3446261" y="4579374"/>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6 w 435077"/>
                <a:gd name="connsiteY3" fmla="*/ 27 h 435077"/>
                <a:gd name="connsiteX4" fmla="*/ 435077 w 435077"/>
                <a:gd name="connsiteY4" fmla="*/ 217539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6" y="27"/>
                  </a:lnTo>
                  <a:lnTo>
                    <a:pt x="435077" y="217539"/>
                  </a:lnTo>
                  <a:lnTo>
                    <a:pt x="217566"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680" name="Freeform: Shape 679">
              <a:extLst>
                <a:ext uri="{FF2B5EF4-FFF2-40B4-BE49-F238E27FC236}">
                  <a16:creationId xmlns:a16="http://schemas.microsoft.com/office/drawing/2014/main" id="{2A6C1491-E350-2BCF-2D0F-F795E773DFA0}"/>
                </a:ext>
              </a:extLst>
            </p:cNvPr>
            <p:cNvSpPr/>
            <p:nvPr/>
          </p:nvSpPr>
          <p:spPr>
            <a:xfrm>
              <a:off x="5186597" y="4579374"/>
              <a:ext cx="435077" cy="435077"/>
            </a:xfrm>
            <a:custGeom>
              <a:avLst/>
              <a:gdLst>
                <a:gd name="connsiteX0" fmla="*/ 435077 w 435077"/>
                <a:gd name="connsiteY0" fmla="*/ 435077 h 435077"/>
                <a:gd name="connsiteX1" fmla="*/ 435077 w 435077"/>
                <a:gd name="connsiteY1" fmla="*/ 0 h 435077"/>
                <a:gd name="connsiteX2" fmla="*/ 217566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6"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681" name="Freeform: Shape 680">
              <a:extLst>
                <a:ext uri="{FF2B5EF4-FFF2-40B4-BE49-F238E27FC236}">
                  <a16:creationId xmlns:a16="http://schemas.microsoft.com/office/drawing/2014/main" id="{2E3130EB-4451-D107-FA76-B67CE1C26B3F}"/>
                </a:ext>
              </a:extLst>
            </p:cNvPr>
            <p:cNvSpPr/>
            <p:nvPr/>
          </p:nvSpPr>
          <p:spPr>
            <a:xfrm>
              <a:off x="6056752" y="457937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8"/>
                    <a:pt x="0" y="57702"/>
                    <a:pt x="0" y="0"/>
                  </a:cubicBezTo>
                  <a:lnTo>
                    <a:pt x="217539" y="0"/>
                  </a:lnTo>
                  <a:lnTo>
                    <a:pt x="435077" y="0"/>
                  </a:lnTo>
                  <a:cubicBezTo>
                    <a:pt x="435077" y="57702"/>
                    <a:pt x="412155" y="113038"/>
                    <a:pt x="371366" y="153827"/>
                  </a:cubicBezTo>
                  <a:cubicBezTo>
                    <a:pt x="330550" y="194616"/>
                    <a:pt x="275241" y="217539"/>
                    <a:pt x="217539" y="217539"/>
                  </a:cubicBezTo>
                  <a:cubicBezTo>
                    <a:pt x="159837" y="217539"/>
                    <a:pt x="104501" y="194616"/>
                    <a:pt x="63712" y="153827"/>
                  </a:cubicBezTo>
                  <a:close/>
                  <a:moveTo>
                    <a:pt x="63712" y="281250"/>
                  </a:moveTo>
                  <a:cubicBezTo>
                    <a:pt x="22924" y="322066"/>
                    <a:pt x="0" y="377375"/>
                    <a:pt x="0" y="435077"/>
                  </a:cubicBezTo>
                  <a:lnTo>
                    <a:pt x="217539" y="435077"/>
                  </a:lnTo>
                  <a:lnTo>
                    <a:pt x="435077" y="435077"/>
                  </a:lnTo>
                  <a:cubicBezTo>
                    <a:pt x="435077" y="377375"/>
                    <a:pt x="412155" y="322066"/>
                    <a:pt x="371366" y="281250"/>
                  </a:cubicBezTo>
                  <a:cubicBezTo>
                    <a:pt x="330550" y="240462"/>
                    <a:pt x="275241" y="217539"/>
                    <a:pt x="217539" y="217539"/>
                  </a:cubicBezTo>
                  <a:cubicBezTo>
                    <a:pt x="159837" y="217539"/>
                    <a:pt x="104501" y="240462"/>
                    <a:pt x="63712" y="281250"/>
                  </a:cubicBezTo>
                  <a:close/>
                </a:path>
              </a:pathLst>
            </a:custGeom>
            <a:grpFill/>
            <a:ln w="27192" cap="flat">
              <a:noFill/>
              <a:prstDash val="solid"/>
              <a:miter/>
            </a:ln>
          </p:spPr>
          <p:txBody>
            <a:bodyPr rtlCol="0" anchor="ctr"/>
            <a:lstStyle/>
            <a:p>
              <a:endParaRPr lang="uk-UA" sz="900"/>
            </a:p>
          </p:txBody>
        </p:sp>
        <p:sp>
          <p:nvSpPr>
            <p:cNvPr id="682" name="Freeform: Shape 681">
              <a:extLst>
                <a:ext uri="{FF2B5EF4-FFF2-40B4-BE49-F238E27FC236}">
                  <a16:creationId xmlns:a16="http://schemas.microsoft.com/office/drawing/2014/main" id="{B5E2F6A9-BD27-618E-2206-B3BCD5EA8300}"/>
                </a:ext>
              </a:extLst>
            </p:cNvPr>
            <p:cNvSpPr/>
            <p:nvPr/>
          </p:nvSpPr>
          <p:spPr>
            <a:xfrm>
              <a:off x="7797062" y="4579374"/>
              <a:ext cx="435077" cy="435077"/>
            </a:xfrm>
            <a:custGeom>
              <a:avLst/>
              <a:gdLst>
                <a:gd name="connsiteX0" fmla="*/ 217566 w 435077"/>
                <a:gd name="connsiteY0" fmla="*/ 435077 h 435077"/>
                <a:gd name="connsiteX1" fmla="*/ 217566 w 435077"/>
                <a:gd name="connsiteY1" fmla="*/ 0 h 435077"/>
                <a:gd name="connsiteX2" fmla="*/ 435077 w 435077"/>
                <a:gd name="connsiteY2" fmla="*/ 217539 h 435077"/>
                <a:gd name="connsiteX3" fmla="*/ 217566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66" y="435077"/>
                  </a:moveTo>
                  <a:lnTo>
                    <a:pt x="217566" y="0"/>
                  </a:lnTo>
                  <a:lnTo>
                    <a:pt x="435077" y="217539"/>
                  </a:lnTo>
                  <a:lnTo>
                    <a:pt x="217566"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683" name="Freeform: Shape 682">
              <a:extLst>
                <a:ext uri="{FF2B5EF4-FFF2-40B4-BE49-F238E27FC236}">
                  <a16:creationId xmlns:a16="http://schemas.microsoft.com/office/drawing/2014/main" id="{C8E96748-7994-5BB3-3974-69AC87FD5C74}"/>
                </a:ext>
              </a:extLst>
            </p:cNvPr>
            <p:cNvSpPr/>
            <p:nvPr/>
          </p:nvSpPr>
          <p:spPr>
            <a:xfrm>
              <a:off x="6926907" y="4579374"/>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6 w 435077"/>
                <a:gd name="connsiteY3" fmla="*/ 27 h 435077"/>
                <a:gd name="connsiteX4" fmla="*/ 435077 w 435077"/>
                <a:gd name="connsiteY4" fmla="*/ 217539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6" y="27"/>
                  </a:lnTo>
                  <a:lnTo>
                    <a:pt x="435077" y="217539"/>
                  </a:lnTo>
                  <a:lnTo>
                    <a:pt x="217566"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684" name="Freeform: Shape 683">
              <a:extLst>
                <a:ext uri="{FF2B5EF4-FFF2-40B4-BE49-F238E27FC236}">
                  <a16:creationId xmlns:a16="http://schemas.microsoft.com/office/drawing/2014/main" id="{E85C483F-A279-BBF6-57E9-877F53901245}"/>
                </a:ext>
              </a:extLst>
            </p:cNvPr>
            <p:cNvSpPr/>
            <p:nvPr/>
          </p:nvSpPr>
          <p:spPr>
            <a:xfrm>
              <a:off x="8667217" y="4579374"/>
              <a:ext cx="435104" cy="435077"/>
            </a:xfrm>
            <a:custGeom>
              <a:avLst/>
              <a:gdLst>
                <a:gd name="connsiteX0" fmla="*/ 435105 w 435104"/>
                <a:gd name="connsiteY0" fmla="*/ 435077 h 435077"/>
                <a:gd name="connsiteX1" fmla="*/ 435105 w 435104"/>
                <a:gd name="connsiteY1" fmla="*/ 0 h 435077"/>
                <a:gd name="connsiteX2" fmla="*/ 217566 w 435104"/>
                <a:gd name="connsiteY2" fmla="*/ 217539 h 435077"/>
                <a:gd name="connsiteX3" fmla="*/ 435105 w 435104"/>
                <a:gd name="connsiteY3" fmla="*/ 435077 h 435077"/>
                <a:gd name="connsiteX4" fmla="*/ 0 w 435104"/>
                <a:gd name="connsiteY4" fmla="*/ 435077 h 435077"/>
                <a:gd name="connsiteX5" fmla="*/ 0 w 435104"/>
                <a:gd name="connsiteY5" fmla="*/ 0 h 435077"/>
                <a:gd name="connsiteX6" fmla="*/ 217539 w 435104"/>
                <a:gd name="connsiteY6" fmla="*/ 217539 h 435077"/>
                <a:gd name="connsiteX7" fmla="*/ 0 w 435104"/>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104" h="435077">
                  <a:moveTo>
                    <a:pt x="435105" y="435077"/>
                  </a:moveTo>
                  <a:lnTo>
                    <a:pt x="435105" y="0"/>
                  </a:lnTo>
                  <a:lnTo>
                    <a:pt x="217566" y="217539"/>
                  </a:lnTo>
                  <a:lnTo>
                    <a:pt x="435105"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685" name="Freeform: Shape 684">
              <a:extLst>
                <a:ext uri="{FF2B5EF4-FFF2-40B4-BE49-F238E27FC236}">
                  <a16:creationId xmlns:a16="http://schemas.microsoft.com/office/drawing/2014/main" id="{27A956AB-DB8C-F953-6486-E14868E716A2}"/>
                </a:ext>
              </a:extLst>
            </p:cNvPr>
            <p:cNvSpPr/>
            <p:nvPr/>
          </p:nvSpPr>
          <p:spPr>
            <a:xfrm>
              <a:off x="9537399" y="4579374"/>
              <a:ext cx="435077" cy="435077"/>
            </a:xfrm>
            <a:custGeom>
              <a:avLst/>
              <a:gdLst>
                <a:gd name="connsiteX0" fmla="*/ 63711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1 w 435077"/>
                <a:gd name="connsiteY6" fmla="*/ 153827 h 435077"/>
                <a:gd name="connsiteX7" fmla="*/ 63711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1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1" y="153827"/>
                  </a:moveTo>
                  <a:cubicBezTo>
                    <a:pt x="22923" y="113038"/>
                    <a:pt x="0" y="57702"/>
                    <a:pt x="0" y="0"/>
                  </a:cubicBezTo>
                  <a:lnTo>
                    <a:pt x="217539" y="0"/>
                  </a:lnTo>
                  <a:lnTo>
                    <a:pt x="435077" y="0"/>
                  </a:lnTo>
                  <a:cubicBezTo>
                    <a:pt x="435077" y="57702"/>
                    <a:pt x="412155" y="113038"/>
                    <a:pt x="371366" y="153827"/>
                  </a:cubicBezTo>
                  <a:cubicBezTo>
                    <a:pt x="330550" y="194616"/>
                    <a:pt x="275214" y="217539"/>
                    <a:pt x="217539" y="217539"/>
                  </a:cubicBezTo>
                  <a:cubicBezTo>
                    <a:pt x="159836" y="217539"/>
                    <a:pt x="104500" y="194616"/>
                    <a:pt x="63711" y="153827"/>
                  </a:cubicBezTo>
                  <a:close/>
                  <a:moveTo>
                    <a:pt x="63711" y="281250"/>
                  </a:moveTo>
                  <a:cubicBezTo>
                    <a:pt x="22923" y="322066"/>
                    <a:pt x="0" y="377375"/>
                    <a:pt x="0" y="435077"/>
                  </a:cubicBezTo>
                  <a:lnTo>
                    <a:pt x="217539" y="435077"/>
                  </a:lnTo>
                  <a:lnTo>
                    <a:pt x="435077" y="435077"/>
                  </a:lnTo>
                  <a:cubicBezTo>
                    <a:pt x="435077" y="377375"/>
                    <a:pt x="412155" y="322066"/>
                    <a:pt x="371366" y="281250"/>
                  </a:cubicBezTo>
                  <a:cubicBezTo>
                    <a:pt x="330550" y="240462"/>
                    <a:pt x="275214" y="217539"/>
                    <a:pt x="217539" y="217539"/>
                  </a:cubicBezTo>
                  <a:cubicBezTo>
                    <a:pt x="159836" y="217539"/>
                    <a:pt x="104500" y="240462"/>
                    <a:pt x="63711" y="281250"/>
                  </a:cubicBezTo>
                  <a:close/>
                </a:path>
              </a:pathLst>
            </a:custGeom>
            <a:grpFill/>
            <a:ln w="27192" cap="flat">
              <a:noFill/>
              <a:prstDash val="solid"/>
              <a:miter/>
            </a:ln>
          </p:spPr>
          <p:txBody>
            <a:bodyPr rtlCol="0" anchor="ctr"/>
            <a:lstStyle/>
            <a:p>
              <a:endParaRPr lang="uk-UA" sz="900"/>
            </a:p>
          </p:txBody>
        </p:sp>
        <p:sp>
          <p:nvSpPr>
            <p:cNvPr id="686" name="Freeform: Shape 685">
              <a:extLst>
                <a:ext uri="{FF2B5EF4-FFF2-40B4-BE49-F238E27FC236}">
                  <a16:creationId xmlns:a16="http://schemas.microsoft.com/office/drawing/2014/main" id="{D8231C71-28E7-E372-6164-58121F788EFC}"/>
                </a:ext>
              </a:extLst>
            </p:cNvPr>
            <p:cNvSpPr/>
            <p:nvPr/>
          </p:nvSpPr>
          <p:spPr>
            <a:xfrm>
              <a:off x="11277709" y="4579374"/>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687" name="Freeform: Shape 686">
              <a:extLst>
                <a:ext uri="{FF2B5EF4-FFF2-40B4-BE49-F238E27FC236}">
                  <a16:creationId xmlns:a16="http://schemas.microsoft.com/office/drawing/2014/main" id="{54EE6123-4B35-0834-B47F-FC079F75964C}"/>
                </a:ext>
              </a:extLst>
            </p:cNvPr>
            <p:cNvSpPr/>
            <p:nvPr/>
          </p:nvSpPr>
          <p:spPr>
            <a:xfrm>
              <a:off x="10407554" y="4579374"/>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39 w 435077"/>
                <a:gd name="connsiteY3" fmla="*/ 27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1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1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39" y="27"/>
                  </a:lnTo>
                  <a:lnTo>
                    <a:pt x="435077" y="217539"/>
                  </a:lnTo>
                  <a:lnTo>
                    <a:pt x="217539" y="435077"/>
                  </a:lnTo>
                  <a:lnTo>
                    <a:pt x="435077" y="435077"/>
                  </a:lnTo>
                  <a:close/>
                  <a:moveTo>
                    <a:pt x="0" y="217539"/>
                  </a:moveTo>
                  <a:lnTo>
                    <a:pt x="0" y="0"/>
                  </a:lnTo>
                  <a:lnTo>
                    <a:pt x="217511" y="217539"/>
                  </a:lnTo>
                  <a:lnTo>
                    <a:pt x="0" y="217539"/>
                  </a:lnTo>
                  <a:close/>
                  <a:moveTo>
                    <a:pt x="0" y="435077"/>
                  </a:moveTo>
                  <a:lnTo>
                    <a:pt x="0" y="217539"/>
                  </a:lnTo>
                  <a:lnTo>
                    <a:pt x="217511" y="217539"/>
                  </a:lnTo>
                  <a:lnTo>
                    <a:pt x="0" y="435077"/>
                  </a:lnTo>
                  <a:close/>
                </a:path>
              </a:pathLst>
            </a:custGeom>
            <a:grpFill/>
            <a:ln w="27192" cap="flat">
              <a:noFill/>
              <a:prstDash val="solid"/>
              <a:miter/>
            </a:ln>
          </p:spPr>
          <p:txBody>
            <a:bodyPr rtlCol="0" anchor="ctr"/>
            <a:lstStyle/>
            <a:p>
              <a:endParaRPr lang="uk-UA" sz="900"/>
            </a:p>
          </p:txBody>
        </p:sp>
        <p:sp>
          <p:nvSpPr>
            <p:cNvPr id="688" name="Freeform: Shape 687">
              <a:extLst>
                <a:ext uri="{FF2B5EF4-FFF2-40B4-BE49-F238E27FC236}">
                  <a16:creationId xmlns:a16="http://schemas.microsoft.com/office/drawing/2014/main" id="{F41DF6D6-0E8A-1223-0B2E-4FEDFFDDCBB7}"/>
                </a:ext>
              </a:extLst>
            </p:cNvPr>
            <p:cNvSpPr/>
            <p:nvPr/>
          </p:nvSpPr>
          <p:spPr>
            <a:xfrm>
              <a:off x="12147891" y="4579374"/>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689" name="Freeform: Shape 688">
              <a:extLst>
                <a:ext uri="{FF2B5EF4-FFF2-40B4-BE49-F238E27FC236}">
                  <a16:creationId xmlns:a16="http://schemas.microsoft.com/office/drawing/2014/main" id="{C450B14F-614C-A3B4-F61E-B15BD4BD087D}"/>
                </a:ext>
              </a:extLst>
            </p:cNvPr>
            <p:cNvSpPr/>
            <p:nvPr/>
          </p:nvSpPr>
          <p:spPr>
            <a:xfrm>
              <a:off x="13018045" y="457937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8"/>
                    <a:pt x="0" y="57702"/>
                    <a:pt x="0" y="0"/>
                  </a:cubicBezTo>
                  <a:lnTo>
                    <a:pt x="217539" y="0"/>
                  </a:lnTo>
                  <a:lnTo>
                    <a:pt x="435077" y="0"/>
                  </a:lnTo>
                  <a:cubicBezTo>
                    <a:pt x="435077" y="57702"/>
                    <a:pt x="412154" y="113038"/>
                    <a:pt x="371365" y="153827"/>
                  </a:cubicBezTo>
                  <a:cubicBezTo>
                    <a:pt x="330550" y="194616"/>
                    <a:pt x="275241" y="217539"/>
                    <a:pt x="217539" y="217539"/>
                  </a:cubicBezTo>
                  <a:cubicBezTo>
                    <a:pt x="159836" y="217539"/>
                    <a:pt x="104501" y="194616"/>
                    <a:pt x="63712" y="153827"/>
                  </a:cubicBezTo>
                  <a:close/>
                  <a:moveTo>
                    <a:pt x="63712" y="281250"/>
                  </a:moveTo>
                  <a:cubicBezTo>
                    <a:pt x="22924" y="322066"/>
                    <a:pt x="0" y="377375"/>
                    <a:pt x="0" y="435077"/>
                  </a:cubicBezTo>
                  <a:lnTo>
                    <a:pt x="217539" y="435077"/>
                  </a:lnTo>
                  <a:lnTo>
                    <a:pt x="435077" y="435077"/>
                  </a:lnTo>
                  <a:cubicBezTo>
                    <a:pt x="435077" y="377375"/>
                    <a:pt x="412154" y="322066"/>
                    <a:pt x="371365" y="281250"/>
                  </a:cubicBezTo>
                  <a:cubicBezTo>
                    <a:pt x="330550" y="240462"/>
                    <a:pt x="275241" y="217539"/>
                    <a:pt x="217539" y="217539"/>
                  </a:cubicBezTo>
                  <a:cubicBezTo>
                    <a:pt x="159836" y="217539"/>
                    <a:pt x="104501" y="240462"/>
                    <a:pt x="63712" y="281250"/>
                  </a:cubicBezTo>
                  <a:close/>
                </a:path>
              </a:pathLst>
            </a:custGeom>
            <a:grpFill/>
            <a:ln w="27192" cap="flat">
              <a:noFill/>
              <a:prstDash val="solid"/>
              <a:miter/>
            </a:ln>
          </p:spPr>
          <p:txBody>
            <a:bodyPr rtlCol="0" anchor="ctr"/>
            <a:lstStyle/>
            <a:p>
              <a:endParaRPr lang="uk-UA" sz="900"/>
            </a:p>
          </p:txBody>
        </p:sp>
        <p:sp>
          <p:nvSpPr>
            <p:cNvPr id="690" name="Freeform: Shape 689">
              <a:extLst>
                <a:ext uri="{FF2B5EF4-FFF2-40B4-BE49-F238E27FC236}">
                  <a16:creationId xmlns:a16="http://schemas.microsoft.com/office/drawing/2014/main" id="{D81C1BA3-B99E-A8AE-98F5-EF84AA204CD8}"/>
                </a:ext>
              </a:extLst>
            </p:cNvPr>
            <p:cNvSpPr/>
            <p:nvPr/>
          </p:nvSpPr>
          <p:spPr>
            <a:xfrm>
              <a:off x="14758382" y="4579374"/>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691" name="Freeform: Shape 690">
              <a:extLst>
                <a:ext uri="{FF2B5EF4-FFF2-40B4-BE49-F238E27FC236}">
                  <a16:creationId xmlns:a16="http://schemas.microsoft.com/office/drawing/2014/main" id="{518CD23B-795E-C1B6-F488-E6143F64A02F}"/>
                </a:ext>
              </a:extLst>
            </p:cNvPr>
            <p:cNvSpPr/>
            <p:nvPr/>
          </p:nvSpPr>
          <p:spPr>
            <a:xfrm>
              <a:off x="13888200" y="4579374"/>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5 w 435077"/>
                <a:gd name="connsiteY3" fmla="*/ 27 h 435077"/>
                <a:gd name="connsiteX4" fmla="*/ 435077 w 435077"/>
                <a:gd name="connsiteY4" fmla="*/ 217539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5" y="27"/>
                  </a:lnTo>
                  <a:lnTo>
                    <a:pt x="435077" y="217539"/>
                  </a:lnTo>
                  <a:lnTo>
                    <a:pt x="217565"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692" name="Freeform: Shape 691">
              <a:extLst>
                <a:ext uri="{FF2B5EF4-FFF2-40B4-BE49-F238E27FC236}">
                  <a16:creationId xmlns:a16="http://schemas.microsoft.com/office/drawing/2014/main" id="{49E96335-465A-0BA4-92B5-DC320D85842D}"/>
                </a:ext>
              </a:extLst>
            </p:cNvPr>
            <p:cNvSpPr/>
            <p:nvPr/>
          </p:nvSpPr>
          <p:spPr>
            <a:xfrm>
              <a:off x="15628565" y="4579374"/>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0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0" y="217539"/>
                  </a:lnTo>
                  <a:lnTo>
                    <a:pt x="0" y="435077"/>
                  </a:lnTo>
                  <a:close/>
                </a:path>
              </a:pathLst>
            </a:custGeom>
            <a:grpFill/>
            <a:ln w="27192" cap="flat">
              <a:noFill/>
              <a:prstDash val="solid"/>
              <a:miter/>
            </a:ln>
          </p:spPr>
          <p:txBody>
            <a:bodyPr rtlCol="0" anchor="ctr"/>
            <a:lstStyle/>
            <a:p>
              <a:endParaRPr lang="uk-UA" sz="900"/>
            </a:p>
          </p:txBody>
        </p:sp>
        <p:sp>
          <p:nvSpPr>
            <p:cNvPr id="693" name="Freeform: Shape 692">
              <a:extLst>
                <a:ext uri="{FF2B5EF4-FFF2-40B4-BE49-F238E27FC236}">
                  <a16:creationId xmlns:a16="http://schemas.microsoft.com/office/drawing/2014/main" id="{F34E3DE5-CDAA-45C9-0E5E-916BB61957E2}"/>
                </a:ext>
              </a:extLst>
            </p:cNvPr>
            <p:cNvSpPr/>
            <p:nvPr/>
          </p:nvSpPr>
          <p:spPr>
            <a:xfrm>
              <a:off x="16498719" y="4579374"/>
              <a:ext cx="435077" cy="435077"/>
            </a:xfrm>
            <a:custGeom>
              <a:avLst/>
              <a:gdLst>
                <a:gd name="connsiteX0" fmla="*/ 63710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0 w 435077"/>
                <a:gd name="connsiteY6" fmla="*/ 153827 h 435077"/>
                <a:gd name="connsiteX7" fmla="*/ 63710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50 h 435077"/>
                <a:gd name="connsiteX12" fmla="*/ 217539 w 435077"/>
                <a:gd name="connsiteY12" fmla="*/ 217539 h 435077"/>
                <a:gd name="connsiteX13" fmla="*/ 63710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7"/>
                  </a:moveTo>
                  <a:cubicBezTo>
                    <a:pt x="22895" y="113038"/>
                    <a:pt x="0" y="57702"/>
                    <a:pt x="0" y="0"/>
                  </a:cubicBezTo>
                  <a:lnTo>
                    <a:pt x="217539" y="0"/>
                  </a:lnTo>
                  <a:lnTo>
                    <a:pt x="435077" y="0"/>
                  </a:lnTo>
                  <a:cubicBezTo>
                    <a:pt x="435077" y="57702"/>
                    <a:pt x="412154" y="113038"/>
                    <a:pt x="371339" y="153827"/>
                  </a:cubicBezTo>
                  <a:cubicBezTo>
                    <a:pt x="330550" y="194616"/>
                    <a:pt x="275213" y="217539"/>
                    <a:pt x="217539" y="217539"/>
                  </a:cubicBezTo>
                  <a:cubicBezTo>
                    <a:pt x="159836" y="217539"/>
                    <a:pt x="104499" y="194616"/>
                    <a:pt x="63710" y="153827"/>
                  </a:cubicBezTo>
                  <a:close/>
                  <a:moveTo>
                    <a:pt x="63710" y="281250"/>
                  </a:moveTo>
                  <a:cubicBezTo>
                    <a:pt x="22895" y="322066"/>
                    <a:pt x="0" y="377375"/>
                    <a:pt x="0" y="435077"/>
                  </a:cubicBezTo>
                  <a:lnTo>
                    <a:pt x="217539" y="435077"/>
                  </a:lnTo>
                  <a:lnTo>
                    <a:pt x="435077" y="435077"/>
                  </a:lnTo>
                  <a:cubicBezTo>
                    <a:pt x="435077" y="377375"/>
                    <a:pt x="412154" y="322066"/>
                    <a:pt x="371339" y="281250"/>
                  </a:cubicBezTo>
                  <a:cubicBezTo>
                    <a:pt x="330550" y="240462"/>
                    <a:pt x="275213" y="217539"/>
                    <a:pt x="217539" y="217539"/>
                  </a:cubicBezTo>
                  <a:cubicBezTo>
                    <a:pt x="159836" y="217539"/>
                    <a:pt x="104499" y="240462"/>
                    <a:pt x="63710" y="281250"/>
                  </a:cubicBezTo>
                  <a:close/>
                </a:path>
              </a:pathLst>
            </a:custGeom>
            <a:grpFill/>
            <a:ln w="27192" cap="flat">
              <a:noFill/>
              <a:prstDash val="solid"/>
              <a:miter/>
            </a:ln>
          </p:spPr>
          <p:txBody>
            <a:bodyPr rtlCol="0" anchor="ctr"/>
            <a:lstStyle/>
            <a:p>
              <a:endParaRPr lang="uk-UA" sz="900"/>
            </a:p>
          </p:txBody>
        </p:sp>
        <p:sp>
          <p:nvSpPr>
            <p:cNvPr id="694" name="Freeform: Shape 693">
              <a:extLst>
                <a:ext uri="{FF2B5EF4-FFF2-40B4-BE49-F238E27FC236}">
                  <a16:creationId xmlns:a16="http://schemas.microsoft.com/office/drawing/2014/main" id="{7ABB5F5E-86D6-3784-EF36-650586C7D055}"/>
                </a:ext>
              </a:extLst>
            </p:cNvPr>
            <p:cNvSpPr/>
            <p:nvPr/>
          </p:nvSpPr>
          <p:spPr>
            <a:xfrm>
              <a:off x="18239029" y="4579374"/>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695" name="Freeform: Shape 694">
              <a:extLst>
                <a:ext uri="{FF2B5EF4-FFF2-40B4-BE49-F238E27FC236}">
                  <a16:creationId xmlns:a16="http://schemas.microsoft.com/office/drawing/2014/main" id="{75866F90-4E77-8C25-1980-0FC931CFB898}"/>
                </a:ext>
              </a:extLst>
            </p:cNvPr>
            <p:cNvSpPr/>
            <p:nvPr/>
          </p:nvSpPr>
          <p:spPr>
            <a:xfrm>
              <a:off x="17368874" y="4579374"/>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39 w 435077"/>
                <a:gd name="connsiteY3" fmla="*/ 27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0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0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39" y="27"/>
                  </a:lnTo>
                  <a:lnTo>
                    <a:pt x="435077" y="217539"/>
                  </a:lnTo>
                  <a:lnTo>
                    <a:pt x="217539" y="435077"/>
                  </a:lnTo>
                  <a:lnTo>
                    <a:pt x="435077" y="435077"/>
                  </a:lnTo>
                  <a:close/>
                  <a:moveTo>
                    <a:pt x="0" y="217539"/>
                  </a:moveTo>
                  <a:lnTo>
                    <a:pt x="0" y="0"/>
                  </a:lnTo>
                  <a:lnTo>
                    <a:pt x="217510" y="217539"/>
                  </a:lnTo>
                  <a:lnTo>
                    <a:pt x="0" y="217539"/>
                  </a:lnTo>
                  <a:close/>
                  <a:moveTo>
                    <a:pt x="0" y="435077"/>
                  </a:moveTo>
                  <a:lnTo>
                    <a:pt x="0" y="217539"/>
                  </a:lnTo>
                  <a:lnTo>
                    <a:pt x="217510" y="217539"/>
                  </a:lnTo>
                  <a:lnTo>
                    <a:pt x="0" y="435077"/>
                  </a:lnTo>
                  <a:close/>
                </a:path>
              </a:pathLst>
            </a:custGeom>
            <a:grpFill/>
            <a:ln w="27192" cap="flat">
              <a:noFill/>
              <a:prstDash val="solid"/>
              <a:miter/>
            </a:ln>
          </p:spPr>
          <p:txBody>
            <a:bodyPr rtlCol="0" anchor="ctr"/>
            <a:lstStyle/>
            <a:p>
              <a:endParaRPr lang="uk-UA" sz="900"/>
            </a:p>
          </p:txBody>
        </p:sp>
        <p:sp>
          <p:nvSpPr>
            <p:cNvPr id="696" name="Freeform: Shape 695">
              <a:extLst>
                <a:ext uri="{FF2B5EF4-FFF2-40B4-BE49-F238E27FC236}">
                  <a16:creationId xmlns:a16="http://schemas.microsoft.com/office/drawing/2014/main" id="{70F224A9-FF5B-6D17-9CC0-C84A4D0DAC0C}"/>
                </a:ext>
              </a:extLst>
            </p:cNvPr>
            <p:cNvSpPr/>
            <p:nvPr/>
          </p:nvSpPr>
          <p:spPr>
            <a:xfrm>
              <a:off x="19109210" y="4579374"/>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697" name="Freeform: Shape 696">
              <a:extLst>
                <a:ext uri="{FF2B5EF4-FFF2-40B4-BE49-F238E27FC236}">
                  <a16:creationId xmlns:a16="http://schemas.microsoft.com/office/drawing/2014/main" id="{6377FC01-701E-9A8A-3285-8645BE8D8522}"/>
                </a:ext>
              </a:extLst>
            </p:cNvPr>
            <p:cNvSpPr/>
            <p:nvPr/>
          </p:nvSpPr>
          <p:spPr>
            <a:xfrm>
              <a:off x="19979365" y="457937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8"/>
                    <a:pt x="0" y="57702"/>
                    <a:pt x="0" y="0"/>
                  </a:cubicBezTo>
                  <a:lnTo>
                    <a:pt x="217539" y="0"/>
                  </a:lnTo>
                  <a:lnTo>
                    <a:pt x="435077" y="0"/>
                  </a:lnTo>
                  <a:cubicBezTo>
                    <a:pt x="435077" y="57702"/>
                    <a:pt x="412154" y="113038"/>
                    <a:pt x="371365" y="153827"/>
                  </a:cubicBezTo>
                  <a:cubicBezTo>
                    <a:pt x="330550" y="194616"/>
                    <a:pt x="275241" y="217539"/>
                    <a:pt x="217539" y="217539"/>
                  </a:cubicBezTo>
                  <a:cubicBezTo>
                    <a:pt x="159836" y="217539"/>
                    <a:pt x="104501" y="194616"/>
                    <a:pt x="63712" y="153827"/>
                  </a:cubicBezTo>
                  <a:close/>
                  <a:moveTo>
                    <a:pt x="63712" y="281250"/>
                  </a:moveTo>
                  <a:cubicBezTo>
                    <a:pt x="22924" y="322066"/>
                    <a:pt x="0" y="377375"/>
                    <a:pt x="0" y="435077"/>
                  </a:cubicBezTo>
                  <a:lnTo>
                    <a:pt x="217539" y="435077"/>
                  </a:lnTo>
                  <a:lnTo>
                    <a:pt x="435077" y="435077"/>
                  </a:lnTo>
                  <a:cubicBezTo>
                    <a:pt x="435077" y="377375"/>
                    <a:pt x="412154" y="322066"/>
                    <a:pt x="371365" y="281250"/>
                  </a:cubicBezTo>
                  <a:cubicBezTo>
                    <a:pt x="330550" y="240462"/>
                    <a:pt x="275241" y="217539"/>
                    <a:pt x="217539" y="217539"/>
                  </a:cubicBezTo>
                  <a:cubicBezTo>
                    <a:pt x="159836" y="217539"/>
                    <a:pt x="104501" y="240462"/>
                    <a:pt x="63712" y="281250"/>
                  </a:cubicBezTo>
                  <a:close/>
                </a:path>
              </a:pathLst>
            </a:custGeom>
            <a:grpFill/>
            <a:ln w="27192" cap="flat">
              <a:noFill/>
              <a:prstDash val="solid"/>
              <a:miter/>
            </a:ln>
          </p:spPr>
          <p:txBody>
            <a:bodyPr rtlCol="0" anchor="ctr"/>
            <a:lstStyle/>
            <a:p>
              <a:endParaRPr lang="uk-UA" sz="900"/>
            </a:p>
          </p:txBody>
        </p:sp>
        <p:sp>
          <p:nvSpPr>
            <p:cNvPr id="698" name="Freeform: Shape 697">
              <a:extLst>
                <a:ext uri="{FF2B5EF4-FFF2-40B4-BE49-F238E27FC236}">
                  <a16:creationId xmlns:a16="http://schemas.microsoft.com/office/drawing/2014/main" id="{DDFC51BC-F427-5475-831D-271439C7B0A1}"/>
                </a:ext>
              </a:extLst>
            </p:cNvPr>
            <p:cNvSpPr/>
            <p:nvPr/>
          </p:nvSpPr>
          <p:spPr>
            <a:xfrm>
              <a:off x="21719702" y="4579374"/>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0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0"/>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699" name="Freeform: Shape 698">
              <a:extLst>
                <a:ext uri="{FF2B5EF4-FFF2-40B4-BE49-F238E27FC236}">
                  <a16:creationId xmlns:a16="http://schemas.microsoft.com/office/drawing/2014/main" id="{B9E21A26-B36B-F659-7E98-EA34B2707EAF}"/>
                </a:ext>
              </a:extLst>
            </p:cNvPr>
            <p:cNvSpPr/>
            <p:nvPr/>
          </p:nvSpPr>
          <p:spPr>
            <a:xfrm>
              <a:off x="20849520" y="4579374"/>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5 w 435077"/>
                <a:gd name="connsiteY3" fmla="*/ 27 h 435077"/>
                <a:gd name="connsiteX4" fmla="*/ 435077 w 435077"/>
                <a:gd name="connsiteY4" fmla="*/ 217539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5" y="27"/>
                  </a:lnTo>
                  <a:lnTo>
                    <a:pt x="435077" y="217539"/>
                  </a:lnTo>
                  <a:lnTo>
                    <a:pt x="217565"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700" name="Freeform: Shape 699">
              <a:extLst>
                <a:ext uri="{FF2B5EF4-FFF2-40B4-BE49-F238E27FC236}">
                  <a16:creationId xmlns:a16="http://schemas.microsoft.com/office/drawing/2014/main" id="{F08B52D7-AF9E-1592-9971-12395ADA4C4E}"/>
                </a:ext>
              </a:extLst>
            </p:cNvPr>
            <p:cNvSpPr/>
            <p:nvPr/>
          </p:nvSpPr>
          <p:spPr>
            <a:xfrm>
              <a:off x="22589856" y="4579374"/>
              <a:ext cx="435077" cy="435077"/>
            </a:xfrm>
            <a:custGeom>
              <a:avLst/>
              <a:gdLst>
                <a:gd name="connsiteX0" fmla="*/ 435077 w 435077"/>
                <a:gd name="connsiteY0" fmla="*/ 435077 h 435077"/>
                <a:gd name="connsiteX1" fmla="*/ 435077 w 435077"/>
                <a:gd name="connsiteY1" fmla="*/ 0 h 435077"/>
                <a:gd name="connsiteX2" fmla="*/ 217567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7"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701" name="Freeform: Shape 700">
              <a:extLst>
                <a:ext uri="{FF2B5EF4-FFF2-40B4-BE49-F238E27FC236}">
                  <a16:creationId xmlns:a16="http://schemas.microsoft.com/office/drawing/2014/main" id="{111AD23C-7B1E-CBFD-1183-98981F0311F3}"/>
                </a:ext>
              </a:extLst>
            </p:cNvPr>
            <p:cNvSpPr/>
            <p:nvPr/>
          </p:nvSpPr>
          <p:spPr>
            <a:xfrm>
              <a:off x="23460039" y="457937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895" y="113038"/>
                    <a:pt x="0" y="57702"/>
                    <a:pt x="0" y="0"/>
                  </a:cubicBezTo>
                  <a:lnTo>
                    <a:pt x="217539" y="0"/>
                  </a:lnTo>
                  <a:lnTo>
                    <a:pt x="435077" y="0"/>
                  </a:lnTo>
                  <a:cubicBezTo>
                    <a:pt x="435077" y="57702"/>
                    <a:pt x="412154" y="113038"/>
                    <a:pt x="371339" y="153827"/>
                  </a:cubicBezTo>
                  <a:cubicBezTo>
                    <a:pt x="330550" y="194616"/>
                    <a:pt x="275213" y="217539"/>
                    <a:pt x="217539" y="217539"/>
                  </a:cubicBezTo>
                  <a:cubicBezTo>
                    <a:pt x="159836" y="217539"/>
                    <a:pt x="104501" y="194616"/>
                    <a:pt x="63712" y="153827"/>
                  </a:cubicBezTo>
                  <a:close/>
                  <a:moveTo>
                    <a:pt x="63712" y="281250"/>
                  </a:moveTo>
                  <a:cubicBezTo>
                    <a:pt x="22895" y="322066"/>
                    <a:pt x="0" y="377375"/>
                    <a:pt x="0" y="435077"/>
                  </a:cubicBezTo>
                  <a:lnTo>
                    <a:pt x="217539" y="435077"/>
                  </a:lnTo>
                  <a:lnTo>
                    <a:pt x="435077" y="435077"/>
                  </a:lnTo>
                  <a:cubicBezTo>
                    <a:pt x="435077" y="377375"/>
                    <a:pt x="412154" y="322066"/>
                    <a:pt x="371339" y="281250"/>
                  </a:cubicBezTo>
                  <a:cubicBezTo>
                    <a:pt x="330550" y="240462"/>
                    <a:pt x="275213" y="217539"/>
                    <a:pt x="217539" y="217539"/>
                  </a:cubicBezTo>
                  <a:cubicBezTo>
                    <a:pt x="159836" y="217539"/>
                    <a:pt x="104501" y="240462"/>
                    <a:pt x="63712" y="281250"/>
                  </a:cubicBezTo>
                  <a:close/>
                </a:path>
              </a:pathLst>
            </a:custGeom>
            <a:grpFill/>
            <a:ln w="27192" cap="flat">
              <a:noFill/>
              <a:prstDash val="solid"/>
              <a:miter/>
            </a:ln>
          </p:spPr>
          <p:txBody>
            <a:bodyPr rtlCol="0" anchor="ctr"/>
            <a:lstStyle/>
            <a:p>
              <a:endParaRPr lang="uk-UA" sz="900"/>
            </a:p>
          </p:txBody>
        </p:sp>
        <p:sp>
          <p:nvSpPr>
            <p:cNvPr id="702" name="Freeform: Shape 701">
              <a:extLst>
                <a:ext uri="{FF2B5EF4-FFF2-40B4-BE49-F238E27FC236}">
                  <a16:creationId xmlns:a16="http://schemas.microsoft.com/office/drawing/2014/main" id="{75BFE939-9348-8C41-D3B9-D03CBD5636AA}"/>
                </a:ext>
              </a:extLst>
            </p:cNvPr>
            <p:cNvSpPr/>
            <p:nvPr/>
          </p:nvSpPr>
          <p:spPr>
            <a:xfrm>
              <a:off x="24330194" y="4579374"/>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39 w 435077"/>
                <a:gd name="connsiteY3" fmla="*/ 27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39" y="27"/>
                  </a:lnTo>
                  <a:lnTo>
                    <a:pt x="435077" y="217539"/>
                  </a:lnTo>
                  <a:lnTo>
                    <a:pt x="217539"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703" name="Freeform: Shape 702">
              <a:extLst>
                <a:ext uri="{FF2B5EF4-FFF2-40B4-BE49-F238E27FC236}">
                  <a16:creationId xmlns:a16="http://schemas.microsoft.com/office/drawing/2014/main" id="{2DA7A3F9-DA00-E116-8880-CDBE3FD8694A}"/>
                </a:ext>
              </a:extLst>
            </p:cNvPr>
            <p:cNvSpPr/>
            <p:nvPr/>
          </p:nvSpPr>
          <p:spPr>
            <a:xfrm>
              <a:off x="835769" y="718983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704" name="Freeform: Shape 703">
              <a:extLst>
                <a:ext uri="{FF2B5EF4-FFF2-40B4-BE49-F238E27FC236}">
                  <a16:creationId xmlns:a16="http://schemas.microsoft.com/office/drawing/2014/main" id="{86D06A88-6BE7-9A39-DF90-EA998EA6812F}"/>
                </a:ext>
              </a:extLst>
            </p:cNvPr>
            <p:cNvSpPr/>
            <p:nvPr/>
          </p:nvSpPr>
          <p:spPr>
            <a:xfrm>
              <a:off x="-34398" y="7189838"/>
              <a:ext cx="435090" cy="435077"/>
            </a:xfrm>
            <a:custGeom>
              <a:avLst/>
              <a:gdLst>
                <a:gd name="connsiteX0" fmla="*/ 0 w 435090"/>
                <a:gd name="connsiteY0" fmla="*/ 435077 h 435077"/>
                <a:gd name="connsiteX1" fmla="*/ 217525 w 435090"/>
                <a:gd name="connsiteY1" fmla="*/ 435077 h 435077"/>
                <a:gd name="connsiteX2" fmla="*/ 217525 w 435090"/>
                <a:gd name="connsiteY2" fmla="*/ 217539 h 435077"/>
                <a:gd name="connsiteX3" fmla="*/ 0 w 435090"/>
                <a:gd name="connsiteY3" fmla="*/ 435077 h 435077"/>
                <a:gd name="connsiteX4" fmla="*/ 217525 w 435090"/>
                <a:gd name="connsiteY4" fmla="*/ 0 h 435077"/>
                <a:gd name="connsiteX5" fmla="*/ 3 w 435090"/>
                <a:gd name="connsiteY5" fmla="*/ 0 h 435077"/>
                <a:gd name="connsiteX6" fmla="*/ 217525 w 435090"/>
                <a:gd name="connsiteY6" fmla="*/ 217539 h 435077"/>
                <a:gd name="connsiteX7" fmla="*/ 217525 w 435090"/>
                <a:gd name="connsiteY7" fmla="*/ 0 h 435077"/>
                <a:gd name="connsiteX8" fmla="*/ 435091 w 435090"/>
                <a:gd name="connsiteY8" fmla="*/ 435077 h 435077"/>
                <a:gd name="connsiteX9" fmla="*/ 217552 w 435090"/>
                <a:gd name="connsiteY9" fmla="*/ 435077 h 435077"/>
                <a:gd name="connsiteX10" fmla="*/ 435091 w 435090"/>
                <a:gd name="connsiteY10" fmla="*/ 217539 h 435077"/>
                <a:gd name="connsiteX11" fmla="*/ 435091 w 435090"/>
                <a:gd name="connsiteY11" fmla="*/ 435077 h 435077"/>
                <a:gd name="connsiteX12" fmla="*/ 435091 w 435090"/>
                <a:gd name="connsiteY12" fmla="*/ 0 h 435077"/>
                <a:gd name="connsiteX13" fmla="*/ 217552 w 435090"/>
                <a:gd name="connsiteY13" fmla="*/ 0 h 435077"/>
                <a:gd name="connsiteX14" fmla="*/ 435091 w 435090"/>
                <a:gd name="connsiteY14" fmla="*/ 217539 h 435077"/>
                <a:gd name="connsiteX15" fmla="*/ 435091 w 435090"/>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90" h="435077">
                  <a:moveTo>
                    <a:pt x="0" y="435077"/>
                  </a:moveTo>
                  <a:lnTo>
                    <a:pt x="217525" y="435077"/>
                  </a:lnTo>
                  <a:lnTo>
                    <a:pt x="217525" y="217539"/>
                  </a:lnTo>
                  <a:lnTo>
                    <a:pt x="0" y="435077"/>
                  </a:lnTo>
                  <a:close/>
                  <a:moveTo>
                    <a:pt x="217525" y="0"/>
                  </a:moveTo>
                  <a:lnTo>
                    <a:pt x="3" y="0"/>
                  </a:lnTo>
                  <a:lnTo>
                    <a:pt x="217525" y="217539"/>
                  </a:lnTo>
                  <a:lnTo>
                    <a:pt x="217525" y="0"/>
                  </a:lnTo>
                  <a:close/>
                  <a:moveTo>
                    <a:pt x="435091" y="435077"/>
                  </a:moveTo>
                  <a:lnTo>
                    <a:pt x="217552" y="435077"/>
                  </a:lnTo>
                  <a:lnTo>
                    <a:pt x="435091" y="217539"/>
                  </a:lnTo>
                  <a:lnTo>
                    <a:pt x="435091" y="435077"/>
                  </a:lnTo>
                  <a:close/>
                  <a:moveTo>
                    <a:pt x="435091" y="0"/>
                  </a:moveTo>
                  <a:lnTo>
                    <a:pt x="217552" y="0"/>
                  </a:lnTo>
                  <a:lnTo>
                    <a:pt x="435091" y="217539"/>
                  </a:lnTo>
                  <a:lnTo>
                    <a:pt x="435091" y="0"/>
                  </a:lnTo>
                  <a:close/>
                </a:path>
              </a:pathLst>
            </a:custGeom>
            <a:grpFill/>
            <a:ln w="27192" cap="flat">
              <a:noFill/>
              <a:prstDash val="solid"/>
              <a:miter/>
            </a:ln>
          </p:spPr>
          <p:txBody>
            <a:bodyPr rtlCol="0" anchor="ctr"/>
            <a:lstStyle/>
            <a:p>
              <a:endParaRPr lang="uk-UA" sz="900"/>
            </a:p>
          </p:txBody>
        </p:sp>
        <p:sp>
          <p:nvSpPr>
            <p:cNvPr id="705" name="Freeform: Shape 704">
              <a:extLst>
                <a:ext uri="{FF2B5EF4-FFF2-40B4-BE49-F238E27FC236}">
                  <a16:creationId xmlns:a16="http://schemas.microsoft.com/office/drawing/2014/main" id="{5ACF2B58-244E-0DF2-3BEE-80A25677B23B}"/>
                </a:ext>
              </a:extLst>
            </p:cNvPr>
            <p:cNvSpPr/>
            <p:nvPr/>
          </p:nvSpPr>
          <p:spPr>
            <a:xfrm>
              <a:off x="1705924" y="7189838"/>
              <a:ext cx="435077" cy="435077"/>
            </a:xfrm>
            <a:custGeom>
              <a:avLst/>
              <a:gdLst>
                <a:gd name="connsiteX0" fmla="*/ 371366 w 435077"/>
                <a:gd name="connsiteY0" fmla="*/ 63711 h 435077"/>
                <a:gd name="connsiteX1" fmla="*/ 435077 w 435077"/>
                <a:gd name="connsiteY1" fmla="*/ 217539 h 435077"/>
                <a:gd name="connsiteX2" fmla="*/ 218952 w 435077"/>
                <a:gd name="connsiteY2" fmla="*/ 217539 h 435077"/>
                <a:gd name="connsiteX3" fmla="*/ 371366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1 w 435077"/>
                <a:gd name="connsiteY7" fmla="*/ 281250 h 435077"/>
                <a:gd name="connsiteX8" fmla="*/ 216152 w 435077"/>
                <a:gd name="connsiteY8" fmla="*/ 217539 h 435077"/>
                <a:gd name="connsiteX9" fmla="*/ 0 w 435077"/>
                <a:gd name="connsiteY9" fmla="*/ 217539 h 435077"/>
                <a:gd name="connsiteX10" fmla="*/ 63711 w 435077"/>
                <a:gd name="connsiteY10" fmla="*/ 63711 h 435077"/>
                <a:gd name="connsiteX11" fmla="*/ 217539 w 435077"/>
                <a:gd name="connsiteY11" fmla="*/ 0 h 435077"/>
                <a:gd name="connsiteX12" fmla="*/ 371366 w 435077"/>
                <a:gd name="connsiteY12" fmla="*/ 63711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1"/>
                  </a:moveTo>
                  <a:cubicBezTo>
                    <a:pt x="412154" y="104527"/>
                    <a:pt x="435077" y="159836"/>
                    <a:pt x="435077" y="217539"/>
                  </a:cubicBezTo>
                  <a:lnTo>
                    <a:pt x="218952" y="217539"/>
                  </a:lnTo>
                  <a:cubicBezTo>
                    <a:pt x="276138" y="217920"/>
                    <a:pt x="330903" y="240788"/>
                    <a:pt x="371366" y="281250"/>
                  </a:cubicBezTo>
                  <a:cubicBezTo>
                    <a:pt x="412154" y="322039"/>
                    <a:pt x="435077" y="377375"/>
                    <a:pt x="435077" y="435077"/>
                  </a:cubicBezTo>
                  <a:lnTo>
                    <a:pt x="217539" y="435077"/>
                  </a:lnTo>
                  <a:lnTo>
                    <a:pt x="0" y="435077"/>
                  </a:lnTo>
                  <a:cubicBezTo>
                    <a:pt x="0" y="377375"/>
                    <a:pt x="22923" y="322039"/>
                    <a:pt x="63711" y="281250"/>
                  </a:cubicBezTo>
                  <a:cubicBezTo>
                    <a:pt x="104201" y="240788"/>
                    <a:pt x="158966" y="217920"/>
                    <a:pt x="216152" y="217539"/>
                  </a:cubicBezTo>
                  <a:lnTo>
                    <a:pt x="0" y="217539"/>
                  </a:lnTo>
                  <a:cubicBezTo>
                    <a:pt x="0" y="159836"/>
                    <a:pt x="22923" y="104527"/>
                    <a:pt x="63711" y="63711"/>
                  </a:cubicBezTo>
                  <a:cubicBezTo>
                    <a:pt x="104527" y="22923"/>
                    <a:pt x="159836" y="0"/>
                    <a:pt x="217539" y="0"/>
                  </a:cubicBezTo>
                  <a:cubicBezTo>
                    <a:pt x="275241" y="0"/>
                    <a:pt x="330577" y="22923"/>
                    <a:pt x="371366" y="63711"/>
                  </a:cubicBezTo>
                  <a:close/>
                </a:path>
              </a:pathLst>
            </a:custGeom>
            <a:grpFill/>
            <a:ln w="27192" cap="flat">
              <a:noFill/>
              <a:prstDash val="solid"/>
              <a:miter/>
            </a:ln>
          </p:spPr>
          <p:txBody>
            <a:bodyPr rtlCol="0" anchor="ctr"/>
            <a:lstStyle/>
            <a:p>
              <a:endParaRPr lang="uk-UA" sz="900"/>
            </a:p>
          </p:txBody>
        </p:sp>
        <p:sp>
          <p:nvSpPr>
            <p:cNvPr id="706" name="Freeform: Shape 705">
              <a:extLst>
                <a:ext uri="{FF2B5EF4-FFF2-40B4-BE49-F238E27FC236}">
                  <a16:creationId xmlns:a16="http://schemas.microsoft.com/office/drawing/2014/main" id="{8839454A-44BB-EDAD-1980-78774856B83E}"/>
                </a:ext>
              </a:extLst>
            </p:cNvPr>
            <p:cNvSpPr/>
            <p:nvPr/>
          </p:nvSpPr>
          <p:spPr>
            <a:xfrm>
              <a:off x="2576106" y="718983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50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50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50" y="217539"/>
                  </a:lnTo>
                  <a:lnTo>
                    <a:pt x="435077" y="217539"/>
                  </a:lnTo>
                  <a:lnTo>
                    <a:pt x="435077" y="217539"/>
                  </a:lnTo>
                  <a:lnTo>
                    <a:pt x="435077" y="217539"/>
                  </a:lnTo>
                  <a:lnTo>
                    <a:pt x="435050"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707" name="Freeform: Shape 706">
              <a:extLst>
                <a:ext uri="{FF2B5EF4-FFF2-40B4-BE49-F238E27FC236}">
                  <a16:creationId xmlns:a16="http://schemas.microsoft.com/office/drawing/2014/main" id="{75327455-C60F-3638-C8A4-AF8988E96AA3}"/>
                </a:ext>
              </a:extLst>
            </p:cNvPr>
            <p:cNvSpPr/>
            <p:nvPr/>
          </p:nvSpPr>
          <p:spPr>
            <a:xfrm>
              <a:off x="4316416" y="7189838"/>
              <a:ext cx="435077" cy="435077"/>
            </a:xfrm>
            <a:custGeom>
              <a:avLst/>
              <a:gdLst>
                <a:gd name="connsiteX0" fmla="*/ 217565 w 435077"/>
                <a:gd name="connsiteY0" fmla="*/ 0 h 435077"/>
                <a:gd name="connsiteX1" fmla="*/ 217539 w 435077"/>
                <a:gd name="connsiteY1" fmla="*/ 0 h 435077"/>
                <a:gd name="connsiteX2" fmla="*/ 27 w 435077"/>
                <a:gd name="connsiteY2" fmla="*/ 0 h 435077"/>
                <a:gd name="connsiteX3" fmla="*/ 27 w 435077"/>
                <a:gd name="connsiteY3" fmla="*/ 217539 h 435077"/>
                <a:gd name="connsiteX4" fmla="*/ 217565 w 435077"/>
                <a:gd name="connsiteY4" fmla="*/ 0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65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65" y="0"/>
                  </a:moveTo>
                  <a:lnTo>
                    <a:pt x="217539" y="0"/>
                  </a:lnTo>
                  <a:lnTo>
                    <a:pt x="27" y="0"/>
                  </a:lnTo>
                  <a:lnTo>
                    <a:pt x="27" y="217539"/>
                  </a:lnTo>
                  <a:lnTo>
                    <a:pt x="217565" y="0"/>
                  </a:lnTo>
                  <a:lnTo>
                    <a:pt x="435077" y="217539"/>
                  </a:lnTo>
                  <a:lnTo>
                    <a:pt x="217539" y="435077"/>
                  </a:lnTo>
                  <a:lnTo>
                    <a:pt x="0" y="217539"/>
                  </a:lnTo>
                  <a:lnTo>
                    <a:pt x="0" y="435077"/>
                  </a:lnTo>
                  <a:lnTo>
                    <a:pt x="217539" y="435077"/>
                  </a:lnTo>
                  <a:lnTo>
                    <a:pt x="435077" y="435077"/>
                  </a:lnTo>
                  <a:lnTo>
                    <a:pt x="435077" y="217539"/>
                  </a:lnTo>
                  <a:lnTo>
                    <a:pt x="435077" y="0"/>
                  </a:lnTo>
                  <a:lnTo>
                    <a:pt x="217565" y="0"/>
                  </a:lnTo>
                  <a:close/>
                </a:path>
              </a:pathLst>
            </a:custGeom>
            <a:grpFill/>
            <a:ln w="27192" cap="flat">
              <a:noFill/>
              <a:prstDash val="solid"/>
              <a:miter/>
            </a:ln>
          </p:spPr>
          <p:txBody>
            <a:bodyPr rtlCol="0" anchor="ctr"/>
            <a:lstStyle/>
            <a:p>
              <a:endParaRPr lang="uk-UA" sz="900"/>
            </a:p>
          </p:txBody>
        </p:sp>
        <p:sp>
          <p:nvSpPr>
            <p:cNvPr id="708" name="Freeform: Shape 707">
              <a:extLst>
                <a:ext uri="{FF2B5EF4-FFF2-40B4-BE49-F238E27FC236}">
                  <a16:creationId xmlns:a16="http://schemas.microsoft.com/office/drawing/2014/main" id="{5151C5E0-1E69-478A-FF45-17891F085C73}"/>
                </a:ext>
              </a:extLst>
            </p:cNvPr>
            <p:cNvSpPr/>
            <p:nvPr/>
          </p:nvSpPr>
          <p:spPr>
            <a:xfrm>
              <a:off x="3446261" y="7189838"/>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66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66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66" y="435077"/>
                  </a:lnTo>
                  <a:lnTo>
                    <a:pt x="435077" y="217539"/>
                  </a:lnTo>
                  <a:lnTo>
                    <a:pt x="435077" y="435077"/>
                  </a:lnTo>
                  <a:close/>
                  <a:moveTo>
                    <a:pt x="435077" y="0"/>
                  </a:moveTo>
                  <a:lnTo>
                    <a:pt x="217566"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709" name="Freeform: Shape 708">
              <a:extLst>
                <a:ext uri="{FF2B5EF4-FFF2-40B4-BE49-F238E27FC236}">
                  <a16:creationId xmlns:a16="http://schemas.microsoft.com/office/drawing/2014/main" id="{4B331597-5811-A700-70BB-B3819BEF610F}"/>
                </a:ext>
              </a:extLst>
            </p:cNvPr>
            <p:cNvSpPr/>
            <p:nvPr/>
          </p:nvSpPr>
          <p:spPr>
            <a:xfrm>
              <a:off x="5186597" y="7189838"/>
              <a:ext cx="435077" cy="435077"/>
            </a:xfrm>
            <a:custGeom>
              <a:avLst/>
              <a:gdLst>
                <a:gd name="connsiteX0" fmla="*/ 371366 w 435077"/>
                <a:gd name="connsiteY0" fmla="*/ 63711 h 435077"/>
                <a:gd name="connsiteX1" fmla="*/ 435077 w 435077"/>
                <a:gd name="connsiteY1" fmla="*/ 217539 h 435077"/>
                <a:gd name="connsiteX2" fmla="*/ 218953 w 435077"/>
                <a:gd name="connsiteY2" fmla="*/ 217539 h 435077"/>
                <a:gd name="connsiteX3" fmla="*/ 371366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25 w 435077"/>
                <a:gd name="connsiteY8" fmla="*/ 217539 h 435077"/>
                <a:gd name="connsiteX9" fmla="*/ 0 w 435077"/>
                <a:gd name="connsiteY9" fmla="*/ 217539 h 435077"/>
                <a:gd name="connsiteX10" fmla="*/ 63712 w 435077"/>
                <a:gd name="connsiteY10" fmla="*/ 63711 h 435077"/>
                <a:gd name="connsiteX11" fmla="*/ 217539 w 435077"/>
                <a:gd name="connsiteY11" fmla="*/ 0 h 435077"/>
                <a:gd name="connsiteX12" fmla="*/ 371366 w 435077"/>
                <a:gd name="connsiteY12" fmla="*/ 63711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1"/>
                  </a:moveTo>
                  <a:cubicBezTo>
                    <a:pt x="412155" y="104527"/>
                    <a:pt x="435077" y="159836"/>
                    <a:pt x="435077" y="217539"/>
                  </a:cubicBezTo>
                  <a:lnTo>
                    <a:pt x="218953" y="217539"/>
                  </a:lnTo>
                  <a:cubicBezTo>
                    <a:pt x="276138" y="217920"/>
                    <a:pt x="330904" y="240788"/>
                    <a:pt x="371366" y="281250"/>
                  </a:cubicBezTo>
                  <a:cubicBezTo>
                    <a:pt x="412155" y="322039"/>
                    <a:pt x="435077" y="377375"/>
                    <a:pt x="435077" y="435077"/>
                  </a:cubicBezTo>
                  <a:lnTo>
                    <a:pt x="217539" y="435077"/>
                  </a:lnTo>
                  <a:lnTo>
                    <a:pt x="0" y="435077"/>
                  </a:lnTo>
                  <a:cubicBezTo>
                    <a:pt x="0" y="377375"/>
                    <a:pt x="22924" y="322039"/>
                    <a:pt x="63712" y="281250"/>
                  </a:cubicBezTo>
                  <a:cubicBezTo>
                    <a:pt x="104175" y="240788"/>
                    <a:pt x="158939" y="217920"/>
                    <a:pt x="216125" y="217539"/>
                  </a:cubicBezTo>
                  <a:lnTo>
                    <a:pt x="0" y="217539"/>
                  </a:lnTo>
                  <a:cubicBezTo>
                    <a:pt x="0" y="159836"/>
                    <a:pt x="22924" y="104527"/>
                    <a:pt x="63712" y="63711"/>
                  </a:cubicBezTo>
                  <a:cubicBezTo>
                    <a:pt x="104501" y="22923"/>
                    <a:pt x="159837" y="0"/>
                    <a:pt x="217539" y="0"/>
                  </a:cubicBezTo>
                  <a:cubicBezTo>
                    <a:pt x="275241" y="0"/>
                    <a:pt x="330550" y="22923"/>
                    <a:pt x="371366" y="63711"/>
                  </a:cubicBezTo>
                  <a:close/>
                </a:path>
              </a:pathLst>
            </a:custGeom>
            <a:grpFill/>
            <a:ln w="27192" cap="flat">
              <a:noFill/>
              <a:prstDash val="solid"/>
              <a:miter/>
            </a:ln>
          </p:spPr>
          <p:txBody>
            <a:bodyPr rtlCol="0" anchor="ctr"/>
            <a:lstStyle/>
            <a:p>
              <a:endParaRPr lang="uk-UA" sz="900"/>
            </a:p>
          </p:txBody>
        </p:sp>
        <p:sp>
          <p:nvSpPr>
            <p:cNvPr id="710" name="Freeform: Shape 709">
              <a:extLst>
                <a:ext uri="{FF2B5EF4-FFF2-40B4-BE49-F238E27FC236}">
                  <a16:creationId xmlns:a16="http://schemas.microsoft.com/office/drawing/2014/main" id="{26600F04-2DA7-66EA-94FC-D17029F0E7B1}"/>
                </a:ext>
              </a:extLst>
            </p:cNvPr>
            <p:cNvSpPr/>
            <p:nvPr/>
          </p:nvSpPr>
          <p:spPr>
            <a:xfrm>
              <a:off x="6056752" y="7189838"/>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0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39 h 435077"/>
                <a:gd name="connsiteX9" fmla="*/ 435077 w 435077"/>
                <a:gd name="connsiteY9" fmla="*/ 217539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0"/>
                  </a:lnTo>
                  <a:lnTo>
                    <a:pt x="435077" y="217539"/>
                  </a:lnTo>
                  <a:lnTo>
                    <a:pt x="435077" y="217539"/>
                  </a:lnTo>
                  <a:lnTo>
                    <a:pt x="435077" y="217539"/>
                  </a:lnTo>
                  <a:lnTo>
                    <a:pt x="435077" y="217539"/>
                  </a:lnTo>
                  <a:lnTo>
                    <a:pt x="435077" y="217539"/>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711" name="Freeform: Shape 710">
              <a:extLst>
                <a:ext uri="{FF2B5EF4-FFF2-40B4-BE49-F238E27FC236}">
                  <a16:creationId xmlns:a16="http://schemas.microsoft.com/office/drawing/2014/main" id="{204B2742-BC2B-292A-75BB-FDA568AC6344}"/>
                </a:ext>
              </a:extLst>
            </p:cNvPr>
            <p:cNvSpPr/>
            <p:nvPr/>
          </p:nvSpPr>
          <p:spPr>
            <a:xfrm>
              <a:off x="7797062" y="718983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p>
          </p:txBody>
        </p:sp>
        <p:sp>
          <p:nvSpPr>
            <p:cNvPr id="712" name="Freeform: Shape 711">
              <a:extLst>
                <a:ext uri="{FF2B5EF4-FFF2-40B4-BE49-F238E27FC236}">
                  <a16:creationId xmlns:a16="http://schemas.microsoft.com/office/drawing/2014/main" id="{A501411D-A871-8BC8-5E27-04EF26673CD1}"/>
                </a:ext>
              </a:extLst>
            </p:cNvPr>
            <p:cNvSpPr/>
            <p:nvPr/>
          </p:nvSpPr>
          <p:spPr>
            <a:xfrm>
              <a:off x="6926907" y="7189838"/>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713" name="Freeform: Shape 712">
              <a:extLst>
                <a:ext uri="{FF2B5EF4-FFF2-40B4-BE49-F238E27FC236}">
                  <a16:creationId xmlns:a16="http://schemas.microsoft.com/office/drawing/2014/main" id="{01CCAB2B-1AE7-DE7E-1A24-E6614A39B601}"/>
                </a:ext>
              </a:extLst>
            </p:cNvPr>
            <p:cNvSpPr/>
            <p:nvPr/>
          </p:nvSpPr>
          <p:spPr>
            <a:xfrm>
              <a:off x="8667217" y="7189838"/>
              <a:ext cx="435104" cy="435077"/>
            </a:xfrm>
            <a:custGeom>
              <a:avLst/>
              <a:gdLst>
                <a:gd name="connsiteX0" fmla="*/ 371366 w 435104"/>
                <a:gd name="connsiteY0" fmla="*/ 63711 h 435077"/>
                <a:gd name="connsiteX1" fmla="*/ 435077 w 435104"/>
                <a:gd name="connsiteY1" fmla="*/ 217539 h 435077"/>
                <a:gd name="connsiteX2" fmla="*/ 218953 w 435104"/>
                <a:gd name="connsiteY2" fmla="*/ 217539 h 435077"/>
                <a:gd name="connsiteX3" fmla="*/ 371366 w 435104"/>
                <a:gd name="connsiteY3" fmla="*/ 281250 h 435077"/>
                <a:gd name="connsiteX4" fmla="*/ 435105 w 435104"/>
                <a:gd name="connsiteY4" fmla="*/ 435077 h 435077"/>
                <a:gd name="connsiteX5" fmla="*/ 217566 w 435104"/>
                <a:gd name="connsiteY5" fmla="*/ 435077 h 435077"/>
                <a:gd name="connsiteX6" fmla="*/ 27 w 435104"/>
                <a:gd name="connsiteY6" fmla="*/ 435077 h 435077"/>
                <a:gd name="connsiteX7" fmla="*/ 63739 w 435104"/>
                <a:gd name="connsiteY7" fmla="*/ 281250 h 435077"/>
                <a:gd name="connsiteX8" fmla="*/ 216152 w 435104"/>
                <a:gd name="connsiteY8" fmla="*/ 217539 h 435077"/>
                <a:gd name="connsiteX9" fmla="*/ 0 w 435104"/>
                <a:gd name="connsiteY9" fmla="*/ 217539 h 435077"/>
                <a:gd name="connsiteX10" fmla="*/ 63739 w 435104"/>
                <a:gd name="connsiteY10" fmla="*/ 63711 h 435077"/>
                <a:gd name="connsiteX11" fmla="*/ 217539 w 435104"/>
                <a:gd name="connsiteY11" fmla="*/ 0 h 435077"/>
                <a:gd name="connsiteX12" fmla="*/ 371366 w 435104"/>
                <a:gd name="connsiteY12" fmla="*/ 63711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4" h="435077">
                  <a:moveTo>
                    <a:pt x="371366" y="63711"/>
                  </a:moveTo>
                  <a:cubicBezTo>
                    <a:pt x="412182" y="104527"/>
                    <a:pt x="435077" y="159836"/>
                    <a:pt x="435077" y="217539"/>
                  </a:cubicBezTo>
                  <a:lnTo>
                    <a:pt x="218953" y="217539"/>
                  </a:lnTo>
                  <a:cubicBezTo>
                    <a:pt x="276138" y="217920"/>
                    <a:pt x="330904" y="240788"/>
                    <a:pt x="371366" y="281250"/>
                  </a:cubicBezTo>
                  <a:cubicBezTo>
                    <a:pt x="412182" y="322039"/>
                    <a:pt x="435105" y="377375"/>
                    <a:pt x="435105" y="435077"/>
                  </a:cubicBezTo>
                  <a:lnTo>
                    <a:pt x="217566" y="435077"/>
                  </a:lnTo>
                  <a:lnTo>
                    <a:pt x="27" y="435077"/>
                  </a:lnTo>
                  <a:cubicBezTo>
                    <a:pt x="27" y="377375"/>
                    <a:pt x="22924" y="322039"/>
                    <a:pt x="63739" y="281250"/>
                  </a:cubicBezTo>
                  <a:cubicBezTo>
                    <a:pt x="104201" y="240788"/>
                    <a:pt x="158967" y="217920"/>
                    <a:pt x="216152" y="217539"/>
                  </a:cubicBezTo>
                  <a:lnTo>
                    <a:pt x="0" y="217539"/>
                  </a:lnTo>
                  <a:cubicBezTo>
                    <a:pt x="0" y="159836"/>
                    <a:pt x="22924" y="104527"/>
                    <a:pt x="63739" y="63711"/>
                  </a:cubicBezTo>
                  <a:cubicBezTo>
                    <a:pt x="104527" y="22923"/>
                    <a:pt x="159864" y="0"/>
                    <a:pt x="217539" y="0"/>
                  </a:cubicBezTo>
                  <a:cubicBezTo>
                    <a:pt x="275241" y="0"/>
                    <a:pt x="330578" y="22923"/>
                    <a:pt x="371366" y="63711"/>
                  </a:cubicBezTo>
                  <a:close/>
                </a:path>
              </a:pathLst>
            </a:custGeom>
            <a:grpFill/>
            <a:ln w="27192" cap="flat">
              <a:noFill/>
              <a:prstDash val="solid"/>
              <a:miter/>
            </a:ln>
          </p:spPr>
          <p:txBody>
            <a:bodyPr rtlCol="0" anchor="ctr"/>
            <a:lstStyle/>
            <a:p>
              <a:endParaRPr lang="uk-UA" sz="900"/>
            </a:p>
          </p:txBody>
        </p:sp>
        <p:sp>
          <p:nvSpPr>
            <p:cNvPr id="714" name="Freeform: Shape 713">
              <a:extLst>
                <a:ext uri="{FF2B5EF4-FFF2-40B4-BE49-F238E27FC236}">
                  <a16:creationId xmlns:a16="http://schemas.microsoft.com/office/drawing/2014/main" id="{F8404BD1-E782-501E-6A2A-8601557FF035}"/>
                </a:ext>
              </a:extLst>
            </p:cNvPr>
            <p:cNvSpPr/>
            <p:nvPr/>
          </p:nvSpPr>
          <p:spPr>
            <a:xfrm>
              <a:off x="9537399" y="7189838"/>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0 h 435077"/>
                <a:gd name="connsiteX5" fmla="*/ 435050 w 435077"/>
                <a:gd name="connsiteY5" fmla="*/ 217539 h 435077"/>
                <a:gd name="connsiteX6" fmla="*/ 435077 w 435077"/>
                <a:gd name="connsiteY6" fmla="*/ 217539 h 435077"/>
                <a:gd name="connsiteX7" fmla="*/ 435050 w 435077"/>
                <a:gd name="connsiteY7" fmla="*/ 217539 h 435077"/>
                <a:gd name="connsiteX8" fmla="*/ 435077 w 435077"/>
                <a:gd name="connsiteY8" fmla="*/ 217539 h 435077"/>
                <a:gd name="connsiteX9" fmla="*/ 435050 w 435077"/>
                <a:gd name="connsiteY9" fmla="*/ 217539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0"/>
                  </a:lnTo>
                  <a:lnTo>
                    <a:pt x="435050" y="217539"/>
                  </a:lnTo>
                  <a:lnTo>
                    <a:pt x="435077" y="217539"/>
                  </a:lnTo>
                  <a:lnTo>
                    <a:pt x="435050" y="217539"/>
                  </a:lnTo>
                  <a:lnTo>
                    <a:pt x="435077" y="217539"/>
                  </a:lnTo>
                  <a:lnTo>
                    <a:pt x="435050" y="217539"/>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715" name="Freeform: Shape 714">
              <a:extLst>
                <a:ext uri="{FF2B5EF4-FFF2-40B4-BE49-F238E27FC236}">
                  <a16:creationId xmlns:a16="http://schemas.microsoft.com/office/drawing/2014/main" id="{F3262974-189E-AFFF-9A1A-865F037ED465}"/>
                </a:ext>
              </a:extLst>
            </p:cNvPr>
            <p:cNvSpPr/>
            <p:nvPr/>
          </p:nvSpPr>
          <p:spPr>
            <a:xfrm>
              <a:off x="11277709" y="718983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716" name="Freeform: Shape 715">
              <a:extLst>
                <a:ext uri="{FF2B5EF4-FFF2-40B4-BE49-F238E27FC236}">
                  <a16:creationId xmlns:a16="http://schemas.microsoft.com/office/drawing/2014/main" id="{F699C4AF-121F-2664-E6EF-4754695693C7}"/>
                </a:ext>
              </a:extLst>
            </p:cNvPr>
            <p:cNvSpPr/>
            <p:nvPr/>
          </p:nvSpPr>
          <p:spPr>
            <a:xfrm>
              <a:off x="10407554" y="7189838"/>
              <a:ext cx="435077" cy="435077"/>
            </a:xfrm>
            <a:custGeom>
              <a:avLst/>
              <a:gdLst>
                <a:gd name="connsiteX0" fmla="*/ 0 w 435077"/>
                <a:gd name="connsiteY0" fmla="*/ 435077 h 435077"/>
                <a:gd name="connsiteX1" fmla="*/ 217511 w 435077"/>
                <a:gd name="connsiteY1" fmla="*/ 435077 h 435077"/>
                <a:gd name="connsiteX2" fmla="*/ 217511 w 435077"/>
                <a:gd name="connsiteY2" fmla="*/ 217539 h 435077"/>
                <a:gd name="connsiteX3" fmla="*/ 0 w 435077"/>
                <a:gd name="connsiteY3" fmla="*/ 435077 h 435077"/>
                <a:gd name="connsiteX4" fmla="*/ 217511 w 435077"/>
                <a:gd name="connsiteY4" fmla="*/ 0 h 435077"/>
                <a:gd name="connsiteX5" fmla="*/ 0 w 435077"/>
                <a:gd name="connsiteY5" fmla="*/ 0 h 435077"/>
                <a:gd name="connsiteX6" fmla="*/ 217511 w 435077"/>
                <a:gd name="connsiteY6" fmla="*/ 217539 h 435077"/>
                <a:gd name="connsiteX7" fmla="*/ 217511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11" y="435077"/>
                  </a:lnTo>
                  <a:lnTo>
                    <a:pt x="217511" y="217539"/>
                  </a:lnTo>
                  <a:lnTo>
                    <a:pt x="0" y="435077"/>
                  </a:lnTo>
                  <a:close/>
                  <a:moveTo>
                    <a:pt x="217511" y="0"/>
                  </a:moveTo>
                  <a:lnTo>
                    <a:pt x="0" y="0"/>
                  </a:lnTo>
                  <a:lnTo>
                    <a:pt x="217511" y="217539"/>
                  </a:lnTo>
                  <a:lnTo>
                    <a:pt x="217511"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717" name="Freeform: Shape 716">
              <a:extLst>
                <a:ext uri="{FF2B5EF4-FFF2-40B4-BE49-F238E27FC236}">
                  <a16:creationId xmlns:a16="http://schemas.microsoft.com/office/drawing/2014/main" id="{F8394C92-BE67-0555-8CB2-1D0D74B608F4}"/>
                </a:ext>
              </a:extLst>
            </p:cNvPr>
            <p:cNvSpPr/>
            <p:nvPr/>
          </p:nvSpPr>
          <p:spPr>
            <a:xfrm>
              <a:off x="12147864" y="7189838"/>
              <a:ext cx="435103" cy="435077"/>
            </a:xfrm>
            <a:custGeom>
              <a:avLst/>
              <a:gdLst>
                <a:gd name="connsiteX0" fmla="*/ 371365 w 435103"/>
                <a:gd name="connsiteY0" fmla="*/ 63711 h 435077"/>
                <a:gd name="connsiteX1" fmla="*/ 435077 w 435103"/>
                <a:gd name="connsiteY1" fmla="*/ 217539 h 435077"/>
                <a:gd name="connsiteX2" fmla="*/ 218953 w 435103"/>
                <a:gd name="connsiteY2" fmla="*/ 217539 h 435077"/>
                <a:gd name="connsiteX3" fmla="*/ 371365 w 435103"/>
                <a:gd name="connsiteY3" fmla="*/ 281250 h 435077"/>
                <a:gd name="connsiteX4" fmla="*/ 435104 w 435103"/>
                <a:gd name="connsiteY4" fmla="*/ 435077 h 435077"/>
                <a:gd name="connsiteX5" fmla="*/ 217565 w 435103"/>
                <a:gd name="connsiteY5" fmla="*/ 435077 h 435077"/>
                <a:gd name="connsiteX6" fmla="*/ 27 w 435103"/>
                <a:gd name="connsiteY6" fmla="*/ 435077 h 435077"/>
                <a:gd name="connsiteX7" fmla="*/ 63739 w 435103"/>
                <a:gd name="connsiteY7" fmla="*/ 281250 h 435077"/>
                <a:gd name="connsiteX8" fmla="*/ 216151 w 435103"/>
                <a:gd name="connsiteY8" fmla="*/ 217539 h 435077"/>
                <a:gd name="connsiteX9" fmla="*/ 0 w 435103"/>
                <a:gd name="connsiteY9" fmla="*/ 217539 h 435077"/>
                <a:gd name="connsiteX10" fmla="*/ 63739 w 435103"/>
                <a:gd name="connsiteY10" fmla="*/ 63711 h 435077"/>
                <a:gd name="connsiteX11" fmla="*/ 217539 w 435103"/>
                <a:gd name="connsiteY11" fmla="*/ 0 h 435077"/>
                <a:gd name="connsiteX12" fmla="*/ 371365 w 435103"/>
                <a:gd name="connsiteY12" fmla="*/ 63711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3" h="435077">
                  <a:moveTo>
                    <a:pt x="371365" y="63711"/>
                  </a:moveTo>
                  <a:cubicBezTo>
                    <a:pt x="412180" y="104527"/>
                    <a:pt x="435077" y="159836"/>
                    <a:pt x="435077" y="217539"/>
                  </a:cubicBezTo>
                  <a:lnTo>
                    <a:pt x="218953" y="217539"/>
                  </a:lnTo>
                  <a:cubicBezTo>
                    <a:pt x="276137" y="217920"/>
                    <a:pt x="330902" y="240788"/>
                    <a:pt x="371365" y="281250"/>
                  </a:cubicBezTo>
                  <a:cubicBezTo>
                    <a:pt x="412180" y="322039"/>
                    <a:pt x="435104" y="377375"/>
                    <a:pt x="435104" y="435077"/>
                  </a:cubicBezTo>
                  <a:lnTo>
                    <a:pt x="217565" y="435077"/>
                  </a:lnTo>
                  <a:lnTo>
                    <a:pt x="27" y="435077"/>
                  </a:lnTo>
                  <a:cubicBezTo>
                    <a:pt x="27" y="377375"/>
                    <a:pt x="22922" y="322039"/>
                    <a:pt x="63739" y="281250"/>
                  </a:cubicBezTo>
                  <a:cubicBezTo>
                    <a:pt x="104200" y="240788"/>
                    <a:pt x="158965" y="217920"/>
                    <a:pt x="216151" y="217539"/>
                  </a:cubicBezTo>
                  <a:lnTo>
                    <a:pt x="0" y="217539"/>
                  </a:lnTo>
                  <a:cubicBezTo>
                    <a:pt x="0" y="159836"/>
                    <a:pt x="22922" y="104527"/>
                    <a:pt x="63739" y="63711"/>
                  </a:cubicBezTo>
                  <a:cubicBezTo>
                    <a:pt x="104527" y="22923"/>
                    <a:pt x="159863" y="0"/>
                    <a:pt x="217539" y="0"/>
                  </a:cubicBezTo>
                  <a:cubicBezTo>
                    <a:pt x="275239" y="0"/>
                    <a:pt x="330577" y="22923"/>
                    <a:pt x="371365" y="63711"/>
                  </a:cubicBezTo>
                  <a:close/>
                </a:path>
              </a:pathLst>
            </a:custGeom>
            <a:grpFill/>
            <a:ln w="27192" cap="flat">
              <a:noFill/>
              <a:prstDash val="solid"/>
              <a:miter/>
            </a:ln>
          </p:spPr>
          <p:txBody>
            <a:bodyPr rtlCol="0" anchor="ctr"/>
            <a:lstStyle/>
            <a:p>
              <a:endParaRPr lang="uk-UA" sz="900"/>
            </a:p>
          </p:txBody>
        </p:sp>
        <p:sp>
          <p:nvSpPr>
            <p:cNvPr id="718" name="Freeform: Shape 717">
              <a:extLst>
                <a:ext uri="{FF2B5EF4-FFF2-40B4-BE49-F238E27FC236}">
                  <a16:creationId xmlns:a16="http://schemas.microsoft.com/office/drawing/2014/main" id="{BC7618A9-8C24-3679-208A-2332BCF4AC9E}"/>
                </a:ext>
              </a:extLst>
            </p:cNvPr>
            <p:cNvSpPr/>
            <p:nvPr/>
          </p:nvSpPr>
          <p:spPr>
            <a:xfrm>
              <a:off x="13017991" y="7189811"/>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719" name="Freeform: Shape 718">
              <a:extLst>
                <a:ext uri="{FF2B5EF4-FFF2-40B4-BE49-F238E27FC236}">
                  <a16:creationId xmlns:a16="http://schemas.microsoft.com/office/drawing/2014/main" id="{47D33CBF-D971-212D-1DFF-08B58C5A1DEC}"/>
                </a:ext>
              </a:extLst>
            </p:cNvPr>
            <p:cNvSpPr/>
            <p:nvPr/>
          </p:nvSpPr>
          <p:spPr>
            <a:xfrm>
              <a:off x="14758382" y="7189838"/>
              <a:ext cx="435077" cy="435077"/>
            </a:xfrm>
            <a:custGeom>
              <a:avLst/>
              <a:gdLst>
                <a:gd name="connsiteX0" fmla="*/ 217539 w 435077"/>
                <a:gd name="connsiteY0" fmla="*/ 0 h 435077"/>
                <a:gd name="connsiteX1" fmla="*/ 217539 w 435077"/>
                <a:gd name="connsiteY1" fmla="*/ 0 h 435077"/>
                <a:gd name="connsiteX2" fmla="*/ 0 w 435077"/>
                <a:gd name="connsiteY2" fmla="*/ 0 h 435077"/>
                <a:gd name="connsiteX3" fmla="*/ 0 w 435077"/>
                <a:gd name="connsiteY3" fmla="*/ 217539 h 435077"/>
                <a:gd name="connsiteX4" fmla="*/ 217539 w 435077"/>
                <a:gd name="connsiteY4" fmla="*/ 0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217539" y="0"/>
                  </a:lnTo>
                  <a:lnTo>
                    <a:pt x="0" y="0"/>
                  </a:lnTo>
                  <a:lnTo>
                    <a:pt x="0" y="217539"/>
                  </a:lnTo>
                  <a:lnTo>
                    <a:pt x="217539" y="0"/>
                  </a:lnTo>
                  <a:lnTo>
                    <a:pt x="435077" y="217539"/>
                  </a:lnTo>
                  <a:lnTo>
                    <a:pt x="217539" y="435077"/>
                  </a:lnTo>
                  <a:lnTo>
                    <a:pt x="0" y="217539"/>
                  </a:lnTo>
                  <a:lnTo>
                    <a:pt x="0" y="435077"/>
                  </a:lnTo>
                  <a:lnTo>
                    <a:pt x="217539" y="435077"/>
                  </a:lnTo>
                  <a:lnTo>
                    <a:pt x="435077" y="435077"/>
                  </a:lnTo>
                  <a:lnTo>
                    <a:pt x="435077" y="217539"/>
                  </a:lnTo>
                  <a:lnTo>
                    <a:pt x="435077" y="0"/>
                  </a:lnTo>
                  <a:lnTo>
                    <a:pt x="217539" y="0"/>
                  </a:lnTo>
                  <a:close/>
                </a:path>
              </a:pathLst>
            </a:custGeom>
            <a:grpFill/>
            <a:ln w="27192" cap="flat">
              <a:noFill/>
              <a:prstDash val="solid"/>
              <a:miter/>
            </a:ln>
          </p:spPr>
          <p:txBody>
            <a:bodyPr rtlCol="0" anchor="ctr"/>
            <a:lstStyle/>
            <a:p>
              <a:endParaRPr lang="uk-UA" sz="900"/>
            </a:p>
          </p:txBody>
        </p:sp>
        <p:sp>
          <p:nvSpPr>
            <p:cNvPr id="720" name="Freeform: Shape 719">
              <a:extLst>
                <a:ext uri="{FF2B5EF4-FFF2-40B4-BE49-F238E27FC236}">
                  <a16:creationId xmlns:a16="http://schemas.microsoft.com/office/drawing/2014/main" id="{44D34E05-05FD-1C51-D1D7-134F29C74402}"/>
                </a:ext>
              </a:extLst>
            </p:cNvPr>
            <p:cNvSpPr/>
            <p:nvPr/>
          </p:nvSpPr>
          <p:spPr>
            <a:xfrm>
              <a:off x="13888200" y="7189838"/>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65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65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65" y="435077"/>
                  </a:lnTo>
                  <a:lnTo>
                    <a:pt x="435077" y="217539"/>
                  </a:lnTo>
                  <a:lnTo>
                    <a:pt x="435077" y="435077"/>
                  </a:lnTo>
                  <a:close/>
                  <a:moveTo>
                    <a:pt x="435077" y="0"/>
                  </a:moveTo>
                  <a:lnTo>
                    <a:pt x="217565"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721" name="Freeform: Shape 720">
              <a:extLst>
                <a:ext uri="{FF2B5EF4-FFF2-40B4-BE49-F238E27FC236}">
                  <a16:creationId xmlns:a16="http://schemas.microsoft.com/office/drawing/2014/main" id="{F187B0AE-F83B-0ED6-CE45-B9A3FA19A4DD}"/>
                </a:ext>
              </a:extLst>
            </p:cNvPr>
            <p:cNvSpPr/>
            <p:nvPr/>
          </p:nvSpPr>
          <p:spPr>
            <a:xfrm>
              <a:off x="15628536" y="7189838"/>
              <a:ext cx="435077" cy="435077"/>
            </a:xfrm>
            <a:custGeom>
              <a:avLst/>
              <a:gdLst>
                <a:gd name="connsiteX0" fmla="*/ 371367 w 435077"/>
                <a:gd name="connsiteY0" fmla="*/ 63711 h 435077"/>
                <a:gd name="connsiteX1" fmla="*/ 435077 w 435077"/>
                <a:gd name="connsiteY1" fmla="*/ 217539 h 435077"/>
                <a:gd name="connsiteX2" fmla="*/ 218953 w 435077"/>
                <a:gd name="connsiteY2" fmla="*/ 217539 h 435077"/>
                <a:gd name="connsiteX3" fmla="*/ 371367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39 w 435077"/>
                <a:gd name="connsiteY7" fmla="*/ 281250 h 435077"/>
                <a:gd name="connsiteX8" fmla="*/ 216153 w 435077"/>
                <a:gd name="connsiteY8" fmla="*/ 217539 h 435077"/>
                <a:gd name="connsiteX9" fmla="*/ 0 w 435077"/>
                <a:gd name="connsiteY9" fmla="*/ 217539 h 435077"/>
                <a:gd name="connsiteX10" fmla="*/ 63712 w 435077"/>
                <a:gd name="connsiteY10" fmla="*/ 63711 h 435077"/>
                <a:gd name="connsiteX11" fmla="*/ 217539 w 435077"/>
                <a:gd name="connsiteY11" fmla="*/ 0 h 435077"/>
                <a:gd name="connsiteX12" fmla="*/ 371367 w 435077"/>
                <a:gd name="connsiteY12" fmla="*/ 63711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7" y="63711"/>
                  </a:moveTo>
                  <a:cubicBezTo>
                    <a:pt x="412155" y="104527"/>
                    <a:pt x="435077" y="159836"/>
                    <a:pt x="435077" y="217539"/>
                  </a:cubicBezTo>
                  <a:lnTo>
                    <a:pt x="218953" y="217539"/>
                  </a:lnTo>
                  <a:cubicBezTo>
                    <a:pt x="276139" y="217920"/>
                    <a:pt x="330904" y="240788"/>
                    <a:pt x="371367" y="281250"/>
                  </a:cubicBezTo>
                  <a:cubicBezTo>
                    <a:pt x="412182" y="322039"/>
                    <a:pt x="435077" y="377375"/>
                    <a:pt x="435077" y="435077"/>
                  </a:cubicBezTo>
                  <a:lnTo>
                    <a:pt x="217539" y="435077"/>
                  </a:lnTo>
                  <a:lnTo>
                    <a:pt x="0" y="435077"/>
                  </a:lnTo>
                  <a:cubicBezTo>
                    <a:pt x="0" y="377375"/>
                    <a:pt x="22924" y="322039"/>
                    <a:pt x="63739" y="281250"/>
                  </a:cubicBezTo>
                  <a:cubicBezTo>
                    <a:pt x="104202" y="240788"/>
                    <a:pt x="158967" y="217920"/>
                    <a:pt x="216153" y="217539"/>
                  </a:cubicBezTo>
                  <a:lnTo>
                    <a:pt x="0" y="217539"/>
                  </a:lnTo>
                  <a:cubicBezTo>
                    <a:pt x="0" y="159836"/>
                    <a:pt x="22924" y="104527"/>
                    <a:pt x="63712" y="63711"/>
                  </a:cubicBezTo>
                  <a:cubicBezTo>
                    <a:pt x="104527" y="22923"/>
                    <a:pt x="159865" y="0"/>
                    <a:pt x="217539" y="0"/>
                  </a:cubicBezTo>
                  <a:cubicBezTo>
                    <a:pt x="275241" y="0"/>
                    <a:pt x="330578" y="22923"/>
                    <a:pt x="371367" y="63711"/>
                  </a:cubicBezTo>
                  <a:close/>
                </a:path>
              </a:pathLst>
            </a:custGeom>
            <a:grpFill/>
            <a:ln w="27192" cap="flat">
              <a:noFill/>
              <a:prstDash val="solid"/>
              <a:miter/>
            </a:ln>
          </p:spPr>
          <p:txBody>
            <a:bodyPr rtlCol="0" anchor="ctr"/>
            <a:lstStyle/>
            <a:p>
              <a:endParaRPr lang="uk-UA" sz="900"/>
            </a:p>
          </p:txBody>
        </p:sp>
        <p:sp>
          <p:nvSpPr>
            <p:cNvPr id="722" name="Freeform: Shape 721">
              <a:extLst>
                <a:ext uri="{FF2B5EF4-FFF2-40B4-BE49-F238E27FC236}">
                  <a16:creationId xmlns:a16="http://schemas.microsoft.com/office/drawing/2014/main" id="{69271059-3B2C-E7D7-5731-3AEB2F94E4A4}"/>
                </a:ext>
              </a:extLst>
            </p:cNvPr>
            <p:cNvSpPr/>
            <p:nvPr/>
          </p:nvSpPr>
          <p:spPr>
            <a:xfrm>
              <a:off x="16498719" y="718983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49 w 435077"/>
                <a:gd name="connsiteY7" fmla="*/ 217539 h 435077"/>
                <a:gd name="connsiteX8" fmla="*/ 435077 w 435077"/>
                <a:gd name="connsiteY8" fmla="*/ 217539 h 435077"/>
                <a:gd name="connsiteX9" fmla="*/ 435049 w 435077"/>
                <a:gd name="connsiteY9" fmla="*/ 217539 h 435077"/>
                <a:gd name="connsiteX10" fmla="*/ 435077 w 435077"/>
                <a:gd name="connsiteY10" fmla="*/ 217539 h 435077"/>
                <a:gd name="connsiteX11" fmla="*/ 435049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49" y="217539"/>
                  </a:lnTo>
                  <a:lnTo>
                    <a:pt x="435077" y="217539"/>
                  </a:lnTo>
                  <a:lnTo>
                    <a:pt x="435049" y="217539"/>
                  </a:lnTo>
                  <a:lnTo>
                    <a:pt x="435077" y="217539"/>
                  </a:lnTo>
                  <a:lnTo>
                    <a:pt x="435049"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723" name="Freeform: Shape 722">
              <a:extLst>
                <a:ext uri="{FF2B5EF4-FFF2-40B4-BE49-F238E27FC236}">
                  <a16:creationId xmlns:a16="http://schemas.microsoft.com/office/drawing/2014/main" id="{DA66F8F7-8823-4B30-6874-5FF1D57B9DD1}"/>
                </a:ext>
              </a:extLst>
            </p:cNvPr>
            <p:cNvSpPr/>
            <p:nvPr/>
          </p:nvSpPr>
          <p:spPr>
            <a:xfrm>
              <a:off x="18239029" y="718983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724" name="Freeform: Shape 723">
              <a:extLst>
                <a:ext uri="{FF2B5EF4-FFF2-40B4-BE49-F238E27FC236}">
                  <a16:creationId xmlns:a16="http://schemas.microsoft.com/office/drawing/2014/main" id="{F38D37E2-FF71-543D-2FBD-DAF4D3B62E70}"/>
                </a:ext>
              </a:extLst>
            </p:cNvPr>
            <p:cNvSpPr/>
            <p:nvPr/>
          </p:nvSpPr>
          <p:spPr>
            <a:xfrm>
              <a:off x="17368874" y="7189838"/>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725" name="Freeform: Shape 724">
              <a:extLst>
                <a:ext uri="{FF2B5EF4-FFF2-40B4-BE49-F238E27FC236}">
                  <a16:creationId xmlns:a16="http://schemas.microsoft.com/office/drawing/2014/main" id="{3571ADBC-C18D-F487-CEFE-659FCAEA8571}"/>
                </a:ext>
              </a:extLst>
            </p:cNvPr>
            <p:cNvSpPr/>
            <p:nvPr/>
          </p:nvSpPr>
          <p:spPr>
            <a:xfrm>
              <a:off x="19109210" y="7189838"/>
              <a:ext cx="435077" cy="435077"/>
            </a:xfrm>
            <a:custGeom>
              <a:avLst/>
              <a:gdLst>
                <a:gd name="connsiteX0" fmla="*/ 371339 w 435077"/>
                <a:gd name="connsiteY0" fmla="*/ 63711 h 435077"/>
                <a:gd name="connsiteX1" fmla="*/ 435077 w 435077"/>
                <a:gd name="connsiteY1" fmla="*/ 217539 h 435077"/>
                <a:gd name="connsiteX2" fmla="*/ 218926 w 435077"/>
                <a:gd name="connsiteY2" fmla="*/ 217539 h 435077"/>
                <a:gd name="connsiteX3" fmla="*/ 371365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25 w 435077"/>
                <a:gd name="connsiteY8" fmla="*/ 217539 h 435077"/>
                <a:gd name="connsiteX9" fmla="*/ 0 w 435077"/>
                <a:gd name="connsiteY9" fmla="*/ 217539 h 435077"/>
                <a:gd name="connsiteX10" fmla="*/ 63712 w 435077"/>
                <a:gd name="connsiteY10" fmla="*/ 63711 h 435077"/>
                <a:gd name="connsiteX11" fmla="*/ 217539 w 435077"/>
                <a:gd name="connsiteY11" fmla="*/ 0 h 435077"/>
                <a:gd name="connsiteX12" fmla="*/ 371339 w 435077"/>
                <a:gd name="connsiteY12" fmla="*/ 63711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11"/>
                  </a:moveTo>
                  <a:cubicBezTo>
                    <a:pt x="412154" y="104527"/>
                    <a:pt x="435077" y="159836"/>
                    <a:pt x="435077" y="217539"/>
                  </a:cubicBezTo>
                  <a:lnTo>
                    <a:pt x="218926" y="217539"/>
                  </a:lnTo>
                  <a:cubicBezTo>
                    <a:pt x="276111" y="217920"/>
                    <a:pt x="330877" y="240788"/>
                    <a:pt x="371365" y="281250"/>
                  </a:cubicBezTo>
                  <a:cubicBezTo>
                    <a:pt x="412154" y="322039"/>
                    <a:pt x="435077" y="377375"/>
                    <a:pt x="435077" y="435077"/>
                  </a:cubicBezTo>
                  <a:lnTo>
                    <a:pt x="217539" y="435077"/>
                  </a:lnTo>
                  <a:lnTo>
                    <a:pt x="0" y="435077"/>
                  </a:lnTo>
                  <a:cubicBezTo>
                    <a:pt x="0" y="377375"/>
                    <a:pt x="22924" y="322039"/>
                    <a:pt x="63712" y="281250"/>
                  </a:cubicBezTo>
                  <a:cubicBezTo>
                    <a:pt x="104174" y="240788"/>
                    <a:pt x="158940" y="217920"/>
                    <a:pt x="216125" y="217539"/>
                  </a:cubicBezTo>
                  <a:lnTo>
                    <a:pt x="0" y="217539"/>
                  </a:lnTo>
                  <a:cubicBezTo>
                    <a:pt x="0" y="159836"/>
                    <a:pt x="22895" y="104527"/>
                    <a:pt x="63712" y="63711"/>
                  </a:cubicBezTo>
                  <a:cubicBezTo>
                    <a:pt x="104501" y="22923"/>
                    <a:pt x="159836" y="0"/>
                    <a:pt x="217539" y="0"/>
                  </a:cubicBezTo>
                  <a:cubicBezTo>
                    <a:pt x="275215" y="0"/>
                    <a:pt x="330550" y="22923"/>
                    <a:pt x="371339" y="63711"/>
                  </a:cubicBezTo>
                  <a:close/>
                </a:path>
              </a:pathLst>
            </a:custGeom>
            <a:grpFill/>
            <a:ln w="27192" cap="flat">
              <a:noFill/>
              <a:prstDash val="solid"/>
              <a:miter/>
            </a:ln>
          </p:spPr>
          <p:txBody>
            <a:bodyPr rtlCol="0" anchor="ctr"/>
            <a:lstStyle/>
            <a:p>
              <a:endParaRPr lang="uk-UA" sz="900"/>
            </a:p>
          </p:txBody>
        </p:sp>
        <p:sp>
          <p:nvSpPr>
            <p:cNvPr id="726" name="Freeform: Shape 725">
              <a:extLst>
                <a:ext uri="{FF2B5EF4-FFF2-40B4-BE49-F238E27FC236}">
                  <a16:creationId xmlns:a16="http://schemas.microsoft.com/office/drawing/2014/main" id="{449DBA9E-C83C-2BBB-4E37-8BFAFC49A44B}"/>
                </a:ext>
              </a:extLst>
            </p:cNvPr>
            <p:cNvSpPr/>
            <p:nvPr/>
          </p:nvSpPr>
          <p:spPr>
            <a:xfrm>
              <a:off x="19979365" y="718983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51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51"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727" name="Freeform: Shape 726">
              <a:extLst>
                <a:ext uri="{FF2B5EF4-FFF2-40B4-BE49-F238E27FC236}">
                  <a16:creationId xmlns:a16="http://schemas.microsoft.com/office/drawing/2014/main" id="{B907D54A-5A4D-6324-BDAE-6BBC05BD89C6}"/>
                </a:ext>
              </a:extLst>
            </p:cNvPr>
            <p:cNvSpPr/>
            <p:nvPr/>
          </p:nvSpPr>
          <p:spPr>
            <a:xfrm>
              <a:off x="21719702" y="718983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728" name="Freeform: Shape 727">
              <a:extLst>
                <a:ext uri="{FF2B5EF4-FFF2-40B4-BE49-F238E27FC236}">
                  <a16:creationId xmlns:a16="http://schemas.microsoft.com/office/drawing/2014/main" id="{27EC26F5-60F5-7D88-EB4B-B9B5CFEA24A2}"/>
                </a:ext>
              </a:extLst>
            </p:cNvPr>
            <p:cNvSpPr/>
            <p:nvPr/>
          </p:nvSpPr>
          <p:spPr>
            <a:xfrm>
              <a:off x="20849520" y="7189838"/>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65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65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65" y="435077"/>
                  </a:lnTo>
                  <a:lnTo>
                    <a:pt x="435077" y="217539"/>
                  </a:lnTo>
                  <a:lnTo>
                    <a:pt x="435077" y="435077"/>
                  </a:lnTo>
                  <a:close/>
                  <a:moveTo>
                    <a:pt x="435077" y="0"/>
                  </a:moveTo>
                  <a:lnTo>
                    <a:pt x="217565"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729" name="Freeform: Shape 728">
              <a:extLst>
                <a:ext uri="{FF2B5EF4-FFF2-40B4-BE49-F238E27FC236}">
                  <a16:creationId xmlns:a16="http://schemas.microsoft.com/office/drawing/2014/main" id="{3094FFC1-F010-4538-C500-947FA9F86289}"/>
                </a:ext>
              </a:extLst>
            </p:cNvPr>
            <p:cNvSpPr/>
            <p:nvPr/>
          </p:nvSpPr>
          <p:spPr>
            <a:xfrm>
              <a:off x="22589856" y="7189838"/>
              <a:ext cx="435077" cy="435077"/>
            </a:xfrm>
            <a:custGeom>
              <a:avLst/>
              <a:gdLst>
                <a:gd name="connsiteX0" fmla="*/ 371367 w 435077"/>
                <a:gd name="connsiteY0" fmla="*/ 63711 h 435077"/>
                <a:gd name="connsiteX1" fmla="*/ 435077 w 435077"/>
                <a:gd name="connsiteY1" fmla="*/ 217539 h 435077"/>
                <a:gd name="connsiteX2" fmla="*/ 218953 w 435077"/>
                <a:gd name="connsiteY2" fmla="*/ 217539 h 435077"/>
                <a:gd name="connsiteX3" fmla="*/ 371367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53 w 435077"/>
                <a:gd name="connsiteY8" fmla="*/ 217539 h 435077"/>
                <a:gd name="connsiteX9" fmla="*/ 0 w 435077"/>
                <a:gd name="connsiteY9" fmla="*/ 217539 h 435077"/>
                <a:gd name="connsiteX10" fmla="*/ 63712 w 435077"/>
                <a:gd name="connsiteY10" fmla="*/ 63711 h 435077"/>
                <a:gd name="connsiteX11" fmla="*/ 217539 w 435077"/>
                <a:gd name="connsiteY11" fmla="*/ 0 h 435077"/>
                <a:gd name="connsiteX12" fmla="*/ 371367 w 435077"/>
                <a:gd name="connsiteY12" fmla="*/ 63711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7" y="63711"/>
                  </a:moveTo>
                  <a:cubicBezTo>
                    <a:pt x="412155" y="104527"/>
                    <a:pt x="435077" y="159836"/>
                    <a:pt x="435077" y="217539"/>
                  </a:cubicBezTo>
                  <a:lnTo>
                    <a:pt x="218953" y="217539"/>
                  </a:lnTo>
                  <a:cubicBezTo>
                    <a:pt x="276139" y="217920"/>
                    <a:pt x="330904" y="240788"/>
                    <a:pt x="371367" y="281250"/>
                  </a:cubicBezTo>
                  <a:cubicBezTo>
                    <a:pt x="412155" y="322039"/>
                    <a:pt x="435077" y="377375"/>
                    <a:pt x="435077" y="435077"/>
                  </a:cubicBezTo>
                  <a:lnTo>
                    <a:pt x="217539" y="435077"/>
                  </a:lnTo>
                  <a:lnTo>
                    <a:pt x="0" y="435077"/>
                  </a:lnTo>
                  <a:cubicBezTo>
                    <a:pt x="0" y="377375"/>
                    <a:pt x="22924" y="322039"/>
                    <a:pt x="63712" y="281250"/>
                  </a:cubicBezTo>
                  <a:cubicBezTo>
                    <a:pt x="104202" y="240788"/>
                    <a:pt x="158967" y="217920"/>
                    <a:pt x="216153" y="217539"/>
                  </a:cubicBezTo>
                  <a:lnTo>
                    <a:pt x="0" y="217539"/>
                  </a:lnTo>
                  <a:cubicBezTo>
                    <a:pt x="0" y="159836"/>
                    <a:pt x="22924" y="104527"/>
                    <a:pt x="63712" y="63711"/>
                  </a:cubicBezTo>
                  <a:cubicBezTo>
                    <a:pt x="104529" y="22923"/>
                    <a:pt x="159838" y="0"/>
                    <a:pt x="217539" y="0"/>
                  </a:cubicBezTo>
                  <a:cubicBezTo>
                    <a:pt x="275241" y="0"/>
                    <a:pt x="330578" y="22923"/>
                    <a:pt x="371367" y="63711"/>
                  </a:cubicBezTo>
                  <a:close/>
                </a:path>
              </a:pathLst>
            </a:custGeom>
            <a:grpFill/>
            <a:ln w="27192" cap="flat">
              <a:noFill/>
              <a:prstDash val="solid"/>
              <a:miter/>
            </a:ln>
          </p:spPr>
          <p:txBody>
            <a:bodyPr rtlCol="0" anchor="ctr"/>
            <a:lstStyle/>
            <a:p>
              <a:endParaRPr lang="uk-UA" sz="900"/>
            </a:p>
          </p:txBody>
        </p:sp>
        <p:sp>
          <p:nvSpPr>
            <p:cNvPr id="730" name="Freeform: Shape 729">
              <a:extLst>
                <a:ext uri="{FF2B5EF4-FFF2-40B4-BE49-F238E27FC236}">
                  <a16:creationId xmlns:a16="http://schemas.microsoft.com/office/drawing/2014/main" id="{EB17E021-D3BC-5E3E-CF8B-FD55FC973F31}"/>
                </a:ext>
              </a:extLst>
            </p:cNvPr>
            <p:cNvSpPr/>
            <p:nvPr/>
          </p:nvSpPr>
          <p:spPr>
            <a:xfrm>
              <a:off x="23460039" y="718983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10 w 435077"/>
                <a:gd name="connsiteY5" fmla="*/ 435077 h 435077"/>
                <a:gd name="connsiteX6" fmla="*/ 217510 w 435077"/>
                <a:gd name="connsiteY6" fmla="*/ 435077 h 435077"/>
                <a:gd name="connsiteX7" fmla="*/ 435049 w 435077"/>
                <a:gd name="connsiteY7" fmla="*/ 217539 h 435077"/>
                <a:gd name="connsiteX8" fmla="*/ 435077 w 435077"/>
                <a:gd name="connsiteY8" fmla="*/ 217539 h 435077"/>
                <a:gd name="connsiteX9" fmla="*/ 435049 w 435077"/>
                <a:gd name="connsiteY9" fmla="*/ 217539 h 435077"/>
                <a:gd name="connsiteX10" fmla="*/ 435049 w 435077"/>
                <a:gd name="connsiteY10" fmla="*/ 217539 h 435077"/>
                <a:gd name="connsiteX11" fmla="*/ 435049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10" y="435077"/>
                  </a:lnTo>
                  <a:lnTo>
                    <a:pt x="217510" y="435077"/>
                  </a:lnTo>
                  <a:lnTo>
                    <a:pt x="435049" y="217539"/>
                  </a:lnTo>
                  <a:lnTo>
                    <a:pt x="435077" y="217539"/>
                  </a:lnTo>
                  <a:lnTo>
                    <a:pt x="435049" y="217539"/>
                  </a:lnTo>
                  <a:lnTo>
                    <a:pt x="435049" y="217539"/>
                  </a:lnTo>
                  <a:lnTo>
                    <a:pt x="435049"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731" name="Freeform: Shape 730">
              <a:extLst>
                <a:ext uri="{FF2B5EF4-FFF2-40B4-BE49-F238E27FC236}">
                  <a16:creationId xmlns:a16="http://schemas.microsoft.com/office/drawing/2014/main" id="{0EA20578-E613-0F7F-68C5-CCCE277B8AB6}"/>
                </a:ext>
              </a:extLst>
            </p:cNvPr>
            <p:cNvSpPr/>
            <p:nvPr/>
          </p:nvSpPr>
          <p:spPr>
            <a:xfrm>
              <a:off x="24330194" y="7189838"/>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732" name="Freeform: Shape 731">
              <a:extLst>
                <a:ext uri="{FF2B5EF4-FFF2-40B4-BE49-F238E27FC236}">
                  <a16:creationId xmlns:a16="http://schemas.microsoft.com/office/drawing/2014/main" id="{C70DE40C-26E3-227B-0A52-420586D33FBE}"/>
                </a:ext>
              </a:extLst>
            </p:cNvPr>
            <p:cNvSpPr/>
            <p:nvPr/>
          </p:nvSpPr>
          <p:spPr>
            <a:xfrm>
              <a:off x="835769" y="805999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1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1" y="217539"/>
                  </a:lnTo>
                  <a:lnTo>
                    <a:pt x="0" y="435077"/>
                  </a:lnTo>
                  <a:close/>
                </a:path>
              </a:pathLst>
            </a:custGeom>
            <a:grpFill/>
            <a:ln w="27192" cap="flat">
              <a:noFill/>
              <a:prstDash val="solid"/>
              <a:miter/>
            </a:ln>
          </p:spPr>
          <p:txBody>
            <a:bodyPr rtlCol="0" anchor="ctr"/>
            <a:lstStyle/>
            <a:p>
              <a:endParaRPr lang="uk-UA" sz="900"/>
            </a:p>
          </p:txBody>
        </p:sp>
        <p:sp>
          <p:nvSpPr>
            <p:cNvPr id="733" name="Freeform: Shape 732">
              <a:extLst>
                <a:ext uri="{FF2B5EF4-FFF2-40B4-BE49-F238E27FC236}">
                  <a16:creationId xmlns:a16="http://schemas.microsoft.com/office/drawing/2014/main" id="{19FC6E06-08FA-B8B0-2B45-5E6BB5DEFEB6}"/>
                </a:ext>
              </a:extLst>
            </p:cNvPr>
            <p:cNvSpPr/>
            <p:nvPr/>
          </p:nvSpPr>
          <p:spPr>
            <a:xfrm>
              <a:off x="-34398" y="8059993"/>
              <a:ext cx="435090" cy="435077"/>
            </a:xfrm>
            <a:custGeom>
              <a:avLst/>
              <a:gdLst>
                <a:gd name="connsiteX0" fmla="*/ 217552 w 435090"/>
                <a:gd name="connsiteY0" fmla="*/ 435077 h 435077"/>
                <a:gd name="connsiteX1" fmla="*/ 217552 w 435090"/>
                <a:gd name="connsiteY1" fmla="*/ 0 h 435077"/>
                <a:gd name="connsiteX2" fmla="*/ 435091 w 435090"/>
                <a:gd name="connsiteY2" fmla="*/ 217539 h 435077"/>
                <a:gd name="connsiteX3" fmla="*/ 217552 w 435090"/>
                <a:gd name="connsiteY3" fmla="*/ 435077 h 435077"/>
                <a:gd name="connsiteX4" fmla="*/ 0 w 435090"/>
                <a:gd name="connsiteY4" fmla="*/ 435077 h 435077"/>
                <a:gd name="connsiteX5" fmla="*/ 0 w 435090"/>
                <a:gd name="connsiteY5" fmla="*/ 27 h 435077"/>
                <a:gd name="connsiteX6" fmla="*/ 217525 w 435090"/>
                <a:gd name="connsiteY6" fmla="*/ 217566 h 435077"/>
                <a:gd name="connsiteX7" fmla="*/ 0 w 435090"/>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90" h="435077">
                  <a:moveTo>
                    <a:pt x="217552" y="435077"/>
                  </a:moveTo>
                  <a:lnTo>
                    <a:pt x="217552" y="0"/>
                  </a:lnTo>
                  <a:lnTo>
                    <a:pt x="435091" y="217539"/>
                  </a:lnTo>
                  <a:lnTo>
                    <a:pt x="217552" y="435077"/>
                  </a:lnTo>
                  <a:close/>
                  <a:moveTo>
                    <a:pt x="0" y="435077"/>
                  </a:moveTo>
                  <a:lnTo>
                    <a:pt x="0" y="27"/>
                  </a:lnTo>
                  <a:lnTo>
                    <a:pt x="217525" y="217566"/>
                  </a:lnTo>
                  <a:lnTo>
                    <a:pt x="0" y="435077"/>
                  </a:lnTo>
                  <a:close/>
                </a:path>
              </a:pathLst>
            </a:custGeom>
            <a:grpFill/>
            <a:ln w="27192" cap="flat">
              <a:noFill/>
              <a:prstDash val="solid"/>
              <a:miter/>
            </a:ln>
          </p:spPr>
          <p:txBody>
            <a:bodyPr rtlCol="0" anchor="ctr"/>
            <a:lstStyle/>
            <a:p>
              <a:endParaRPr lang="uk-UA" sz="900"/>
            </a:p>
          </p:txBody>
        </p:sp>
        <p:sp>
          <p:nvSpPr>
            <p:cNvPr id="734" name="Freeform: Shape 733">
              <a:extLst>
                <a:ext uri="{FF2B5EF4-FFF2-40B4-BE49-F238E27FC236}">
                  <a16:creationId xmlns:a16="http://schemas.microsoft.com/office/drawing/2014/main" id="{02B67F11-139D-A26C-394F-8C6C75BC4081}"/>
                </a:ext>
              </a:extLst>
            </p:cNvPr>
            <p:cNvSpPr/>
            <p:nvPr/>
          </p:nvSpPr>
          <p:spPr>
            <a:xfrm>
              <a:off x="1705924" y="8059993"/>
              <a:ext cx="435077" cy="435077"/>
            </a:xfrm>
            <a:custGeom>
              <a:avLst/>
              <a:gdLst>
                <a:gd name="connsiteX0" fmla="*/ 63711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1 w 435077"/>
                <a:gd name="connsiteY6" fmla="*/ 153827 h 435077"/>
                <a:gd name="connsiteX7" fmla="*/ 63711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1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1" y="153827"/>
                  </a:moveTo>
                  <a:cubicBezTo>
                    <a:pt x="22923" y="113039"/>
                    <a:pt x="0" y="57702"/>
                    <a:pt x="0" y="0"/>
                  </a:cubicBezTo>
                  <a:lnTo>
                    <a:pt x="217539" y="0"/>
                  </a:lnTo>
                  <a:lnTo>
                    <a:pt x="435077" y="0"/>
                  </a:lnTo>
                  <a:cubicBezTo>
                    <a:pt x="435077" y="57702"/>
                    <a:pt x="412154" y="113039"/>
                    <a:pt x="371366" y="153827"/>
                  </a:cubicBezTo>
                  <a:cubicBezTo>
                    <a:pt x="330577" y="194616"/>
                    <a:pt x="275241" y="217539"/>
                    <a:pt x="217539" y="217539"/>
                  </a:cubicBezTo>
                  <a:cubicBezTo>
                    <a:pt x="159836" y="217539"/>
                    <a:pt x="104527" y="194616"/>
                    <a:pt x="63711" y="153827"/>
                  </a:cubicBezTo>
                  <a:close/>
                  <a:moveTo>
                    <a:pt x="63711" y="281250"/>
                  </a:moveTo>
                  <a:cubicBezTo>
                    <a:pt x="22923" y="322066"/>
                    <a:pt x="0" y="377402"/>
                    <a:pt x="0" y="435077"/>
                  </a:cubicBezTo>
                  <a:lnTo>
                    <a:pt x="217539" y="435077"/>
                  </a:lnTo>
                  <a:lnTo>
                    <a:pt x="435077" y="435077"/>
                  </a:lnTo>
                  <a:cubicBezTo>
                    <a:pt x="435077" y="377402"/>
                    <a:pt x="412154" y="322066"/>
                    <a:pt x="371366" y="281250"/>
                  </a:cubicBezTo>
                  <a:cubicBezTo>
                    <a:pt x="330577" y="240462"/>
                    <a:pt x="275241" y="217539"/>
                    <a:pt x="217539" y="217539"/>
                  </a:cubicBezTo>
                  <a:cubicBezTo>
                    <a:pt x="159836" y="217539"/>
                    <a:pt x="104527" y="240462"/>
                    <a:pt x="63711" y="281250"/>
                  </a:cubicBezTo>
                  <a:close/>
                </a:path>
              </a:pathLst>
            </a:custGeom>
            <a:grpFill/>
            <a:ln w="27192" cap="flat">
              <a:noFill/>
              <a:prstDash val="solid"/>
              <a:miter/>
            </a:ln>
          </p:spPr>
          <p:txBody>
            <a:bodyPr rtlCol="0" anchor="ctr"/>
            <a:lstStyle/>
            <a:p>
              <a:endParaRPr lang="uk-UA" sz="900"/>
            </a:p>
          </p:txBody>
        </p:sp>
        <p:sp>
          <p:nvSpPr>
            <p:cNvPr id="735" name="Freeform: Shape 734">
              <a:extLst>
                <a:ext uri="{FF2B5EF4-FFF2-40B4-BE49-F238E27FC236}">
                  <a16:creationId xmlns:a16="http://schemas.microsoft.com/office/drawing/2014/main" id="{09DCEB6D-576D-313D-C97D-9CE16C99C06E}"/>
                </a:ext>
              </a:extLst>
            </p:cNvPr>
            <p:cNvSpPr/>
            <p:nvPr/>
          </p:nvSpPr>
          <p:spPr>
            <a:xfrm>
              <a:off x="2576106" y="805999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736" name="Freeform: Shape 735">
              <a:extLst>
                <a:ext uri="{FF2B5EF4-FFF2-40B4-BE49-F238E27FC236}">
                  <a16:creationId xmlns:a16="http://schemas.microsoft.com/office/drawing/2014/main" id="{C54F29D6-D56E-1782-3B36-08EDD0057A0C}"/>
                </a:ext>
              </a:extLst>
            </p:cNvPr>
            <p:cNvSpPr/>
            <p:nvPr/>
          </p:nvSpPr>
          <p:spPr>
            <a:xfrm>
              <a:off x="4316416" y="8059993"/>
              <a:ext cx="435077" cy="435077"/>
            </a:xfrm>
            <a:custGeom>
              <a:avLst/>
              <a:gdLst>
                <a:gd name="connsiteX0" fmla="*/ 435077 w 435077"/>
                <a:gd name="connsiteY0" fmla="*/ 435077 h 435077"/>
                <a:gd name="connsiteX1" fmla="*/ 435077 w 435077"/>
                <a:gd name="connsiteY1" fmla="*/ 0 h 435077"/>
                <a:gd name="connsiteX2" fmla="*/ 217565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737" name="Freeform: Shape 736">
              <a:extLst>
                <a:ext uri="{FF2B5EF4-FFF2-40B4-BE49-F238E27FC236}">
                  <a16:creationId xmlns:a16="http://schemas.microsoft.com/office/drawing/2014/main" id="{D65D5137-330D-6EF6-FA08-750DA1419BCC}"/>
                </a:ext>
              </a:extLst>
            </p:cNvPr>
            <p:cNvSpPr/>
            <p:nvPr/>
          </p:nvSpPr>
          <p:spPr>
            <a:xfrm>
              <a:off x="3446261" y="8059993"/>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27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27"/>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738" name="Freeform: Shape 737">
              <a:extLst>
                <a:ext uri="{FF2B5EF4-FFF2-40B4-BE49-F238E27FC236}">
                  <a16:creationId xmlns:a16="http://schemas.microsoft.com/office/drawing/2014/main" id="{A3009964-CA79-D3D7-67DA-701B284A91C5}"/>
                </a:ext>
              </a:extLst>
            </p:cNvPr>
            <p:cNvSpPr/>
            <p:nvPr/>
          </p:nvSpPr>
          <p:spPr>
            <a:xfrm>
              <a:off x="5186597" y="805999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6" y="153827"/>
                  </a:cubicBezTo>
                  <a:cubicBezTo>
                    <a:pt x="330550" y="194616"/>
                    <a:pt x="275241" y="217539"/>
                    <a:pt x="217539" y="217539"/>
                  </a:cubicBezTo>
                  <a:cubicBezTo>
                    <a:pt x="159837" y="217539"/>
                    <a:pt x="104501" y="194616"/>
                    <a:pt x="63712" y="153827"/>
                  </a:cubicBezTo>
                  <a:close/>
                  <a:moveTo>
                    <a:pt x="63712" y="281250"/>
                  </a:moveTo>
                  <a:cubicBezTo>
                    <a:pt x="22924" y="322066"/>
                    <a:pt x="0" y="377402"/>
                    <a:pt x="0" y="435077"/>
                  </a:cubicBezTo>
                  <a:lnTo>
                    <a:pt x="217539" y="435077"/>
                  </a:lnTo>
                  <a:lnTo>
                    <a:pt x="435077" y="435077"/>
                  </a:lnTo>
                  <a:cubicBezTo>
                    <a:pt x="435077" y="377402"/>
                    <a:pt x="412155" y="322066"/>
                    <a:pt x="371366" y="281250"/>
                  </a:cubicBezTo>
                  <a:cubicBezTo>
                    <a:pt x="330550" y="240462"/>
                    <a:pt x="275241" y="217539"/>
                    <a:pt x="217539" y="217539"/>
                  </a:cubicBezTo>
                  <a:cubicBezTo>
                    <a:pt x="159837" y="217539"/>
                    <a:pt x="104501" y="240462"/>
                    <a:pt x="63712" y="281250"/>
                  </a:cubicBezTo>
                  <a:close/>
                </a:path>
              </a:pathLst>
            </a:custGeom>
            <a:grpFill/>
            <a:ln w="27192" cap="flat">
              <a:noFill/>
              <a:prstDash val="solid"/>
              <a:miter/>
            </a:ln>
          </p:spPr>
          <p:txBody>
            <a:bodyPr rtlCol="0" anchor="ctr"/>
            <a:lstStyle/>
            <a:p>
              <a:endParaRPr lang="uk-UA" sz="900"/>
            </a:p>
          </p:txBody>
        </p:sp>
        <p:sp>
          <p:nvSpPr>
            <p:cNvPr id="739" name="Freeform: Shape 738">
              <a:extLst>
                <a:ext uri="{FF2B5EF4-FFF2-40B4-BE49-F238E27FC236}">
                  <a16:creationId xmlns:a16="http://schemas.microsoft.com/office/drawing/2014/main" id="{F4AA4FCD-D70F-2DBB-AB4C-44A5DF032119}"/>
                </a:ext>
              </a:extLst>
            </p:cNvPr>
            <p:cNvSpPr/>
            <p:nvPr/>
          </p:nvSpPr>
          <p:spPr>
            <a:xfrm>
              <a:off x="6056752" y="805999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740" name="Freeform: Shape 739">
              <a:extLst>
                <a:ext uri="{FF2B5EF4-FFF2-40B4-BE49-F238E27FC236}">
                  <a16:creationId xmlns:a16="http://schemas.microsoft.com/office/drawing/2014/main" id="{AA2E62D4-1272-9C18-899A-3095C0FE8A1D}"/>
                </a:ext>
              </a:extLst>
            </p:cNvPr>
            <p:cNvSpPr/>
            <p:nvPr/>
          </p:nvSpPr>
          <p:spPr>
            <a:xfrm>
              <a:off x="7797062" y="8059993"/>
              <a:ext cx="435077" cy="435077"/>
            </a:xfrm>
            <a:custGeom>
              <a:avLst/>
              <a:gdLst>
                <a:gd name="connsiteX0" fmla="*/ 435077 w 435077"/>
                <a:gd name="connsiteY0" fmla="*/ 435077 h 435077"/>
                <a:gd name="connsiteX1" fmla="*/ 435077 w 435077"/>
                <a:gd name="connsiteY1" fmla="*/ 0 h 435077"/>
                <a:gd name="connsiteX2" fmla="*/ 217566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6"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741" name="Freeform: Shape 740">
              <a:extLst>
                <a:ext uri="{FF2B5EF4-FFF2-40B4-BE49-F238E27FC236}">
                  <a16:creationId xmlns:a16="http://schemas.microsoft.com/office/drawing/2014/main" id="{C97C4C41-89AA-0781-A9E1-0920AD7BF431}"/>
                </a:ext>
              </a:extLst>
            </p:cNvPr>
            <p:cNvSpPr/>
            <p:nvPr/>
          </p:nvSpPr>
          <p:spPr>
            <a:xfrm>
              <a:off x="6926907" y="8059993"/>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27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27"/>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742" name="Freeform: Shape 741">
              <a:extLst>
                <a:ext uri="{FF2B5EF4-FFF2-40B4-BE49-F238E27FC236}">
                  <a16:creationId xmlns:a16="http://schemas.microsoft.com/office/drawing/2014/main" id="{5EBA2368-548D-0C2C-C51D-BEB16ED498B8}"/>
                </a:ext>
              </a:extLst>
            </p:cNvPr>
            <p:cNvSpPr/>
            <p:nvPr/>
          </p:nvSpPr>
          <p:spPr>
            <a:xfrm>
              <a:off x="8667217" y="8059993"/>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39 w 435077"/>
                <a:gd name="connsiteY6" fmla="*/ 153827 h 435077"/>
                <a:gd name="connsiteX7" fmla="*/ 63739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39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4" y="113039"/>
                    <a:pt x="0" y="57702"/>
                    <a:pt x="0" y="0"/>
                  </a:cubicBezTo>
                  <a:lnTo>
                    <a:pt x="217539" y="0"/>
                  </a:lnTo>
                  <a:lnTo>
                    <a:pt x="435077" y="0"/>
                  </a:lnTo>
                  <a:cubicBezTo>
                    <a:pt x="435077" y="57702"/>
                    <a:pt x="412182" y="113039"/>
                    <a:pt x="371366" y="153827"/>
                  </a:cubicBezTo>
                  <a:cubicBezTo>
                    <a:pt x="330578" y="194616"/>
                    <a:pt x="275241" y="217539"/>
                    <a:pt x="217539" y="217539"/>
                  </a:cubicBezTo>
                  <a:cubicBezTo>
                    <a:pt x="159864" y="217539"/>
                    <a:pt x="104527" y="194616"/>
                    <a:pt x="63739" y="153827"/>
                  </a:cubicBezTo>
                  <a:close/>
                  <a:moveTo>
                    <a:pt x="63739" y="281250"/>
                  </a:moveTo>
                  <a:cubicBezTo>
                    <a:pt x="22924" y="322066"/>
                    <a:pt x="0" y="377402"/>
                    <a:pt x="0" y="435077"/>
                  </a:cubicBezTo>
                  <a:lnTo>
                    <a:pt x="217539" y="435077"/>
                  </a:lnTo>
                  <a:lnTo>
                    <a:pt x="435077" y="435077"/>
                  </a:lnTo>
                  <a:cubicBezTo>
                    <a:pt x="435077" y="377402"/>
                    <a:pt x="412182" y="322066"/>
                    <a:pt x="371366" y="281250"/>
                  </a:cubicBezTo>
                  <a:cubicBezTo>
                    <a:pt x="330578" y="240462"/>
                    <a:pt x="275241" y="217539"/>
                    <a:pt x="217539" y="217539"/>
                  </a:cubicBezTo>
                  <a:cubicBezTo>
                    <a:pt x="159864" y="217539"/>
                    <a:pt x="104527" y="240462"/>
                    <a:pt x="63739" y="281250"/>
                  </a:cubicBezTo>
                  <a:close/>
                </a:path>
              </a:pathLst>
            </a:custGeom>
            <a:grpFill/>
            <a:ln w="27192" cap="flat">
              <a:noFill/>
              <a:prstDash val="solid"/>
              <a:miter/>
            </a:ln>
          </p:spPr>
          <p:txBody>
            <a:bodyPr rtlCol="0" anchor="ctr"/>
            <a:lstStyle/>
            <a:p>
              <a:endParaRPr lang="uk-UA" sz="900"/>
            </a:p>
          </p:txBody>
        </p:sp>
        <p:sp>
          <p:nvSpPr>
            <p:cNvPr id="743" name="Freeform: Shape 742">
              <a:extLst>
                <a:ext uri="{FF2B5EF4-FFF2-40B4-BE49-F238E27FC236}">
                  <a16:creationId xmlns:a16="http://schemas.microsoft.com/office/drawing/2014/main" id="{006A399E-CC3C-F9F0-ECF8-A754B9AD87BD}"/>
                </a:ext>
              </a:extLst>
            </p:cNvPr>
            <p:cNvSpPr/>
            <p:nvPr/>
          </p:nvSpPr>
          <p:spPr>
            <a:xfrm>
              <a:off x="9537399" y="805999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1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1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1" y="217539"/>
                  </a:lnTo>
                  <a:lnTo>
                    <a:pt x="0" y="217539"/>
                  </a:lnTo>
                  <a:close/>
                  <a:moveTo>
                    <a:pt x="0" y="435077"/>
                  </a:moveTo>
                  <a:lnTo>
                    <a:pt x="0" y="217539"/>
                  </a:lnTo>
                  <a:lnTo>
                    <a:pt x="217511" y="217539"/>
                  </a:lnTo>
                  <a:lnTo>
                    <a:pt x="0" y="435077"/>
                  </a:lnTo>
                  <a:close/>
                </a:path>
              </a:pathLst>
            </a:custGeom>
            <a:grpFill/>
            <a:ln w="27192" cap="flat">
              <a:noFill/>
              <a:prstDash val="solid"/>
              <a:miter/>
            </a:ln>
          </p:spPr>
          <p:txBody>
            <a:bodyPr rtlCol="0" anchor="ctr"/>
            <a:lstStyle/>
            <a:p>
              <a:endParaRPr lang="uk-UA" sz="900"/>
            </a:p>
          </p:txBody>
        </p:sp>
        <p:sp>
          <p:nvSpPr>
            <p:cNvPr id="744" name="Freeform: Shape 743">
              <a:extLst>
                <a:ext uri="{FF2B5EF4-FFF2-40B4-BE49-F238E27FC236}">
                  <a16:creationId xmlns:a16="http://schemas.microsoft.com/office/drawing/2014/main" id="{3CE98024-655A-1597-1ECF-A59511A9E817}"/>
                </a:ext>
              </a:extLst>
            </p:cNvPr>
            <p:cNvSpPr/>
            <p:nvPr/>
          </p:nvSpPr>
          <p:spPr>
            <a:xfrm>
              <a:off x="11277709" y="805999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0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0" y="217539"/>
                  </a:lnTo>
                  <a:lnTo>
                    <a:pt x="0" y="435077"/>
                  </a:lnTo>
                  <a:close/>
                </a:path>
              </a:pathLst>
            </a:custGeom>
            <a:grpFill/>
            <a:ln w="27192" cap="flat">
              <a:noFill/>
              <a:prstDash val="solid"/>
              <a:miter/>
            </a:ln>
          </p:spPr>
          <p:txBody>
            <a:bodyPr rtlCol="0" anchor="ctr"/>
            <a:lstStyle/>
            <a:p>
              <a:endParaRPr lang="uk-UA" sz="900"/>
            </a:p>
          </p:txBody>
        </p:sp>
        <p:sp>
          <p:nvSpPr>
            <p:cNvPr id="745" name="Freeform: Shape 744">
              <a:extLst>
                <a:ext uri="{FF2B5EF4-FFF2-40B4-BE49-F238E27FC236}">
                  <a16:creationId xmlns:a16="http://schemas.microsoft.com/office/drawing/2014/main" id="{6BE8DE4C-42BE-8BD1-132A-8C31BF37420B}"/>
                </a:ext>
              </a:extLst>
            </p:cNvPr>
            <p:cNvSpPr/>
            <p:nvPr/>
          </p:nvSpPr>
          <p:spPr>
            <a:xfrm>
              <a:off x="10407554" y="8059993"/>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27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27"/>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746" name="Freeform: Shape 745">
              <a:extLst>
                <a:ext uri="{FF2B5EF4-FFF2-40B4-BE49-F238E27FC236}">
                  <a16:creationId xmlns:a16="http://schemas.microsoft.com/office/drawing/2014/main" id="{3AA4A0C0-B372-5A15-D17D-4F9C80A09E81}"/>
                </a:ext>
              </a:extLst>
            </p:cNvPr>
            <p:cNvSpPr/>
            <p:nvPr/>
          </p:nvSpPr>
          <p:spPr>
            <a:xfrm>
              <a:off x="12147864" y="8059993"/>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39 w 435077"/>
                <a:gd name="connsiteY6" fmla="*/ 153827 h 435077"/>
                <a:gd name="connsiteX7" fmla="*/ 63739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0 h 435077"/>
                <a:gd name="connsiteX12" fmla="*/ 217539 w 435077"/>
                <a:gd name="connsiteY12" fmla="*/ 217539 h 435077"/>
                <a:gd name="connsiteX13" fmla="*/ 63739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2" y="113039"/>
                    <a:pt x="0" y="57702"/>
                    <a:pt x="0" y="0"/>
                  </a:cubicBezTo>
                  <a:lnTo>
                    <a:pt x="217539" y="0"/>
                  </a:lnTo>
                  <a:lnTo>
                    <a:pt x="435077" y="0"/>
                  </a:lnTo>
                  <a:cubicBezTo>
                    <a:pt x="435077" y="57702"/>
                    <a:pt x="412180" y="113039"/>
                    <a:pt x="371365" y="153827"/>
                  </a:cubicBezTo>
                  <a:cubicBezTo>
                    <a:pt x="330577" y="194616"/>
                    <a:pt x="275239" y="217539"/>
                    <a:pt x="217539" y="217539"/>
                  </a:cubicBezTo>
                  <a:cubicBezTo>
                    <a:pt x="159863" y="217539"/>
                    <a:pt x="104527" y="194616"/>
                    <a:pt x="63739" y="153827"/>
                  </a:cubicBezTo>
                  <a:close/>
                  <a:moveTo>
                    <a:pt x="63739" y="281250"/>
                  </a:moveTo>
                  <a:cubicBezTo>
                    <a:pt x="22922" y="322066"/>
                    <a:pt x="0" y="377402"/>
                    <a:pt x="0" y="435077"/>
                  </a:cubicBezTo>
                  <a:lnTo>
                    <a:pt x="217539" y="435077"/>
                  </a:lnTo>
                  <a:lnTo>
                    <a:pt x="435077" y="435077"/>
                  </a:lnTo>
                  <a:cubicBezTo>
                    <a:pt x="435077" y="377402"/>
                    <a:pt x="412180" y="322066"/>
                    <a:pt x="371365" y="281250"/>
                  </a:cubicBezTo>
                  <a:cubicBezTo>
                    <a:pt x="330577" y="240462"/>
                    <a:pt x="275239" y="217539"/>
                    <a:pt x="217539" y="217539"/>
                  </a:cubicBezTo>
                  <a:cubicBezTo>
                    <a:pt x="159863" y="217539"/>
                    <a:pt x="104527" y="240462"/>
                    <a:pt x="63739" y="281250"/>
                  </a:cubicBezTo>
                  <a:close/>
                </a:path>
              </a:pathLst>
            </a:custGeom>
            <a:grpFill/>
            <a:ln w="27192" cap="flat">
              <a:noFill/>
              <a:prstDash val="solid"/>
              <a:miter/>
            </a:ln>
          </p:spPr>
          <p:txBody>
            <a:bodyPr rtlCol="0" anchor="ctr"/>
            <a:lstStyle/>
            <a:p>
              <a:endParaRPr lang="uk-UA" sz="900"/>
            </a:p>
          </p:txBody>
        </p:sp>
        <p:sp>
          <p:nvSpPr>
            <p:cNvPr id="747" name="Freeform: Shape 746">
              <a:extLst>
                <a:ext uri="{FF2B5EF4-FFF2-40B4-BE49-F238E27FC236}">
                  <a16:creationId xmlns:a16="http://schemas.microsoft.com/office/drawing/2014/main" id="{A93747A3-455F-A415-504D-F8673D50EE07}"/>
                </a:ext>
              </a:extLst>
            </p:cNvPr>
            <p:cNvSpPr/>
            <p:nvPr/>
          </p:nvSpPr>
          <p:spPr>
            <a:xfrm>
              <a:off x="13018045" y="805999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748" name="Freeform: Shape 747">
              <a:extLst>
                <a:ext uri="{FF2B5EF4-FFF2-40B4-BE49-F238E27FC236}">
                  <a16:creationId xmlns:a16="http://schemas.microsoft.com/office/drawing/2014/main" id="{0538AE50-9D22-6B13-6E44-76EAA77AC8EA}"/>
                </a:ext>
              </a:extLst>
            </p:cNvPr>
            <p:cNvSpPr/>
            <p:nvPr/>
          </p:nvSpPr>
          <p:spPr>
            <a:xfrm>
              <a:off x="14758382" y="805999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749" name="Freeform: Shape 748">
              <a:extLst>
                <a:ext uri="{FF2B5EF4-FFF2-40B4-BE49-F238E27FC236}">
                  <a16:creationId xmlns:a16="http://schemas.microsoft.com/office/drawing/2014/main" id="{466E90B3-7AA4-136B-79BB-6521294C5260}"/>
                </a:ext>
              </a:extLst>
            </p:cNvPr>
            <p:cNvSpPr/>
            <p:nvPr/>
          </p:nvSpPr>
          <p:spPr>
            <a:xfrm>
              <a:off x="13888200" y="8059993"/>
              <a:ext cx="435103" cy="435077"/>
            </a:xfrm>
            <a:custGeom>
              <a:avLst/>
              <a:gdLst>
                <a:gd name="connsiteX0" fmla="*/ 217565 w 435103"/>
                <a:gd name="connsiteY0" fmla="*/ 435077 h 435077"/>
                <a:gd name="connsiteX1" fmla="*/ 217565 w 435103"/>
                <a:gd name="connsiteY1" fmla="*/ 0 h 435077"/>
                <a:gd name="connsiteX2" fmla="*/ 435104 w 435103"/>
                <a:gd name="connsiteY2" fmla="*/ 217539 h 435077"/>
                <a:gd name="connsiteX3" fmla="*/ 217565 w 435103"/>
                <a:gd name="connsiteY3" fmla="*/ 435077 h 435077"/>
                <a:gd name="connsiteX4" fmla="*/ 0 w 435103"/>
                <a:gd name="connsiteY4" fmla="*/ 435077 h 435077"/>
                <a:gd name="connsiteX5" fmla="*/ 0 w 435103"/>
                <a:gd name="connsiteY5" fmla="*/ 27 h 435077"/>
                <a:gd name="connsiteX6" fmla="*/ 217539 w 435103"/>
                <a:gd name="connsiteY6" fmla="*/ 217566 h 435077"/>
                <a:gd name="connsiteX7" fmla="*/ 0 w 435103"/>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103" h="435077">
                  <a:moveTo>
                    <a:pt x="217565" y="435077"/>
                  </a:moveTo>
                  <a:lnTo>
                    <a:pt x="217565" y="0"/>
                  </a:lnTo>
                  <a:lnTo>
                    <a:pt x="435104" y="217539"/>
                  </a:lnTo>
                  <a:lnTo>
                    <a:pt x="217565" y="435077"/>
                  </a:lnTo>
                  <a:close/>
                  <a:moveTo>
                    <a:pt x="0" y="435077"/>
                  </a:moveTo>
                  <a:lnTo>
                    <a:pt x="0" y="27"/>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750" name="Freeform: Shape 749">
              <a:extLst>
                <a:ext uri="{FF2B5EF4-FFF2-40B4-BE49-F238E27FC236}">
                  <a16:creationId xmlns:a16="http://schemas.microsoft.com/office/drawing/2014/main" id="{2E7374E6-1D1A-2707-3B3B-665C132A685B}"/>
                </a:ext>
              </a:extLst>
            </p:cNvPr>
            <p:cNvSpPr/>
            <p:nvPr/>
          </p:nvSpPr>
          <p:spPr>
            <a:xfrm>
              <a:off x="15628536" y="805999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7" y="153827"/>
                  </a:cubicBezTo>
                  <a:cubicBezTo>
                    <a:pt x="330578" y="194616"/>
                    <a:pt x="275241" y="217539"/>
                    <a:pt x="217539" y="217539"/>
                  </a:cubicBezTo>
                  <a:cubicBezTo>
                    <a:pt x="159865" y="217539"/>
                    <a:pt x="104527" y="194616"/>
                    <a:pt x="63712" y="153827"/>
                  </a:cubicBezTo>
                  <a:close/>
                  <a:moveTo>
                    <a:pt x="63712" y="281250"/>
                  </a:moveTo>
                  <a:cubicBezTo>
                    <a:pt x="22924" y="322066"/>
                    <a:pt x="0" y="377402"/>
                    <a:pt x="0" y="435077"/>
                  </a:cubicBezTo>
                  <a:lnTo>
                    <a:pt x="217539" y="435077"/>
                  </a:lnTo>
                  <a:lnTo>
                    <a:pt x="435077" y="435077"/>
                  </a:lnTo>
                  <a:cubicBezTo>
                    <a:pt x="435077" y="377402"/>
                    <a:pt x="412155" y="322066"/>
                    <a:pt x="371367" y="281250"/>
                  </a:cubicBezTo>
                  <a:cubicBezTo>
                    <a:pt x="330578" y="240462"/>
                    <a:pt x="275241" y="217539"/>
                    <a:pt x="217539" y="217539"/>
                  </a:cubicBezTo>
                  <a:cubicBezTo>
                    <a:pt x="159865" y="217539"/>
                    <a:pt x="104527" y="240462"/>
                    <a:pt x="63712" y="281250"/>
                  </a:cubicBezTo>
                  <a:close/>
                </a:path>
              </a:pathLst>
            </a:custGeom>
            <a:grpFill/>
            <a:ln w="27192" cap="flat">
              <a:noFill/>
              <a:prstDash val="solid"/>
              <a:miter/>
            </a:ln>
          </p:spPr>
          <p:txBody>
            <a:bodyPr rtlCol="0" anchor="ctr"/>
            <a:lstStyle/>
            <a:p>
              <a:endParaRPr lang="uk-UA" sz="900"/>
            </a:p>
          </p:txBody>
        </p:sp>
        <p:sp>
          <p:nvSpPr>
            <p:cNvPr id="751" name="Freeform: Shape 750">
              <a:extLst>
                <a:ext uri="{FF2B5EF4-FFF2-40B4-BE49-F238E27FC236}">
                  <a16:creationId xmlns:a16="http://schemas.microsoft.com/office/drawing/2014/main" id="{C52515B0-458C-62BA-501E-FB2E91F35DB2}"/>
                </a:ext>
              </a:extLst>
            </p:cNvPr>
            <p:cNvSpPr/>
            <p:nvPr/>
          </p:nvSpPr>
          <p:spPr>
            <a:xfrm>
              <a:off x="16498719" y="805999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0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0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0" y="217539"/>
                  </a:lnTo>
                  <a:lnTo>
                    <a:pt x="0" y="217539"/>
                  </a:lnTo>
                  <a:close/>
                  <a:moveTo>
                    <a:pt x="0" y="435077"/>
                  </a:moveTo>
                  <a:lnTo>
                    <a:pt x="0" y="217539"/>
                  </a:lnTo>
                  <a:lnTo>
                    <a:pt x="217510" y="217539"/>
                  </a:lnTo>
                  <a:lnTo>
                    <a:pt x="0" y="435077"/>
                  </a:lnTo>
                  <a:close/>
                </a:path>
              </a:pathLst>
            </a:custGeom>
            <a:grpFill/>
            <a:ln w="27192" cap="flat">
              <a:noFill/>
              <a:prstDash val="solid"/>
              <a:miter/>
            </a:ln>
          </p:spPr>
          <p:txBody>
            <a:bodyPr rtlCol="0" anchor="ctr"/>
            <a:lstStyle/>
            <a:p>
              <a:endParaRPr lang="uk-UA" sz="900"/>
            </a:p>
          </p:txBody>
        </p:sp>
        <p:sp>
          <p:nvSpPr>
            <p:cNvPr id="752" name="Freeform: Shape 751">
              <a:extLst>
                <a:ext uri="{FF2B5EF4-FFF2-40B4-BE49-F238E27FC236}">
                  <a16:creationId xmlns:a16="http://schemas.microsoft.com/office/drawing/2014/main" id="{F3E61E65-FA82-2EAC-3CF3-E4424A51F6F6}"/>
                </a:ext>
              </a:extLst>
            </p:cNvPr>
            <p:cNvSpPr/>
            <p:nvPr/>
          </p:nvSpPr>
          <p:spPr>
            <a:xfrm>
              <a:off x="18239029" y="8059993"/>
              <a:ext cx="435077" cy="435077"/>
            </a:xfrm>
            <a:custGeom>
              <a:avLst/>
              <a:gdLst>
                <a:gd name="connsiteX0" fmla="*/ 435077 w 435077"/>
                <a:gd name="connsiteY0" fmla="*/ 435077 h 435077"/>
                <a:gd name="connsiteX1" fmla="*/ 435077 w 435077"/>
                <a:gd name="connsiteY1" fmla="*/ 0 h 435077"/>
                <a:gd name="connsiteX2" fmla="*/ 217565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753" name="Freeform: Shape 752">
              <a:extLst>
                <a:ext uri="{FF2B5EF4-FFF2-40B4-BE49-F238E27FC236}">
                  <a16:creationId xmlns:a16="http://schemas.microsoft.com/office/drawing/2014/main" id="{7A605217-8DED-4699-08AB-7B7FEF2ADBAE}"/>
                </a:ext>
              </a:extLst>
            </p:cNvPr>
            <p:cNvSpPr/>
            <p:nvPr/>
          </p:nvSpPr>
          <p:spPr>
            <a:xfrm>
              <a:off x="17368874" y="8059993"/>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27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27"/>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754" name="Freeform: Shape 753">
              <a:extLst>
                <a:ext uri="{FF2B5EF4-FFF2-40B4-BE49-F238E27FC236}">
                  <a16:creationId xmlns:a16="http://schemas.microsoft.com/office/drawing/2014/main" id="{634F5B80-F324-3A6F-6EBF-F58DFC3C61A6}"/>
                </a:ext>
              </a:extLst>
            </p:cNvPr>
            <p:cNvSpPr/>
            <p:nvPr/>
          </p:nvSpPr>
          <p:spPr>
            <a:xfrm>
              <a:off x="19109210" y="805999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895" y="113039"/>
                    <a:pt x="0" y="57702"/>
                    <a:pt x="0" y="0"/>
                  </a:cubicBezTo>
                  <a:lnTo>
                    <a:pt x="217539" y="0"/>
                  </a:lnTo>
                  <a:lnTo>
                    <a:pt x="435077" y="0"/>
                  </a:lnTo>
                  <a:cubicBezTo>
                    <a:pt x="435077" y="57702"/>
                    <a:pt x="412154" y="113039"/>
                    <a:pt x="371339" y="153827"/>
                  </a:cubicBezTo>
                  <a:cubicBezTo>
                    <a:pt x="330550" y="194616"/>
                    <a:pt x="275215" y="217539"/>
                    <a:pt x="217539" y="217539"/>
                  </a:cubicBezTo>
                  <a:cubicBezTo>
                    <a:pt x="159836" y="217539"/>
                    <a:pt x="104501" y="194616"/>
                    <a:pt x="63712" y="153827"/>
                  </a:cubicBezTo>
                  <a:close/>
                  <a:moveTo>
                    <a:pt x="63712" y="281250"/>
                  </a:moveTo>
                  <a:cubicBezTo>
                    <a:pt x="22895" y="322066"/>
                    <a:pt x="0" y="377402"/>
                    <a:pt x="0" y="435077"/>
                  </a:cubicBezTo>
                  <a:lnTo>
                    <a:pt x="217539" y="435077"/>
                  </a:lnTo>
                  <a:lnTo>
                    <a:pt x="435077" y="435077"/>
                  </a:lnTo>
                  <a:cubicBezTo>
                    <a:pt x="435077" y="377402"/>
                    <a:pt x="412154" y="322066"/>
                    <a:pt x="371339" y="281250"/>
                  </a:cubicBezTo>
                  <a:cubicBezTo>
                    <a:pt x="330550" y="240462"/>
                    <a:pt x="275215" y="217539"/>
                    <a:pt x="217539" y="217539"/>
                  </a:cubicBezTo>
                  <a:cubicBezTo>
                    <a:pt x="159836" y="217539"/>
                    <a:pt x="104501" y="240462"/>
                    <a:pt x="63712" y="281250"/>
                  </a:cubicBezTo>
                  <a:close/>
                </a:path>
              </a:pathLst>
            </a:custGeom>
            <a:grpFill/>
            <a:ln w="27192" cap="flat">
              <a:noFill/>
              <a:prstDash val="solid"/>
              <a:miter/>
            </a:ln>
          </p:spPr>
          <p:txBody>
            <a:bodyPr rtlCol="0" anchor="ctr"/>
            <a:lstStyle/>
            <a:p>
              <a:endParaRPr lang="uk-UA" sz="900"/>
            </a:p>
          </p:txBody>
        </p:sp>
        <p:sp>
          <p:nvSpPr>
            <p:cNvPr id="755" name="Freeform: Shape 754">
              <a:extLst>
                <a:ext uri="{FF2B5EF4-FFF2-40B4-BE49-F238E27FC236}">
                  <a16:creationId xmlns:a16="http://schemas.microsoft.com/office/drawing/2014/main" id="{9D8A92A3-AF54-8DA6-AC2D-826DAF2885C7}"/>
                </a:ext>
              </a:extLst>
            </p:cNvPr>
            <p:cNvSpPr/>
            <p:nvPr/>
          </p:nvSpPr>
          <p:spPr>
            <a:xfrm>
              <a:off x="19979365" y="805999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756" name="Freeform: Shape 755">
              <a:extLst>
                <a:ext uri="{FF2B5EF4-FFF2-40B4-BE49-F238E27FC236}">
                  <a16:creationId xmlns:a16="http://schemas.microsoft.com/office/drawing/2014/main" id="{9B65DF60-84DB-31D4-1531-B7AFFF7ED36F}"/>
                </a:ext>
              </a:extLst>
            </p:cNvPr>
            <p:cNvSpPr/>
            <p:nvPr/>
          </p:nvSpPr>
          <p:spPr>
            <a:xfrm>
              <a:off x="21719702" y="805999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757" name="Freeform: Shape 756">
              <a:extLst>
                <a:ext uri="{FF2B5EF4-FFF2-40B4-BE49-F238E27FC236}">
                  <a16:creationId xmlns:a16="http://schemas.microsoft.com/office/drawing/2014/main" id="{ED72FA9A-CACB-8ABF-8598-87A0F8F8336F}"/>
                </a:ext>
              </a:extLst>
            </p:cNvPr>
            <p:cNvSpPr/>
            <p:nvPr/>
          </p:nvSpPr>
          <p:spPr>
            <a:xfrm>
              <a:off x="20849520" y="8059993"/>
              <a:ext cx="435077" cy="435077"/>
            </a:xfrm>
            <a:custGeom>
              <a:avLst/>
              <a:gdLst>
                <a:gd name="connsiteX0" fmla="*/ 217565 w 435077"/>
                <a:gd name="connsiteY0" fmla="*/ 435077 h 435077"/>
                <a:gd name="connsiteX1" fmla="*/ 217565 w 435077"/>
                <a:gd name="connsiteY1" fmla="*/ 0 h 435077"/>
                <a:gd name="connsiteX2" fmla="*/ 435077 w 435077"/>
                <a:gd name="connsiteY2" fmla="*/ 217539 h 435077"/>
                <a:gd name="connsiteX3" fmla="*/ 217565 w 435077"/>
                <a:gd name="connsiteY3" fmla="*/ 435077 h 435077"/>
                <a:gd name="connsiteX4" fmla="*/ 0 w 435077"/>
                <a:gd name="connsiteY4" fmla="*/ 435077 h 435077"/>
                <a:gd name="connsiteX5" fmla="*/ 0 w 435077"/>
                <a:gd name="connsiteY5" fmla="*/ 27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65" y="435077"/>
                  </a:moveTo>
                  <a:lnTo>
                    <a:pt x="217565" y="0"/>
                  </a:lnTo>
                  <a:lnTo>
                    <a:pt x="435077" y="217539"/>
                  </a:lnTo>
                  <a:lnTo>
                    <a:pt x="217565" y="435077"/>
                  </a:lnTo>
                  <a:close/>
                  <a:moveTo>
                    <a:pt x="0" y="435077"/>
                  </a:moveTo>
                  <a:lnTo>
                    <a:pt x="0" y="27"/>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758" name="Freeform: Shape 757">
              <a:extLst>
                <a:ext uri="{FF2B5EF4-FFF2-40B4-BE49-F238E27FC236}">
                  <a16:creationId xmlns:a16="http://schemas.microsoft.com/office/drawing/2014/main" id="{0DD8F0BB-B35F-F021-2C94-5019BD3BF761}"/>
                </a:ext>
              </a:extLst>
            </p:cNvPr>
            <p:cNvSpPr/>
            <p:nvPr/>
          </p:nvSpPr>
          <p:spPr>
            <a:xfrm>
              <a:off x="22589856" y="805999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7" y="153827"/>
                  </a:cubicBezTo>
                  <a:cubicBezTo>
                    <a:pt x="330578" y="194616"/>
                    <a:pt x="275241" y="217539"/>
                    <a:pt x="217539" y="217539"/>
                  </a:cubicBezTo>
                  <a:cubicBezTo>
                    <a:pt x="159838" y="217539"/>
                    <a:pt x="104529" y="194616"/>
                    <a:pt x="63712" y="153827"/>
                  </a:cubicBezTo>
                  <a:close/>
                  <a:moveTo>
                    <a:pt x="63712" y="281250"/>
                  </a:moveTo>
                  <a:cubicBezTo>
                    <a:pt x="22924" y="322066"/>
                    <a:pt x="0" y="377402"/>
                    <a:pt x="0" y="435077"/>
                  </a:cubicBezTo>
                  <a:lnTo>
                    <a:pt x="217539" y="435077"/>
                  </a:lnTo>
                  <a:lnTo>
                    <a:pt x="435077" y="435077"/>
                  </a:lnTo>
                  <a:cubicBezTo>
                    <a:pt x="435077" y="377402"/>
                    <a:pt x="412155" y="322066"/>
                    <a:pt x="371367" y="281250"/>
                  </a:cubicBezTo>
                  <a:cubicBezTo>
                    <a:pt x="330578" y="240462"/>
                    <a:pt x="275241" y="217539"/>
                    <a:pt x="217539" y="217539"/>
                  </a:cubicBezTo>
                  <a:cubicBezTo>
                    <a:pt x="159838" y="217539"/>
                    <a:pt x="104529" y="240462"/>
                    <a:pt x="63712" y="281250"/>
                  </a:cubicBezTo>
                  <a:close/>
                </a:path>
              </a:pathLst>
            </a:custGeom>
            <a:grpFill/>
            <a:ln w="27192" cap="flat">
              <a:noFill/>
              <a:prstDash val="solid"/>
              <a:miter/>
            </a:ln>
          </p:spPr>
          <p:txBody>
            <a:bodyPr rtlCol="0" anchor="ctr"/>
            <a:lstStyle/>
            <a:p>
              <a:endParaRPr lang="uk-UA" sz="900"/>
            </a:p>
          </p:txBody>
        </p:sp>
        <p:sp>
          <p:nvSpPr>
            <p:cNvPr id="759" name="Freeform: Shape 758">
              <a:extLst>
                <a:ext uri="{FF2B5EF4-FFF2-40B4-BE49-F238E27FC236}">
                  <a16:creationId xmlns:a16="http://schemas.microsoft.com/office/drawing/2014/main" id="{FF847F92-0AD1-9D5F-3A62-11672BD40889}"/>
                </a:ext>
              </a:extLst>
            </p:cNvPr>
            <p:cNvSpPr/>
            <p:nvPr/>
          </p:nvSpPr>
          <p:spPr>
            <a:xfrm>
              <a:off x="23460011" y="8059993"/>
              <a:ext cx="435105" cy="435077"/>
            </a:xfrm>
            <a:custGeom>
              <a:avLst/>
              <a:gdLst>
                <a:gd name="connsiteX0" fmla="*/ 435106 w 435105"/>
                <a:gd name="connsiteY0" fmla="*/ 435077 h 435077"/>
                <a:gd name="connsiteX1" fmla="*/ 435106 w 435105"/>
                <a:gd name="connsiteY1" fmla="*/ 217566 h 435077"/>
                <a:gd name="connsiteX2" fmla="*/ 435106 w 435105"/>
                <a:gd name="connsiteY2" fmla="*/ 27 h 435077"/>
                <a:gd name="connsiteX3" fmla="*/ 217567 w 435105"/>
                <a:gd name="connsiteY3" fmla="*/ 27 h 435077"/>
                <a:gd name="connsiteX4" fmla="*/ 435106 w 435105"/>
                <a:gd name="connsiteY4" fmla="*/ 217566 h 435077"/>
                <a:gd name="connsiteX5" fmla="*/ 217567 w 435105"/>
                <a:gd name="connsiteY5" fmla="*/ 435077 h 435077"/>
                <a:gd name="connsiteX6" fmla="*/ 435106 w 435105"/>
                <a:gd name="connsiteY6" fmla="*/ 435077 h 435077"/>
                <a:gd name="connsiteX7" fmla="*/ 0 w 435105"/>
                <a:gd name="connsiteY7" fmla="*/ 217539 h 435077"/>
                <a:gd name="connsiteX8" fmla="*/ 0 w 435105"/>
                <a:gd name="connsiteY8" fmla="*/ 0 h 435077"/>
                <a:gd name="connsiteX9" fmla="*/ 217539 w 435105"/>
                <a:gd name="connsiteY9" fmla="*/ 217539 h 435077"/>
                <a:gd name="connsiteX10" fmla="*/ 0 w 435105"/>
                <a:gd name="connsiteY10" fmla="*/ 217539 h 435077"/>
                <a:gd name="connsiteX11" fmla="*/ 0 w 435105"/>
                <a:gd name="connsiteY11" fmla="*/ 435077 h 435077"/>
                <a:gd name="connsiteX12" fmla="*/ 0 w 435105"/>
                <a:gd name="connsiteY12" fmla="*/ 217539 h 435077"/>
                <a:gd name="connsiteX13" fmla="*/ 217539 w 435105"/>
                <a:gd name="connsiteY13" fmla="*/ 217539 h 435077"/>
                <a:gd name="connsiteX14" fmla="*/ 0 w 435105"/>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105" h="435077">
                  <a:moveTo>
                    <a:pt x="435106" y="435077"/>
                  </a:moveTo>
                  <a:lnTo>
                    <a:pt x="435106" y="217566"/>
                  </a:lnTo>
                  <a:lnTo>
                    <a:pt x="435106" y="27"/>
                  </a:lnTo>
                  <a:lnTo>
                    <a:pt x="217567" y="27"/>
                  </a:lnTo>
                  <a:lnTo>
                    <a:pt x="435106" y="217566"/>
                  </a:lnTo>
                  <a:lnTo>
                    <a:pt x="217567" y="435077"/>
                  </a:lnTo>
                  <a:lnTo>
                    <a:pt x="435106"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760" name="Freeform: Shape 759">
              <a:extLst>
                <a:ext uri="{FF2B5EF4-FFF2-40B4-BE49-F238E27FC236}">
                  <a16:creationId xmlns:a16="http://schemas.microsoft.com/office/drawing/2014/main" id="{41C1C4B2-19E1-A312-D2F9-AAE9D7FCAA96}"/>
                </a:ext>
              </a:extLst>
            </p:cNvPr>
            <p:cNvSpPr/>
            <p:nvPr/>
          </p:nvSpPr>
          <p:spPr>
            <a:xfrm>
              <a:off x="24330194" y="8059993"/>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27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27"/>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761" name="Freeform: Shape 760">
              <a:extLst>
                <a:ext uri="{FF2B5EF4-FFF2-40B4-BE49-F238E27FC236}">
                  <a16:creationId xmlns:a16="http://schemas.microsoft.com/office/drawing/2014/main" id="{9EFA5AD6-128D-E983-D659-790F2380D37F}"/>
                </a:ext>
              </a:extLst>
            </p:cNvPr>
            <p:cNvSpPr/>
            <p:nvPr/>
          </p:nvSpPr>
          <p:spPr>
            <a:xfrm>
              <a:off x="835769" y="8930148"/>
              <a:ext cx="435077" cy="435104"/>
            </a:xfrm>
            <a:custGeom>
              <a:avLst/>
              <a:gdLst>
                <a:gd name="connsiteX0" fmla="*/ 0 w 435077"/>
                <a:gd name="connsiteY0" fmla="*/ 435077 h 435104"/>
                <a:gd name="connsiteX1" fmla="*/ 217511 w 435077"/>
                <a:gd name="connsiteY1" fmla="*/ 435077 h 435104"/>
                <a:gd name="connsiteX2" fmla="*/ 217511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11" y="435077"/>
                  </a:lnTo>
                  <a:lnTo>
                    <a:pt x="217511"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762" name="Freeform: Shape 761">
              <a:extLst>
                <a:ext uri="{FF2B5EF4-FFF2-40B4-BE49-F238E27FC236}">
                  <a16:creationId xmlns:a16="http://schemas.microsoft.com/office/drawing/2014/main" id="{C9511FD0-A320-6A35-13CF-3D9B79AC1639}"/>
                </a:ext>
              </a:extLst>
            </p:cNvPr>
            <p:cNvSpPr/>
            <p:nvPr/>
          </p:nvSpPr>
          <p:spPr>
            <a:xfrm>
              <a:off x="-34398" y="8930148"/>
              <a:ext cx="435063" cy="435077"/>
            </a:xfrm>
            <a:custGeom>
              <a:avLst/>
              <a:gdLst>
                <a:gd name="connsiteX0" fmla="*/ 217525 w 435063"/>
                <a:gd name="connsiteY0" fmla="*/ 217539 h 435077"/>
                <a:gd name="connsiteX1" fmla="*/ 217525 w 435063"/>
                <a:gd name="connsiteY1" fmla="*/ 0 h 435077"/>
                <a:gd name="connsiteX2" fmla="*/ 0 w 435063"/>
                <a:gd name="connsiteY2" fmla="*/ 0 h 435077"/>
                <a:gd name="connsiteX3" fmla="*/ 217525 w 435063"/>
                <a:gd name="connsiteY3" fmla="*/ 217539 h 435077"/>
                <a:gd name="connsiteX4" fmla="*/ 0 w 435063"/>
                <a:gd name="connsiteY4" fmla="*/ 435077 h 435077"/>
                <a:gd name="connsiteX5" fmla="*/ 217525 w 435063"/>
                <a:gd name="connsiteY5" fmla="*/ 435077 h 435077"/>
                <a:gd name="connsiteX6" fmla="*/ 217525 w 435063"/>
                <a:gd name="connsiteY6" fmla="*/ 435077 h 435077"/>
                <a:gd name="connsiteX7" fmla="*/ 435064 w 435063"/>
                <a:gd name="connsiteY7" fmla="*/ 217566 h 435077"/>
                <a:gd name="connsiteX8" fmla="*/ 435064 w 435063"/>
                <a:gd name="connsiteY8" fmla="*/ 217566 h 435077"/>
                <a:gd name="connsiteX9" fmla="*/ 435064 w 435063"/>
                <a:gd name="connsiteY9" fmla="*/ 217539 h 435077"/>
                <a:gd name="connsiteX10" fmla="*/ 435064 w 435063"/>
                <a:gd name="connsiteY10" fmla="*/ 217539 h 435077"/>
                <a:gd name="connsiteX11" fmla="*/ 435064 w 435063"/>
                <a:gd name="connsiteY11" fmla="*/ 217539 h 435077"/>
                <a:gd name="connsiteX12" fmla="*/ 217525 w 435063"/>
                <a:gd name="connsiteY12" fmla="*/ 27 h 435077"/>
                <a:gd name="connsiteX13" fmla="*/ 217525 w 435063"/>
                <a:gd name="connsiteY13" fmla="*/ 217539 h 435077"/>
                <a:gd name="connsiteX14" fmla="*/ 217525 w 435063"/>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63" h="435077">
                  <a:moveTo>
                    <a:pt x="217525" y="217539"/>
                  </a:moveTo>
                  <a:lnTo>
                    <a:pt x="217525" y="0"/>
                  </a:lnTo>
                  <a:lnTo>
                    <a:pt x="0" y="0"/>
                  </a:lnTo>
                  <a:lnTo>
                    <a:pt x="217525" y="217539"/>
                  </a:lnTo>
                  <a:lnTo>
                    <a:pt x="0" y="435077"/>
                  </a:lnTo>
                  <a:lnTo>
                    <a:pt x="217525" y="435077"/>
                  </a:lnTo>
                  <a:lnTo>
                    <a:pt x="217525" y="435077"/>
                  </a:lnTo>
                  <a:lnTo>
                    <a:pt x="435064" y="217566"/>
                  </a:lnTo>
                  <a:lnTo>
                    <a:pt x="435064" y="217566"/>
                  </a:lnTo>
                  <a:lnTo>
                    <a:pt x="435064" y="217539"/>
                  </a:lnTo>
                  <a:lnTo>
                    <a:pt x="435064" y="217539"/>
                  </a:lnTo>
                  <a:lnTo>
                    <a:pt x="435064" y="217539"/>
                  </a:lnTo>
                  <a:lnTo>
                    <a:pt x="217525" y="27"/>
                  </a:lnTo>
                  <a:lnTo>
                    <a:pt x="217525" y="217539"/>
                  </a:lnTo>
                  <a:lnTo>
                    <a:pt x="217525" y="217539"/>
                  </a:lnTo>
                  <a:close/>
                </a:path>
              </a:pathLst>
            </a:custGeom>
            <a:grpFill/>
            <a:ln w="27192" cap="flat">
              <a:noFill/>
              <a:prstDash val="solid"/>
              <a:miter/>
            </a:ln>
          </p:spPr>
          <p:txBody>
            <a:bodyPr rtlCol="0" anchor="ctr"/>
            <a:lstStyle/>
            <a:p>
              <a:endParaRPr lang="uk-UA" sz="900"/>
            </a:p>
          </p:txBody>
        </p:sp>
        <p:sp>
          <p:nvSpPr>
            <p:cNvPr id="763" name="Freeform: Shape 762">
              <a:extLst>
                <a:ext uri="{FF2B5EF4-FFF2-40B4-BE49-F238E27FC236}">
                  <a16:creationId xmlns:a16="http://schemas.microsoft.com/office/drawing/2014/main" id="{D785299B-DC8A-7BDC-3832-4BA38172FC89}"/>
                </a:ext>
              </a:extLst>
            </p:cNvPr>
            <p:cNvSpPr/>
            <p:nvPr/>
          </p:nvSpPr>
          <p:spPr>
            <a:xfrm>
              <a:off x="1705924" y="8930148"/>
              <a:ext cx="435104" cy="435077"/>
            </a:xfrm>
            <a:custGeom>
              <a:avLst/>
              <a:gdLst>
                <a:gd name="connsiteX0" fmla="*/ 217539 w 435104"/>
                <a:gd name="connsiteY0" fmla="*/ 0 h 435077"/>
                <a:gd name="connsiteX1" fmla="*/ 0 w 435104"/>
                <a:gd name="connsiteY1" fmla="*/ 0 h 435077"/>
                <a:gd name="connsiteX2" fmla="*/ 0 w 435104"/>
                <a:gd name="connsiteY2" fmla="*/ 217539 h 435077"/>
                <a:gd name="connsiteX3" fmla="*/ 217539 w 435104"/>
                <a:gd name="connsiteY3" fmla="*/ 0 h 435077"/>
                <a:gd name="connsiteX4" fmla="*/ 435104 w 435104"/>
                <a:gd name="connsiteY4" fmla="*/ 27 h 435077"/>
                <a:gd name="connsiteX5" fmla="*/ 435104 w 435104"/>
                <a:gd name="connsiteY5" fmla="*/ 217566 h 435077"/>
                <a:gd name="connsiteX6" fmla="*/ 217566 w 435104"/>
                <a:gd name="connsiteY6" fmla="*/ 27 h 435077"/>
                <a:gd name="connsiteX7" fmla="*/ 435104 w 435104"/>
                <a:gd name="connsiteY7" fmla="*/ 27 h 435077"/>
                <a:gd name="connsiteX8" fmla="*/ 217566 w 435104"/>
                <a:gd name="connsiteY8" fmla="*/ 435077 h 435077"/>
                <a:gd name="connsiteX9" fmla="*/ 435104 w 435104"/>
                <a:gd name="connsiteY9" fmla="*/ 217566 h 435077"/>
                <a:gd name="connsiteX10" fmla="*/ 435104 w 435104"/>
                <a:gd name="connsiteY10" fmla="*/ 435077 h 435077"/>
                <a:gd name="connsiteX11" fmla="*/ 217566 w 435104"/>
                <a:gd name="connsiteY11" fmla="*/ 435077 h 435077"/>
                <a:gd name="connsiteX12" fmla="*/ 217566 w 435104"/>
                <a:gd name="connsiteY12" fmla="*/ 435077 h 435077"/>
                <a:gd name="connsiteX13" fmla="*/ 27 w 435104"/>
                <a:gd name="connsiteY13" fmla="*/ 217566 h 435077"/>
                <a:gd name="connsiteX14" fmla="*/ 27 w 435104"/>
                <a:gd name="connsiteY14" fmla="*/ 435077 h 435077"/>
                <a:gd name="connsiteX15" fmla="*/ 217566 w 435104"/>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4" h="435077">
                  <a:moveTo>
                    <a:pt x="217539" y="0"/>
                  </a:moveTo>
                  <a:lnTo>
                    <a:pt x="0" y="0"/>
                  </a:lnTo>
                  <a:lnTo>
                    <a:pt x="0" y="217539"/>
                  </a:lnTo>
                  <a:lnTo>
                    <a:pt x="217539" y="0"/>
                  </a:lnTo>
                  <a:close/>
                  <a:moveTo>
                    <a:pt x="435104" y="27"/>
                  </a:moveTo>
                  <a:lnTo>
                    <a:pt x="435104" y="217566"/>
                  </a:lnTo>
                  <a:lnTo>
                    <a:pt x="217566" y="27"/>
                  </a:lnTo>
                  <a:lnTo>
                    <a:pt x="435104" y="27"/>
                  </a:lnTo>
                  <a:close/>
                  <a:moveTo>
                    <a:pt x="217566" y="435077"/>
                  </a:moveTo>
                  <a:lnTo>
                    <a:pt x="435104" y="217566"/>
                  </a:lnTo>
                  <a:lnTo>
                    <a:pt x="435104" y="435077"/>
                  </a:lnTo>
                  <a:lnTo>
                    <a:pt x="217566" y="435077"/>
                  </a:lnTo>
                  <a:close/>
                  <a:moveTo>
                    <a:pt x="217566" y="435077"/>
                  </a:moveTo>
                  <a:lnTo>
                    <a:pt x="27" y="217566"/>
                  </a:lnTo>
                  <a:lnTo>
                    <a:pt x="27" y="435077"/>
                  </a:lnTo>
                  <a:lnTo>
                    <a:pt x="217566" y="435077"/>
                  </a:lnTo>
                  <a:close/>
                </a:path>
              </a:pathLst>
            </a:custGeom>
            <a:grpFill/>
            <a:ln w="27192" cap="flat">
              <a:noFill/>
              <a:prstDash val="solid"/>
              <a:miter/>
            </a:ln>
          </p:spPr>
          <p:txBody>
            <a:bodyPr rtlCol="0" anchor="ctr"/>
            <a:lstStyle/>
            <a:p>
              <a:endParaRPr lang="uk-UA" sz="900"/>
            </a:p>
          </p:txBody>
        </p:sp>
        <p:sp>
          <p:nvSpPr>
            <p:cNvPr id="764" name="Freeform: Shape 763">
              <a:extLst>
                <a:ext uri="{FF2B5EF4-FFF2-40B4-BE49-F238E27FC236}">
                  <a16:creationId xmlns:a16="http://schemas.microsoft.com/office/drawing/2014/main" id="{696159CD-2D98-3461-7E5D-92D5F693943C}"/>
                </a:ext>
              </a:extLst>
            </p:cNvPr>
            <p:cNvSpPr/>
            <p:nvPr/>
          </p:nvSpPr>
          <p:spPr>
            <a:xfrm>
              <a:off x="2576106" y="8930148"/>
              <a:ext cx="435077" cy="435077"/>
            </a:xfrm>
            <a:custGeom>
              <a:avLst/>
              <a:gdLst>
                <a:gd name="connsiteX0" fmla="*/ 371366 w 435077"/>
                <a:gd name="connsiteY0" fmla="*/ 63739 h 435077"/>
                <a:gd name="connsiteX1" fmla="*/ 435077 w 435077"/>
                <a:gd name="connsiteY1" fmla="*/ 217539 h 435077"/>
                <a:gd name="connsiteX2" fmla="*/ 217702 w 435077"/>
                <a:gd name="connsiteY2" fmla="*/ 217539 h 435077"/>
                <a:gd name="connsiteX3" fmla="*/ 371366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6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39"/>
                  </a:moveTo>
                  <a:cubicBezTo>
                    <a:pt x="412154" y="104527"/>
                    <a:pt x="435077" y="159864"/>
                    <a:pt x="435077" y="217539"/>
                  </a:cubicBezTo>
                  <a:lnTo>
                    <a:pt x="217702" y="217539"/>
                  </a:lnTo>
                  <a:cubicBezTo>
                    <a:pt x="275350" y="217593"/>
                    <a:pt x="330605" y="240516"/>
                    <a:pt x="371366" y="281277"/>
                  </a:cubicBezTo>
                  <a:cubicBezTo>
                    <a:pt x="412154" y="322066"/>
                    <a:pt x="435077" y="377402"/>
                    <a:pt x="435077" y="435077"/>
                  </a:cubicBezTo>
                  <a:lnTo>
                    <a:pt x="217539" y="435077"/>
                  </a:lnTo>
                  <a:lnTo>
                    <a:pt x="0" y="435077"/>
                  </a:lnTo>
                  <a:cubicBezTo>
                    <a:pt x="0" y="377402"/>
                    <a:pt x="22923" y="322066"/>
                    <a:pt x="63712" y="281277"/>
                  </a:cubicBezTo>
                  <a:cubicBezTo>
                    <a:pt x="104473" y="240516"/>
                    <a:pt x="159728" y="217593"/>
                    <a:pt x="217376" y="217539"/>
                  </a:cubicBezTo>
                  <a:lnTo>
                    <a:pt x="0" y="217539"/>
                  </a:lnTo>
                  <a:cubicBezTo>
                    <a:pt x="0" y="159864"/>
                    <a:pt x="22923" y="104527"/>
                    <a:pt x="63712" y="63739"/>
                  </a:cubicBezTo>
                  <a:cubicBezTo>
                    <a:pt x="104500" y="22923"/>
                    <a:pt x="159837" y="0"/>
                    <a:pt x="217539" y="0"/>
                  </a:cubicBezTo>
                  <a:cubicBezTo>
                    <a:pt x="275214" y="0"/>
                    <a:pt x="330550" y="22923"/>
                    <a:pt x="371366" y="63739"/>
                  </a:cubicBezTo>
                  <a:close/>
                </a:path>
              </a:pathLst>
            </a:custGeom>
            <a:grpFill/>
            <a:ln w="27192" cap="flat">
              <a:noFill/>
              <a:prstDash val="solid"/>
              <a:miter/>
            </a:ln>
          </p:spPr>
          <p:txBody>
            <a:bodyPr rtlCol="0" anchor="ctr"/>
            <a:lstStyle/>
            <a:p>
              <a:endParaRPr lang="uk-UA" sz="900"/>
            </a:p>
          </p:txBody>
        </p:sp>
        <p:sp>
          <p:nvSpPr>
            <p:cNvPr id="765" name="Freeform: Shape 764">
              <a:extLst>
                <a:ext uri="{FF2B5EF4-FFF2-40B4-BE49-F238E27FC236}">
                  <a16:creationId xmlns:a16="http://schemas.microsoft.com/office/drawing/2014/main" id="{83CD2A89-6681-8724-85F4-B5C9AC948C30}"/>
                </a:ext>
              </a:extLst>
            </p:cNvPr>
            <p:cNvSpPr/>
            <p:nvPr/>
          </p:nvSpPr>
          <p:spPr>
            <a:xfrm>
              <a:off x="4316442" y="8930148"/>
              <a:ext cx="435050" cy="435104"/>
            </a:xfrm>
            <a:custGeom>
              <a:avLst/>
              <a:gdLst>
                <a:gd name="connsiteX0" fmla="*/ 0 w 435050"/>
                <a:gd name="connsiteY0" fmla="*/ 435077 h 435104"/>
                <a:gd name="connsiteX1" fmla="*/ 217512 w 435050"/>
                <a:gd name="connsiteY1" fmla="*/ 435077 h 435104"/>
                <a:gd name="connsiteX2" fmla="*/ 217512 w 435050"/>
                <a:gd name="connsiteY2" fmla="*/ 217566 h 435104"/>
                <a:gd name="connsiteX3" fmla="*/ 0 w 435050"/>
                <a:gd name="connsiteY3" fmla="*/ 435077 h 435104"/>
                <a:gd name="connsiteX4" fmla="*/ 217512 w 435050"/>
                <a:gd name="connsiteY4" fmla="*/ 0 h 435104"/>
                <a:gd name="connsiteX5" fmla="*/ 0 w 435050"/>
                <a:gd name="connsiteY5" fmla="*/ 0 h 435104"/>
                <a:gd name="connsiteX6" fmla="*/ 217512 w 435050"/>
                <a:gd name="connsiteY6" fmla="*/ 217539 h 435104"/>
                <a:gd name="connsiteX7" fmla="*/ 217512 w 435050"/>
                <a:gd name="connsiteY7" fmla="*/ 0 h 435104"/>
                <a:gd name="connsiteX8" fmla="*/ 435051 w 435050"/>
                <a:gd name="connsiteY8" fmla="*/ 435105 h 435104"/>
                <a:gd name="connsiteX9" fmla="*/ 217539 w 435050"/>
                <a:gd name="connsiteY9" fmla="*/ 435105 h 435104"/>
                <a:gd name="connsiteX10" fmla="*/ 435051 w 435050"/>
                <a:gd name="connsiteY10" fmla="*/ 217566 h 435104"/>
                <a:gd name="connsiteX11" fmla="*/ 435051 w 435050"/>
                <a:gd name="connsiteY11" fmla="*/ 435105 h 435104"/>
                <a:gd name="connsiteX12" fmla="*/ 435051 w 435050"/>
                <a:gd name="connsiteY12" fmla="*/ 27 h 435104"/>
                <a:gd name="connsiteX13" fmla="*/ 217539 w 435050"/>
                <a:gd name="connsiteY13" fmla="*/ 27 h 435104"/>
                <a:gd name="connsiteX14" fmla="*/ 435051 w 435050"/>
                <a:gd name="connsiteY14" fmla="*/ 217539 h 435104"/>
                <a:gd name="connsiteX15" fmla="*/ 435051 w 435050"/>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50" h="435104">
                  <a:moveTo>
                    <a:pt x="0" y="435077"/>
                  </a:moveTo>
                  <a:lnTo>
                    <a:pt x="217512" y="435077"/>
                  </a:lnTo>
                  <a:lnTo>
                    <a:pt x="217512" y="217566"/>
                  </a:lnTo>
                  <a:lnTo>
                    <a:pt x="0" y="435077"/>
                  </a:lnTo>
                  <a:close/>
                  <a:moveTo>
                    <a:pt x="217512" y="0"/>
                  </a:moveTo>
                  <a:lnTo>
                    <a:pt x="0" y="0"/>
                  </a:lnTo>
                  <a:lnTo>
                    <a:pt x="217512" y="217539"/>
                  </a:lnTo>
                  <a:lnTo>
                    <a:pt x="217512" y="0"/>
                  </a:lnTo>
                  <a:close/>
                  <a:moveTo>
                    <a:pt x="435051" y="435105"/>
                  </a:moveTo>
                  <a:lnTo>
                    <a:pt x="217539" y="435105"/>
                  </a:lnTo>
                  <a:lnTo>
                    <a:pt x="435051" y="217566"/>
                  </a:lnTo>
                  <a:lnTo>
                    <a:pt x="435051" y="435105"/>
                  </a:lnTo>
                  <a:close/>
                  <a:moveTo>
                    <a:pt x="435051" y="27"/>
                  </a:moveTo>
                  <a:lnTo>
                    <a:pt x="217539" y="27"/>
                  </a:lnTo>
                  <a:lnTo>
                    <a:pt x="435051" y="217539"/>
                  </a:lnTo>
                  <a:lnTo>
                    <a:pt x="435051" y="27"/>
                  </a:lnTo>
                  <a:close/>
                </a:path>
              </a:pathLst>
            </a:custGeom>
            <a:grpFill/>
            <a:ln w="27192" cap="flat">
              <a:noFill/>
              <a:prstDash val="solid"/>
              <a:miter/>
            </a:ln>
          </p:spPr>
          <p:txBody>
            <a:bodyPr rtlCol="0" anchor="ctr"/>
            <a:lstStyle/>
            <a:p>
              <a:endParaRPr lang="uk-UA" sz="900"/>
            </a:p>
          </p:txBody>
        </p:sp>
        <p:sp>
          <p:nvSpPr>
            <p:cNvPr id="766" name="Freeform: Shape 765">
              <a:extLst>
                <a:ext uri="{FF2B5EF4-FFF2-40B4-BE49-F238E27FC236}">
                  <a16:creationId xmlns:a16="http://schemas.microsoft.com/office/drawing/2014/main" id="{5E5DF38E-801E-BA7F-89E3-B3216C111BFD}"/>
                </a:ext>
              </a:extLst>
            </p:cNvPr>
            <p:cNvSpPr/>
            <p:nvPr/>
          </p:nvSpPr>
          <p:spPr>
            <a:xfrm>
              <a:off x="3446261" y="893014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767" name="Freeform: Shape 766">
              <a:extLst>
                <a:ext uri="{FF2B5EF4-FFF2-40B4-BE49-F238E27FC236}">
                  <a16:creationId xmlns:a16="http://schemas.microsoft.com/office/drawing/2014/main" id="{A5B324E1-1172-F2EF-29B5-DF864F102F95}"/>
                </a:ext>
              </a:extLst>
            </p:cNvPr>
            <p:cNvSpPr/>
            <p:nvPr/>
          </p:nvSpPr>
          <p:spPr>
            <a:xfrm>
              <a:off x="5186597" y="8930148"/>
              <a:ext cx="435077" cy="435077"/>
            </a:xfrm>
            <a:custGeom>
              <a:avLst/>
              <a:gdLst>
                <a:gd name="connsiteX0" fmla="*/ 217539 w 435077"/>
                <a:gd name="connsiteY0" fmla="*/ 0 h 435077"/>
                <a:gd name="connsiteX1" fmla="*/ 217539 w 435077"/>
                <a:gd name="connsiteY1" fmla="*/ 0 h 435077"/>
                <a:gd name="connsiteX2" fmla="*/ 0 w 435077"/>
                <a:gd name="connsiteY2" fmla="*/ 0 h 435077"/>
                <a:gd name="connsiteX3" fmla="*/ 0 w 435077"/>
                <a:gd name="connsiteY3" fmla="*/ 217539 h 435077"/>
                <a:gd name="connsiteX4" fmla="*/ 217539 w 435077"/>
                <a:gd name="connsiteY4" fmla="*/ 27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217539" y="0"/>
                  </a:lnTo>
                  <a:lnTo>
                    <a:pt x="0" y="0"/>
                  </a:lnTo>
                  <a:lnTo>
                    <a:pt x="0" y="217539"/>
                  </a:lnTo>
                  <a:lnTo>
                    <a:pt x="217539" y="27"/>
                  </a:lnTo>
                  <a:lnTo>
                    <a:pt x="435077" y="217539"/>
                  </a:lnTo>
                  <a:lnTo>
                    <a:pt x="217539" y="435077"/>
                  </a:lnTo>
                  <a:lnTo>
                    <a:pt x="0" y="217539"/>
                  </a:lnTo>
                  <a:lnTo>
                    <a:pt x="0" y="435077"/>
                  </a:lnTo>
                  <a:lnTo>
                    <a:pt x="217539" y="435077"/>
                  </a:lnTo>
                  <a:lnTo>
                    <a:pt x="435077" y="435077"/>
                  </a:lnTo>
                  <a:lnTo>
                    <a:pt x="435077" y="217539"/>
                  </a:lnTo>
                  <a:lnTo>
                    <a:pt x="435077" y="0"/>
                  </a:lnTo>
                  <a:lnTo>
                    <a:pt x="217539" y="0"/>
                  </a:lnTo>
                  <a:close/>
                </a:path>
              </a:pathLst>
            </a:custGeom>
            <a:grpFill/>
            <a:ln w="27192" cap="flat">
              <a:noFill/>
              <a:prstDash val="solid"/>
              <a:miter/>
            </a:ln>
          </p:spPr>
          <p:txBody>
            <a:bodyPr rtlCol="0" anchor="ctr"/>
            <a:lstStyle/>
            <a:p>
              <a:endParaRPr lang="uk-UA" sz="900"/>
            </a:p>
          </p:txBody>
        </p:sp>
        <p:sp>
          <p:nvSpPr>
            <p:cNvPr id="768" name="Freeform: Shape 767">
              <a:extLst>
                <a:ext uri="{FF2B5EF4-FFF2-40B4-BE49-F238E27FC236}">
                  <a16:creationId xmlns:a16="http://schemas.microsoft.com/office/drawing/2014/main" id="{18A8AE50-20E9-4029-B228-B725F665112D}"/>
                </a:ext>
              </a:extLst>
            </p:cNvPr>
            <p:cNvSpPr/>
            <p:nvPr/>
          </p:nvSpPr>
          <p:spPr>
            <a:xfrm>
              <a:off x="6056752" y="8930148"/>
              <a:ext cx="435077" cy="435077"/>
            </a:xfrm>
            <a:custGeom>
              <a:avLst/>
              <a:gdLst>
                <a:gd name="connsiteX0" fmla="*/ 371366 w 435077"/>
                <a:gd name="connsiteY0" fmla="*/ 63739 h 435077"/>
                <a:gd name="connsiteX1" fmla="*/ 435077 w 435077"/>
                <a:gd name="connsiteY1" fmla="*/ 217539 h 435077"/>
                <a:gd name="connsiteX2" fmla="*/ 217702 w 435077"/>
                <a:gd name="connsiteY2" fmla="*/ 217539 h 435077"/>
                <a:gd name="connsiteX3" fmla="*/ 371366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6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39"/>
                  </a:moveTo>
                  <a:cubicBezTo>
                    <a:pt x="412155" y="104527"/>
                    <a:pt x="435077" y="159864"/>
                    <a:pt x="435077" y="217539"/>
                  </a:cubicBezTo>
                  <a:lnTo>
                    <a:pt x="217702" y="217539"/>
                  </a:lnTo>
                  <a:cubicBezTo>
                    <a:pt x="275350" y="217593"/>
                    <a:pt x="330605" y="240516"/>
                    <a:pt x="371366" y="281277"/>
                  </a:cubicBezTo>
                  <a:cubicBezTo>
                    <a:pt x="412155" y="322066"/>
                    <a:pt x="435077" y="377402"/>
                    <a:pt x="435077" y="435077"/>
                  </a:cubicBezTo>
                  <a:lnTo>
                    <a:pt x="217539" y="435077"/>
                  </a:lnTo>
                  <a:lnTo>
                    <a:pt x="0" y="435077"/>
                  </a:lnTo>
                  <a:cubicBezTo>
                    <a:pt x="0" y="377402"/>
                    <a:pt x="22924" y="322066"/>
                    <a:pt x="63712" y="281277"/>
                  </a:cubicBezTo>
                  <a:cubicBezTo>
                    <a:pt x="104473" y="240516"/>
                    <a:pt x="159728" y="217593"/>
                    <a:pt x="217376" y="217539"/>
                  </a:cubicBezTo>
                  <a:lnTo>
                    <a:pt x="0" y="217539"/>
                  </a:lnTo>
                  <a:cubicBezTo>
                    <a:pt x="0" y="159864"/>
                    <a:pt x="22924" y="104527"/>
                    <a:pt x="63712" y="63739"/>
                  </a:cubicBezTo>
                  <a:cubicBezTo>
                    <a:pt x="104501" y="22923"/>
                    <a:pt x="159837" y="0"/>
                    <a:pt x="217539" y="0"/>
                  </a:cubicBezTo>
                  <a:cubicBezTo>
                    <a:pt x="275241" y="0"/>
                    <a:pt x="330550" y="22923"/>
                    <a:pt x="371366" y="63739"/>
                  </a:cubicBezTo>
                  <a:close/>
                </a:path>
              </a:pathLst>
            </a:custGeom>
            <a:grpFill/>
            <a:ln w="27192" cap="flat">
              <a:noFill/>
              <a:prstDash val="solid"/>
              <a:miter/>
            </a:ln>
          </p:spPr>
          <p:txBody>
            <a:bodyPr rtlCol="0" anchor="ctr"/>
            <a:lstStyle/>
            <a:p>
              <a:endParaRPr lang="uk-UA" sz="900"/>
            </a:p>
          </p:txBody>
        </p:sp>
        <p:sp>
          <p:nvSpPr>
            <p:cNvPr id="769" name="Freeform: Shape 768">
              <a:extLst>
                <a:ext uri="{FF2B5EF4-FFF2-40B4-BE49-F238E27FC236}">
                  <a16:creationId xmlns:a16="http://schemas.microsoft.com/office/drawing/2014/main" id="{D62CB5A1-3DDC-858D-636C-D7DFD458A22D}"/>
                </a:ext>
              </a:extLst>
            </p:cNvPr>
            <p:cNvSpPr/>
            <p:nvPr/>
          </p:nvSpPr>
          <p:spPr>
            <a:xfrm>
              <a:off x="7797089" y="8930148"/>
              <a:ext cx="435050" cy="435104"/>
            </a:xfrm>
            <a:custGeom>
              <a:avLst/>
              <a:gdLst>
                <a:gd name="connsiteX0" fmla="*/ 0 w 435050"/>
                <a:gd name="connsiteY0" fmla="*/ 435077 h 435104"/>
                <a:gd name="connsiteX1" fmla="*/ 217511 w 435050"/>
                <a:gd name="connsiteY1" fmla="*/ 435077 h 435104"/>
                <a:gd name="connsiteX2" fmla="*/ 217511 w 435050"/>
                <a:gd name="connsiteY2" fmla="*/ 217566 h 435104"/>
                <a:gd name="connsiteX3" fmla="*/ 0 w 435050"/>
                <a:gd name="connsiteY3" fmla="*/ 435077 h 435104"/>
                <a:gd name="connsiteX4" fmla="*/ 217511 w 435050"/>
                <a:gd name="connsiteY4" fmla="*/ 0 h 435104"/>
                <a:gd name="connsiteX5" fmla="*/ 0 w 435050"/>
                <a:gd name="connsiteY5" fmla="*/ 0 h 435104"/>
                <a:gd name="connsiteX6" fmla="*/ 217511 w 435050"/>
                <a:gd name="connsiteY6" fmla="*/ 217539 h 435104"/>
                <a:gd name="connsiteX7" fmla="*/ 217511 w 435050"/>
                <a:gd name="connsiteY7" fmla="*/ 0 h 435104"/>
                <a:gd name="connsiteX8" fmla="*/ 435050 w 435050"/>
                <a:gd name="connsiteY8" fmla="*/ 435105 h 435104"/>
                <a:gd name="connsiteX9" fmla="*/ 217539 w 435050"/>
                <a:gd name="connsiteY9" fmla="*/ 435105 h 435104"/>
                <a:gd name="connsiteX10" fmla="*/ 435050 w 435050"/>
                <a:gd name="connsiteY10" fmla="*/ 217566 h 435104"/>
                <a:gd name="connsiteX11" fmla="*/ 435050 w 435050"/>
                <a:gd name="connsiteY11" fmla="*/ 435105 h 435104"/>
                <a:gd name="connsiteX12" fmla="*/ 435050 w 435050"/>
                <a:gd name="connsiteY12" fmla="*/ 27 h 435104"/>
                <a:gd name="connsiteX13" fmla="*/ 217539 w 435050"/>
                <a:gd name="connsiteY13" fmla="*/ 27 h 435104"/>
                <a:gd name="connsiteX14" fmla="*/ 435050 w 435050"/>
                <a:gd name="connsiteY14" fmla="*/ 217539 h 435104"/>
                <a:gd name="connsiteX15" fmla="*/ 435050 w 435050"/>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50" h="435104">
                  <a:moveTo>
                    <a:pt x="0" y="435077"/>
                  </a:moveTo>
                  <a:lnTo>
                    <a:pt x="217511" y="435077"/>
                  </a:lnTo>
                  <a:lnTo>
                    <a:pt x="217511" y="217566"/>
                  </a:lnTo>
                  <a:lnTo>
                    <a:pt x="0" y="435077"/>
                  </a:lnTo>
                  <a:close/>
                  <a:moveTo>
                    <a:pt x="217511" y="0"/>
                  </a:moveTo>
                  <a:lnTo>
                    <a:pt x="0" y="0"/>
                  </a:lnTo>
                  <a:lnTo>
                    <a:pt x="217511" y="217539"/>
                  </a:lnTo>
                  <a:lnTo>
                    <a:pt x="217511" y="0"/>
                  </a:lnTo>
                  <a:close/>
                  <a:moveTo>
                    <a:pt x="435050" y="435105"/>
                  </a:moveTo>
                  <a:lnTo>
                    <a:pt x="217539" y="435105"/>
                  </a:lnTo>
                  <a:lnTo>
                    <a:pt x="435050" y="217566"/>
                  </a:lnTo>
                  <a:lnTo>
                    <a:pt x="435050" y="435105"/>
                  </a:lnTo>
                  <a:close/>
                  <a:moveTo>
                    <a:pt x="435050" y="27"/>
                  </a:moveTo>
                  <a:lnTo>
                    <a:pt x="217539" y="27"/>
                  </a:lnTo>
                  <a:lnTo>
                    <a:pt x="435050" y="217539"/>
                  </a:lnTo>
                  <a:lnTo>
                    <a:pt x="435050" y="27"/>
                  </a:lnTo>
                  <a:close/>
                </a:path>
              </a:pathLst>
            </a:custGeom>
            <a:grpFill/>
            <a:ln w="27192" cap="flat">
              <a:noFill/>
              <a:prstDash val="solid"/>
              <a:miter/>
            </a:ln>
          </p:spPr>
          <p:txBody>
            <a:bodyPr rtlCol="0" anchor="ctr"/>
            <a:lstStyle/>
            <a:p>
              <a:endParaRPr lang="uk-UA" sz="900"/>
            </a:p>
          </p:txBody>
        </p:sp>
        <p:sp>
          <p:nvSpPr>
            <p:cNvPr id="770" name="Freeform: Shape 769">
              <a:extLst>
                <a:ext uri="{FF2B5EF4-FFF2-40B4-BE49-F238E27FC236}">
                  <a16:creationId xmlns:a16="http://schemas.microsoft.com/office/drawing/2014/main" id="{B337CD03-1479-A170-A740-1405AA59C2C1}"/>
                </a:ext>
              </a:extLst>
            </p:cNvPr>
            <p:cNvSpPr/>
            <p:nvPr/>
          </p:nvSpPr>
          <p:spPr>
            <a:xfrm>
              <a:off x="6926907" y="8930148"/>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27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66 h 435077"/>
                <a:gd name="connsiteX9" fmla="*/ 435077 w 435077"/>
                <a:gd name="connsiteY9" fmla="*/ 217566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27"/>
                  </a:lnTo>
                  <a:lnTo>
                    <a:pt x="435077" y="217539"/>
                  </a:lnTo>
                  <a:lnTo>
                    <a:pt x="435077" y="217539"/>
                  </a:lnTo>
                  <a:lnTo>
                    <a:pt x="435077" y="217539"/>
                  </a:lnTo>
                  <a:lnTo>
                    <a:pt x="435077" y="217566"/>
                  </a:lnTo>
                  <a:lnTo>
                    <a:pt x="435077" y="217566"/>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771" name="Freeform: Shape 770">
              <a:extLst>
                <a:ext uri="{FF2B5EF4-FFF2-40B4-BE49-F238E27FC236}">
                  <a16:creationId xmlns:a16="http://schemas.microsoft.com/office/drawing/2014/main" id="{2B4F322A-8EE5-89F7-6068-36E2C1226F34}"/>
                </a:ext>
              </a:extLst>
            </p:cNvPr>
            <p:cNvSpPr/>
            <p:nvPr/>
          </p:nvSpPr>
          <p:spPr>
            <a:xfrm>
              <a:off x="8667217" y="893014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p>
          </p:txBody>
        </p:sp>
        <p:sp>
          <p:nvSpPr>
            <p:cNvPr id="772" name="Freeform: Shape 771">
              <a:extLst>
                <a:ext uri="{FF2B5EF4-FFF2-40B4-BE49-F238E27FC236}">
                  <a16:creationId xmlns:a16="http://schemas.microsoft.com/office/drawing/2014/main" id="{81E318D3-8645-332A-0E98-DDC6C6AF23CD}"/>
                </a:ext>
              </a:extLst>
            </p:cNvPr>
            <p:cNvSpPr/>
            <p:nvPr/>
          </p:nvSpPr>
          <p:spPr>
            <a:xfrm>
              <a:off x="9537399" y="8930148"/>
              <a:ext cx="435077" cy="435077"/>
            </a:xfrm>
            <a:custGeom>
              <a:avLst/>
              <a:gdLst>
                <a:gd name="connsiteX0" fmla="*/ 371366 w 435077"/>
                <a:gd name="connsiteY0" fmla="*/ 63739 h 435077"/>
                <a:gd name="connsiteX1" fmla="*/ 435077 w 435077"/>
                <a:gd name="connsiteY1" fmla="*/ 217539 h 435077"/>
                <a:gd name="connsiteX2" fmla="*/ 217702 w 435077"/>
                <a:gd name="connsiteY2" fmla="*/ 217539 h 435077"/>
                <a:gd name="connsiteX3" fmla="*/ 371366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1 w 435077"/>
                <a:gd name="connsiteY7" fmla="*/ 281277 h 435077"/>
                <a:gd name="connsiteX8" fmla="*/ 217375 w 435077"/>
                <a:gd name="connsiteY8" fmla="*/ 217539 h 435077"/>
                <a:gd name="connsiteX9" fmla="*/ 0 w 435077"/>
                <a:gd name="connsiteY9" fmla="*/ 217539 h 435077"/>
                <a:gd name="connsiteX10" fmla="*/ 63711 w 435077"/>
                <a:gd name="connsiteY10" fmla="*/ 63739 h 435077"/>
                <a:gd name="connsiteX11" fmla="*/ 217539 w 435077"/>
                <a:gd name="connsiteY11" fmla="*/ 0 h 435077"/>
                <a:gd name="connsiteX12" fmla="*/ 371366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39"/>
                  </a:moveTo>
                  <a:cubicBezTo>
                    <a:pt x="412155" y="104527"/>
                    <a:pt x="435077" y="159864"/>
                    <a:pt x="435077" y="217539"/>
                  </a:cubicBezTo>
                  <a:lnTo>
                    <a:pt x="217702" y="217539"/>
                  </a:lnTo>
                  <a:cubicBezTo>
                    <a:pt x="275322" y="217593"/>
                    <a:pt x="330604" y="240516"/>
                    <a:pt x="371366" y="281277"/>
                  </a:cubicBezTo>
                  <a:cubicBezTo>
                    <a:pt x="412155" y="322066"/>
                    <a:pt x="435077" y="377402"/>
                    <a:pt x="435077" y="435077"/>
                  </a:cubicBezTo>
                  <a:lnTo>
                    <a:pt x="217539" y="435077"/>
                  </a:lnTo>
                  <a:lnTo>
                    <a:pt x="0" y="435077"/>
                  </a:lnTo>
                  <a:cubicBezTo>
                    <a:pt x="0" y="377402"/>
                    <a:pt x="22923" y="322066"/>
                    <a:pt x="63711" y="281277"/>
                  </a:cubicBezTo>
                  <a:cubicBezTo>
                    <a:pt x="104473" y="240516"/>
                    <a:pt x="159728" y="217593"/>
                    <a:pt x="217375" y="217539"/>
                  </a:cubicBezTo>
                  <a:lnTo>
                    <a:pt x="0" y="217539"/>
                  </a:lnTo>
                  <a:cubicBezTo>
                    <a:pt x="0" y="159864"/>
                    <a:pt x="22923" y="104527"/>
                    <a:pt x="63711" y="63739"/>
                  </a:cubicBezTo>
                  <a:cubicBezTo>
                    <a:pt x="104500" y="22923"/>
                    <a:pt x="159836" y="0"/>
                    <a:pt x="217539" y="0"/>
                  </a:cubicBezTo>
                  <a:cubicBezTo>
                    <a:pt x="275214" y="0"/>
                    <a:pt x="330550" y="22923"/>
                    <a:pt x="371366" y="63739"/>
                  </a:cubicBezTo>
                  <a:close/>
                </a:path>
              </a:pathLst>
            </a:custGeom>
            <a:grpFill/>
            <a:ln w="27192" cap="flat">
              <a:noFill/>
              <a:prstDash val="solid"/>
              <a:miter/>
            </a:ln>
          </p:spPr>
          <p:txBody>
            <a:bodyPr rtlCol="0" anchor="ctr"/>
            <a:lstStyle/>
            <a:p>
              <a:endParaRPr lang="uk-UA" sz="900"/>
            </a:p>
          </p:txBody>
        </p:sp>
        <p:sp>
          <p:nvSpPr>
            <p:cNvPr id="773" name="Freeform: Shape 772">
              <a:extLst>
                <a:ext uri="{FF2B5EF4-FFF2-40B4-BE49-F238E27FC236}">
                  <a16:creationId xmlns:a16="http://schemas.microsoft.com/office/drawing/2014/main" id="{DCA6007E-45D5-C480-8B6A-D3C2E91C4792}"/>
                </a:ext>
              </a:extLst>
            </p:cNvPr>
            <p:cNvSpPr/>
            <p:nvPr/>
          </p:nvSpPr>
          <p:spPr>
            <a:xfrm>
              <a:off x="11277709" y="893014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774" name="Freeform: Shape 773">
              <a:extLst>
                <a:ext uri="{FF2B5EF4-FFF2-40B4-BE49-F238E27FC236}">
                  <a16:creationId xmlns:a16="http://schemas.microsoft.com/office/drawing/2014/main" id="{EC19E06C-8FC7-816F-257E-316B76106D64}"/>
                </a:ext>
              </a:extLst>
            </p:cNvPr>
            <p:cNvSpPr/>
            <p:nvPr/>
          </p:nvSpPr>
          <p:spPr>
            <a:xfrm>
              <a:off x="10407554" y="8930148"/>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27 h 435077"/>
                <a:gd name="connsiteX5" fmla="*/ 435050 w 435077"/>
                <a:gd name="connsiteY5" fmla="*/ 217539 h 435077"/>
                <a:gd name="connsiteX6" fmla="*/ 435077 w 435077"/>
                <a:gd name="connsiteY6" fmla="*/ 217539 h 435077"/>
                <a:gd name="connsiteX7" fmla="*/ 435050 w 435077"/>
                <a:gd name="connsiteY7" fmla="*/ 217539 h 435077"/>
                <a:gd name="connsiteX8" fmla="*/ 435077 w 435077"/>
                <a:gd name="connsiteY8" fmla="*/ 217566 h 435077"/>
                <a:gd name="connsiteX9" fmla="*/ 435050 w 435077"/>
                <a:gd name="connsiteY9" fmla="*/ 217566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27"/>
                  </a:lnTo>
                  <a:lnTo>
                    <a:pt x="435050" y="217539"/>
                  </a:lnTo>
                  <a:lnTo>
                    <a:pt x="435077" y="217539"/>
                  </a:lnTo>
                  <a:lnTo>
                    <a:pt x="435050" y="217539"/>
                  </a:lnTo>
                  <a:lnTo>
                    <a:pt x="435077" y="217566"/>
                  </a:lnTo>
                  <a:lnTo>
                    <a:pt x="435050" y="217566"/>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775" name="Freeform: Shape 774">
              <a:extLst>
                <a:ext uri="{FF2B5EF4-FFF2-40B4-BE49-F238E27FC236}">
                  <a16:creationId xmlns:a16="http://schemas.microsoft.com/office/drawing/2014/main" id="{9523743E-8E9B-6006-F0DE-E6DAEA938CBE}"/>
                </a:ext>
              </a:extLst>
            </p:cNvPr>
            <p:cNvSpPr/>
            <p:nvPr/>
          </p:nvSpPr>
          <p:spPr>
            <a:xfrm>
              <a:off x="12147864" y="8930148"/>
              <a:ext cx="435103" cy="435077"/>
            </a:xfrm>
            <a:custGeom>
              <a:avLst/>
              <a:gdLst>
                <a:gd name="connsiteX0" fmla="*/ 217539 w 435103"/>
                <a:gd name="connsiteY0" fmla="*/ 0 h 435077"/>
                <a:gd name="connsiteX1" fmla="*/ 0 w 435103"/>
                <a:gd name="connsiteY1" fmla="*/ 0 h 435077"/>
                <a:gd name="connsiteX2" fmla="*/ 0 w 435103"/>
                <a:gd name="connsiteY2" fmla="*/ 217539 h 435077"/>
                <a:gd name="connsiteX3" fmla="*/ 217539 w 435103"/>
                <a:gd name="connsiteY3" fmla="*/ 0 h 435077"/>
                <a:gd name="connsiteX4" fmla="*/ 435104 w 435103"/>
                <a:gd name="connsiteY4" fmla="*/ 27 h 435077"/>
                <a:gd name="connsiteX5" fmla="*/ 435104 w 435103"/>
                <a:gd name="connsiteY5" fmla="*/ 217566 h 435077"/>
                <a:gd name="connsiteX6" fmla="*/ 217565 w 435103"/>
                <a:gd name="connsiteY6" fmla="*/ 27 h 435077"/>
                <a:gd name="connsiteX7" fmla="*/ 435104 w 435103"/>
                <a:gd name="connsiteY7" fmla="*/ 27 h 435077"/>
                <a:gd name="connsiteX8" fmla="*/ 217565 w 435103"/>
                <a:gd name="connsiteY8" fmla="*/ 435077 h 435077"/>
                <a:gd name="connsiteX9" fmla="*/ 435104 w 435103"/>
                <a:gd name="connsiteY9" fmla="*/ 217566 h 435077"/>
                <a:gd name="connsiteX10" fmla="*/ 435104 w 435103"/>
                <a:gd name="connsiteY10" fmla="*/ 435077 h 435077"/>
                <a:gd name="connsiteX11" fmla="*/ 217565 w 435103"/>
                <a:gd name="connsiteY11" fmla="*/ 435077 h 435077"/>
                <a:gd name="connsiteX12" fmla="*/ 217565 w 435103"/>
                <a:gd name="connsiteY12" fmla="*/ 435077 h 435077"/>
                <a:gd name="connsiteX13" fmla="*/ 27 w 435103"/>
                <a:gd name="connsiteY13" fmla="*/ 217566 h 435077"/>
                <a:gd name="connsiteX14" fmla="*/ 27 w 435103"/>
                <a:gd name="connsiteY14" fmla="*/ 435077 h 435077"/>
                <a:gd name="connsiteX15" fmla="*/ 217565 w 435103"/>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3" h="435077">
                  <a:moveTo>
                    <a:pt x="217539" y="0"/>
                  </a:moveTo>
                  <a:lnTo>
                    <a:pt x="0" y="0"/>
                  </a:lnTo>
                  <a:lnTo>
                    <a:pt x="0" y="217539"/>
                  </a:lnTo>
                  <a:lnTo>
                    <a:pt x="217539" y="0"/>
                  </a:lnTo>
                  <a:close/>
                  <a:moveTo>
                    <a:pt x="435104" y="27"/>
                  </a:moveTo>
                  <a:lnTo>
                    <a:pt x="435104" y="217566"/>
                  </a:lnTo>
                  <a:lnTo>
                    <a:pt x="217565" y="27"/>
                  </a:lnTo>
                  <a:lnTo>
                    <a:pt x="435104" y="27"/>
                  </a:lnTo>
                  <a:close/>
                  <a:moveTo>
                    <a:pt x="217565" y="435077"/>
                  </a:moveTo>
                  <a:lnTo>
                    <a:pt x="435104" y="217566"/>
                  </a:lnTo>
                  <a:lnTo>
                    <a:pt x="435104" y="435077"/>
                  </a:lnTo>
                  <a:lnTo>
                    <a:pt x="217565" y="435077"/>
                  </a:lnTo>
                  <a:close/>
                  <a:moveTo>
                    <a:pt x="217565" y="435077"/>
                  </a:moveTo>
                  <a:lnTo>
                    <a:pt x="27" y="217566"/>
                  </a:lnTo>
                  <a:lnTo>
                    <a:pt x="27" y="435077"/>
                  </a:lnTo>
                  <a:lnTo>
                    <a:pt x="217565" y="435077"/>
                  </a:lnTo>
                  <a:close/>
                </a:path>
              </a:pathLst>
            </a:custGeom>
            <a:grpFill/>
            <a:ln w="27192" cap="flat">
              <a:noFill/>
              <a:prstDash val="solid"/>
              <a:miter/>
            </a:ln>
          </p:spPr>
          <p:txBody>
            <a:bodyPr rtlCol="0" anchor="ctr"/>
            <a:lstStyle/>
            <a:p>
              <a:endParaRPr lang="uk-UA" sz="900"/>
            </a:p>
          </p:txBody>
        </p:sp>
        <p:sp>
          <p:nvSpPr>
            <p:cNvPr id="776" name="Freeform: Shape 775">
              <a:extLst>
                <a:ext uri="{FF2B5EF4-FFF2-40B4-BE49-F238E27FC236}">
                  <a16:creationId xmlns:a16="http://schemas.microsoft.com/office/drawing/2014/main" id="{5DB3E7EC-CBD7-C3A0-571B-289587A556B2}"/>
                </a:ext>
              </a:extLst>
            </p:cNvPr>
            <p:cNvSpPr/>
            <p:nvPr/>
          </p:nvSpPr>
          <p:spPr>
            <a:xfrm>
              <a:off x="13018045" y="8930148"/>
              <a:ext cx="435077" cy="435077"/>
            </a:xfrm>
            <a:custGeom>
              <a:avLst/>
              <a:gdLst>
                <a:gd name="connsiteX0" fmla="*/ 371365 w 435077"/>
                <a:gd name="connsiteY0" fmla="*/ 63739 h 435077"/>
                <a:gd name="connsiteX1" fmla="*/ 435077 w 435077"/>
                <a:gd name="connsiteY1" fmla="*/ 217539 h 435077"/>
                <a:gd name="connsiteX2" fmla="*/ 217701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5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39"/>
                  </a:moveTo>
                  <a:cubicBezTo>
                    <a:pt x="412154" y="104527"/>
                    <a:pt x="435077" y="159864"/>
                    <a:pt x="435077" y="217539"/>
                  </a:cubicBezTo>
                  <a:lnTo>
                    <a:pt x="217701" y="217539"/>
                  </a:lnTo>
                  <a:cubicBezTo>
                    <a:pt x="275349" y="217593"/>
                    <a:pt x="330605" y="240516"/>
                    <a:pt x="371365" y="281277"/>
                  </a:cubicBezTo>
                  <a:cubicBezTo>
                    <a:pt x="412154" y="322066"/>
                    <a:pt x="435077" y="377402"/>
                    <a:pt x="435077" y="435077"/>
                  </a:cubicBezTo>
                  <a:lnTo>
                    <a:pt x="217539" y="435077"/>
                  </a:lnTo>
                  <a:lnTo>
                    <a:pt x="0" y="435077"/>
                  </a:lnTo>
                  <a:cubicBezTo>
                    <a:pt x="0" y="377402"/>
                    <a:pt x="22924" y="322066"/>
                    <a:pt x="63712" y="281277"/>
                  </a:cubicBezTo>
                  <a:cubicBezTo>
                    <a:pt x="104472" y="240516"/>
                    <a:pt x="159728" y="217593"/>
                    <a:pt x="217376" y="217539"/>
                  </a:cubicBezTo>
                  <a:lnTo>
                    <a:pt x="0" y="217539"/>
                  </a:lnTo>
                  <a:cubicBezTo>
                    <a:pt x="0" y="159864"/>
                    <a:pt x="22924" y="104527"/>
                    <a:pt x="63712" y="63739"/>
                  </a:cubicBezTo>
                  <a:cubicBezTo>
                    <a:pt x="104501" y="22923"/>
                    <a:pt x="159836" y="0"/>
                    <a:pt x="217539" y="0"/>
                  </a:cubicBezTo>
                  <a:cubicBezTo>
                    <a:pt x="275241" y="0"/>
                    <a:pt x="330550" y="22923"/>
                    <a:pt x="371365" y="63739"/>
                  </a:cubicBezTo>
                  <a:close/>
                </a:path>
              </a:pathLst>
            </a:custGeom>
            <a:grpFill/>
            <a:ln w="27192" cap="flat">
              <a:noFill/>
              <a:prstDash val="solid"/>
              <a:miter/>
            </a:ln>
          </p:spPr>
          <p:txBody>
            <a:bodyPr rtlCol="0" anchor="ctr"/>
            <a:lstStyle/>
            <a:p>
              <a:endParaRPr lang="uk-UA" sz="900"/>
            </a:p>
          </p:txBody>
        </p:sp>
        <p:sp>
          <p:nvSpPr>
            <p:cNvPr id="777" name="Freeform: Shape 776">
              <a:extLst>
                <a:ext uri="{FF2B5EF4-FFF2-40B4-BE49-F238E27FC236}">
                  <a16:creationId xmlns:a16="http://schemas.microsoft.com/office/drawing/2014/main" id="{D5D8E5FC-B6B7-0A86-5AD7-E9059A769493}"/>
                </a:ext>
              </a:extLst>
            </p:cNvPr>
            <p:cNvSpPr/>
            <p:nvPr/>
          </p:nvSpPr>
          <p:spPr>
            <a:xfrm>
              <a:off x="14758382" y="893014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778" name="Freeform: Shape 777">
              <a:extLst>
                <a:ext uri="{FF2B5EF4-FFF2-40B4-BE49-F238E27FC236}">
                  <a16:creationId xmlns:a16="http://schemas.microsoft.com/office/drawing/2014/main" id="{AE070B4A-A5B7-DB4F-85FA-B7E02940C0B9}"/>
                </a:ext>
              </a:extLst>
            </p:cNvPr>
            <p:cNvSpPr/>
            <p:nvPr/>
          </p:nvSpPr>
          <p:spPr>
            <a:xfrm>
              <a:off x="13888174" y="893014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779" name="Freeform: Shape 778">
              <a:extLst>
                <a:ext uri="{FF2B5EF4-FFF2-40B4-BE49-F238E27FC236}">
                  <a16:creationId xmlns:a16="http://schemas.microsoft.com/office/drawing/2014/main" id="{92977C30-D761-FA1B-6690-E9FAA5334D51}"/>
                </a:ext>
              </a:extLst>
            </p:cNvPr>
            <p:cNvSpPr/>
            <p:nvPr/>
          </p:nvSpPr>
          <p:spPr>
            <a:xfrm>
              <a:off x="15628536" y="8930148"/>
              <a:ext cx="435077" cy="435077"/>
            </a:xfrm>
            <a:custGeom>
              <a:avLst/>
              <a:gdLst>
                <a:gd name="connsiteX0" fmla="*/ 217567 w 435077"/>
                <a:gd name="connsiteY0" fmla="*/ 0 h 435077"/>
                <a:gd name="connsiteX1" fmla="*/ 217539 w 435077"/>
                <a:gd name="connsiteY1" fmla="*/ 0 h 435077"/>
                <a:gd name="connsiteX2" fmla="*/ 28 w 435077"/>
                <a:gd name="connsiteY2" fmla="*/ 0 h 435077"/>
                <a:gd name="connsiteX3" fmla="*/ 28 w 435077"/>
                <a:gd name="connsiteY3" fmla="*/ 217539 h 435077"/>
                <a:gd name="connsiteX4" fmla="*/ 217567 w 435077"/>
                <a:gd name="connsiteY4" fmla="*/ 27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67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67" y="0"/>
                  </a:moveTo>
                  <a:lnTo>
                    <a:pt x="217539" y="0"/>
                  </a:lnTo>
                  <a:lnTo>
                    <a:pt x="28" y="0"/>
                  </a:lnTo>
                  <a:lnTo>
                    <a:pt x="28" y="217539"/>
                  </a:lnTo>
                  <a:lnTo>
                    <a:pt x="217567" y="27"/>
                  </a:lnTo>
                  <a:lnTo>
                    <a:pt x="435077" y="217539"/>
                  </a:lnTo>
                  <a:lnTo>
                    <a:pt x="217539" y="435077"/>
                  </a:lnTo>
                  <a:lnTo>
                    <a:pt x="0" y="217539"/>
                  </a:lnTo>
                  <a:lnTo>
                    <a:pt x="0" y="435077"/>
                  </a:lnTo>
                  <a:lnTo>
                    <a:pt x="217539" y="435077"/>
                  </a:lnTo>
                  <a:lnTo>
                    <a:pt x="435077" y="435077"/>
                  </a:lnTo>
                  <a:lnTo>
                    <a:pt x="435077" y="217539"/>
                  </a:lnTo>
                  <a:lnTo>
                    <a:pt x="435077" y="0"/>
                  </a:lnTo>
                  <a:lnTo>
                    <a:pt x="217567" y="0"/>
                  </a:lnTo>
                  <a:close/>
                </a:path>
              </a:pathLst>
            </a:custGeom>
            <a:grpFill/>
            <a:ln w="27192" cap="flat">
              <a:noFill/>
              <a:prstDash val="solid"/>
              <a:miter/>
            </a:ln>
          </p:spPr>
          <p:txBody>
            <a:bodyPr rtlCol="0" anchor="ctr"/>
            <a:lstStyle/>
            <a:p>
              <a:endParaRPr lang="uk-UA" sz="900"/>
            </a:p>
          </p:txBody>
        </p:sp>
        <p:sp>
          <p:nvSpPr>
            <p:cNvPr id="780" name="Freeform: Shape 779">
              <a:extLst>
                <a:ext uri="{FF2B5EF4-FFF2-40B4-BE49-F238E27FC236}">
                  <a16:creationId xmlns:a16="http://schemas.microsoft.com/office/drawing/2014/main" id="{5B51EED3-8BB0-505C-661B-7A32A0B68DD3}"/>
                </a:ext>
              </a:extLst>
            </p:cNvPr>
            <p:cNvSpPr/>
            <p:nvPr/>
          </p:nvSpPr>
          <p:spPr>
            <a:xfrm>
              <a:off x="16498719" y="8930148"/>
              <a:ext cx="435077" cy="435077"/>
            </a:xfrm>
            <a:custGeom>
              <a:avLst/>
              <a:gdLst>
                <a:gd name="connsiteX0" fmla="*/ 371339 w 435077"/>
                <a:gd name="connsiteY0" fmla="*/ 63739 h 435077"/>
                <a:gd name="connsiteX1" fmla="*/ 435077 w 435077"/>
                <a:gd name="connsiteY1" fmla="*/ 217539 h 435077"/>
                <a:gd name="connsiteX2" fmla="*/ 217701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0 w 435077"/>
                <a:gd name="connsiteY7" fmla="*/ 281277 h 435077"/>
                <a:gd name="connsiteX8" fmla="*/ 217374 w 435077"/>
                <a:gd name="connsiteY8" fmla="*/ 217539 h 435077"/>
                <a:gd name="connsiteX9" fmla="*/ 0 w 435077"/>
                <a:gd name="connsiteY9" fmla="*/ 217539 h 435077"/>
                <a:gd name="connsiteX10" fmla="*/ 63710 w 435077"/>
                <a:gd name="connsiteY10" fmla="*/ 63739 h 435077"/>
                <a:gd name="connsiteX11" fmla="*/ 217539 w 435077"/>
                <a:gd name="connsiteY11" fmla="*/ 0 h 435077"/>
                <a:gd name="connsiteX12" fmla="*/ 371339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39"/>
                  </a:moveTo>
                  <a:cubicBezTo>
                    <a:pt x="412154" y="104527"/>
                    <a:pt x="435077" y="159864"/>
                    <a:pt x="435077" y="217539"/>
                  </a:cubicBezTo>
                  <a:lnTo>
                    <a:pt x="217701" y="217539"/>
                  </a:lnTo>
                  <a:cubicBezTo>
                    <a:pt x="275322" y="217593"/>
                    <a:pt x="330603" y="240516"/>
                    <a:pt x="371365" y="281277"/>
                  </a:cubicBezTo>
                  <a:cubicBezTo>
                    <a:pt x="412154" y="322066"/>
                    <a:pt x="435077" y="377402"/>
                    <a:pt x="435077" y="435077"/>
                  </a:cubicBezTo>
                  <a:lnTo>
                    <a:pt x="217539" y="435077"/>
                  </a:lnTo>
                  <a:lnTo>
                    <a:pt x="0" y="435077"/>
                  </a:lnTo>
                  <a:cubicBezTo>
                    <a:pt x="0" y="377402"/>
                    <a:pt x="22922" y="322066"/>
                    <a:pt x="63710" y="281277"/>
                  </a:cubicBezTo>
                  <a:cubicBezTo>
                    <a:pt x="104472" y="240516"/>
                    <a:pt x="159727" y="217593"/>
                    <a:pt x="217374" y="217539"/>
                  </a:cubicBezTo>
                  <a:lnTo>
                    <a:pt x="0" y="217539"/>
                  </a:lnTo>
                  <a:cubicBezTo>
                    <a:pt x="0" y="159864"/>
                    <a:pt x="22895" y="104527"/>
                    <a:pt x="63710" y="63739"/>
                  </a:cubicBezTo>
                  <a:cubicBezTo>
                    <a:pt x="104499" y="22923"/>
                    <a:pt x="159836" y="0"/>
                    <a:pt x="217539" y="0"/>
                  </a:cubicBezTo>
                  <a:cubicBezTo>
                    <a:pt x="275213" y="0"/>
                    <a:pt x="330550" y="22923"/>
                    <a:pt x="371339" y="63739"/>
                  </a:cubicBezTo>
                  <a:close/>
                </a:path>
              </a:pathLst>
            </a:custGeom>
            <a:grpFill/>
            <a:ln w="27192" cap="flat">
              <a:noFill/>
              <a:prstDash val="solid"/>
              <a:miter/>
            </a:ln>
          </p:spPr>
          <p:txBody>
            <a:bodyPr rtlCol="0" anchor="ctr"/>
            <a:lstStyle/>
            <a:p>
              <a:endParaRPr lang="uk-UA" sz="900"/>
            </a:p>
          </p:txBody>
        </p:sp>
        <p:sp>
          <p:nvSpPr>
            <p:cNvPr id="781" name="Freeform: Shape 780">
              <a:extLst>
                <a:ext uri="{FF2B5EF4-FFF2-40B4-BE49-F238E27FC236}">
                  <a16:creationId xmlns:a16="http://schemas.microsoft.com/office/drawing/2014/main" id="{D8B6C944-2612-7140-3623-A963294AF080}"/>
                </a:ext>
              </a:extLst>
            </p:cNvPr>
            <p:cNvSpPr/>
            <p:nvPr/>
          </p:nvSpPr>
          <p:spPr>
            <a:xfrm>
              <a:off x="18239029" y="893014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782" name="Freeform: Shape 781">
              <a:extLst>
                <a:ext uri="{FF2B5EF4-FFF2-40B4-BE49-F238E27FC236}">
                  <a16:creationId xmlns:a16="http://schemas.microsoft.com/office/drawing/2014/main" id="{EBDA66AF-555D-5282-69C0-A6834E23DBFC}"/>
                </a:ext>
              </a:extLst>
            </p:cNvPr>
            <p:cNvSpPr/>
            <p:nvPr/>
          </p:nvSpPr>
          <p:spPr>
            <a:xfrm>
              <a:off x="17368874" y="893014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783" name="Freeform: Shape 782">
              <a:extLst>
                <a:ext uri="{FF2B5EF4-FFF2-40B4-BE49-F238E27FC236}">
                  <a16:creationId xmlns:a16="http://schemas.microsoft.com/office/drawing/2014/main" id="{07B1B41B-83C0-791D-CAD0-38420D421259}"/>
                </a:ext>
              </a:extLst>
            </p:cNvPr>
            <p:cNvSpPr/>
            <p:nvPr/>
          </p:nvSpPr>
          <p:spPr>
            <a:xfrm>
              <a:off x="19109210" y="893014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27 h 435077"/>
                <a:gd name="connsiteX5" fmla="*/ 435077 w 435077"/>
                <a:gd name="connsiteY5" fmla="*/ 217566 h 435077"/>
                <a:gd name="connsiteX6" fmla="*/ 217539 w 435077"/>
                <a:gd name="connsiteY6" fmla="*/ 27 h 435077"/>
                <a:gd name="connsiteX7" fmla="*/ 435077 w 435077"/>
                <a:gd name="connsiteY7" fmla="*/ 27 h 435077"/>
                <a:gd name="connsiteX8" fmla="*/ 217539 w 435077"/>
                <a:gd name="connsiteY8" fmla="*/ 435077 h 435077"/>
                <a:gd name="connsiteX9" fmla="*/ 435077 w 435077"/>
                <a:gd name="connsiteY9" fmla="*/ 217566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66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27"/>
                  </a:moveTo>
                  <a:lnTo>
                    <a:pt x="435077" y="217566"/>
                  </a:lnTo>
                  <a:lnTo>
                    <a:pt x="217539" y="27"/>
                  </a:lnTo>
                  <a:lnTo>
                    <a:pt x="435077" y="27"/>
                  </a:lnTo>
                  <a:close/>
                  <a:moveTo>
                    <a:pt x="217539" y="435077"/>
                  </a:moveTo>
                  <a:lnTo>
                    <a:pt x="435077" y="217566"/>
                  </a:lnTo>
                  <a:lnTo>
                    <a:pt x="435077" y="435077"/>
                  </a:lnTo>
                  <a:lnTo>
                    <a:pt x="217539" y="435077"/>
                  </a:lnTo>
                  <a:close/>
                  <a:moveTo>
                    <a:pt x="217539" y="435077"/>
                  </a:moveTo>
                  <a:lnTo>
                    <a:pt x="0" y="217566"/>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784" name="Freeform: Shape 783">
              <a:extLst>
                <a:ext uri="{FF2B5EF4-FFF2-40B4-BE49-F238E27FC236}">
                  <a16:creationId xmlns:a16="http://schemas.microsoft.com/office/drawing/2014/main" id="{CA2CD47F-FFFB-2F62-3C45-D41DC8F0166E}"/>
                </a:ext>
              </a:extLst>
            </p:cNvPr>
            <p:cNvSpPr/>
            <p:nvPr/>
          </p:nvSpPr>
          <p:spPr>
            <a:xfrm>
              <a:off x="19979365" y="8930148"/>
              <a:ext cx="435077" cy="435077"/>
            </a:xfrm>
            <a:custGeom>
              <a:avLst/>
              <a:gdLst>
                <a:gd name="connsiteX0" fmla="*/ 371365 w 435077"/>
                <a:gd name="connsiteY0" fmla="*/ 63739 h 435077"/>
                <a:gd name="connsiteX1" fmla="*/ 435077 w 435077"/>
                <a:gd name="connsiteY1" fmla="*/ 217539 h 435077"/>
                <a:gd name="connsiteX2" fmla="*/ 217701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5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39"/>
                  </a:moveTo>
                  <a:cubicBezTo>
                    <a:pt x="412154" y="104527"/>
                    <a:pt x="435077" y="159864"/>
                    <a:pt x="435077" y="217539"/>
                  </a:cubicBezTo>
                  <a:lnTo>
                    <a:pt x="217701" y="217539"/>
                  </a:lnTo>
                  <a:cubicBezTo>
                    <a:pt x="275349" y="217593"/>
                    <a:pt x="330605" y="240516"/>
                    <a:pt x="371365" y="281277"/>
                  </a:cubicBezTo>
                  <a:cubicBezTo>
                    <a:pt x="412154" y="322066"/>
                    <a:pt x="435077" y="377402"/>
                    <a:pt x="435077" y="435077"/>
                  </a:cubicBezTo>
                  <a:lnTo>
                    <a:pt x="217539" y="435077"/>
                  </a:lnTo>
                  <a:lnTo>
                    <a:pt x="0" y="435077"/>
                  </a:lnTo>
                  <a:cubicBezTo>
                    <a:pt x="0" y="377402"/>
                    <a:pt x="22924" y="322066"/>
                    <a:pt x="63712" y="281277"/>
                  </a:cubicBezTo>
                  <a:cubicBezTo>
                    <a:pt x="104472" y="240516"/>
                    <a:pt x="159728" y="217593"/>
                    <a:pt x="217376" y="217539"/>
                  </a:cubicBezTo>
                  <a:lnTo>
                    <a:pt x="0" y="217539"/>
                  </a:lnTo>
                  <a:cubicBezTo>
                    <a:pt x="0" y="159864"/>
                    <a:pt x="22924" y="104527"/>
                    <a:pt x="63712" y="63739"/>
                  </a:cubicBezTo>
                  <a:cubicBezTo>
                    <a:pt x="104501" y="22923"/>
                    <a:pt x="159836" y="0"/>
                    <a:pt x="217539" y="0"/>
                  </a:cubicBezTo>
                  <a:cubicBezTo>
                    <a:pt x="275241" y="0"/>
                    <a:pt x="330550" y="22923"/>
                    <a:pt x="371365" y="63739"/>
                  </a:cubicBezTo>
                  <a:close/>
                </a:path>
              </a:pathLst>
            </a:custGeom>
            <a:grpFill/>
            <a:ln w="27192" cap="flat">
              <a:noFill/>
              <a:prstDash val="solid"/>
              <a:miter/>
            </a:ln>
          </p:spPr>
          <p:txBody>
            <a:bodyPr rtlCol="0" anchor="ctr"/>
            <a:lstStyle/>
            <a:p>
              <a:endParaRPr lang="uk-UA" sz="900"/>
            </a:p>
          </p:txBody>
        </p:sp>
        <p:sp>
          <p:nvSpPr>
            <p:cNvPr id="785" name="Freeform: Shape 784">
              <a:extLst>
                <a:ext uri="{FF2B5EF4-FFF2-40B4-BE49-F238E27FC236}">
                  <a16:creationId xmlns:a16="http://schemas.microsoft.com/office/drawing/2014/main" id="{93AA9376-FF63-B3D5-950E-C95FA4DE6993}"/>
                </a:ext>
              </a:extLst>
            </p:cNvPr>
            <p:cNvSpPr/>
            <p:nvPr/>
          </p:nvSpPr>
          <p:spPr>
            <a:xfrm>
              <a:off x="21719702" y="8930148"/>
              <a:ext cx="435077" cy="435104"/>
            </a:xfrm>
            <a:custGeom>
              <a:avLst/>
              <a:gdLst>
                <a:gd name="connsiteX0" fmla="*/ 0 w 435077"/>
                <a:gd name="connsiteY0" fmla="*/ 435077 h 435104"/>
                <a:gd name="connsiteX1" fmla="*/ 217512 w 435077"/>
                <a:gd name="connsiteY1" fmla="*/ 435077 h 435104"/>
                <a:gd name="connsiteX2" fmla="*/ 217512 w 435077"/>
                <a:gd name="connsiteY2" fmla="*/ 217566 h 435104"/>
                <a:gd name="connsiteX3" fmla="*/ 0 w 435077"/>
                <a:gd name="connsiteY3" fmla="*/ 435077 h 435104"/>
                <a:gd name="connsiteX4" fmla="*/ 217512 w 435077"/>
                <a:gd name="connsiteY4" fmla="*/ 0 h 435104"/>
                <a:gd name="connsiteX5" fmla="*/ 0 w 435077"/>
                <a:gd name="connsiteY5" fmla="*/ 0 h 435104"/>
                <a:gd name="connsiteX6" fmla="*/ 217512 w 435077"/>
                <a:gd name="connsiteY6" fmla="*/ 217539 h 435104"/>
                <a:gd name="connsiteX7" fmla="*/ 217512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12" y="435077"/>
                  </a:lnTo>
                  <a:lnTo>
                    <a:pt x="217512" y="217566"/>
                  </a:lnTo>
                  <a:lnTo>
                    <a:pt x="0" y="435077"/>
                  </a:lnTo>
                  <a:close/>
                  <a:moveTo>
                    <a:pt x="217512" y="0"/>
                  </a:moveTo>
                  <a:lnTo>
                    <a:pt x="0" y="0"/>
                  </a:lnTo>
                  <a:lnTo>
                    <a:pt x="217512" y="217539"/>
                  </a:lnTo>
                  <a:lnTo>
                    <a:pt x="217512"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786" name="Freeform: Shape 785">
              <a:extLst>
                <a:ext uri="{FF2B5EF4-FFF2-40B4-BE49-F238E27FC236}">
                  <a16:creationId xmlns:a16="http://schemas.microsoft.com/office/drawing/2014/main" id="{8F614B3A-C015-DFB6-285B-898E46CA3F25}"/>
                </a:ext>
              </a:extLst>
            </p:cNvPr>
            <p:cNvSpPr/>
            <p:nvPr/>
          </p:nvSpPr>
          <p:spPr>
            <a:xfrm>
              <a:off x="20849520" y="893014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787" name="Freeform: Shape 786">
              <a:extLst>
                <a:ext uri="{FF2B5EF4-FFF2-40B4-BE49-F238E27FC236}">
                  <a16:creationId xmlns:a16="http://schemas.microsoft.com/office/drawing/2014/main" id="{BD81D957-799E-17A9-ED2C-2A77D4E62BD8}"/>
                </a:ext>
              </a:extLst>
            </p:cNvPr>
            <p:cNvSpPr/>
            <p:nvPr/>
          </p:nvSpPr>
          <p:spPr>
            <a:xfrm>
              <a:off x="22589856" y="893014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27 h 435077"/>
                <a:gd name="connsiteX5" fmla="*/ 435077 w 435077"/>
                <a:gd name="connsiteY5" fmla="*/ 217566 h 435077"/>
                <a:gd name="connsiteX6" fmla="*/ 217539 w 435077"/>
                <a:gd name="connsiteY6" fmla="*/ 27 h 435077"/>
                <a:gd name="connsiteX7" fmla="*/ 435077 w 435077"/>
                <a:gd name="connsiteY7" fmla="*/ 27 h 435077"/>
                <a:gd name="connsiteX8" fmla="*/ 217539 w 435077"/>
                <a:gd name="connsiteY8" fmla="*/ 435077 h 435077"/>
                <a:gd name="connsiteX9" fmla="*/ 435077 w 435077"/>
                <a:gd name="connsiteY9" fmla="*/ 217566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66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27"/>
                  </a:moveTo>
                  <a:lnTo>
                    <a:pt x="435077" y="217566"/>
                  </a:lnTo>
                  <a:lnTo>
                    <a:pt x="217539" y="27"/>
                  </a:lnTo>
                  <a:lnTo>
                    <a:pt x="435077" y="27"/>
                  </a:lnTo>
                  <a:close/>
                  <a:moveTo>
                    <a:pt x="217539" y="435077"/>
                  </a:moveTo>
                  <a:lnTo>
                    <a:pt x="435077" y="217566"/>
                  </a:lnTo>
                  <a:lnTo>
                    <a:pt x="435077" y="435077"/>
                  </a:lnTo>
                  <a:lnTo>
                    <a:pt x="217539" y="435077"/>
                  </a:lnTo>
                  <a:close/>
                  <a:moveTo>
                    <a:pt x="217539" y="435077"/>
                  </a:moveTo>
                  <a:lnTo>
                    <a:pt x="0" y="217566"/>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788" name="Freeform: Shape 787">
              <a:extLst>
                <a:ext uri="{FF2B5EF4-FFF2-40B4-BE49-F238E27FC236}">
                  <a16:creationId xmlns:a16="http://schemas.microsoft.com/office/drawing/2014/main" id="{2740DEBB-A0A8-F750-427B-B02AB69826E4}"/>
                </a:ext>
              </a:extLst>
            </p:cNvPr>
            <p:cNvSpPr/>
            <p:nvPr/>
          </p:nvSpPr>
          <p:spPr>
            <a:xfrm>
              <a:off x="23460039" y="8930148"/>
              <a:ext cx="435077" cy="435077"/>
            </a:xfrm>
            <a:custGeom>
              <a:avLst/>
              <a:gdLst>
                <a:gd name="connsiteX0" fmla="*/ 371339 w 435077"/>
                <a:gd name="connsiteY0" fmla="*/ 63739 h 435077"/>
                <a:gd name="connsiteX1" fmla="*/ 435077 w 435077"/>
                <a:gd name="connsiteY1" fmla="*/ 217539 h 435077"/>
                <a:gd name="connsiteX2" fmla="*/ 217701 w 435077"/>
                <a:gd name="connsiteY2" fmla="*/ 217539 h 435077"/>
                <a:gd name="connsiteX3" fmla="*/ 371339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48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39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39"/>
                  </a:moveTo>
                  <a:cubicBezTo>
                    <a:pt x="412154" y="104527"/>
                    <a:pt x="435077" y="159864"/>
                    <a:pt x="435077" y="217539"/>
                  </a:cubicBezTo>
                  <a:lnTo>
                    <a:pt x="217701" y="217539"/>
                  </a:lnTo>
                  <a:cubicBezTo>
                    <a:pt x="275322" y="217593"/>
                    <a:pt x="330605" y="240516"/>
                    <a:pt x="371339" y="281277"/>
                  </a:cubicBezTo>
                  <a:cubicBezTo>
                    <a:pt x="412154" y="322066"/>
                    <a:pt x="435077" y="377402"/>
                    <a:pt x="435077" y="435077"/>
                  </a:cubicBezTo>
                  <a:lnTo>
                    <a:pt x="217539" y="435077"/>
                  </a:lnTo>
                  <a:lnTo>
                    <a:pt x="0" y="435077"/>
                  </a:lnTo>
                  <a:cubicBezTo>
                    <a:pt x="0" y="377402"/>
                    <a:pt x="22895" y="322066"/>
                    <a:pt x="63712" y="281277"/>
                  </a:cubicBezTo>
                  <a:cubicBezTo>
                    <a:pt x="104472" y="240516"/>
                    <a:pt x="159727" y="217593"/>
                    <a:pt x="217348" y="217539"/>
                  </a:cubicBezTo>
                  <a:lnTo>
                    <a:pt x="0" y="217539"/>
                  </a:lnTo>
                  <a:cubicBezTo>
                    <a:pt x="0" y="159864"/>
                    <a:pt x="22895" y="104527"/>
                    <a:pt x="63712" y="63739"/>
                  </a:cubicBezTo>
                  <a:cubicBezTo>
                    <a:pt x="104501" y="22923"/>
                    <a:pt x="159836" y="0"/>
                    <a:pt x="217539" y="0"/>
                  </a:cubicBezTo>
                  <a:cubicBezTo>
                    <a:pt x="275213" y="0"/>
                    <a:pt x="330550" y="22923"/>
                    <a:pt x="371339" y="63739"/>
                  </a:cubicBezTo>
                  <a:close/>
                </a:path>
              </a:pathLst>
            </a:custGeom>
            <a:grpFill/>
            <a:ln w="27192" cap="flat">
              <a:noFill/>
              <a:prstDash val="solid"/>
              <a:miter/>
            </a:ln>
          </p:spPr>
          <p:txBody>
            <a:bodyPr rtlCol="0" anchor="ctr"/>
            <a:lstStyle/>
            <a:p>
              <a:endParaRPr lang="uk-UA" sz="900"/>
            </a:p>
          </p:txBody>
        </p:sp>
        <p:sp>
          <p:nvSpPr>
            <p:cNvPr id="789" name="Freeform: Shape 788">
              <a:extLst>
                <a:ext uri="{FF2B5EF4-FFF2-40B4-BE49-F238E27FC236}">
                  <a16:creationId xmlns:a16="http://schemas.microsoft.com/office/drawing/2014/main" id="{8292D2C3-5BC2-E7C1-EE3A-9803026FEBFF}"/>
                </a:ext>
              </a:extLst>
            </p:cNvPr>
            <p:cNvSpPr/>
            <p:nvPr/>
          </p:nvSpPr>
          <p:spPr>
            <a:xfrm>
              <a:off x="24330194" y="893014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790" name="Freeform: Shape 789">
              <a:extLst>
                <a:ext uri="{FF2B5EF4-FFF2-40B4-BE49-F238E27FC236}">
                  <a16:creationId xmlns:a16="http://schemas.microsoft.com/office/drawing/2014/main" id="{5EC22BBD-CAAA-34CD-9A92-41E2AFEFABA1}"/>
                </a:ext>
              </a:extLst>
            </p:cNvPr>
            <p:cNvSpPr/>
            <p:nvPr/>
          </p:nvSpPr>
          <p:spPr>
            <a:xfrm>
              <a:off x="835769" y="9800303"/>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791" name="Freeform: Shape 790">
              <a:extLst>
                <a:ext uri="{FF2B5EF4-FFF2-40B4-BE49-F238E27FC236}">
                  <a16:creationId xmlns:a16="http://schemas.microsoft.com/office/drawing/2014/main" id="{8988E27F-E847-9F2A-846D-98495EF9B7E6}"/>
                </a:ext>
              </a:extLst>
            </p:cNvPr>
            <p:cNvSpPr/>
            <p:nvPr/>
          </p:nvSpPr>
          <p:spPr>
            <a:xfrm>
              <a:off x="-34398" y="9800303"/>
              <a:ext cx="435063" cy="435077"/>
            </a:xfrm>
            <a:custGeom>
              <a:avLst/>
              <a:gdLst>
                <a:gd name="connsiteX0" fmla="*/ 435064 w 435063"/>
                <a:gd name="connsiteY0" fmla="*/ 435077 h 435077"/>
                <a:gd name="connsiteX1" fmla="*/ 435064 w 435063"/>
                <a:gd name="connsiteY1" fmla="*/ 217566 h 435077"/>
                <a:gd name="connsiteX2" fmla="*/ 435064 w 435063"/>
                <a:gd name="connsiteY2" fmla="*/ 27 h 435077"/>
                <a:gd name="connsiteX3" fmla="*/ 217552 w 435063"/>
                <a:gd name="connsiteY3" fmla="*/ 27 h 435077"/>
                <a:gd name="connsiteX4" fmla="*/ 435064 w 435063"/>
                <a:gd name="connsiteY4" fmla="*/ 217566 h 435077"/>
                <a:gd name="connsiteX5" fmla="*/ 217552 w 435063"/>
                <a:gd name="connsiteY5" fmla="*/ 435077 h 435077"/>
                <a:gd name="connsiteX6" fmla="*/ 435064 w 435063"/>
                <a:gd name="connsiteY6" fmla="*/ 435077 h 435077"/>
                <a:gd name="connsiteX7" fmla="*/ 0 w 435063"/>
                <a:gd name="connsiteY7" fmla="*/ 217539 h 435077"/>
                <a:gd name="connsiteX8" fmla="*/ 0 w 435063"/>
                <a:gd name="connsiteY8" fmla="*/ 0 h 435077"/>
                <a:gd name="connsiteX9" fmla="*/ 217525 w 435063"/>
                <a:gd name="connsiteY9" fmla="*/ 217539 h 435077"/>
                <a:gd name="connsiteX10" fmla="*/ 0 w 435063"/>
                <a:gd name="connsiteY10" fmla="*/ 217539 h 435077"/>
                <a:gd name="connsiteX11" fmla="*/ 0 w 435063"/>
                <a:gd name="connsiteY11" fmla="*/ 435077 h 435077"/>
                <a:gd name="connsiteX12" fmla="*/ 0 w 435063"/>
                <a:gd name="connsiteY12" fmla="*/ 217566 h 435077"/>
                <a:gd name="connsiteX13" fmla="*/ 217525 w 435063"/>
                <a:gd name="connsiteY13" fmla="*/ 217566 h 435077"/>
                <a:gd name="connsiteX14" fmla="*/ 0 w 435063"/>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63" h="435077">
                  <a:moveTo>
                    <a:pt x="435064" y="435077"/>
                  </a:moveTo>
                  <a:lnTo>
                    <a:pt x="435064" y="217566"/>
                  </a:lnTo>
                  <a:lnTo>
                    <a:pt x="435064" y="27"/>
                  </a:lnTo>
                  <a:lnTo>
                    <a:pt x="217552" y="27"/>
                  </a:lnTo>
                  <a:lnTo>
                    <a:pt x="435064" y="217566"/>
                  </a:lnTo>
                  <a:lnTo>
                    <a:pt x="217552" y="435077"/>
                  </a:lnTo>
                  <a:lnTo>
                    <a:pt x="435064" y="435077"/>
                  </a:lnTo>
                  <a:close/>
                  <a:moveTo>
                    <a:pt x="0" y="217539"/>
                  </a:moveTo>
                  <a:lnTo>
                    <a:pt x="0" y="0"/>
                  </a:lnTo>
                  <a:lnTo>
                    <a:pt x="217525" y="217539"/>
                  </a:lnTo>
                  <a:lnTo>
                    <a:pt x="0" y="217539"/>
                  </a:lnTo>
                  <a:close/>
                  <a:moveTo>
                    <a:pt x="0" y="435077"/>
                  </a:moveTo>
                  <a:lnTo>
                    <a:pt x="0" y="217566"/>
                  </a:lnTo>
                  <a:lnTo>
                    <a:pt x="217525" y="217566"/>
                  </a:lnTo>
                  <a:lnTo>
                    <a:pt x="0" y="435077"/>
                  </a:lnTo>
                  <a:close/>
                </a:path>
              </a:pathLst>
            </a:custGeom>
            <a:grpFill/>
            <a:ln w="27192" cap="flat">
              <a:noFill/>
              <a:prstDash val="solid"/>
              <a:miter/>
            </a:ln>
          </p:spPr>
          <p:txBody>
            <a:bodyPr rtlCol="0" anchor="ctr"/>
            <a:lstStyle/>
            <a:p>
              <a:endParaRPr lang="uk-UA" sz="900"/>
            </a:p>
          </p:txBody>
        </p:sp>
        <p:sp>
          <p:nvSpPr>
            <p:cNvPr id="792" name="Freeform: Shape 791">
              <a:extLst>
                <a:ext uri="{FF2B5EF4-FFF2-40B4-BE49-F238E27FC236}">
                  <a16:creationId xmlns:a16="http://schemas.microsoft.com/office/drawing/2014/main" id="{7A83DAEB-19AA-A8EF-DFEB-DE242874F121}"/>
                </a:ext>
              </a:extLst>
            </p:cNvPr>
            <p:cNvSpPr/>
            <p:nvPr/>
          </p:nvSpPr>
          <p:spPr>
            <a:xfrm>
              <a:off x="1705924" y="9800330"/>
              <a:ext cx="435077" cy="435050"/>
            </a:xfrm>
            <a:custGeom>
              <a:avLst/>
              <a:gdLst>
                <a:gd name="connsiteX0" fmla="*/ 435077 w 435077"/>
                <a:gd name="connsiteY0" fmla="*/ 435050 h 435050"/>
                <a:gd name="connsiteX1" fmla="*/ 435077 w 435077"/>
                <a:gd name="connsiteY1" fmla="*/ 0 h 435050"/>
                <a:gd name="connsiteX2" fmla="*/ 217566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39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66" y="217539"/>
                  </a:lnTo>
                  <a:lnTo>
                    <a:pt x="435077" y="435050"/>
                  </a:lnTo>
                  <a:close/>
                  <a:moveTo>
                    <a:pt x="0" y="435050"/>
                  </a:moveTo>
                  <a:lnTo>
                    <a:pt x="0" y="0"/>
                  </a:lnTo>
                  <a:lnTo>
                    <a:pt x="217539" y="217539"/>
                  </a:lnTo>
                  <a:lnTo>
                    <a:pt x="0" y="435050"/>
                  </a:lnTo>
                  <a:close/>
                </a:path>
              </a:pathLst>
            </a:custGeom>
            <a:grpFill/>
            <a:ln w="27192" cap="flat">
              <a:noFill/>
              <a:prstDash val="solid"/>
              <a:miter/>
            </a:ln>
          </p:spPr>
          <p:txBody>
            <a:bodyPr rtlCol="0" anchor="ctr"/>
            <a:lstStyle/>
            <a:p>
              <a:endParaRPr lang="uk-UA" sz="900"/>
            </a:p>
          </p:txBody>
        </p:sp>
        <p:sp>
          <p:nvSpPr>
            <p:cNvPr id="793" name="Freeform: Shape 792">
              <a:extLst>
                <a:ext uri="{FF2B5EF4-FFF2-40B4-BE49-F238E27FC236}">
                  <a16:creationId xmlns:a16="http://schemas.microsoft.com/office/drawing/2014/main" id="{0D2CC30E-8C33-8A24-4367-C6DF230DAB32}"/>
                </a:ext>
              </a:extLst>
            </p:cNvPr>
            <p:cNvSpPr/>
            <p:nvPr/>
          </p:nvSpPr>
          <p:spPr>
            <a:xfrm>
              <a:off x="2576106" y="980030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3" y="113039"/>
                    <a:pt x="0" y="57702"/>
                    <a:pt x="0" y="0"/>
                  </a:cubicBezTo>
                  <a:lnTo>
                    <a:pt x="217539" y="0"/>
                  </a:lnTo>
                  <a:lnTo>
                    <a:pt x="435077" y="0"/>
                  </a:lnTo>
                  <a:cubicBezTo>
                    <a:pt x="435077" y="57702"/>
                    <a:pt x="412154" y="113039"/>
                    <a:pt x="371366" y="153827"/>
                  </a:cubicBezTo>
                  <a:cubicBezTo>
                    <a:pt x="330550" y="194642"/>
                    <a:pt x="275214" y="217539"/>
                    <a:pt x="217539" y="217539"/>
                  </a:cubicBezTo>
                  <a:cubicBezTo>
                    <a:pt x="159837" y="217539"/>
                    <a:pt x="104500" y="194642"/>
                    <a:pt x="63712" y="153827"/>
                  </a:cubicBezTo>
                  <a:close/>
                  <a:moveTo>
                    <a:pt x="63712" y="281277"/>
                  </a:moveTo>
                  <a:cubicBezTo>
                    <a:pt x="22923" y="322066"/>
                    <a:pt x="0" y="377402"/>
                    <a:pt x="0" y="435077"/>
                  </a:cubicBezTo>
                  <a:lnTo>
                    <a:pt x="217539" y="435077"/>
                  </a:lnTo>
                  <a:lnTo>
                    <a:pt x="435077" y="435077"/>
                  </a:lnTo>
                  <a:cubicBezTo>
                    <a:pt x="435077" y="377402"/>
                    <a:pt x="412154" y="322066"/>
                    <a:pt x="371366" y="281277"/>
                  </a:cubicBezTo>
                  <a:cubicBezTo>
                    <a:pt x="330550" y="240462"/>
                    <a:pt x="275214" y="217539"/>
                    <a:pt x="217539" y="217539"/>
                  </a:cubicBezTo>
                  <a:cubicBezTo>
                    <a:pt x="159837" y="217539"/>
                    <a:pt x="104500" y="240462"/>
                    <a:pt x="63712" y="281277"/>
                  </a:cubicBezTo>
                  <a:close/>
                </a:path>
              </a:pathLst>
            </a:custGeom>
            <a:grpFill/>
            <a:ln w="27192" cap="flat">
              <a:noFill/>
              <a:prstDash val="solid"/>
              <a:miter/>
            </a:ln>
          </p:spPr>
          <p:txBody>
            <a:bodyPr rtlCol="0" anchor="ctr"/>
            <a:lstStyle/>
            <a:p>
              <a:endParaRPr lang="uk-UA" sz="900"/>
            </a:p>
          </p:txBody>
        </p:sp>
        <p:sp>
          <p:nvSpPr>
            <p:cNvPr id="794" name="Freeform: Shape 793">
              <a:extLst>
                <a:ext uri="{FF2B5EF4-FFF2-40B4-BE49-F238E27FC236}">
                  <a16:creationId xmlns:a16="http://schemas.microsoft.com/office/drawing/2014/main" id="{7BD07ED0-8A0A-544D-6F07-850A58DEED9A}"/>
                </a:ext>
              </a:extLst>
            </p:cNvPr>
            <p:cNvSpPr/>
            <p:nvPr/>
          </p:nvSpPr>
          <p:spPr>
            <a:xfrm>
              <a:off x="4316416" y="9800303"/>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65 w 435077"/>
                <a:gd name="connsiteY4" fmla="*/ 435077 h 435077"/>
                <a:gd name="connsiteX5" fmla="*/ 217565 w 435077"/>
                <a:gd name="connsiteY5" fmla="*/ 0 h 435077"/>
                <a:gd name="connsiteX6" fmla="*/ 435077 w 435077"/>
                <a:gd name="connsiteY6" fmla="*/ 217566 h 435077"/>
                <a:gd name="connsiteX7" fmla="*/ 217565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65" y="435077"/>
                  </a:moveTo>
                  <a:lnTo>
                    <a:pt x="217565" y="0"/>
                  </a:lnTo>
                  <a:lnTo>
                    <a:pt x="435077" y="217566"/>
                  </a:lnTo>
                  <a:lnTo>
                    <a:pt x="217565" y="435077"/>
                  </a:lnTo>
                  <a:close/>
                </a:path>
              </a:pathLst>
            </a:custGeom>
            <a:grpFill/>
            <a:ln w="27192" cap="flat">
              <a:noFill/>
              <a:prstDash val="solid"/>
              <a:miter/>
            </a:ln>
          </p:spPr>
          <p:txBody>
            <a:bodyPr rtlCol="0" anchor="ctr"/>
            <a:lstStyle/>
            <a:p>
              <a:endParaRPr lang="uk-UA" sz="900"/>
            </a:p>
          </p:txBody>
        </p:sp>
        <p:sp>
          <p:nvSpPr>
            <p:cNvPr id="795" name="Freeform: Shape 794">
              <a:extLst>
                <a:ext uri="{FF2B5EF4-FFF2-40B4-BE49-F238E27FC236}">
                  <a16:creationId xmlns:a16="http://schemas.microsoft.com/office/drawing/2014/main" id="{52D3B7FA-96DC-AD38-7E6C-A335C9BA0537}"/>
                </a:ext>
              </a:extLst>
            </p:cNvPr>
            <p:cNvSpPr/>
            <p:nvPr/>
          </p:nvSpPr>
          <p:spPr>
            <a:xfrm>
              <a:off x="3446261" y="980030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6 w 435077"/>
                <a:gd name="connsiteY3" fmla="*/ 27 h 435077"/>
                <a:gd name="connsiteX4" fmla="*/ 435077 w 435077"/>
                <a:gd name="connsiteY4" fmla="*/ 217566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6" y="27"/>
                  </a:lnTo>
                  <a:lnTo>
                    <a:pt x="435077" y="217566"/>
                  </a:lnTo>
                  <a:lnTo>
                    <a:pt x="217566"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796" name="Freeform: Shape 795">
              <a:extLst>
                <a:ext uri="{FF2B5EF4-FFF2-40B4-BE49-F238E27FC236}">
                  <a16:creationId xmlns:a16="http://schemas.microsoft.com/office/drawing/2014/main" id="{C9B04D3B-FE20-FF4E-689F-2FD200A9CE33}"/>
                </a:ext>
              </a:extLst>
            </p:cNvPr>
            <p:cNvSpPr/>
            <p:nvPr/>
          </p:nvSpPr>
          <p:spPr>
            <a:xfrm>
              <a:off x="5186597" y="9800330"/>
              <a:ext cx="435077" cy="435050"/>
            </a:xfrm>
            <a:custGeom>
              <a:avLst/>
              <a:gdLst>
                <a:gd name="connsiteX0" fmla="*/ 435077 w 435077"/>
                <a:gd name="connsiteY0" fmla="*/ 435050 h 435050"/>
                <a:gd name="connsiteX1" fmla="*/ 435077 w 435077"/>
                <a:gd name="connsiteY1" fmla="*/ 0 h 435050"/>
                <a:gd name="connsiteX2" fmla="*/ 217566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39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66" y="217539"/>
                  </a:lnTo>
                  <a:lnTo>
                    <a:pt x="435077" y="435050"/>
                  </a:lnTo>
                  <a:close/>
                  <a:moveTo>
                    <a:pt x="0" y="435050"/>
                  </a:moveTo>
                  <a:lnTo>
                    <a:pt x="0" y="0"/>
                  </a:lnTo>
                  <a:lnTo>
                    <a:pt x="217539" y="217539"/>
                  </a:lnTo>
                  <a:lnTo>
                    <a:pt x="0" y="435050"/>
                  </a:lnTo>
                  <a:close/>
                </a:path>
              </a:pathLst>
            </a:custGeom>
            <a:grpFill/>
            <a:ln w="27192" cap="flat">
              <a:noFill/>
              <a:prstDash val="solid"/>
              <a:miter/>
            </a:ln>
          </p:spPr>
          <p:txBody>
            <a:bodyPr rtlCol="0" anchor="ctr"/>
            <a:lstStyle/>
            <a:p>
              <a:endParaRPr lang="uk-UA" sz="900"/>
            </a:p>
          </p:txBody>
        </p:sp>
        <p:sp>
          <p:nvSpPr>
            <p:cNvPr id="797" name="Freeform: Shape 796">
              <a:extLst>
                <a:ext uri="{FF2B5EF4-FFF2-40B4-BE49-F238E27FC236}">
                  <a16:creationId xmlns:a16="http://schemas.microsoft.com/office/drawing/2014/main" id="{BEA0A78D-0D6C-CA1A-E7D2-24B63E86F6D0}"/>
                </a:ext>
              </a:extLst>
            </p:cNvPr>
            <p:cNvSpPr/>
            <p:nvPr/>
          </p:nvSpPr>
          <p:spPr>
            <a:xfrm>
              <a:off x="6056752" y="980030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6" y="153827"/>
                  </a:cubicBezTo>
                  <a:cubicBezTo>
                    <a:pt x="330550" y="194642"/>
                    <a:pt x="275241" y="217539"/>
                    <a:pt x="217539" y="217539"/>
                  </a:cubicBezTo>
                  <a:cubicBezTo>
                    <a:pt x="159837"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5" y="322066"/>
                    <a:pt x="371366" y="281277"/>
                  </a:cubicBezTo>
                  <a:cubicBezTo>
                    <a:pt x="330550" y="240462"/>
                    <a:pt x="275241" y="217539"/>
                    <a:pt x="217539" y="217539"/>
                  </a:cubicBezTo>
                  <a:cubicBezTo>
                    <a:pt x="159837" y="217539"/>
                    <a:pt x="104501" y="240462"/>
                    <a:pt x="63712" y="281277"/>
                  </a:cubicBezTo>
                  <a:close/>
                </a:path>
              </a:pathLst>
            </a:custGeom>
            <a:grpFill/>
            <a:ln w="27192" cap="flat">
              <a:noFill/>
              <a:prstDash val="solid"/>
              <a:miter/>
            </a:ln>
          </p:spPr>
          <p:txBody>
            <a:bodyPr rtlCol="0" anchor="ctr"/>
            <a:lstStyle/>
            <a:p>
              <a:endParaRPr lang="uk-UA" sz="900"/>
            </a:p>
          </p:txBody>
        </p:sp>
        <p:sp>
          <p:nvSpPr>
            <p:cNvPr id="798" name="Freeform: Shape 797">
              <a:extLst>
                <a:ext uri="{FF2B5EF4-FFF2-40B4-BE49-F238E27FC236}">
                  <a16:creationId xmlns:a16="http://schemas.microsoft.com/office/drawing/2014/main" id="{1AD38E6F-890C-EFB8-4F4D-1CA2B3A0F15D}"/>
                </a:ext>
              </a:extLst>
            </p:cNvPr>
            <p:cNvSpPr/>
            <p:nvPr/>
          </p:nvSpPr>
          <p:spPr>
            <a:xfrm>
              <a:off x="7797062" y="9800303"/>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66 w 435077"/>
                <a:gd name="connsiteY4" fmla="*/ 435077 h 435077"/>
                <a:gd name="connsiteX5" fmla="*/ 217566 w 435077"/>
                <a:gd name="connsiteY5" fmla="*/ 0 h 435077"/>
                <a:gd name="connsiteX6" fmla="*/ 435077 w 435077"/>
                <a:gd name="connsiteY6" fmla="*/ 217566 h 435077"/>
                <a:gd name="connsiteX7" fmla="*/ 217566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66" y="435077"/>
                  </a:moveTo>
                  <a:lnTo>
                    <a:pt x="217566" y="0"/>
                  </a:lnTo>
                  <a:lnTo>
                    <a:pt x="435077" y="217566"/>
                  </a:lnTo>
                  <a:lnTo>
                    <a:pt x="217566" y="435077"/>
                  </a:lnTo>
                  <a:close/>
                </a:path>
              </a:pathLst>
            </a:custGeom>
            <a:grpFill/>
            <a:ln w="27192" cap="flat">
              <a:noFill/>
              <a:prstDash val="solid"/>
              <a:miter/>
            </a:ln>
          </p:spPr>
          <p:txBody>
            <a:bodyPr rtlCol="0" anchor="ctr"/>
            <a:lstStyle/>
            <a:p>
              <a:endParaRPr lang="uk-UA" sz="900"/>
            </a:p>
          </p:txBody>
        </p:sp>
        <p:sp>
          <p:nvSpPr>
            <p:cNvPr id="799" name="Freeform: Shape 798">
              <a:extLst>
                <a:ext uri="{FF2B5EF4-FFF2-40B4-BE49-F238E27FC236}">
                  <a16:creationId xmlns:a16="http://schemas.microsoft.com/office/drawing/2014/main" id="{B9EB5A2C-7715-3590-4EA7-89DF31E2225D}"/>
                </a:ext>
              </a:extLst>
            </p:cNvPr>
            <p:cNvSpPr/>
            <p:nvPr/>
          </p:nvSpPr>
          <p:spPr>
            <a:xfrm>
              <a:off x="6926907" y="980030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6 w 435077"/>
                <a:gd name="connsiteY3" fmla="*/ 27 h 435077"/>
                <a:gd name="connsiteX4" fmla="*/ 435077 w 435077"/>
                <a:gd name="connsiteY4" fmla="*/ 217566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6" y="27"/>
                  </a:lnTo>
                  <a:lnTo>
                    <a:pt x="435077" y="217566"/>
                  </a:lnTo>
                  <a:lnTo>
                    <a:pt x="217566"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800" name="Freeform: Shape 799">
              <a:extLst>
                <a:ext uri="{FF2B5EF4-FFF2-40B4-BE49-F238E27FC236}">
                  <a16:creationId xmlns:a16="http://schemas.microsoft.com/office/drawing/2014/main" id="{721AC778-A1F1-3B1C-DA2D-4CAD5A95BB41}"/>
                </a:ext>
              </a:extLst>
            </p:cNvPr>
            <p:cNvSpPr/>
            <p:nvPr/>
          </p:nvSpPr>
          <p:spPr>
            <a:xfrm>
              <a:off x="8667244" y="980033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1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1" y="217539"/>
                  </a:lnTo>
                  <a:lnTo>
                    <a:pt x="0" y="435050"/>
                  </a:lnTo>
                  <a:close/>
                </a:path>
              </a:pathLst>
            </a:custGeom>
            <a:grpFill/>
            <a:ln w="27192" cap="flat">
              <a:noFill/>
              <a:prstDash val="solid"/>
              <a:miter/>
            </a:ln>
          </p:spPr>
          <p:txBody>
            <a:bodyPr rtlCol="0" anchor="ctr"/>
            <a:lstStyle/>
            <a:p>
              <a:endParaRPr lang="uk-UA" sz="900"/>
            </a:p>
          </p:txBody>
        </p:sp>
        <p:sp>
          <p:nvSpPr>
            <p:cNvPr id="801" name="Freeform: Shape 800">
              <a:extLst>
                <a:ext uri="{FF2B5EF4-FFF2-40B4-BE49-F238E27FC236}">
                  <a16:creationId xmlns:a16="http://schemas.microsoft.com/office/drawing/2014/main" id="{85378905-E786-8B2F-3D81-8993AF8C144E}"/>
                </a:ext>
              </a:extLst>
            </p:cNvPr>
            <p:cNvSpPr/>
            <p:nvPr/>
          </p:nvSpPr>
          <p:spPr>
            <a:xfrm>
              <a:off x="9537399" y="9800303"/>
              <a:ext cx="435077" cy="435077"/>
            </a:xfrm>
            <a:custGeom>
              <a:avLst/>
              <a:gdLst>
                <a:gd name="connsiteX0" fmla="*/ 63711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1 w 435077"/>
                <a:gd name="connsiteY6" fmla="*/ 153827 h 435077"/>
                <a:gd name="connsiteX7" fmla="*/ 63711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11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1" y="153827"/>
                  </a:moveTo>
                  <a:cubicBezTo>
                    <a:pt x="22923" y="113039"/>
                    <a:pt x="0" y="57702"/>
                    <a:pt x="0" y="0"/>
                  </a:cubicBezTo>
                  <a:lnTo>
                    <a:pt x="217539" y="0"/>
                  </a:lnTo>
                  <a:lnTo>
                    <a:pt x="435077" y="0"/>
                  </a:lnTo>
                  <a:cubicBezTo>
                    <a:pt x="435077" y="57702"/>
                    <a:pt x="412155" y="113039"/>
                    <a:pt x="371366" y="153827"/>
                  </a:cubicBezTo>
                  <a:cubicBezTo>
                    <a:pt x="330550" y="194642"/>
                    <a:pt x="275214" y="217539"/>
                    <a:pt x="217539" y="217539"/>
                  </a:cubicBezTo>
                  <a:cubicBezTo>
                    <a:pt x="159836" y="217539"/>
                    <a:pt x="104500" y="194642"/>
                    <a:pt x="63711" y="153827"/>
                  </a:cubicBezTo>
                  <a:close/>
                  <a:moveTo>
                    <a:pt x="63711" y="281277"/>
                  </a:moveTo>
                  <a:cubicBezTo>
                    <a:pt x="22923" y="322066"/>
                    <a:pt x="0" y="377402"/>
                    <a:pt x="0" y="435077"/>
                  </a:cubicBezTo>
                  <a:lnTo>
                    <a:pt x="217539" y="435077"/>
                  </a:lnTo>
                  <a:lnTo>
                    <a:pt x="435077" y="435077"/>
                  </a:lnTo>
                  <a:cubicBezTo>
                    <a:pt x="435077" y="377402"/>
                    <a:pt x="412155" y="322066"/>
                    <a:pt x="371366" y="281277"/>
                  </a:cubicBezTo>
                  <a:cubicBezTo>
                    <a:pt x="330550" y="240462"/>
                    <a:pt x="275214" y="217539"/>
                    <a:pt x="217539" y="217539"/>
                  </a:cubicBezTo>
                  <a:cubicBezTo>
                    <a:pt x="159836" y="217539"/>
                    <a:pt x="104500" y="240462"/>
                    <a:pt x="63711" y="281277"/>
                  </a:cubicBezTo>
                  <a:close/>
                </a:path>
              </a:pathLst>
            </a:custGeom>
            <a:grpFill/>
            <a:ln w="27192" cap="flat">
              <a:noFill/>
              <a:prstDash val="solid"/>
              <a:miter/>
            </a:ln>
          </p:spPr>
          <p:txBody>
            <a:bodyPr rtlCol="0" anchor="ctr"/>
            <a:lstStyle/>
            <a:p>
              <a:endParaRPr lang="uk-UA" sz="900"/>
            </a:p>
          </p:txBody>
        </p:sp>
        <p:sp>
          <p:nvSpPr>
            <p:cNvPr id="802" name="Freeform: Shape 801">
              <a:extLst>
                <a:ext uri="{FF2B5EF4-FFF2-40B4-BE49-F238E27FC236}">
                  <a16:creationId xmlns:a16="http://schemas.microsoft.com/office/drawing/2014/main" id="{65FDD648-3B69-D578-C73A-D4C77F549E33}"/>
                </a:ext>
              </a:extLst>
            </p:cNvPr>
            <p:cNvSpPr/>
            <p:nvPr/>
          </p:nvSpPr>
          <p:spPr>
            <a:xfrm>
              <a:off x="11277709" y="9800303"/>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803" name="Freeform: Shape 802">
              <a:extLst>
                <a:ext uri="{FF2B5EF4-FFF2-40B4-BE49-F238E27FC236}">
                  <a16:creationId xmlns:a16="http://schemas.microsoft.com/office/drawing/2014/main" id="{01DA3794-B643-0356-312C-760688FFE052}"/>
                </a:ext>
              </a:extLst>
            </p:cNvPr>
            <p:cNvSpPr/>
            <p:nvPr/>
          </p:nvSpPr>
          <p:spPr>
            <a:xfrm>
              <a:off x="10407554" y="980030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1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11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1" y="217539"/>
                  </a:lnTo>
                  <a:lnTo>
                    <a:pt x="0" y="217539"/>
                  </a:lnTo>
                  <a:close/>
                  <a:moveTo>
                    <a:pt x="0" y="435077"/>
                  </a:moveTo>
                  <a:lnTo>
                    <a:pt x="0" y="217566"/>
                  </a:lnTo>
                  <a:lnTo>
                    <a:pt x="217511" y="217566"/>
                  </a:lnTo>
                  <a:lnTo>
                    <a:pt x="0" y="435077"/>
                  </a:lnTo>
                  <a:close/>
                </a:path>
              </a:pathLst>
            </a:custGeom>
            <a:grpFill/>
            <a:ln w="27192" cap="flat">
              <a:noFill/>
              <a:prstDash val="solid"/>
              <a:miter/>
            </a:ln>
          </p:spPr>
          <p:txBody>
            <a:bodyPr rtlCol="0" anchor="ctr"/>
            <a:lstStyle/>
            <a:p>
              <a:endParaRPr lang="uk-UA" sz="900"/>
            </a:p>
          </p:txBody>
        </p:sp>
        <p:sp>
          <p:nvSpPr>
            <p:cNvPr id="804" name="Freeform: Shape 803">
              <a:extLst>
                <a:ext uri="{FF2B5EF4-FFF2-40B4-BE49-F238E27FC236}">
                  <a16:creationId xmlns:a16="http://schemas.microsoft.com/office/drawing/2014/main" id="{D25F5A80-243C-AA91-3800-B0860F4AFA42}"/>
                </a:ext>
              </a:extLst>
            </p:cNvPr>
            <p:cNvSpPr/>
            <p:nvPr/>
          </p:nvSpPr>
          <p:spPr>
            <a:xfrm>
              <a:off x="12147891" y="980033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2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2" y="217539"/>
                  </a:lnTo>
                  <a:lnTo>
                    <a:pt x="0" y="435050"/>
                  </a:lnTo>
                  <a:close/>
                </a:path>
              </a:pathLst>
            </a:custGeom>
            <a:grpFill/>
            <a:ln w="27192" cap="flat">
              <a:noFill/>
              <a:prstDash val="solid"/>
              <a:miter/>
            </a:ln>
          </p:spPr>
          <p:txBody>
            <a:bodyPr rtlCol="0" anchor="ctr"/>
            <a:lstStyle/>
            <a:p>
              <a:endParaRPr lang="uk-UA" sz="900"/>
            </a:p>
          </p:txBody>
        </p:sp>
        <p:sp>
          <p:nvSpPr>
            <p:cNvPr id="805" name="Freeform: Shape 804">
              <a:extLst>
                <a:ext uri="{FF2B5EF4-FFF2-40B4-BE49-F238E27FC236}">
                  <a16:creationId xmlns:a16="http://schemas.microsoft.com/office/drawing/2014/main" id="{39D24B27-B0D5-7EC1-A831-74A3ABE6ADFC}"/>
                </a:ext>
              </a:extLst>
            </p:cNvPr>
            <p:cNvSpPr/>
            <p:nvPr/>
          </p:nvSpPr>
          <p:spPr>
            <a:xfrm>
              <a:off x="13018045" y="980030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4" y="113039"/>
                    <a:pt x="371365" y="153827"/>
                  </a:cubicBezTo>
                  <a:cubicBezTo>
                    <a:pt x="330550" y="194642"/>
                    <a:pt x="275241" y="217539"/>
                    <a:pt x="217539" y="217539"/>
                  </a:cubicBezTo>
                  <a:cubicBezTo>
                    <a:pt x="159836"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4" y="322066"/>
                    <a:pt x="371365" y="281277"/>
                  </a:cubicBezTo>
                  <a:cubicBezTo>
                    <a:pt x="330550" y="240462"/>
                    <a:pt x="275241" y="217539"/>
                    <a:pt x="217539" y="217539"/>
                  </a:cubicBezTo>
                  <a:cubicBezTo>
                    <a:pt x="159836" y="217539"/>
                    <a:pt x="104501" y="240462"/>
                    <a:pt x="63712" y="281277"/>
                  </a:cubicBezTo>
                  <a:close/>
                </a:path>
              </a:pathLst>
            </a:custGeom>
            <a:grpFill/>
            <a:ln w="27192" cap="flat">
              <a:noFill/>
              <a:prstDash val="solid"/>
              <a:miter/>
            </a:ln>
          </p:spPr>
          <p:txBody>
            <a:bodyPr rtlCol="0" anchor="ctr"/>
            <a:lstStyle/>
            <a:p>
              <a:endParaRPr lang="uk-UA" sz="900"/>
            </a:p>
          </p:txBody>
        </p:sp>
        <p:sp>
          <p:nvSpPr>
            <p:cNvPr id="806" name="Freeform: Shape 805">
              <a:extLst>
                <a:ext uri="{FF2B5EF4-FFF2-40B4-BE49-F238E27FC236}">
                  <a16:creationId xmlns:a16="http://schemas.microsoft.com/office/drawing/2014/main" id="{7EBBCDE8-C0E7-EECD-8A08-92D8A80DB1BA}"/>
                </a:ext>
              </a:extLst>
            </p:cNvPr>
            <p:cNvSpPr/>
            <p:nvPr/>
          </p:nvSpPr>
          <p:spPr>
            <a:xfrm>
              <a:off x="14758382" y="9800303"/>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807" name="Freeform: Shape 806">
              <a:extLst>
                <a:ext uri="{FF2B5EF4-FFF2-40B4-BE49-F238E27FC236}">
                  <a16:creationId xmlns:a16="http://schemas.microsoft.com/office/drawing/2014/main" id="{6BC4ACB9-3874-465A-DE6C-5C1C35CD25A4}"/>
                </a:ext>
              </a:extLst>
            </p:cNvPr>
            <p:cNvSpPr/>
            <p:nvPr/>
          </p:nvSpPr>
          <p:spPr>
            <a:xfrm>
              <a:off x="13888200" y="980030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5 w 435077"/>
                <a:gd name="connsiteY3" fmla="*/ 27 h 435077"/>
                <a:gd name="connsiteX4" fmla="*/ 435077 w 435077"/>
                <a:gd name="connsiteY4" fmla="*/ 217566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5" y="27"/>
                  </a:lnTo>
                  <a:lnTo>
                    <a:pt x="435077" y="217566"/>
                  </a:lnTo>
                  <a:lnTo>
                    <a:pt x="217565"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808" name="Freeform: Shape 807">
              <a:extLst>
                <a:ext uri="{FF2B5EF4-FFF2-40B4-BE49-F238E27FC236}">
                  <a16:creationId xmlns:a16="http://schemas.microsoft.com/office/drawing/2014/main" id="{75D12808-2032-182E-C713-18C2D426BFB1}"/>
                </a:ext>
              </a:extLst>
            </p:cNvPr>
            <p:cNvSpPr/>
            <p:nvPr/>
          </p:nvSpPr>
          <p:spPr>
            <a:xfrm>
              <a:off x="15628565" y="980033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0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0" y="217539"/>
                  </a:lnTo>
                  <a:lnTo>
                    <a:pt x="0" y="435050"/>
                  </a:lnTo>
                  <a:close/>
                </a:path>
              </a:pathLst>
            </a:custGeom>
            <a:grpFill/>
            <a:ln w="27192" cap="flat">
              <a:noFill/>
              <a:prstDash val="solid"/>
              <a:miter/>
            </a:ln>
          </p:spPr>
          <p:txBody>
            <a:bodyPr rtlCol="0" anchor="ctr"/>
            <a:lstStyle/>
            <a:p>
              <a:endParaRPr lang="uk-UA" sz="900"/>
            </a:p>
          </p:txBody>
        </p:sp>
        <p:sp>
          <p:nvSpPr>
            <p:cNvPr id="809" name="Freeform: Shape 808">
              <a:extLst>
                <a:ext uri="{FF2B5EF4-FFF2-40B4-BE49-F238E27FC236}">
                  <a16:creationId xmlns:a16="http://schemas.microsoft.com/office/drawing/2014/main" id="{6FE926C6-F414-DBBB-7A0B-D02D3E5EB3D7}"/>
                </a:ext>
              </a:extLst>
            </p:cNvPr>
            <p:cNvSpPr/>
            <p:nvPr/>
          </p:nvSpPr>
          <p:spPr>
            <a:xfrm>
              <a:off x="16498719" y="9800303"/>
              <a:ext cx="435077" cy="435077"/>
            </a:xfrm>
            <a:custGeom>
              <a:avLst/>
              <a:gdLst>
                <a:gd name="connsiteX0" fmla="*/ 63710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0 w 435077"/>
                <a:gd name="connsiteY6" fmla="*/ 153827 h 435077"/>
                <a:gd name="connsiteX7" fmla="*/ 63710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77 h 435077"/>
                <a:gd name="connsiteX12" fmla="*/ 217539 w 435077"/>
                <a:gd name="connsiteY12" fmla="*/ 217539 h 435077"/>
                <a:gd name="connsiteX13" fmla="*/ 63710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7"/>
                  </a:moveTo>
                  <a:cubicBezTo>
                    <a:pt x="22895" y="113039"/>
                    <a:pt x="0" y="57702"/>
                    <a:pt x="0" y="0"/>
                  </a:cubicBezTo>
                  <a:lnTo>
                    <a:pt x="217539" y="0"/>
                  </a:lnTo>
                  <a:lnTo>
                    <a:pt x="435077" y="0"/>
                  </a:lnTo>
                  <a:cubicBezTo>
                    <a:pt x="435077" y="57702"/>
                    <a:pt x="412154" y="113039"/>
                    <a:pt x="371339" y="153827"/>
                  </a:cubicBezTo>
                  <a:cubicBezTo>
                    <a:pt x="330550" y="194642"/>
                    <a:pt x="275213" y="217539"/>
                    <a:pt x="217539" y="217539"/>
                  </a:cubicBezTo>
                  <a:cubicBezTo>
                    <a:pt x="159836" y="217539"/>
                    <a:pt x="104499" y="194642"/>
                    <a:pt x="63710" y="153827"/>
                  </a:cubicBezTo>
                  <a:close/>
                  <a:moveTo>
                    <a:pt x="63710" y="281277"/>
                  </a:moveTo>
                  <a:cubicBezTo>
                    <a:pt x="22895" y="322066"/>
                    <a:pt x="0" y="377402"/>
                    <a:pt x="0" y="435077"/>
                  </a:cubicBezTo>
                  <a:lnTo>
                    <a:pt x="217539" y="435077"/>
                  </a:lnTo>
                  <a:lnTo>
                    <a:pt x="435077" y="435077"/>
                  </a:lnTo>
                  <a:cubicBezTo>
                    <a:pt x="435077" y="377402"/>
                    <a:pt x="412154" y="322066"/>
                    <a:pt x="371339" y="281277"/>
                  </a:cubicBezTo>
                  <a:cubicBezTo>
                    <a:pt x="330550" y="240462"/>
                    <a:pt x="275213" y="217539"/>
                    <a:pt x="217539" y="217539"/>
                  </a:cubicBezTo>
                  <a:cubicBezTo>
                    <a:pt x="159836" y="217539"/>
                    <a:pt x="104499" y="240462"/>
                    <a:pt x="63710" y="281277"/>
                  </a:cubicBezTo>
                  <a:close/>
                </a:path>
              </a:pathLst>
            </a:custGeom>
            <a:grpFill/>
            <a:ln w="27192" cap="flat">
              <a:noFill/>
              <a:prstDash val="solid"/>
              <a:miter/>
            </a:ln>
          </p:spPr>
          <p:txBody>
            <a:bodyPr rtlCol="0" anchor="ctr"/>
            <a:lstStyle/>
            <a:p>
              <a:endParaRPr lang="uk-UA" sz="900"/>
            </a:p>
          </p:txBody>
        </p:sp>
        <p:sp>
          <p:nvSpPr>
            <p:cNvPr id="810" name="Freeform: Shape 809">
              <a:extLst>
                <a:ext uri="{FF2B5EF4-FFF2-40B4-BE49-F238E27FC236}">
                  <a16:creationId xmlns:a16="http://schemas.microsoft.com/office/drawing/2014/main" id="{A271D5A4-997A-70D9-5092-A511EC385DDE}"/>
                </a:ext>
              </a:extLst>
            </p:cNvPr>
            <p:cNvSpPr/>
            <p:nvPr/>
          </p:nvSpPr>
          <p:spPr>
            <a:xfrm>
              <a:off x="18239029" y="9800303"/>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811" name="Freeform: Shape 810">
              <a:extLst>
                <a:ext uri="{FF2B5EF4-FFF2-40B4-BE49-F238E27FC236}">
                  <a16:creationId xmlns:a16="http://schemas.microsoft.com/office/drawing/2014/main" id="{EFF7AE83-15FC-580E-E270-37BE9491EB5B}"/>
                </a:ext>
              </a:extLst>
            </p:cNvPr>
            <p:cNvSpPr/>
            <p:nvPr/>
          </p:nvSpPr>
          <p:spPr>
            <a:xfrm>
              <a:off x="17368874" y="980030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0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10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0" y="217539"/>
                  </a:lnTo>
                  <a:lnTo>
                    <a:pt x="0" y="217539"/>
                  </a:lnTo>
                  <a:close/>
                  <a:moveTo>
                    <a:pt x="0" y="435077"/>
                  </a:moveTo>
                  <a:lnTo>
                    <a:pt x="0" y="217566"/>
                  </a:lnTo>
                  <a:lnTo>
                    <a:pt x="217510" y="217566"/>
                  </a:lnTo>
                  <a:lnTo>
                    <a:pt x="0" y="435077"/>
                  </a:lnTo>
                  <a:close/>
                </a:path>
              </a:pathLst>
            </a:custGeom>
            <a:grpFill/>
            <a:ln w="27192" cap="flat">
              <a:noFill/>
              <a:prstDash val="solid"/>
              <a:miter/>
            </a:ln>
          </p:spPr>
          <p:txBody>
            <a:bodyPr rtlCol="0" anchor="ctr"/>
            <a:lstStyle/>
            <a:p>
              <a:endParaRPr lang="uk-UA" sz="900"/>
            </a:p>
          </p:txBody>
        </p:sp>
        <p:sp>
          <p:nvSpPr>
            <p:cNvPr id="812" name="Freeform: Shape 811">
              <a:extLst>
                <a:ext uri="{FF2B5EF4-FFF2-40B4-BE49-F238E27FC236}">
                  <a16:creationId xmlns:a16="http://schemas.microsoft.com/office/drawing/2014/main" id="{D415FF5E-09F4-97BB-1AC7-4D98BE5FC9F6}"/>
                </a:ext>
              </a:extLst>
            </p:cNvPr>
            <p:cNvSpPr/>
            <p:nvPr/>
          </p:nvSpPr>
          <p:spPr>
            <a:xfrm>
              <a:off x="19109210" y="9800303"/>
              <a:ext cx="435077" cy="435077"/>
            </a:xfrm>
            <a:custGeom>
              <a:avLst/>
              <a:gdLst>
                <a:gd name="connsiteX0" fmla="*/ 435077 w 435077"/>
                <a:gd name="connsiteY0" fmla="*/ 435077 h 435077"/>
                <a:gd name="connsiteX1" fmla="*/ 435077 w 435077"/>
                <a:gd name="connsiteY1" fmla="*/ 0 h 435077"/>
                <a:gd name="connsiteX2" fmla="*/ 217539 w 435077"/>
                <a:gd name="connsiteY2" fmla="*/ 217566 h 435077"/>
                <a:gd name="connsiteX3" fmla="*/ 435077 w 435077"/>
                <a:gd name="connsiteY3" fmla="*/ 435077 h 435077"/>
                <a:gd name="connsiteX4" fmla="*/ 0 w 435077"/>
                <a:gd name="connsiteY4" fmla="*/ 435077 h 435077"/>
                <a:gd name="connsiteX5" fmla="*/ 0 w 435077"/>
                <a:gd name="connsiteY5" fmla="*/ 0 h 435077"/>
                <a:gd name="connsiteX6" fmla="*/ 217512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66"/>
                  </a:lnTo>
                  <a:lnTo>
                    <a:pt x="435077" y="435077"/>
                  </a:lnTo>
                  <a:close/>
                  <a:moveTo>
                    <a:pt x="0" y="435077"/>
                  </a:moveTo>
                  <a:lnTo>
                    <a:pt x="0" y="0"/>
                  </a:lnTo>
                  <a:lnTo>
                    <a:pt x="217512" y="217566"/>
                  </a:lnTo>
                  <a:lnTo>
                    <a:pt x="0" y="435077"/>
                  </a:lnTo>
                  <a:close/>
                </a:path>
              </a:pathLst>
            </a:custGeom>
            <a:grpFill/>
            <a:ln w="27192" cap="flat">
              <a:noFill/>
              <a:prstDash val="solid"/>
              <a:miter/>
            </a:ln>
          </p:spPr>
          <p:txBody>
            <a:bodyPr rtlCol="0" anchor="ctr"/>
            <a:lstStyle/>
            <a:p>
              <a:endParaRPr lang="uk-UA" sz="900"/>
            </a:p>
          </p:txBody>
        </p:sp>
        <p:sp>
          <p:nvSpPr>
            <p:cNvPr id="813" name="Freeform: Shape 812">
              <a:extLst>
                <a:ext uri="{FF2B5EF4-FFF2-40B4-BE49-F238E27FC236}">
                  <a16:creationId xmlns:a16="http://schemas.microsoft.com/office/drawing/2014/main" id="{482EC2C3-61F5-6346-BC42-305807F8314D}"/>
                </a:ext>
              </a:extLst>
            </p:cNvPr>
            <p:cNvSpPr/>
            <p:nvPr/>
          </p:nvSpPr>
          <p:spPr>
            <a:xfrm>
              <a:off x="19979365" y="980030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4" y="113039"/>
                    <a:pt x="371365" y="153827"/>
                  </a:cubicBezTo>
                  <a:cubicBezTo>
                    <a:pt x="330550" y="194642"/>
                    <a:pt x="275241" y="217539"/>
                    <a:pt x="217539" y="217539"/>
                  </a:cubicBezTo>
                  <a:cubicBezTo>
                    <a:pt x="159836"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4" y="322066"/>
                    <a:pt x="371365" y="281277"/>
                  </a:cubicBezTo>
                  <a:cubicBezTo>
                    <a:pt x="330550" y="240462"/>
                    <a:pt x="275241" y="217539"/>
                    <a:pt x="217539" y="217539"/>
                  </a:cubicBezTo>
                  <a:cubicBezTo>
                    <a:pt x="159836" y="217539"/>
                    <a:pt x="104501" y="240462"/>
                    <a:pt x="63712" y="281277"/>
                  </a:cubicBezTo>
                  <a:close/>
                </a:path>
              </a:pathLst>
            </a:custGeom>
            <a:grpFill/>
            <a:ln w="27192" cap="flat">
              <a:noFill/>
              <a:prstDash val="solid"/>
              <a:miter/>
            </a:ln>
          </p:spPr>
          <p:txBody>
            <a:bodyPr rtlCol="0" anchor="ctr"/>
            <a:lstStyle/>
            <a:p>
              <a:endParaRPr lang="uk-UA" sz="900"/>
            </a:p>
          </p:txBody>
        </p:sp>
        <p:sp>
          <p:nvSpPr>
            <p:cNvPr id="814" name="Freeform: Shape 813">
              <a:extLst>
                <a:ext uri="{FF2B5EF4-FFF2-40B4-BE49-F238E27FC236}">
                  <a16:creationId xmlns:a16="http://schemas.microsoft.com/office/drawing/2014/main" id="{B251C04B-181E-05BD-11FB-6CEF388E8B73}"/>
                </a:ext>
              </a:extLst>
            </p:cNvPr>
            <p:cNvSpPr/>
            <p:nvPr/>
          </p:nvSpPr>
          <p:spPr>
            <a:xfrm>
              <a:off x="21719702" y="9800303"/>
              <a:ext cx="435077" cy="435077"/>
            </a:xfrm>
            <a:custGeom>
              <a:avLst/>
              <a:gdLst>
                <a:gd name="connsiteX0" fmla="*/ 0 w 435077"/>
                <a:gd name="connsiteY0" fmla="*/ 435077 h 435077"/>
                <a:gd name="connsiteX1" fmla="*/ 0 w 435077"/>
                <a:gd name="connsiteY1" fmla="*/ 0 h 435077"/>
                <a:gd name="connsiteX2" fmla="*/ 217512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12"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815" name="Freeform: Shape 814">
              <a:extLst>
                <a:ext uri="{FF2B5EF4-FFF2-40B4-BE49-F238E27FC236}">
                  <a16:creationId xmlns:a16="http://schemas.microsoft.com/office/drawing/2014/main" id="{B8C21C73-BCA6-EAFA-9BA3-05D21ADDC427}"/>
                </a:ext>
              </a:extLst>
            </p:cNvPr>
            <p:cNvSpPr/>
            <p:nvPr/>
          </p:nvSpPr>
          <p:spPr>
            <a:xfrm>
              <a:off x="20849520" y="980030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5 w 435077"/>
                <a:gd name="connsiteY3" fmla="*/ 27 h 435077"/>
                <a:gd name="connsiteX4" fmla="*/ 435077 w 435077"/>
                <a:gd name="connsiteY4" fmla="*/ 217566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5" y="27"/>
                  </a:lnTo>
                  <a:lnTo>
                    <a:pt x="435077" y="217566"/>
                  </a:lnTo>
                  <a:lnTo>
                    <a:pt x="217565"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816" name="Freeform: Shape 815">
              <a:extLst>
                <a:ext uri="{FF2B5EF4-FFF2-40B4-BE49-F238E27FC236}">
                  <a16:creationId xmlns:a16="http://schemas.microsoft.com/office/drawing/2014/main" id="{A5F8B83F-F335-8124-82E0-E0E894BB8F58}"/>
                </a:ext>
              </a:extLst>
            </p:cNvPr>
            <p:cNvSpPr/>
            <p:nvPr/>
          </p:nvSpPr>
          <p:spPr>
            <a:xfrm>
              <a:off x="22589856" y="9800303"/>
              <a:ext cx="435077" cy="435077"/>
            </a:xfrm>
            <a:custGeom>
              <a:avLst/>
              <a:gdLst>
                <a:gd name="connsiteX0" fmla="*/ 435077 w 435077"/>
                <a:gd name="connsiteY0" fmla="*/ 435077 h 435077"/>
                <a:gd name="connsiteX1" fmla="*/ 435077 w 435077"/>
                <a:gd name="connsiteY1" fmla="*/ 0 h 435077"/>
                <a:gd name="connsiteX2" fmla="*/ 217567 w 435077"/>
                <a:gd name="connsiteY2" fmla="*/ 217566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7" y="217566"/>
                  </a:lnTo>
                  <a:lnTo>
                    <a:pt x="435077" y="435077"/>
                  </a:lnTo>
                  <a:close/>
                  <a:moveTo>
                    <a:pt x="0" y="435077"/>
                  </a:moveTo>
                  <a:lnTo>
                    <a:pt x="0" y="0"/>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817" name="Freeform: Shape 816">
              <a:extLst>
                <a:ext uri="{FF2B5EF4-FFF2-40B4-BE49-F238E27FC236}">
                  <a16:creationId xmlns:a16="http://schemas.microsoft.com/office/drawing/2014/main" id="{6B8E8762-6EA8-24BE-BEF2-89AA78C9F0FA}"/>
                </a:ext>
              </a:extLst>
            </p:cNvPr>
            <p:cNvSpPr/>
            <p:nvPr/>
          </p:nvSpPr>
          <p:spPr>
            <a:xfrm>
              <a:off x="23460039" y="980030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895" y="113039"/>
                    <a:pt x="0" y="57702"/>
                    <a:pt x="0" y="0"/>
                  </a:cubicBezTo>
                  <a:lnTo>
                    <a:pt x="217539" y="0"/>
                  </a:lnTo>
                  <a:lnTo>
                    <a:pt x="435077" y="0"/>
                  </a:lnTo>
                  <a:cubicBezTo>
                    <a:pt x="435077" y="57702"/>
                    <a:pt x="412154" y="113039"/>
                    <a:pt x="371339" y="153827"/>
                  </a:cubicBezTo>
                  <a:cubicBezTo>
                    <a:pt x="330550" y="194642"/>
                    <a:pt x="275213" y="217539"/>
                    <a:pt x="217539" y="217539"/>
                  </a:cubicBezTo>
                  <a:cubicBezTo>
                    <a:pt x="159836" y="217539"/>
                    <a:pt x="104501" y="194642"/>
                    <a:pt x="63712" y="153827"/>
                  </a:cubicBezTo>
                  <a:close/>
                  <a:moveTo>
                    <a:pt x="63712" y="281277"/>
                  </a:moveTo>
                  <a:cubicBezTo>
                    <a:pt x="22895" y="322066"/>
                    <a:pt x="0" y="377402"/>
                    <a:pt x="0" y="435077"/>
                  </a:cubicBezTo>
                  <a:lnTo>
                    <a:pt x="217539" y="435077"/>
                  </a:lnTo>
                  <a:lnTo>
                    <a:pt x="435077" y="435077"/>
                  </a:lnTo>
                  <a:cubicBezTo>
                    <a:pt x="435077" y="377402"/>
                    <a:pt x="412154" y="322066"/>
                    <a:pt x="371339" y="281277"/>
                  </a:cubicBezTo>
                  <a:cubicBezTo>
                    <a:pt x="330550" y="240462"/>
                    <a:pt x="275213" y="217539"/>
                    <a:pt x="217539" y="217539"/>
                  </a:cubicBezTo>
                  <a:cubicBezTo>
                    <a:pt x="159836" y="217539"/>
                    <a:pt x="104501" y="240462"/>
                    <a:pt x="63712" y="281277"/>
                  </a:cubicBezTo>
                  <a:close/>
                </a:path>
              </a:pathLst>
            </a:custGeom>
            <a:grpFill/>
            <a:ln w="27192" cap="flat">
              <a:noFill/>
              <a:prstDash val="solid"/>
              <a:miter/>
            </a:ln>
          </p:spPr>
          <p:txBody>
            <a:bodyPr rtlCol="0" anchor="ctr"/>
            <a:lstStyle/>
            <a:p>
              <a:endParaRPr lang="uk-UA" sz="900"/>
            </a:p>
          </p:txBody>
        </p:sp>
        <p:sp>
          <p:nvSpPr>
            <p:cNvPr id="818" name="Freeform: Shape 817">
              <a:extLst>
                <a:ext uri="{FF2B5EF4-FFF2-40B4-BE49-F238E27FC236}">
                  <a16:creationId xmlns:a16="http://schemas.microsoft.com/office/drawing/2014/main" id="{073F88B0-F6D4-3CD4-3960-F724EE8BC608}"/>
                </a:ext>
              </a:extLst>
            </p:cNvPr>
            <p:cNvSpPr/>
            <p:nvPr/>
          </p:nvSpPr>
          <p:spPr>
            <a:xfrm>
              <a:off x="24330194" y="980030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819" name="Freeform: Shape 818">
              <a:extLst>
                <a:ext uri="{FF2B5EF4-FFF2-40B4-BE49-F238E27FC236}">
                  <a16:creationId xmlns:a16="http://schemas.microsoft.com/office/drawing/2014/main" id="{9C4CBAC5-3DCF-602F-2A55-0A989B0BCFB5}"/>
                </a:ext>
              </a:extLst>
            </p:cNvPr>
            <p:cNvSpPr/>
            <p:nvPr/>
          </p:nvSpPr>
          <p:spPr>
            <a:xfrm>
              <a:off x="835742" y="1067045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820" name="Freeform: Shape 819">
              <a:extLst>
                <a:ext uri="{FF2B5EF4-FFF2-40B4-BE49-F238E27FC236}">
                  <a16:creationId xmlns:a16="http://schemas.microsoft.com/office/drawing/2014/main" id="{40EBF616-C628-356B-FEFE-E2BE0CBDC26A}"/>
                </a:ext>
              </a:extLst>
            </p:cNvPr>
            <p:cNvSpPr/>
            <p:nvPr/>
          </p:nvSpPr>
          <p:spPr>
            <a:xfrm>
              <a:off x="-34407" y="10670458"/>
              <a:ext cx="435072" cy="435077"/>
            </a:xfrm>
            <a:custGeom>
              <a:avLst/>
              <a:gdLst>
                <a:gd name="connsiteX0" fmla="*/ 371360 w 435072"/>
                <a:gd name="connsiteY0" fmla="*/ 63739 h 435077"/>
                <a:gd name="connsiteX1" fmla="*/ 435072 w 435072"/>
                <a:gd name="connsiteY1" fmla="*/ 217539 h 435077"/>
                <a:gd name="connsiteX2" fmla="*/ 217724 w 435072"/>
                <a:gd name="connsiteY2" fmla="*/ 217539 h 435077"/>
                <a:gd name="connsiteX3" fmla="*/ 371360 w 435072"/>
                <a:gd name="connsiteY3" fmla="*/ 281277 h 435077"/>
                <a:gd name="connsiteX4" fmla="*/ 435072 w 435072"/>
                <a:gd name="connsiteY4" fmla="*/ 435077 h 435077"/>
                <a:gd name="connsiteX5" fmla="*/ 217533 w 435072"/>
                <a:gd name="connsiteY5" fmla="*/ 435077 h 435077"/>
                <a:gd name="connsiteX6" fmla="*/ 5 w 435072"/>
                <a:gd name="connsiteY6" fmla="*/ 435077 h 435077"/>
                <a:gd name="connsiteX7" fmla="*/ 63720 w 435072"/>
                <a:gd name="connsiteY7" fmla="*/ 281277 h 435077"/>
                <a:gd name="connsiteX8" fmla="*/ 217370 w 435072"/>
                <a:gd name="connsiteY8" fmla="*/ 217539 h 435077"/>
                <a:gd name="connsiteX9" fmla="*/ 0 w 435072"/>
                <a:gd name="connsiteY9" fmla="*/ 217539 h 435077"/>
                <a:gd name="connsiteX10" fmla="*/ 63717 w 435072"/>
                <a:gd name="connsiteY10" fmla="*/ 63739 h 435077"/>
                <a:gd name="connsiteX11" fmla="*/ 217533 w 435072"/>
                <a:gd name="connsiteY11" fmla="*/ 0 h 435077"/>
                <a:gd name="connsiteX12" fmla="*/ 371360 w 435072"/>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2" h="435077">
                  <a:moveTo>
                    <a:pt x="371360" y="63739"/>
                  </a:moveTo>
                  <a:cubicBezTo>
                    <a:pt x="412149" y="104527"/>
                    <a:pt x="435072" y="159864"/>
                    <a:pt x="435072" y="217539"/>
                  </a:cubicBezTo>
                  <a:lnTo>
                    <a:pt x="217724" y="217539"/>
                  </a:lnTo>
                  <a:cubicBezTo>
                    <a:pt x="275344" y="217593"/>
                    <a:pt x="330599" y="240516"/>
                    <a:pt x="371360" y="281277"/>
                  </a:cubicBezTo>
                  <a:cubicBezTo>
                    <a:pt x="412176" y="322066"/>
                    <a:pt x="435072" y="377402"/>
                    <a:pt x="435072" y="435077"/>
                  </a:cubicBezTo>
                  <a:lnTo>
                    <a:pt x="217533" y="435077"/>
                  </a:lnTo>
                  <a:lnTo>
                    <a:pt x="5" y="435077"/>
                  </a:lnTo>
                  <a:cubicBezTo>
                    <a:pt x="5" y="377402"/>
                    <a:pt x="22923" y="322066"/>
                    <a:pt x="63720" y="281277"/>
                  </a:cubicBezTo>
                  <a:cubicBezTo>
                    <a:pt x="104476" y="240516"/>
                    <a:pt x="159750" y="217593"/>
                    <a:pt x="217370" y="217539"/>
                  </a:cubicBezTo>
                  <a:lnTo>
                    <a:pt x="0" y="217539"/>
                  </a:lnTo>
                  <a:cubicBezTo>
                    <a:pt x="0" y="159864"/>
                    <a:pt x="22921" y="104527"/>
                    <a:pt x="63717" y="63739"/>
                  </a:cubicBezTo>
                  <a:cubicBezTo>
                    <a:pt x="104514" y="22923"/>
                    <a:pt x="159858" y="0"/>
                    <a:pt x="217533" y="0"/>
                  </a:cubicBezTo>
                  <a:cubicBezTo>
                    <a:pt x="275236" y="0"/>
                    <a:pt x="330572" y="22923"/>
                    <a:pt x="371360" y="63739"/>
                  </a:cubicBezTo>
                  <a:close/>
                </a:path>
              </a:pathLst>
            </a:custGeom>
            <a:grpFill/>
            <a:ln w="27192" cap="flat">
              <a:noFill/>
              <a:prstDash val="solid"/>
              <a:miter/>
            </a:ln>
          </p:spPr>
          <p:txBody>
            <a:bodyPr rtlCol="0" anchor="ctr"/>
            <a:lstStyle/>
            <a:p>
              <a:endParaRPr lang="uk-UA" sz="900"/>
            </a:p>
          </p:txBody>
        </p:sp>
        <p:sp>
          <p:nvSpPr>
            <p:cNvPr id="821" name="Freeform: Shape 820">
              <a:extLst>
                <a:ext uri="{FF2B5EF4-FFF2-40B4-BE49-F238E27FC236}">
                  <a16:creationId xmlns:a16="http://schemas.microsoft.com/office/drawing/2014/main" id="{FB5E99E6-1100-4173-BE40-BD73CCCE9705}"/>
                </a:ext>
              </a:extLst>
            </p:cNvPr>
            <p:cNvSpPr/>
            <p:nvPr/>
          </p:nvSpPr>
          <p:spPr>
            <a:xfrm>
              <a:off x="1705924" y="1067045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822" name="Freeform: Shape 821">
              <a:extLst>
                <a:ext uri="{FF2B5EF4-FFF2-40B4-BE49-F238E27FC236}">
                  <a16:creationId xmlns:a16="http://schemas.microsoft.com/office/drawing/2014/main" id="{0C2BB366-99CA-03DE-E8BC-FB8D7865A6ED}"/>
                </a:ext>
              </a:extLst>
            </p:cNvPr>
            <p:cNvSpPr/>
            <p:nvPr/>
          </p:nvSpPr>
          <p:spPr>
            <a:xfrm>
              <a:off x="2576079" y="10670458"/>
              <a:ext cx="435104" cy="435077"/>
            </a:xfrm>
            <a:custGeom>
              <a:avLst/>
              <a:gdLst>
                <a:gd name="connsiteX0" fmla="*/ 217539 w 435104"/>
                <a:gd name="connsiteY0" fmla="*/ 0 h 435077"/>
                <a:gd name="connsiteX1" fmla="*/ 0 w 435104"/>
                <a:gd name="connsiteY1" fmla="*/ 0 h 435077"/>
                <a:gd name="connsiteX2" fmla="*/ 0 w 435104"/>
                <a:gd name="connsiteY2" fmla="*/ 217539 h 435077"/>
                <a:gd name="connsiteX3" fmla="*/ 217539 w 435104"/>
                <a:gd name="connsiteY3" fmla="*/ 0 h 435077"/>
                <a:gd name="connsiteX4" fmla="*/ 435104 w 435104"/>
                <a:gd name="connsiteY4" fmla="*/ 0 h 435077"/>
                <a:gd name="connsiteX5" fmla="*/ 435104 w 435104"/>
                <a:gd name="connsiteY5" fmla="*/ 217539 h 435077"/>
                <a:gd name="connsiteX6" fmla="*/ 217566 w 435104"/>
                <a:gd name="connsiteY6" fmla="*/ 0 h 435077"/>
                <a:gd name="connsiteX7" fmla="*/ 435104 w 435104"/>
                <a:gd name="connsiteY7" fmla="*/ 0 h 435077"/>
                <a:gd name="connsiteX8" fmla="*/ 217566 w 435104"/>
                <a:gd name="connsiteY8" fmla="*/ 435077 h 435077"/>
                <a:gd name="connsiteX9" fmla="*/ 435104 w 435104"/>
                <a:gd name="connsiteY9" fmla="*/ 217539 h 435077"/>
                <a:gd name="connsiteX10" fmla="*/ 435104 w 435104"/>
                <a:gd name="connsiteY10" fmla="*/ 435077 h 435077"/>
                <a:gd name="connsiteX11" fmla="*/ 217566 w 435104"/>
                <a:gd name="connsiteY11" fmla="*/ 435077 h 435077"/>
                <a:gd name="connsiteX12" fmla="*/ 217566 w 435104"/>
                <a:gd name="connsiteY12" fmla="*/ 435077 h 435077"/>
                <a:gd name="connsiteX13" fmla="*/ 27 w 435104"/>
                <a:gd name="connsiteY13" fmla="*/ 217539 h 435077"/>
                <a:gd name="connsiteX14" fmla="*/ 27 w 435104"/>
                <a:gd name="connsiteY14" fmla="*/ 435077 h 435077"/>
                <a:gd name="connsiteX15" fmla="*/ 217566 w 435104"/>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4" h="435077">
                  <a:moveTo>
                    <a:pt x="217539" y="0"/>
                  </a:moveTo>
                  <a:lnTo>
                    <a:pt x="0" y="0"/>
                  </a:lnTo>
                  <a:lnTo>
                    <a:pt x="0" y="217539"/>
                  </a:lnTo>
                  <a:lnTo>
                    <a:pt x="217539" y="0"/>
                  </a:lnTo>
                  <a:close/>
                  <a:moveTo>
                    <a:pt x="435104" y="0"/>
                  </a:moveTo>
                  <a:lnTo>
                    <a:pt x="435104" y="217539"/>
                  </a:lnTo>
                  <a:lnTo>
                    <a:pt x="217566" y="0"/>
                  </a:lnTo>
                  <a:lnTo>
                    <a:pt x="435104" y="0"/>
                  </a:lnTo>
                  <a:close/>
                  <a:moveTo>
                    <a:pt x="217566" y="435077"/>
                  </a:moveTo>
                  <a:lnTo>
                    <a:pt x="435104" y="217539"/>
                  </a:lnTo>
                  <a:lnTo>
                    <a:pt x="435104" y="435077"/>
                  </a:lnTo>
                  <a:lnTo>
                    <a:pt x="217566" y="435077"/>
                  </a:lnTo>
                  <a:close/>
                  <a:moveTo>
                    <a:pt x="217566" y="435077"/>
                  </a:moveTo>
                  <a:lnTo>
                    <a:pt x="27" y="217539"/>
                  </a:lnTo>
                  <a:lnTo>
                    <a:pt x="27" y="435077"/>
                  </a:lnTo>
                  <a:lnTo>
                    <a:pt x="217566" y="435077"/>
                  </a:lnTo>
                  <a:close/>
                </a:path>
              </a:pathLst>
            </a:custGeom>
            <a:grpFill/>
            <a:ln w="27192" cap="flat">
              <a:noFill/>
              <a:prstDash val="solid"/>
              <a:miter/>
            </a:ln>
          </p:spPr>
          <p:txBody>
            <a:bodyPr rtlCol="0" anchor="ctr"/>
            <a:lstStyle/>
            <a:p>
              <a:endParaRPr lang="uk-UA" sz="900"/>
            </a:p>
          </p:txBody>
        </p:sp>
        <p:sp>
          <p:nvSpPr>
            <p:cNvPr id="823" name="Freeform: Shape 822">
              <a:extLst>
                <a:ext uri="{FF2B5EF4-FFF2-40B4-BE49-F238E27FC236}">
                  <a16:creationId xmlns:a16="http://schemas.microsoft.com/office/drawing/2014/main" id="{6CEAC308-880D-8C77-54EC-5617422ADF2F}"/>
                </a:ext>
              </a:extLst>
            </p:cNvPr>
            <p:cNvSpPr/>
            <p:nvPr/>
          </p:nvSpPr>
          <p:spPr>
            <a:xfrm>
              <a:off x="4316416" y="1067045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824" name="Freeform: Shape 823">
              <a:extLst>
                <a:ext uri="{FF2B5EF4-FFF2-40B4-BE49-F238E27FC236}">
                  <a16:creationId xmlns:a16="http://schemas.microsoft.com/office/drawing/2014/main" id="{A5D7FA41-B85A-4411-A136-09231EDEDBD4}"/>
                </a:ext>
              </a:extLst>
            </p:cNvPr>
            <p:cNvSpPr/>
            <p:nvPr/>
          </p:nvSpPr>
          <p:spPr>
            <a:xfrm>
              <a:off x="3446261" y="10670458"/>
              <a:ext cx="435077" cy="435077"/>
            </a:xfrm>
            <a:custGeom>
              <a:avLst/>
              <a:gdLst>
                <a:gd name="connsiteX0" fmla="*/ 371366 w 435077"/>
                <a:gd name="connsiteY0" fmla="*/ 63739 h 435077"/>
                <a:gd name="connsiteX1" fmla="*/ 435077 w 435077"/>
                <a:gd name="connsiteY1" fmla="*/ 217539 h 435077"/>
                <a:gd name="connsiteX2" fmla="*/ 217702 w 435077"/>
                <a:gd name="connsiteY2" fmla="*/ 217539 h 435077"/>
                <a:gd name="connsiteX3" fmla="*/ 371366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6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39"/>
                  </a:moveTo>
                  <a:cubicBezTo>
                    <a:pt x="412154" y="104527"/>
                    <a:pt x="435077" y="159864"/>
                    <a:pt x="435077" y="217539"/>
                  </a:cubicBezTo>
                  <a:lnTo>
                    <a:pt x="217702" y="217539"/>
                  </a:lnTo>
                  <a:cubicBezTo>
                    <a:pt x="275350" y="217593"/>
                    <a:pt x="330605" y="240516"/>
                    <a:pt x="371366" y="281277"/>
                  </a:cubicBezTo>
                  <a:cubicBezTo>
                    <a:pt x="412154" y="322066"/>
                    <a:pt x="435077" y="377402"/>
                    <a:pt x="435077" y="435077"/>
                  </a:cubicBezTo>
                  <a:lnTo>
                    <a:pt x="217539" y="435077"/>
                  </a:lnTo>
                  <a:lnTo>
                    <a:pt x="0" y="435077"/>
                  </a:lnTo>
                  <a:cubicBezTo>
                    <a:pt x="0" y="377402"/>
                    <a:pt x="22923" y="322066"/>
                    <a:pt x="63712" y="281277"/>
                  </a:cubicBezTo>
                  <a:cubicBezTo>
                    <a:pt x="104473" y="240516"/>
                    <a:pt x="159728" y="217593"/>
                    <a:pt x="217376" y="217539"/>
                  </a:cubicBezTo>
                  <a:lnTo>
                    <a:pt x="0" y="217539"/>
                  </a:lnTo>
                  <a:cubicBezTo>
                    <a:pt x="0" y="159864"/>
                    <a:pt x="22923" y="104527"/>
                    <a:pt x="63712" y="63739"/>
                  </a:cubicBezTo>
                  <a:cubicBezTo>
                    <a:pt x="104500" y="22923"/>
                    <a:pt x="159837" y="0"/>
                    <a:pt x="217539" y="0"/>
                  </a:cubicBezTo>
                  <a:cubicBezTo>
                    <a:pt x="275241" y="0"/>
                    <a:pt x="330577" y="22923"/>
                    <a:pt x="371366" y="63739"/>
                  </a:cubicBezTo>
                  <a:close/>
                </a:path>
              </a:pathLst>
            </a:custGeom>
            <a:grpFill/>
            <a:ln w="27192" cap="flat">
              <a:noFill/>
              <a:prstDash val="solid"/>
              <a:miter/>
            </a:ln>
          </p:spPr>
          <p:txBody>
            <a:bodyPr rtlCol="0" anchor="ctr"/>
            <a:lstStyle/>
            <a:p>
              <a:endParaRPr lang="uk-UA" sz="900"/>
            </a:p>
          </p:txBody>
        </p:sp>
        <p:sp>
          <p:nvSpPr>
            <p:cNvPr id="825" name="Freeform: Shape 824">
              <a:extLst>
                <a:ext uri="{FF2B5EF4-FFF2-40B4-BE49-F238E27FC236}">
                  <a16:creationId xmlns:a16="http://schemas.microsoft.com/office/drawing/2014/main" id="{B1EFB2B2-7531-F8CA-F418-104888D753F8}"/>
                </a:ext>
              </a:extLst>
            </p:cNvPr>
            <p:cNvSpPr/>
            <p:nvPr/>
          </p:nvSpPr>
          <p:spPr>
            <a:xfrm>
              <a:off x="5186597" y="10670458"/>
              <a:ext cx="435077" cy="435104"/>
            </a:xfrm>
            <a:custGeom>
              <a:avLst/>
              <a:gdLst>
                <a:gd name="connsiteX0" fmla="*/ 0 w 435077"/>
                <a:gd name="connsiteY0" fmla="*/ 435077 h 435104"/>
                <a:gd name="connsiteX1" fmla="*/ 217512 w 435077"/>
                <a:gd name="connsiteY1" fmla="*/ 435077 h 435104"/>
                <a:gd name="connsiteX2" fmla="*/ 217512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12" y="435077"/>
                  </a:lnTo>
                  <a:lnTo>
                    <a:pt x="217512"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826" name="Freeform: Shape 825">
              <a:extLst>
                <a:ext uri="{FF2B5EF4-FFF2-40B4-BE49-F238E27FC236}">
                  <a16:creationId xmlns:a16="http://schemas.microsoft.com/office/drawing/2014/main" id="{565AD9AE-3AA6-2A7D-AE19-32B2B33024F8}"/>
                </a:ext>
              </a:extLst>
            </p:cNvPr>
            <p:cNvSpPr/>
            <p:nvPr/>
          </p:nvSpPr>
          <p:spPr>
            <a:xfrm>
              <a:off x="6056752" y="10670458"/>
              <a:ext cx="435077" cy="435077"/>
            </a:xfrm>
            <a:custGeom>
              <a:avLst/>
              <a:gdLst>
                <a:gd name="connsiteX0" fmla="*/ 217539 w 435077"/>
                <a:gd name="connsiteY0" fmla="*/ 0 h 435077"/>
                <a:gd name="connsiteX1" fmla="*/ 217539 w 435077"/>
                <a:gd name="connsiteY1" fmla="*/ 0 h 435077"/>
                <a:gd name="connsiteX2" fmla="*/ 0 w 435077"/>
                <a:gd name="connsiteY2" fmla="*/ 0 h 435077"/>
                <a:gd name="connsiteX3" fmla="*/ 0 w 435077"/>
                <a:gd name="connsiteY3" fmla="*/ 217539 h 435077"/>
                <a:gd name="connsiteX4" fmla="*/ 217539 w 435077"/>
                <a:gd name="connsiteY4" fmla="*/ 27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217539" y="0"/>
                  </a:lnTo>
                  <a:lnTo>
                    <a:pt x="0" y="0"/>
                  </a:lnTo>
                  <a:lnTo>
                    <a:pt x="0" y="217539"/>
                  </a:lnTo>
                  <a:lnTo>
                    <a:pt x="217539" y="27"/>
                  </a:lnTo>
                  <a:lnTo>
                    <a:pt x="435077" y="217539"/>
                  </a:lnTo>
                  <a:lnTo>
                    <a:pt x="217539" y="435077"/>
                  </a:lnTo>
                  <a:lnTo>
                    <a:pt x="0" y="217539"/>
                  </a:lnTo>
                  <a:lnTo>
                    <a:pt x="0" y="435077"/>
                  </a:lnTo>
                  <a:lnTo>
                    <a:pt x="217539" y="435077"/>
                  </a:lnTo>
                  <a:lnTo>
                    <a:pt x="435077" y="435077"/>
                  </a:lnTo>
                  <a:lnTo>
                    <a:pt x="435077" y="217539"/>
                  </a:lnTo>
                  <a:lnTo>
                    <a:pt x="435077" y="0"/>
                  </a:lnTo>
                  <a:lnTo>
                    <a:pt x="217539" y="0"/>
                  </a:lnTo>
                  <a:close/>
                </a:path>
              </a:pathLst>
            </a:custGeom>
            <a:grpFill/>
            <a:ln w="27192" cap="flat">
              <a:noFill/>
              <a:prstDash val="solid"/>
              <a:miter/>
            </a:ln>
          </p:spPr>
          <p:txBody>
            <a:bodyPr rtlCol="0" anchor="ctr"/>
            <a:lstStyle/>
            <a:p>
              <a:endParaRPr lang="uk-UA" sz="900"/>
            </a:p>
          </p:txBody>
        </p:sp>
        <p:sp>
          <p:nvSpPr>
            <p:cNvPr id="827" name="Freeform: Shape 826">
              <a:extLst>
                <a:ext uri="{FF2B5EF4-FFF2-40B4-BE49-F238E27FC236}">
                  <a16:creationId xmlns:a16="http://schemas.microsoft.com/office/drawing/2014/main" id="{46422B67-C5B9-4450-FF54-B2185459E477}"/>
                </a:ext>
              </a:extLst>
            </p:cNvPr>
            <p:cNvSpPr/>
            <p:nvPr/>
          </p:nvSpPr>
          <p:spPr>
            <a:xfrm>
              <a:off x="7797062" y="10670458"/>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27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66 h 435077"/>
                <a:gd name="connsiteX9" fmla="*/ 435077 w 435077"/>
                <a:gd name="connsiteY9" fmla="*/ 217566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27"/>
                  </a:lnTo>
                  <a:lnTo>
                    <a:pt x="435077" y="217539"/>
                  </a:lnTo>
                  <a:lnTo>
                    <a:pt x="435077" y="217539"/>
                  </a:lnTo>
                  <a:lnTo>
                    <a:pt x="435077" y="217539"/>
                  </a:lnTo>
                  <a:lnTo>
                    <a:pt x="435077" y="217566"/>
                  </a:lnTo>
                  <a:lnTo>
                    <a:pt x="435077" y="217566"/>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828" name="Freeform: Shape 827">
              <a:extLst>
                <a:ext uri="{FF2B5EF4-FFF2-40B4-BE49-F238E27FC236}">
                  <a16:creationId xmlns:a16="http://schemas.microsoft.com/office/drawing/2014/main" id="{9464D10F-B714-F3AC-03F0-8C4DDA8D6503}"/>
                </a:ext>
              </a:extLst>
            </p:cNvPr>
            <p:cNvSpPr/>
            <p:nvPr/>
          </p:nvSpPr>
          <p:spPr>
            <a:xfrm>
              <a:off x="6926907" y="10670458"/>
              <a:ext cx="435077" cy="435077"/>
            </a:xfrm>
            <a:custGeom>
              <a:avLst/>
              <a:gdLst>
                <a:gd name="connsiteX0" fmla="*/ 371366 w 435077"/>
                <a:gd name="connsiteY0" fmla="*/ 63739 h 435077"/>
                <a:gd name="connsiteX1" fmla="*/ 435077 w 435077"/>
                <a:gd name="connsiteY1" fmla="*/ 217539 h 435077"/>
                <a:gd name="connsiteX2" fmla="*/ 217702 w 435077"/>
                <a:gd name="connsiteY2" fmla="*/ 217539 h 435077"/>
                <a:gd name="connsiteX3" fmla="*/ 371366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6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39"/>
                  </a:moveTo>
                  <a:cubicBezTo>
                    <a:pt x="412155" y="104527"/>
                    <a:pt x="435077" y="159864"/>
                    <a:pt x="435077" y="217539"/>
                  </a:cubicBezTo>
                  <a:lnTo>
                    <a:pt x="217702" y="217539"/>
                  </a:lnTo>
                  <a:cubicBezTo>
                    <a:pt x="275350" y="217593"/>
                    <a:pt x="330605" y="240516"/>
                    <a:pt x="371366" y="281277"/>
                  </a:cubicBezTo>
                  <a:cubicBezTo>
                    <a:pt x="412155" y="322066"/>
                    <a:pt x="435077" y="377402"/>
                    <a:pt x="435077" y="435077"/>
                  </a:cubicBezTo>
                  <a:lnTo>
                    <a:pt x="217539" y="435077"/>
                  </a:lnTo>
                  <a:lnTo>
                    <a:pt x="0" y="435077"/>
                  </a:lnTo>
                  <a:cubicBezTo>
                    <a:pt x="0" y="377402"/>
                    <a:pt x="22924" y="322066"/>
                    <a:pt x="63712" y="281277"/>
                  </a:cubicBezTo>
                  <a:cubicBezTo>
                    <a:pt x="104473" y="240516"/>
                    <a:pt x="159728" y="217593"/>
                    <a:pt x="217376" y="217539"/>
                  </a:cubicBezTo>
                  <a:lnTo>
                    <a:pt x="0" y="217539"/>
                  </a:lnTo>
                  <a:cubicBezTo>
                    <a:pt x="0" y="159864"/>
                    <a:pt x="22924" y="104527"/>
                    <a:pt x="63712" y="63739"/>
                  </a:cubicBezTo>
                  <a:cubicBezTo>
                    <a:pt x="104501" y="22923"/>
                    <a:pt x="159837" y="0"/>
                    <a:pt x="217539" y="0"/>
                  </a:cubicBezTo>
                  <a:cubicBezTo>
                    <a:pt x="275241" y="0"/>
                    <a:pt x="330550" y="22923"/>
                    <a:pt x="371366" y="63739"/>
                  </a:cubicBezTo>
                  <a:close/>
                </a:path>
              </a:pathLst>
            </a:custGeom>
            <a:grpFill/>
            <a:ln w="27192" cap="flat">
              <a:noFill/>
              <a:prstDash val="solid"/>
              <a:miter/>
            </a:ln>
          </p:spPr>
          <p:txBody>
            <a:bodyPr rtlCol="0" anchor="ctr"/>
            <a:lstStyle/>
            <a:p>
              <a:endParaRPr lang="uk-UA" sz="900"/>
            </a:p>
          </p:txBody>
        </p:sp>
        <p:sp>
          <p:nvSpPr>
            <p:cNvPr id="829" name="Freeform: Shape 828">
              <a:extLst>
                <a:ext uri="{FF2B5EF4-FFF2-40B4-BE49-F238E27FC236}">
                  <a16:creationId xmlns:a16="http://schemas.microsoft.com/office/drawing/2014/main" id="{1183B84F-026F-FAFE-4AAC-AD4480F42BB7}"/>
                </a:ext>
              </a:extLst>
            </p:cNvPr>
            <p:cNvSpPr/>
            <p:nvPr/>
          </p:nvSpPr>
          <p:spPr>
            <a:xfrm>
              <a:off x="8667217" y="1067045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830" name="Freeform: Shape 829">
              <a:extLst>
                <a:ext uri="{FF2B5EF4-FFF2-40B4-BE49-F238E27FC236}">
                  <a16:creationId xmlns:a16="http://schemas.microsoft.com/office/drawing/2014/main" id="{981E742B-0645-2359-13BD-2FF05FD96E61}"/>
                </a:ext>
              </a:extLst>
            </p:cNvPr>
            <p:cNvSpPr/>
            <p:nvPr/>
          </p:nvSpPr>
          <p:spPr>
            <a:xfrm>
              <a:off x="9537371" y="1067045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p>
          </p:txBody>
        </p:sp>
        <p:sp>
          <p:nvSpPr>
            <p:cNvPr id="831" name="Freeform: Shape 830">
              <a:extLst>
                <a:ext uri="{FF2B5EF4-FFF2-40B4-BE49-F238E27FC236}">
                  <a16:creationId xmlns:a16="http://schemas.microsoft.com/office/drawing/2014/main" id="{F99D13F0-9173-E477-5F3C-C4001FF47B2F}"/>
                </a:ext>
              </a:extLst>
            </p:cNvPr>
            <p:cNvSpPr/>
            <p:nvPr/>
          </p:nvSpPr>
          <p:spPr>
            <a:xfrm>
              <a:off x="11277709" y="10670458"/>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27 h 435077"/>
                <a:gd name="connsiteX5" fmla="*/ 435049 w 435077"/>
                <a:gd name="connsiteY5" fmla="*/ 217539 h 435077"/>
                <a:gd name="connsiteX6" fmla="*/ 435077 w 435077"/>
                <a:gd name="connsiteY6" fmla="*/ 217539 h 435077"/>
                <a:gd name="connsiteX7" fmla="*/ 435049 w 435077"/>
                <a:gd name="connsiteY7" fmla="*/ 217539 h 435077"/>
                <a:gd name="connsiteX8" fmla="*/ 435077 w 435077"/>
                <a:gd name="connsiteY8" fmla="*/ 217566 h 435077"/>
                <a:gd name="connsiteX9" fmla="*/ 435049 w 435077"/>
                <a:gd name="connsiteY9" fmla="*/ 217566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27"/>
                  </a:lnTo>
                  <a:lnTo>
                    <a:pt x="435049" y="217539"/>
                  </a:lnTo>
                  <a:lnTo>
                    <a:pt x="435077" y="217539"/>
                  </a:lnTo>
                  <a:lnTo>
                    <a:pt x="435049" y="217539"/>
                  </a:lnTo>
                  <a:lnTo>
                    <a:pt x="435077" y="217566"/>
                  </a:lnTo>
                  <a:lnTo>
                    <a:pt x="435049" y="217566"/>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832" name="Freeform: Shape 831">
              <a:extLst>
                <a:ext uri="{FF2B5EF4-FFF2-40B4-BE49-F238E27FC236}">
                  <a16:creationId xmlns:a16="http://schemas.microsoft.com/office/drawing/2014/main" id="{6AB07FA8-46DB-41A7-BFDB-9EE22FFA3F40}"/>
                </a:ext>
              </a:extLst>
            </p:cNvPr>
            <p:cNvSpPr/>
            <p:nvPr/>
          </p:nvSpPr>
          <p:spPr>
            <a:xfrm>
              <a:off x="10407526" y="10670458"/>
              <a:ext cx="435104" cy="435077"/>
            </a:xfrm>
            <a:custGeom>
              <a:avLst/>
              <a:gdLst>
                <a:gd name="connsiteX0" fmla="*/ 371366 w 435104"/>
                <a:gd name="connsiteY0" fmla="*/ 63739 h 435077"/>
                <a:gd name="connsiteX1" fmla="*/ 435077 w 435104"/>
                <a:gd name="connsiteY1" fmla="*/ 217539 h 435077"/>
                <a:gd name="connsiteX2" fmla="*/ 217730 w 435104"/>
                <a:gd name="connsiteY2" fmla="*/ 217539 h 435077"/>
                <a:gd name="connsiteX3" fmla="*/ 371366 w 435104"/>
                <a:gd name="connsiteY3" fmla="*/ 281277 h 435077"/>
                <a:gd name="connsiteX4" fmla="*/ 435105 w 435104"/>
                <a:gd name="connsiteY4" fmla="*/ 435077 h 435077"/>
                <a:gd name="connsiteX5" fmla="*/ 217566 w 435104"/>
                <a:gd name="connsiteY5" fmla="*/ 435077 h 435077"/>
                <a:gd name="connsiteX6" fmla="*/ 27 w 435104"/>
                <a:gd name="connsiteY6" fmla="*/ 435077 h 435077"/>
                <a:gd name="connsiteX7" fmla="*/ 63739 w 435104"/>
                <a:gd name="connsiteY7" fmla="*/ 281277 h 435077"/>
                <a:gd name="connsiteX8" fmla="*/ 217376 w 435104"/>
                <a:gd name="connsiteY8" fmla="*/ 217539 h 435077"/>
                <a:gd name="connsiteX9" fmla="*/ 0 w 435104"/>
                <a:gd name="connsiteY9" fmla="*/ 217539 h 435077"/>
                <a:gd name="connsiteX10" fmla="*/ 63739 w 435104"/>
                <a:gd name="connsiteY10" fmla="*/ 63739 h 435077"/>
                <a:gd name="connsiteX11" fmla="*/ 217539 w 435104"/>
                <a:gd name="connsiteY11" fmla="*/ 0 h 435077"/>
                <a:gd name="connsiteX12" fmla="*/ 371366 w 435104"/>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4" h="435077">
                  <a:moveTo>
                    <a:pt x="371366" y="63739"/>
                  </a:moveTo>
                  <a:cubicBezTo>
                    <a:pt x="412182" y="104527"/>
                    <a:pt x="435077" y="159864"/>
                    <a:pt x="435077" y="217539"/>
                  </a:cubicBezTo>
                  <a:lnTo>
                    <a:pt x="217730" y="217539"/>
                  </a:lnTo>
                  <a:cubicBezTo>
                    <a:pt x="275350" y="217593"/>
                    <a:pt x="330632" y="240516"/>
                    <a:pt x="371366" y="281277"/>
                  </a:cubicBezTo>
                  <a:cubicBezTo>
                    <a:pt x="412182" y="322066"/>
                    <a:pt x="435105" y="377402"/>
                    <a:pt x="435105" y="435077"/>
                  </a:cubicBezTo>
                  <a:lnTo>
                    <a:pt x="217566" y="435077"/>
                  </a:lnTo>
                  <a:lnTo>
                    <a:pt x="27" y="435077"/>
                  </a:lnTo>
                  <a:cubicBezTo>
                    <a:pt x="27" y="377402"/>
                    <a:pt x="22924" y="322066"/>
                    <a:pt x="63739" y="281277"/>
                  </a:cubicBezTo>
                  <a:cubicBezTo>
                    <a:pt x="104501" y="240516"/>
                    <a:pt x="159755" y="217593"/>
                    <a:pt x="217376" y="217539"/>
                  </a:cubicBezTo>
                  <a:lnTo>
                    <a:pt x="0" y="217539"/>
                  </a:lnTo>
                  <a:cubicBezTo>
                    <a:pt x="0" y="159864"/>
                    <a:pt x="22924" y="104527"/>
                    <a:pt x="63739" y="63739"/>
                  </a:cubicBezTo>
                  <a:cubicBezTo>
                    <a:pt x="104527" y="22923"/>
                    <a:pt x="159864" y="0"/>
                    <a:pt x="217539" y="0"/>
                  </a:cubicBezTo>
                  <a:cubicBezTo>
                    <a:pt x="275241" y="0"/>
                    <a:pt x="330578" y="22923"/>
                    <a:pt x="371366" y="63739"/>
                  </a:cubicBezTo>
                  <a:close/>
                </a:path>
              </a:pathLst>
            </a:custGeom>
            <a:grpFill/>
            <a:ln w="27192" cap="flat">
              <a:noFill/>
              <a:prstDash val="solid"/>
              <a:miter/>
            </a:ln>
          </p:spPr>
          <p:txBody>
            <a:bodyPr rtlCol="0" anchor="ctr"/>
            <a:lstStyle/>
            <a:p>
              <a:endParaRPr lang="uk-UA" sz="900"/>
            </a:p>
          </p:txBody>
        </p:sp>
        <p:sp>
          <p:nvSpPr>
            <p:cNvPr id="833" name="Freeform: Shape 832">
              <a:extLst>
                <a:ext uri="{FF2B5EF4-FFF2-40B4-BE49-F238E27FC236}">
                  <a16:creationId xmlns:a16="http://schemas.microsoft.com/office/drawing/2014/main" id="{B2AB01CB-54E9-5996-2E71-DF3D627B93DF}"/>
                </a:ext>
              </a:extLst>
            </p:cNvPr>
            <p:cNvSpPr/>
            <p:nvPr/>
          </p:nvSpPr>
          <p:spPr>
            <a:xfrm>
              <a:off x="12147864" y="1067045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834" name="Freeform: Shape 833">
              <a:extLst>
                <a:ext uri="{FF2B5EF4-FFF2-40B4-BE49-F238E27FC236}">
                  <a16:creationId xmlns:a16="http://schemas.microsoft.com/office/drawing/2014/main" id="{FAFB29FF-401C-5949-11F2-71A18C816926}"/>
                </a:ext>
              </a:extLst>
            </p:cNvPr>
            <p:cNvSpPr/>
            <p:nvPr/>
          </p:nvSpPr>
          <p:spPr>
            <a:xfrm>
              <a:off x="13018045" y="1067045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835" name="Freeform: Shape 834">
              <a:extLst>
                <a:ext uri="{FF2B5EF4-FFF2-40B4-BE49-F238E27FC236}">
                  <a16:creationId xmlns:a16="http://schemas.microsoft.com/office/drawing/2014/main" id="{6B75025C-960D-C851-0C2E-5DC3BBC83A83}"/>
                </a:ext>
              </a:extLst>
            </p:cNvPr>
            <p:cNvSpPr/>
            <p:nvPr/>
          </p:nvSpPr>
          <p:spPr>
            <a:xfrm>
              <a:off x="14758328" y="1067045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836" name="Freeform: Shape 835">
              <a:extLst>
                <a:ext uri="{FF2B5EF4-FFF2-40B4-BE49-F238E27FC236}">
                  <a16:creationId xmlns:a16="http://schemas.microsoft.com/office/drawing/2014/main" id="{7C616A3F-F356-2BBF-636B-F5A90C0E66FB}"/>
                </a:ext>
              </a:extLst>
            </p:cNvPr>
            <p:cNvSpPr/>
            <p:nvPr/>
          </p:nvSpPr>
          <p:spPr>
            <a:xfrm>
              <a:off x="13888200" y="10670458"/>
              <a:ext cx="435077" cy="435077"/>
            </a:xfrm>
            <a:custGeom>
              <a:avLst/>
              <a:gdLst>
                <a:gd name="connsiteX0" fmla="*/ 371365 w 435077"/>
                <a:gd name="connsiteY0" fmla="*/ 63739 h 435077"/>
                <a:gd name="connsiteX1" fmla="*/ 435077 w 435077"/>
                <a:gd name="connsiteY1" fmla="*/ 217539 h 435077"/>
                <a:gd name="connsiteX2" fmla="*/ 217730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39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5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39"/>
                  </a:moveTo>
                  <a:cubicBezTo>
                    <a:pt x="412154" y="104527"/>
                    <a:pt x="435077" y="159864"/>
                    <a:pt x="435077" y="217539"/>
                  </a:cubicBezTo>
                  <a:lnTo>
                    <a:pt x="217730" y="217539"/>
                  </a:lnTo>
                  <a:cubicBezTo>
                    <a:pt x="275349" y="217593"/>
                    <a:pt x="330605" y="240516"/>
                    <a:pt x="371365" y="281277"/>
                  </a:cubicBezTo>
                  <a:cubicBezTo>
                    <a:pt x="412182" y="322066"/>
                    <a:pt x="435077" y="377402"/>
                    <a:pt x="435077" y="435077"/>
                  </a:cubicBezTo>
                  <a:lnTo>
                    <a:pt x="217539" y="435077"/>
                  </a:lnTo>
                  <a:lnTo>
                    <a:pt x="0" y="435077"/>
                  </a:lnTo>
                  <a:cubicBezTo>
                    <a:pt x="0" y="377402"/>
                    <a:pt x="22924" y="322066"/>
                    <a:pt x="63739" y="281277"/>
                  </a:cubicBezTo>
                  <a:cubicBezTo>
                    <a:pt x="104472" y="240516"/>
                    <a:pt x="159755" y="217593"/>
                    <a:pt x="217376" y="217539"/>
                  </a:cubicBezTo>
                  <a:lnTo>
                    <a:pt x="0" y="217539"/>
                  </a:lnTo>
                  <a:cubicBezTo>
                    <a:pt x="0" y="159864"/>
                    <a:pt x="22924" y="104527"/>
                    <a:pt x="63712" y="63739"/>
                  </a:cubicBezTo>
                  <a:cubicBezTo>
                    <a:pt x="104527" y="22923"/>
                    <a:pt x="159836" y="0"/>
                    <a:pt x="217539" y="0"/>
                  </a:cubicBezTo>
                  <a:cubicBezTo>
                    <a:pt x="275241" y="0"/>
                    <a:pt x="330577" y="22923"/>
                    <a:pt x="371365" y="63739"/>
                  </a:cubicBezTo>
                  <a:close/>
                </a:path>
              </a:pathLst>
            </a:custGeom>
            <a:grpFill/>
            <a:ln w="27192" cap="flat">
              <a:noFill/>
              <a:prstDash val="solid"/>
              <a:miter/>
            </a:ln>
          </p:spPr>
          <p:txBody>
            <a:bodyPr rtlCol="0" anchor="ctr"/>
            <a:lstStyle/>
            <a:p>
              <a:endParaRPr lang="uk-UA" sz="900"/>
            </a:p>
          </p:txBody>
        </p:sp>
        <p:sp>
          <p:nvSpPr>
            <p:cNvPr id="837" name="Freeform: Shape 836">
              <a:extLst>
                <a:ext uri="{FF2B5EF4-FFF2-40B4-BE49-F238E27FC236}">
                  <a16:creationId xmlns:a16="http://schemas.microsoft.com/office/drawing/2014/main" id="{163F10BB-F384-EAD8-F670-58A769531946}"/>
                </a:ext>
              </a:extLst>
            </p:cNvPr>
            <p:cNvSpPr/>
            <p:nvPr/>
          </p:nvSpPr>
          <p:spPr>
            <a:xfrm>
              <a:off x="15628536" y="1067045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838" name="Freeform: Shape 837">
              <a:extLst>
                <a:ext uri="{FF2B5EF4-FFF2-40B4-BE49-F238E27FC236}">
                  <a16:creationId xmlns:a16="http://schemas.microsoft.com/office/drawing/2014/main" id="{992ACDCE-C425-65B5-3476-AC9C9F53B26E}"/>
                </a:ext>
              </a:extLst>
            </p:cNvPr>
            <p:cNvSpPr/>
            <p:nvPr/>
          </p:nvSpPr>
          <p:spPr>
            <a:xfrm>
              <a:off x="16498691" y="10670458"/>
              <a:ext cx="435077" cy="435077"/>
            </a:xfrm>
            <a:custGeom>
              <a:avLst/>
              <a:gdLst>
                <a:gd name="connsiteX0" fmla="*/ 217567 w 435077"/>
                <a:gd name="connsiteY0" fmla="*/ 0 h 435077"/>
                <a:gd name="connsiteX1" fmla="*/ 217539 w 435077"/>
                <a:gd name="connsiteY1" fmla="*/ 0 h 435077"/>
                <a:gd name="connsiteX2" fmla="*/ 28 w 435077"/>
                <a:gd name="connsiteY2" fmla="*/ 0 h 435077"/>
                <a:gd name="connsiteX3" fmla="*/ 28 w 435077"/>
                <a:gd name="connsiteY3" fmla="*/ 217539 h 435077"/>
                <a:gd name="connsiteX4" fmla="*/ 217567 w 435077"/>
                <a:gd name="connsiteY4" fmla="*/ 27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67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67" y="0"/>
                  </a:moveTo>
                  <a:lnTo>
                    <a:pt x="217539" y="0"/>
                  </a:lnTo>
                  <a:lnTo>
                    <a:pt x="28" y="0"/>
                  </a:lnTo>
                  <a:lnTo>
                    <a:pt x="28" y="217539"/>
                  </a:lnTo>
                  <a:lnTo>
                    <a:pt x="217567" y="27"/>
                  </a:lnTo>
                  <a:lnTo>
                    <a:pt x="435077" y="217539"/>
                  </a:lnTo>
                  <a:lnTo>
                    <a:pt x="217539" y="435077"/>
                  </a:lnTo>
                  <a:lnTo>
                    <a:pt x="0" y="217539"/>
                  </a:lnTo>
                  <a:lnTo>
                    <a:pt x="0" y="435077"/>
                  </a:lnTo>
                  <a:lnTo>
                    <a:pt x="217539" y="435077"/>
                  </a:lnTo>
                  <a:lnTo>
                    <a:pt x="435077" y="435077"/>
                  </a:lnTo>
                  <a:lnTo>
                    <a:pt x="435077" y="217539"/>
                  </a:lnTo>
                  <a:lnTo>
                    <a:pt x="435077" y="0"/>
                  </a:lnTo>
                  <a:lnTo>
                    <a:pt x="217567" y="0"/>
                  </a:lnTo>
                  <a:close/>
                </a:path>
              </a:pathLst>
            </a:custGeom>
            <a:grpFill/>
            <a:ln w="27192" cap="flat">
              <a:noFill/>
              <a:prstDash val="solid"/>
              <a:miter/>
            </a:ln>
          </p:spPr>
          <p:txBody>
            <a:bodyPr rtlCol="0" anchor="ctr"/>
            <a:lstStyle/>
            <a:p>
              <a:endParaRPr lang="uk-UA" sz="900"/>
            </a:p>
          </p:txBody>
        </p:sp>
        <p:sp>
          <p:nvSpPr>
            <p:cNvPr id="839" name="Freeform: Shape 838">
              <a:extLst>
                <a:ext uri="{FF2B5EF4-FFF2-40B4-BE49-F238E27FC236}">
                  <a16:creationId xmlns:a16="http://schemas.microsoft.com/office/drawing/2014/main" id="{0D96C6FC-136B-675D-B474-8D5C9306BAED}"/>
                </a:ext>
              </a:extLst>
            </p:cNvPr>
            <p:cNvSpPr/>
            <p:nvPr/>
          </p:nvSpPr>
          <p:spPr>
            <a:xfrm>
              <a:off x="18239029" y="1067045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840" name="Freeform: Shape 839">
              <a:extLst>
                <a:ext uri="{FF2B5EF4-FFF2-40B4-BE49-F238E27FC236}">
                  <a16:creationId xmlns:a16="http://schemas.microsoft.com/office/drawing/2014/main" id="{0B73CA6E-88FB-4128-88D4-CF823FFEA121}"/>
                </a:ext>
              </a:extLst>
            </p:cNvPr>
            <p:cNvSpPr/>
            <p:nvPr/>
          </p:nvSpPr>
          <p:spPr>
            <a:xfrm>
              <a:off x="17368874" y="10670458"/>
              <a:ext cx="435077" cy="435077"/>
            </a:xfrm>
            <a:custGeom>
              <a:avLst/>
              <a:gdLst>
                <a:gd name="connsiteX0" fmla="*/ 371339 w 435077"/>
                <a:gd name="connsiteY0" fmla="*/ 63739 h 435077"/>
                <a:gd name="connsiteX1" fmla="*/ 435077 w 435077"/>
                <a:gd name="connsiteY1" fmla="*/ 217539 h 435077"/>
                <a:gd name="connsiteX2" fmla="*/ 217701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0 w 435077"/>
                <a:gd name="connsiteY7" fmla="*/ 281277 h 435077"/>
                <a:gd name="connsiteX8" fmla="*/ 217374 w 435077"/>
                <a:gd name="connsiteY8" fmla="*/ 217539 h 435077"/>
                <a:gd name="connsiteX9" fmla="*/ 0 w 435077"/>
                <a:gd name="connsiteY9" fmla="*/ 217539 h 435077"/>
                <a:gd name="connsiteX10" fmla="*/ 63710 w 435077"/>
                <a:gd name="connsiteY10" fmla="*/ 63739 h 435077"/>
                <a:gd name="connsiteX11" fmla="*/ 217539 w 435077"/>
                <a:gd name="connsiteY11" fmla="*/ 0 h 435077"/>
                <a:gd name="connsiteX12" fmla="*/ 371339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39"/>
                  </a:moveTo>
                  <a:cubicBezTo>
                    <a:pt x="412154" y="104527"/>
                    <a:pt x="435077" y="159864"/>
                    <a:pt x="435077" y="217539"/>
                  </a:cubicBezTo>
                  <a:lnTo>
                    <a:pt x="217701" y="217539"/>
                  </a:lnTo>
                  <a:cubicBezTo>
                    <a:pt x="275322" y="217593"/>
                    <a:pt x="330603" y="240516"/>
                    <a:pt x="371365" y="281277"/>
                  </a:cubicBezTo>
                  <a:cubicBezTo>
                    <a:pt x="412154" y="322066"/>
                    <a:pt x="435077" y="377402"/>
                    <a:pt x="435077" y="435077"/>
                  </a:cubicBezTo>
                  <a:lnTo>
                    <a:pt x="217539" y="435077"/>
                  </a:lnTo>
                  <a:lnTo>
                    <a:pt x="0" y="435077"/>
                  </a:lnTo>
                  <a:cubicBezTo>
                    <a:pt x="0" y="377402"/>
                    <a:pt x="22922" y="322066"/>
                    <a:pt x="63710" y="281277"/>
                  </a:cubicBezTo>
                  <a:cubicBezTo>
                    <a:pt x="104472" y="240516"/>
                    <a:pt x="159727" y="217593"/>
                    <a:pt x="217374" y="217539"/>
                  </a:cubicBezTo>
                  <a:lnTo>
                    <a:pt x="0" y="217539"/>
                  </a:lnTo>
                  <a:cubicBezTo>
                    <a:pt x="0" y="159864"/>
                    <a:pt x="22895" y="104527"/>
                    <a:pt x="63710" y="63739"/>
                  </a:cubicBezTo>
                  <a:cubicBezTo>
                    <a:pt x="104499" y="22923"/>
                    <a:pt x="159836" y="0"/>
                    <a:pt x="217539" y="0"/>
                  </a:cubicBezTo>
                  <a:cubicBezTo>
                    <a:pt x="275213" y="0"/>
                    <a:pt x="330550" y="22923"/>
                    <a:pt x="371339" y="63739"/>
                  </a:cubicBezTo>
                  <a:close/>
                </a:path>
              </a:pathLst>
            </a:custGeom>
            <a:grpFill/>
            <a:ln w="27192" cap="flat">
              <a:noFill/>
              <a:prstDash val="solid"/>
              <a:miter/>
            </a:ln>
          </p:spPr>
          <p:txBody>
            <a:bodyPr rtlCol="0" anchor="ctr"/>
            <a:lstStyle/>
            <a:p>
              <a:endParaRPr lang="uk-UA" sz="900"/>
            </a:p>
          </p:txBody>
        </p:sp>
        <p:sp>
          <p:nvSpPr>
            <p:cNvPr id="841" name="Freeform: Shape 840">
              <a:extLst>
                <a:ext uri="{FF2B5EF4-FFF2-40B4-BE49-F238E27FC236}">
                  <a16:creationId xmlns:a16="http://schemas.microsoft.com/office/drawing/2014/main" id="{70BE2C6E-8631-7372-F4C1-C5FCED230769}"/>
                </a:ext>
              </a:extLst>
            </p:cNvPr>
            <p:cNvSpPr/>
            <p:nvPr/>
          </p:nvSpPr>
          <p:spPr>
            <a:xfrm>
              <a:off x="19109184" y="1067045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65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65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65" y="435105"/>
                  </a:lnTo>
                  <a:lnTo>
                    <a:pt x="435077" y="217566"/>
                  </a:lnTo>
                  <a:lnTo>
                    <a:pt x="435077" y="435105"/>
                  </a:lnTo>
                  <a:close/>
                  <a:moveTo>
                    <a:pt x="435077" y="27"/>
                  </a:moveTo>
                  <a:lnTo>
                    <a:pt x="217565"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842" name="Freeform: Shape 841">
              <a:extLst>
                <a:ext uri="{FF2B5EF4-FFF2-40B4-BE49-F238E27FC236}">
                  <a16:creationId xmlns:a16="http://schemas.microsoft.com/office/drawing/2014/main" id="{2D831F2E-E248-B2C8-E9D9-688D45F31F9B}"/>
                </a:ext>
              </a:extLst>
            </p:cNvPr>
            <p:cNvSpPr/>
            <p:nvPr/>
          </p:nvSpPr>
          <p:spPr>
            <a:xfrm>
              <a:off x="19979365" y="1067045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843" name="Freeform: Shape 842">
              <a:extLst>
                <a:ext uri="{FF2B5EF4-FFF2-40B4-BE49-F238E27FC236}">
                  <a16:creationId xmlns:a16="http://schemas.microsoft.com/office/drawing/2014/main" id="{A2577CC0-89B2-A316-68BF-4C69D5AC4205}"/>
                </a:ext>
              </a:extLst>
            </p:cNvPr>
            <p:cNvSpPr/>
            <p:nvPr/>
          </p:nvSpPr>
          <p:spPr>
            <a:xfrm>
              <a:off x="21719675" y="1067045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844" name="Freeform: Shape 843">
              <a:extLst>
                <a:ext uri="{FF2B5EF4-FFF2-40B4-BE49-F238E27FC236}">
                  <a16:creationId xmlns:a16="http://schemas.microsoft.com/office/drawing/2014/main" id="{5914357D-1C70-7D3D-C7F9-DDF751B810F8}"/>
                </a:ext>
              </a:extLst>
            </p:cNvPr>
            <p:cNvSpPr/>
            <p:nvPr/>
          </p:nvSpPr>
          <p:spPr>
            <a:xfrm>
              <a:off x="20849520" y="10670458"/>
              <a:ext cx="435077" cy="435077"/>
            </a:xfrm>
            <a:custGeom>
              <a:avLst/>
              <a:gdLst>
                <a:gd name="connsiteX0" fmla="*/ 371365 w 435077"/>
                <a:gd name="connsiteY0" fmla="*/ 63739 h 435077"/>
                <a:gd name="connsiteX1" fmla="*/ 435077 w 435077"/>
                <a:gd name="connsiteY1" fmla="*/ 217539 h 435077"/>
                <a:gd name="connsiteX2" fmla="*/ 217701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5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39"/>
                  </a:moveTo>
                  <a:cubicBezTo>
                    <a:pt x="412154" y="104527"/>
                    <a:pt x="435077" y="159864"/>
                    <a:pt x="435077" y="217539"/>
                  </a:cubicBezTo>
                  <a:lnTo>
                    <a:pt x="217701" y="217539"/>
                  </a:lnTo>
                  <a:cubicBezTo>
                    <a:pt x="275349" y="217593"/>
                    <a:pt x="330605" y="240516"/>
                    <a:pt x="371365" y="281277"/>
                  </a:cubicBezTo>
                  <a:cubicBezTo>
                    <a:pt x="412154" y="322066"/>
                    <a:pt x="435077" y="377402"/>
                    <a:pt x="435077" y="435077"/>
                  </a:cubicBezTo>
                  <a:lnTo>
                    <a:pt x="217539" y="435077"/>
                  </a:lnTo>
                  <a:lnTo>
                    <a:pt x="0" y="435077"/>
                  </a:lnTo>
                  <a:cubicBezTo>
                    <a:pt x="0" y="377402"/>
                    <a:pt x="22924" y="322066"/>
                    <a:pt x="63712" y="281277"/>
                  </a:cubicBezTo>
                  <a:cubicBezTo>
                    <a:pt x="104472" y="240516"/>
                    <a:pt x="159755" y="217593"/>
                    <a:pt x="217376" y="217539"/>
                  </a:cubicBezTo>
                  <a:lnTo>
                    <a:pt x="0" y="217539"/>
                  </a:lnTo>
                  <a:cubicBezTo>
                    <a:pt x="0" y="159864"/>
                    <a:pt x="22924" y="104527"/>
                    <a:pt x="63712" y="63739"/>
                  </a:cubicBezTo>
                  <a:cubicBezTo>
                    <a:pt x="104501" y="22923"/>
                    <a:pt x="159836" y="0"/>
                    <a:pt x="217539" y="0"/>
                  </a:cubicBezTo>
                  <a:cubicBezTo>
                    <a:pt x="275241" y="0"/>
                    <a:pt x="330577" y="22923"/>
                    <a:pt x="371365" y="63739"/>
                  </a:cubicBezTo>
                  <a:close/>
                </a:path>
              </a:pathLst>
            </a:custGeom>
            <a:grpFill/>
            <a:ln w="27192" cap="flat">
              <a:noFill/>
              <a:prstDash val="solid"/>
              <a:miter/>
            </a:ln>
          </p:spPr>
          <p:txBody>
            <a:bodyPr rtlCol="0" anchor="ctr"/>
            <a:lstStyle/>
            <a:p>
              <a:endParaRPr lang="uk-UA" sz="900"/>
            </a:p>
          </p:txBody>
        </p:sp>
        <p:sp>
          <p:nvSpPr>
            <p:cNvPr id="845" name="Freeform: Shape 844">
              <a:extLst>
                <a:ext uri="{FF2B5EF4-FFF2-40B4-BE49-F238E27FC236}">
                  <a16:creationId xmlns:a16="http://schemas.microsoft.com/office/drawing/2014/main" id="{02B25895-4C8D-123C-EF5C-7E04B3F35FE8}"/>
                </a:ext>
              </a:extLst>
            </p:cNvPr>
            <p:cNvSpPr/>
            <p:nvPr/>
          </p:nvSpPr>
          <p:spPr>
            <a:xfrm>
              <a:off x="22589856" y="1067045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846" name="Freeform: Shape 845">
              <a:extLst>
                <a:ext uri="{FF2B5EF4-FFF2-40B4-BE49-F238E27FC236}">
                  <a16:creationId xmlns:a16="http://schemas.microsoft.com/office/drawing/2014/main" id="{8CCAC0CC-941E-26EE-F1A8-B04EA482872B}"/>
                </a:ext>
              </a:extLst>
            </p:cNvPr>
            <p:cNvSpPr/>
            <p:nvPr/>
          </p:nvSpPr>
          <p:spPr>
            <a:xfrm>
              <a:off x="23460011" y="10670458"/>
              <a:ext cx="435105" cy="435077"/>
            </a:xfrm>
            <a:custGeom>
              <a:avLst/>
              <a:gdLst>
                <a:gd name="connsiteX0" fmla="*/ 217539 w 435105"/>
                <a:gd name="connsiteY0" fmla="*/ 0 h 435077"/>
                <a:gd name="connsiteX1" fmla="*/ 0 w 435105"/>
                <a:gd name="connsiteY1" fmla="*/ 0 h 435077"/>
                <a:gd name="connsiteX2" fmla="*/ 0 w 435105"/>
                <a:gd name="connsiteY2" fmla="*/ 217539 h 435077"/>
                <a:gd name="connsiteX3" fmla="*/ 217539 w 435105"/>
                <a:gd name="connsiteY3" fmla="*/ 0 h 435077"/>
                <a:gd name="connsiteX4" fmla="*/ 435106 w 435105"/>
                <a:gd name="connsiteY4" fmla="*/ 27 h 435077"/>
                <a:gd name="connsiteX5" fmla="*/ 435106 w 435105"/>
                <a:gd name="connsiteY5" fmla="*/ 217566 h 435077"/>
                <a:gd name="connsiteX6" fmla="*/ 217567 w 435105"/>
                <a:gd name="connsiteY6" fmla="*/ 27 h 435077"/>
                <a:gd name="connsiteX7" fmla="*/ 435106 w 435105"/>
                <a:gd name="connsiteY7" fmla="*/ 27 h 435077"/>
                <a:gd name="connsiteX8" fmla="*/ 217567 w 435105"/>
                <a:gd name="connsiteY8" fmla="*/ 435077 h 435077"/>
                <a:gd name="connsiteX9" fmla="*/ 435106 w 435105"/>
                <a:gd name="connsiteY9" fmla="*/ 217566 h 435077"/>
                <a:gd name="connsiteX10" fmla="*/ 435106 w 435105"/>
                <a:gd name="connsiteY10" fmla="*/ 435077 h 435077"/>
                <a:gd name="connsiteX11" fmla="*/ 217567 w 435105"/>
                <a:gd name="connsiteY11" fmla="*/ 435077 h 435077"/>
                <a:gd name="connsiteX12" fmla="*/ 217567 w 435105"/>
                <a:gd name="connsiteY12" fmla="*/ 435077 h 435077"/>
                <a:gd name="connsiteX13" fmla="*/ 28 w 435105"/>
                <a:gd name="connsiteY13" fmla="*/ 217566 h 435077"/>
                <a:gd name="connsiteX14" fmla="*/ 28 w 435105"/>
                <a:gd name="connsiteY14" fmla="*/ 435077 h 435077"/>
                <a:gd name="connsiteX15" fmla="*/ 217567 w 435105"/>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5" h="435077">
                  <a:moveTo>
                    <a:pt x="217539" y="0"/>
                  </a:moveTo>
                  <a:lnTo>
                    <a:pt x="0" y="0"/>
                  </a:lnTo>
                  <a:lnTo>
                    <a:pt x="0" y="217539"/>
                  </a:lnTo>
                  <a:lnTo>
                    <a:pt x="217539" y="0"/>
                  </a:lnTo>
                  <a:close/>
                  <a:moveTo>
                    <a:pt x="435106" y="27"/>
                  </a:moveTo>
                  <a:lnTo>
                    <a:pt x="435106" y="217566"/>
                  </a:lnTo>
                  <a:lnTo>
                    <a:pt x="217567" y="27"/>
                  </a:lnTo>
                  <a:lnTo>
                    <a:pt x="435106" y="27"/>
                  </a:lnTo>
                  <a:close/>
                  <a:moveTo>
                    <a:pt x="217567" y="435077"/>
                  </a:moveTo>
                  <a:lnTo>
                    <a:pt x="435106" y="217566"/>
                  </a:lnTo>
                  <a:lnTo>
                    <a:pt x="435106" y="435077"/>
                  </a:lnTo>
                  <a:lnTo>
                    <a:pt x="217567" y="435077"/>
                  </a:lnTo>
                  <a:close/>
                  <a:moveTo>
                    <a:pt x="217567" y="435077"/>
                  </a:moveTo>
                  <a:lnTo>
                    <a:pt x="28" y="217566"/>
                  </a:lnTo>
                  <a:lnTo>
                    <a:pt x="28" y="435077"/>
                  </a:lnTo>
                  <a:lnTo>
                    <a:pt x="217567" y="435077"/>
                  </a:lnTo>
                  <a:close/>
                </a:path>
              </a:pathLst>
            </a:custGeom>
            <a:grpFill/>
            <a:ln w="27192" cap="flat">
              <a:noFill/>
              <a:prstDash val="solid"/>
              <a:miter/>
            </a:ln>
          </p:spPr>
          <p:txBody>
            <a:bodyPr rtlCol="0" anchor="ctr"/>
            <a:lstStyle/>
            <a:p>
              <a:endParaRPr lang="uk-UA" sz="900"/>
            </a:p>
          </p:txBody>
        </p:sp>
        <p:sp>
          <p:nvSpPr>
            <p:cNvPr id="847" name="Freeform: Shape 846">
              <a:extLst>
                <a:ext uri="{FF2B5EF4-FFF2-40B4-BE49-F238E27FC236}">
                  <a16:creationId xmlns:a16="http://schemas.microsoft.com/office/drawing/2014/main" id="{4AD90DCF-D825-FA67-CF33-E97297CA2460}"/>
                </a:ext>
              </a:extLst>
            </p:cNvPr>
            <p:cNvSpPr/>
            <p:nvPr/>
          </p:nvSpPr>
          <p:spPr>
            <a:xfrm>
              <a:off x="24330194" y="10670458"/>
              <a:ext cx="435077" cy="435077"/>
            </a:xfrm>
            <a:custGeom>
              <a:avLst/>
              <a:gdLst>
                <a:gd name="connsiteX0" fmla="*/ 371447 w 435077"/>
                <a:gd name="connsiteY0" fmla="*/ 63739 h 435077"/>
                <a:gd name="connsiteX1" fmla="*/ 435077 w 435077"/>
                <a:gd name="connsiteY1" fmla="*/ 217539 h 435077"/>
                <a:gd name="connsiteX2" fmla="*/ 217811 w 435077"/>
                <a:gd name="connsiteY2" fmla="*/ 217539 h 435077"/>
                <a:gd name="connsiteX3" fmla="*/ 371447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267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447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447" y="63739"/>
                  </a:moveTo>
                  <a:cubicBezTo>
                    <a:pt x="412235" y="104527"/>
                    <a:pt x="435077" y="159864"/>
                    <a:pt x="435077" y="217539"/>
                  </a:cubicBezTo>
                  <a:lnTo>
                    <a:pt x="217811" y="217539"/>
                  </a:lnTo>
                  <a:cubicBezTo>
                    <a:pt x="275459" y="217593"/>
                    <a:pt x="330658" y="240516"/>
                    <a:pt x="371447" y="281277"/>
                  </a:cubicBezTo>
                  <a:cubicBezTo>
                    <a:pt x="412235" y="322066"/>
                    <a:pt x="435077" y="377402"/>
                    <a:pt x="435077" y="435077"/>
                  </a:cubicBezTo>
                  <a:lnTo>
                    <a:pt x="217539" y="435077"/>
                  </a:lnTo>
                  <a:lnTo>
                    <a:pt x="0" y="435077"/>
                  </a:lnTo>
                  <a:cubicBezTo>
                    <a:pt x="0" y="377402"/>
                    <a:pt x="22924" y="322066"/>
                    <a:pt x="63712" y="281277"/>
                  </a:cubicBezTo>
                  <a:cubicBezTo>
                    <a:pt x="104472" y="240516"/>
                    <a:pt x="159727" y="217593"/>
                    <a:pt x="217267" y="217539"/>
                  </a:cubicBezTo>
                  <a:lnTo>
                    <a:pt x="0" y="217539"/>
                  </a:lnTo>
                  <a:cubicBezTo>
                    <a:pt x="0" y="159864"/>
                    <a:pt x="22924" y="104527"/>
                    <a:pt x="63712" y="63739"/>
                  </a:cubicBezTo>
                  <a:cubicBezTo>
                    <a:pt x="104501" y="22923"/>
                    <a:pt x="159836" y="0"/>
                    <a:pt x="217539" y="0"/>
                  </a:cubicBezTo>
                  <a:cubicBezTo>
                    <a:pt x="275186" y="0"/>
                    <a:pt x="330658" y="22923"/>
                    <a:pt x="371447" y="63739"/>
                  </a:cubicBezTo>
                  <a:close/>
                </a:path>
              </a:pathLst>
            </a:custGeom>
            <a:grpFill/>
            <a:ln w="27192" cap="flat">
              <a:noFill/>
              <a:prstDash val="solid"/>
              <a:miter/>
            </a:ln>
          </p:spPr>
          <p:txBody>
            <a:bodyPr rtlCol="0" anchor="ctr"/>
            <a:lstStyle/>
            <a:p>
              <a:endParaRPr lang="uk-UA" sz="900"/>
            </a:p>
          </p:txBody>
        </p:sp>
        <p:sp>
          <p:nvSpPr>
            <p:cNvPr id="848" name="Freeform: Shape 847">
              <a:extLst>
                <a:ext uri="{FF2B5EF4-FFF2-40B4-BE49-F238E27FC236}">
                  <a16:creationId xmlns:a16="http://schemas.microsoft.com/office/drawing/2014/main" id="{66A8367B-DAD2-1742-EB0E-5AF3E1092BDB}"/>
                </a:ext>
              </a:extLst>
            </p:cNvPr>
            <p:cNvSpPr/>
            <p:nvPr/>
          </p:nvSpPr>
          <p:spPr>
            <a:xfrm>
              <a:off x="835742" y="1154061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6 w 435077"/>
                <a:gd name="connsiteY3" fmla="*/ 27 h 435077"/>
                <a:gd name="connsiteX4" fmla="*/ 435077 w 435077"/>
                <a:gd name="connsiteY4" fmla="*/ 217566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6" y="27"/>
                  </a:lnTo>
                  <a:lnTo>
                    <a:pt x="435077" y="217566"/>
                  </a:lnTo>
                  <a:lnTo>
                    <a:pt x="217566"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849" name="Freeform: Shape 848">
              <a:extLst>
                <a:ext uri="{FF2B5EF4-FFF2-40B4-BE49-F238E27FC236}">
                  <a16:creationId xmlns:a16="http://schemas.microsoft.com/office/drawing/2014/main" id="{066E320C-EFC2-0A85-AD73-260C7579973E}"/>
                </a:ext>
              </a:extLst>
            </p:cNvPr>
            <p:cNvSpPr/>
            <p:nvPr/>
          </p:nvSpPr>
          <p:spPr>
            <a:xfrm>
              <a:off x="-34407" y="11540612"/>
              <a:ext cx="435072" cy="435077"/>
            </a:xfrm>
            <a:custGeom>
              <a:avLst/>
              <a:gdLst>
                <a:gd name="connsiteX0" fmla="*/ 63717 w 435072"/>
                <a:gd name="connsiteY0" fmla="*/ 153827 h 435077"/>
                <a:gd name="connsiteX1" fmla="*/ 0 w 435072"/>
                <a:gd name="connsiteY1" fmla="*/ 0 h 435077"/>
                <a:gd name="connsiteX2" fmla="*/ 217533 w 435072"/>
                <a:gd name="connsiteY2" fmla="*/ 0 h 435077"/>
                <a:gd name="connsiteX3" fmla="*/ 435072 w 435072"/>
                <a:gd name="connsiteY3" fmla="*/ 0 h 435077"/>
                <a:gd name="connsiteX4" fmla="*/ 371360 w 435072"/>
                <a:gd name="connsiteY4" fmla="*/ 153827 h 435077"/>
                <a:gd name="connsiteX5" fmla="*/ 217533 w 435072"/>
                <a:gd name="connsiteY5" fmla="*/ 217539 h 435077"/>
                <a:gd name="connsiteX6" fmla="*/ 63717 w 435072"/>
                <a:gd name="connsiteY6" fmla="*/ 153827 h 435077"/>
                <a:gd name="connsiteX7" fmla="*/ 63717 w 435072"/>
                <a:gd name="connsiteY7" fmla="*/ 281277 h 435077"/>
                <a:gd name="connsiteX8" fmla="*/ 0 w 435072"/>
                <a:gd name="connsiteY8" fmla="*/ 435077 h 435077"/>
                <a:gd name="connsiteX9" fmla="*/ 217533 w 435072"/>
                <a:gd name="connsiteY9" fmla="*/ 435077 h 435077"/>
                <a:gd name="connsiteX10" fmla="*/ 435072 w 435072"/>
                <a:gd name="connsiteY10" fmla="*/ 435077 h 435077"/>
                <a:gd name="connsiteX11" fmla="*/ 371360 w 435072"/>
                <a:gd name="connsiteY11" fmla="*/ 281277 h 435077"/>
                <a:gd name="connsiteX12" fmla="*/ 217533 w 435072"/>
                <a:gd name="connsiteY12" fmla="*/ 217539 h 435077"/>
                <a:gd name="connsiteX13" fmla="*/ 63717 w 435072"/>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2" h="435077">
                  <a:moveTo>
                    <a:pt x="63717" y="153827"/>
                  </a:moveTo>
                  <a:cubicBezTo>
                    <a:pt x="22921" y="113039"/>
                    <a:pt x="0" y="57702"/>
                    <a:pt x="0" y="0"/>
                  </a:cubicBezTo>
                  <a:lnTo>
                    <a:pt x="217533" y="0"/>
                  </a:lnTo>
                  <a:lnTo>
                    <a:pt x="435072" y="0"/>
                  </a:lnTo>
                  <a:cubicBezTo>
                    <a:pt x="435072" y="57702"/>
                    <a:pt x="412149" y="113039"/>
                    <a:pt x="371360" y="153827"/>
                  </a:cubicBezTo>
                  <a:cubicBezTo>
                    <a:pt x="330572" y="194642"/>
                    <a:pt x="275236" y="217539"/>
                    <a:pt x="217533" y="217539"/>
                  </a:cubicBezTo>
                  <a:cubicBezTo>
                    <a:pt x="159858" y="217539"/>
                    <a:pt x="104514" y="194642"/>
                    <a:pt x="63717" y="153827"/>
                  </a:cubicBezTo>
                  <a:close/>
                  <a:moveTo>
                    <a:pt x="63717" y="281277"/>
                  </a:moveTo>
                  <a:cubicBezTo>
                    <a:pt x="22921" y="322066"/>
                    <a:pt x="0" y="377402"/>
                    <a:pt x="0" y="435077"/>
                  </a:cubicBezTo>
                  <a:lnTo>
                    <a:pt x="217533" y="435077"/>
                  </a:lnTo>
                  <a:lnTo>
                    <a:pt x="435072" y="435077"/>
                  </a:lnTo>
                  <a:cubicBezTo>
                    <a:pt x="435072" y="377402"/>
                    <a:pt x="412149" y="322066"/>
                    <a:pt x="371360" y="281277"/>
                  </a:cubicBezTo>
                  <a:cubicBezTo>
                    <a:pt x="330572" y="240462"/>
                    <a:pt x="275236" y="217539"/>
                    <a:pt x="217533" y="217539"/>
                  </a:cubicBezTo>
                  <a:cubicBezTo>
                    <a:pt x="159858" y="217539"/>
                    <a:pt x="104514" y="240462"/>
                    <a:pt x="63717" y="281277"/>
                  </a:cubicBezTo>
                  <a:close/>
                </a:path>
              </a:pathLst>
            </a:custGeom>
            <a:grpFill/>
            <a:ln w="27192" cap="flat">
              <a:noFill/>
              <a:prstDash val="solid"/>
              <a:miter/>
            </a:ln>
          </p:spPr>
          <p:txBody>
            <a:bodyPr rtlCol="0" anchor="ctr"/>
            <a:lstStyle/>
            <a:p>
              <a:endParaRPr lang="uk-UA" sz="900"/>
            </a:p>
          </p:txBody>
        </p:sp>
        <p:sp>
          <p:nvSpPr>
            <p:cNvPr id="850" name="Freeform: Shape 849">
              <a:extLst>
                <a:ext uri="{FF2B5EF4-FFF2-40B4-BE49-F238E27FC236}">
                  <a16:creationId xmlns:a16="http://schemas.microsoft.com/office/drawing/2014/main" id="{DECA80C7-8482-0798-75C1-B541EA4BD1FC}"/>
                </a:ext>
              </a:extLst>
            </p:cNvPr>
            <p:cNvSpPr/>
            <p:nvPr/>
          </p:nvSpPr>
          <p:spPr>
            <a:xfrm>
              <a:off x="1705924" y="1154061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851" name="Freeform: Shape 850">
              <a:extLst>
                <a:ext uri="{FF2B5EF4-FFF2-40B4-BE49-F238E27FC236}">
                  <a16:creationId xmlns:a16="http://schemas.microsoft.com/office/drawing/2014/main" id="{685195F4-55B6-051B-2038-58E4346FC2A4}"/>
                </a:ext>
              </a:extLst>
            </p:cNvPr>
            <p:cNvSpPr/>
            <p:nvPr/>
          </p:nvSpPr>
          <p:spPr>
            <a:xfrm>
              <a:off x="2576106" y="1154064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2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2" y="217539"/>
                  </a:lnTo>
                  <a:lnTo>
                    <a:pt x="0" y="435050"/>
                  </a:lnTo>
                  <a:close/>
                </a:path>
              </a:pathLst>
            </a:custGeom>
            <a:grpFill/>
            <a:ln w="27192" cap="flat">
              <a:noFill/>
              <a:prstDash val="solid"/>
              <a:miter/>
            </a:ln>
          </p:spPr>
          <p:txBody>
            <a:bodyPr rtlCol="0" anchor="ctr"/>
            <a:lstStyle/>
            <a:p>
              <a:endParaRPr lang="uk-UA" sz="900"/>
            </a:p>
          </p:txBody>
        </p:sp>
        <p:sp>
          <p:nvSpPr>
            <p:cNvPr id="852" name="Freeform: Shape 851">
              <a:extLst>
                <a:ext uri="{FF2B5EF4-FFF2-40B4-BE49-F238E27FC236}">
                  <a16:creationId xmlns:a16="http://schemas.microsoft.com/office/drawing/2014/main" id="{81178811-395A-A1E9-0B97-04B6CA6DDA00}"/>
                </a:ext>
              </a:extLst>
            </p:cNvPr>
            <p:cNvSpPr/>
            <p:nvPr/>
          </p:nvSpPr>
          <p:spPr>
            <a:xfrm>
              <a:off x="4316416" y="1154061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5 w 435077"/>
                <a:gd name="connsiteY3" fmla="*/ 27 h 435077"/>
                <a:gd name="connsiteX4" fmla="*/ 435077 w 435077"/>
                <a:gd name="connsiteY4" fmla="*/ 217566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5" y="27"/>
                  </a:lnTo>
                  <a:lnTo>
                    <a:pt x="435077" y="217566"/>
                  </a:lnTo>
                  <a:lnTo>
                    <a:pt x="217565"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853" name="Freeform: Shape 852">
              <a:extLst>
                <a:ext uri="{FF2B5EF4-FFF2-40B4-BE49-F238E27FC236}">
                  <a16:creationId xmlns:a16="http://schemas.microsoft.com/office/drawing/2014/main" id="{D257D56F-37FE-D20E-2589-19A4C9CE4620}"/>
                </a:ext>
              </a:extLst>
            </p:cNvPr>
            <p:cNvSpPr/>
            <p:nvPr/>
          </p:nvSpPr>
          <p:spPr>
            <a:xfrm>
              <a:off x="3446261" y="1154061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3" y="113039"/>
                    <a:pt x="0" y="57702"/>
                    <a:pt x="0" y="0"/>
                  </a:cubicBezTo>
                  <a:lnTo>
                    <a:pt x="217539" y="0"/>
                  </a:lnTo>
                  <a:lnTo>
                    <a:pt x="435077" y="0"/>
                  </a:lnTo>
                  <a:cubicBezTo>
                    <a:pt x="435077" y="57702"/>
                    <a:pt x="412154" y="113039"/>
                    <a:pt x="371366" y="153827"/>
                  </a:cubicBezTo>
                  <a:cubicBezTo>
                    <a:pt x="330577" y="194642"/>
                    <a:pt x="275241" y="217539"/>
                    <a:pt x="217539" y="217539"/>
                  </a:cubicBezTo>
                  <a:cubicBezTo>
                    <a:pt x="159837" y="217539"/>
                    <a:pt x="104500" y="194642"/>
                    <a:pt x="63712" y="153827"/>
                  </a:cubicBezTo>
                  <a:close/>
                  <a:moveTo>
                    <a:pt x="63712" y="281277"/>
                  </a:moveTo>
                  <a:cubicBezTo>
                    <a:pt x="22923" y="322066"/>
                    <a:pt x="0" y="377402"/>
                    <a:pt x="0" y="435077"/>
                  </a:cubicBezTo>
                  <a:lnTo>
                    <a:pt x="217539" y="435077"/>
                  </a:lnTo>
                  <a:lnTo>
                    <a:pt x="435077" y="435077"/>
                  </a:lnTo>
                  <a:cubicBezTo>
                    <a:pt x="435077" y="377402"/>
                    <a:pt x="412154" y="322066"/>
                    <a:pt x="371366" y="281277"/>
                  </a:cubicBezTo>
                  <a:cubicBezTo>
                    <a:pt x="330577" y="240462"/>
                    <a:pt x="275241" y="217539"/>
                    <a:pt x="217539" y="217539"/>
                  </a:cubicBezTo>
                  <a:cubicBezTo>
                    <a:pt x="159837" y="217539"/>
                    <a:pt x="104500" y="240462"/>
                    <a:pt x="63712" y="281277"/>
                  </a:cubicBezTo>
                  <a:close/>
                </a:path>
              </a:pathLst>
            </a:custGeom>
            <a:grpFill/>
            <a:ln w="27192" cap="flat">
              <a:noFill/>
              <a:prstDash val="solid"/>
              <a:miter/>
            </a:ln>
          </p:spPr>
          <p:txBody>
            <a:bodyPr rtlCol="0" anchor="ctr"/>
            <a:lstStyle/>
            <a:p>
              <a:endParaRPr lang="uk-UA" sz="900"/>
            </a:p>
          </p:txBody>
        </p:sp>
        <p:sp>
          <p:nvSpPr>
            <p:cNvPr id="854" name="Freeform: Shape 853">
              <a:extLst>
                <a:ext uri="{FF2B5EF4-FFF2-40B4-BE49-F238E27FC236}">
                  <a16:creationId xmlns:a16="http://schemas.microsoft.com/office/drawing/2014/main" id="{B3080F7E-AC76-0A76-C468-051D51147DAA}"/>
                </a:ext>
              </a:extLst>
            </p:cNvPr>
            <p:cNvSpPr/>
            <p:nvPr/>
          </p:nvSpPr>
          <p:spPr>
            <a:xfrm>
              <a:off x="5186597" y="11540612"/>
              <a:ext cx="435077" cy="435077"/>
            </a:xfrm>
            <a:custGeom>
              <a:avLst/>
              <a:gdLst>
                <a:gd name="connsiteX0" fmla="*/ 0 w 435077"/>
                <a:gd name="connsiteY0" fmla="*/ 435077 h 435077"/>
                <a:gd name="connsiteX1" fmla="*/ 0 w 435077"/>
                <a:gd name="connsiteY1" fmla="*/ 0 h 435077"/>
                <a:gd name="connsiteX2" fmla="*/ 217512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12"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855" name="Freeform: Shape 854">
              <a:extLst>
                <a:ext uri="{FF2B5EF4-FFF2-40B4-BE49-F238E27FC236}">
                  <a16:creationId xmlns:a16="http://schemas.microsoft.com/office/drawing/2014/main" id="{B7DBEEFA-0ECA-AEB7-D384-40B389182C64}"/>
                </a:ext>
              </a:extLst>
            </p:cNvPr>
            <p:cNvSpPr/>
            <p:nvPr/>
          </p:nvSpPr>
          <p:spPr>
            <a:xfrm>
              <a:off x="6056752" y="1154064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2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2" y="217539"/>
                  </a:lnTo>
                  <a:lnTo>
                    <a:pt x="0" y="435050"/>
                  </a:lnTo>
                  <a:close/>
                </a:path>
              </a:pathLst>
            </a:custGeom>
            <a:grpFill/>
            <a:ln w="27192" cap="flat">
              <a:noFill/>
              <a:prstDash val="solid"/>
              <a:miter/>
            </a:ln>
          </p:spPr>
          <p:txBody>
            <a:bodyPr rtlCol="0" anchor="ctr"/>
            <a:lstStyle/>
            <a:p>
              <a:endParaRPr lang="uk-UA" sz="900"/>
            </a:p>
          </p:txBody>
        </p:sp>
        <p:sp>
          <p:nvSpPr>
            <p:cNvPr id="856" name="Freeform: Shape 855">
              <a:extLst>
                <a:ext uri="{FF2B5EF4-FFF2-40B4-BE49-F238E27FC236}">
                  <a16:creationId xmlns:a16="http://schemas.microsoft.com/office/drawing/2014/main" id="{41609813-4840-C755-8159-0A81D5D87637}"/>
                </a:ext>
              </a:extLst>
            </p:cNvPr>
            <p:cNvSpPr/>
            <p:nvPr/>
          </p:nvSpPr>
          <p:spPr>
            <a:xfrm>
              <a:off x="7797062" y="1154061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6 w 435077"/>
                <a:gd name="connsiteY3" fmla="*/ 27 h 435077"/>
                <a:gd name="connsiteX4" fmla="*/ 435077 w 435077"/>
                <a:gd name="connsiteY4" fmla="*/ 217566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6" y="27"/>
                  </a:lnTo>
                  <a:lnTo>
                    <a:pt x="435077" y="217566"/>
                  </a:lnTo>
                  <a:lnTo>
                    <a:pt x="217566"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857" name="Freeform: Shape 856">
              <a:extLst>
                <a:ext uri="{FF2B5EF4-FFF2-40B4-BE49-F238E27FC236}">
                  <a16:creationId xmlns:a16="http://schemas.microsoft.com/office/drawing/2014/main" id="{64152FFD-CBD4-6542-16D5-69DB9D19AFB9}"/>
                </a:ext>
              </a:extLst>
            </p:cNvPr>
            <p:cNvSpPr/>
            <p:nvPr/>
          </p:nvSpPr>
          <p:spPr>
            <a:xfrm>
              <a:off x="6926907" y="1154061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6" y="153827"/>
                  </a:cubicBezTo>
                  <a:cubicBezTo>
                    <a:pt x="330550" y="194642"/>
                    <a:pt x="275241" y="217539"/>
                    <a:pt x="217539" y="217539"/>
                  </a:cubicBezTo>
                  <a:cubicBezTo>
                    <a:pt x="159837"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5" y="322066"/>
                    <a:pt x="371366" y="281277"/>
                  </a:cubicBezTo>
                  <a:cubicBezTo>
                    <a:pt x="330550" y="240462"/>
                    <a:pt x="275241" y="217539"/>
                    <a:pt x="217539" y="217539"/>
                  </a:cubicBezTo>
                  <a:cubicBezTo>
                    <a:pt x="159837" y="217539"/>
                    <a:pt x="104501" y="240462"/>
                    <a:pt x="63712" y="281277"/>
                  </a:cubicBezTo>
                  <a:close/>
                </a:path>
              </a:pathLst>
            </a:custGeom>
            <a:grpFill/>
            <a:ln w="27192" cap="flat">
              <a:noFill/>
              <a:prstDash val="solid"/>
              <a:miter/>
            </a:ln>
          </p:spPr>
          <p:txBody>
            <a:bodyPr rtlCol="0" anchor="ctr"/>
            <a:lstStyle/>
            <a:p>
              <a:endParaRPr lang="uk-UA" sz="900"/>
            </a:p>
          </p:txBody>
        </p:sp>
        <p:sp>
          <p:nvSpPr>
            <p:cNvPr id="858" name="Freeform: Shape 857">
              <a:extLst>
                <a:ext uri="{FF2B5EF4-FFF2-40B4-BE49-F238E27FC236}">
                  <a16:creationId xmlns:a16="http://schemas.microsoft.com/office/drawing/2014/main" id="{A4BD122E-91D7-64AB-04DE-696B083D378F}"/>
                </a:ext>
              </a:extLst>
            </p:cNvPr>
            <p:cNvSpPr/>
            <p:nvPr/>
          </p:nvSpPr>
          <p:spPr>
            <a:xfrm>
              <a:off x="8667217" y="1154061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859" name="Freeform: Shape 858">
              <a:extLst>
                <a:ext uri="{FF2B5EF4-FFF2-40B4-BE49-F238E27FC236}">
                  <a16:creationId xmlns:a16="http://schemas.microsoft.com/office/drawing/2014/main" id="{168AC66E-8D5D-7C44-1867-894AB65F3E70}"/>
                </a:ext>
              </a:extLst>
            </p:cNvPr>
            <p:cNvSpPr/>
            <p:nvPr/>
          </p:nvSpPr>
          <p:spPr>
            <a:xfrm>
              <a:off x="9537399" y="1154064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1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1" y="217539"/>
                  </a:lnTo>
                  <a:lnTo>
                    <a:pt x="0" y="435050"/>
                  </a:lnTo>
                  <a:close/>
                </a:path>
              </a:pathLst>
            </a:custGeom>
            <a:grpFill/>
            <a:ln w="27192" cap="flat">
              <a:noFill/>
              <a:prstDash val="solid"/>
              <a:miter/>
            </a:ln>
          </p:spPr>
          <p:txBody>
            <a:bodyPr rtlCol="0" anchor="ctr"/>
            <a:lstStyle/>
            <a:p>
              <a:endParaRPr lang="uk-UA" sz="900"/>
            </a:p>
          </p:txBody>
        </p:sp>
        <p:sp>
          <p:nvSpPr>
            <p:cNvPr id="860" name="Freeform: Shape 859">
              <a:extLst>
                <a:ext uri="{FF2B5EF4-FFF2-40B4-BE49-F238E27FC236}">
                  <a16:creationId xmlns:a16="http://schemas.microsoft.com/office/drawing/2014/main" id="{D15C0B0B-D1D5-3B27-495B-FBF3993564A7}"/>
                </a:ext>
              </a:extLst>
            </p:cNvPr>
            <p:cNvSpPr/>
            <p:nvPr/>
          </p:nvSpPr>
          <p:spPr>
            <a:xfrm>
              <a:off x="11277709" y="1154061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0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10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0" y="217539"/>
                  </a:lnTo>
                  <a:lnTo>
                    <a:pt x="0" y="217539"/>
                  </a:lnTo>
                  <a:close/>
                  <a:moveTo>
                    <a:pt x="0" y="435077"/>
                  </a:moveTo>
                  <a:lnTo>
                    <a:pt x="0" y="217566"/>
                  </a:lnTo>
                  <a:lnTo>
                    <a:pt x="217510" y="217566"/>
                  </a:lnTo>
                  <a:lnTo>
                    <a:pt x="0" y="435077"/>
                  </a:lnTo>
                  <a:close/>
                </a:path>
              </a:pathLst>
            </a:custGeom>
            <a:grpFill/>
            <a:ln w="27192" cap="flat">
              <a:noFill/>
              <a:prstDash val="solid"/>
              <a:miter/>
            </a:ln>
          </p:spPr>
          <p:txBody>
            <a:bodyPr rtlCol="0" anchor="ctr"/>
            <a:lstStyle/>
            <a:p>
              <a:endParaRPr lang="uk-UA" sz="900"/>
            </a:p>
          </p:txBody>
        </p:sp>
        <p:sp>
          <p:nvSpPr>
            <p:cNvPr id="861" name="Freeform: Shape 860">
              <a:extLst>
                <a:ext uri="{FF2B5EF4-FFF2-40B4-BE49-F238E27FC236}">
                  <a16:creationId xmlns:a16="http://schemas.microsoft.com/office/drawing/2014/main" id="{F733F7C0-DE4A-9EC1-4B1E-AF0AE7537563}"/>
                </a:ext>
              </a:extLst>
            </p:cNvPr>
            <p:cNvSpPr/>
            <p:nvPr/>
          </p:nvSpPr>
          <p:spPr>
            <a:xfrm>
              <a:off x="10407526" y="11540612"/>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39 w 435077"/>
                <a:gd name="connsiteY6" fmla="*/ 153827 h 435077"/>
                <a:gd name="connsiteX7" fmla="*/ 63739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39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4" y="113039"/>
                    <a:pt x="0" y="57702"/>
                    <a:pt x="0" y="0"/>
                  </a:cubicBezTo>
                  <a:lnTo>
                    <a:pt x="217539" y="0"/>
                  </a:lnTo>
                  <a:lnTo>
                    <a:pt x="435077" y="0"/>
                  </a:lnTo>
                  <a:cubicBezTo>
                    <a:pt x="435077" y="57702"/>
                    <a:pt x="412182" y="113039"/>
                    <a:pt x="371366" y="153827"/>
                  </a:cubicBezTo>
                  <a:cubicBezTo>
                    <a:pt x="330578" y="194642"/>
                    <a:pt x="275241" y="217539"/>
                    <a:pt x="217539" y="217539"/>
                  </a:cubicBezTo>
                  <a:cubicBezTo>
                    <a:pt x="159864" y="217539"/>
                    <a:pt x="104527" y="194642"/>
                    <a:pt x="63739" y="153827"/>
                  </a:cubicBezTo>
                  <a:close/>
                  <a:moveTo>
                    <a:pt x="63739" y="281277"/>
                  </a:moveTo>
                  <a:cubicBezTo>
                    <a:pt x="22924" y="322066"/>
                    <a:pt x="0" y="377402"/>
                    <a:pt x="0" y="435077"/>
                  </a:cubicBezTo>
                  <a:lnTo>
                    <a:pt x="217539" y="435077"/>
                  </a:lnTo>
                  <a:lnTo>
                    <a:pt x="435077" y="435077"/>
                  </a:lnTo>
                  <a:cubicBezTo>
                    <a:pt x="435077" y="377402"/>
                    <a:pt x="412182" y="322066"/>
                    <a:pt x="371366" y="281277"/>
                  </a:cubicBezTo>
                  <a:cubicBezTo>
                    <a:pt x="330578" y="240462"/>
                    <a:pt x="275241" y="217539"/>
                    <a:pt x="217539" y="217539"/>
                  </a:cubicBezTo>
                  <a:cubicBezTo>
                    <a:pt x="159864" y="217539"/>
                    <a:pt x="104527" y="240462"/>
                    <a:pt x="63739" y="281277"/>
                  </a:cubicBezTo>
                  <a:close/>
                </a:path>
              </a:pathLst>
            </a:custGeom>
            <a:grpFill/>
            <a:ln w="27192" cap="flat">
              <a:noFill/>
              <a:prstDash val="solid"/>
              <a:miter/>
            </a:ln>
          </p:spPr>
          <p:txBody>
            <a:bodyPr rtlCol="0" anchor="ctr"/>
            <a:lstStyle/>
            <a:p>
              <a:endParaRPr lang="uk-UA" sz="900"/>
            </a:p>
          </p:txBody>
        </p:sp>
        <p:sp>
          <p:nvSpPr>
            <p:cNvPr id="862" name="Freeform: Shape 861">
              <a:extLst>
                <a:ext uri="{FF2B5EF4-FFF2-40B4-BE49-F238E27FC236}">
                  <a16:creationId xmlns:a16="http://schemas.microsoft.com/office/drawing/2014/main" id="{79A26B1F-147D-9BF5-D62F-F43BF4425214}"/>
                </a:ext>
              </a:extLst>
            </p:cNvPr>
            <p:cNvSpPr/>
            <p:nvPr/>
          </p:nvSpPr>
          <p:spPr>
            <a:xfrm>
              <a:off x="12147864" y="1154061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863" name="Freeform: Shape 862">
              <a:extLst>
                <a:ext uri="{FF2B5EF4-FFF2-40B4-BE49-F238E27FC236}">
                  <a16:creationId xmlns:a16="http://schemas.microsoft.com/office/drawing/2014/main" id="{EAA98FCB-9773-61BE-64DB-698EDF6C69E0}"/>
                </a:ext>
              </a:extLst>
            </p:cNvPr>
            <p:cNvSpPr/>
            <p:nvPr/>
          </p:nvSpPr>
          <p:spPr>
            <a:xfrm>
              <a:off x="13018045" y="1154064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2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2" y="217539"/>
                  </a:lnTo>
                  <a:lnTo>
                    <a:pt x="0" y="435050"/>
                  </a:lnTo>
                  <a:close/>
                </a:path>
              </a:pathLst>
            </a:custGeom>
            <a:grpFill/>
            <a:ln w="27192" cap="flat">
              <a:noFill/>
              <a:prstDash val="solid"/>
              <a:miter/>
            </a:ln>
          </p:spPr>
          <p:txBody>
            <a:bodyPr rtlCol="0" anchor="ctr"/>
            <a:lstStyle/>
            <a:p>
              <a:endParaRPr lang="uk-UA" sz="900"/>
            </a:p>
          </p:txBody>
        </p:sp>
        <p:sp>
          <p:nvSpPr>
            <p:cNvPr id="864" name="Freeform: Shape 863">
              <a:extLst>
                <a:ext uri="{FF2B5EF4-FFF2-40B4-BE49-F238E27FC236}">
                  <a16:creationId xmlns:a16="http://schemas.microsoft.com/office/drawing/2014/main" id="{C5181320-DBE8-E638-3EC7-C2999105FCB1}"/>
                </a:ext>
              </a:extLst>
            </p:cNvPr>
            <p:cNvSpPr/>
            <p:nvPr/>
          </p:nvSpPr>
          <p:spPr>
            <a:xfrm>
              <a:off x="14758355" y="11540612"/>
              <a:ext cx="435103" cy="435077"/>
            </a:xfrm>
            <a:custGeom>
              <a:avLst/>
              <a:gdLst>
                <a:gd name="connsiteX0" fmla="*/ 435104 w 435103"/>
                <a:gd name="connsiteY0" fmla="*/ 435077 h 435077"/>
                <a:gd name="connsiteX1" fmla="*/ 435104 w 435103"/>
                <a:gd name="connsiteY1" fmla="*/ 217566 h 435077"/>
                <a:gd name="connsiteX2" fmla="*/ 435104 w 435103"/>
                <a:gd name="connsiteY2" fmla="*/ 27 h 435077"/>
                <a:gd name="connsiteX3" fmla="*/ 217565 w 435103"/>
                <a:gd name="connsiteY3" fmla="*/ 27 h 435077"/>
                <a:gd name="connsiteX4" fmla="*/ 435104 w 435103"/>
                <a:gd name="connsiteY4" fmla="*/ 217566 h 435077"/>
                <a:gd name="connsiteX5" fmla="*/ 217565 w 435103"/>
                <a:gd name="connsiteY5" fmla="*/ 435077 h 435077"/>
                <a:gd name="connsiteX6" fmla="*/ 435104 w 435103"/>
                <a:gd name="connsiteY6" fmla="*/ 435077 h 435077"/>
                <a:gd name="connsiteX7" fmla="*/ 0 w 435103"/>
                <a:gd name="connsiteY7" fmla="*/ 217539 h 435077"/>
                <a:gd name="connsiteX8" fmla="*/ 0 w 435103"/>
                <a:gd name="connsiteY8" fmla="*/ 0 h 435077"/>
                <a:gd name="connsiteX9" fmla="*/ 217539 w 435103"/>
                <a:gd name="connsiteY9" fmla="*/ 217539 h 435077"/>
                <a:gd name="connsiteX10" fmla="*/ 0 w 435103"/>
                <a:gd name="connsiteY10" fmla="*/ 217539 h 435077"/>
                <a:gd name="connsiteX11" fmla="*/ 27 w 435103"/>
                <a:gd name="connsiteY11" fmla="*/ 435077 h 435077"/>
                <a:gd name="connsiteX12" fmla="*/ 27 w 435103"/>
                <a:gd name="connsiteY12" fmla="*/ 217566 h 435077"/>
                <a:gd name="connsiteX13" fmla="*/ 217539 w 435103"/>
                <a:gd name="connsiteY13" fmla="*/ 217566 h 435077"/>
                <a:gd name="connsiteX14" fmla="*/ 27 w 435103"/>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103" h="435077">
                  <a:moveTo>
                    <a:pt x="435104" y="435077"/>
                  </a:moveTo>
                  <a:lnTo>
                    <a:pt x="435104" y="217566"/>
                  </a:lnTo>
                  <a:lnTo>
                    <a:pt x="435104" y="27"/>
                  </a:lnTo>
                  <a:lnTo>
                    <a:pt x="217565" y="27"/>
                  </a:lnTo>
                  <a:lnTo>
                    <a:pt x="435104" y="217566"/>
                  </a:lnTo>
                  <a:lnTo>
                    <a:pt x="217565" y="435077"/>
                  </a:lnTo>
                  <a:lnTo>
                    <a:pt x="435104" y="435077"/>
                  </a:lnTo>
                  <a:close/>
                  <a:moveTo>
                    <a:pt x="0" y="217539"/>
                  </a:moveTo>
                  <a:lnTo>
                    <a:pt x="0" y="0"/>
                  </a:lnTo>
                  <a:lnTo>
                    <a:pt x="217539" y="217539"/>
                  </a:lnTo>
                  <a:lnTo>
                    <a:pt x="0" y="217539"/>
                  </a:lnTo>
                  <a:close/>
                  <a:moveTo>
                    <a:pt x="27" y="435077"/>
                  </a:moveTo>
                  <a:lnTo>
                    <a:pt x="27" y="217566"/>
                  </a:lnTo>
                  <a:lnTo>
                    <a:pt x="217539" y="217566"/>
                  </a:lnTo>
                  <a:lnTo>
                    <a:pt x="27" y="435077"/>
                  </a:lnTo>
                  <a:close/>
                </a:path>
              </a:pathLst>
            </a:custGeom>
            <a:grpFill/>
            <a:ln w="27192" cap="flat">
              <a:noFill/>
              <a:prstDash val="solid"/>
              <a:miter/>
            </a:ln>
          </p:spPr>
          <p:txBody>
            <a:bodyPr rtlCol="0" anchor="ctr"/>
            <a:lstStyle/>
            <a:p>
              <a:endParaRPr lang="uk-UA" sz="900"/>
            </a:p>
          </p:txBody>
        </p:sp>
        <p:sp>
          <p:nvSpPr>
            <p:cNvPr id="865" name="Freeform: Shape 864">
              <a:extLst>
                <a:ext uri="{FF2B5EF4-FFF2-40B4-BE49-F238E27FC236}">
                  <a16:creationId xmlns:a16="http://schemas.microsoft.com/office/drawing/2014/main" id="{03E88FDA-10DC-F597-1F16-1BB335D31A36}"/>
                </a:ext>
              </a:extLst>
            </p:cNvPr>
            <p:cNvSpPr/>
            <p:nvPr/>
          </p:nvSpPr>
          <p:spPr>
            <a:xfrm>
              <a:off x="13888200" y="1154061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4" y="113039"/>
                    <a:pt x="371365" y="153827"/>
                  </a:cubicBezTo>
                  <a:cubicBezTo>
                    <a:pt x="330577" y="194642"/>
                    <a:pt x="275241" y="217539"/>
                    <a:pt x="217539" y="217539"/>
                  </a:cubicBezTo>
                  <a:cubicBezTo>
                    <a:pt x="159836" y="217539"/>
                    <a:pt x="104527" y="194642"/>
                    <a:pt x="63712" y="153827"/>
                  </a:cubicBezTo>
                  <a:close/>
                  <a:moveTo>
                    <a:pt x="63712" y="281277"/>
                  </a:moveTo>
                  <a:cubicBezTo>
                    <a:pt x="22924" y="322066"/>
                    <a:pt x="0" y="377402"/>
                    <a:pt x="0" y="435077"/>
                  </a:cubicBezTo>
                  <a:lnTo>
                    <a:pt x="217539" y="435077"/>
                  </a:lnTo>
                  <a:lnTo>
                    <a:pt x="435077" y="435077"/>
                  </a:lnTo>
                  <a:cubicBezTo>
                    <a:pt x="435077" y="377402"/>
                    <a:pt x="412154" y="322066"/>
                    <a:pt x="371365" y="281277"/>
                  </a:cubicBezTo>
                  <a:cubicBezTo>
                    <a:pt x="330577" y="240462"/>
                    <a:pt x="275241" y="217539"/>
                    <a:pt x="217539" y="217539"/>
                  </a:cubicBezTo>
                  <a:cubicBezTo>
                    <a:pt x="159836" y="217539"/>
                    <a:pt x="104527" y="240462"/>
                    <a:pt x="63712" y="281277"/>
                  </a:cubicBezTo>
                  <a:close/>
                </a:path>
              </a:pathLst>
            </a:custGeom>
            <a:grpFill/>
            <a:ln w="27192" cap="flat">
              <a:noFill/>
              <a:prstDash val="solid"/>
              <a:miter/>
            </a:ln>
          </p:spPr>
          <p:txBody>
            <a:bodyPr rtlCol="0" anchor="ctr"/>
            <a:lstStyle/>
            <a:p>
              <a:endParaRPr lang="uk-UA" sz="900"/>
            </a:p>
          </p:txBody>
        </p:sp>
        <p:sp>
          <p:nvSpPr>
            <p:cNvPr id="866" name="Freeform: Shape 865">
              <a:extLst>
                <a:ext uri="{FF2B5EF4-FFF2-40B4-BE49-F238E27FC236}">
                  <a16:creationId xmlns:a16="http://schemas.microsoft.com/office/drawing/2014/main" id="{CEE12E79-22B3-904B-55EC-AA4128182F22}"/>
                </a:ext>
              </a:extLst>
            </p:cNvPr>
            <p:cNvSpPr/>
            <p:nvPr/>
          </p:nvSpPr>
          <p:spPr>
            <a:xfrm>
              <a:off x="15628536" y="1154061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867" name="Freeform: Shape 866">
              <a:extLst>
                <a:ext uri="{FF2B5EF4-FFF2-40B4-BE49-F238E27FC236}">
                  <a16:creationId xmlns:a16="http://schemas.microsoft.com/office/drawing/2014/main" id="{3E5565CA-8A4C-641A-EE58-C66A3EAF18A3}"/>
                </a:ext>
              </a:extLst>
            </p:cNvPr>
            <p:cNvSpPr/>
            <p:nvPr/>
          </p:nvSpPr>
          <p:spPr>
            <a:xfrm>
              <a:off x="16498719" y="1154064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0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0" y="217539"/>
                  </a:lnTo>
                  <a:lnTo>
                    <a:pt x="0" y="435050"/>
                  </a:lnTo>
                  <a:close/>
                </a:path>
              </a:pathLst>
            </a:custGeom>
            <a:grpFill/>
            <a:ln w="27192" cap="flat">
              <a:noFill/>
              <a:prstDash val="solid"/>
              <a:miter/>
            </a:ln>
          </p:spPr>
          <p:txBody>
            <a:bodyPr rtlCol="0" anchor="ctr"/>
            <a:lstStyle/>
            <a:p>
              <a:endParaRPr lang="uk-UA" sz="900"/>
            </a:p>
          </p:txBody>
        </p:sp>
        <p:sp>
          <p:nvSpPr>
            <p:cNvPr id="868" name="Freeform: Shape 867">
              <a:extLst>
                <a:ext uri="{FF2B5EF4-FFF2-40B4-BE49-F238E27FC236}">
                  <a16:creationId xmlns:a16="http://schemas.microsoft.com/office/drawing/2014/main" id="{343F0508-0CC9-5A1B-AC97-2D261884A003}"/>
                </a:ext>
              </a:extLst>
            </p:cNvPr>
            <p:cNvSpPr/>
            <p:nvPr/>
          </p:nvSpPr>
          <p:spPr>
            <a:xfrm>
              <a:off x="18239029" y="1154061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0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10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0" y="217539"/>
                  </a:lnTo>
                  <a:lnTo>
                    <a:pt x="0" y="217539"/>
                  </a:lnTo>
                  <a:close/>
                  <a:moveTo>
                    <a:pt x="0" y="435077"/>
                  </a:moveTo>
                  <a:lnTo>
                    <a:pt x="0" y="217566"/>
                  </a:lnTo>
                  <a:lnTo>
                    <a:pt x="217510" y="217566"/>
                  </a:lnTo>
                  <a:lnTo>
                    <a:pt x="0" y="435077"/>
                  </a:lnTo>
                  <a:close/>
                </a:path>
              </a:pathLst>
            </a:custGeom>
            <a:grpFill/>
            <a:ln w="27192" cap="flat">
              <a:noFill/>
              <a:prstDash val="solid"/>
              <a:miter/>
            </a:ln>
          </p:spPr>
          <p:txBody>
            <a:bodyPr rtlCol="0" anchor="ctr"/>
            <a:lstStyle/>
            <a:p>
              <a:endParaRPr lang="uk-UA" sz="900"/>
            </a:p>
          </p:txBody>
        </p:sp>
        <p:sp>
          <p:nvSpPr>
            <p:cNvPr id="869" name="Freeform: Shape 868">
              <a:extLst>
                <a:ext uri="{FF2B5EF4-FFF2-40B4-BE49-F238E27FC236}">
                  <a16:creationId xmlns:a16="http://schemas.microsoft.com/office/drawing/2014/main" id="{277E04C8-E1F7-47C8-FB1D-16F8961D191B}"/>
                </a:ext>
              </a:extLst>
            </p:cNvPr>
            <p:cNvSpPr/>
            <p:nvPr/>
          </p:nvSpPr>
          <p:spPr>
            <a:xfrm>
              <a:off x="17368874" y="11540612"/>
              <a:ext cx="435077" cy="435077"/>
            </a:xfrm>
            <a:custGeom>
              <a:avLst/>
              <a:gdLst>
                <a:gd name="connsiteX0" fmla="*/ 63710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0 w 435077"/>
                <a:gd name="connsiteY6" fmla="*/ 153827 h 435077"/>
                <a:gd name="connsiteX7" fmla="*/ 63710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77 h 435077"/>
                <a:gd name="connsiteX12" fmla="*/ 217539 w 435077"/>
                <a:gd name="connsiteY12" fmla="*/ 217539 h 435077"/>
                <a:gd name="connsiteX13" fmla="*/ 63710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7"/>
                  </a:moveTo>
                  <a:cubicBezTo>
                    <a:pt x="22895" y="113039"/>
                    <a:pt x="0" y="57702"/>
                    <a:pt x="0" y="0"/>
                  </a:cubicBezTo>
                  <a:lnTo>
                    <a:pt x="217539" y="0"/>
                  </a:lnTo>
                  <a:lnTo>
                    <a:pt x="435077" y="0"/>
                  </a:lnTo>
                  <a:cubicBezTo>
                    <a:pt x="435077" y="57702"/>
                    <a:pt x="412154" y="113039"/>
                    <a:pt x="371339" y="153827"/>
                  </a:cubicBezTo>
                  <a:cubicBezTo>
                    <a:pt x="330550" y="194642"/>
                    <a:pt x="275213" y="217539"/>
                    <a:pt x="217539" y="217539"/>
                  </a:cubicBezTo>
                  <a:cubicBezTo>
                    <a:pt x="159836" y="217539"/>
                    <a:pt x="104499" y="194642"/>
                    <a:pt x="63710" y="153827"/>
                  </a:cubicBezTo>
                  <a:close/>
                  <a:moveTo>
                    <a:pt x="63710" y="281277"/>
                  </a:moveTo>
                  <a:cubicBezTo>
                    <a:pt x="22895" y="322066"/>
                    <a:pt x="0" y="377402"/>
                    <a:pt x="0" y="435077"/>
                  </a:cubicBezTo>
                  <a:lnTo>
                    <a:pt x="217539" y="435077"/>
                  </a:lnTo>
                  <a:lnTo>
                    <a:pt x="435077" y="435077"/>
                  </a:lnTo>
                  <a:cubicBezTo>
                    <a:pt x="435077" y="377402"/>
                    <a:pt x="412154" y="322066"/>
                    <a:pt x="371339" y="281277"/>
                  </a:cubicBezTo>
                  <a:cubicBezTo>
                    <a:pt x="330550" y="240462"/>
                    <a:pt x="275213" y="217539"/>
                    <a:pt x="217539" y="217539"/>
                  </a:cubicBezTo>
                  <a:cubicBezTo>
                    <a:pt x="159836" y="217539"/>
                    <a:pt x="104499" y="240462"/>
                    <a:pt x="63710" y="281277"/>
                  </a:cubicBezTo>
                  <a:close/>
                </a:path>
              </a:pathLst>
            </a:custGeom>
            <a:grpFill/>
            <a:ln w="27192" cap="flat">
              <a:noFill/>
              <a:prstDash val="solid"/>
              <a:miter/>
            </a:ln>
          </p:spPr>
          <p:txBody>
            <a:bodyPr rtlCol="0" anchor="ctr"/>
            <a:lstStyle/>
            <a:p>
              <a:endParaRPr lang="uk-UA" sz="900"/>
            </a:p>
          </p:txBody>
        </p:sp>
        <p:sp>
          <p:nvSpPr>
            <p:cNvPr id="870" name="Freeform: Shape 869">
              <a:extLst>
                <a:ext uri="{FF2B5EF4-FFF2-40B4-BE49-F238E27FC236}">
                  <a16:creationId xmlns:a16="http://schemas.microsoft.com/office/drawing/2014/main" id="{A26681AA-DBE8-3502-D4D5-DD2DCCC6EF27}"/>
                </a:ext>
              </a:extLst>
            </p:cNvPr>
            <p:cNvSpPr/>
            <p:nvPr/>
          </p:nvSpPr>
          <p:spPr>
            <a:xfrm>
              <a:off x="19109184" y="1154061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871" name="Freeform: Shape 870">
              <a:extLst>
                <a:ext uri="{FF2B5EF4-FFF2-40B4-BE49-F238E27FC236}">
                  <a16:creationId xmlns:a16="http://schemas.microsoft.com/office/drawing/2014/main" id="{A8AB8852-F172-81E0-18FD-24898922F54C}"/>
                </a:ext>
              </a:extLst>
            </p:cNvPr>
            <p:cNvSpPr/>
            <p:nvPr/>
          </p:nvSpPr>
          <p:spPr>
            <a:xfrm>
              <a:off x="19979365" y="11540612"/>
              <a:ext cx="435077" cy="435077"/>
            </a:xfrm>
            <a:custGeom>
              <a:avLst/>
              <a:gdLst>
                <a:gd name="connsiteX0" fmla="*/ 435077 w 435077"/>
                <a:gd name="connsiteY0" fmla="*/ 435077 h 435077"/>
                <a:gd name="connsiteX1" fmla="*/ 435077 w 435077"/>
                <a:gd name="connsiteY1" fmla="*/ 0 h 435077"/>
                <a:gd name="connsiteX2" fmla="*/ 217539 w 435077"/>
                <a:gd name="connsiteY2" fmla="*/ 217566 h 435077"/>
                <a:gd name="connsiteX3" fmla="*/ 435077 w 435077"/>
                <a:gd name="connsiteY3" fmla="*/ 435077 h 435077"/>
                <a:gd name="connsiteX4" fmla="*/ 0 w 435077"/>
                <a:gd name="connsiteY4" fmla="*/ 435077 h 435077"/>
                <a:gd name="connsiteX5" fmla="*/ 0 w 435077"/>
                <a:gd name="connsiteY5" fmla="*/ 0 h 435077"/>
                <a:gd name="connsiteX6" fmla="*/ 217512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66"/>
                  </a:lnTo>
                  <a:lnTo>
                    <a:pt x="435077" y="435077"/>
                  </a:lnTo>
                  <a:close/>
                  <a:moveTo>
                    <a:pt x="0" y="435077"/>
                  </a:moveTo>
                  <a:lnTo>
                    <a:pt x="0" y="0"/>
                  </a:lnTo>
                  <a:lnTo>
                    <a:pt x="217512" y="217566"/>
                  </a:lnTo>
                  <a:lnTo>
                    <a:pt x="0" y="435077"/>
                  </a:lnTo>
                  <a:close/>
                </a:path>
              </a:pathLst>
            </a:custGeom>
            <a:grpFill/>
            <a:ln w="27192" cap="flat">
              <a:noFill/>
              <a:prstDash val="solid"/>
              <a:miter/>
            </a:ln>
          </p:spPr>
          <p:txBody>
            <a:bodyPr rtlCol="0" anchor="ctr"/>
            <a:lstStyle/>
            <a:p>
              <a:endParaRPr lang="uk-UA" sz="900"/>
            </a:p>
          </p:txBody>
        </p:sp>
        <p:sp>
          <p:nvSpPr>
            <p:cNvPr id="872" name="Freeform: Shape 871">
              <a:extLst>
                <a:ext uri="{FF2B5EF4-FFF2-40B4-BE49-F238E27FC236}">
                  <a16:creationId xmlns:a16="http://schemas.microsoft.com/office/drawing/2014/main" id="{27F3C37E-6D5B-8AFE-B231-6CC490CF5506}"/>
                </a:ext>
              </a:extLst>
            </p:cNvPr>
            <p:cNvSpPr/>
            <p:nvPr/>
          </p:nvSpPr>
          <p:spPr>
            <a:xfrm>
              <a:off x="21719675" y="1154061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5 w 435077"/>
                <a:gd name="connsiteY3" fmla="*/ 27 h 435077"/>
                <a:gd name="connsiteX4" fmla="*/ 435077 w 435077"/>
                <a:gd name="connsiteY4" fmla="*/ 217566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5" y="27"/>
                  </a:lnTo>
                  <a:lnTo>
                    <a:pt x="435077" y="217566"/>
                  </a:lnTo>
                  <a:lnTo>
                    <a:pt x="217565"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873" name="Freeform: Shape 872">
              <a:extLst>
                <a:ext uri="{FF2B5EF4-FFF2-40B4-BE49-F238E27FC236}">
                  <a16:creationId xmlns:a16="http://schemas.microsoft.com/office/drawing/2014/main" id="{F3462D6A-C8E6-EA95-884C-19E0A3E4CA0F}"/>
                </a:ext>
              </a:extLst>
            </p:cNvPr>
            <p:cNvSpPr/>
            <p:nvPr/>
          </p:nvSpPr>
          <p:spPr>
            <a:xfrm>
              <a:off x="20849520" y="1154061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4" y="113039"/>
                    <a:pt x="371365" y="153827"/>
                  </a:cubicBezTo>
                  <a:cubicBezTo>
                    <a:pt x="330577" y="194642"/>
                    <a:pt x="275241" y="217539"/>
                    <a:pt x="217539" y="217539"/>
                  </a:cubicBezTo>
                  <a:cubicBezTo>
                    <a:pt x="159836"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4" y="322066"/>
                    <a:pt x="371365" y="281277"/>
                  </a:cubicBezTo>
                  <a:cubicBezTo>
                    <a:pt x="330577" y="240462"/>
                    <a:pt x="275241" y="217539"/>
                    <a:pt x="217539" y="217539"/>
                  </a:cubicBezTo>
                  <a:cubicBezTo>
                    <a:pt x="159836" y="217539"/>
                    <a:pt x="104501" y="240462"/>
                    <a:pt x="63712" y="281277"/>
                  </a:cubicBezTo>
                  <a:close/>
                </a:path>
              </a:pathLst>
            </a:custGeom>
            <a:grpFill/>
            <a:ln w="27192" cap="flat">
              <a:noFill/>
              <a:prstDash val="solid"/>
              <a:miter/>
            </a:ln>
          </p:spPr>
          <p:txBody>
            <a:bodyPr rtlCol="0" anchor="ctr"/>
            <a:lstStyle/>
            <a:p>
              <a:endParaRPr lang="uk-UA" sz="900"/>
            </a:p>
          </p:txBody>
        </p:sp>
        <p:sp>
          <p:nvSpPr>
            <p:cNvPr id="874" name="Freeform: Shape 873">
              <a:extLst>
                <a:ext uri="{FF2B5EF4-FFF2-40B4-BE49-F238E27FC236}">
                  <a16:creationId xmlns:a16="http://schemas.microsoft.com/office/drawing/2014/main" id="{CBF52EBE-E692-1135-E68F-CC921828ABB7}"/>
                </a:ext>
              </a:extLst>
            </p:cNvPr>
            <p:cNvSpPr/>
            <p:nvPr/>
          </p:nvSpPr>
          <p:spPr>
            <a:xfrm>
              <a:off x="22589856" y="1154061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875" name="Freeform: Shape 874">
              <a:extLst>
                <a:ext uri="{FF2B5EF4-FFF2-40B4-BE49-F238E27FC236}">
                  <a16:creationId xmlns:a16="http://schemas.microsoft.com/office/drawing/2014/main" id="{376B18C8-378B-A4AF-3535-8F6B557F9A28}"/>
                </a:ext>
              </a:extLst>
            </p:cNvPr>
            <p:cNvSpPr/>
            <p:nvPr/>
          </p:nvSpPr>
          <p:spPr>
            <a:xfrm>
              <a:off x="23460011" y="11540612"/>
              <a:ext cx="435077" cy="435077"/>
            </a:xfrm>
            <a:custGeom>
              <a:avLst/>
              <a:gdLst>
                <a:gd name="connsiteX0" fmla="*/ 435077 w 435077"/>
                <a:gd name="connsiteY0" fmla="*/ 435077 h 435077"/>
                <a:gd name="connsiteX1" fmla="*/ 435077 w 435077"/>
                <a:gd name="connsiteY1" fmla="*/ 0 h 435077"/>
                <a:gd name="connsiteX2" fmla="*/ 217567 w 435077"/>
                <a:gd name="connsiteY2" fmla="*/ 217566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7" y="217566"/>
                  </a:lnTo>
                  <a:lnTo>
                    <a:pt x="435077" y="435077"/>
                  </a:lnTo>
                  <a:close/>
                  <a:moveTo>
                    <a:pt x="0" y="435077"/>
                  </a:moveTo>
                  <a:lnTo>
                    <a:pt x="0" y="0"/>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876" name="Freeform: Shape 875">
              <a:extLst>
                <a:ext uri="{FF2B5EF4-FFF2-40B4-BE49-F238E27FC236}">
                  <a16:creationId xmlns:a16="http://schemas.microsoft.com/office/drawing/2014/main" id="{F09783C2-B880-EC6B-B37C-0F7C52FEAFF2}"/>
                </a:ext>
              </a:extLst>
            </p:cNvPr>
            <p:cNvSpPr/>
            <p:nvPr/>
          </p:nvSpPr>
          <p:spPr>
            <a:xfrm>
              <a:off x="24330194" y="1154061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447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447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235" y="113039"/>
                    <a:pt x="371447" y="153827"/>
                  </a:cubicBezTo>
                  <a:cubicBezTo>
                    <a:pt x="330658" y="194642"/>
                    <a:pt x="275186" y="217539"/>
                    <a:pt x="217539" y="217539"/>
                  </a:cubicBezTo>
                  <a:cubicBezTo>
                    <a:pt x="159836" y="217539"/>
                    <a:pt x="104501" y="194642"/>
                    <a:pt x="63712" y="153827"/>
                  </a:cubicBezTo>
                  <a:close/>
                  <a:moveTo>
                    <a:pt x="63712" y="281277"/>
                  </a:moveTo>
                  <a:cubicBezTo>
                    <a:pt x="22924" y="322066"/>
                    <a:pt x="0" y="377402"/>
                    <a:pt x="0" y="435077"/>
                  </a:cubicBezTo>
                  <a:lnTo>
                    <a:pt x="217539" y="435077"/>
                  </a:lnTo>
                  <a:lnTo>
                    <a:pt x="435077" y="435077"/>
                  </a:lnTo>
                  <a:cubicBezTo>
                    <a:pt x="435077" y="377402"/>
                    <a:pt x="412235" y="322066"/>
                    <a:pt x="371447" y="281277"/>
                  </a:cubicBezTo>
                  <a:cubicBezTo>
                    <a:pt x="330658" y="240462"/>
                    <a:pt x="275186" y="217539"/>
                    <a:pt x="217539" y="217539"/>
                  </a:cubicBezTo>
                  <a:cubicBezTo>
                    <a:pt x="159836" y="217539"/>
                    <a:pt x="104501" y="240462"/>
                    <a:pt x="63712" y="281277"/>
                  </a:cubicBezTo>
                  <a:close/>
                </a:path>
              </a:pathLst>
            </a:custGeom>
            <a:grpFill/>
            <a:ln w="27192" cap="flat">
              <a:noFill/>
              <a:prstDash val="solid"/>
              <a:miter/>
            </a:ln>
          </p:spPr>
          <p:txBody>
            <a:bodyPr rtlCol="0" anchor="ctr"/>
            <a:lstStyle/>
            <a:p>
              <a:endParaRPr lang="uk-UA" sz="900"/>
            </a:p>
          </p:txBody>
        </p:sp>
        <p:sp>
          <p:nvSpPr>
            <p:cNvPr id="877" name="Freeform: Shape 876">
              <a:extLst>
                <a:ext uri="{FF2B5EF4-FFF2-40B4-BE49-F238E27FC236}">
                  <a16:creationId xmlns:a16="http://schemas.microsoft.com/office/drawing/2014/main" id="{AA003055-B0F0-4700-1D39-1453B010FABA}"/>
                </a:ext>
              </a:extLst>
            </p:cNvPr>
            <p:cNvSpPr/>
            <p:nvPr/>
          </p:nvSpPr>
          <p:spPr>
            <a:xfrm>
              <a:off x="835742" y="12410767"/>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p>
          </p:txBody>
        </p:sp>
        <p:sp>
          <p:nvSpPr>
            <p:cNvPr id="878" name="Freeform: Shape 877">
              <a:extLst>
                <a:ext uri="{FF2B5EF4-FFF2-40B4-BE49-F238E27FC236}">
                  <a16:creationId xmlns:a16="http://schemas.microsoft.com/office/drawing/2014/main" id="{D3C8A159-22AD-DDE1-9F76-2E0E62609B76}"/>
                </a:ext>
              </a:extLst>
            </p:cNvPr>
            <p:cNvSpPr/>
            <p:nvPr/>
          </p:nvSpPr>
          <p:spPr>
            <a:xfrm>
              <a:off x="-34409" y="12410767"/>
              <a:ext cx="435074" cy="435104"/>
            </a:xfrm>
            <a:custGeom>
              <a:avLst/>
              <a:gdLst>
                <a:gd name="connsiteX0" fmla="*/ 0 w 435074"/>
                <a:gd name="connsiteY0" fmla="*/ 435077 h 435104"/>
                <a:gd name="connsiteX1" fmla="*/ 217536 w 435074"/>
                <a:gd name="connsiteY1" fmla="*/ 435077 h 435104"/>
                <a:gd name="connsiteX2" fmla="*/ 217536 w 435074"/>
                <a:gd name="connsiteY2" fmla="*/ 217566 h 435104"/>
                <a:gd name="connsiteX3" fmla="*/ 0 w 435074"/>
                <a:gd name="connsiteY3" fmla="*/ 435077 h 435104"/>
                <a:gd name="connsiteX4" fmla="*/ 217536 w 435074"/>
                <a:gd name="connsiteY4" fmla="*/ 0 h 435104"/>
                <a:gd name="connsiteX5" fmla="*/ 3 w 435074"/>
                <a:gd name="connsiteY5" fmla="*/ 0 h 435104"/>
                <a:gd name="connsiteX6" fmla="*/ 217536 w 435074"/>
                <a:gd name="connsiteY6" fmla="*/ 217539 h 435104"/>
                <a:gd name="connsiteX7" fmla="*/ 217536 w 435074"/>
                <a:gd name="connsiteY7" fmla="*/ 0 h 435104"/>
                <a:gd name="connsiteX8" fmla="*/ 435075 w 435074"/>
                <a:gd name="connsiteY8" fmla="*/ 435105 h 435104"/>
                <a:gd name="connsiteX9" fmla="*/ 217536 w 435074"/>
                <a:gd name="connsiteY9" fmla="*/ 435105 h 435104"/>
                <a:gd name="connsiteX10" fmla="*/ 435075 w 435074"/>
                <a:gd name="connsiteY10" fmla="*/ 217566 h 435104"/>
                <a:gd name="connsiteX11" fmla="*/ 435075 w 435074"/>
                <a:gd name="connsiteY11" fmla="*/ 435105 h 435104"/>
                <a:gd name="connsiteX12" fmla="*/ 435075 w 435074"/>
                <a:gd name="connsiteY12" fmla="*/ 27 h 435104"/>
                <a:gd name="connsiteX13" fmla="*/ 217536 w 435074"/>
                <a:gd name="connsiteY13" fmla="*/ 27 h 435104"/>
                <a:gd name="connsiteX14" fmla="*/ 435075 w 435074"/>
                <a:gd name="connsiteY14" fmla="*/ 217539 h 435104"/>
                <a:gd name="connsiteX15" fmla="*/ 435075 w 435074"/>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4" h="435104">
                  <a:moveTo>
                    <a:pt x="0" y="435077"/>
                  </a:moveTo>
                  <a:lnTo>
                    <a:pt x="217536" y="435077"/>
                  </a:lnTo>
                  <a:lnTo>
                    <a:pt x="217536" y="217566"/>
                  </a:lnTo>
                  <a:lnTo>
                    <a:pt x="0" y="435077"/>
                  </a:lnTo>
                  <a:close/>
                  <a:moveTo>
                    <a:pt x="217536" y="0"/>
                  </a:moveTo>
                  <a:lnTo>
                    <a:pt x="3" y="0"/>
                  </a:lnTo>
                  <a:lnTo>
                    <a:pt x="217536" y="217539"/>
                  </a:lnTo>
                  <a:lnTo>
                    <a:pt x="217536" y="0"/>
                  </a:lnTo>
                  <a:close/>
                  <a:moveTo>
                    <a:pt x="435075" y="435105"/>
                  </a:moveTo>
                  <a:lnTo>
                    <a:pt x="217536" y="435105"/>
                  </a:lnTo>
                  <a:lnTo>
                    <a:pt x="435075" y="217566"/>
                  </a:lnTo>
                  <a:lnTo>
                    <a:pt x="435075" y="435105"/>
                  </a:lnTo>
                  <a:close/>
                  <a:moveTo>
                    <a:pt x="435075" y="27"/>
                  </a:moveTo>
                  <a:lnTo>
                    <a:pt x="217536" y="27"/>
                  </a:lnTo>
                  <a:lnTo>
                    <a:pt x="435075" y="217539"/>
                  </a:lnTo>
                  <a:lnTo>
                    <a:pt x="435075" y="27"/>
                  </a:lnTo>
                  <a:close/>
                </a:path>
              </a:pathLst>
            </a:custGeom>
            <a:grpFill/>
            <a:ln w="27192" cap="flat">
              <a:noFill/>
              <a:prstDash val="solid"/>
              <a:miter/>
            </a:ln>
          </p:spPr>
          <p:txBody>
            <a:bodyPr rtlCol="0" anchor="ctr"/>
            <a:lstStyle/>
            <a:p>
              <a:endParaRPr lang="uk-UA" sz="900"/>
            </a:p>
          </p:txBody>
        </p:sp>
        <p:sp>
          <p:nvSpPr>
            <p:cNvPr id="879" name="Freeform: Shape 878">
              <a:extLst>
                <a:ext uri="{FF2B5EF4-FFF2-40B4-BE49-F238E27FC236}">
                  <a16:creationId xmlns:a16="http://schemas.microsoft.com/office/drawing/2014/main" id="{8F3739C8-2357-07DF-C04B-EB3F73DA7FB7}"/>
                </a:ext>
              </a:extLst>
            </p:cNvPr>
            <p:cNvSpPr/>
            <p:nvPr/>
          </p:nvSpPr>
          <p:spPr>
            <a:xfrm>
              <a:off x="1705924" y="12410767"/>
              <a:ext cx="435077" cy="435077"/>
            </a:xfrm>
            <a:custGeom>
              <a:avLst/>
              <a:gdLst>
                <a:gd name="connsiteX0" fmla="*/ 371366 w 435077"/>
                <a:gd name="connsiteY0" fmla="*/ 63739 h 435077"/>
                <a:gd name="connsiteX1" fmla="*/ 435077 w 435077"/>
                <a:gd name="connsiteY1" fmla="*/ 217539 h 435077"/>
                <a:gd name="connsiteX2" fmla="*/ 217702 w 435077"/>
                <a:gd name="connsiteY2" fmla="*/ 217539 h 435077"/>
                <a:gd name="connsiteX3" fmla="*/ 371366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1 w 435077"/>
                <a:gd name="connsiteY7" fmla="*/ 281277 h 435077"/>
                <a:gd name="connsiteX8" fmla="*/ 217375 w 435077"/>
                <a:gd name="connsiteY8" fmla="*/ 217539 h 435077"/>
                <a:gd name="connsiteX9" fmla="*/ 0 w 435077"/>
                <a:gd name="connsiteY9" fmla="*/ 217539 h 435077"/>
                <a:gd name="connsiteX10" fmla="*/ 63711 w 435077"/>
                <a:gd name="connsiteY10" fmla="*/ 63739 h 435077"/>
                <a:gd name="connsiteX11" fmla="*/ 217539 w 435077"/>
                <a:gd name="connsiteY11" fmla="*/ 0 h 435077"/>
                <a:gd name="connsiteX12" fmla="*/ 371366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39"/>
                  </a:moveTo>
                  <a:cubicBezTo>
                    <a:pt x="412154" y="104527"/>
                    <a:pt x="435077" y="159864"/>
                    <a:pt x="435077" y="217539"/>
                  </a:cubicBezTo>
                  <a:lnTo>
                    <a:pt x="217702" y="217539"/>
                  </a:lnTo>
                  <a:cubicBezTo>
                    <a:pt x="275349" y="217593"/>
                    <a:pt x="330604" y="240516"/>
                    <a:pt x="371366" y="281277"/>
                  </a:cubicBezTo>
                  <a:cubicBezTo>
                    <a:pt x="412154" y="322066"/>
                    <a:pt x="435077" y="377402"/>
                    <a:pt x="435077" y="435077"/>
                  </a:cubicBezTo>
                  <a:lnTo>
                    <a:pt x="217539" y="435077"/>
                  </a:lnTo>
                  <a:lnTo>
                    <a:pt x="0" y="435077"/>
                  </a:lnTo>
                  <a:cubicBezTo>
                    <a:pt x="0" y="377402"/>
                    <a:pt x="22923" y="322066"/>
                    <a:pt x="63711" y="281277"/>
                  </a:cubicBezTo>
                  <a:cubicBezTo>
                    <a:pt x="104473" y="240516"/>
                    <a:pt x="159728" y="217593"/>
                    <a:pt x="217375" y="217539"/>
                  </a:cubicBezTo>
                  <a:lnTo>
                    <a:pt x="0" y="217539"/>
                  </a:lnTo>
                  <a:cubicBezTo>
                    <a:pt x="0" y="159864"/>
                    <a:pt x="22923" y="104527"/>
                    <a:pt x="63711" y="63739"/>
                  </a:cubicBezTo>
                  <a:cubicBezTo>
                    <a:pt x="104500" y="22923"/>
                    <a:pt x="159836" y="0"/>
                    <a:pt x="217539" y="0"/>
                  </a:cubicBezTo>
                  <a:cubicBezTo>
                    <a:pt x="275213" y="0"/>
                    <a:pt x="330550" y="22923"/>
                    <a:pt x="371366" y="63739"/>
                  </a:cubicBezTo>
                  <a:close/>
                </a:path>
              </a:pathLst>
            </a:custGeom>
            <a:grpFill/>
            <a:ln w="27192" cap="flat">
              <a:noFill/>
              <a:prstDash val="solid"/>
              <a:miter/>
            </a:ln>
          </p:spPr>
          <p:txBody>
            <a:bodyPr rtlCol="0" anchor="ctr"/>
            <a:lstStyle/>
            <a:p>
              <a:endParaRPr lang="uk-UA" sz="900"/>
            </a:p>
          </p:txBody>
        </p:sp>
        <p:sp>
          <p:nvSpPr>
            <p:cNvPr id="880" name="Freeform: Shape 879">
              <a:extLst>
                <a:ext uri="{FF2B5EF4-FFF2-40B4-BE49-F238E27FC236}">
                  <a16:creationId xmlns:a16="http://schemas.microsoft.com/office/drawing/2014/main" id="{CDB618F7-9B89-2584-BB6A-73F3D7806CA0}"/>
                </a:ext>
              </a:extLst>
            </p:cNvPr>
            <p:cNvSpPr/>
            <p:nvPr/>
          </p:nvSpPr>
          <p:spPr>
            <a:xfrm>
              <a:off x="2576079" y="12410767"/>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881" name="Freeform: Shape 880">
              <a:extLst>
                <a:ext uri="{FF2B5EF4-FFF2-40B4-BE49-F238E27FC236}">
                  <a16:creationId xmlns:a16="http://schemas.microsoft.com/office/drawing/2014/main" id="{3A8627F1-46C1-9E2F-45E4-5215F97A438B}"/>
                </a:ext>
              </a:extLst>
            </p:cNvPr>
            <p:cNvSpPr/>
            <p:nvPr/>
          </p:nvSpPr>
          <p:spPr>
            <a:xfrm>
              <a:off x="4316416" y="12410767"/>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882" name="Freeform: Shape 881">
              <a:extLst>
                <a:ext uri="{FF2B5EF4-FFF2-40B4-BE49-F238E27FC236}">
                  <a16:creationId xmlns:a16="http://schemas.microsoft.com/office/drawing/2014/main" id="{6401F82D-9D09-0115-CA9A-0FC2D2A254C2}"/>
                </a:ext>
              </a:extLst>
            </p:cNvPr>
            <p:cNvSpPr/>
            <p:nvPr/>
          </p:nvSpPr>
          <p:spPr>
            <a:xfrm>
              <a:off x="3446261" y="12410767"/>
              <a:ext cx="435077" cy="435104"/>
            </a:xfrm>
            <a:custGeom>
              <a:avLst/>
              <a:gdLst>
                <a:gd name="connsiteX0" fmla="*/ 0 w 435077"/>
                <a:gd name="connsiteY0" fmla="*/ 435077 h 435104"/>
                <a:gd name="connsiteX1" fmla="*/ 217512 w 435077"/>
                <a:gd name="connsiteY1" fmla="*/ 435077 h 435104"/>
                <a:gd name="connsiteX2" fmla="*/ 217512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12" y="435077"/>
                  </a:lnTo>
                  <a:lnTo>
                    <a:pt x="217512"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883" name="Freeform: Shape 882">
              <a:extLst>
                <a:ext uri="{FF2B5EF4-FFF2-40B4-BE49-F238E27FC236}">
                  <a16:creationId xmlns:a16="http://schemas.microsoft.com/office/drawing/2014/main" id="{89F5217B-EBCD-BE14-3414-5C37BC58D33C}"/>
                </a:ext>
              </a:extLst>
            </p:cNvPr>
            <p:cNvSpPr/>
            <p:nvPr/>
          </p:nvSpPr>
          <p:spPr>
            <a:xfrm>
              <a:off x="5186571" y="12410767"/>
              <a:ext cx="435103" cy="435077"/>
            </a:xfrm>
            <a:custGeom>
              <a:avLst/>
              <a:gdLst>
                <a:gd name="connsiteX0" fmla="*/ 371365 w 435103"/>
                <a:gd name="connsiteY0" fmla="*/ 63739 h 435077"/>
                <a:gd name="connsiteX1" fmla="*/ 435077 w 435103"/>
                <a:gd name="connsiteY1" fmla="*/ 217539 h 435077"/>
                <a:gd name="connsiteX2" fmla="*/ 217729 w 435103"/>
                <a:gd name="connsiteY2" fmla="*/ 217539 h 435077"/>
                <a:gd name="connsiteX3" fmla="*/ 371365 w 435103"/>
                <a:gd name="connsiteY3" fmla="*/ 281277 h 435077"/>
                <a:gd name="connsiteX4" fmla="*/ 435104 w 435103"/>
                <a:gd name="connsiteY4" fmla="*/ 435077 h 435077"/>
                <a:gd name="connsiteX5" fmla="*/ 217565 w 435103"/>
                <a:gd name="connsiteY5" fmla="*/ 435077 h 435077"/>
                <a:gd name="connsiteX6" fmla="*/ 27 w 435103"/>
                <a:gd name="connsiteY6" fmla="*/ 435077 h 435077"/>
                <a:gd name="connsiteX7" fmla="*/ 63739 w 435103"/>
                <a:gd name="connsiteY7" fmla="*/ 281277 h 435077"/>
                <a:gd name="connsiteX8" fmla="*/ 217375 w 435103"/>
                <a:gd name="connsiteY8" fmla="*/ 217539 h 435077"/>
                <a:gd name="connsiteX9" fmla="*/ 0 w 435103"/>
                <a:gd name="connsiteY9" fmla="*/ 217539 h 435077"/>
                <a:gd name="connsiteX10" fmla="*/ 63739 w 435103"/>
                <a:gd name="connsiteY10" fmla="*/ 63739 h 435077"/>
                <a:gd name="connsiteX11" fmla="*/ 217539 w 435103"/>
                <a:gd name="connsiteY11" fmla="*/ 0 h 435077"/>
                <a:gd name="connsiteX12" fmla="*/ 371365 w 435103"/>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3" h="435077">
                  <a:moveTo>
                    <a:pt x="371365" y="63739"/>
                  </a:moveTo>
                  <a:cubicBezTo>
                    <a:pt x="412181" y="104527"/>
                    <a:pt x="435077" y="159864"/>
                    <a:pt x="435077" y="217539"/>
                  </a:cubicBezTo>
                  <a:lnTo>
                    <a:pt x="217729" y="217539"/>
                  </a:lnTo>
                  <a:cubicBezTo>
                    <a:pt x="275349" y="217593"/>
                    <a:pt x="330632" y="240516"/>
                    <a:pt x="371365" y="281277"/>
                  </a:cubicBezTo>
                  <a:cubicBezTo>
                    <a:pt x="412181" y="322066"/>
                    <a:pt x="435104" y="377402"/>
                    <a:pt x="435104" y="435077"/>
                  </a:cubicBezTo>
                  <a:lnTo>
                    <a:pt x="217565" y="435077"/>
                  </a:lnTo>
                  <a:lnTo>
                    <a:pt x="27" y="435077"/>
                  </a:lnTo>
                  <a:cubicBezTo>
                    <a:pt x="27" y="377402"/>
                    <a:pt x="22923" y="322066"/>
                    <a:pt x="63739" y="281277"/>
                  </a:cubicBezTo>
                  <a:cubicBezTo>
                    <a:pt x="104500" y="240516"/>
                    <a:pt x="159755" y="217593"/>
                    <a:pt x="217375" y="217539"/>
                  </a:cubicBezTo>
                  <a:lnTo>
                    <a:pt x="0" y="217539"/>
                  </a:lnTo>
                  <a:cubicBezTo>
                    <a:pt x="0" y="159864"/>
                    <a:pt x="22923" y="104527"/>
                    <a:pt x="63739" y="63739"/>
                  </a:cubicBezTo>
                  <a:cubicBezTo>
                    <a:pt x="104527" y="22923"/>
                    <a:pt x="159864" y="0"/>
                    <a:pt x="217539" y="0"/>
                  </a:cubicBezTo>
                  <a:cubicBezTo>
                    <a:pt x="275240" y="0"/>
                    <a:pt x="330577" y="22923"/>
                    <a:pt x="371365" y="63739"/>
                  </a:cubicBezTo>
                  <a:close/>
                </a:path>
              </a:pathLst>
            </a:custGeom>
            <a:grpFill/>
            <a:ln w="27192" cap="flat">
              <a:noFill/>
              <a:prstDash val="solid"/>
              <a:miter/>
            </a:ln>
          </p:spPr>
          <p:txBody>
            <a:bodyPr rtlCol="0" anchor="ctr"/>
            <a:lstStyle/>
            <a:p>
              <a:endParaRPr lang="uk-UA" sz="900"/>
            </a:p>
          </p:txBody>
        </p:sp>
        <p:sp>
          <p:nvSpPr>
            <p:cNvPr id="884" name="Freeform: Shape 883">
              <a:extLst>
                <a:ext uri="{FF2B5EF4-FFF2-40B4-BE49-F238E27FC236}">
                  <a16:creationId xmlns:a16="http://schemas.microsoft.com/office/drawing/2014/main" id="{66FABDC6-DBA7-5735-9AB3-23BECFF64FF8}"/>
                </a:ext>
              </a:extLst>
            </p:cNvPr>
            <p:cNvSpPr/>
            <p:nvPr/>
          </p:nvSpPr>
          <p:spPr>
            <a:xfrm>
              <a:off x="6056725" y="12410767"/>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885" name="Freeform: Shape 884">
              <a:extLst>
                <a:ext uri="{FF2B5EF4-FFF2-40B4-BE49-F238E27FC236}">
                  <a16:creationId xmlns:a16="http://schemas.microsoft.com/office/drawing/2014/main" id="{6A84EA35-4709-7132-B0BA-66F1E472715B}"/>
                </a:ext>
              </a:extLst>
            </p:cNvPr>
            <p:cNvSpPr/>
            <p:nvPr/>
          </p:nvSpPr>
          <p:spPr>
            <a:xfrm>
              <a:off x="7797062" y="12410767"/>
              <a:ext cx="435077" cy="435077"/>
            </a:xfrm>
            <a:custGeom>
              <a:avLst/>
              <a:gdLst>
                <a:gd name="connsiteX0" fmla="*/ 217539 w 435077"/>
                <a:gd name="connsiteY0" fmla="*/ 0 h 435077"/>
                <a:gd name="connsiteX1" fmla="*/ 217539 w 435077"/>
                <a:gd name="connsiteY1" fmla="*/ 0 h 435077"/>
                <a:gd name="connsiteX2" fmla="*/ 0 w 435077"/>
                <a:gd name="connsiteY2" fmla="*/ 0 h 435077"/>
                <a:gd name="connsiteX3" fmla="*/ 0 w 435077"/>
                <a:gd name="connsiteY3" fmla="*/ 217539 h 435077"/>
                <a:gd name="connsiteX4" fmla="*/ 217539 w 435077"/>
                <a:gd name="connsiteY4" fmla="*/ 27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217539" y="0"/>
                  </a:lnTo>
                  <a:lnTo>
                    <a:pt x="0" y="0"/>
                  </a:lnTo>
                  <a:lnTo>
                    <a:pt x="0" y="217539"/>
                  </a:lnTo>
                  <a:lnTo>
                    <a:pt x="217539" y="27"/>
                  </a:lnTo>
                  <a:lnTo>
                    <a:pt x="435077" y="217539"/>
                  </a:lnTo>
                  <a:lnTo>
                    <a:pt x="217539" y="435077"/>
                  </a:lnTo>
                  <a:lnTo>
                    <a:pt x="0" y="217539"/>
                  </a:lnTo>
                  <a:lnTo>
                    <a:pt x="0" y="435077"/>
                  </a:lnTo>
                  <a:lnTo>
                    <a:pt x="217539" y="435077"/>
                  </a:lnTo>
                  <a:lnTo>
                    <a:pt x="435077" y="435077"/>
                  </a:lnTo>
                  <a:lnTo>
                    <a:pt x="435077" y="217539"/>
                  </a:lnTo>
                  <a:lnTo>
                    <a:pt x="435077" y="0"/>
                  </a:lnTo>
                  <a:lnTo>
                    <a:pt x="217539" y="0"/>
                  </a:lnTo>
                  <a:close/>
                </a:path>
              </a:pathLst>
            </a:custGeom>
            <a:grpFill/>
            <a:ln w="27192" cap="flat">
              <a:noFill/>
              <a:prstDash val="solid"/>
              <a:miter/>
            </a:ln>
          </p:spPr>
          <p:txBody>
            <a:bodyPr rtlCol="0" anchor="ctr"/>
            <a:lstStyle/>
            <a:p>
              <a:endParaRPr lang="uk-UA" sz="900"/>
            </a:p>
          </p:txBody>
        </p:sp>
        <p:sp>
          <p:nvSpPr>
            <p:cNvPr id="886" name="Freeform: Shape 885">
              <a:extLst>
                <a:ext uri="{FF2B5EF4-FFF2-40B4-BE49-F238E27FC236}">
                  <a16:creationId xmlns:a16="http://schemas.microsoft.com/office/drawing/2014/main" id="{75940753-3F75-4AD8-B598-451CA5DC6BA4}"/>
                </a:ext>
              </a:extLst>
            </p:cNvPr>
            <p:cNvSpPr/>
            <p:nvPr/>
          </p:nvSpPr>
          <p:spPr>
            <a:xfrm>
              <a:off x="6926907" y="12410767"/>
              <a:ext cx="435077" cy="435104"/>
            </a:xfrm>
            <a:custGeom>
              <a:avLst/>
              <a:gdLst>
                <a:gd name="connsiteX0" fmla="*/ 0 w 435077"/>
                <a:gd name="connsiteY0" fmla="*/ 435077 h 435104"/>
                <a:gd name="connsiteX1" fmla="*/ 217512 w 435077"/>
                <a:gd name="connsiteY1" fmla="*/ 435077 h 435104"/>
                <a:gd name="connsiteX2" fmla="*/ 217512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12" y="435077"/>
                  </a:lnTo>
                  <a:lnTo>
                    <a:pt x="217512"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887" name="Freeform: Shape 886">
              <a:extLst>
                <a:ext uri="{FF2B5EF4-FFF2-40B4-BE49-F238E27FC236}">
                  <a16:creationId xmlns:a16="http://schemas.microsoft.com/office/drawing/2014/main" id="{BA64853E-4A7C-3E46-74FF-2DA1D4FF63DF}"/>
                </a:ext>
              </a:extLst>
            </p:cNvPr>
            <p:cNvSpPr/>
            <p:nvPr/>
          </p:nvSpPr>
          <p:spPr>
            <a:xfrm>
              <a:off x="8667217" y="12410767"/>
              <a:ext cx="435077" cy="435077"/>
            </a:xfrm>
            <a:custGeom>
              <a:avLst/>
              <a:gdLst>
                <a:gd name="connsiteX0" fmla="*/ 371366 w 435077"/>
                <a:gd name="connsiteY0" fmla="*/ 63739 h 435077"/>
                <a:gd name="connsiteX1" fmla="*/ 435077 w 435077"/>
                <a:gd name="connsiteY1" fmla="*/ 217539 h 435077"/>
                <a:gd name="connsiteX2" fmla="*/ 217702 w 435077"/>
                <a:gd name="connsiteY2" fmla="*/ 217539 h 435077"/>
                <a:gd name="connsiteX3" fmla="*/ 371366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6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39"/>
                  </a:moveTo>
                  <a:cubicBezTo>
                    <a:pt x="412155" y="104527"/>
                    <a:pt x="435077" y="159864"/>
                    <a:pt x="435077" y="217539"/>
                  </a:cubicBezTo>
                  <a:lnTo>
                    <a:pt x="217702" y="217539"/>
                  </a:lnTo>
                  <a:cubicBezTo>
                    <a:pt x="275350" y="217593"/>
                    <a:pt x="330605" y="240516"/>
                    <a:pt x="371366" y="281277"/>
                  </a:cubicBezTo>
                  <a:cubicBezTo>
                    <a:pt x="412155" y="322066"/>
                    <a:pt x="435077" y="377402"/>
                    <a:pt x="435077" y="435077"/>
                  </a:cubicBezTo>
                  <a:lnTo>
                    <a:pt x="217539" y="435077"/>
                  </a:lnTo>
                  <a:lnTo>
                    <a:pt x="0" y="435077"/>
                  </a:lnTo>
                  <a:cubicBezTo>
                    <a:pt x="0" y="377402"/>
                    <a:pt x="22924" y="322066"/>
                    <a:pt x="63712" y="281277"/>
                  </a:cubicBezTo>
                  <a:cubicBezTo>
                    <a:pt x="104473" y="240516"/>
                    <a:pt x="159728" y="217593"/>
                    <a:pt x="217376" y="217539"/>
                  </a:cubicBezTo>
                  <a:lnTo>
                    <a:pt x="0" y="217539"/>
                  </a:lnTo>
                  <a:cubicBezTo>
                    <a:pt x="0" y="159864"/>
                    <a:pt x="22924" y="104527"/>
                    <a:pt x="63712" y="63739"/>
                  </a:cubicBezTo>
                  <a:cubicBezTo>
                    <a:pt x="104501" y="22923"/>
                    <a:pt x="159837" y="0"/>
                    <a:pt x="217539" y="0"/>
                  </a:cubicBezTo>
                  <a:cubicBezTo>
                    <a:pt x="275241" y="0"/>
                    <a:pt x="330550" y="22923"/>
                    <a:pt x="371366" y="63739"/>
                  </a:cubicBezTo>
                  <a:close/>
                </a:path>
              </a:pathLst>
            </a:custGeom>
            <a:grpFill/>
            <a:ln w="27192" cap="flat">
              <a:noFill/>
              <a:prstDash val="solid"/>
              <a:miter/>
            </a:ln>
          </p:spPr>
          <p:txBody>
            <a:bodyPr rtlCol="0" anchor="ctr"/>
            <a:lstStyle/>
            <a:p>
              <a:endParaRPr lang="uk-UA" sz="900"/>
            </a:p>
          </p:txBody>
        </p:sp>
        <p:sp>
          <p:nvSpPr>
            <p:cNvPr id="888" name="Freeform: Shape 887">
              <a:extLst>
                <a:ext uri="{FF2B5EF4-FFF2-40B4-BE49-F238E27FC236}">
                  <a16:creationId xmlns:a16="http://schemas.microsoft.com/office/drawing/2014/main" id="{0C6C7DDD-7264-657F-153C-34DDCE71C2FF}"/>
                </a:ext>
              </a:extLst>
            </p:cNvPr>
            <p:cNvSpPr/>
            <p:nvPr/>
          </p:nvSpPr>
          <p:spPr>
            <a:xfrm>
              <a:off x="9537371" y="12410767"/>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27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66 h 435077"/>
                <a:gd name="connsiteX9" fmla="*/ 435077 w 435077"/>
                <a:gd name="connsiteY9" fmla="*/ 217566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27"/>
                  </a:lnTo>
                  <a:lnTo>
                    <a:pt x="435077" y="217539"/>
                  </a:lnTo>
                  <a:lnTo>
                    <a:pt x="435077" y="217539"/>
                  </a:lnTo>
                  <a:lnTo>
                    <a:pt x="435077" y="217539"/>
                  </a:lnTo>
                  <a:lnTo>
                    <a:pt x="435077" y="217566"/>
                  </a:lnTo>
                  <a:lnTo>
                    <a:pt x="435077" y="217566"/>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889" name="Freeform: Shape 888">
              <a:extLst>
                <a:ext uri="{FF2B5EF4-FFF2-40B4-BE49-F238E27FC236}">
                  <a16:creationId xmlns:a16="http://schemas.microsoft.com/office/drawing/2014/main" id="{89AAC425-C82A-2A14-7931-378682A0977A}"/>
                </a:ext>
              </a:extLst>
            </p:cNvPr>
            <p:cNvSpPr/>
            <p:nvPr/>
          </p:nvSpPr>
          <p:spPr>
            <a:xfrm>
              <a:off x="11277681" y="12410767"/>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p>
          </p:txBody>
        </p:sp>
        <p:sp>
          <p:nvSpPr>
            <p:cNvPr id="890" name="Freeform: Shape 889">
              <a:extLst>
                <a:ext uri="{FF2B5EF4-FFF2-40B4-BE49-F238E27FC236}">
                  <a16:creationId xmlns:a16="http://schemas.microsoft.com/office/drawing/2014/main" id="{046DCB93-D9DB-49FD-09AA-E2CE013EE37F}"/>
                </a:ext>
              </a:extLst>
            </p:cNvPr>
            <p:cNvSpPr/>
            <p:nvPr/>
          </p:nvSpPr>
          <p:spPr>
            <a:xfrm>
              <a:off x="10407526" y="12410767"/>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891" name="Freeform: Shape 890">
              <a:extLst>
                <a:ext uri="{FF2B5EF4-FFF2-40B4-BE49-F238E27FC236}">
                  <a16:creationId xmlns:a16="http://schemas.microsoft.com/office/drawing/2014/main" id="{5EFC1650-8694-0F04-B350-08111344D814}"/>
                </a:ext>
              </a:extLst>
            </p:cNvPr>
            <p:cNvSpPr/>
            <p:nvPr/>
          </p:nvSpPr>
          <p:spPr>
            <a:xfrm>
              <a:off x="12147864" y="12410767"/>
              <a:ext cx="435077" cy="435077"/>
            </a:xfrm>
            <a:custGeom>
              <a:avLst/>
              <a:gdLst>
                <a:gd name="connsiteX0" fmla="*/ 371365 w 435077"/>
                <a:gd name="connsiteY0" fmla="*/ 63739 h 435077"/>
                <a:gd name="connsiteX1" fmla="*/ 435077 w 435077"/>
                <a:gd name="connsiteY1" fmla="*/ 217539 h 435077"/>
                <a:gd name="connsiteX2" fmla="*/ 217701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0 w 435077"/>
                <a:gd name="connsiteY7" fmla="*/ 281277 h 435077"/>
                <a:gd name="connsiteX8" fmla="*/ 217374 w 435077"/>
                <a:gd name="connsiteY8" fmla="*/ 217539 h 435077"/>
                <a:gd name="connsiteX9" fmla="*/ 0 w 435077"/>
                <a:gd name="connsiteY9" fmla="*/ 217539 h 435077"/>
                <a:gd name="connsiteX10" fmla="*/ 63710 w 435077"/>
                <a:gd name="connsiteY10" fmla="*/ 63739 h 435077"/>
                <a:gd name="connsiteX11" fmla="*/ 217539 w 435077"/>
                <a:gd name="connsiteY11" fmla="*/ 0 h 435077"/>
                <a:gd name="connsiteX12" fmla="*/ 371365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39"/>
                  </a:moveTo>
                  <a:cubicBezTo>
                    <a:pt x="412154" y="104527"/>
                    <a:pt x="435077" y="159864"/>
                    <a:pt x="435077" y="217539"/>
                  </a:cubicBezTo>
                  <a:lnTo>
                    <a:pt x="217701" y="217539"/>
                  </a:lnTo>
                  <a:cubicBezTo>
                    <a:pt x="275349" y="217593"/>
                    <a:pt x="330603" y="240516"/>
                    <a:pt x="371365" y="281277"/>
                  </a:cubicBezTo>
                  <a:cubicBezTo>
                    <a:pt x="412154" y="322066"/>
                    <a:pt x="435077" y="377402"/>
                    <a:pt x="435077" y="435077"/>
                  </a:cubicBezTo>
                  <a:lnTo>
                    <a:pt x="217539" y="435077"/>
                  </a:lnTo>
                  <a:lnTo>
                    <a:pt x="0" y="435077"/>
                  </a:lnTo>
                  <a:cubicBezTo>
                    <a:pt x="0" y="377402"/>
                    <a:pt x="22922" y="322066"/>
                    <a:pt x="63710" y="281277"/>
                  </a:cubicBezTo>
                  <a:cubicBezTo>
                    <a:pt x="104472" y="240516"/>
                    <a:pt x="159727" y="217593"/>
                    <a:pt x="217374" y="217539"/>
                  </a:cubicBezTo>
                  <a:lnTo>
                    <a:pt x="0" y="217539"/>
                  </a:lnTo>
                  <a:cubicBezTo>
                    <a:pt x="0" y="159864"/>
                    <a:pt x="22922" y="104527"/>
                    <a:pt x="63710" y="63739"/>
                  </a:cubicBezTo>
                  <a:cubicBezTo>
                    <a:pt x="104499" y="22923"/>
                    <a:pt x="159836" y="0"/>
                    <a:pt x="217539" y="0"/>
                  </a:cubicBezTo>
                  <a:cubicBezTo>
                    <a:pt x="275239" y="0"/>
                    <a:pt x="330549" y="22923"/>
                    <a:pt x="371365" y="63739"/>
                  </a:cubicBezTo>
                  <a:close/>
                </a:path>
              </a:pathLst>
            </a:custGeom>
            <a:grpFill/>
            <a:ln w="27192" cap="flat">
              <a:noFill/>
              <a:prstDash val="solid"/>
              <a:miter/>
            </a:ln>
          </p:spPr>
          <p:txBody>
            <a:bodyPr rtlCol="0" anchor="ctr"/>
            <a:lstStyle/>
            <a:p>
              <a:endParaRPr lang="uk-UA" sz="900"/>
            </a:p>
          </p:txBody>
        </p:sp>
        <p:sp>
          <p:nvSpPr>
            <p:cNvPr id="892" name="Freeform: Shape 891">
              <a:extLst>
                <a:ext uri="{FF2B5EF4-FFF2-40B4-BE49-F238E27FC236}">
                  <a16:creationId xmlns:a16="http://schemas.microsoft.com/office/drawing/2014/main" id="{747523A6-5DC4-E08D-B231-197883E0524A}"/>
                </a:ext>
              </a:extLst>
            </p:cNvPr>
            <p:cNvSpPr/>
            <p:nvPr/>
          </p:nvSpPr>
          <p:spPr>
            <a:xfrm>
              <a:off x="13018019" y="12410767"/>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27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66 h 435077"/>
                <a:gd name="connsiteX9" fmla="*/ 435077 w 435077"/>
                <a:gd name="connsiteY9" fmla="*/ 217566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27"/>
                  </a:lnTo>
                  <a:lnTo>
                    <a:pt x="435077" y="217539"/>
                  </a:lnTo>
                  <a:lnTo>
                    <a:pt x="435077" y="217539"/>
                  </a:lnTo>
                  <a:lnTo>
                    <a:pt x="435077" y="217539"/>
                  </a:lnTo>
                  <a:lnTo>
                    <a:pt x="435077" y="217566"/>
                  </a:lnTo>
                  <a:lnTo>
                    <a:pt x="435077" y="217566"/>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893" name="Freeform: Shape 892">
              <a:extLst>
                <a:ext uri="{FF2B5EF4-FFF2-40B4-BE49-F238E27FC236}">
                  <a16:creationId xmlns:a16="http://schemas.microsoft.com/office/drawing/2014/main" id="{D826CAA2-B899-9215-604F-D771F2720118}"/>
                </a:ext>
              </a:extLst>
            </p:cNvPr>
            <p:cNvSpPr/>
            <p:nvPr/>
          </p:nvSpPr>
          <p:spPr>
            <a:xfrm>
              <a:off x="14758355" y="12410767"/>
              <a:ext cx="435103" cy="435077"/>
            </a:xfrm>
            <a:custGeom>
              <a:avLst/>
              <a:gdLst>
                <a:gd name="connsiteX0" fmla="*/ 217539 w 435103"/>
                <a:gd name="connsiteY0" fmla="*/ 0 h 435077"/>
                <a:gd name="connsiteX1" fmla="*/ 0 w 435103"/>
                <a:gd name="connsiteY1" fmla="*/ 0 h 435077"/>
                <a:gd name="connsiteX2" fmla="*/ 0 w 435103"/>
                <a:gd name="connsiteY2" fmla="*/ 217539 h 435077"/>
                <a:gd name="connsiteX3" fmla="*/ 217539 w 435103"/>
                <a:gd name="connsiteY3" fmla="*/ 0 h 435077"/>
                <a:gd name="connsiteX4" fmla="*/ 435104 w 435103"/>
                <a:gd name="connsiteY4" fmla="*/ 0 h 435077"/>
                <a:gd name="connsiteX5" fmla="*/ 435104 w 435103"/>
                <a:gd name="connsiteY5" fmla="*/ 217539 h 435077"/>
                <a:gd name="connsiteX6" fmla="*/ 217565 w 435103"/>
                <a:gd name="connsiteY6" fmla="*/ 0 h 435077"/>
                <a:gd name="connsiteX7" fmla="*/ 435104 w 435103"/>
                <a:gd name="connsiteY7" fmla="*/ 0 h 435077"/>
                <a:gd name="connsiteX8" fmla="*/ 217565 w 435103"/>
                <a:gd name="connsiteY8" fmla="*/ 435077 h 435077"/>
                <a:gd name="connsiteX9" fmla="*/ 435104 w 435103"/>
                <a:gd name="connsiteY9" fmla="*/ 217539 h 435077"/>
                <a:gd name="connsiteX10" fmla="*/ 435104 w 435103"/>
                <a:gd name="connsiteY10" fmla="*/ 435077 h 435077"/>
                <a:gd name="connsiteX11" fmla="*/ 217565 w 435103"/>
                <a:gd name="connsiteY11" fmla="*/ 435077 h 435077"/>
                <a:gd name="connsiteX12" fmla="*/ 217565 w 435103"/>
                <a:gd name="connsiteY12" fmla="*/ 435077 h 435077"/>
                <a:gd name="connsiteX13" fmla="*/ 27 w 435103"/>
                <a:gd name="connsiteY13" fmla="*/ 217539 h 435077"/>
                <a:gd name="connsiteX14" fmla="*/ 27 w 435103"/>
                <a:gd name="connsiteY14" fmla="*/ 435077 h 435077"/>
                <a:gd name="connsiteX15" fmla="*/ 217565 w 435103"/>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3" h="435077">
                  <a:moveTo>
                    <a:pt x="217539" y="0"/>
                  </a:moveTo>
                  <a:lnTo>
                    <a:pt x="0" y="0"/>
                  </a:lnTo>
                  <a:lnTo>
                    <a:pt x="0" y="217539"/>
                  </a:lnTo>
                  <a:lnTo>
                    <a:pt x="217539" y="0"/>
                  </a:lnTo>
                  <a:close/>
                  <a:moveTo>
                    <a:pt x="435104" y="0"/>
                  </a:moveTo>
                  <a:lnTo>
                    <a:pt x="435104" y="217539"/>
                  </a:lnTo>
                  <a:lnTo>
                    <a:pt x="217565" y="0"/>
                  </a:lnTo>
                  <a:lnTo>
                    <a:pt x="435104" y="0"/>
                  </a:lnTo>
                  <a:close/>
                  <a:moveTo>
                    <a:pt x="217565" y="435077"/>
                  </a:moveTo>
                  <a:lnTo>
                    <a:pt x="435104" y="217539"/>
                  </a:lnTo>
                  <a:lnTo>
                    <a:pt x="435104" y="435077"/>
                  </a:lnTo>
                  <a:lnTo>
                    <a:pt x="217565" y="435077"/>
                  </a:lnTo>
                  <a:close/>
                  <a:moveTo>
                    <a:pt x="217565" y="435077"/>
                  </a:moveTo>
                  <a:lnTo>
                    <a:pt x="27" y="217539"/>
                  </a:lnTo>
                  <a:lnTo>
                    <a:pt x="27" y="435077"/>
                  </a:lnTo>
                  <a:lnTo>
                    <a:pt x="217565" y="435077"/>
                  </a:lnTo>
                  <a:close/>
                </a:path>
              </a:pathLst>
            </a:custGeom>
            <a:grpFill/>
            <a:ln w="27192" cap="flat">
              <a:noFill/>
              <a:prstDash val="solid"/>
              <a:miter/>
            </a:ln>
          </p:spPr>
          <p:txBody>
            <a:bodyPr rtlCol="0" anchor="ctr"/>
            <a:lstStyle/>
            <a:p>
              <a:endParaRPr lang="uk-UA" sz="900"/>
            </a:p>
          </p:txBody>
        </p:sp>
        <p:sp>
          <p:nvSpPr>
            <p:cNvPr id="894" name="Freeform: Shape 893">
              <a:extLst>
                <a:ext uri="{FF2B5EF4-FFF2-40B4-BE49-F238E27FC236}">
                  <a16:creationId xmlns:a16="http://schemas.microsoft.com/office/drawing/2014/main" id="{6D3E82C5-1D69-56A3-3A39-A6751F8B9043}"/>
                </a:ext>
              </a:extLst>
            </p:cNvPr>
            <p:cNvSpPr/>
            <p:nvPr/>
          </p:nvSpPr>
          <p:spPr>
            <a:xfrm>
              <a:off x="13888200" y="12410767"/>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895" name="Freeform: Shape 894">
              <a:extLst>
                <a:ext uri="{FF2B5EF4-FFF2-40B4-BE49-F238E27FC236}">
                  <a16:creationId xmlns:a16="http://schemas.microsoft.com/office/drawing/2014/main" id="{00BE9072-0B5A-16D3-1925-6A66DF361E96}"/>
                </a:ext>
              </a:extLst>
            </p:cNvPr>
            <p:cNvSpPr/>
            <p:nvPr/>
          </p:nvSpPr>
          <p:spPr>
            <a:xfrm>
              <a:off x="15628536" y="12410767"/>
              <a:ext cx="435077" cy="435077"/>
            </a:xfrm>
            <a:custGeom>
              <a:avLst/>
              <a:gdLst>
                <a:gd name="connsiteX0" fmla="*/ 371367 w 435077"/>
                <a:gd name="connsiteY0" fmla="*/ 63739 h 435077"/>
                <a:gd name="connsiteX1" fmla="*/ 435077 w 435077"/>
                <a:gd name="connsiteY1" fmla="*/ 217539 h 435077"/>
                <a:gd name="connsiteX2" fmla="*/ 217703 w 435077"/>
                <a:gd name="connsiteY2" fmla="*/ 217539 h 435077"/>
                <a:gd name="connsiteX3" fmla="*/ 371367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7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7" y="63739"/>
                  </a:moveTo>
                  <a:cubicBezTo>
                    <a:pt x="412155" y="104527"/>
                    <a:pt x="435077" y="159864"/>
                    <a:pt x="435077" y="217539"/>
                  </a:cubicBezTo>
                  <a:lnTo>
                    <a:pt x="217703" y="217539"/>
                  </a:lnTo>
                  <a:cubicBezTo>
                    <a:pt x="275351" y="217593"/>
                    <a:pt x="330605" y="240516"/>
                    <a:pt x="371367" y="281277"/>
                  </a:cubicBezTo>
                  <a:cubicBezTo>
                    <a:pt x="412155" y="322066"/>
                    <a:pt x="435077" y="377402"/>
                    <a:pt x="435077" y="435077"/>
                  </a:cubicBezTo>
                  <a:lnTo>
                    <a:pt x="217539" y="435077"/>
                  </a:lnTo>
                  <a:lnTo>
                    <a:pt x="0" y="435077"/>
                  </a:lnTo>
                  <a:cubicBezTo>
                    <a:pt x="0" y="377402"/>
                    <a:pt x="22924" y="322066"/>
                    <a:pt x="63712" y="281277"/>
                  </a:cubicBezTo>
                  <a:cubicBezTo>
                    <a:pt x="104474" y="240516"/>
                    <a:pt x="159728" y="217593"/>
                    <a:pt x="217376" y="217539"/>
                  </a:cubicBezTo>
                  <a:lnTo>
                    <a:pt x="0" y="217539"/>
                  </a:lnTo>
                  <a:cubicBezTo>
                    <a:pt x="0" y="159864"/>
                    <a:pt x="22924" y="104527"/>
                    <a:pt x="63712" y="63739"/>
                  </a:cubicBezTo>
                  <a:cubicBezTo>
                    <a:pt x="104501" y="22923"/>
                    <a:pt x="159836" y="0"/>
                    <a:pt x="217539" y="0"/>
                  </a:cubicBezTo>
                  <a:cubicBezTo>
                    <a:pt x="275241" y="0"/>
                    <a:pt x="330550" y="22923"/>
                    <a:pt x="371367" y="63739"/>
                  </a:cubicBezTo>
                  <a:close/>
                </a:path>
              </a:pathLst>
            </a:custGeom>
            <a:grpFill/>
            <a:ln w="27192" cap="flat">
              <a:noFill/>
              <a:prstDash val="solid"/>
              <a:miter/>
            </a:ln>
          </p:spPr>
          <p:txBody>
            <a:bodyPr rtlCol="0" anchor="ctr"/>
            <a:lstStyle/>
            <a:p>
              <a:endParaRPr lang="uk-UA" sz="900"/>
            </a:p>
          </p:txBody>
        </p:sp>
        <p:sp>
          <p:nvSpPr>
            <p:cNvPr id="896" name="Freeform: Shape 895">
              <a:extLst>
                <a:ext uri="{FF2B5EF4-FFF2-40B4-BE49-F238E27FC236}">
                  <a16:creationId xmlns:a16="http://schemas.microsoft.com/office/drawing/2014/main" id="{D1214826-1E6C-F5EC-8817-410A1A8CDB74}"/>
                </a:ext>
              </a:extLst>
            </p:cNvPr>
            <p:cNvSpPr/>
            <p:nvPr/>
          </p:nvSpPr>
          <p:spPr>
            <a:xfrm>
              <a:off x="16498665" y="12410767"/>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51 w 435077"/>
                <a:gd name="connsiteY7" fmla="*/ 217566 h 435077"/>
                <a:gd name="connsiteX8" fmla="*/ 435077 w 435077"/>
                <a:gd name="connsiteY8" fmla="*/ 217566 h 435077"/>
                <a:gd name="connsiteX9" fmla="*/ 435051 w 435077"/>
                <a:gd name="connsiteY9" fmla="*/ 217539 h 435077"/>
                <a:gd name="connsiteX10" fmla="*/ 435077 w 435077"/>
                <a:gd name="connsiteY10" fmla="*/ 217539 h 435077"/>
                <a:gd name="connsiteX11" fmla="*/ 435051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51" y="217566"/>
                  </a:lnTo>
                  <a:lnTo>
                    <a:pt x="435077" y="217566"/>
                  </a:lnTo>
                  <a:lnTo>
                    <a:pt x="435051" y="217539"/>
                  </a:lnTo>
                  <a:lnTo>
                    <a:pt x="435077" y="217539"/>
                  </a:lnTo>
                  <a:lnTo>
                    <a:pt x="435051"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897" name="Freeform: Shape 896">
              <a:extLst>
                <a:ext uri="{FF2B5EF4-FFF2-40B4-BE49-F238E27FC236}">
                  <a16:creationId xmlns:a16="http://schemas.microsoft.com/office/drawing/2014/main" id="{292D2B68-3EE1-40CC-52EB-CFC5289230C3}"/>
                </a:ext>
              </a:extLst>
            </p:cNvPr>
            <p:cNvSpPr/>
            <p:nvPr/>
          </p:nvSpPr>
          <p:spPr>
            <a:xfrm>
              <a:off x="18239029" y="12410767"/>
              <a:ext cx="435077" cy="435077"/>
            </a:xfrm>
            <a:custGeom>
              <a:avLst/>
              <a:gdLst>
                <a:gd name="connsiteX0" fmla="*/ 217539 w 435077"/>
                <a:gd name="connsiteY0" fmla="*/ 0 h 435077"/>
                <a:gd name="connsiteX1" fmla="*/ 217539 w 435077"/>
                <a:gd name="connsiteY1" fmla="*/ 0 h 435077"/>
                <a:gd name="connsiteX2" fmla="*/ 0 w 435077"/>
                <a:gd name="connsiteY2" fmla="*/ 0 h 435077"/>
                <a:gd name="connsiteX3" fmla="*/ 0 w 435077"/>
                <a:gd name="connsiteY3" fmla="*/ 217539 h 435077"/>
                <a:gd name="connsiteX4" fmla="*/ 217539 w 435077"/>
                <a:gd name="connsiteY4" fmla="*/ 27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217539" y="0"/>
                  </a:lnTo>
                  <a:lnTo>
                    <a:pt x="0" y="0"/>
                  </a:lnTo>
                  <a:lnTo>
                    <a:pt x="0" y="217539"/>
                  </a:lnTo>
                  <a:lnTo>
                    <a:pt x="217539" y="27"/>
                  </a:lnTo>
                  <a:lnTo>
                    <a:pt x="435077" y="217539"/>
                  </a:lnTo>
                  <a:lnTo>
                    <a:pt x="217539" y="435077"/>
                  </a:lnTo>
                  <a:lnTo>
                    <a:pt x="0" y="217539"/>
                  </a:lnTo>
                  <a:lnTo>
                    <a:pt x="0" y="435077"/>
                  </a:lnTo>
                  <a:lnTo>
                    <a:pt x="217539" y="435077"/>
                  </a:lnTo>
                  <a:lnTo>
                    <a:pt x="435077" y="435077"/>
                  </a:lnTo>
                  <a:lnTo>
                    <a:pt x="435077" y="217539"/>
                  </a:lnTo>
                  <a:lnTo>
                    <a:pt x="435077" y="0"/>
                  </a:lnTo>
                  <a:lnTo>
                    <a:pt x="217539" y="0"/>
                  </a:lnTo>
                  <a:close/>
                </a:path>
              </a:pathLst>
            </a:custGeom>
            <a:grpFill/>
            <a:ln w="27192" cap="flat">
              <a:noFill/>
              <a:prstDash val="solid"/>
              <a:miter/>
            </a:ln>
          </p:spPr>
          <p:txBody>
            <a:bodyPr rtlCol="0" anchor="ctr"/>
            <a:lstStyle/>
            <a:p>
              <a:endParaRPr lang="uk-UA" sz="900"/>
            </a:p>
          </p:txBody>
        </p:sp>
        <p:sp>
          <p:nvSpPr>
            <p:cNvPr id="898" name="Freeform: Shape 897">
              <a:extLst>
                <a:ext uri="{FF2B5EF4-FFF2-40B4-BE49-F238E27FC236}">
                  <a16:creationId xmlns:a16="http://schemas.microsoft.com/office/drawing/2014/main" id="{05BA7D3D-EC31-66C0-5D9E-4CF96E01BD6D}"/>
                </a:ext>
              </a:extLst>
            </p:cNvPr>
            <p:cNvSpPr/>
            <p:nvPr/>
          </p:nvSpPr>
          <p:spPr>
            <a:xfrm>
              <a:off x="17368846" y="12410767"/>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67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67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67" y="435105"/>
                  </a:lnTo>
                  <a:lnTo>
                    <a:pt x="435077" y="217566"/>
                  </a:lnTo>
                  <a:lnTo>
                    <a:pt x="435077" y="435105"/>
                  </a:lnTo>
                  <a:close/>
                  <a:moveTo>
                    <a:pt x="435077" y="27"/>
                  </a:moveTo>
                  <a:lnTo>
                    <a:pt x="217567"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899" name="Freeform: Shape 898">
              <a:extLst>
                <a:ext uri="{FF2B5EF4-FFF2-40B4-BE49-F238E27FC236}">
                  <a16:creationId xmlns:a16="http://schemas.microsoft.com/office/drawing/2014/main" id="{C6993C98-96D9-EA3F-8EFB-C1B2A2DE19DF}"/>
                </a:ext>
              </a:extLst>
            </p:cNvPr>
            <p:cNvSpPr/>
            <p:nvPr/>
          </p:nvSpPr>
          <p:spPr>
            <a:xfrm>
              <a:off x="19109184" y="12410767"/>
              <a:ext cx="435077" cy="435077"/>
            </a:xfrm>
            <a:custGeom>
              <a:avLst/>
              <a:gdLst>
                <a:gd name="connsiteX0" fmla="*/ 371365 w 435077"/>
                <a:gd name="connsiteY0" fmla="*/ 63739 h 435077"/>
                <a:gd name="connsiteX1" fmla="*/ 435077 w 435077"/>
                <a:gd name="connsiteY1" fmla="*/ 217539 h 435077"/>
                <a:gd name="connsiteX2" fmla="*/ 217701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0 w 435077"/>
                <a:gd name="connsiteY7" fmla="*/ 281277 h 435077"/>
                <a:gd name="connsiteX8" fmla="*/ 217374 w 435077"/>
                <a:gd name="connsiteY8" fmla="*/ 217539 h 435077"/>
                <a:gd name="connsiteX9" fmla="*/ 0 w 435077"/>
                <a:gd name="connsiteY9" fmla="*/ 217539 h 435077"/>
                <a:gd name="connsiteX10" fmla="*/ 63710 w 435077"/>
                <a:gd name="connsiteY10" fmla="*/ 63739 h 435077"/>
                <a:gd name="connsiteX11" fmla="*/ 217539 w 435077"/>
                <a:gd name="connsiteY11" fmla="*/ 0 h 435077"/>
                <a:gd name="connsiteX12" fmla="*/ 371365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39"/>
                  </a:moveTo>
                  <a:cubicBezTo>
                    <a:pt x="412154" y="104527"/>
                    <a:pt x="435077" y="159864"/>
                    <a:pt x="435077" y="217539"/>
                  </a:cubicBezTo>
                  <a:lnTo>
                    <a:pt x="217701" y="217539"/>
                  </a:lnTo>
                  <a:cubicBezTo>
                    <a:pt x="275349" y="217593"/>
                    <a:pt x="330603" y="240516"/>
                    <a:pt x="371365" y="281277"/>
                  </a:cubicBezTo>
                  <a:cubicBezTo>
                    <a:pt x="412154" y="322066"/>
                    <a:pt x="435077" y="377402"/>
                    <a:pt x="435077" y="435077"/>
                  </a:cubicBezTo>
                  <a:lnTo>
                    <a:pt x="217539" y="435077"/>
                  </a:lnTo>
                  <a:lnTo>
                    <a:pt x="0" y="435077"/>
                  </a:lnTo>
                  <a:cubicBezTo>
                    <a:pt x="0" y="377402"/>
                    <a:pt x="22922" y="322066"/>
                    <a:pt x="63710" y="281277"/>
                  </a:cubicBezTo>
                  <a:cubicBezTo>
                    <a:pt x="104472" y="240516"/>
                    <a:pt x="159755" y="217593"/>
                    <a:pt x="217374" y="217539"/>
                  </a:cubicBezTo>
                  <a:lnTo>
                    <a:pt x="0" y="217539"/>
                  </a:lnTo>
                  <a:cubicBezTo>
                    <a:pt x="0" y="159864"/>
                    <a:pt x="22922" y="104527"/>
                    <a:pt x="63710" y="63739"/>
                  </a:cubicBezTo>
                  <a:cubicBezTo>
                    <a:pt x="104527" y="22923"/>
                    <a:pt x="159836" y="0"/>
                    <a:pt x="217539" y="0"/>
                  </a:cubicBezTo>
                  <a:cubicBezTo>
                    <a:pt x="275241" y="0"/>
                    <a:pt x="330577" y="22923"/>
                    <a:pt x="371365" y="63739"/>
                  </a:cubicBezTo>
                  <a:close/>
                </a:path>
              </a:pathLst>
            </a:custGeom>
            <a:grpFill/>
            <a:ln w="27192" cap="flat">
              <a:noFill/>
              <a:prstDash val="solid"/>
              <a:miter/>
            </a:ln>
          </p:spPr>
          <p:txBody>
            <a:bodyPr rtlCol="0" anchor="ctr"/>
            <a:lstStyle/>
            <a:p>
              <a:endParaRPr lang="uk-UA" sz="900"/>
            </a:p>
          </p:txBody>
        </p:sp>
        <p:sp>
          <p:nvSpPr>
            <p:cNvPr id="900" name="Freeform: Shape 899">
              <a:extLst>
                <a:ext uri="{FF2B5EF4-FFF2-40B4-BE49-F238E27FC236}">
                  <a16:creationId xmlns:a16="http://schemas.microsoft.com/office/drawing/2014/main" id="{5679C052-BFAA-C16B-FA77-8A4E06D0E47D}"/>
                </a:ext>
              </a:extLst>
            </p:cNvPr>
            <p:cNvSpPr/>
            <p:nvPr/>
          </p:nvSpPr>
          <p:spPr>
            <a:xfrm>
              <a:off x="19979339" y="12410767"/>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901" name="Freeform: Shape 900">
              <a:extLst>
                <a:ext uri="{FF2B5EF4-FFF2-40B4-BE49-F238E27FC236}">
                  <a16:creationId xmlns:a16="http://schemas.microsoft.com/office/drawing/2014/main" id="{A1B814CC-6509-5451-243D-EC2ACDAE53D5}"/>
                </a:ext>
              </a:extLst>
            </p:cNvPr>
            <p:cNvSpPr/>
            <p:nvPr/>
          </p:nvSpPr>
          <p:spPr>
            <a:xfrm>
              <a:off x="21719675" y="12410767"/>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902" name="Freeform: Shape 901">
              <a:extLst>
                <a:ext uri="{FF2B5EF4-FFF2-40B4-BE49-F238E27FC236}">
                  <a16:creationId xmlns:a16="http://schemas.microsoft.com/office/drawing/2014/main" id="{BD9258AC-7FBA-AE75-4386-421D83F87371}"/>
                </a:ext>
              </a:extLst>
            </p:cNvPr>
            <p:cNvSpPr/>
            <p:nvPr/>
          </p:nvSpPr>
          <p:spPr>
            <a:xfrm>
              <a:off x="20849520" y="12410767"/>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903" name="Freeform: Shape 902">
              <a:extLst>
                <a:ext uri="{FF2B5EF4-FFF2-40B4-BE49-F238E27FC236}">
                  <a16:creationId xmlns:a16="http://schemas.microsoft.com/office/drawing/2014/main" id="{AB05B34C-DC2C-0100-FA95-8D5658F3D20C}"/>
                </a:ext>
              </a:extLst>
            </p:cNvPr>
            <p:cNvSpPr/>
            <p:nvPr/>
          </p:nvSpPr>
          <p:spPr>
            <a:xfrm>
              <a:off x="22589856" y="12410767"/>
              <a:ext cx="435077" cy="435077"/>
            </a:xfrm>
            <a:custGeom>
              <a:avLst/>
              <a:gdLst>
                <a:gd name="connsiteX0" fmla="*/ 371367 w 435077"/>
                <a:gd name="connsiteY0" fmla="*/ 63739 h 435077"/>
                <a:gd name="connsiteX1" fmla="*/ 435077 w 435077"/>
                <a:gd name="connsiteY1" fmla="*/ 217539 h 435077"/>
                <a:gd name="connsiteX2" fmla="*/ 217703 w 435077"/>
                <a:gd name="connsiteY2" fmla="*/ 217539 h 435077"/>
                <a:gd name="connsiteX3" fmla="*/ 371367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7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7" y="63739"/>
                  </a:moveTo>
                  <a:cubicBezTo>
                    <a:pt x="412155" y="104527"/>
                    <a:pt x="435077" y="159864"/>
                    <a:pt x="435077" y="217539"/>
                  </a:cubicBezTo>
                  <a:lnTo>
                    <a:pt x="217703" y="217539"/>
                  </a:lnTo>
                  <a:cubicBezTo>
                    <a:pt x="275351" y="217593"/>
                    <a:pt x="330605" y="240516"/>
                    <a:pt x="371367" y="281277"/>
                  </a:cubicBezTo>
                  <a:cubicBezTo>
                    <a:pt x="412155" y="322066"/>
                    <a:pt x="435077" y="377402"/>
                    <a:pt x="435077" y="435077"/>
                  </a:cubicBezTo>
                  <a:lnTo>
                    <a:pt x="217539" y="435077"/>
                  </a:lnTo>
                  <a:lnTo>
                    <a:pt x="0" y="435077"/>
                  </a:lnTo>
                  <a:cubicBezTo>
                    <a:pt x="0" y="377402"/>
                    <a:pt x="22924" y="322066"/>
                    <a:pt x="63712" y="281277"/>
                  </a:cubicBezTo>
                  <a:cubicBezTo>
                    <a:pt x="104474" y="240516"/>
                    <a:pt x="159728" y="217593"/>
                    <a:pt x="217376" y="217539"/>
                  </a:cubicBezTo>
                  <a:lnTo>
                    <a:pt x="0" y="217539"/>
                  </a:lnTo>
                  <a:cubicBezTo>
                    <a:pt x="0" y="159864"/>
                    <a:pt x="22924" y="104527"/>
                    <a:pt x="63712" y="63739"/>
                  </a:cubicBezTo>
                  <a:cubicBezTo>
                    <a:pt x="104501" y="22923"/>
                    <a:pt x="159838" y="0"/>
                    <a:pt x="217539" y="0"/>
                  </a:cubicBezTo>
                  <a:cubicBezTo>
                    <a:pt x="275215" y="0"/>
                    <a:pt x="330550" y="22923"/>
                    <a:pt x="371367" y="63739"/>
                  </a:cubicBezTo>
                  <a:close/>
                </a:path>
              </a:pathLst>
            </a:custGeom>
            <a:grpFill/>
            <a:ln w="27192" cap="flat">
              <a:noFill/>
              <a:prstDash val="solid"/>
              <a:miter/>
            </a:ln>
          </p:spPr>
          <p:txBody>
            <a:bodyPr rtlCol="0" anchor="ctr"/>
            <a:lstStyle/>
            <a:p>
              <a:endParaRPr lang="uk-UA" sz="900"/>
            </a:p>
          </p:txBody>
        </p:sp>
        <p:sp>
          <p:nvSpPr>
            <p:cNvPr id="904" name="Freeform: Shape 903">
              <a:extLst>
                <a:ext uri="{FF2B5EF4-FFF2-40B4-BE49-F238E27FC236}">
                  <a16:creationId xmlns:a16="http://schemas.microsoft.com/office/drawing/2014/main" id="{BB182626-1644-0D49-5DC6-437BD9FB120F}"/>
                </a:ext>
              </a:extLst>
            </p:cNvPr>
            <p:cNvSpPr/>
            <p:nvPr/>
          </p:nvSpPr>
          <p:spPr>
            <a:xfrm>
              <a:off x="23460011" y="12410767"/>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905" name="Freeform: Shape 904">
              <a:extLst>
                <a:ext uri="{FF2B5EF4-FFF2-40B4-BE49-F238E27FC236}">
                  <a16:creationId xmlns:a16="http://schemas.microsoft.com/office/drawing/2014/main" id="{364A555A-EA29-4781-8F1D-0DEB2A7E27DA}"/>
                </a:ext>
              </a:extLst>
            </p:cNvPr>
            <p:cNvSpPr/>
            <p:nvPr/>
          </p:nvSpPr>
          <p:spPr>
            <a:xfrm>
              <a:off x="24330194" y="12410767"/>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906" name="Freeform: Shape 905">
              <a:extLst>
                <a:ext uri="{FF2B5EF4-FFF2-40B4-BE49-F238E27FC236}">
                  <a16:creationId xmlns:a16="http://schemas.microsoft.com/office/drawing/2014/main" id="{55746F21-9251-F30D-8638-325D73FA1DBB}"/>
                </a:ext>
              </a:extLst>
            </p:cNvPr>
            <p:cNvSpPr/>
            <p:nvPr/>
          </p:nvSpPr>
          <p:spPr>
            <a:xfrm>
              <a:off x="835742" y="13280949"/>
              <a:ext cx="435077" cy="435050"/>
            </a:xfrm>
            <a:custGeom>
              <a:avLst/>
              <a:gdLst>
                <a:gd name="connsiteX0" fmla="*/ 435077 w 435077"/>
                <a:gd name="connsiteY0" fmla="*/ 435050 h 435050"/>
                <a:gd name="connsiteX1" fmla="*/ 435077 w 435077"/>
                <a:gd name="connsiteY1" fmla="*/ 0 h 435050"/>
                <a:gd name="connsiteX2" fmla="*/ 217566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39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66" y="217539"/>
                  </a:lnTo>
                  <a:lnTo>
                    <a:pt x="435077" y="435050"/>
                  </a:lnTo>
                  <a:close/>
                  <a:moveTo>
                    <a:pt x="0" y="435050"/>
                  </a:moveTo>
                  <a:lnTo>
                    <a:pt x="0" y="0"/>
                  </a:lnTo>
                  <a:lnTo>
                    <a:pt x="217539" y="217539"/>
                  </a:lnTo>
                  <a:lnTo>
                    <a:pt x="0" y="435050"/>
                  </a:lnTo>
                  <a:close/>
                </a:path>
              </a:pathLst>
            </a:custGeom>
            <a:grpFill/>
            <a:ln w="27192" cap="flat">
              <a:noFill/>
              <a:prstDash val="solid"/>
              <a:miter/>
            </a:ln>
          </p:spPr>
          <p:txBody>
            <a:bodyPr rtlCol="0" anchor="ctr"/>
            <a:lstStyle/>
            <a:p>
              <a:endParaRPr lang="uk-UA" sz="900"/>
            </a:p>
          </p:txBody>
        </p:sp>
        <p:sp>
          <p:nvSpPr>
            <p:cNvPr id="907" name="Freeform: Shape 906">
              <a:extLst>
                <a:ext uri="{FF2B5EF4-FFF2-40B4-BE49-F238E27FC236}">
                  <a16:creationId xmlns:a16="http://schemas.microsoft.com/office/drawing/2014/main" id="{56DCDC31-AA03-B8D4-9F61-85A3BF979F35}"/>
                </a:ext>
              </a:extLst>
            </p:cNvPr>
            <p:cNvSpPr/>
            <p:nvPr/>
          </p:nvSpPr>
          <p:spPr>
            <a:xfrm>
              <a:off x="-34412" y="1328092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908" name="Freeform: Shape 907">
              <a:extLst>
                <a:ext uri="{FF2B5EF4-FFF2-40B4-BE49-F238E27FC236}">
                  <a16:creationId xmlns:a16="http://schemas.microsoft.com/office/drawing/2014/main" id="{7D9E6879-EF83-C204-469F-3D7EA0C7834C}"/>
                </a:ext>
              </a:extLst>
            </p:cNvPr>
            <p:cNvSpPr/>
            <p:nvPr/>
          </p:nvSpPr>
          <p:spPr>
            <a:xfrm>
              <a:off x="1705924" y="13280922"/>
              <a:ext cx="435077" cy="435077"/>
            </a:xfrm>
            <a:custGeom>
              <a:avLst/>
              <a:gdLst>
                <a:gd name="connsiteX0" fmla="*/ 63711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1 w 435077"/>
                <a:gd name="connsiteY6" fmla="*/ 153827 h 435077"/>
                <a:gd name="connsiteX7" fmla="*/ 63711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11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1" y="153827"/>
                  </a:moveTo>
                  <a:cubicBezTo>
                    <a:pt x="22923" y="113039"/>
                    <a:pt x="0" y="57702"/>
                    <a:pt x="0" y="0"/>
                  </a:cubicBezTo>
                  <a:lnTo>
                    <a:pt x="217539" y="0"/>
                  </a:lnTo>
                  <a:lnTo>
                    <a:pt x="435077" y="0"/>
                  </a:lnTo>
                  <a:cubicBezTo>
                    <a:pt x="435077" y="57702"/>
                    <a:pt x="412154" y="113039"/>
                    <a:pt x="371366" y="153827"/>
                  </a:cubicBezTo>
                  <a:cubicBezTo>
                    <a:pt x="330550" y="194642"/>
                    <a:pt x="275213" y="217539"/>
                    <a:pt x="217539" y="217539"/>
                  </a:cubicBezTo>
                  <a:cubicBezTo>
                    <a:pt x="159836" y="217539"/>
                    <a:pt x="104500" y="194642"/>
                    <a:pt x="63711" y="153827"/>
                  </a:cubicBezTo>
                  <a:close/>
                  <a:moveTo>
                    <a:pt x="63711" y="281277"/>
                  </a:moveTo>
                  <a:cubicBezTo>
                    <a:pt x="22923" y="322066"/>
                    <a:pt x="0" y="377402"/>
                    <a:pt x="0" y="435077"/>
                  </a:cubicBezTo>
                  <a:lnTo>
                    <a:pt x="217539" y="435077"/>
                  </a:lnTo>
                  <a:lnTo>
                    <a:pt x="435077" y="435077"/>
                  </a:lnTo>
                  <a:cubicBezTo>
                    <a:pt x="435077" y="377402"/>
                    <a:pt x="412154" y="322066"/>
                    <a:pt x="371366" y="281277"/>
                  </a:cubicBezTo>
                  <a:cubicBezTo>
                    <a:pt x="330550" y="240462"/>
                    <a:pt x="275213" y="217539"/>
                    <a:pt x="217539" y="217539"/>
                  </a:cubicBezTo>
                  <a:cubicBezTo>
                    <a:pt x="159836" y="217539"/>
                    <a:pt x="104500" y="240462"/>
                    <a:pt x="63711" y="281277"/>
                  </a:cubicBezTo>
                  <a:close/>
                </a:path>
              </a:pathLst>
            </a:custGeom>
            <a:grpFill/>
            <a:ln w="27192" cap="flat">
              <a:noFill/>
              <a:prstDash val="solid"/>
              <a:miter/>
            </a:ln>
          </p:spPr>
          <p:txBody>
            <a:bodyPr rtlCol="0" anchor="ctr"/>
            <a:lstStyle/>
            <a:p>
              <a:endParaRPr lang="uk-UA" sz="900"/>
            </a:p>
          </p:txBody>
        </p:sp>
        <p:sp>
          <p:nvSpPr>
            <p:cNvPr id="909" name="Freeform: Shape 908">
              <a:extLst>
                <a:ext uri="{FF2B5EF4-FFF2-40B4-BE49-F238E27FC236}">
                  <a16:creationId xmlns:a16="http://schemas.microsoft.com/office/drawing/2014/main" id="{07B162CD-FBB7-FA52-B888-FC0E310824DB}"/>
                </a:ext>
              </a:extLst>
            </p:cNvPr>
            <p:cNvSpPr/>
            <p:nvPr/>
          </p:nvSpPr>
          <p:spPr>
            <a:xfrm>
              <a:off x="2576079" y="1328092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6 w 435077"/>
                <a:gd name="connsiteY3" fmla="*/ 27 h 435077"/>
                <a:gd name="connsiteX4" fmla="*/ 435077 w 435077"/>
                <a:gd name="connsiteY4" fmla="*/ 217566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6" y="27"/>
                  </a:lnTo>
                  <a:lnTo>
                    <a:pt x="435077" y="217566"/>
                  </a:lnTo>
                  <a:lnTo>
                    <a:pt x="217566"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910" name="Freeform: Shape 909">
              <a:extLst>
                <a:ext uri="{FF2B5EF4-FFF2-40B4-BE49-F238E27FC236}">
                  <a16:creationId xmlns:a16="http://schemas.microsoft.com/office/drawing/2014/main" id="{C725EEF1-8C3F-9953-298D-7533A00DEA27}"/>
                </a:ext>
              </a:extLst>
            </p:cNvPr>
            <p:cNvSpPr/>
            <p:nvPr/>
          </p:nvSpPr>
          <p:spPr>
            <a:xfrm>
              <a:off x="4316416" y="13280949"/>
              <a:ext cx="435077" cy="435050"/>
            </a:xfrm>
            <a:custGeom>
              <a:avLst/>
              <a:gdLst>
                <a:gd name="connsiteX0" fmla="*/ 435077 w 435077"/>
                <a:gd name="connsiteY0" fmla="*/ 435050 h 435050"/>
                <a:gd name="connsiteX1" fmla="*/ 435077 w 435077"/>
                <a:gd name="connsiteY1" fmla="*/ 0 h 435050"/>
                <a:gd name="connsiteX2" fmla="*/ 217565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39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65" y="217539"/>
                  </a:lnTo>
                  <a:lnTo>
                    <a:pt x="435077" y="435050"/>
                  </a:lnTo>
                  <a:close/>
                  <a:moveTo>
                    <a:pt x="0" y="435050"/>
                  </a:moveTo>
                  <a:lnTo>
                    <a:pt x="0" y="0"/>
                  </a:lnTo>
                  <a:lnTo>
                    <a:pt x="217539" y="217539"/>
                  </a:lnTo>
                  <a:lnTo>
                    <a:pt x="0" y="435050"/>
                  </a:lnTo>
                  <a:close/>
                </a:path>
              </a:pathLst>
            </a:custGeom>
            <a:grpFill/>
            <a:ln w="27192" cap="flat">
              <a:noFill/>
              <a:prstDash val="solid"/>
              <a:miter/>
            </a:ln>
          </p:spPr>
          <p:txBody>
            <a:bodyPr rtlCol="0" anchor="ctr"/>
            <a:lstStyle/>
            <a:p>
              <a:endParaRPr lang="uk-UA" sz="900"/>
            </a:p>
          </p:txBody>
        </p:sp>
        <p:sp>
          <p:nvSpPr>
            <p:cNvPr id="911" name="Freeform: Shape 910">
              <a:extLst>
                <a:ext uri="{FF2B5EF4-FFF2-40B4-BE49-F238E27FC236}">
                  <a16:creationId xmlns:a16="http://schemas.microsoft.com/office/drawing/2014/main" id="{7966E624-DDD5-CF2B-34AD-24AD5F9FC1E6}"/>
                </a:ext>
              </a:extLst>
            </p:cNvPr>
            <p:cNvSpPr/>
            <p:nvPr/>
          </p:nvSpPr>
          <p:spPr>
            <a:xfrm>
              <a:off x="3446261" y="1328092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912" name="Freeform: Shape 911">
              <a:extLst>
                <a:ext uri="{FF2B5EF4-FFF2-40B4-BE49-F238E27FC236}">
                  <a16:creationId xmlns:a16="http://schemas.microsoft.com/office/drawing/2014/main" id="{465BE256-9261-B9A4-691F-DB120CE5629E}"/>
                </a:ext>
              </a:extLst>
            </p:cNvPr>
            <p:cNvSpPr/>
            <p:nvPr/>
          </p:nvSpPr>
          <p:spPr>
            <a:xfrm>
              <a:off x="5186571" y="13280922"/>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39 w 435077"/>
                <a:gd name="connsiteY6" fmla="*/ 153827 h 435077"/>
                <a:gd name="connsiteX7" fmla="*/ 63739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77 h 435077"/>
                <a:gd name="connsiteX12" fmla="*/ 217539 w 435077"/>
                <a:gd name="connsiteY12" fmla="*/ 217539 h 435077"/>
                <a:gd name="connsiteX13" fmla="*/ 63739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3" y="113039"/>
                    <a:pt x="0" y="57702"/>
                    <a:pt x="0" y="0"/>
                  </a:cubicBezTo>
                  <a:lnTo>
                    <a:pt x="217539" y="0"/>
                  </a:lnTo>
                  <a:lnTo>
                    <a:pt x="435077" y="0"/>
                  </a:lnTo>
                  <a:cubicBezTo>
                    <a:pt x="435077" y="57702"/>
                    <a:pt x="412181" y="113039"/>
                    <a:pt x="371365" y="153827"/>
                  </a:cubicBezTo>
                  <a:cubicBezTo>
                    <a:pt x="330577" y="194642"/>
                    <a:pt x="275240" y="217539"/>
                    <a:pt x="217539" y="217539"/>
                  </a:cubicBezTo>
                  <a:cubicBezTo>
                    <a:pt x="159864" y="217539"/>
                    <a:pt x="104527" y="194642"/>
                    <a:pt x="63739" y="153827"/>
                  </a:cubicBezTo>
                  <a:close/>
                  <a:moveTo>
                    <a:pt x="63739" y="281277"/>
                  </a:moveTo>
                  <a:cubicBezTo>
                    <a:pt x="22923" y="322066"/>
                    <a:pt x="0" y="377402"/>
                    <a:pt x="0" y="435077"/>
                  </a:cubicBezTo>
                  <a:lnTo>
                    <a:pt x="217539" y="435077"/>
                  </a:lnTo>
                  <a:lnTo>
                    <a:pt x="435077" y="435077"/>
                  </a:lnTo>
                  <a:cubicBezTo>
                    <a:pt x="435077" y="377402"/>
                    <a:pt x="412181" y="322066"/>
                    <a:pt x="371365" y="281277"/>
                  </a:cubicBezTo>
                  <a:cubicBezTo>
                    <a:pt x="330577" y="240462"/>
                    <a:pt x="275240" y="217539"/>
                    <a:pt x="217539" y="217539"/>
                  </a:cubicBezTo>
                  <a:cubicBezTo>
                    <a:pt x="159864" y="217539"/>
                    <a:pt x="104527" y="240462"/>
                    <a:pt x="63739" y="281277"/>
                  </a:cubicBezTo>
                  <a:close/>
                </a:path>
              </a:pathLst>
            </a:custGeom>
            <a:grpFill/>
            <a:ln w="27192" cap="flat">
              <a:noFill/>
              <a:prstDash val="solid"/>
              <a:miter/>
            </a:ln>
          </p:spPr>
          <p:txBody>
            <a:bodyPr rtlCol="0" anchor="ctr"/>
            <a:lstStyle/>
            <a:p>
              <a:endParaRPr lang="uk-UA" sz="900"/>
            </a:p>
          </p:txBody>
        </p:sp>
        <p:sp>
          <p:nvSpPr>
            <p:cNvPr id="913" name="Freeform: Shape 912">
              <a:extLst>
                <a:ext uri="{FF2B5EF4-FFF2-40B4-BE49-F238E27FC236}">
                  <a16:creationId xmlns:a16="http://schemas.microsoft.com/office/drawing/2014/main" id="{A4474734-B927-2331-E630-FF7787B2BB08}"/>
                </a:ext>
              </a:extLst>
            </p:cNvPr>
            <p:cNvSpPr/>
            <p:nvPr/>
          </p:nvSpPr>
          <p:spPr>
            <a:xfrm>
              <a:off x="6056725" y="1328092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5 w 435077"/>
                <a:gd name="connsiteY3" fmla="*/ 27 h 435077"/>
                <a:gd name="connsiteX4" fmla="*/ 435077 w 435077"/>
                <a:gd name="connsiteY4" fmla="*/ 217566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5" y="27"/>
                  </a:lnTo>
                  <a:lnTo>
                    <a:pt x="435077" y="217566"/>
                  </a:lnTo>
                  <a:lnTo>
                    <a:pt x="217565"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914" name="Freeform: Shape 913">
              <a:extLst>
                <a:ext uri="{FF2B5EF4-FFF2-40B4-BE49-F238E27FC236}">
                  <a16:creationId xmlns:a16="http://schemas.microsoft.com/office/drawing/2014/main" id="{D1D8AFBA-962C-050D-5615-0EFCE926D760}"/>
                </a:ext>
              </a:extLst>
            </p:cNvPr>
            <p:cNvSpPr/>
            <p:nvPr/>
          </p:nvSpPr>
          <p:spPr>
            <a:xfrm>
              <a:off x="7797062" y="13280949"/>
              <a:ext cx="435077" cy="435050"/>
            </a:xfrm>
            <a:custGeom>
              <a:avLst/>
              <a:gdLst>
                <a:gd name="connsiteX0" fmla="*/ 435077 w 435077"/>
                <a:gd name="connsiteY0" fmla="*/ 435050 h 435050"/>
                <a:gd name="connsiteX1" fmla="*/ 435077 w 435077"/>
                <a:gd name="connsiteY1" fmla="*/ 0 h 435050"/>
                <a:gd name="connsiteX2" fmla="*/ 217566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39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66" y="217539"/>
                  </a:lnTo>
                  <a:lnTo>
                    <a:pt x="435077" y="435050"/>
                  </a:lnTo>
                  <a:close/>
                  <a:moveTo>
                    <a:pt x="0" y="435050"/>
                  </a:moveTo>
                  <a:lnTo>
                    <a:pt x="0" y="0"/>
                  </a:lnTo>
                  <a:lnTo>
                    <a:pt x="217539" y="217539"/>
                  </a:lnTo>
                  <a:lnTo>
                    <a:pt x="0" y="435050"/>
                  </a:lnTo>
                  <a:close/>
                </a:path>
              </a:pathLst>
            </a:custGeom>
            <a:grpFill/>
            <a:ln w="27192" cap="flat">
              <a:noFill/>
              <a:prstDash val="solid"/>
              <a:miter/>
            </a:ln>
          </p:spPr>
          <p:txBody>
            <a:bodyPr rtlCol="0" anchor="ctr"/>
            <a:lstStyle/>
            <a:p>
              <a:endParaRPr lang="uk-UA" sz="900"/>
            </a:p>
          </p:txBody>
        </p:sp>
        <p:sp>
          <p:nvSpPr>
            <p:cNvPr id="915" name="Freeform: Shape 914">
              <a:extLst>
                <a:ext uri="{FF2B5EF4-FFF2-40B4-BE49-F238E27FC236}">
                  <a16:creationId xmlns:a16="http://schemas.microsoft.com/office/drawing/2014/main" id="{FE3ED06A-2064-5EAA-146C-783A9AAE8626}"/>
                </a:ext>
              </a:extLst>
            </p:cNvPr>
            <p:cNvSpPr/>
            <p:nvPr/>
          </p:nvSpPr>
          <p:spPr>
            <a:xfrm>
              <a:off x="6926907" y="13280922"/>
              <a:ext cx="435077" cy="435077"/>
            </a:xfrm>
            <a:custGeom>
              <a:avLst/>
              <a:gdLst>
                <a:gd name="connsiteX0" fmla="*/ 0 w 435077"/>
                <a:gd name="connsiteY0" fmla="*/ 435077 h 435077"/>
                <a:gd name="connsiteX1" fmla="*/ 0 w 435077"/>
                <a:gd name="connsiteY1" fmla="*/ 0 h 435077"/>
                <a:gd name="connsiteX2" fmla="*/ 217512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12"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916" name="Freeform: Shape 915">
              <a:extLst>
                <a:ext uri="{FF2B5EF4-FFF2-40B4-BE49-F238E27FC236}">
                  <a16:creationId xmlns:a16="http://schemas.microsoft.com/office/drawing/2014/main" id="{004441B4-73E1-407A-F3AD-96809F087D43}"/>
                </a:ext>
              </a:extLst>
            </p:cNvPr>
            <p:cNvSpPr/>
            <p:nvPr/>
          </p:nvSpPr>
          <p:spPr>
            <a:xfrm>
              <a:off x="8667217" y="1328092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6" y="153827"/>
                  </a:cubicBezTo>
                  <a:cubicBezTo>
                    <a:pt x="330550" y="194642"/>
                    <a:pt x="275241" y="217539"/>
                    <a:pt x="217539" y="217539"/>
                  </a:cubicBezTo>
                  <a:cubicBezTo>
                    <a:pt x="159837"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5" y="322066"/>
                    <a:pt x="371366" y="281277"/>
                  </a:cubicBezTo>
                  <a:cubicBezTo>
                    <a:pt x="330550" y="240462"/>
                    <a:pt x="275241" y="217539"/>
                    <a:pt x="217539" y="217539"/>
                  </a:cubicBezTo>
                  <a:cubicBezTo>
                    <a:pt x="159837" y="217539"/>
                    <a:pt x="104501" y="240462"/>
                    <a:pt x="63712" y="281277"/>
                  </a:cubicBezTo>
                  <a:close/>
                </a:path>
              </a:pathLst>
            </a:custGeom>
            <a:grpFill/>
            <a:ln w="27192" cap="flat">
              <a:noFill/>
              <a:prstDash val="solid"/>
              <a:miter/>
            </a:ln>
          </p:spPr>
          <p:txBody>
            <a:bodyPr rtlCol="0" anchor="ctr"/>
            <a:lstStyle/>
            <a:p>
              <a:endParaRPr lang="uk-UA" sz="900"/>
            </a:p>
          </p:txBody>
        </p:sp>
        <p:sp>
          <p:nvSpPr>
            <p:cNvPr id="917" name="Freeform: Shape 916">
              <a:extLst>
                <a:ext uri="{FF2B5EF4-FFF2-40B4-BE49-F238E27FC236}">
                  <a16:creationId xmlns:a16="http://schemas.microsoft.com/office/drawing/2014/main" id="{8008CC53-5C73-63F0-BB31-E852005AA29C}"/>
                </a:ext>
              </a:extLst>
            </p:cNvPr>
            <p:cNvSpPr/>
            <p:nvPr/>
          </p:nvSpPr>
          <p:spPr>
            <a:xfrm>
              <a:off x="9537371" y="1328092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6 w 435077"/>
                <a:gd name="connsiteY3" fmla="*/ 27 h 435077"/>
                <a:gd name="connsiteX4" fmla="*/ 435077 w 435077"/>
                <a:gd name="connsiteY4" fmla="*/ 217566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6" y="27"/>
                  </a:lnTo>
                  <a:lnTo>
                    <a:pt x="435077" y="217566"/>
                  </a:lnTo>
                  <a:lnTo>
                    <a:pt x="217566"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918" name="Freeform: Shape 917">
              <a:extLst>
                <a:ext uri="{FF2B5EF4-FFF2-40B4-BE49-F238E27FC236}">
                  <a16:creationId xmlns:a16="http://schemas.microsoft.com/office/drawing/2014/main" id="{0F121CB7-19DB-3218-BD21-EF423BB19E06}"/>
                </a:ext>
              </a:extLst>
            </p:cNvPr>
            <p:cNvSpPr/>
            <p:nvPr/>
          </p:nvSpPr>
          <p:spPr>
            <a:xfrm>
              <a:off x="11277709" y="13280949"/>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0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0" y="217539"/>
                  </a:lnTo>
                  <a:lnTo>
                    <a:pt x="0" y="435050"/>
                  </a:lnTo>
                  <a:close/>
                </a:path>
              </a:pathLst>
            </a:custGeom>
            <a:grpFill/>
            <a:ln w="27192" cap="flat">
              <a:noFill/>
              <a:prstDash val="solid"/>
              <a:miter/>
            </a:ln>
          </p:spPr>
          <p:txBody>
            <a:bodyPr rtlCol="0" anchor="ctr"/>
            <a:lstStyle/>
            <a:p>
              <a:endParaRPr lang="uk-UA" sz="900"/>
            </a:p>
          </p:txBody>
        </p:sp>
        <p:sp>
          <p:nvSpPr>
            <p:cNvPr id="919" name="Freeform: Shape 918">
              <a:extLst>
                <a:ext uri="{FF2B5EF4-FFF2-40B4-BE49-F238E27FC236}">
                  <a16:creationId xmlns:a16="http://schemas.microsoft.com/office/drawing/2014/main" id="{B7A30BBC-2083-4D5B-97F7-FD6342074D11}"/>
                </a:ext>
              </a:extLst>
            </p:cNvPr>
            <p:cNvSpPr/>
            <p:nvPr/>
          </p:nvSpPr>
          <p:spPr>
            <a:xfrm>
              <a:off x="10407526" y="1328092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920" name="Freeform: Shape 919">
              <a:extLst>
                <a:ext uri="{FF2B5EF4-FFF2-40B4-BE49-F238E27FC236}">
                  <a16:creationId xmlns:a16="http://schemas.microsoft.com/office/drawing/2014/main" id="{6E272AA5-3A8C-7A36-BF63-22248048E4F8}"/>
                </a:ext>
              </a:extLst>
            </p:cNvPr>
            <p:cNvSpPr/>
            <p:nvPr/>
          </p:nvSpPr>
          <p:spPr>
            <a:xfrm>
              <a:off x="12147864" y="13280922"/>
              <a:ext cx="435077" cy="435077"/>
            </a:xfrm>
            <a:custGeom>
              <a:avLst/>
              <a:gdLst>
                <a:gd name="connsiteX0" fmla="*/ 63710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0 w 435077"/>
                <a:gd name="connsiteY6" fmla="*/ 153827 h 435077"/>
                <a:gd name="connsiteX7" fmla="*/ 63710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77 h 435077"/>
                <a:gd name="connsiteX12" fmla="*/ 217539 w 435077"/>
                <a:gd name="connsiteY12" fmla="*/ 217539 h 435077"/>
                <a:gd name="connsiteX13" fmla="*/ 63710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7"/>
                  </a:moveTo>
                  <a:cubicBezTo>
                    <a:pt x="22922" y="113039"/>
                    <a:pt x="0" y="57702"/>
                    <a:pt x="0" y="0"/>
                  </a:cubicBezTo>
                  <a:lnTo>
                    <a:pt x="217539" y="0"/>
                  </a:lnTo>
                  <a:lnTo>
                    <a:pt x="435077" y="0"/>
                  </a:lnTo>
                  <a:cubicBezTo>
                    <a:pt x="435077" y="57702"/>
                    <a:pt x="412154" y="113039"/>
                    <a:pt x="371365" y="153827"/>
                  </a:cubicBezTo>
                  <a:cubicBezTo>
                    <a:pt x="330549" y="194642"/>
                    <a:pt x="275239" y="217539"/>
                    <a:pt x="217539" y="217539"/>
                  </a:cubicBezTo>
                  <a:cubicBezTo>
                    <a:pt x="159836" y="217539"/>
                    <a:pt x="104499" y="194642"/>
                    <a:pt x="63710" y="153827"/>
                  </a:cubicBezTo>
                  <a:close/>
                  <a:moveTo>
                    <a:pt x="63710" y="281277"/>
                  </a:moveTo>
                  <a:cubicBezTo>
                    <a:pt x="22922" y="322066"/>
                    <a:pt x="0" y="377402"/>
                    <a:pt x="0" y="435077"/>
                  </a:cubicBezTo>
                  <a:lnTo>
                    <a:pt x="217539" y="435077"/>
                  </a:lnTo>
                  <a:lnTo>
                    <a:pt x="435077" y="435077"/>
                  </a:lnTo>
                  <a:cubicBezTo>
                    <a:pt x="435077" y="377402"/>
                    <a:pt x="412154" y="322066"/>
                    <a:pt x="371365" y="281277"/>
                  </a:cubicBezTo>
                  <a:cubicBezTo>
                    <a:pt x="330549" y="240462"/>
                    <a:pt x="275239" y="217539"/>
                    <a:pt x="217539" y="217539"/>
                  </a:cubicBezTo>
                  <a:cubicBezTo>
                    <a:pt x="159836" y="217539"/>
                    <a:pt x="104499" y="240462"/>
                    <a:pt x="63710" y="281277"/>
                  </a:cubicBezTo>
                  <a:close/>
                </a:path>
              </a:pathLst>
            </a:custGeom>
            <a:grpFill/>
            <a:ln w="27192" cap="flat">
              <a:noFill/>
              <a:prstDash val="solid"/>
              <a:miter/>
            </a:ln>
          </p:spPr>
          <p:txBody>
            <a:bodyPr rtlCol="0" anchor="ctr"/>
            <a:lstStyle/>
            <a:p>
              <a:endParaRPr lang="uk-UA" sz="900"/>
            </a:p>
          </p:txBody>
        </p:sp>
        <p:sp>
          <p:nvSpPr>
            <p:cNvPr id="921" name="Freeform: Shape 920">
              <a:extLst>
                <a:ext uri="{FF2B5EF4-FFF2-40B4-BE49-F238E27FC236}">
                  <a16:creationId xmlns:a16="http://schemas.microsoft.com/office/drawing/2014/main" id="{72B2F207-1125-69C2-FB3B-E72DC4A118A5}"/>
                </a:ext>
              </a:extLst>
            </p:cNvPr>
            <p:cNvSpPr/>
            <p:nvPr/>
          </p:nvSpPr>
          <p:spPr>
            <a:xfrm>
              <a:off x="13018019" y="1328092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5 w 435077"/>
                <a:gd name="connsiteY3" fmla="*/ 27 h 435077"/>
                <a:gd name="connsiteX4" fmla="*/ 435077 w 435077"/>
                <a:gd name="connsiteY4" fmla="*/ 217566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5" y="27"/>
                  </a:lnTo>
                  <a:lnTo>
                    <a:pt x="435077" y="217566"/>
                  </a:lnTo>
                  <a:lnTo>
                    <a:pt x="217565"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922" name="Freeform: Shape 921">
              <a:extLst>
                <a:ext uri="{FF2B5EF4-FFF2-40B4-BE49-F238E27FC236}">
                  <a16:creationId xmlns:a16="http://schemas.microsoft.com/office/drawing/2014/main" id="{06CBFB4C-DB22-1571-8870-2CD14A476F6A}"/>
                </a:ext>
              </a:extLst>
            </p:cNvPr>
            <p:cNvSpPr/>
            <p:nvPr/>
          </p:nvSpPr>
          <p:spPr>
            <a:xfrm>
              <a:off x="14758382" y="13280949"/>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2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2" y="217539"/>
                  </a:lnTo>
                  <a:lnTo>
                    <a:pt x="0" y="435050"/>
                  </a:lnTo>
                  <a:close/>
                </a:path>
              </a:pathLst>
            </a:custGeom>
            <a:grpFill/>
            <a:ln w="27192" cap="flat">
              <a:noFill/>
              <a:prstDash val="solid"/>
              <a:miter/>
            </a:ln>
          </p:spPr>
          <p:txBody>
            <a:bodyPr rtlCol="0" anchor="ctr"/>
            <a:lstStyle/>
            <a:p>
              <a:endParaRPr lang="uk-UA" sz="900"/>
            </a:p>
          </p:txBody>
        </p:sp>
        <p:sp>
          <p:nvSpPr>
            <p:cNvPr id="923" name="Freeform: Shape 922">
              <a:extLst>
                <a:ext uri="{FF2B5EF4-FFF2-40B4-BE49-F238E27FC236}">
                  <a16:creationId xmlns:a16="http://schemas.microsoft.com/office/drawing/2014/main" id="{A0B728FE-7873-F383-A484-791F277CF3F8}"/>
                </a:ext>
              </a:extLst>
            </p:cNvPr>
            <p:cNvSpPr/>
            <p:nvPr/>
          </p:nvSpPr>
          <p:spPr>
            <a:xfrm>
              <a:off x="13888200" y="1328092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924" name="Freeform: Shape 923">
              <a:extLst>
                <a:ext uri="{FF2B5EF4-FFF2-40B4-BE49-F238E27FC236}">
                  <a16:creationId xmlns:a16="http://schemas.microsoft.com/office/drawing/2014/main" id="{50CE9853-642C-F63F-83E9-CFD52B769394}"/>
                </a:ext>
              </a:extLst>
            </p:cNvPr>
            <p:cNvSpPr/>
            <p:nvPr/>
          </p:nvSpPr>
          <p:spPr>
            <a:xfrm>
              <a:off x="15628536" y="1328092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7" y="153827"/>
                  </a:cubicBezTo>
                  <a:cubicBezTo>
                    <a:pt x="330550" y="194642"/>
                    <a:pt x="275241" y="217539"/>
                    <a:pt x="217539" y="217539"/>
                  </a:cubicBezTo>
                  <a:cubicBezTo>
                    <a:pt x="159836"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5" y="322066"/>
                    <a:pt x="371367" y="281277"/>
                  </a:cubicBezTo>
                  <a:cubicBezTo>
                    <a:pt x="330550" y="240462"/>
                    <a:pt x="275241" y="217539"/>
                    <a:pt x="217539" y="217539"/>
                  </a:cubicBezTo>
                  <a:cubicBezTo>
                    <a:pt x="159836" y="217539"/>
                    <a:pt x="104501" y="240462"/>
                    <a:pt x="63712" y="281277"/>
                  </a:cubicBezTo>
                  <a:close/>
                </a:path>
              </a:pathLst>
            </a:custGeom>
            <a:grpFill/>
            <a:ln w="27192" cap="flat">
              <a:noFill/>
              <a:prstDash val="solid"/>
              <a:miter/>
            </a:ln>
          </p:spPr>
          <p:txBody>
            <a:bodyPr rtlCol="0" anchor="ctr"/>
            <a:lstStyle/>
            <a:p>
              <a:endParaRPr lang="uk-UA" sz="900"/>
            </a:p>
          </p:txBody>
        </p:sp>
        <p:sp>
          <p:nvSpPr>
            <p:cNvPr id="925" name="Freeform: Shape 924">
              <a:extLst>
                <a:ext uri="{FF2B5EF4-FFF2-40B4-BE49-F238E27FC236}">
                  <a16:creationId xmlns:a16="http://schemas.microsoft.com/office/drawing/2014/main" id="{D4876E03-0916-2D4B-0E5A-39186FC0E1E1}"/>
                </a:ext>
              </a:extLst>
            </p:cNvPr>
            <p:cNvSpPr/>
            <p:nvPr/>
          </p:nvSpPr>
          <p:spPr>
            <a:xfrm>
              <a:off x="16498691" y="1328092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7 w 435077"/>
                <a:gd name="connsiteY3" fmla="*/ 27 h 435077"/>
                <a:gd name="connsiteX4" fmla="*/ 435077 w 435077"/>
                <a:gd name="connsiteY4" fmla="*/ 217566 h 435077"/>
                <a:gd name="connsiteX5" fmla="*/ 217567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7" y="27"/>
                  </a:lnTo>
                  <a:lnTo>
                    <a:pt x="435077" y="217566"/>
                  </a:lnTo>
                  <a:lnTo>
                    <a:pt x="217567"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926" name="Freeform: Shape 925">
              <a:extLst>
                <a:ext uri="{FF2B5EF4-FFF2-40B4-BE49-F238E27FC236}">
                  <a16:creationId xmlns:a16="http://schemas.microsoft.com/office/drawing/2014/main" id="{B94BD52A-6DC7-4749-31F5-C2544375C55C}"/>
                </a:ext>
              </a:extLst>
            </p:cNvPr>
            <p:cNvSpPr/>
            <p:nvPr/>
          </p:nvSpPr>
          <p:spPr>
            <a:xfrm>
              <a:off x="18239029" y="13280949"/>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0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0" y="217539"/>
                  </a:lnTo>
                  <a:lnTo>
                    <a:pt x="0" y="435050"/>
                  </a:lnTo>
                  <a:close/>
                </a:path>
              </a:pathLst>
            </a:custGeom>
            <a:grpFill/>
            <a:ln w="27192" cap="flat">
              <a:noFill/>
              <a:prstDash val="solid"/>
              <a:miter/>
            </a:ln>
          </p:spPr>
          <p:txBody>
            <a:bodyPr rtlCol="0" anchor="ctr"/>
            <a:lstStyle/>
            <a:p>
              <a:endParaRPr lang="uk-UA" sz="900"/>
            </a:p>
          </p:txBody>
        </p:sp>
        <p:sp>
          <p:nvSpPr>
            <p:cNvPr id="927" name="Freeform: Shape 926">
              <a:extLst>
                <a:ext uri="{FF2B5EF4-FFF2-40B4-BE49-F238E27FC236}">
                  <a16:creationId xmlns:a16="http://schemas.microsoft.com/office/drawing/2014/main" id="{E8C2AB4E-E22C-BC81-81A2-1593E6F41F5D}"/>
                </a:ext>
              </a:extLst>
            </p:cNvPr>
            <p:cNvSpPr/>
            <p:nvPr/>
          </p:nvSpPr>
          <p:spPr>
            <a:xfrm>
              <a:off x="17368846" y="1328092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67 w 435077"/>
                <a:gd name="connsiteY4" fmla="*/ 435077 h 435077"/>
                <a:gd name="connsiteX5" fmla="*/ 217567 w 435077"/>
                <a:gd name="connsiteY5" fmla="*/ 0 h 435077"/>
                <a:gd name="connsiteX6" fmla="*/ 435077 w 435077"/>
                <a:gd name="connsiteY6" fmla="*/ 217566 h 435077"/>
                <a:gd name="connsiteX7" fmla="*/ 217567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67" y="435077"/>
                  </a:moveTo>
                  <a:lnTo>
                    <a:pt x="217567" y="0"/>
                  </a:lnTo>
                  <a:lnTo>
                    <a:pt x="435077" y="217566"/>
                  </a:lnTo>
                  <a:lnTo>
                    <a:pt x="217567" y="435077"/>
                  </a:lnTo>
                  <a:close/>
                </a:path>
              </a:pathLst>
            </a:custGeom>
            <a:grpFill/>
            <a:ln w="27192" cap="flat">
              <a:noFill/>
              <a:prstDash val="solid"/>
              <a:miter/>
            </a:ln>
          </p:spPr>
          <p:txBody>
            <a:bodyPr rtlCol="0" anchor="ctr"/>
            <a:lstStyle/>
            <a:p>
              <a:endParaRPr lang="uk-UA" sz="900"/>
            </a:p>
          </p:txBody>
        </p:sp>
        <p:sp>
          <p:nvSpPr>
            <p:cNvPr id="928" name="Freeform: Shape 927">
              <a:extLst>
                <a:ext uri="{FF2B5EF4-FFF2-40B4-BE49-F238E27FC236}">
                  <a16:creationId xmlns:a16="http://schemas.microsoft.com/office/drawing/2014/main" id="{6EFC5C09-F668-4FBF-CADD-925416081965}"/>
                </a:ext>
              </a:extLst>
            </p:cNvPr>
            <p:cNvSpPr/>
            <p:nvPr/>
          </p:nvSpPr>
          <p:spPr>
            <a:xfrm>
              <a:off x="19109184" y="13280922"/>
              <a:ext cx="435077" cy="435077"/>
            </a:xfrm>
            <a:custGeom>
              <a:avLst/>
              <a:gdLst>
                <a:gd name="connsiteX0" fmla="*/ 63710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0 w 435077"/>
                <a:gd name="connsiteY6" fmla="*/ 153827 h 435077"/>
                <a:gd name="connsiteX7" fmla="*/ 63710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77 h 435077"/>
                <a:gd name="connsiteX12" fmla="*/ 217539 w 435077"/>
                <a:gd name="connsiteY12" fmla="*/ 217539 h 435077"/>
                <a:gd name="connsiteX13" fmla="*/ 63710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7"/>
                  </a:moveTo>
                  <a:cubicBezTo>
                    <a:pt x="22922" y="113039"/>
                    <a:pt x="0" y="57702"/>
                    <a:pt x="0" y="0"/>
                  </a:cubicBezTo>
                  <a:lnTo>
                    <a:pt x="217539" y="0"/>
                  </a:lnTo>
                  <a:lnTo>
                    <a:pt x="435077" y="0"/>
                  </a:lnTo>
                  <a:cubicBezTo>
                    <a:pt x="435077" y="57702"/>
                    <a:pt x="412154" y="113039"/>
                    <a:pt x="371365" y="153827"/>
                  </a:cubicBezTo>
                  <a:cubicBezTo>
                    <a:pt x="330577" y="194642"/>
                    <a:pt x="275241" y="217539"/>
                    <a:pt x="217539" y="217539"/>
                  </a:cubicBezTo>
                  <a:cubicBezTo>
                    <a:pt x="159836" y="217539"/>
                    <a:pt x="104527" y="194642"/>
                    <a:pt x="63710" y="153827"/>
                  </a:cubicBezTo>
                  <a:close/>
                  <a:moveTo>
                    <a:pt x="63710" y="281277"/>
                  </a:moveTo>
                  <a:cubicBezTo>
                    <a:pt x="22922" y="322066"/>
                    <a:pt x="0" y="377402"/>
                    <a:pt x="0" y="435077"/>
                  </a:cubicBezTo>
                  <a:lnTo>
                    <a:pt x="217539" y="435077"/>
                  </a:lnTo>
                  <a:lnTo>
                    <a:pt x="435077" y="435077"/>
                  </a:lnTo>
                  <a:cubicBezTo>
                    <a:pt x="435077" y="377402"/>
                    <a:pt x="412154" y="322066"/>
                    <a:pt x="371365" y="281277"/>
                  </a:cubicBezTo>
                  <a:cubicBezTo>
                    <a:pt x="330577" y="240462"/>
                    <a:pt x="275241" y="217539"/>
                    <a:pt x="217539" y="217539"/>
                  </a:cubicBezTo>
                  <a:cubicBezTo>
                    <a:pt x="159836" y="217539"/>
                    <a:pt x="104527" y="240462"/>
                    <a:pt x="63710" y="281277"/>
                  </a:cubicBezTo>
                  <a:close/>
                </a:path>
              </a:pathLst>
            </a:custGeom>
            <a:grpFill/>
            <a:ln w="27192" cap="flat">
              <a:noFill/>
              <a:prstDash val="solid"/>
              <a:miter/>
            </a:ln>
          </p:spPr>
          <p:txBody>
            <a:bodyPr rtlCol="0" anchor="ctr"/>
            <a:lstStyle/>
            <a:p>
              <a:endParaRPr lang="uk-UA" sz="900"/>
            </a:p>
          </p:txBody>
        </p:sp>
        <p:sp>
          <p:nvSpPr>
            <p:cNvPr id="929" name="Freeform: Shape 928">
              <a:extLst>
                <a:ext uri="{FF2B5EF4-FFF2-40B4-BE49-F238E27FC236}">
                  <a16:creationId xmlns:a16="http://schemas.microsoft.com/office/drawing/2014/main" id="{03219D3D-12A4-EF4C-250A-ED88A84B9272}"/>
                </a:ext>
              </a:extLst>
            </p:cNvPr>
            <p:cNvSpPr/>
            <p:nvPr/>
          </p:nvSpPr>
          <p:spPr>
            <a:xfrm>
              <a:off x="19979339" y="1328092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5 w 435077"/>
                <a:gd name="connsiteY3" fmla="*/ 27 h 435077"/>
                <a:gd name="connsiteX4" fmla="*/ 435077 w 435077"/>
                <a:gd name="connsiteY4" fmla="*/ 217566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5" y="27"/>
                  </a:lnTo>
                  <a:lnTo>
                    <a:pt x="435077" y="217566"/>
                  </a:lnTo>
                  <a:lnTo>
                    <a:pt x="217565"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930" name="Freeform: Shape 929">
              <a:extLst>
                <a:ext uri="{FF2B5EF4-FFF2-40B4-BE49-F238E27FC236}">
                  <a16:creationId xmlns:a16="http://schemas.microsoft.com/office/drawing/2014/main" id="{F88FA794-B983-84C3-047D-303491B33427}"/>
                </a:ext>
              </a:extLst>
            </p:cNvPr>
            <p:cNvSpPr/>
            <p:nvPr/>
          </p:nvSpPr>
          <p:spPr>
            <a:xfrm>
              <a:off x="21719675" y="13280922"/>
              <a:ext cx="435077" cy="435077"/>
            </a:xfrm>
            <a:custGeom>
              <a:avLst/>
              <a:gdLst>
                <a:gd name="connsiteX0" fmla="*/ 435077 w 435077"/>
                <a:gd name="connsiteY0" fmla="*/ 435077 h 435077"/>
                <a:gd name="connsiteX1" fmla="*/ 435077 w 435077"/>
                <a:gd name="connsiteY1" fmla="*/ 0 h 435077"/>
                <a:gd name="connsiteX2" fmla="*/ 217565 w 435077"/>
                <a:gd name="connsiteY2" fmla="*/ 217566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66"/>
                  </a:lnTo>
                  <a:lnTo>
                    <a:pt x="435077" y="435077"/>
                  </a:lnTo>
                  <a:close/>
                  <a:moveTo>
                    <a:pt x="0" y="435077"/>
                  </a:moveTo>
                  <a:lnTo>
                    <a:pt x="0" y="0"/>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931" name="Freeform: Shape 930">
              <a:extLst>
                <a:ext uri="{FF2B5EF4-FFF2-40B4-BE49-F238E27FC236}">
                  <a16:creationId xmlns:a16="http://schemas.microsoft.com/office/drawing/2014/main" id="{72D1AAC0-571F-37CD-414B-DE8B4E8479B5}"/>
                </a:ext>
              </a:extLst>
            </p:cNvPr>
            <p:cNvSpPr/>
            <p:nvPr/>
          </p:nvSpPr>
          <p:spPr>
            <a:xfrm>
              <a:off x="20849520" y="1328092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932" name="Freeform: Shape 931">
              <a:extLst>
                <a:ext uri="{FF2B5EF4-FFF2-40B4-BE49-F238E27FC236}">
                  <a16:creationId xmlns:a16="http://schemas.microsoft.com/office/drawing/2014/main" id="{AC5D4A02-4165-FFA0-C97A-CC1BBB4B7867}"/>
                </a:ext>
              </a:extLst>
            </p:cNvPr>
            <p:cNvSpPr/>
            <p:nvPr/>
          </p:nvSpPr>
          <p:spPr>
            <a:xfrm>
              <a:off x="22589856" y="1328092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7" y="153827"/>
                  </a:cubicBezTo>
                  <a:cubicBezTo>
                    <a:pt x="330550" y="194642"/>
                    <a:pt x="275215" y="217539"/>
                    <a:pt x="217539" y="217539"/>
                  </a:cubicBezTo>
                  <a:cubicBezTo>
                    <a:pt x="159838"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5" y="322066"/>
                    <a:pt x="371367" y="281277"/>
                  </a:cubicBezTo>
                  <a:cubicBezTo>
                    <a:pt x="330550" y="240462"/>
                    <a:pt x="275215" y="217539"/>
                    <a:pt x="217539" y="217539"/>
                  </a:cubicBezTo>
                  <a:cubicBezTo>
                    <a:pt x="159838" y="217539"/>
                    <a:pt x="104501" y="240462"/>
                    <a:pt x="63712" y="281277"/>
                  </a:cubicBezTo>
                  <a:close/>
                </a:path>
              </a:pathLst>
            </a:custGeom>
            <a:grpFill/>
            <a:ln w="27192" cap="flat">
              <a:noFill/>
              <a:prstDash val="solid"/>
              <a:miter/>
            </a:ln>
          </p:spPr>
          <p:txBody>
            <a:bodyPr rtlCol="0" anchor="ctr"/>
            <a:lstStyle/>
            <a:p>
              <a:endParaRPr lang="uk-UA" sz="900"/>
            </a:p>
          </p:txBody>
        </p:sp>
        <p:sp>
          <p:nvSpPr>
            <p:cNvPr id="933" name="Freeform: Shape 932">
              <a:extLst>
                <a:ext uri="{FF2B5EF4-FFF2-40B4-BE49-F238E27FC236}">
                  <a16:creationId xmlns:a16="http://schemas.microsoft.com/office/drawing/2014/main" id="{6A1DC27C-5AD5-2989-50C6-E3A3C8BCFBC7}"/>
                </a:ext>
              </a:extLst>
            </p:cNvPr>
            <p:cNvSpPr/>
            <p:nvPr/>
          </p:nvSpPr>
          <p:spPr>
            <a:xfrm>
              <a:off x="23460011" y="1328092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7 w 435077"/>
                <a:gd name="connsiteY3" fmla="*/ 27 h 435077"/>
                <a:gd name="connsiteX4" fmla="*/ 435077 w 435077"/>
                <a:gd name="connsiteY4" fmla="*/ 217566 h 435077"/>
                <a:gd name="connsiteX5" fmla="*/ 217567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12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7" y="27"/>
                  </a:lnTo>
                  <a:lnTo>
                    <a:pt x="435077" y="217566"/>
                  </a:lnTo>
                  <a:lnTo>
                    <a:pt x="217567" y="435077"/>
                  </a:lnTo>
                  <a:lnTo>
                    <a:pt x="435077" y="435077"/>
                  </a:lnTo>
                  <a:close/>
                  <a:moveTo>
                    <a:pt x="0" y="217539"/>
                  </a:moveTo>
                  <a:lnTo>
                    <a:pt x="0" y="0"/>
                  </a:lnTo>
                  <a:lnTo>
                    <a:pt x="217512" y="217539"/>
                  </a:lnTo>
                  <a:lnTo>
                    <a:pt x="0" y="217539"/>
                  </a:lnTo>
                  <a:close/>
                  <a:moveTo>
                    <a:pt x="0" y="435077"/>
                  </a:moveTo>
                  <a:lnTo>
                    <a:pt x="0" y="217566"/>
                  </a:lnTo>
                  <a:lnTo>
                    <a:pt x="217512" y="217566"/>
                  </a:lnTo>
                  <a:lnTo>
                    <a:pt x="0" y="435077"/>
                  </a:lnTo>
                  <a:close/>
                </a:path>
              </a:pathLst>
            </a:custGeom>
            <a:grpFill/>
            <a:ln w="27192" cap="flat">
              <a:noFill/>
              <a:prstDash val="solid"/>
              <a:miter/>
            </a:ln>
          </p:spPr>
          <p:txBody>
            <a:bodyPr rtlCol="0" anchor="ctr"/>
            <a:lstStyle/>
            <a:p>
              <a:endParaRPr lang="uk-UA" sz="900"/>
            </a:p>
          </p:txBody>
        </p:sp>
        <p:sp>
          <p:nvSpPr>
            <p:cNvPr id="934" name="Freeform: Shape 933">
              <a:extLst>
                <a:ext uri="{FF2B5EF4-FFF2-40B4-BE49-F238E27FC236}">
                  <a16:creationId xmlns:a16="http://schemas.microsoft.com/office/drawing/2014/main" id="{2C928438-DEF2-E077-5F91-39AC656A9A47}"/>
                </a:ext>
              </a:extLst>
            </p:cNvPr>
            <p:cNvSpPr/>
            <p:nvPr/>
          </p:nvSpPr>
          <p:spPr>
            <a:xfrm>
              <a:off x="24330194" y="1328092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grpSp>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18416" y="160295"/>
            <a:ext cx="8569797" cy="4095750"/>
          </a:xfrm>
        </p:spPr>
        <p:txBody>
          <a:bodyPr/>
          <a:lstStyle>
            <a:lvl1pPr>
              <a:defRPr sz="8598" b="0" i="0">
                <a:solidFill>
                  <a:schemeClr val="tx1"/>
                </a:solidFill>
                <a:latin typeface="IBM Plex Sans Light" panose="020B0403050203000203" pitchFamily="34" charset="0"/>
              </a:defRPr>
            </a:lvl1pPr>
          </a:lstStyle>
          <a:p>
            <a:r>
              <a:rPr lang="en-US"/>
              <a:t>Click to edit Master title style</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1">
            <a:extLst>
              <a:ext uri="{FF2B5EF4-FFF2-40B4-BE49-F238E27FC236}">
                <a16:creationId xmlns:a16="http://schemas.microsoft.com/office/drawing/2014/main" id="{15E15240-CB4B-3EBC-59A0-A3009A53924C}"/>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Tree>
    <p:extLst>
      <p:ext uri="{BB962C8B-B14F-4D97-AF65-F5344CB8AC3E}">
        <p14:creationId xmlns:p14="http://schemas.microsoft.com/office/powerpoint/2010/main" val="805472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407C7C2-2110-A617-E8BE-C822B68B6B64}"/>
              </a:ext>
            </a:extLst>
          </p:cNvPr>
          <p:cNvGraphicFramePr>
            <a:graphicFrameLocks noChangeAspect="1"/>
          </p:cNvGraphicFramePr>
          <p:nvPr userDrawn="1">
            <p:custDataLst>
              <p:tags r:id="rId1"/>
            </p:custDataLst>
          </p:nvPr>
        </p:nvGraphicFramePr>
        <p:xfrm>
          <a:off x="1592" y="1588"/>
          <a:ext cx="1230"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think-cell data - do not delete" hidden="1">
                        <a:extLst>
                          <a:ext uri="{FF2B5EF4-FFF2-40B4-BE49-F238E27FC236}">
                            <a16:creationId xmlns:a16="http://schemas.microsoft.com/office/drawing/2014/main" id="{E407C7C2-2110-A617-E8BE-C822B68B6B64}"/>
                          </a:ext>
                        </a:extLst>
                      </p:cNvPr>
                      <p:cNvPicPr/>
                      <p:nvPr/>
                    </p:nvPicPr>
                    <p:blipFill>
                      <a:blip r:embed="rId5"/>
                      <a:stretch>
                        <a:fillRect/>
                      </a:stretch>
                    </p:blipFill>
                    <p:spPr>
                      <a:xfrm>
                        <a:off x="1592" y="1588"/>
                        <a:ext cx="1230" cy="1588"/>
                      </a:xfrm>
                      <a:prstGeom prst="rect">
                        <a:avLst/>
                      </a:prstGeom>
                    </p:spPr>
                  </p:pic>
                </p:oleObj>
              </mc:Fallback>
            </mc:AlternateContent>
          </a:graphicData>
        </a:graphic>
      </p:graphicFrame>
      <p:grpSp>
        <p:nvGrpSpPr>
          <p:cNvPr id="10" name="Group 9">
            <a:extLst>
              <a:ext uri="{FF2B5EF4-FFF2-40B4-BE49-F238E27FC236}">
                <a16:creationId xmlns:a16="http://schemas.microsoft.com/office/drawing/2014/main" id="{A767E4EE-0594-0FCA-C019-01E98969B4C5}"/>
              </a:ext>
            </a:extLst>
          </p:cNvPr>
          <p:cNvGrpSpPr/>
          <p:nvPr userDrawn="1"/>
        </p:nvGrpSpPr>
        <p:grpSpPr>
          <a:xfrm>
            <a:off x="10942644" y="148075"/>
            <a:ext cx="1092203" cy="256461"/>
            <a:chOff x="5267784" y="2687316"/>
            <a:chExt cx="822498" cy="200593"/>
          </a:xfrm>
        </p:grpSpPr>
        <p:cxnSp>
          <p:nvCxnSpPr>
            <p:cNvPr id="11" name="Gerade Verbindung 13">
              <a:extLst>
                <a:ext uri="{FF2B5EF4-FFF2-40B4-BE49-F238E27FC236}">
                  <a16:creationId xmlns:a16="http://schemas.microsoft.com/office/drawing/2014/main" id="{AC379112-D6C7-7C26-E348-F04E198025B6}"/>
                </a:ext>
              </a:extLst>
            </p:cNvPr>
            <p:cNvCxnSpPr>
              <a:stCxn id="12" idx="0"/>
              <a:endCxn id="12" idx="2"/>
            </p:cNvCxnSpPr>
            <p:nvPr/>
          </p:nvCxnSpPr>
          <p:spPr>
            <a:xfrm>
              <a:off x="5267784" y="2687316"/>
              <a:ext cx="822498" cy="0"/>
            </a:xfrm>
            <a:prstGeom prst="line">
              <a:avLst/>
            </a:prstGeom>
            <a:ln w="9525" cap="flat" cmpd="sng" algn="ctr">
              <a:solidFill>
                <a:srgbClr val="BA1C1B"/>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AutoShape 109">
              <a:extLst>
                <a:ext uri="{FF2B5EF4-FFF2-40B4-BE49-F238E27FC236}">
                  <a16:creationId xmlns:a16="http://schemas.microsoft.com/office/drawing/2014/main" id="{58500610-D8E2-6BC6-D100-C5FF31EA8D1C}"/>
                </a:ext>
              </a:extLst>
            </p:cNvPr>
            <p:cNvSpPr>
              <a:spLocks noChangeArrowheads="1"/>
            </p:cNvSpPr>
            <p:nvPr>
              <p:custDataLst>
                <p:tags r:id="rId2"/>
              </p:custDataLst>
            </p:nvPr>
          </p:nvSpPr>
          <p:spPr bwMode="auto">
            <a:xfrm flipH="1">
              <a:off x="5267784" y="2687316"/>
              <a:ext cx="822498" cy="200593"/>
            </a:xfrm>
            <a:prstGeom prst="leftRightArrow">
              <a:avLst>
                <a:gd name="adj1" fmla="val 100000"/>
                <a:gd name="adj2" fmla="val 0"/>
              </a:avLst>
            </a:prstGeom>
            <a:noFill/>
            <a:ln w="19050">
              <a:noFill/>
              <a:miter lim="800000"/>
              <a:headEnd/>
              <a:tailEnd/>
            </a:ln>
            <a:effectLst/>
          </p:spPr>
          <p:txBody>
            <a:bodyPr vert="horz" wrap="none" lIns="35995" tIns="35995" rIns="35995" bIns="35995" numCol="1" anchor="ctr" anchorCtr="0" compatLnSpc="1">
              <a:prstTxWarp prst="textNoShape">
                <a:avLst/>
              </a:prstTxWarp>
              <a:spAutoFit/>
            </a:bodyPr>
            <a:lstStyle/>
            <a:p>
              <a:pPr marL="0" marR="0" lvl="0" indent="0" algn="r" defTabSz="1212626" rtl="0" eaLnBrk="1" fontAlgn="base" latinLnBrk="0" hangingPunct="1">
                <a:lnSpc>
                  <a:spcPct val="100000"/>
                </a:lnSpc>
                <a:spcBef>
                  <a:spcPct val="30000"/>
                </a:spcBef>
                <a:spcAft>
                  <a:spcPct val="20000"/>
                </a:spcAft>
                <a:buClr>
                  <a:srgbClr val="0F62FE"/>
                </a:buClr>
                <a:buSzTx/>
                <a:buFontTx/>
                <a:buNone/>
                <a:tabLst>
                  <a:tab pos="353683" algn="l"/>
                  <a:tab pos="837892" algn="l"/>
                  <a:tab pos="1301048" algn="l"/>
                </a:tabLst>
                <a:defRPr/>
              </a:pPr>
              <a:r>
                <a:rPr kumimoji="0" lang="en-US" sz="1194" b="1" i="0" u="none" strike="noStrike" kern="1200" cap="all" spc="0" normalizeH="0" baseline="0" noProof="0">
                  <a:ln>
                    <a:noFill/>
                  </a:ln>
                  <a:solidFill>
                    <a:srgbClr val="BA1C1B"/>
                  </a:solidFill>
                  <a:effectLst/>
                  <a:uLnTx/>
                  <a:uFillTx/>
                  <a:latin typeface="IBM Plex Sans Light"/>
                  <a:ea typeface="+mn-ea"/>
                  <a:cs typeface="Arial" pitchFamily="34" charset="0"/>
                </a:rPr>
                <a:t>PRELIMINARY</a:t>
              </a:r>
              <a:endParaRPr kumimoji="0" lang="en-US" sz="1459" b="1" i="0" u="none" strike="noStrike" kern="1200" cap="all" spc="0" normalizeH="0" baseline="0" noProof="0">
                <a:ln>
                  <a:noFill/>
                </a:ln>
                <a:solidFill>
                  <a:srgbClr val="BA1C1B"/>
                </a:solidFill>
                <a:effectLst/>
                <a:uLnTx/>
                <a:uFillTx/>
                <a:latin typeface="IBM Plex Sans Light"/>
                <a:ea typeface="+mn-ea"/>
                <a:cs typeface="Arial" pitchFamily="34" charset="0"/>
              </a:endParaRPr>
            </a:p>
          </p:txBody>
        </p:sp>
        <p:cxnSp>
          <p:nvCxnSpPr>
            <p:cNvPr id="13" name="Gerade Verbindung 13">
              <a:extLst>
                <a:ext uri="{FF2B5EF4-FFF2-40B4-BE49-F238E27FC236}">
                  <a16:creationId xmlns:a16="http://schemas.microsoft.com/office/drawing/2014/main" id="{8871699B-2664-C0D8-D0AC-ADE92125701A}"/>
                </a:ext>
              </a:extLst>
            </p:cNvPr>
            <p:cNvCxnSpPr>
              <a:stCxn id="12" idx="6"/>
              <a:endCxn id="12" idx="4"/>
            </p:cNvCxnSpPr>
            <p:nvPr/>
          </p:nvCxnSpPr>
          <p:spPr>
            <a:xfrm>
              <a:off x="5267784" y="2887909"/>
              <a:ext cx="822498" cy="0"/>
            </a:xfrm>
            <a:prstGeom prst="line">
              <a:avLst/>
            </a:prstGeom>
            <a:ln w="9525" cap="flat" cmpd="sng" algn="ctr">
              <a:solidFill>
                <a:srgbClr val="BA1C1B"/>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9" name="Footer Placeholder 3">
            <a:extLst>
              <a:ext uri="{FF2B5EF4-FFF2-40B4-BE49-F238E27FC236}">
                <a16:creationId xmlns:a16="http://schemas.microsoft.com/office/drawing/2014/main" id="{B72DA162-C953-874D-F982-09F889D0E7D3}"/>
              </a:ext>
            </a:extLst>
          </p:cNvPr>
          <p:cNvSpPr>
            <a:spLocks noGrp="1"/>
          </p:cNvSpPr>
          <p:nvPr>
            <p:ph type="ftr" sz="quarter" idx="23"/>
          </p:nvPr>
        </p:nvSpPr>
        <p:spPr>
          <a:xfrm>
            <a:off x="284125" y="6520684"/>
            <a:ext cx="2477766" cy="190500"/>
          </a:xfrm>
        </p:spPr>
        <p:txBody>
          <a:bodyPr/>
          <a:lstStyle/>
          <a:p>
            <a:r>
              <a:rPr lang="en-US"/>
              <a:t>Sources (as needed)</a:t>
            </a:r>
          </a:p>
        </p:txBody>
      </p:sp>
      <p:sp>
        <p:nvSpPr>
          <p:cNvPr id="4" name="Footer Placeholder 4">
            <a:extLst>
              <a:ext uri="{FF2B5EF4-FFF2-40B4-BE49-F238E27FC236}">
                <a16:creationId xmlns:a16="http://schemas.microsoft.com/office/drawing/2014/main" id="{83395F3D-36BD-1F9E-DC56-80E48F37A3C2}"/>
              </a:ext>
            </a:extLst>
          </p:cNvPr>
          <p:cNvSpPr txBox="1">
            <a:spLocks/>
          </p:cNvSpPr>
          <p:nvPr userDrawn="1"/>
        </p:nvSpPr>
        <p:spPr>
          <a:xfrm>
            <a:off x="10553143" y="6520685"/>
            <a:ext cx="1183118" cy="190500"/>
          </a:xfrm>
          <a:prstGeom prst="rect">
            <a:avLst/>
          </a:prstGeom>
        </p:spPr>
        <p:txBody>
          <a:bodyPr vert="horz" lIns="0" tIns="0" rIns="0" bIns="0" rtlCol="0" anchor="b"/>
          <a:lstStyle>
            <a:defPPr>
              <a:defRPr lang="en-US"/>
            </a:defPPr>
            <a:lvl1pPr marL="0" algn="l" defTabSz="685834" rtl="0" eaLnBrk="1" latinLnBrk="0" hangingPunct="1">
              <a:defRPr sz="600" b="0" i="0" kern="1200">
                <a:solidFill>
                  <a:schemeClr val="tx1"/>
                </a:solidFill>
                <a:latin typeface="IBM Plex Sans" panose="020B0503050203000203" pitchFamily="34" charset="0"/>
                <a:ea typeface="+mn-ea"/>
                <a:cs typeface="+mn-cs"/>
              </a:defRPr>
            </a:lvl1pPr>
            <a:lvl2pPr marL="342917" algn="l" defTabSz="685834" rtl="0" eaLnBrk="1" latinLnBrk="0" hangingPunct="1">
              <a:defRPr sz="1350" kern="1200">
                <a:solidFill>
                  <a:schemeClr val="tx1"/>
                </a:solidFill>
                <a:latin typeface="+mn-lt"/>
                <a:ea typeface="+mn-ea"/>
                <a:cs typeface="+mn-cs"/>
              </a:defRPr>
            </a:lvl2pPr>
            <a:lvl3pPr marL="685834" algn="l" defTabSz="685834" rtl="0" eaLnBrk="1" latinLnBrk="0" hangingPunct="1">
              <a:defRPr sz="1350" kern="1200">
                <a:solidFill>
                  <a:schemeClr val="tx1"/>
                </a:solidFill>
                <a:latin typeface="+mn-lt"/>
                <a:ea typeface="+mn-ea"/>
                <a:cs typeface="+mn-cs"/>
              </a:defRPr>
            </a:lvl3pPr>
            <a:lvl4pPr marL="1028751" algn="l" defTabSz="685834" rtl="0" eaLnBrk="1" latinLnBrk="0" hangingPunct="1">
              <a:defRPr sz="1350" kern="1200">
                <a:solidFill>
                  <a:schemeClr val="tx1"/>
                </a:solidFill>
                <a:latin typeface="+mn-lt"/>
                <a:ea typeface="+mn-ea"/>
                <a:cs typeface="+mn-cs"/>
              </a:defRPr>
            </a:lvl4pPr>
            <a:lvl5pPr marL="1371669" algn="l" defTabSz="685834" rtl="0" eaLnBrk="1" latinLnBrk="0" hangingPunct="1">
              <a:defRPr sz="1350" kern="1200">
                <a:solidFill>
                  <a:schemeClr val="tx1"/>
                </a:solidFill>
                <a:latin typeface="+mn-lt"/>
                <a:ea typeface="+mn-ea"/>
                <a:cs typeface="+mn-cs"/>
              </a:defRPr>
            </a:lvl5pPr>
            <a:lvl6pPr marL="1714585" algn="l" defTabSz="685834" rtl="0" eaLnBrk="1" latinLnBrk="0" hangingPunct="1">
              <a:defRPr sz="1350" kern="1200">
                <a:solidFill>
                  <a:schemeClr val="tx1"/>
                </a:solidFill>
                <a:latin typeface="+mn-lt"/>
                <a:ea typeface="+mn-ea"/>
                <a:cs typeface="+mn-cs"/>
              </a:defRPr>
            </a:lvl6pPr>
            <a:lvl7pPr marL="2057503" algn="l" defTabSz="685834" rtl="0" eaLnBrk="1" latinLnBrk="0" hangingPunct="1">
              <a:defRPr sz="1350" kern="1200">
                <a:solidFill>
                  <a:schemeClr val="tx1"/>
                </a:solidFill>
                <a:latin typeface="+mn-lt"/>
                <a:ea typeface="+mn-ea"/>
                <a:cs typeface="+mn-cs"/>
              </a:defRPr>
            </a:lvl7pPr>
            <a:lvl8pPr marL="2400420" algn="l" defTabSz="685834" rtl="0" eaLnBrk="1" latinLnBrk="0" hangingPunct="1">
              <a:defRPr sz="1350" kern="1200">
                <a:solidFill>
                  <a:schemeClr val="tx1"/>
                </a:solidFill>
                <a:latin typeface="+mn-lt"/>
                <a:ea typeface="+mn-ea"/>
                <a:cs typeface="+mn-cs"/>
              </a:defRPr>
            </a:lvl8pPr>
            <a:lvl9pPr marL="2743337" algn="l" defTabSz="685834" rtl="0" eaLnBrk="1" latinLnBrk="0" hangingPunct="1">
              <a:defRPr sz="1350" kern="1200">
                <a:solidFill>
                  <a:schemeClr val="tx1"/>
                </a:solidFill>
                <a:latin typeface="+mn-lt"/>
                <a:ea typeface="+mn-ea"/>
                <a:cs typeface="+mn-cs"/>
              </a:defRPr>
            </a:lvl9pPr>
          </a:lstStyle>
          <a:p>
            <a:pPr defTabSz="1213010">
              <a:defRPr/>
            </a:pPr>
            <a:r>
              <a:rPr lang="en-US" sz="798">
                <a:solidFill>
                  <a:srgbClr val="000000"/>
                </a:solidFill>
                <a:cs typeface="Arial" pitchFamily="34" charset="0"/>
              </a:rPr>
              <a:t>IBM Strictly Confidential |</a:t>
            </a:r>
          </a:p>
        </p:txBody>
      </p:sp>
      <p:sp>
        <p:nvSpPr>
          <p:cNvPr id="7" name="Footer Placeholder 4">
            <a:extLst>
              <a:ext uri="{FF2B5EF4-FFF2-40B4-BE49-F238E27FC236}">
                <a16:creationId xmlns:a16="http://schemas.microsoft.com/office/drawing/2014/main" id="{3150D6EE-DD9D-BCAB-5BFE-2CD7AB633F00}"/>
              </a:ext>
            </a:extLst>
          </p:cNvPr>
          <p:cNvSpPr txBox="1">
            <a:spLocks/>
          </p:cNvSpPr>
          <p:nvPr userDrawn="1"/>
        </p:nvSpPr>
        <p:spPr>
          <a:xfrm>
            <a:off x="11736262" y="6588476"/>
            <a:ext cx="244587" cy="122713"/>
          </a:xfrm>
          <a:prstGeom prst="rect">
            <a:avLst/>
          </a:prstGeom>
        </p:spPr>
        <p:txBody>
          <a:bodyPr vert="horz" lIns="0" tIns="0" rIns="0" bIns="0" rtlCol="0" anchor="b"/>
          <a:lstStyle>
            <a:defPPr>
              <a:defRPr lang="en-US"/>
            </a:defPPr>
            <a:lvl1pPr marL="0" algn="l" defTabSz="685834" rtl="0" eaLnBrk="1" latinLnBrk="0" hangingPunct="1">
              <a:defRPr sz="600" b="0" i="0" kern="1200">
                <a:solidFill>
                  <a:schemeClr val="tx1"/>
                </a:solidFill>
                <a:latin typeface="IBM Plex Sans" panose="020B0503050203000203" pitchFamily="34" charset="0"/>
                <a:ea typeface="+mn-ea"/>
                <a:cs typeface="+mn-cs"/>
              </a:defRPr>
            </a:lvl1pPr>
            <a:lvl2pPr marL="342917" algn="l" defTabSz="685834" rtl="0" eaLnBrk="1" latinLnBrk="0" hangingPunct="1">
              <a:defRPr sz="1350" kern="1200">
                <a:solidFill>
                  <a:schemeClr val="tx1"/>
                </a:solidFill>
                <a:latin typeface="+mn-lt"/>
                <a:ea typeface="+mn-ea"/>
                <a:cs typeface="+mn-cs"/>
              </a:defRPr>
            </a:lvl2pPr>
            <a:lvl3pPr marL="685834" algn="l" defTabSz="685834" rtl="0" eaLnBrk="1" latinLnBrk="0" hangingPunct="1">
              <a:defRPr sz="1350" kern="1200">
                <a:solidFill>
                  <a:schemeClr val="tx1"/>
                </a:solidFill>
                <a:latin typeface="+mn-lt"/>
                <a:ea typeface="+mn-ea"/>
                <a:cs typeface="+mn-cs"/>
              </a:defRPr>
            </a:lvl3pPr>
            <a:lvl4pPr marL="1028751" algn="l" defTabSz="685834" rtl="0" eaLnBrk="1" latinLnBrk="0" hangingPunct="1">
              <a:defRPr sz="1350" kern="1200">
                <a:solidFill>
                  <a:schemeClr val="tx1"/>
                </a:solidFill>
                <a:latin typeface="+mn-lt"/>
                <a:ea typeface="+mn-ea"/>
                <a:cs typeface="+mn-cs"/>
              </a:defRPr>
            </a:lvl4pPr>
            <a:lvl5pPr marL="1371669" algn="l" defTabSz="685834" rtl="0" eaLnBrk="1" latinLnBrk="0" hangingPunct="1">
              <a:defRPr sz="1350" kern="1200">
                <a:solidFill>
                  <a:schemeClr val="tx1"/>
                </a:solidFill>
                <a:latin typeface="+mn-lt"/>
                <a:ea typeface="+mn-ea"/>
                <a:cs typeface="+mn-cs"/>
              </a:defRPr>
            </a:lvl5pPr>
            <a:lvl6pPr marL="1714585" algn="l" defTabSz="685834" rtl="0" eaLnBrk="1" latinLnBrk="0" hangingPunct="1">
              <a:defRPr sz="1350" kern="1200">
                <a:solidFill>
                  <a:schemeClr val="tx1"/>
                </a:solidFill>
                <a:latin typeface="+mn-lt"/>
                <a:ea typeface="+mn-ea"/>
                <a:cs typeface="+mn-cs"/>
              </a:defRPr>
            </a:lvl6pPr>
            <a:lvl7pPr marL="2057503" algn="l" defTabSz="685834" rtl="0" eaLnBrk="1" latinLnBrk="0" hangingPunct="1">
              <a:defRPr sz="1350" kern="1200">
                <a:solidFill>
                  <a:schemeClr val="tx1"/>
                </a:solidFill>
                <a:latin typeface="+mn-lt"/>
                <a:ea typeface="+mn-ea"/>
                <a:cs typeface="+mn-cs"/>
              </a:defRPr>
            </a:lvl7pPr>
            <a:lvl8pPr marL="2400420" algn="l" defTabSz="685834" rtl="0" eaLnBrk="1" latinLnBrk="0" hangingPunct="1">
              <a:defRPr sz="1350" kern="1200">
                <a:solidFill>
                  <a:schemeClr val="tx1"/>
                </a:solidFill>
                <a:latin typeface="+mn-lt"/>
                <a:ea typeface="+mn-ea"/>
                <a:cs typeface="+mn-cs"/>
              </a:defRPr>
            </a:lvl8pPr>
            <a:lvl9pPr marL="2743337" algn="l" defTabSz="685834" rtl="0" eaLnBrk="1" latinLnBrk="0" hangingPunct="1">
              <a:defRPr sz="1350" kern="1200">
                <a:solidFill>
                  <a:schemeClr val="tx1"/>
                </a:solidFill>
                <a:latin typeface="+mn-lt"/>
                <a:ea typeface="+mn-ea"/>
                <a:cs typeface="+mn-cs"/>
              </a:defRPr>
            </a:lvl9pPr>
          </a:lstStyle>
          <a:p>
            <a:pPr algn="ctr" defTabSz="1213010">
              <a:defRPr/>
            </a:pPr>
            <a:fld id="{86CB4B4D-7CA3-9044-876B-883B54F8677D}" type="slidenum">
              <a:rPr lang="en-US" sz="798" smtClean="0"/>
              <a:pPr algn="ctr" defTabSz="1213010">
                <a:defRPr/>
              </a:pPr>
              <a:t>‹#›</a:t>
            </a:fld>
            <a:endParaRPr lang="en-US" sz="929">
              <a:solidFill>
                <a:srgbClr val="000000"/>
              </a:solidFill>
              <a:cs typeface="Arial" pitchFamily="34" charset="0"/>
            </a:endParaRPr>
          </a:p>
        </p:txBody>
      </p:sp>
      <p:sp>
        <p:nvSpPr>
          <p:cNvPr id="8" name="Title 1">
            <a:extLst>
              <a:ext uri="{FF2B5EF4-FFF2-40B4-BE49-F238E27FC236}">
                <a16:creationId xmlns:a16="http://schemas.microsoft.com/office/drawing/2014/main" id="{AFB58B38-6997-8C5C-16F2-84E10B16CDB1}"/>
              </a:ext>
            </a:extLst>
          </p:cNvPr>
          <p:cNvSpPr>
            <a:spLocks noGrp="1"/>
          </p:cNvSpPr>
          <p:nvPr>
            <p:ph type="title"/>
          </p:nvPr>
        </p:nvSpPr>
        <p:spPr>
          <a:xfrm>
            <a:off x="411301" y="306381"/>
            <a:ext cx="10396852" cy="366884"/>
          </a:xfrm>
          <a:prstGeom prst="rect">
            <a:avLst/>
          </a:prstGeom>
        </p:spPr>
        <p:txBody>
          <a:bodyPr vert="horz"/>
          <a:lstStyle>
            <a:lvl1pPr>
              <a:lnSpc>
                <a:spcPct val="110000"/>
              </a:lnSpc>
              <a:defRPr sz="2394">
                <a:solidFill>
                  <a:schemeClr val="accent1"/>
                </a:solidFill>
              </a:defRPr>
            </a:lvl1pPr>
          </a:lstStyle>
          <a:p>
            <a:r>
              <a:rPr lang="en-US"/>
              <a:t>Click to edit Master title style</a:t>
            </a:r>
          </a:p>
        </p:txBody>
      </p:sp>
      <p:sp>
        <p:nvSpPr>
          <p:cNvPr id="15" name="Text Placeholder 4">
            <a:extLst>
              <a:ext uri="{FF2B5EF4-FFF2-40B4-BE49-F238E27FC236}">
                <a16:creationId xmlns:a16="http://schemas.microsoft.com/office/drawing/2014/main" id="{A53795DC-C2A1-39A9-E09B-17429E2A7CE4}"/>
              </a:ext>
            </a:extLst>
          </p:cNvPr>
          <p:cNvSpPr>
            <a:spLocks noGrp="1"/>
          </p:cNvSpPr>
          <p:nvPr>
            <p:ph type="body" sz="quarter" idx="16"/>
          </p:nvPr>
        </p:nvSpPr>
        <p:spPr>
          <a:xfrm>
            <a:off x="411300" y="704177"/>
            <a:ext cx="11350220" cy="300557"/>
          </a:xfrm>
          <a:prstGeom prst="rect">
            <a:avLst/>
          </a:prstGeom>
        </p:spPr>
        <p:txBody>
          <a:bodyPr/>
          <a:lstStyle>
            <a:lvl1pPr>
              <a:lnSpc>
                <a:spcPct val="110000"/>
              </a:lnSpc>
              <a:spcBef>
                <a:spcPts val="0"/>
              </a:spcBef>
              <a:defRPr sz="1995">
                <a:solidFill>
                  <a:schemeClr val="tx1"/>
                </a:solidFill>
                <a:latin typeface="+mj-lt"/>
              </a:defRPr>
            </a:lvl1pPr>
            <a:lvl2pPr>
              <a:lnSpc>
                <a:spcPct val="110000"/>
              </a:lnSpc>
              <a:spcBef>
                <a:spcPts val="0"/>
              </a:spcBef>
              <a:defRPr sz="1857">
                <a:solidFill>
                  <a:schemeClr val="tx1"/>
                </a:solidFill>
              </a:defRPr>
            </a:lvl2pPr>
            <a:lvl3pPr>
              <a:lnSpc>
                <a:spcPct val="110000"/>
              </a:lnSpc>
              <a:spcBef>
                <a:spcPts val="0"/>
              </a:spcBef>
              <a:defRPr sz="1659">
                <a:solidFill>
                  <a:schemeClr val="tx1"/>
                </a:solidFill>
              </a:defRPr>
            </a:lvl3pPr>
            <a:lvl4pPr>
              <a:lnSpc>
                <a:spcPct val="110000"/>
              </a:lnSpc>
              <a:spcBef>
                <a:spcPts val="0"/>
              </a:spcBef>
              <a:defRPr sz="1394">
                <a:solidFill>
                  <a:schemeClr val="tx1"/>
                </a:solidFill>
              </a:defRPr>
            </a:lvl4pPr>
            <a:lvl5pPr>
              <a:lnSpc>
                <a:spcPct val="110000"/>
              </a:lnSpc>
              <a:spcBef>
                <a:spcPts val="0"/>
              </a:spcBef>
              <a:defRPr>
                <a:solidFill>
                  <a:schemeClr val="tx1"/>
                </a:solidFill>
              </a:defRPr>
            </a:lvl5pPr>
          </a:lstStyle>
          <a:p>
            <a:pPr lvl="0"/>
            <a:r>
              <a:rPr lang="en-US"/>
              <a:t>Click to edit Master text styles</a:t>
            </a:r>
          </a:p>
        </p:txBody>
      </p:sp>
      <p:sp>
        <p:nvSpPr>
          <p:cNvPr id="2" name="Text Placeholder 4">
            <a:extLst>
              <a:ext uri="{FF2B5EF4-FFF2-40B4-BE49-F238E27FC236}">
                <a16:creationId xmlns:a16="http://schemas.microsoft.com/office/drawing/2014/main" id="{8507E7B4-0107-AFBD-AF34-1ACABF198802}"/>
              </a:ext>
            </a:extLst>
          </p:cNvPr>
          <p:cNvSpPr>
            <a:spLocks noGrp="1"/>
          </p:cNvSpPr>
          <p:nvPr>
            <p:ph type="body" sz="quarter" idx="19" hasCustomPrompt="1"/>
          </p:nvPr>
        </p:nvSpPr>
        <p:spPr>
          <a:xfrm>
            <a:off x="925657" y="5599293"/>
            <a:ext cx="10340693" cy="790873"/>
          </a:xfrm>
          <a:prstGeom prst="rect">
            <a:avLst/>
          </a:prstGeom>
          <a:ln w="9525">
            <a:solidFill>
              <a:schemeClr val="accent5"/>
            </a:solidFill>
          </a:ln>
        </p:spPr>
        <p:txBody>
          <a:bodyPr anchor="ctr"/>
          <a:lstStyle>
            <a:lvl1pPr algn="ctr">
              <a:lnSpc>
                <a:spcPct val="110000"/>
              </a:lnSpc>
              <a:spcBef>
                <a:spcPts val="0"/>
              </a:spcBef>
              <a:defRPr sz="1592" b="0">
                <a:solidFill>
                  <a:schemeClr val="accent5"/>
                </a:solidFill>
                <a:latin typeface="+mn-lt"/>
              </a:defRPr>
            </a:lvl1pPr>
            <a:lvl2pPr marL="163738" indent="-163738">
              <a:lnSpc>
                <a:spcPct val="110000"/>
              </a:lnSpc>
              <a:spcBef>
                <a:spcPts val="0"/>
              </a:spcBef>
              <a:buFont typeface="Arial" panose="020B0604020202020204" pitchFamily="34" charset="0"/>
              <a:buChar char="•"/>
              <a:defRPr sz="1857">
                <a:solidFill>
                  <a:schemeClr val="tx1"/>
                </a:solidFill>
                <a:latin typeface="IBM Plex Sans" panose="020B0503050203000203" pitchFamily="34" charset="0"/>
              </a:defRPr>
            </a:lvl2pPr>
            <a:lvl3pPr>
              <a:lnSpc>
                <a:spcPct val="110000"/>
              </a:lnSpc>
              <a:spcBef>
                <a:spcPts val="0"/>
              </a:spcBef>
              <a:defRPr sz="1659">
                <a:solidFill>
                  <a:schemeClr val="tx1"/>
                </a:solidFill>
                <a:latin typeface="IBM Plex Sans" panose="020B0503050203000203" pitchFamily="34" charset="0"/>
              </a:defRPr>
            </a:lvl3pPr>
            <a:lvl4pPr>
              <a:lnSpc>
                <a:spcPct val="110000"/>
              </a:lnSpc>
              <a:spcBef>
                <a:spcPts val="0"/>
              </a:spcBef>
              <a:defRPr sz="1394">
                <a:solidFill>
                  <a:schemeClr val="tx1"/>
                </a:solidFill>
                <a:latin typeface="IBM Plex Sans" panose="020B0503050203000203" pitchFamily="34" charset="0"/>
              </a:defRPr>
            </a:lvl4pPr>
            <a:lvl5pPr>
              <a:lnSpc>
                <a:spcPct val="110000"/>
              </a:lnSpc>
              <a:spcBef>
                <a:spcPts val="0"/>
              </a:spcBef>
              <a:defRPr>
                <a:solidFill>
                  <a:schemeClr val="tx1"/>
                </a:solidFill>
              </a:defRPr>
            </a:lvl5pPr>
          </a:lstStyle>
          <a:p>
            <a:pPr lvl="0"/>
            <a:r>
              <a:rPr lang="en-US"/>
              <a:t>SO WHAT (optional): insert punchline of the slide here</a:t>
            </a:r>
          </a:p>
        </p:txBody>
      </p:sp>
    </p:spTree>
    <p:extLst>
      <p:ext uri="{BB962C8B-B14F-4D97-AF65-F5344CB8AC3E}">
        <p14:creationId xmlns:p14="http://schemas.microsoft.com/office/powerpoint/2010/main" val="4211659261"/>
      </p:ext>
    </p:extLst>
  </p:cSld>
  <p:clrMapOvr>
    <a:masterClrMapping/>
  </p:clrMapOvr>
  <p:transition spd="med"/>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8" name="Text Placeholder 5">
            <a:extLst>
              <a:ext uri="{FF2B5EF4-FFF2-40B4-BE49-F238E27FC236}">
                <a16:creationId xmlns:a16="http://schemas.microsoft.com/office/drawing/2014/main" id="{03F79CF1-BB23-64AA-9C92-5A1EAE747F93}"/>
              </a:ext>
            </a:extLst>
          </p:cNvPr>
          <p:cNvSpPr>
            <a:spLocks noGrp="1"/>
          </p:cNvSpPr>
          <p:nvPr>
            <p:ph type="body" sz="quarter" idx="13" hasCustomPrompt="1"/>
          </p:nvPr>
        </p:nvSpPr>
        <p:spPr>
          <a:xfrm>
            <a:off x="262697" y="3429000"/>
            <a:ext cx="5050131" cy="1451113"/>
          </a:xfrm>
        </p:spPr>
        <p:txBody>
          <a:bodyPr/>
          <a:lstStyle>
            <a:lvl1pPr>
              <a:defRPr/>
            </a:lvl1pPr>
          </a:lstStyle>
          <a:p>
            <a:r>
              <a:rPr lang="en-US"/>
              <a:t>Session code (ID number)</a:t>
            </a:r>
            <a:br>
              <a:rPr lang="en-US"/>
            </a:br>
            <a:r>
              <a:rPr lang="en-US"/>
              <a:t>Session Title</a:t>
            </a:r>
            <a:br>
              <a:rPr lang="en-US"/>
            </a:br>
            <a:r>
              <a:rPr lang="en-US" err="1"/>
              <a:t>Firstname</a:t>
            </a:r>
            <a:r>
              <a:rPr lang="en-US"/>
              <a:t> </a:t>
            </a:r>
            <a:r>
              <a:rPr lang="en-US" err="1"/>
              <a:t>Lastname</a:t>
            </a:r>
            <a:br>
              <a:rPr lang="en-US"/>
            </a:br>
            <a:r>
              <a:rPr lang="en-US"/>
              <a:t>Company, Job Title</a:t>
            </a:r>
          </a:p>
        </p:txBody>
      </p:sp>
      <p:sp>
        <p:nvSpPr>
          <p:cNvPr id="10" name="Title 1">
            <a:extLst>
              <a:ext uri="{FF2B5EF4-FFF2-40B4-BE49-F238E27FC236}">
                <a16:creationId xmlns:a16="http://schemas.microsoft.com/office/drawing/2014/main" id="{C20F0B5B-6B52-3139-61A7-7B7287D7127D}"/>
              </a:ext>
            </a:extLst>
          </p:cNvPr>
          <p:cNvSpPr>
            <a:spLocks noGrp="1"/>
          </p:cNvSpPr>
          <p:nvPr>
            <p:ph type="title"/>
          </p:nvPr>
        </p:nvSpPr>
        <p:spPr>
          <a:xfrm>
            <a:off x="262950" y="1093032"/>
            <a:ext cx="5049878" cy="2070856"/>
          </a:xfrm>
        </p:spPr>
        <p:txBody>
          <a:bodyPr/>
          <a:lstStyle>
            <a:lvl1pPr>
              <a:lnSpc>
                <a:spcPct val="100000"/>
              </a:lnSpc>
              <a:defRPr sz="3199">
                <a:solidFill>
                  <a:schemeClr val="tx2"/>
                </a:solidFill>
              </a:defRPr>
            </a:lvl1pPr>
          </a:lstStyle>
          <a:p>
            <a:r>
              <a:rPr lang="en-US"/>
              <a:t>Click to edit Master title style</a:t>
            </a:r>
          </a:p>
        </p:txBody>
      </p:sp>
      <p:grpSp>
        <p:nvGrpSpPr>
          <p:cNvPr id="26" name="Graphic 5">
            <a:extLst>
              <a:ext uri="{FF2B5EF4-FFF2-40B4-BE49-F238E27FC236}">
                <a16:creationId xmlns:a16="http://schemas.microsoft.com/office/drawing/2014/main" id="{F1A637DE-FA28-1BBA-ED19-561BF47FC9AA}"/>
              </a:ext>
            </a:extLst>
          </p:cNvPr>
          <p:cNvGrpSpPr/>
          <p:nvPr userDrawn="1"/>
        </p:nvGrpSpPr>
        <p:grpSpPr>
          <a:xfrm>
            <a:off x="299134" y="288036"/>
            <a:ext cx="1878950" cy="218297"/>
            <a:chOff x="6597650" y="8572457"/>
            <a:chExt cx="11188016" cy="1299659"/>
          </a:xfrm>
          <a:solidFill>
            <a:srgbClr val="000000"/>
          </a:solidFill>
        </p:grpSpPr>
        <p:sp>
          <p:nvSpPr>
            <p:cNvPr id="27" name="Freeform: Shape 26">
              <a:extLst>
                <a:ext uri="{FF2B5EF4-FFF2-40B4-BE49-F238E27FC236}">
                  <a16:creationId xmlns:a16="http://schemas.microsoft.com/office/drawing/2014/main" id="{F5985145-6140-8167-8472-4F70B1B08F56}"/>
                </a:ext>
              </a:extLst>
            </p:cNvPr>
            <p:cNvSpPr/>
            <p:nvPr/>
          </p:nvSpPr>
          <p:spPr>
            <a:xfrm>
              <a:off x="11603037" y="8572457"/>
              <a:ext cx="633888" cy="1010097"/>
            </a:xfrm>
            <a:custGeom>
              <a:avLst/>
              <a:gdLst>
                <a:gd name="connsiteX0" fmla="*/ 95 w 633888"/>
                <a:gd name="connsiteY0" fmla="*/ 42 h 1010097"/>
                <a:gd name="connsiteX1" fmla="*/ 202502 w 633888"/>
                <a:gd name="connsiteY1" fmla="*/ 42 h 1010097"/>
                <a:gd name="connsiteX2" fmla="*/ 204216 w 633888"/>
                <a:gd name="connsiteY2" fmla="*/ 419904 h 1010097"/>
                <a:gd name="connsiteX3" fmla="*/ 276320 w 633888"/>
                <a:gd name="connsiteY3" fmla="*/ 318463 h 1010097"/>
                <a:gd name="connsiteX4" fmla="*/ 591884 w 633888"/>
                <a:gd name="connsiteY4" fmla="*/ 373899 h 1010097"/>
                <a:gd name="connsiteX5" fmla="*/ 633793 w 633888"/>
                <a:gd name="connsiteY5" fmla="*/ 562303 h 1010097"/>
                <a:gd name="connsiteX6" fmla="*/ 633889 w 633888"/>
                <a:gd name="connsiteY6" fmla="*/ 1010073 h 1010097"/>
                <a:gd name="connsiteX7" fmla="*/ 431482 w 633888"/>
                <a:gd name="connsiteY7" fmla="*/ 1010073 h 1010097"/>
                <a:gd name="connsiteX8" fmla="*/ 431102 w 633888"/>
                <a:gd name="connsiteY8" fmla="*/ 561827 h 1010097"/>
                <a:gd name="connsiteX9" fmla="*/ 376333 w 633888"/>
                <a:gd name="connsiteY9" fmla="*/ 448765 h 1010097"/>
                <a:gd name="connsiteX10" fmla="*/ 203454 w 633888"/>
                <a:gd name="connsiteY10" fmla="*/ 533538 h 1010097"/>
                <a:gd name="connsiteX11" fmla="*/ 202502 w 633888"/>
                <a:gd name="connsiteY11" fmla="*/ 1010073 h 1010097"/>
                <a:gd name="connsiteX12" fmla="*/ 0 w 633888"/>
                <a:gd name="connsiteY12" fmla="*/ 1009978 h 1010097"/>
                <a:gd name="connsiteX13" fmla="*/ 95 w 633888"/>
                <a:gd name="connsiteY13" fmla="*/ 42 h 101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3888" h="1010097">
                  <a:moveTo>
                    <a:pt x="95" y="42"/>
                  </a:moveTo>
                  <a:cubicBezTo>
                    <a:pt x="67533" y="-53"/>
                    <a:pt x="134969" y="42"/>
                    <a:pt x="202502" y="42"/>
                  </a:cubicBezTo>
                  <a:cubicBezTo>
                    <a:pt x="203549" y="139965"/>
                    <a:pt x="200311" y="280077"/>
                    <a:pt x="204216" y="419904"/>
                  </a:cubicBezTo>
                  <a:cubicBezTo>
                    <a:pt x="224504" y="383709"/>
                    <a:pt x="241364" y="343419"/>
                    <a:pt x="276320" y="318463"/>
                  </a:cubicBezTo>
                  <a:cubicBezTo>
                    <a:pt x="371284" y="247692"/>
                    <a:pt x="531781" y="265695"/>
                    <a:pt x="591884" y="373899"/>
                  </a:cubicBezTo>
                  <a:cubicBezTo>
                    <a:pt x="624840" y="430668"/>
                    <a:pt x="633413" y="497724"/>
                    <a:pt x="633793" y="562303"/>
                  </a:cubicBezTo>
                  <a:cubicBezTo>
                    <a:pt x="633984" y="711560"/>
                    <a:pt x="633793" y="860817"/>
                    <a:pt x="633889" y="1010073"/>
                  </a:cubicBezTo>
                  <a:lnTo>
                    <a:pt x="431482" y="1010073"/>
                  </a:lnTo>
                  <a:cubicBezTo>
                    <a:pt x="431197" y="860626"/>
                    <a:pt x="432054" y="711179"/>
                    <a:pt x="431102" y="561827"/>
                  </a:cubicBezTo>
                  <a:cubicBezTo>
                    <a:pt x="429959" y="519441"/>
                    <a:pt x="420624" y="466386"/>
                    <a:pt x="376333" y="448765"/>
                  </a:cubicBezTo>
                  <a:cubicBezTo>
                    <a:pt x="310801" y="425334"/>
                    <a:pt x="211836" y="455052"/>
                    <a:pt x="203454" y="533538"/>
                  </a:cubicBezTo>
                  <a:cubicBezTo>
                    <a:pt x="201168" y="692319"/>
                    <a:pt x="203168" y="851196"/>
                    <a:pt x="202502" y="1010073"/>
                  </a:cubicBezTo>
                  <a:cubicBezTo>
                    <a:pt x="134969" y="1010073"/>
                    <a:pt x="67533" y="1010169"/>
                    <a:pt x="0" y="1009978"/>
                  </a:cubicBezTo>
                  <a:cubicBezTo>
                    <a:pt x="191" y="673365"/>
                    <a:pt x="95" y="336656"/>
                    <a:pt x="95" y="42"/>
                  </a:cubicBezTo>
                  <a:close/>
                </a:path>
              </a:pathLst>
            </a:custGeom>
            <a:solidFill>
              <a:srgbClr val="000000"/>
            </a:solidFill>
            <a:ln w="9525" cap="flat">
              <a:noFill/>
              <a:prstDash val="solid"/>
              <a:miter/>
            </a:ln>
          </p:spPr>
          <p:txBody>
            <a:bodyPr rtlCol="0" anchor="ctr"/>
            <a:lstStyle/>
            <a:p>
              <a:endParaRPr lang="en-US" sz="900"/>
            </a:p>
          </p:txBody>
        </p:sp>
        <p:sp>
          <p:nvSpPr>
            <p:cNvPr id="28" name="Freeform: Shape 27">
              <a:extLst>
                <a:ext uri="{FF2B5EF4-FFF2-40B4-BE49-F238E27FC236}">
                  <a16:creationId xmlns:a16="http://schemas.microsoft.com/office/drawing/2014/main" id="{7D933579-F84C-4074-BCE8-A5F3C6A8C115}"/>
                </a:ext>
              </a:extLst>
            </p:cNvPr>
            <p:cNvSpPr/>
            <p:nvPr/>
          </p:nvSpPr>
          <p:spPr>
            <a:xfrm>
              <a:off x="14012576" y="8572457"/>
              <a:ext cx="634202" cy="1010164"/>
            </a:xfrm>
            <a:custGeom>
              <a:avLst/>
              <a:gdLst>
                <a:gd name="connsiteX0" fmla="*/ 381 w 634202"/>
                <a:gd name="connsiteY0" fmla="*/ 42 h 1010164"/>
                <a:gd name="connsiteX1" fmla="*/ 202788 w 634202"/>
                <a:gd name="connsiteY1" fmla="*/ 42 h 1010164"/>
                <a:gd name="connsiteX2" fmla="*/ 204502 w 634202"/>
                <a:gd name="connsiteY2" fmla="*/ 419904 h 1010164"/>
                <a:gd name="connsiteX3" fmla="*/ 271558 w 634202"/>
                <a:gd name="connsiteY3" fmla="*/ 322559 h 1010164"/>
                <a:gd name="connsiteX4" fmla="*/ 596265 w 634202"/>
                <a:gd name="connsiteY4" fmla="*/ 381233 h 1010164"/>
                <a:gd name="connsiteX5" fmla="*/ 634175 w 634202"/>
                <a:gd name="connsiteY5" fmla="*/ 562303 h 1010164"/>
                <a:gd name="connsiteX6" fmla="*/ 634175 w 634202"/>
                <a:gd name="connsiteY6" fmla="*/ 1010073 h 1010164"/>
                <a:gd name="connsiteX7" fmla="*/ 431768 w 634202"/>
                <a:gd name="connsiteY7" fmla="*/ 1010073 h 1010164"/>
                <a:gd name="connsiteX8" fmla="*/ 431388 w 634202"/>
                <a:gd name="connsiteY8" fmla="*/ 562303 h 1010164"/>
                <a:gd name="connsiteX9" fmla="*/ 376333 w 634202"/>
                <a:gd name="connsiteY9" fmla="*/ 448575 h 1010164"/>
                <a:gd name="connsiteX10" fmla="*/ 203835 w 634202"/>
                <a:gd name="connsiteY10" fmla="*/ 533347 h 1010164"/>
                <a:gd name="connsiteX11" fmla="*/ 202788 w 634202"/>
                <a:gd name="connsiteY11" fmla="*/ 1010073 h 1010164"/>
                <a:gd name="connsiteX12" fmla="*/ 0 w 634202"/>
                <a:gd name="connsiteY12" fmla="*/ 1009597 h 1010164"/>
                <a:gd name="connsiteX13" fmla="*/ 381 w 634202"/>
                <a:gd name="connsiteY13" fmla="*/ 42 h 1010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4202" h="1010164">
                  <a:moveTo>
                    <a:pt x="381" y="42"/>
                  </a:moveTo>
                  <a:cubicBezTo>
                    <a:pt x="67819" y="-53"/>
                    <a:pt x="135255" y="42"/>
                    <a:pt x="202788" y="42"/>
                  </a:cubicBezTo>
                  <a:cubicBezTo>
                    <a:pt x="203835" y="139965"/>
                    <a:pt x="200597" y="280077"/>
                    <a:pt x="204502" y="419904"/>
                  </a:cubicBezTo>
                  <a:cubicBezTo>
                    <a:pt x="223933" y="385710"/>
                    <a:pt x="239363" y="347419"/>
                    <a:pt x="271558" y="322559"/>
                  </a:cubicBezTo>
                  <a:cubicBezTo>
                    <a:pt x="367856" y="244644"/>
                    <a:pt x="538544" y="265314"/>
                    <a:pt x="596265" y="381233"/>
                  </a:cubicBezTo>
                  <a:cubicBezTo>
                    <a:pt x="625888" y="436573"/>
                    <a:pt x="633794" y="500391"/>
                    <a:pt x="634175" y="562303"/>
                  </a:cubicBezTo>
                  <a:cubicBezTo>
                    <a:pt x="634270" y="711560"/>
                    <a:pt x="634079" y="860817"/>
                    <a:pt x="634175" y="1010073"/>
                  </a:cubicBezTo>
                  <a:lnTo>
                    <a:pt x="431768" y="1010073"/>
                  </a:lnTo>
                  <a:cubicBezTo>
                    <a:pt x="431483" y="860817"/>
                    <a:pt x="432245" y="711560"/>
                    <a:pt x="431388" y="562303"/>
                  </a:cubicBezTo>
                  <a:cubicBezTo>
                    <a:pt x="430340" y="519822"/>
                    <a:pt x="421005" y="466101"/>
                    <a:pt x="376333" y="448575"/>
                  </a:cubicBezTo>
                  <a:cubicBezTo>
                    <a:pt x="310801" y="425524"/>
                    <a:pt x="212408" y="455147"/>
                    <a:pt x="203835" y="533347"/>
                  </a:cubicBezTo>
                  <a:cubicBezTo>
                    <a:pt x="201359" y="692129"/>
                    <a:pt x="203454" y="851101"/>
                    <a:pt x="202788" y="1010073"/>
                  </a:cubicBezTo>
                  <a:cubicBezTo>
                    <a:pt x="135160" y="1009883"/>
                    <a:pt x="67533" y="1010645"/>
                    <a:pt x="0" y="1009597"/>
                  </a:cubicBezTo>
                  <a:cubicBezTo>
                    <a:pt x="858" y="673079"/>
                    <a:pt x="95" y="336561"/>
                    <a:pt x="381" y="42"/>
                  </a:cubicBezTo>
                  <a:close/>
                </a:path>
              </a:pathLst>
            </a:custGeom>
            <a:solidFill>
              <a:srgbClr val="000000"/>
            </a:solidFill>
            <a:ln w="9525" cap="flat">
              <a:noFill/>
              <a:prstDash val="solid"/>
              <a:miter/>
            </a:ln>
          </p:spPr>
          <p:txBody>
            <a:bodyPr rtlCol="0" anchor="ctr"/>
            <a:lstStyle/>
            <a:p>
              <a:endParaRPr lang="en-US" sz="900"/>
            </a:p>
          </p:txBody>
        </p:sp>
        <p:sp>
          <p:nvSpPr>
            <p:cNvPr id="29" name="Freeform: Shape 28">
              <a:extLst>
                <a:ext uri="{FF2B5EF4-FFF2-40B4-BE49-F238E27FC236}">
                  <a16:creationId xmlns:a16="http://schemas.microsoft.com/office/drawing/2014/main" id="{EB61EFE4-D8E6-B1E2-379D-12B26CE8F152}"/>
                </a:ext>
              </a:extLst>
            </p:cNvPr>
            <p:cNvSpPr/>
            <p:nvPr/>
          </p:nvSpPr>
          <p:spPr>
            <a:xfrm>
              <a:off x="6597650" y="8630030"/>
              <a:ext cx="382566" cy="952500"/>
            </a:xfrm>
            <a:custGeom>
              <a:avLst/>
              <a:gdLst>
                <a:gd name="connsiteX0" fmla="*/ 0 w 382566"/>
                <a:gd name="connsiteY0" fmla="*/ 0 h 952500"/>
                <a:gd name="connsiteX1" fmla="*/ 382524 w 382566"/>
                <a:gd name="connsiteY1" fmla="*/ 0 h 952500"/>
                <a:gd name="connsiteX2" fmla="*/ 382524 w 382566"/>
                <a:gd name="connsiteY2" fmla="*/ 95631 h 952500"/>
                <a:gd name="connsiteX3" fmla="*/ 248793 w 382566"/>
                <a:gd name="connsiteY3" fmla="*/ 95631 h 952500"/>
                <a:gd name="connsiteX4" fmla="*/ 248793 w 382566"/>
                <a:gd name="connsiteY4" fmla="*/ 856869 h 952500"/>
                <a:gd name="connsiteX5" fmla="*/ 382524 w 382566"/>
                <a:gd name="connsiteY5" fmla="*/ 856869 h 952500"/>
                <a:gd name="connsiteX6" fmla="*/ 382524 w 382566"/>
                <a:gd name="connsiteY6" fmla="*/ 952500 h 952500"/>
                <a:gd name="connsiteX7" fmla="*/ 0 w 382566"/>
                <a:gd name="connsiteY7" fmla="*/ 952500 h 952500"/>
                <a:gd name="connsiteX8" fmla="*/ 0 w 382566"/>
                <a:gd name="connsiteY8" fmla="*/ 856869 h 952500"/>
                <a:gd name="connsiteX9" fmla="*/ 133731 w 382566"/>
                <a:gd name="connsiteY9" fmla="*/ 856869 h 952500"/>
                <a:gd name="connsiteX10" fmla="*/ 133731 w 382566"/>
                <a:gd name="connsiteY10" fmla="*/ 95631 h 952500"/>
                <a:gd name="connsiteX11" fmla="*/ 0 w 382566"/>
                <a:gd name="connsiteY11" fmla="*/ 95631 h 952500"/>
                <a:gd name="connsiteX12" fmla="*/ 0 w 382566"/>
                <a:gd name="connsiteY12" fmla="*/ 0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2566" h="952500">
                  <a:moveTo>
                    <a:pt x="0" y="0"/>
                  </a:moveTo>
                  <a:lnTo>
                    <a:pt x="382524" y="0"/>
                  </a:lnTo>
                  <a:lnTo>
                    <a:pt x="382524" y="95631"/>
                  </a:lnTo>
                  <a:lnTo>
                    <a:pt x="248793" y="95631"/>
                  </a:lnTo>
                  <a:lnTo>
                    <a:pt x="248793" y="856869"/>
                  </a:lnTo>
                  <a:cubicBezTo>
                    <a:pt x="293370" y="856869"/>
                    <a:pt x="337947" y="856869"/>
                    <a:pt x="382524" y="856869"/>
                  </a:cubicBezTo>
                  <a:cubicBezTo>
                    <a:pt x="382524" y="888682"/>
                    <a:pt x="382619" y="920591"/>
                    <a:pt x="382524" y="952500"/>
                  </a:cubicBezTo>
                  <a:lnTo>
                    <a:pt x="0" y="952500"/>
                  </a:lnTo>
                  <a:cubicBezTo>
                    <a:pt x="0" y="920591"/>
                    <a:pt x="0" y="888682"/>
                    <a:pt x="0" y="856869"/>
                  </a:cubicBezTo>
                  <a:cubicBezTo>
                    <a:pt x="44577" y="856869"/>
                    <a:pt x="89154" y="856869"/>
                    <a:pt x="133731" y="856869"/>
                  </a:cubicBezTo>
                  <a:lnTo>
                    <a:pt x="133731" y="95631"/>
                  </a:lnTo>
                  <a:lnTo>
                    <a:pt x="0" y="95631"/>
                  </a:lnTo>
                  <a:cubicBezTo>
                    <a:pt x="0" y="63722"/>
                    <a:pt x="0" y="31909"/>
                    <a:pt x="0" y="0"/>
                  </a:cubicBezTo>
                  <a:close/>
                </a:path>
              </a:pathLst>
            </a:custGeom>
            <a:solidFill>
              <a:srgbClr val="000000"/>
            </a:solidFill>
            <a:ln w="9525" cap="flat">
              <a:noFill/>
              <a:prstDash val="solid"/>
              <a:miter/>
            </a:ln>
          </p:spPr>
          <p:txBody>
            <a:bodyPr rtlCol="0" anchor="ctr"/>
            <a:lstStyle/>
            <a:p>
              <a:endParaRPr lang="en-US" sz="900"/>
            </a:p>
          </p:txBody>
        </p:sp>
        <p:sp>
          <p:nvSpPr>
            <p:cNvPr id="30" name="Freeform: Shape 29">
              <a:extLst>
                <a:ext uri="{FF2B5EF4-FFF2-40B4-BE49-F238E27FC236}">
                  <a16:creationId xmlns:a16="http://schemas.microsoft.com/office/drawing/2014/main" id="{EB4E91B9-0A97-3141-A66A-E824B4E354B8}"/>
                </a:ext>
              </a:extLst>
            </p:cNvPr>
            <p:cNvSpPr/>
            <p:nvPr/>
          </p:nvSpPr>
          <p:spPr>
            <a:xfrm>
              <a:off x="7188676" y="8629948"/>
              <a:ext cx="678881" cy="952722"/>
            </a:xfrm>
            <a:custGeom>
              <a:avLst/>
              <a:gdLst>
                <a:gd name="connsiteX0" fmla="*/ 0 w 678881"/>
                <a:gd name="connsiteY0" fmla="*/ 83 h 952722"/>
                <a:gd name="connsiteX1" fmla="*/ 409956 w 678881"/>
                <a:gd name="connsiteY1" fmla="*/ 464 h 952722"/>
                <a:gd name="connsiteX2" fmla="*/ 622554 w 678881"/>
                <a:gd name="connsiteY2" fmla="*/ 130575 h 952722"/>
                <a:gd name="connsiteX3" fmla="*/ 607886 w 678881"/>
                <a:gd name="connsiteY3" fmla="*/ 378130 h 952722"/>
                <a:gd name="connsiteX4" fmla="*/ 486347 w 678881"/>
                <a:gd name="connsiteY4" fmla="*/ 452711 h 952722"/>
                <a:gd name="connsiteX5" fmla="*/ 662940 w 678881"/>
                <a:gd name="connsiteY5" fmla="*/ 585394 h 952722"/>
                <a:gd name="connsiteX6" fmla="*/ 543878 w 678881"/>
                <a:gd name="connsiteY6" fmla="*/ 925246 h 952722"/>
                <a:gd name="connsiteX7" fmla="*/ 428530 w 678881"/>
                <a:gd name="connsiteY7" fmla="*/ 952678 h 952722"/>
                <a:gd name="connsiteX8" fmla="*/ 0 w 678881"/>
                <a:gd name="connsiteY8" fmla="*/ 952583 h 952722"/>
                <a:gd name="connsiteX9" fmla="*/ 0 w 678881"/>
                <a:gd name="connsiteY9" fmla="*/ 83 h 952722"/>
                <a:gd name="connsiteX10" fmla="*/ 115062 w 678881"/>
                <a:gd name="connsiteY10" fmla="*/ 101238 h 952722"/>
                <a:gd name="connsiteX11" fmla="*/ 115062 w 678881"/>
                <a:gd name="connsiteY11" fmla="*/ 412039 h 952722"/>
                <a:gd name="connsiteX12" fmla="*/ 400050 w 678881"/>
                <a:gd name="connsiteY12" fmla="*/ 410896 h 952722"/>
                <a:gd name="connsiteX13" fmla="*/ 519398 w 678881"/>
                <a:gd name="connsiteY13" fmla="*/ 313646 h 952722"/>
                <a:gd name="connsiteX14" fmla="*/ 513969 w 678881"/>
                <a:gd name="connsiteY14" fmla="*/ 180391 h 952722"/>
                <a:gd name="connsiteX15" fmla="*/ 389858 w 678881"/>
                <a:gd name="connsiteY15" fmla="*/ 101715 h 952722"/>
                <a:gd name="connsiteX16" fmla="*/ 115062 w 678881"/>
                <a:gd name="connsiteY16" fmla="*/ 101238 h 952722"/>
                <a:gd name="connsiteX17" fmla="*/ 115062 w 678881"/>
                <a:gd name="connsiteY17" fmla="*/ 510432 h 952722"/>
                <a:gd name="connsiteX18" fmla="*/ 115062 w 678881"/>
                <a:gd name="connsiteY18" fmla="*/ 851427 h 952722"/>
                <a:gd name="connsiteX19" fmla="*/ 400526 w 678881"/>
                <a:gd name="connsiteY19" fmla="*/ 851332 h 952722"/>
                <a:gd name="connsiteX20" fmla="*/ 520637 w 678881"/>
                <a:gd name="connsiteY20" fmla="*/ 805993 h 952722"/>
                <a:gd name="connsiteX21" fmla="*/ 555498 w 678881"/>
                <a:gd name="connsiteY21" fmla="*/ 705314 h 952722"/>
                <a:gd name="connsiteX22" fmla="*/ 529304 w 678881"/>
                <a:gd name="connsiteY22" fmla="*/ 566535 h 952722"/>
                <a:gd name="connsiteX23" fmla="*/ 400241 w 678881"/>
                <a:gd name="connsiteY23" fmla="*/ 510623 h 952722"/>
                <a:gd name="connsiteX24" fmla="*/ 115062 w 678881"/>
                <a:gd name="connsiteY24" fmla="*/ 510432 h 952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8881" h="952722">
                  <a:moveTo>
                    <a:pt x="0" y="83"/>
                  </a:moveTo>
                  <a:cubicBezTo>
                    <a:pt x="136684" y="369"/>
                    <a:pt x="273272" y="-489"/>
                    <a:pt x="409956" y="464"/>
                  </a:cubicBezTo>
                  <a:cubicBezTo>
                    <a:pt x="497015" y="1893"/>
                    <a:pt x="586931" y="48279"/>
                    <a:pt x="622554" y="130575"/>
                  </a:cubicBezTo>
                  <a:cubicBezTo>
                    <a:pt x="655701" y="208490"/>
                    <a:pt x="657416" y="306693"/>
                    <a:pt x="607886" y="378130"/>
                  </a:cubicBezTo>
                  <a:cubicBezTo>
                    <a:pt x="580073" y="419850"/>
                    <a:pt x="532067" y="438328"/>
                    <a:pt x="486347" y="452711"/>
                  </a:cubicBezTo>
                  <a:cubicBezTo>
                    <a:pt x="563213" y="461950"/>
                    <a:pt x="636365" y="510909"/>
                    <a:pt x="662940" y="585394"/>
                  </a:cubicBezTo>
                  <a:cubicBezTo>
                    <a:pt x="705898" y="706743"/>
                    <a:pt x="660654" y="862191"/>
                    <a:pt x="543878" y="925246"/>
                  </a:cubicBezTo>
                  <a:cubicBezTo>
                    <a:pt x="508730" y="944391"/>
                    <a:pt x="468440" y="953440"/>
                    <a:pt x="428530" y="952678"/>
                  </a:cubicBezTo>
                  <a:cubicBezTo>
                    <a:pt x="285655" y="952488"/>
                    <a:pt x="142875" y="952583"/>
                    <a:pt x="0" y="952583"/>
                  </a:cubicBezTo>
                  <a:lnTo>
                    <a:pt x="0" y="83"/>
                  </a:lnTo>
                  <a:moveTo>
                    <a:pt x="115062" y="101238"/>
                  </a:moveTo>
                  <a:lnTo>
                    <a:pt x="115062" y="412039"/>
                  </a:lnTo>
                  <a:cubicBezTo>
                    <a:pt x="210026" y="411277"/>
                    <a:pt x="305086" y="413658"/>
                    <a:pt x="400050" y="410896"/>
                  </a:cubicBezTo>
                  <a:cubicBezTo>
                    <a:pt x="455486" y="408896"/>
                    <a:pt x="510540" y="370605"/>
                    <a:pt x="519398" y="313646"/>
                  </a:cubicBezTo>
                  <a:cubicBezTo>
                    <a:pt x="523875" y="269640"/>
                    <a:pt x="527495" y="223158"/>
                    <a:pt x="513969" y="180391"/>
                  </a:cubicBezTo>
                  <a:cubicBezTo>
                    <a:pt x="496919" y="128956"/>
                    <a:pt x="441293" y="102000"/>
                    <a:pt x="389858" y="101715"/>
                  </a:cubicBezTo>
                  <a:cubicBezTo>
                    <a:pt x="298228" y="100572"/>
                    <a:pt x="206693" y="101715"/>
                    <a:pt x="115062" y="101238"/>
                  </a:cubicBezTo>
                  <a:moveTo>
                    <a:pt x="115062" y="510432"/>
                  </a:moveTo>
                  <a:lnTo>
                    <a:pt x="115062" y="851427"/>
                  </a:lnTo>
                  <a:cubicBezTo>
                    <a:pt x="210217" y="851332"/>
                    <a:pt x="305372" y="851523"/>
                    <a:pt x="400526" y="851332"/>
                  </a:cubicBezTo>
                  <a:cubicBezTo>
                    <a:pt x="443960" y="851046"/>
                    <a:pt x="490538" y="839235"/>
                    <a:pt x="520637" y="805993"/>
                  </a:cubicBezTo>
                  <a:cubicBezTo>
                    <a:pt x="545878" y="779133"/>
                    <a:pt x="555212" y="741318"/>
                    <a:pt x="555498" y="705314"/>
                  </a:cubicBezTo>
                  <a:cubicBezTo>
                    <a:pt x="556355" y="658356"/>
                    <a:pt x="558832" y="606349"/>
                    <a:pt x="529304" y="566535"/>
                  </a:cubicBezTo>
                  <a:cubicBezTo>
                    <a:pt x="500348" y="525768"/>
                    <a:pt x="448056" y="510718"/>
                    <a:pt x="400241" y="510623"/>
                  </a:cubicBezTo>
                  <a:cubicBezTo>
                    <a:pt x="305181" y="510147"/>
                    <a:pt x="210122" y="510623"/>
                    <a:pt x="115062" y="510432"/>
                  </a:cubicBezTo>
                  <a:close/>
                </a:path>
              </a:pathLst>
            </a:custGeom>
            <a:solidFill>
              <a:srgbClr val="000000"/>
            </a:solidFill>
            <a:ln w="9525" cap="flat">
              <a:noFill/>
              <a:prstDash val="solid"/>
              <a:miter/>
            </a:ln>
          </p:spPr>
          <p:txBody>
            <a:bodyPr rtlCol="0" anchor="ctr"/>
            <a:lstStyle/>
            <a:p>
              <a:endParaRPr lang="en-US" sz="900"/>
            </a:p>
          </p:txBody>
        </p:sp>
        <p:sp>
          <p:nvSpPr>
            <p:cNvPr id="31" name="Freeform: Shape 30">
              <a:extLst>
                <a:ext uri="{FF2B5EF4-FFF2-40B4-BE49-F238E27FC236}">
                  <a16:creationId xmlns:a16="http://schemas.microsoft.com/office/drawing/2014/main" id="{DAC6552B-CC29-F330-6668-3C653EA3A00C}"/>
                </a:ext>
              </a:extLst>
            </p:cNvPr>
            <p:cNvSpPr/>
            <p:nvPr/>
          </p:nvSpPr>
          <p:spPr>
            <a:xfrm>
              <a:off x="8079644" y="8629935"/>
              <a:ext cx="854868" cy="952499"/>
            </a:xfrm>
            <a:custGeom>
              <a:avLst/>
              <a:gdLst>
                <a:gd name="connsiteX0" fmla="*/ 0 w 854868"/>
                <a:gd name="connsiteY0" fmla="*/ 95 h 952499"/>
                <a:gd name="connsiteX1" fmla="*/ 153734 w 854868"/>
                <a:gd name="connsiteY1" fmla="*/ 95 h 952499"/>
                <a:gd name="connsiteX2" fmla="*/ 430530 w 854868"/>
                <a:gd name="connsiteY2" fmla="*/ 516827 h 952499"/>
                <a:gd name="connsiteX3" fmla="*/ 706946 w 854868"/>
                <a:gd name="connsiteY3" fmla="*/ 0 h 952499"/>
                <a:gd name="connsiteX4" fmla="*/ 854869 w 854868"/>
                <a:gd name="connsiteY4" fmla="*/ 0 h 952499"/>
                <a:gd name="connsiteX5" fmla="*/ 854869 w 854868"/>
                <a:gd name="connsiteY5" fmla="*/ 952500 h 952499"/>
                <a:gd name="connsiteX6" fmla="*/ 742569 w 854868"/>
                <a:gd name="connsiteY6" fmla="*/ 952500 h 952499"/>
                <a:gd name="connsiteX7" fmla="*/ 741521 w 854868"/>
                <a:gd name="connsiteY7" fmla="*/ 146780 h 952499"/>
                <a:gd name="connsiteX8" fmla="*/ 707422 w 854868"/>
                <a:gd name="connsiteY8" fmla="*/ 207074 h 952499"/>
                <a:gd name="connsiteX9" fmla="*/ 427577 w 854868"/>
                <a:gd name="connsiteY9" fmla="*/ 725138 h 952499"/>
                <a:gd name="connsiteX10" fmla="*/ 193262 w 854868"/>
                <a:gd name="connsiteY10" fmla="*/ 297752 h 952499"/>
                <a:gd name="connsiteX11" fmla="*/ 113348 w 854868"/>
                <a:gd name="connsiteY11" fmla="*/ 146209 h 952499"/>
                <a:gd name="connsiteX12" fmla="*/ 112300 w 854868"/>
                <a:gd name="connsiteY12" fmla="*/ 952500 h 952499"/>
                <a:gd name="connsiteX13" fmla="*/ 0 w 854868"/>
                <a:gd name="connsiteY13" fmla="*/ 952500 h 952499"/>
                <a:gd name="connsiteX14" fmla="*/ 0 w 854868"/>
                <a:gd name="connsiteY14" fmla="*/ 95 h 952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54868" h="952499">
                  <a:moveTo>
                    <a:pt x="0" y="95"/>
                  </a:moveTo>
                  <a:cubicBezTo>
                    <a:pt x="51245" y="95"/>
                    <a:pt x="102489" y="95"/>
                    <a:pt x="153734" y="95"/>
                  </a:cubicBezTo>
                  <a:cubicBezTo>
                    <a:pt x="246221" y="172212"/>
                    <a:pt x="335090" y="346424"/>
                    <a:pt x="430530" y="516827"/>
                  </a:cubicBezTo>
                  <a:cubicBezTo>
                    <a:pt x="522923" y="344615"/>
                    <a:pt x="614744" y="172212"/>
                    <a:pt x="706946" y="0"/>
                  </a:cubicBezTo>
                  <a:lnTo>
                    <a:pt x="854869" y="0"/>
                  </a:lnTo>
                  <a:lnTo>
                    <a:pt x="854869" y="952500"/>
                  </a:lnTo>
                  <a:lnTo>
                    <a:pt x="742569" y="952500"/>
                  </a:lnTo>
                  <a:cubicBezTo>
                    <a:pt x="741902" y="683895"/>
                    <a:pt x="743998" y="415290"/>
                    <a:pt x="741521" y="146780"/>
                  </a:cubicBezTo>
                  <a:cubicBezTo>
                    <a:pt x="726948" y="164973"/>
                    <a:pt x="717613" y="186404"/>
                    <a:pt x="707422" y="207074"/>
                  </a:cubicBezTo>
                  <a:cubicBezTo>
                    <a:pt x="619982" y="382810"/>
                    <a:pt x="520541" y="552260"/>
                    <a:pt x="427577" y="725138"/>
                  </a:cubicBezTo>
                  <a:cubicBezTo>
                    <a:pt x="349472" y="582644"/>
                    <a:pt x="270510" y="440722"/>
                    <a:pt x="193262" y="297752"/>
                  </a:cubicBezTo>
                  <a:cubicBezTo>
                    <a:pt x="165830" y="247650"/>
                    <a:pt x="145161" y="193739"/>
                    <a:pt x="113348" y="146209"/>
                  </a:cubicBezTo>
                  <a:cubicBezTo>
                    <a:pt x="110966" y="415004"/>
                    <a:pt x="112967" y="683705"/>
                    <a:pt x="112300" y="952500"/>
                  </a:cubicBezTo>
                  <a:lnTo>
                    <a:pt x="0" y="952500"/>
                  </a:lnTo>
                  <a:lnTo>
                    <a:pt x="0" y="95"/>
                  </a:lnTo>
                  <a:close/>
                </a:path>
              </a:pathLst>
            </a:custGeom>
            <a:solidFill>
              <a:srgbClr val="000000"/>
            </a:solidFill>
            <a:ln w="9525" cap="flat">
              <a:noFill/>
              <a:prstDash val="solid"/>
              <a:miter/>
            </a:ln>
          </p:spPr>
          <p:txBody>
            <a:bodyPr rtlCol="0" anchor="ctr"/>
            <a:lstStyle/>
            <a:p>
              <a:endParaRPr lang="en-US" sz="900"/>
            </a:p>
          </p:txBody>
        </p:sp>
        <p:sp>
          <p:nvSpPr>
            <p:cNvPr id="32" name="Freeform: Shape 31">
              <a:extLst>
                <a:ext uri="{FF2B5EF4-FFF2-40B4-BE49-F238E27FC236}">
                  <a16:creationId xmlns:a16="http://schemas.microsoft.com/office/drawing/2014/main" id="{19266CF2-A3CF-C8D9-7BB9-06D2E42E9729}"/>
                </a:ext>
              </a:extLst>
            </p:cNvPr>
            <p:cNvSpPr/>
            <p:nvPr/>
          </p:nvSpPr>
          <p:spPr>
            <a:xfrm>
              <a:off x="9365138" y="8630030"/>
              <a:ext cx="723900" cy="952500"/>
            </a:xfrm>
            <a:custGeom>
              <a:avLst/>
              <a:gdLst>
                <a:gd name="connsiteX0" fmla="*/ 0 w 723900"/>
                <a:gd name="connsiteY0" fmla="*/ 0 h 952500"/>
                <a:gd name="connsiteX1" fmla="*/ 723900 w 723900"/>
                <a:gd name="connsiteY1" fmla="*/ 0 h 952500"/>
                <a:gd name="connsiteX2" fmla="*/ 723900 w 723900"/>
                <a:gd name="connsiteY2" fmla="*/ 184595 h 952500"/>
                <a:gd name="connsiteX3" fmla="*/ 465963 w 723900"/>
                <a:gd name="connsiteY3" fmla="*/ 184499 h 952500"/>
                <a:gd name="connsiteX4" fmla="*/ 465963 w 723900"/>
                <a:gd name="connsiteY4" fmla="*/ 952500 h 952500"/>
                <a:gd name="connsiteX5" fmla="*/ 257937 w 723900"/>
                <a:gd name="connsiteY5" fmla="*/ 952500 h 952500"/>
                <a:gd name="connsiteX6" fmla="*/ 257937 w 723900"/>
                <a:gd name="connsiteY6" fmla="*/ 184595 h 952500"/>
                <a:gd name="connsiteX7" fmla="*/ 0 w 723900"/>
                <a:gd name="connsiteY7" fmla="*/ 184595 h 952500"/>
                <a:gd name="connsiteX8" fmla="*/ 0 w 723900"/>
                <a:gd name="connsiteY8" fmla="*/ 0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3900" h="952500">
                  <a:moveTo>
                    <a:pt x="0" y="0"/>
                  </a:moveTo>
                  <a:lnTo>
                    <a:pt x="723900" y="0"/>
                  </a:lnTo>
                  <a:lnTo>
                    <a:pt x="723900" y="184595"/>
                  </a:lnTo>
                  <a:cubicBezTo>
                    <a:pt x="637889" y="184595"/>
                    <a:pt x="551879" y="184595"/>
                    <a:pt x="465963" y="184499"/>
                  </a:cubicBezTo>
                  <a:cubicBezTo>
                    <a:pt x="465868" y="440531"/>
                    <a:pt x="465963" y="696468"/>
                    <a:pt x="465963" y="952500"/>
                  </a:cubicBezTo>
                  <a:lnTo>
                    <a:pt x="257937" y="952500"/>
                  </a:lnTo>
                  <a:lnTo>
                    <a:pt x="257937" y="184595"/>
                  </a:lnTo>
                  <a:cubicBezTo>
                    <a:pt x="172021" y="184499"/>
                    <a:pt x="86011" y="184595"/>
                    <a:pt x="0" y="184595"/>
                  </a:cubicBezTo>
                  <a:lnTo>
                    <a:pt x="0" y="0"/>
                  </a:lnTo>
                  <a:close/>
                </a:path>
              </a:pathLst>
            </a:custGeom>
            <a:solidFill>
              <a:srgbClr val="000000"/>
            </a:solidFill>
            <a:ln w="9525" cap="flat">
              <a:noFill/>
              <a:prstDash val="solid"/>
              <a:miter/>
            </a:ln>
          </p:spPr>
          <p:txBody>
            <a:bodyPr rtlCol="0" anchor="ctr"/>
            <a:lstStyle/>
            <a:p>
              <a:endParaRPr lang="en-US" sz="900"/>
            </a:p>
          </p:txBody>
        </p:sp>
        <p:sp>
          <p:nvSpPr>
            <p:cNvPr id="33" name="Freeform: Shape 32">
              <a:extLst>
                <a:ext uri="{FF2B5EF4-FFF2-40B4-BE49-F238E27FC236}">
                  <a16:creationId xmlns:a16="http://schemas.microsoft.com/office/drawing/2014/main" id="{F944B8FF-4796-89E0-ECF1-D2DAE08721F7}"/>
                </a:ext>
              </a:extLst>
            </p:cNvPr>
            <p:cNvSpPr/>
            <p:nvPr/>
          </p:nvSpPr>
          <p:spPr>
            <a:xfrm>
              <a:off x="12344082" y="8630030"/>
              <a:ext cx="875252" cy="952622"/>
            </a:xfrm>
            <a:custGeom>
              <a:avLst/>
              <a:gdLst>
                <a:gd name="connsiteX0" fmla="*/ 14954 w 875252"/>
                <a:gd name="connsiteY0" fmla="*/ 0 h 952622"/>
                <a:gd name="connsiteX1" fmla="*/ 257080 w 875252"/>
                <a:gd name="connsiteY1" fmla="*/ 0 h 952622"/>
                <a:gd name="connsiteX2" fmla="*/ 444627 w 875252"/>
                <a:gd name="connsiteY2" fmla="*/ 324612 h 952622"/>
                <a:gd name="connsiteX3" fmla="*/ 634555 w 875252"/>
                <a:gd name="connsiteY3" fmla="*/ 95 h 952622"/>
                <a:gd name="connsiteX4" fmla="*/ 858869 w 875252"/>
                <a:gd name="connsiteY4" fmla="*/ 95 h 952622"/>
                <a:gd name="connsiteX5" fmla="*/ 565499 w 875252"/>
                <a:gd name="connsiteY5" fmla="*/ 464058 h 952622"/>
                <a:gd name="connsiteX6" fmla="*/ 875252 w 875252"/>
                <a:gd name="connsiteY6" fmla="*/ 952595 h 952622"/>
                <a:gd name="connsiteX7" fmla="*/ 634555 w 875252"/>
                <a:gd name="connsiteY7" fmla="*/ 952595 h 952622"/>
                <a:gd name="connsiteX8" fmla="*/ 426625 w 875252"/>
                <a:gd name="connsiteY8" fmla="*/ 599504 h 952622"/>
                <a:gd name="connsiteX9" fmla="*/ 224314 w 875252"/>
                <a:gd name="connsiteY9" fmla="*/ 952595 h 952622"/>
                <a:gd name="connsiteX10" fmla="*/ 0 w 875252"/>
                <a:gd name="connsiteY10" fmla="*/ 952595 h 952622"/>
                <a:gd name="connsiteX11" fmla="*/ 305562 w 875252"/>
                <a:gd name="connsiteY11" fmla="*/ 459867 h 952622"/>
                <a:gd name="connsiteX12" fmla="*/ 14954 w 875252"/>
                <a:gd name="connsiteY12" fmla="*/ 95 h 952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75252" h="952622">
                  <a:moveTo>
                    <a:pt x="14954" y="0"/>
                  </a:moveTo>
                  <a:cubicBezTo>
                    <a:pt x="95631" y="0"/>
                    <a:pt x="176308" y="0"/>
                    <a:pt x="257080" y="0"/>
                  </a:cubicBezTo>
                  <a:cubicBezTo>
                    <a:pt x="319754" y="108109"/>
                    <a:pt x="381381" y="216789"/>
                    <a:pt x="444627" y="324612"/>
                  </a:cubicBezTo>
                  <a:cubicBezTo>
                    <a:pt x="508064" y="216503"/>
                    <a:pt x="571119" y="108204"/>
                    <a:pt x="634555" y="95"/>
                  </a:cubicBezTo>
                  <a:lnTo>
                    <a:pt x="858869" y="95"/>
                  </a:lnTo>
                  <a:cubicBezTo>
                    <a:pt x="761143" y="154781"/>
                    <a:pt x="663321" y="309372"/>
                    <a:pt x="565499" y="464058"/>
                  </a:cubicBezTo>
                  <a:cubicBezTo>
                    <a:pt x="668750" y="626840"/>
                    <a:pt x="772001" y="789718"/>
                    <a:pt x="875252" y="952595"/>
                  </a:cubicBezTo>
                  <a:cubicBezTo>
                    <a:pt x="795052" y="952691"/>
                    <a:pt x="714756" y="952500"/>
                    <a:pt x="634555" y="952595"/>
                  </a:cubicBezTo>
                  <a:cubicBezTo>
                    <a:pt x="565118" y="834962"/>
                    <a:pt x="496538" y="716852"/>
                    <a:pt x="426625" y="599504"/>
                  </a:cubicBezTo>
                  <a:cubicBezTo>
                    <a:pt x="358807" y="716947"/>
                    <a:pt x="291846" y="834962"/>
                    <a:pt x="224314" y="952595"/>
                  </a:cubicBezTo>
                  <a:lnTo>
                    <a:pt x="0" y="952595"/>
                  </a:lnTo>
                  <a:cubicBezTo>
                    <a:pt x="101822" y="788289"/>
                    <a:pt x="203740" y="624173"/>
                    <a:pt x="305562" y="459867"/>
                  </a:cubicBezTo>
                  <a:cubicBezTo>
                    <a:pt x="208693" y="306705"/>
                    <a:pt x="111823" y="153353"/>
                    <a:pt x="14954" y="95"/>
                  </a:cubicBezTo>
                  <a:close/>
                </a:path>
              </a:pathLst>
            </a:custGeom>
            <a:solidFill>
              <a:srgbClr val="000000"/>
            </a:solidFill>
            <a:ln w="9525" cap="flat">
              <a:noFill/>
              <a:prstDash val="solid"/>
              <a:miter/>
            </a:ln>
          </p:spPr>
          <p:txBody>
            <a:bodyPr rtlCol="0" anchor="ctr"/>
            <a:lstStyle/>
            <a:p>
              <a:endParaRPr lang="en-US" sz="900"/>
            </a:p>
          </p:txBody>
        </p:sp>
        <p:sp>
          <p:nvSpPr>
            <p:cNvPr id="34" name="Freeform: Shape 33">
              <a:extLst>
                <a:ext uri="{FF2B5EF4-FFF2-40B4-BE49-F238E27FC236}">
                  <a16:creationId xmlns:a16="http://schemas.microsoft.com/office/drawing/2014/main" id="{42DF0011-F527-8047-800F-7E155446FCD6}"/>
                </a:ext>
              </a:extLst>
            </p:cNvPr>
            <p:cNvSpPr/>
            <p:nvPr/>
          </p:nvSpPr>
          <p:spPr>
            <a:xfrm>
              <a:off x="16351421" y="8727139"/>
              <a:ext cx="728351" cy="1144977"/>
            </a:xfrm>
            <a:custGeom>
              <a:avLst/>
              <a:gdLst>
                <a:gd name="connsiteX0" fmla="*/ 509416 w 728351"/>
                <a:gd name="connsiteY0" fmla="*/ 14429 h 1144977"/>
                <a:gd name="connsiteX1" fmla="*/ 685629 w 728351"/>
                <a:gd name="connsiteY1" fmla="*/ 904 h 1144977"/>
                <a:gd name="connsiteX2" fmla="*/ 685724 w 728351"/>
                <a:gd name="connsiteY2" fmla="*/ 151304 h 1144977"/>
                <a:gd name="connsiteX3" fmla="*/ 522275 w 728351"/>
                <a:gd name="connsiteY3" fmla="*/ 152542 h 1144977"/>
                <a:gd name="connsiteX4" fmla="*/ 628097 w 728351"/>
                <a:gd name="connsiteY4" fmla="*/ 257031 h 1144977"/>
                <a:gd name="connsiteX5" fmla="*/ 595141 w 728351"/>
                <a:gd name="connsiteY5" fmla="*/ 517730 h 1144977"/>
                <a:gd name="connsiteX6" fmla="*/ 424834 w 728351"/>
                <a:gd name="connsiteY6" fmla="*/ 596312 h 1144977"/>
                <a:gd name="connsiteX7" fmla="*/ 215093 w 728351"/>
                <a:gd name="connsiteY7" fmla="*/ 586406 h 1144977"/>
                <a:gd name="connsiteX8" fmla="*/ 207664 w 728351"/>
                <a:gd name="connsiteY8" fmla="*/ 685561 h 1144977"/>
                <a:gd name="connsiteX9" fmla="*/ 352254 w 728351"/>
                <a:gd name="connsiteY9" fmla="*/ 698229 h 1144977"/>
                <a:gd name="connsiteX10" fmla="*/ 619430 w 728351"/>
                <a:gd name="connsiteY10" fmla="*/ 722327 h 1144977"/>
                <a:gd name="connsiteX11" fmla="*/ 722490 w 728351"/>
                <a:gd name="connsiteY11" fmla="*/ 848248 h 1144977"/>
                <a:gd name="connsiteX12" fmla="*/ 671818 w 728351"/>
                <a:gd name="connsiteY12" fmla="*/ 1060560 h 1144977"/>
                <a:gd name="connsiteX13" fmla="*/ 458933 w 728351"/>
                <a:gd name="connsiteY13" fmla="*/ 1139237 h 1144977"/>
                <a:gd name="connsiteX14" fmla="*/ 192615 w 728351"/>
                <a:gd name="connsiteY14" fmla="*/ 1135141 h 1144977"/>
                <a:gd name="connsiteX15" fmla="*/ 44406 w 728351"/>
                <a:gd name="connsiteY15" fmla="*/ 1078372 h 1144977"/>
                <a:gd name="connsiteX16" fmla="*/ 53168 w 728351"/>
                <a:gd name="connsiteY16" fmla="*/ 870060 h 1144977"/>
                <a:gd name="connsiteX17" fmla="*/ 132893 w 728351"/>
                <a:gd name="connsiteY17" fmla="*/ 840533 h 1144977"/>
                <a:gd name="connsiteX18" fmla="*/ 133845 w 728351"/>
                <a:gd name="connsiteY18" fmla="*/ 828817 h 1144977"/>
                <a:gd name="connsiteX19" fmla="*/ 74886 w 728351"/>
                <a:gd name="connsiteY19" fmla="*/ 800909 h 1144977"/>
                <a:gd name="connsiteX20" fmla="*/ 62407 w 728351"/>
                <a:gd name="connsiteY20" fmla="*/ 623458 h 1144977"/>
                <a:gd name="connsiteX21" fmla="*/ 167373 w 728351"/>
                <a:gd name="connsiteY21" fmla="*/ 571451 h 1144977"/>
                <a:gd name="connsiteX22" fmla="*/ 48883 w 728351"/>
                <a:gd name="connsiteY22" fmla="*/ 446293 h 1144977"/>
                <a:gd name="connsiteX23" fmla="*/ 89078 w 728351"/>
                <a:gd name="connsiteY23" fmla="*/ 211311 h 1144977"/>
                <a:gd name="connsiteX24" fmla="*/ 259099 w 728351"/>
                <a:gd name="connsiteY24" fmla="*/ 128444 h 1144977"/>
                <a:gd name="connsiteX25" fmla="*/ 463982 w 728351"/>
                <a:gd name="connsiteY25" fmla="*/ 135397 h 1144977"/>
                <a:gd name="connsiteX26" fmla="*/ 509416 w 728351"/>
                <a:gd name="connsiteY26" fmla="*/ 14429 h 1144977"/>
                <a:gd name="connsiteX27" fmla="*/ 299866 w 728351"/>
                <a:gd name="connsiteY27" fmla="*/ 260841 h 1144977"/>
                <a:gd name="connsiteX28" fmla="*/ 226714 w 728351"/>
                <a:gd name="connsiteY28" fmla="*/ 331612 h 1144977"/>
                <a:gd name="connsiteX29" fmla="*/ 251860 w 728351"/>
                <a:gd name="connsiteY29" fmla="*/ 441245 h 1144977"/>
                <a:gd name="connsiteX30" fmla="*/ 381210 w 728351"/>
                <a:gd name="connsiteY30" fmla="*/ 465724 h 1144977"/>
                <a:gd name="connsiteX31" fmla="*/ 458838 w 728351"/>
                <a:gd name="connsiteY31" fmla="*/ 397906 h 1144977"/>
                <a:gd name="connsiteX32" fmla="*/ 431216 w 728351"/>
                <a:gd name="connsiteY32" fmla="*/ 281320 h 1144977"/>
                <a:gd name="connsiteX33" fmla="*/ 299866 w 728351"/>
                <a:gd name="connsiteY33" fmla="*/ 260841 h 1144977"/>
                <a:gd name="connsiteX34" fmla="*/ 182613 w 728351"/>
                <a:gd name="connsiteY34" fmla="*/ 987218 h 1144977"/>
                <a:gd name="connsiteX35" fmla="*/ 343872 w 728351"/>
                <a:gd name="connsiteY35" fmla="*/ 1010554 h 1144977"/>
                <a:gd name="connsiteX36" fmla="*/ 507321 w 728351"/>
                <a:gd name="connsiteY36" fmla="*/ 990170 h 1144977"/>
                <a:gd name="connsiteX37" fmla="*/ 517321 w 728351"/>
                <a:gd name="connsiteY37" fmla="*/ 890158 h 1144977"/>
                <a:gd name="connsiteX38" fmla="*/ 428644 w 728351"/>
                <a:gd name="connsiteY38" fmla="*/ 870536 h 1144977"/>
                <a:gd name="connsiteX39" fmla="*/ 180994 w 728351"/>
                <a:gd name="connsiteY39" fmla="*/ 870155 h 1144977"/>
                <a:gd name="connsiteX40" fmla="*/ 182613 w 728351"/>
                <a:gd name="connsiteY40" fmla="*/ 987218 h 1144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28351" h="1144977">
                  <a:moveTo>
                    <a:pt x="509416" y="14429"/>
                  </a:moveTo>
                  <a:cubicBezTo>
                    <a:pt x="564471" y="-10431"/>
                    <a:pt x="627240" y="5381"/>
                    <a:pt x="685629" y="904"/>
                  </a:cubicBezTo>
                  <a:cubicBezTo>
                    <a:pt x="685629" y="51005"/>
                    <a:pt x="685629" y="101202"/>
                    <a:pt x="685724" y="151304"/>
                  </a:cubicBezTo>
                  <a:cubicBezTo>
                    <a:pt x="631146" y="151875"/>
                    <a:pt x="576663" y="150065"/>
                    <a:pt x="522275" y="152542"/>
                  </a:cubicBezTo>
                  <a:cubicBezTo>
                    <a:pt x="564185" y="179498"/>
                    <a:pt x="607809" y="209311"/>
                    <a:pt x="628097" y="257031"/>
                  </a:cubicBezTo>
                  <a:cubicBezTo>
                    <a:pt x="665245" y="340280"/>
                    <a:pt x="658673" y="448769"/>
                    <a:pt x="595141" y="517730"/>
                  </a:cubicBezTo>
                  <a:cubicBezTo>
                    <a:pt x="551136" y="564879"/>
                    <a:pt x="487223" y="587168"/>
                    <a:pt x="424834" y="596312"/>
                  </a:cubicBezTo>
                  <a:cubicBezTo>
                    <a:pt x="355112" y="605551"/>
                    <a:pt x="283388" y="603932"/>
                    <a:pt x="215093" y="586406"/>
                  </a:cubicBezTo>
                  <a:cubicBezTo>
                    <a:pt x="183757" y="608123"/>
                    <a:pt x="170231" y="663177"/>
                    <a:pt x="207664" y="685561"/>
                  </a:cubicBezTo>
                  <a:cubicBezTo>
                    <a:pt x="252527" y="707087"/>
                    <a:pt x="304247" y="695181"/>
                    <a:pt x="352254" y="698229"/>
                  </a:cubicBezTo>
                  <a:cubicBezTo>
                    <a:pt x="441312" y="701277"/>
                    <a:pt x="534848" y="687085"/>
                    <a:pt x="619430" y="722327"/>
                  </a:cubicBezTo>
                  <a:cubicBezTo>
                    <a:pt x="672484" y="743282"/>
                    <a:pt x="712108" y="792241"/>
                    <a:pt x="722490" y="848248"/>
                  </a:cubicBezTo>
                  <a:cubicBezTo>
                    <a:pt x="736301" y="921019"/>
                    <a:pt x="728110" y="1006744"/>
                    <a:pt x="671818" y="1060560"/>
                  </a:cubicBezTo>
                  <a:cubicBezTo>
                    <a:pt x="614857" y="1114281"/>
                    <a:pt x="534086" y="1130283"/>
                    <a:pt x="458933" y="1139237"/>
                  </a:cubicBezTo>
                  <a:cubicBezTo>
                    <a:pt x="370447" y="1147428"/>
                    <a:pt x="280721" y="1147524"/>
                    <a:pt x="192615" y="1135141"/>
                  </a:cubicBezTo>
                  <a:cubicBezTo>
                    <a:pt x="140322" y="1126473"/>
                    <a:pt x="85744" y="1113233"/>
                    <a:pt x="44406" y="1078372"/>
                  </a:cubicBezTo>
                  <a:cubicBezTo>
                    <a:pt x="-17698" y="1026937"/>
                    <a:pt x="-14554" y="915209"/>
                    <a:pt x="53168" y="870060"/>
                  </a:cubicBezTo>
                  <a:cubicBezTo>
                    <a:pt x="76505" y="852820"/>
                    <a:pt x="105461" y="847867"/>
                    <a:pt x="132893" y="840533"/>
                  </a:cubicBezTo>
                  <a:cubicBezTo>
                    <a:pt x="133179" y="837580"/>
                    <a:pt x="133560" y="831674"/>
                    <a:pt x="133845" y="828817"/>
                  </a:cubicBezTo>
                  <a:cubicBezTo>
                    <a:pt x="113747" y="820149"/>
                    <a:pt x="91459" y="815577"/>
                    <a:pt x="74886" y="800909"/>
                  </a:cubicBezTo>
                  <a:cubicBezTo>
                    <a:pt x="22880" y="759475"/>
                    <a:pt x="13259" y="670702"/>
                    <a:pt x="62407" y="623458"/>
                  </a:cubicBezTo>
                  <a:cubicBezTo>
                    <a:pt x="90411" y="594597"/>
                    <a:pt x="130036" y="582786"/>
                    <a:pt x="167373" y="571451"/>
                  </a:cubicBezTo>
                  <a:cubicBezTo>
                    <a:pt x="114129" y="546401"/>
                    <a:pt x="66980" y="503538"/>
                    <a:pt x="48883" y="446293"/>
                  </a:cubicBezTo>
                  <a:cubicBezTo>
                    <a:pt x="23546" y="368283"/>
                    <a:pt x="33357" y="274271"/>
                    <a:pt x="89078" y="211311"/>
                  </a:cubicBezTo>
                  <a:cubicBezTo>
                    <a:pt x="132036" y="162448"/>
                    <a:pt x="196043" y="138159"/>
                    <a:pt x="259099" y="128444"/>
                  </a:cubicBezTo>
                  <a:cubicBezTo>
                    <a:pt x="327012" y="118728"/>
                    <a:pt x="396925" y="119871"/>
                    <a:pt x="463982" y="135397"/>
                  </a:cubicBezTo>
                  <a:cubicBezTo>
                    <a:pt x="462457" y="91963"/>
                    <a:pt x="465697" y="37289"/>
                    <a:pt x="509416" y="14429"/>
                  </a:cubicBezTo>
                  <a:moveTo>
                    <a:pt x="299866" y="260841"/>
                  </a:moveTo>
                  <a:cubicBezTo>
                    <a:pt x="264243" y="267223"/>
                    <a:pt x="231476" y="294464"/>
                    <a:pt x="226714" y="331612"/>
                  </a:cubicBezTo>
                  <a:cubicBezTo>
                    <a:pt x="221476" y="368855"/>
                    <a:pt x="221571" y="413908"/>
                    <a:pt x="251860" y="441245"/>
                  </a:cubicBezTo>
                  <a:cubicBezTo>
                    <a:pt x="286817" y="471534"/>
                    <a:pt x="337585" y="472201"/>
                    <a:pt x="381210" y="465724"/>
                  </a:cubicBezTo>
                  <a:cubicBezTo>
                    <a:pt x="417214" y="460676"/>
                    <a:pt x="452171" y="435339"/>
                    <a:pt x="458838" y="397906"/>
                  </a:cubicBezTo>
                  <a:cubicBezTo>
                    <a:pt x="465315" y="358282"/>
                    <a:pt x="465315" y="308942"/>
                    <a:pt x="431216" y="281320"/>
                  </a:cubicBezTo>
                  <a:cubicBezTo>
                    <a:pt x="394164" y="253221"/>
                    <a:pt x="343586" y="252935"/>
                    <a:pt x="299866" y="260841"/>
                  </a:cubicBezTo>
                  <a:moveTo>
                    <a:pt x="182613" y="987218"/>
                  </a:moveTo>
                  <a:cubicBezTo>
                    <a:pt x="230810" y="1015888"/>
                    <a:pt x="289960" y="1009411"/>
                    <a:pt x="343872" y="1010554"/>
                  </a:cubicBezTo>
                  <a:cubicBezTo>
                    <a:pt x="398354" y="1009411"/>
                    <a:pt x="457124" y="1016078"/>
                    <a:pt x="507321" y="990170"/>
                  </a:cubicBezTo>
                  <a:cubicBezTo>
                    <a:pt x="543135" y="972073"/>
                    <a:pt x="550183" y="914256"/>
                    <a:pt x="517321" y="890158"/>
                  </a:cubicBezTo>
                  <a:cubicBezTo>
                    <a:pt x="491509" y="872346"/>
                    <a:pt x="458744" y="871394"/>
                    <a:pt x="428644" y="870536"/>
                  </a:cubicBezTo>
                  <a:cubicBezTo>
                    <a:pt x="346062" y="870155"/>
                    <a:pt x="263481" y="871013"/>
                    <a:pt x="180994" y="870155"/>
                  </a:cubicBezTo>
                  <a:cubicBezTo>
                    <a:pt x="153467" y="902064"/>
                    <a:pt x="142608" y="960548"/>
                    <a:pt x="182613" y="987218"/>
                  </a:cubicBezTo>
                  <a:close/>
                </a:path>
              </a:pathLst>
            </a:custGeom>
            <a:solidFill>
              <a:srgbClr val="000000"/>
            </a:solidFill>
            <a:ln w="9525" cap="flat">
              <a:noFill/>
              <a:prstDash val="solid"/>
              <a:miter/>
            </a:ln>
          </p:spPr>
          <p:txBody>
            <a:bodyPr rtlCol="0" anchor="ctr"/>
            <a:lstStyle/>
            <a:p>
              <a:endParaRPr lang="en-US" sz="900"/>
            </a:p>
          </p:txBody>
        </p:sp>
        <p:sp>
          <p:nvSpPr>
            <p:cNvPr id="35" name="Freeform: Shape 34">
              <a:extLst>
                <a:ext uri="{FF2B5EF4-FFF2-40B4-BE49-F238E27FC236}">
                  <a16:creationId xmlns:a16="http://schemas.microsoft.com/office/drawing/2014/main" id="{53871B77-82D8-9E96-7FDF-19E07894D012}"/>
                </a:ext>
              </a:extLst>
            </p:cNvPr>
            <p:cNvSpPr/>
            <p:nvPr/>
          </p:nvSpPr>
          <p:spPr>
            <a:xfrm>
              <a:off x="10085832" y="8849421"/>
              <a:ext cx="669369" cy="749856"/>
            </a:xfrm>
            <a:custGeom>
              <a:avLst/>
              <a:gdLst>
                <a:gd name="connsiteX0" fmla="*/ 260667 w 669369"/>
                <a:gd name="connsiteY0" fmla="*/ 6542 h 749856"/>
                <a:gd name="connsiteX1" fmla="*/ 515461 w 669369"/>
                <a:gd name="connsiteY1" fmla="*/ 44071 h 749856"/>
                <a:gd name="connsiteX2" fmla="*/ 650335 w 669369"/>
                <a:gd name="connsiteY2" fmla="*/ 226855 h 749856"/>
                <a:gd name="connsiteX3" fmla="*/ 669099 w 669369"/>
                <a:gd name="connsiteY3" fmla="*/ 426404 h 749856"/>
                <a:gd name="connsiteX4" fmla="*/ 208470 w 669369"/>
                <a:gd name="connsiteY4" fmla="*/ 426404 h 749856"/>
                <a:gd name="connsiteX5" fmla="*/ 248666 w 669369"/>
                <a:gd name="connsiteY5" fmla="*/ 550039 h 749856"/>
                <a:gd name="connsiteX6" fmla="*/ 408590 w 669369"/>
                <a:gd name="connsiteY6" fmla="*/ 587472 h 749856"/>
                <a:gd name="connsiteX7" fmla="*/ 543464 w 669369"/>
                <a:gd name="connsiteY7" fmla="*/ 505081 h 749856"/>
                <a:gd name="connsiteX8" fmla="*/ 645001 w 669369"/>
                <a:gd name="connsiteY8" fmla="*/ 630239 h 749856"/>
                <a:gd name="connsiteX9" fmla="*/ 370110 w 669369"/>
                <a:gd name="connsiteY9" fmla="*/ 749111 h 749856"/>
                <a:gd name="connsiteX10" fmla="*/ 115697 w 669369"/>
                <a:gd name="connsiteY10" fmla="*/ 673673 h 749856"/>
                <a:gd name="connsiteX11" fmla="*/ 2444 w 669369"/>
                <a:gd name="connsiteY11" fmla="*/ 428785 h 749856"/>
                <a:gd name="connsiteX12" fmla="*/ 63881 w 669369"/>
                <a:gd name="connsiteY12" fmla="*/ 132082 h 749856"/>
                <a:gd name="connsiteX13" fmla="*/ 260667 w 669369"/>
                <a:gd name="connsiteY13" fmla="*/ 6542 h 749856"/>
                <a:gd name="connsiteX14" fmla="*/ 236283 w 669369"/>
                <a:gd name="connsiteY14" fmla="*/ 199900 h 749856"/>
                <a:gd name="connsiteX15" fmla="*/ 208375 w 669369"/>
                <a:gd name="connsiteY15" fmla="*/ 307246 h 749856"/>
                <a:gd name="connsiteX16" fmla="*/ 460216 w 669369"/>
                <a:gd name="connsiteY16" fmla="*/ 307246 h 749856"/>
                <a:gd name="connsiteX17" fmla="*/ 429450 w 669369"/>
                <a:gd name="connsiteY17" fmla="*/ 188851 h 749856"/>
                <a:gd name="connsiteX18" fmla="*/ 236283 w 669369"/>
                <a:gd name="connsiteY18" fmla="*/ 199900 h 74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9369" h="749856">
                  <a:moveTo>
                    <a:pt x="260667" y="6542"/>
                  </a:moveTo>
                  <a:cubicBezTo>
                    <a:pt x="346297" y="-7650"/>
                    <a:pt x="439261" y="-316"/>
                    <a:pt x="515461" y="44071"/>
                  </a:cubicBezTo>
                  <a:cubicBezTo>
                    <a:pt x="583279" y="83123"/>
                    <a:pt x="629285" y="152465"/>
                    <a:pt x="650335" y="226855"/>
                  </a:cubicBezTo>
                  <a:cubicBezTo>
                    <a:pt x="669956" y="291435"/>
                    <a:pt x="669956" y="359539"/>
                    <a:pt x="669099" y="426404"/>
                  </a:cubicBezTo>
                  <a:cubicBezTo>
                    <a:pt x="515556" y="426404"/>
                    <a:pt x="362013" y="426404"/>
                    <a:pt x="208470" y="426404"/>
                  </a:cubicBezTo>
                  <a:cubicBezTo>
                    <a:pt x="208565" y="470124"/>
                    <a:pt x="215900" y="518035"/>
                    <a:pt x="248666" y="550039"/>
                  </a:cubicBezTo>
                  <a:cubicBezTo>
                    <a:pt x="290004" y="590806"/>
                    <a:pt x="353822" y="596140"/>
                    <a:pt x="408590" y="587472"/>
                  </a:cubicBezTo>
                  <a:cubicBezTo>
                    <a:pt x="462693" y="579090"/>
                    <a:pt x="506603" y="543181"/>
                    <a:pt x="543464" y="505081"/>
                  </a:cubicBezTo>
                  <a:cubicBezTo>
                    <a:pt x="577373" y="546705"/>
                    <a:pt x="610235" y="589282"/>
                    <a:pt x="645001" y="630239"/>
                  </a:cubicBezTo>
                  <a:cubicBezTo>
                    <a:pt x="576993" y="708916"/>
                    <a:pt x="471741" y="744920"/>
                    <a:pt x="370110" y="749111"/>
                  </a:cubicBezTo>
                  <a:cubicBezTo>
                    <a:pt x="280384" y="754159"/>
                    <a:pt x="184848" y="734062"/>
                    <a:pt x="115697" y="673673"/>
                  </a:cubicBezTo>
                  <a:cubicBezTo>
                    <a:pt x="44640" y="613094"/>
                    <a:pt x="10255" y="519844"/>
                    <a:pt x="2444" y="428785"/>
                  </a:cubicBezTo>
                  <a:cubicBezTo>
                    <a:pt x="-6128" y="327249"/>
                    <a:pt x="6350" y="218664"/>
                    <a:pt x="63881" y="132082"/>
                  </a:cubicBezTo>
                  <a:cubicBezTo>
                    <a:pt x="107886" y="64645"/>
                    <a:pt x="181800" y="19972"/>
                    <a:pt x="260667" y="6542"/>
                  </a:cubicBezTo>
                  <a:moveTo>
                    <a:pt x="236283" y="199900"/>
                  </a:moveTo>
                  <a:cubicBezTo>
                    <a:pt x="213804" y="230856"/>
                    <a:pt x="209042" y="270004"/>
                    <a:pt x="208375" y="307246"/>
                  </a:cubicBezTo>
                  <a:lnTo>
                    <a:pt x="460216" y="307246"/>
                  </a:lnTo>
                  <a:cubicBezTo>
                    <a:pt x="459835" y="266289"/>
                    <a:pt x="455930" y="222093"/>
                    <a:pt x="429450" y="188851"/>
                  </a:cubicBezTo>
                  <a:cubicBezTo>
                    <a:pt x="382111" y="129700"/>
                    <a:pt x="278003" y="138273"/>
                    <a:pt x="236283" y="199900"/>
                  </a:cubicBezTo>
                  <a:close/>
                </a:path>
              </a:pathLst>
            </a:custGeom>
            <a:solidFill>
              <a:srgbClr val="000000"/>
            </a:solidFill>
            <a:ln w="9525" cap="flat">
              <a:noFill/>
              <a:prstDash val="solid"/>
              <a:miter/>
            </a:ln>
          </p:spPr>
          <p:txBody>
            <a:bodyPr rtlCol="0" anchor="ctr"/>
            <a:lstStyle/>
            <a:p>
              <a:endParaRPr lang="en-US" sz="900"/>
            </a:p>
          </p:txBody>
        </p:sp>
        <p:sp>
          <p:nvSpPr>
            <p:cNvPr id="36" name="Freeform: Shape 35">
              <a:extLst>
                <a:ext uri="{FF2B5EF4-FFF2-40B4-BE49-F238E27FC236}">
                  <a16:creationId xmlns:a16="http://schemas.microsoft.com/office/drawing/2014/main" id="{08EB9A85-89C6-1EC3-5478-A8F89D67749A}"/>
                </a:ext>
              </a:extLst>
            </p:cNvPr>
            <p:cNvSpPr/>
            <p:nvPr/>
          </p:nvSpPr>
          <p:spPr>
            <a:xfrm>
              <a:off x="10852675" y="8849297"/>
              <a:ext cx="625965" cy="749878"/>
            </a:xfrm>
            <a:custGeom>
              <a:avLst/>
              <a:gdLst>
                <a:gd name="connsiteX0" fmla="*/ 115044 w 625965"/>
                <a:gd name="connsiteY0" fmla="*/ 72770 h 749878"/>
                <a:gd name="connsiteX1" fmla="*/ 437561 w 625965"/>
                <a:gd name="connsiteY1" fmla="*/ 13810 h 749878"/>
                <a:gd name="connsiteX2" fmla="*/ 621870 w 625965"/>
                <a:gd name="connsiteY2" fmla="*/ 187165 h 749878"/>
                <a:gd name="connsiteX3" fmla="*/ 458230 w 625965"/>
                <a:gd name="connsiteY3" fmla="*/ 258221 h 749878"/>
                <a:gd name="connsiteX4" fmla="*/ 411843 w 625965"/>
                <a:gd name="connsiteY4" fmla="*/ 184117 h 749878"/>
                <a:gd name="connsiteX5" fmla="*/ 233916 w 625965"/>
                <a:gd name="connsiteY5" fmla="*/ 212120 h 749878"/>
                <a:gd name="connsiteX6" fmla="*/ 210771 w 625965"/>
                <a:gd name="connsiteY6" fmla="*/ 371093 h 749878"/>
                <a:gd name="connsiteX7" fmla="*/ 230868 w 625965"/>
                <a:gd name="connsiteY7" fmla="*/ 533684 h 749878"/>
                <a:gd name="connsiteX8" fmla="*/ 439371 w 625965"/>
                <a:gd name="connsiteY8" fmla="*/ 540352 h 749878"/>
                <a:gd name="connsiteX9" fmla="*/ 468708 w 625965"/>
                <a:gd name="connsiteY9" fmla="*/ 483392 h 749878"/>
                <a:gd name="connsiteX10" fmla="*/ 625965 w 625965"/>
                <a:gd name="connsiteY10" fmla="*/ 551782 h 749878"/>
                <a:gd name="connsiteX11" fmla="*/ 521095 w 625965"/>
                <a:gd name="connsiteY11" fmla="*/ 697800 h 749878"/>
                <a:gd name="connsiteX12" fmla="*/ 271921 w 625965"/>
                <a:gd name="connsiteY12" fmla="*/ 745425 h 749878"/>
                <a:gd name="connsiteX13" fmla="*/ 70086 w 625965"/>
                <a:gd name="connsiteY13" fmla="*/ 627696 h 749878"/>
                <a:gd name="connsiteX14" fmla="*/ 1316 w 625965"/>
                <a:gd name="connsiteY14" fmla="*/ 333183 h 749878"/>
                <a:gd name="connsiteX15" fmla="*/ 115044 w 625965"/>
                <a:gd name="connsiteY15" fmla="*/ 72770 h 749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5965" h="749878">
                  <a:moveTo>
                    <a:pt x="115044" y="72770"/>
                  </a:moveTo>
                  <a:cubicBezTo>
                    <a:pt x="202770" y="-1430"/>
                    <a:pt x="329357" y="-14479"/>
                    <a:pt x="437561" y="13810"/>
                  </a:cubicBezTo>
                  <a:cubicBezTo>
                    <a:pt x="523476" y="36003"/>
                    <a:pt x="592628" y="104202"/>
                    <a:pt x="621870" y="187165"/>
                  </a:cubicBezTo>
                  <a:cubicBezTo>
                    <a:pt x="567387" y="211073"/>
                    <a:pt x="512713" y="234504"/>
                    <a:pt x="458230" y="258221"/>
                  </a:cubicBezTo>
                  <a:cubicBezTo>
                    <a:pt x="449086" y="230313"/>
                    <a:pt x="436418" y="201738"/>
                    <a:pt x="411843" y="184117"/>
                  </a:cubicBezTo>
                  <a:cubicBezTo>
                    <a:pt x="358503" y="144969"/>
                    <a:pt x="269445" y="152494"/>
                    <a:pt x="233916" y="212120"/>
                  </a:cubicBezTo>
                  <a:cubicBezTo>
                    <a:pt x="204294" y="259650"/>
                    <a:pt x="211342" y="317753"/>
                    <a:pt x="210771" y="371093"/>
                  </a:cubicBezTo>
                  <a:cubicBezTo>
                    <a:pt x="212104" y="425385"/>
                    <a:pt x="203055" y="484059"/>
                    <a:pt x="230868" y="533684"/>
                  </a:cubicBezTo>
                  <a:cubicBezTo>
                    <a:pt x="271350" y="608265"/>
                    <a:pt x="392317" y="607884"/>
                    <a:pt x="439371" y="540352"/>
                  </a:cubicBezTo>
                  <a:cubicBezTo>
                    <a:pt x="452134" y="523112"/>
                    <a:pt x="460135" y="502919"/>
                    <a:pt x="468708" y="483392"/>
                  </a:cubicBezTo>
                  <a:cubicBezTo>
                    <a:pt x="521095" y="506252"/>
                    <a:pt x="573578" y="528922"/>
                    <a:pt x="625965" y="551782"/>
                  </a:cubicBezTo>
                  <a:cubicBezTo>
                    <a:pt x="605106" y="608741"/>
                    <a:pt x="571673" y="662939"/>
                    <a:pt x="521095" y="697800"/>
                  </a:cubicBezTo>
                  <a:cubicBezTo>
                    <a:pt x="449372" y="748092"/>
                    <a:pt x="356598" y="756855"/>
                    <a:pt x="271921" y="745425"/>
                  </a:cubicBezTo>
                  <a:cubicBezTo>
                    <a:pt x="192673" y="734757"/>
                    <a:pt x="116473" y="693800"/>
                    <a:pt x="70086" y="627696"/>
                  </a:cubicBezTo>
                  <a:cubicBezTo>
                    <a:pt x="9603" y="543114"/>
                    <a:pt x="-4876" y="434624"/>
                    <a:pt x="1316" y="333183"/>
                  </a:cubicBezTo>
                  <a:cubicBezTo>
                    <a:pt x="7031" y="237171"/>
                    <a:pt x="39702" y="136778"/>
                    <a:pt x="115044" y="72770"/>
                  </a:cubicBezTo>
                  <a:close/>
                </a:path>
              </a:pathLst>
            </a:custGeom>
            <a:solidFill>
              <a:srgbClr val="000000"/>
            </a:solidFill>
            <a:ln w="9525" cap="flat">
              <a:noFill/>
              <a:prstDash val="solid"/>
              <a:miter/>
            </a:ln>
          </p:spPr>
          <p:txBody>
            <a:bodyPr rtlCol="0" anchor="ctr"/>
            <a:lstStyle/>
            <a:p>
              <a:endParaRPr lang="en-US" sz="900"/>
            </a:p>
          </p:txBody>
        </p:sp>
        <p:sp>
          <p:nvSpPr>
            <p:cNvPr id="37" name="Freeform: Shape 36">
              <a:extLst>
                <a:ext uri="{FF2B5EF4-FFF2-40B4-BE49-F238E27FC236}">
                  <a16:creationId xmlns:a16="http://schemas.microsoft.com/office/drawing/2014/main" id="{7D9AA833-AD83-E679-5D6E-186A8D02B00C}"/>
                </a:ext>
              </a:extLst>
            </p:cNvPr>
            <p:cNvSpPr/>
            <p:nvPr/>
          </p:nvSpPr>
          <p:spPr>
            <a:xfrm>
              <a:off x="13262546" y="8849276"/>
              <a:ext cx="625919" cy="749850"/>
            </a:xfrm>
            <a:custGeom>
              <a:avLst/>
              <a:gdLst>
                <a:gd name="connsiteX0" fmla="*/ 114142 w 625919"/>
                <a:gd name="connsiteY0" fmla="*/ 73457 h 749850"/>
                <a:gd name="connsiteX1" fmla="*/ 437897 w 625919"/>
                <a:gd name="connsiteY1" fmla="*/ 13831 h 749850"/>
                <a:gd name="connsiteX2" fmla="*/ 621920 w 625919"/>
                <a:gd name="connsiteY2" fmla="*/ 187281 h 749850"/>
                <a:gd name="connsiteX3" fmla="*/ 458280 w 625919"/>
                <a:gd name="connsiteY3" fmla="*/ 258242 h 749850"/>
                <a:gd name="connsiteX4" fmla="*/ 399225 w 625919"/>
                <a:gd name="connsiteY4" fmla="*/ 175946 h 749850"/>
                <a:gd name="connsiteX5" fmla="*/ 237776 w 625919"/>
                <a:gd name="connsiteY5" fmla="*/ 206426 h 749850"/>
                <a:gd name="connsiteX6" fmla="*/ 210725 w 625919"/>
                <a:gd name="connsiteY6" fmla="*/ 371209 h 749850"/>
                <a:gd name="connsiteX7" fmla="*/ 231013 w 625919"/>
                <a:gd name="connsiteY7" fmla="*/ 534086 h 749850"/>
                <a:gd name="connsiteX8" fmla="*/ 437992 w 625919"/>
                <a:gd name="connsiteY8" fmla="*/ 542278 h 749850"/>
                <a:gd name="connsiteX9" fmla="*/ 468662 w 625919"/>
                <a:gd name="connsiteY9" fmla="*/ 483413 h 749850"/>
                <a:gd name="connsiteX10" fmla="*/ 625920 w 625919"/>
                <a:gd name="connsiteY10" fmla="*/ 551898 h 749850"/>
                <a:gd name="connsiteX11" fmla="*/ 514573 w 625919"/>
                <a:gd name="connsiteY11" fmla="*/ 702203 h 749850"/>
                <a:gd name="connsiteX12" fmla="*/ 265494 w 625919"/>
                <a:gd name="connsiteY12" fmla="*/ 744398 h 749850"/>
                <a:gd name="connsiteX13" fmla="*/ 66422 w 625919"/>
                <a:gd name="connsiteY13" fmla="*/ 622478 h 749850"/>
                <a:gd name="connsiteX14" fmla="*/ 1937 w 625919"/>
                <a:gd name="connsiteY14" fmla="*/ 324441 h 749850"/>
                <a:gd name="connsiteX15" fmla="*/ 114142 w 625919"/>
                <a:gd name="connsiteY15" fmla="*/ 73457 h 749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5919" h="749850">
                  <a:moveTo>
                    <a:pt x="114142" y="73457"/>
                  </a:moveTo>
                  <a:cubicBezTo>
                    <a:pt x="201962" y="-1409"/>
                    <a:pt x="329121" y="-14554"/>
                    <a:pt x="437897" y="13831"/>
                  </a:cubicBezTo>
                  <a:cubicBezTo>
                    <a:pt x="523717" y="36215"/>
                    <a:pt x="592582" y="104318"/>
                    <a:pt x="621920" y="187281"/>
                  </a:cubicBezTo>
                  <a:cubicBezTo>
                    <a:pt x="567341" y="210998"/>
                    <a:pt x="512763" y="234525"/>
                    <a:pt x="458280" y="258242"/>
                  </a:cubicBezTo>
                  <a:cubicBezTo>
                    <a:pt x="448184" y="225476"/>
                    <a:pt x="430753" y="192425"/>
                    <a:pt x="399225" y="175946"/>
                  </a:cubicBezTo>
                  <a:cubicBezTo>
                    <a:pt x="347599" y="148133"/>
                    <a:pt x="272447" y="155658"/>
                    <a:pt x="237776" y="206426"/>
                  </a:cubicBezTo>
                  <a:cubicBezTo>
                    <a:pt x="203772" y="254432"/>
                    <a:pt x="211202" y="315869"/>
                    <a:pt x="210725" y="371209"/>
                  </a:cubicBezTo>
                  <a:cubicBezTo>
                    <a:pt x="212059" y="425692"/>
                    <a:pt x="203105" y="484366"/>
                    <a:pt x="231013" y="534086"/>
                  </a:cubicBezTo>
                  <a:cubicBezTo>
                    <a:pt x="271304" y="607524"/>
                    <a:pt x="390081" y="607905"/>
                    <a:pt x="437992" y="542278"/>
                  </a:cubicBezTo>
                  <a:cubicBezTo>
                    <a:pt x="451422" y="524561"/>
                    <a:pt x="459899" y="503702"/>
                    <a:pt x="468662" y="483413"/>
                  </a:cubicBezTo>
                  <a:cubicBezTo>
                    <a:pt x="521050" y="506178"/>
                    <a:pt x="573532" y="528943"/>
                    <a:pt x="625920" y="551898"/>
                  </a:cubicBezTo>
                  <a:cubicBezTo>
                    <a:pt x="604298" y="611144"/>
                    <a:pt x="568579" y="667532"/>
                    <a:pt x="514573" y="702203"/>
                  </a:cubicBezTo>
                  <a:cubicBezTo>
                    <a:pt x="441706" y="749732"/>
                    <a:pt x="349600" y="756971"/>
                    <a:pt x="265494" y="744398"/>
                  </a:cubicBezTo>
                  <a:cubicBezTo>
                    <a:pt x="186341" y="732492"/>
                    <a:pt x="111189" y="689534"/>
                    <a:pt x="66422" y="622478"/>
                  </a:cubicBezTo>
                  <a:cubicBezTo>
                    <a:pt x="7366" y="535991"/>
                    <a:pt x="-5587" y="426644"/>
                    <a:pt x="1937" y="324441"/>
                  </a:cubicBezTo>
                  <a:cubicBezTo>
                    <a:pt x="8890" y="231668"/>
                    <a:pt x="41656" y="135465"/>
                    <a:pt x="114142" y="73457"/>
                  </a:cubicBezTo>
                  <a:close/>
                </a:path>
              </a:pathLst>
            </a:custGeom>
            <a:solidFill>
              <a:srgbClr val="000000"/>
            </a:solidFill>
            <a:ln w="9525" cap="flat">
              <a:noFill/>
              <a:prstDash val="solid"/>
              <a:miter/>
            </a:ln>
          </p:spPr>
          <p:txBody>
            <a:bodyPr rtlCol="0" anchor="ctr"/>
            <a:lstStyle/>
            <a:p>
              <a:endParaRPr lang="en-US" sz="900"/>
            </a:p>
          </p:txBody>
        </p:sp>
        <p:sp>
          <p:nvSpPr>
            <p:cNvPr id="38" name="Freeform: Shape 37">
              <a:extLst>
                <a:ext uri="{FF2B5EF4-FFF2-40B4-BE49-F238E27FC236}">
                  <a16:creationId xmlns:a16="http://schemas.microsoft.com/office/drawing/2014/main" id="{5BEADA96-1A80-9EB1-DBCA-0EBF9FDAB801}"/>
                </a:ext>
              </a:extLst>
            </p:cNvPr>
            <p:cNvSpPr/>
            <p:nvPr/>
          </p:nvSpPr>
          <p:spPr>
            <a:xfrm>
              <a:off x="14778191" y="8849530"/>
              <a:ext cx="689710" cy="749617"/>
            </a:xfrm>
            <a:custGeom>
              <a:avLst/>
              <a:gdLst>
                <a:gd name="connsiteX0" fmla="*/ 27247 w 689710"/>
                <a:gd name="connsiteY0" fmla="*/ 137021 h 749617"/>
                <a:gd name="connsiteX1" fmla="*/ 239750 w 689710"/>
                <a:gd name="connsiteY1" fmla="*/ 5290 h 749617"/>
                <a:gd name="connsiteX2" fmla="*/ 522070 w 689710"/>
                <a:gd name="connsiteY2" fmla="*/ 49582 h 749617"/>
                <a:gd name="connsiteX3" fmla="*/ 622654 w 689710"/>
                <a:gd name="connsiteY3" fmla="*/ 247606 h 749617"/>
                <a:gd name="connsiteX4" fmla="*/ 623036 w 689710"/>
                <a:gd name="connsiteY4" fmla="*/ 575838 h 749617"/>
                <a:gd name="connsiteX5" fmla="*/ 689711 w 689710"/>
                <a:gd name="connsiteY5" fmla="*/ 575933 h 749617"/>
                <a:gd name="connsiteX6" fmla="*/ 689711 w 689710"/>
                <a:gd name="connsiteY6" fmla="*/ 733000 h 749617"/>
                <a:gd name="connsiteX7" fmla="*/ 506259 w 689710"/>
                <a:gd name="connsiteY7" fmla="*/ 713950 h 749617"/>
                <a:gd name="connsiteX8" fmla="*/ 438441 w 689710"/>
                <a:gd name="connsiteY8" fmla="*/ 603270 h 749617"/>
                <a:gd name="connsiteX9" fmla="*/ 388625 w 689710"/>
                <a:gd name="connsiteY9" fmla="*/ 690805 h 749617"/>
                <a:gd name="connsiteX10" fmla="*/ 169074 w 689710"/>
                <a:gd name="connsiteY10" fmla="*/ 745288 h 749617"/>
                <a:gd name="connsiteX11" fmla="*/ 15341 w 689710"/>
                <a:gd name="connsiteY11" fmla="*/ 626892 h 749617"/>
                <a:gd name="connsiteX12" fmla="*/ 37153 w 689710"/>
                <a:gd name="connsiteY12" fmla="*/ 416008 h 749617"/>
                <a:gd name="connsiteX13" fmla="*/ 191076 w 689710"/>
                <a:gd name="connsiteY13" fmla="*/ 327521 h 749617"/>
                <a:gd name="connsiteX14" fmla="*/ 420629 w 689710"/>
                <a:gd name="connsiteY14" fmla="*/ 316663 h 749617"/>
                <a:gd name="connsiteX15" fmla="*/ 392911 w 689710"/>
                <a:gd name="connsiteY15" fmla="*/ 189028 h 749617"/>
                <a:gd name="connsiteX16" fmla="*/ 258323 w 689710"/>
                <a:gd name="connsiteY16" fmla="*/ 163310 h 749617"/>
                <a:gd name="connsiteX17" fmla="*/ 147452 w 689710"/>
                <a:gd name="connsiteY17" fmla="*/ 243130 h 749617"/>
                <a:gd name="connsiteX18" fmla="*/ 27247 w 689710"/>
                <a:gd name="connsiteY18" fmla="*/ 137021 h 749617"/>
                <a:gd name="connsiteX19" fmla="*/ 252894 w 689710"/>
                <a:gd name="connsiteY19" fmla="*/ 442583 h 749617"/>
                <a:gd name="connsiteX20" fmla="*/ 260038 w 689710"/>
                <a:gd name="connsiteY20" fmla="*/ 604508 h 749617"/>
                <a:gd name="connsiteX21" fmla="*/ 401579 w 689710"/>
                <a:gd name="connsiteY21" fmla="*/ 571552 h 749617"/>
                <a:gd name="connsiteX22" fmla="*/ 420534 w 689710"/>
                <a:gd name="connsiteY22" fmla="*/ 431725 h 749617"/>
                <a:gd name="connsiteX23" fmla="*/ 252894 w 689710"/>
                <a:gd name="connsiteY23" fmla="*/ 442583 h 749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89710" h="749617">
                  <a:moveTo>
                    <a:pt x="27247" y="137021"/>
                  </a:moveTo>
                  <a:cubicBezTo>
                    <a:pt x="73634" y="63583"/>
                    <a:pt x="153834" y="15387"/>
                    <a:pt x="239750" y="5290"/>
                  </a:cubicBezTo>
                  <a:cubicBezTo>
                    <a:pt x="334618" y="-6044"/>
                    <a:pt x="438632" y="-2520"/>
                    <a:pt x="522070" y="49582"/>
                  </a:cubicBezTo>
                  <a:cubicBezTo>
                    <a:pt x="588936" y="91015"/>
                    <a:pt x="621988" y="171025"/>
                    <a:pt x="622654" y="247606"/>
                  </a:cubicBezTo>
                  <a:cubicBezTo>
                    <a:pt x="623512" y="357049"/>
                    <a:pt x="622654" y="466396"/>
                    <a:pt x="623036" y="575838"/>
                  </a:cubicBezTo>
                  <a:cubicBezTo>
                    <a:pt x="645134" y="575838"/>
                    <a:pt x="667422" y="575838"/>
                    <a:pt x="689711" y="575933"/>
                  </a:cubicBezTo>
                  <a:cubicBezTo>
                    <a:pt x="689615" y="628225"/>
                    <a:pt x="689615" y="680613"/>
                    <a:pt x="689711" y="733000"/>
                  </a:cubicBezTo>
                  <a:cubicBezTo>
                    <a:pt x="628750" y="728238"/>
                    <a:pt x="561790" y="746621"/>
                    <a:pt x="506259" y="713950"/>
                  </a:cubicBezTo>
                  <a:cubicBezTo>
                    <a:pt x="466540" y="690614"/>
                    <a:pt x="448442" y="646037"/>
                    <a:pt x="438441" y="603270"/>
                  </a:cubicBezTo>
                  <a:cubicBezTo>
                    <a:pt x="423963" y="633559"/>
                    <a:pt x="413866" y="667278"/>
                    <a:pt x="388625" y="690805"/>
                  </a:cubicBezTo>
                  <a:cubicBezTo>
                    <a:pt x="331952" y="747193"/>
                    <a:pt x="244702" y="756908"/>
                    <a:pt x="169074" y="745288"/>
                  </a:cubicBezTo>
                  <a:cubicBezTo>
                    <a:pt x="102113" y="735477"/>
                    <a:pt x="38676" y="691948"/>
                    <a:pt x="15341" y="626892"/>
                  </a:cubicBezTo>
                  <a:cubicBezTo>
                    <a:pt x="-9234" y="558693"/>
                    <a:pt x="-5900" y="476302"/>
                    <a:pt x="37153" y="416008"/>
                  </a:cubicBezTo>
                  <a:cubicBezTo>
                    <a:pt x="73062" y="366097"/>
                    <a:pt x="132498" y="339808"/>
                    <a:pt x="191076" y="327521"/>
                  </a:cubicBezTo>
                  <a:cubicBezTo>
                    <a:pt x="266515" y="311424"/>
                    <a:pt x="344048" y="317996"/>
                    <a:pt x="420629" y="316663"/>
                  </a:cubicBezTo>
                  <a:cubicBezTo>
                    <a:pt x="420439" y="273419"/>
                    <a:pt x="425963" y="222746"/>
                    <a:pt x="392911" y="189028"/>
                  </a:cubicBezTo>
                  <a:cubicBezTo>
                    <a:pt x="357764" y="155119"/>
                    <a:pt x="303377" y="154547"/>
                    <a:pt x="258323" y="163310"/>
                  </a:cubicBezTo>
                  <a:cubicBezTo>
                    <a:pt x="211460" y="172359"/>
                    <a:pt x="174884" y="205982"/>
                    <a:pt x="147452" y="243130"/>
                  </a:cubicBezTo>
                  <a:cubicBezTo>
                    <a:pt x="107447" y="207697"/>
                    <a:pt x="67728" y="171883"/>
                    <a:pt x="27247" y="137021"/>
                  </a:cubicBezTo>
                  <a:moveTo>
                    <a:pt x="252894" y="442583"/>
                  </a:moveTo>
                  <a:cubicBezTo>
                    <a:pt x="182600" y="464872"/>
                    <a:pt x="184981" y="591078"/>
                    <a:pt x="260038" y="604508"/>
                  </a:cubicBezTo>
                  <a:cubicBezTo>
                    <a:pt x="308044" y="613557"/>
                    <a:pt x="366337" y="609461"/>
                    <a:pt x="401579" y="571552"/>
                  </a:cubicBezTo>
                  <a:cubicBezTo>
                    <a:pt x="433298" y="532213"/>
                    <a:pt x="416438" y="477921"/>
                    <a:pt x="420534" y="431725"/>
                  </a:cubicBezTo>
                  <a:cubicBezTo>
                    <a:pt x="364813" y="434677"/>
                    <a:pt x="306615" y="423724"/>
                    <a:pt x="252894" y="442583"/>
                  </a:cubicBezTo>
                  <a:close/>
                </a:path>
              </a:pathLst>
            </a:custGeom>
            <a:solidFill>
              <a:srgbClr val="000000"/>
            </a:solidFill>
            <a:ln w="9525" cap="flat">
              <a:noFill/>
              <a:prstDash val="solid"/>
              <a:miter/>
            </a:ln>
          </p:spPr>
          <p:txBody>
            <a:bodyPr rtlCol="0" anchor="ctr"/>
            <a:lstStyle/>
            <a:p>
              <a:endParaRPr lang="en-US" sz="900"/>
            </a:p>
          </p:txBody>
        </p:sp>
        <p:sp>
          <p:nvSpPr>
            <p:cNvPr id="39" name="Freeform: Shape 38">
              <a:extLst>
                <a:ext uri="{FF2B5EF4-FFF2-40B4-BE49-F238E27FC236}">
                  <a16:creationId xmlns:a16="http://schemas.microsoft.com/office/drawing/2014/main" id="{E08DAAAF-22D3-8686-027F-301825BDAA00}"/>
                </a:ext>
              </a:extLst>
            </p:cNvPr>
            <p:cNvSpPr/>
            <p:nvPr/>
          </p:nvSpPr>
          <p:spPr>
            <a:xfrm>
              <a:off x="15602775" y="8849035"/>
              <a:ext cx="633507" cy="733518"/>
            </a:xfrm>
            <a:custGeom>
              <a:avLst/>
              <a:gdLst>
                <a:gd name="connsiteX0" fmla="*/ 311944 w 633507"/>
                <a:gd name="connsiteY0" fmla="*/ 20073 h 733518"/>
                <a:gd name="connsiteX1" fmla="*/ 569214 w 633507"/>
                <a:gd name="connsiteY1" fmla="*/ 66078 h 733518"/>
                <a:gd name="connsiteX2" fmla="*/ 633413 w 633507"/>
                <a:gd name="connsiteY2" fmla="*/ 276295 h 733518"/>
                <a:gd name="connsiteX3" fmla="*/ 633508 w 633507"/>
                <a:gd name="connsiteY3" fmla="*/ 733495 h 733518"/>
                <a:gd name="connsiteX4" fmla="*/ 431006 w 633507"/>
                <a:gd name="connsiteY4" fmla="*/ 733495 h 733518"/>
                <a:gd name="connsiteX5" fmla="*/ 430435 w 633507"/>
                <a:gd name="connsiteY5" fmla="*/ 276676 h 733518"/>
                <a:gd name="connsiteX6" fmla="*/ 369951 w 633507"/>
                <a:gd name="connsiteY6" fmla="*/ 169901 h 733518"/>
                <a:gd name="connsiteX7" fmla="*/ 203264 w 633507"/>
                <a:gd name="connsiteY7" fmla="*/ 257245 h 733518"/>
                <a:gd name="connsiteX8" fmla="*/ 202502 w 633507"/>
                <a:gd name="connsiteY8" fmla="*/ 733495 h 733518"/>
                <a:gd name="connsiteX9" fmla="*/ 0 w 633507"/>
                <a:gd name="connsiteY9" fmla="*/ 733400 h 733518"/>
                <a:gd name="connsiteX10" fmla="*/ 95 w 633507"/>
                <a:gd name="connsiteY10" fmla="*/ 16739 h 733518"/>
                <a:gd name="connsiteX11" fmla="*/ 202406 w 633507"/>
                <a:gd name="connsiteY11" fmla="*/ 16739 h 733518"/>
                <a:gd name="connsiteX12" fmla="*/ 204883 w 633507"/>
                <a:gd name="connsiteY12" fmla="*/ 144564 h 733518"/>
                <a:gd name="connsiteX13" fmla="*/ 311944 w 633507"/>
                <a:gd name="connsiteY13" fmla="*/ 20073 h 733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3507" h="733518">
                  <a:moveTo>
                    <a:pt x="311944" y="20073"/>
                  </a:moveTo>
                  <a:cubicBezTo>
                    <a:pt x="395669" y="-15837"/>
                    <a:pt x="506825" y="-5359"/>
                    <a:pt x="569214" y="66078"/>
                  </a:cubicBezTo>
                  <a:cubicBezTo>
                    <a:pt x="618649" y="123609"/>
                    <a:pt x="632365" y="202572"/>
                    <a:pt x="633413" y="276295"/>
                  </a:cubicBezTo>
                  <a:cubicBezTo>
                    <a:pt x="633603" y="428695"/>
                    <a:pt x="633317" y="581095"/>
                    <a:pt x="633508" y="733495"/>
                  </a:cubicBezTo>
                  <a:lnTo>
                    <a:pt x="431006" y="733495"/>
                  </a:lnTo>
                  <a:cubicBezTo>
                    <a:pt x="430625" y="581190"/>
                    <a:pt x="431864" y="428981"/>
                    <a:pt x="430435" y="276676"/>
                  </a:cubicBezTo>
                  <a:cubicBezTo>
                    <a:pt x="429101" y="234861"/>
                    <a:pt x="415290" y="183045"/>
                    <a:pt x="369951" y="169901"/>
                  </a:cubicBezTo>
                  <a:cubicBezTo>
                    <a:pt x="305086" y="150946"/>
                    <a:pt x="210884" y="180759"/>
                    <a:pt x="203264" y="257245"/>
                  </a:cubicBezTo>
                  <a:cubicBezTo>
                    <a:pt x="201263" y="415931"/>
                    <a:pt x="202978" y="574713"/>
                    <a:pt x="202502" y="733495"/>
                  </a:cubicBezTo>
                  <a:cubicBezTo>
                    <a:pt x="134970" y="733495"/>
                    <a:pt x="67437" y="733590"/>
                    <a:pt x="0" y="733400"/>
                  </a:cubicBezTo>
                  <a:cubicBezTo>
                    <a:pt x="191" y="494513"/>
                    <a:pt x="-95" y="255626"/>
                    <a:pt x="95" y="16739"/>
                  </a:cubicBezTo>
                  <a:lnTo>
                    <a:pt x="202406" y="16739"/>
                  </a:lnTo>
                  <a:cubicBezTo>
                    <a:pt x="203264" y="59315"/>
                    <a:pt x="200025" y="102083"/>
                    <a:pt x="204883" y="144564"/>
                  </a:cubicBezTo>
                  <a:cubicBezTo>
                    <a:pt x="226790" y="93606"/>
                    <a:pt x="258604" y="42456"/>
                    <a:pt x="311944" y="20073"/>
                  </a:cubicBezTo>
                  <a:close/>
                </a:path>
              </a:pathLst>
            </a:custGeom>
            <a:solidFill>
              <a:srgbClr val="000000"/>
            </a:solidFill>
            <a:ln w="9525" cap="flat">
              <a:noFill/>
              <a:prstDash val="solid"/>
              <a:miter/>
            </a:ln>
          </p:spPr>
          <p:txBody>
            <a:bodyPr rtlCol="0" anchor="ctr"/>
            <a:lstStyle/>
            <a:p>
              <a:endParaRPr lang="en-US" sz="900"/>
            </a:p>
          </p:txBody>
        </p:sp>
        <p:sp>
          <p:nvSpPr>
            <p:cNvPr id="40" name="Freeform: Shape 39">
              <a:extLst>
                <a:ext uri="{FF2B5EF4-FFF2-40B4-BE49-F238E27FC236}">
                  <a16:creationId xmlns:a16="http://schemas.microsoft.com/office/drawing/2014/main" id="{3BF8AFFD-1B6C-839E-B09F-AF5203BE810E}"/>
                </a:ext>
              </a:extLst>
            </p:cNvPr>
            <p:cNvSpPr/>
            <p:nvPr/>
          </p:nvSpPr>
          <p:spPr>
            <a:xfrm>
              <a:off x="17116014" y="8849344"/>
              <a:ext cx="669651" cy="749917"/>
            </a:xfrm>
            <a:custGeom>
              <a:avLst/>
              <a:gdLst>
                <a:gd name="connsiteX0" fmla="*/ 174305 w 669651"/>
                <a:gd name="connsiteY0" fmla="*/ 34909 h 749917"/>
                <a:gd name="connsiteX1" fmla="*/ 433670 w 669651"/>
                <a:gd name="connsiteY1" fmla="*/ 11287 h 749917"/>
                <a:gd name="connsiteX2" fmla="*/ 624838 w 669651"/>
                <a:gd name="connsiteY2" fmla="*/ 161973 h 749917"/>
                <a:gd name="connsiteX3" fmla="*/ 669129 w 669651"/>
                <a:gd name="connsiteY3" fmla="*/ 426482 h 749917"/>
                <a:gd name="connsiteX4" fmla="*/ 208500 w 669651"/>
                <a:gd name="connsiteY4" fmla="*/ 426482 h 749917"/>
                <a:gd name="connsiteX5" fmla="*/ 248028 w 669651"/>
                <a:gd name="connsiteY5" fmla="*/ 549450 h 749917"/>
                <a:gd name="connsiteX6" fmla="*/ 408049 w 669651"/>
                <a:gd name="connsiteY6" fmla="*/ 587645 h 749917"/>
                <a:gd name="connsiteX7" fmla="*/ 543589 w 669651"/>
                <a:gd name="connsiteY7" fmla="*/ 505063 h 749917"/>
                <a:gd name="connsiteX8" fmla="*/ 645031 w 669651"/>
                <a:gd name="connsiteY8" fmla="*/ 631269 h 749917"/>
                <a:gd name="connsiteX9" fmla="*/ 388617 w 669651"/>
                <a:gd name="connsiteY9" fmla="*/ 747951 h 749917"/>
                <a:gd name="connsiteX10" fmla="*/ 125441 w 669651"/>
                <a:gd name="connsiteY10" fmla="*/ 681752 h 749917"/>
                <a:gd name="connsiteX11" fmla="*/ 5045 w 669651"/>
                <a:gd name="connsiteY11" fmla="*/ 451342 h 749917"/>
                <a:gd name="connsiteX12" fmla="*/ 33526 w 669651"/>
                <a:gd name="connsiteY12" fmla="*/ 189214 h 749917"/>
                <a:gd name="connsiteX13" fmla="*/ 174305 w 669651"/>
                <a:gd name="connsiteY13" fmla="*/ 34909 h 749917"/>
                <a:gd name="connsiteX14" fmla="*/ 232502 w 669651"/>
                <a:gd name="connsiteY14" fmla="*/ 205788 h 749917"/>
                <a:gd name="connsiteX15" fmla="*/ 208500 w 669651"/>
                <a:gd name="connsiteY15" fmla="*/ 307324 h 749917"/>
                <a:gd name="connsiteX16" fmla="*/ 460722 w 669651"/>
                <a:gd name="connsiteY16" fmla="*/ 307324 h 749917"/>
                <a:gd name="connsiteX17" fmla="*/ 423956 w 669651"/>
                <a:gd name="connsiteY17" fmla="*/ 182547 h 749917"/>
                <a:gd name="connsiteX18" fmla="*/ 232502 w 669651"/>
                <a:gd name="connsiteY18" fmla="*/ 205883 h 749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9651" h="749917">
                  <a:moveTo>
                    <a:pt x="174305" y="34909"/>
                  </a:moveTo>
                  <a:cubicBezTo>
                    <a:pt x="254220" y="-3858"/>
                    <a:pt x="347945" y="-8144"/>
                    <a:pt x="433670" y="11287"/>
                  </a:cubicBezTo>
                  <a:cubicBezTo>
                    <a:pt x="515681" y="29956"/>
                    <a:pt x="587690" y="86439"/>
                    <a:pt x="624838" y="161973"/>
                  </a:cubicBezTo>
                  <a:cubicBezTo>
                    <a:pt x="667223" y="243126"/>
                    <a:pt x="671510" y="336852"/>
                    <a:pt x="669129" y="426482"/>
                  </a:cubicBezTo>
                  <a:cubicBezTo>
                    <a:pt x="515586" y="426482"/>
                    <a:pt x="362043" y="426482"/>
                    <a:pt x="208500" y="426482"/>
                  </a:cubicBezTo>
                  <a:cubicBezTo>
                    <a:pt x="208690" y="469916"/>
                    <a:pt x="215834" y="517350"/>
                    <a:pt x="248028" y="549450"/>
                  </a:cubicBezTo>
                  <a:cubicBezTo>
                    <a:pt x="289272" y="590693"/>
                    <a:pt x="353089" y="596217"/>
                    <a:pt x="408049" y="587645"/>
                  </a:cubicBezTo>
                  <a:cubicBezTo>
                    <a:pt x="462341" y="579453"/>
                    <a:pt x="506537" y="543449"/>
                    <a:pt x="543589" y="505063"/>
                  </a:cubicBezTo>
                  <a:cubicBezTo>
                    <a:pt x="577308" y="547259"/>
                    <a:pt x="611216" y="589169"/>
                    <a:pt x="645031" y="631269"/>
                  </a:cubicBezTo>
                  <a:cubicBezTo>
                    <a:pt x="580260" y="703755"/>
                    <a:pt x="484153" y="740997"/>
                    <a:pt x="388617" y="747951"/>
                  </a:cubicBezTo>
                  <a:cubicBezTo>
                    <a:pt x="297273" y="756047"/>
                    <a:pt x="198880" y="740140"/>
                    <a:pt x="125441" y="681752"/>
                  </a:cubicBezTo>
                  <a:cubicBezTo>
                    <a:pt x="54481" y="626602"/>
                    <a:pt x="16381" y="538782"/>
                    <a:pt x="5045" y="451342"/>
                  </a:cubicBezTo>
                  <a:cubicBezTo>
                    <a:pt x="-5812" y="363522"/>
                    <a:pt x="-384" y="271701"/>
                    <a:pt x="33526" y="189214"/>
                  </a:cubicBezTo>
                  <a:cubicBezTo>
                    <a:pt x="60291" y="123301"/>
                    <a:pt x="110011" y="66246"/>
                    <a:pt x="174305" y="34909"/>
                  </a:cubicBezTo>
                  <a:moveTo>
                    <a:pt x="232502" y="205788"/>
                  </a:moveTo>
                  <a:cubicBezTo>
                    <a:pt x="213072" y="235887"/>
                    <a:pt x="209262" y="272367"/>
                    <a:pt x="208500" y="307324"/>
                  </a:cubicBezTo>
                  <a:cubicBezTo>
                    <a:pt x="292510" y="307324"/>
                    <a:pt x="376616" y="307324"/>
                    <a:pt x="460722" y="307324"/>
                  </a:cubicBezTo>
                  <a:cubicBezTo>
                    <a:pt x="459770" y="263890"/>
                    <a:pt x="455292" y="215884"/>
                    <a:pt x="423956" y="182547"/>
                  </a:cubicBezTo>
                  <a:cubicBezTo>
                    <a:pt x="372234" y="128730"/>
                    <a:pt x="270317" y="141780"/>
                    <a:pt x="232502" y="205883"/>
                  </a:cubicBezTo>
                  <a:close/>
                </a:path>
              </a:pathLst>
            </a:custGeom>
            <a:solidFill>
              <a:srgbClr val="000000"/>
            </a:solidFill>
            <a:ln w="9525" cap="flat">
              <a:noFill/>
              <a:prstDash val="solid"/>
              <a:miter/>
            </a:ln>
          </p:spPr>
          <p:txBody>
            <a:bodyPr rtlCol="0" anchor="ctr"/>
            <a:lstStyle/>
            <a:p>
              <a:endParaRPr lang="en-US" sz="900"/>
            </a:p>
          </p:txBody>
        </p:sp>
      </p:grpSp>
      <p:pic>
        <p:nvPicPr>
          <p:cNvPr id="4" name="Picture 3">
            <a:extLst>
              <a:ext uri="{FF2B5EF4-FFF2-40B4-BE49-F238E27FC236}">
                <a16:creationId xmlns:a16="http://schemas.microsoft.com/office/drawing/2014/main" id="{2DE16743-7FE4-7DB0-AE65-92E8AEA8C0B8}"/>
              </a:ext>
            </a:extLst>
          </p:cNvPr>
          <p:cNvPicPr>
            <a:picLocks noChangeAspect="1"/>
          </p:cNvPicPr>
          <p:nvPr userDrawn="1"/>
        </p:nvPicPr>
        <p:blipFill>
          <a:blip r:embed="rId2"/>
          <a:stretch>
            <a:fillRect/>
          </a:stretch>
        </p:blipFill>
        <p:spPr>
          <a:xfrm>
            <a:off x="11081689" y="266700"/>
            <a:ext cx="819043" cy="304800"/>
          </a:xfrm>
          <a:prstGeom prst="rect">
            <a:avLst/>
          </a:prstGeom>
        </p:spPr>
      </p:pic>
      <p:sp>
        <p:nvSpPr>
          <p:cNvPr id="24" name="TextBox 23">
            <a:extLst>
              <a:ext uri="{FF2B5EF4-FFF2-40B4-BE49-F238E27FC236}">
                <a16:creationId xmlns:a16="http://schemas.microsoft.com/office/drawing/2014/main" id="{E731D5B8-4EA5-5E55-4109-62B4448E3095}"/>
              </a:ext>
            </a:extLst>
          </p:cNvPr>
          <p:cNvSpPr txBox="1"/>
          <p:nvPr userDrawn="1"/>
        </p:nvSpPr>
        <p:spPr>
          <a:xfrm>
            <a:off x="270381" y="5966327"/>
            <a:ext cx="2761097" cy="646331"/>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r>
              <a:rPr lang="en-US" sz="1400" kern="0"/>
              <a:t>October 21–24, 2024</a:t>
            </a:r>
          </a:p>
          <a:p>
            <a:r>
              <a:rPr lang="en-US" sz="1400" kern="0"/>
              <a:t>Mandalay Bay Convention Center</a:t>
            </a:r>
            <a:br>
              <a:rPr lang="en-US" sz="1400" kern="0"/>
            </a:br>
            <a:r>
              <a:rPr lang="en-US" sz="1400" kern="0"/>
              <a:t>Las Vegas, Nevada</a:t>
            </a:r>
          </a:p>
        </p:txBody>
      </p:sp>
      <p:grpSp>
        <p:nvGrpSpPr>
          <p:cNvPr id="2" name="Group 1">
            <a:extLst>
              <a:ext uri="{FF2B5EF4-FFF2-40B4-BE49-F238E27FC236}">
                <a16:creationId xmlns:a16="http://schemas.microsoft.com/office/drawing/2014/main" id="{61955243-FDD9-38F4-67E5-08E40398CBFB}"/>
              </a:ext>
            </a:extLst>
          </p:cNvPr>
          <p:cNvGrpSpPr/>
          <p:nvPr userDrawn="1"/>
        </p:nvGrpSpPr>
        <p:grpSpPr>
          <a:xfrm>
            <a:off x="6407331" y="1234495"/>
            <a:ext cx="5496670" cy="5332199"/>
            <a:chOff x="12816331" y="921113"/>
            <a:chExt cx="10994772" cy="10664398"/>
          </a:xfrm>
        </p:grpSpPr>
        <p:sp>
          <p:nvSpPr>
            <p:cNvPr id="3" name="Rectangle 2">
              <a:extLst>
                <a:ext uri="{FF2B5EF4-FFF2-40B4-BE49-F238E27FC236}">
                  <a16:creationId xmlns:a16="http://schemas.microsoft.com/office/drawing/2014/main" id="{EC35D6C5-324D-054F-7D84-45882D8CFB0B}"/>
                </a:ext>
              </a:extLst>
            </p:cNvPr>
            <p:cNvSpPr>
              <a:spLocks noChangeAspect="1"/>
            </p:cNvSpPr>
            <p:nvPr/>
          </p:nvSpPr>
          <p:spPr bwMode="auto">
            <a:xfrm>
              <a:off x="18324703" y="6099111"/>
              <a:ext cx="5486400" cy="5486400"/>
            </a:xfrm>
            <a:prstGeom prst="rect">
              <a:avLst/>
            </a:prstGeom>
            <a:solidFill>
              <a:schemeClr val="tx1">
                <a:alpha val="32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163767" marR="0" indent="-163767" algn="l" defTabSz="457109"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uk-UA" sz="1000" b="0" i="0" u="none" strike="noStrike" cap="none" normalizeH="0" baseline="0">
                <a:ln>
                  <a:noFill/>
                </a:ln>
                <a:solidFill>
                  <a:schemeClr val="bg1"/>
                </a:solidFill>
                <a:effectLst/>
                <a:latin typeface="+mn-lt"/>
              </a:endParaRPr>
            </a:p>
          </p:txBody>
        </p:sp>
        <p:sp>
          <p:nvSpPr>
            <p:cNvPr id="5" name="Freeform: Shape 4">
              <a:extLst>
                <a:ext uri="{FF2B5EF4-FFF2-40B4-BE49-F238E27FC236}">
                  <a16:creationId xmlns:a16="http://schemas.microsoft.com/office/drawing/2014/main" id="{6E76E893-8292-959C-74CA-9EFEF503B53A}"/>
                </a:ext>
              </a:extLst>
            </p:cNvPr>
            <p:cNvSpPr>
              <a:spLocks noChangeAspect="1"/>
            </p:cNvSpPr>
            <p:nvPr/>
          </p:nvSpPr>
          <p:spPr>
            <a:xfrm>
              <a:off x="12816331" y="8842243"/>
              <a:ext cx="2743200" cy="2743268"/>
            </a:xfrm>
            <a:custGeom>
              <a:avLst/>
              <a:gdLst>
                <a:gd name="connsiteX0" fmla="*/ 164333 w 305786"/>
                <a:gd name="connsiteY0" fmla="*/ 305795 h 305794"/>
                <a:gd name="connsiteX1" fmla="*/ 162308 w 305786"/>
                <a:gd name="connsiteY1" fmla="*/ 305257 h 305794"/>
                <a:gd name="connsiteX2" fmla="*/ 160213 w 305786"/>
                <a:gd name="connsiteY2" fmla="*/ 301675 h 305794"/>
                <a:gd name="connsiteX3" fmla="*/ 160213 w 305786"/>
                <a:gd name="connsiteY3" fmla="*/ 225134 h 305794"/>
                <a:gd name="connsiteX4" fmla="*/ 156666 w 305786"/>
                <a:gd name="connsiteY4" fmla="*/ 223669 h 305794"/>
                <a:gd name="connsiteX5" fmla="*/ 98574 w 305786"/>
                <a:gd name="connsiteY5" fmla="*/ 281704 h 305794"/>
                <a:gd name="connsiteX6" fmla="*/ 92749 w 305786"/>
                <a:gd name="connsiteY6" fmla="*/ 275867 h 305794"/>
                <a:gd name="connsiteX7" fmla="*/ 150818 w 305786"/>
                <a:gd name="connsiteY7" fmla="*/ 217844 h 305794"/>
                <a:gd name="connsiteX8" fmla="*/ 148758 w 305786"/>
                <a:gd name="connsiteY8" fmla="*/ 210119 h 305794"/>
                <a:gd name="connsiteX9" fmla="*/ 164322 w 305786"/>
                <a:gd name="connsiteY9" fmla="*/ 194555 h 305794"/>
                <a:gd name="connsiteX10" fmla="*/ 179886 w 305786"/>
                <a:gd name="connsiteY10" fmla="*/ 210119 h 305794"/>
                <a:gd name="connsiteX11" fmla="*/ 168442 w 305786"/>
                <a:gd name="connsiteY11" fmla="*/ 225134 h 305794"/>
                <a:gd name="connsiteX12" fmla="*/ 168442 w 305786"/>
                <a:gd name="connsiteY12" fmla="*/ 294407 h 305794"/>
                <a:gd name="connsiteX13" fmla="*/ 217413 w 305786"/>
                <a:gd name="connsiteY13" fmla="*/ 265018 h 305794"/>
                <a:gd name="connsiteX14" fmla="*/ 217413 w 305786"/>
                <a:gd name="connsiteY14" fmla="*/ 164342 h 305794"/>
                <a:gd name="connsiteX15" fmla="*/ 218614 w 305786"/>
                <a:gd name="connsiteY15" fmla="*/ 161435 h 305794"/>
                <a:gd name="connsiteX16" fmla="*/ 266372 w 305786"/>
                <a:gd name="connsiteY16" fmla="*/ 113700 h 305794"/>
                <a:gd name="connsiteX17" fmla="*/ 297546 w 305786"/>
                <a:gd name="connsiteY17" fmla="*/ 38453 h 305794"/>
                <a:gd name="connsiteX18" fmla="*/ 297546 w 305786"/>
                <a:gd name="connsiteY18" fmla="*/ 8240 h 305794"/>
                <a:gd name="connsiteX19" fmla="*/ 267333 w 305786"/>
                <a:gd name="connsiteY19" fmla="*/ 8240 h 305794"/>
                <a:gd name="connsiteX20" fmla="*/ 192120 w 305786"/>
                <a:gd name="connsiteY20" fmla="*/ 39403 h 305794"/>
                <a:gd name="connsiteX21" fmla="*/ 144363 w 305786"/>
                <a:gd name="connsiteY21" fmla="*/ 87138 h 305794"/>
                <a:gd name="connsiteX22" fmla="*/ 141445 w 305786"/>
                <a:gd name="connsiteY22" fmla="*/ 88351 h 305794"/>
                <a:gd name="connsiteX23" fmla="*/ 40791 w 305786"/>
                <a:gd name="connsiteY23" fmla="*/ 88351 h 305794"/>
                <a:gd name="connsiteX24" fmla="*/ 11390 w 305786"/>
                <a:gd name="connsiteY24" fmla="*/ 137333 h 305794"/>
                <a:gd name="connsiteX25" fmla="*/ 80652 w 305786"/>
                <a:gd name="connsiteY25" fmla="*/ 137333 h 305794"/>
                <a:gd name="connsiteX26" fmla="*/ 95667 w 305786"/>
                <a:gd name="connsiteY26" fmla="*/ 125888 h 305794"/>
                <a:gd name="connsiteX27" fmla="*/ 111231 w 305786"/>
                <a:gd name="connsiteY27" fmla="*/ 141453 h 305794"/>
                <a:gd name="connsiteX28" fmla="*/ 95667 w 305786"/>
                <a:gd name="connsiteY28" fmla="*/ 157017 h 305794"/>
                <a:gd name="connsiteX29" fmla="*/ 87965 w 305786"/>
                <a:gd name="connsiteY29" fmla="*/ 154980 h 305794"/>
                <a:gd name="connsiteX30" fmla="*/ 29907 w 305786"/>
                <a:gd name="connsiteY30" fmla="*/ 213038 h 305794"/>
                <a:gd name="connsiteX31" fmla="*/ 24082 w 305786"/>
                <a:gd name="connsiteY31" fmla="*/ 207201 h 305794"/>
                <a:gd name="connsiteX32" fmla="*/ 82128 w 305786"/>
                <a:gd name="connsiteY32" fmla="*/ 149144 h 305794"/>
                <a:gd name="connsiteX33" fmla="*/ 80652 w 305786"/>
                <a:gd name="connsiteY33" fmla="*/ 145573 h 305794"/>
                <a:gd name="connsiteX34" fmla="*/ 4112 w 305786"/>
                <a:gd name="connsiteY34" fmla="*/ 145573 h 305794"/>
                <a:gd name="connsiteX35" fmla="*/ 530 w 305786"/>
                <a:gd name="connsiteY35" fmla="*/ 143479 h 305794"/>
                <a:gd name="connsiteX36" fmla="*/ 587 w 305786"/>
                <a:gd name="connsiteY36" fmla="*/ 139336 h 305794"/>
                <a:gd name="connsiteX37" fmla="*/ 34931 w 305786"/>
                <a:gd name="connsiteY37" fmla="*/ 82114 h 305794"/>
                <a:gd name="connsiteX38" fmla="*/ 38456 w 305786"/>
                <a:gd name="connsiteY38" fmla="*/ 80111 h 305794"/>
                <a:gd name="connsiteX39" fmla="*/ 139739 w 305786"/>
                <a:gd name="connsiteY39" fmla="*/ 80111 h 305794"/>
                <a:gd name="connsiteX40" fmla="*/ 186284 w 305786"/>
                <a:gd name="connsiteY40" fmla="*/ 33578 h 305794"/>
                <a:gd name="connsiteX41" fmla="*/ 267333 w 305786"/>
                <a:gd name="connsiteY41" fmla="*/ 0 h 305794"/>
                <a:gd name="connsiteX42" fmla="*/ 301666 w 305786"/>
                <a:gd name="connsiteY42" fmla="*/ 0 h 305794"/>
                <a:gd name="connsiteX43" fmla="*/ 305786 w 305786"/>
                <a:gd name="connsiteY43" fmla="*/ 4120 h 305794"/>
                <a:gd name="connsiteX44" fmla="*/ 305786 w 305786"/>
                <a:gd name="connsiteY44" fmla="*/ 38453 h 305794"/>
                <a:gd name="connsiteX45" fmla="*/ 272220 w 305786"/>
                <a:gd name="connsiteY45" fmla="*/ 119514 h 305794"/>
                <a:gd name="connsiteX46" fmla="*/ 225675 w 305786"/>
                <a:gd name="connsiteY46" fmla="*/ 166047 h 305794"/>
                <a:gd name="connsiteX47" fmla="*/ 225675 w 305786"/>
                <a:gd name="connsiteY47" fmla="*/ 267341 h 305794"/>
                <a:gd name="connsiteX48" fmla="*/ 223673 w 305786"/>
                <a:gd name="connsiteY48" fmla="*/ 270878 h 305794"/>
                <a:gd name="connsiteX49" fmla="*/ 166451 w 305786"/>
                <a:gd name="connsiteY49" fmla="*/ 305211 h 305794"/>
                <a:gd name="connsiteX50" fmla="*/ 164333 w 305786"/>
                <a:gd name="connsiteY50" fmla="*/ 305795 h 305794"/>
                <a:gd name="connsiteX51" fmla="*/ 164333 w 305786"/>
                <a:gd name="connsiteY51" fmla="*/ 202795 h 305794"/>
                <a:gd name="connsiteX52" fmla="*/ 157009 w 305786"/>
                <a:gd name="connsiteY52" fmla="*/ 210119 h 305794"/>
                <a:gd name="connsiteX53" fmla="*/ 164333 w 305786"/>
                <a:gd name="connsiteY53" fmla="*/ 217444 h 305794"/>
                <a:gd name="connsiteX54" fmla="*/ 171658 w 305786"/>
                <a:gd name="connsiteY54" fmla="*/ 210119 h 305794"/>
                <a:gd name="connsiteX55" fmla="*/ 164333 w 305786"/>
                <a:gd name="connsiteY55" fmla="*/ 202795 h 305794"/>
                <a:gd name="connsiteX56" fmla="*/ 95667 w 305786"/>
                <a:gd name="connsiteY56" fmla="*/ 134128 h 305794"/>
                <a:gd name="connsiteX57" fmla="*/ 88343 w 305786"/>
                <a:gd name="connsiteY57" fmla="*/ 141453 h 305794"/>
                <a:gd name="connsiteX58" fmla="*/ 95667 w 305786"/>
                <a:gd name="connsiteY58" fmla="*/ 148777 h 305794"/>
                <a:gd name="connsiteX59" fmla="*/ 102991 w 305786"/>
                <a:gd name="connsiteY59" fmla="*/ 141453 h 305794"/>
                <a:gd name="connsiteX60" fmla="*/ 95667 w 305786"/>
                <a:gd name="connsiteY60" fmla="*/ 134128 h 305794"/>
                <a:gd name="connsiteX61" fmla="*/ 7019 w 305786"/>
                <a:gd name="connsiteY61" fmla="*/ 304593 h 305794"/>
                <a:gd name="connsiteX62" fmla="*/ 1193 w 305786"/>
                <a:gd name="connsiteY62" fmla="*/ 298756 h 305794"/>
                <a:gd name="connsiteX63" fmla="*/ 150806 w 305786"/>
                <a:gd name="connsiteY63" fmla="*/ 149155 h 305794"/>
                <a:gd name="connsiteX64" fmla="*/ 148769 w 305786"/>
                <a:gd name="connsiteY64" fmla="*/ 141453 h 305794"/>
                <a:gd name="connsiteX65" fmla="*/ 164333 w 305786"/>
                <a:gd name="connsiteY65" fmla="*/ 125888 h 305794"/>
                <a:gd name="connsiteX66" fmla="*/ 179898 w 305786"/>
                <a:gd name="connsiteY66" fmla="*/ 141453 h 305794"/>
                <a:gd name="connsiteX67" fmla="*/ 164333 w 305786"/>
                <a:gd name="connsiteY67" fmla="*/ 157017 h 305794"/>
                <a:gd name="connsiteX68" fmla="*/ 156631 w 305786"/>
                <a:gd name="connsiteY68" fmla="*/ 154980 h 305794"/>
                <a:gd name="connsiteX69" fmla="*/ 7019 w 305786"/>
                <a:gd name="connsiteY69" fmla="*/ 304593 h 305794"/>
                <a:gd name="connsiteX70" fmla="*/ 164333 w 305786"/>
                <a:gd name="connsiteY70" fmla="*/ 134128 h 305794"/>
                <a:gd name="connsiteX71" fmla="*/ 157009 w 305786"/>
                <a:gd name="connsiteY71" fmla="*/ 141453 h 305794"/>
                <a:gd name="connsiteX72" fmla="*/ 164333 w 305786"/>
                <a:gd name="connsiteY72" fmla="*/ 148777 h 305794"/>
                <a:gd name="connsiteX73" fmla="*/ 171658 w 305786"/>
                <a:gd name="connsiteY73" fmla="*/ 141453 h 305794"/>
                <a:gd name="connsiteX74" fmla="*/ 164333 w 305786"/>
                <a:gd name="connsiteY74" fmla="*/ 134128 h 305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305786" h="305794">
                  <a:moveTo>
                    <a:pt x="164333" y="305795"/>
                  </a:moveTo>
                  <a:cubicBezTo>
                    <a:pt x="163635" y="305795"/>
                    <a:pt x="162937" y="305611"/>
                    <a:pt x="162308" y="305257"/>
                  </a:cubicBezTo>
                  <a:cubicBezTo>
                    <a:pt x="161015" y="304524"/>
                    <a:pt x="160213" y="303162"/>
                    <a:pt x="160213" y="301675"/>
                  </a:cubicBezTo>
                  <a:lnTo>
                    <a:pt x="160213" y="225134"/>
                  </a:lnTo>
                  <a:cubicBezTo>
                    <a:pt x="158966" y="224791"/>
                    <a:pt x="157776" y="224299"/>
                    <a:pt x="156666" y="223669"/>
                  </a:cubicBezTo>
                  <a:lnTo>
                    <a:pt x="98574" y="281704"/>
                  </a:lnTo>
                  <a:lnTo>
                    <a:pt x="92749" y="275867"/>
                  </a:lnTo>
                  <a:lnTo>
                    <a:pt x="150818" y="217844"/>
                  </a:lnTo>
                  <a:cubicBezTo>
                    <a:pt x="149513" y="215578"/>
                    <a:pt x="148758" y="212935"/>
                    <a:pt x="148758" y="210119"/>
                  </a:cubicBezTo>
                  <a:cubicBezTo>
                    <a:pt x="148758" y="201536"/>
                    <a:pt x="155739" y="194555"/>
                    <a:pt x="164322" y="194555"/>
                  </a:cubicBezTo>
                  <a:cubicBezTo>
                    <a:pt x="172905" y="194555"/>
                    <a:pt x="179886" y="201536"/>
                    <a:pt x="179886" y="210119"/>
                  </a:cubicBezTo>
                  <a:cubicBezTo>
                    <a:pt x="179886" y="217272"/>
                    <a:pt x="175022" y="223315"/>
                    <a:pt x="168442" y="225134"/>
                  </a:cubicBezTo>
                  <a:lnTo>
                    <a:pt x="168442" y="294407"/>
                  </a:lnTo>
                  <a:lnTo>
                    <a:pt x="217413" y="265018"/>
                  </a:lnTo>
                  <a:lnTo>
                    <a:pt x="217413" y="164342"/>
                  </a:lnTo>
                  <a:cubicBezTo>
                    <a:pt x="217413" y="163243"/>
                    <a:pt x="217847" y="162202"/>
                    <a:pt x="218614" y="161435"/>
                  </a:cubicBezTo>
                  <a:lnTo>
                    <a:pt x="266372" y="113700"/>
                  </a:lnTo>
                  <a:cubicBezTo>
                    <a:pt x="286491" y="93592"/>
                    <a:pt x="297546" y="66881"/>
                    <a:pt x="297546" y="38453"/>
                  </a:cubicBezTo>
                  <a:lnTo>
                    <a:pt x="297546" y="8240"/>
                  </a:lnTo>
                  <a:lnTo>
                    <a:pt x="267333" y="8240"/>
                  </a:lnTo>
                  <a:cubicBezTo>
                    <a:pt x="238928" y="8240"/>
                    <a:pt x="212205" y="19307"/>
                    <a:pt x="192120" y="39403"/>
                  </a:cubicBezTo>
                  <a:lnTo>
                    <a:pt x="144363" y="87138"/>
                  </a:lnTo>
                  <a:cubicBezTo>
                    <a:pt x="143585" y="87916"/>
                    <a:pt x="142543" y="88351"/>
                    <a:pt x="141445" y="88351"/>
                  </a:cubicBezTo>
                  <a:lnTo>
                    <a:pt x="40791" y="88351"/>
                  </a:lnTo>
                  <a:lnTo>
                    <a:pt x="11390" y="137333"/>
                  </a:lnTo>
                  <a:lnTo>
                    <a:pt x="80652" y="137333"/>
                  </a:lnTo>
                  <a:cubicBezTo>
                    <a:pt x="82460" y="130741"/>
                    <a:pt x="88503" y="125888"/>
                    <a:pt x="95667" y="125888"/>
                  </a:cubicBezTo>
                  <a:cubicBezTo>
                    <a:pt x="104250" y="125888"/>
                    <a:pt x="111231" y="132870"/>
                    <a:pt x="111231" y="141453"/>
                  </a:cubicBezTo>
                  <a:cubicBezTo>
                    <a:pt x="111231" y="150036"/>
                    <a:pt x="104250" y="157017"/>
                    <a:pt x="95667" y="157017"/>
                  </a:cubicBezTo>
                  <a:cubicBezTo>
                    <a:pt x="92863" y="157017"/>
                    <a:pt x="90242" y="156273"/>
                    <a:pt x="87965" y="154980"/>
                  </a:cubicBezTo>
                  <a:lnTo>
                    <a:pt x="29907" y="213038"/>
                  </a:lnTo>
                  <a:lnTo>
                    <a:pt x="24082" y="207201"/>
                  </a:lnTo>
                  <a:lnTo>
                    <a:pt x="82128" y="149144"/>
                  </a:lnTo>
                  <a:cubicBezTo>
                    <a:pt x="81499" y="148033"/>
                    <a:pt x="80995" y="146832"/>
                    <a:pt x="80652" y="145573"/>
                  </a:cubicBezTo>
                  <a:lnTo>
                    <a:pt x="4112" y="145573"/>
                  </a:lnTo>
                  <a:cubicBezTo>
                    <a:pt x="2624" y="145573"/>
                    <a:pt x="1251" y="144772"/>
                    <a:pt x="530" y="143479"/>
                  </a:cubicBezTo>
                  <a:cubicBezTo>
                    <a:pt x="-191" y="142185"/>
                    <a:pt x="-180" y="140606"/>
                    <a:pt x="587" y="139336"/>
                  </a:cubicBezTo>
                  <a:lnTo>
                    <a:pt x="34931" y="82114"/>
                  </a:lnTo>
                  <a:cubicBezTo>
                    <a:pt x="35675" y="80878"/>
                    <a:pt x="37014" y="80111"/>
                    <a:pt x="38456" y="80111"/>
                  </a:cubicBezTo>
                  <a:lnTo>
                    <a:pt x="139739" y="80111"/>
                  </a:lnTo>
                  <a:lnTo>
                    <a:pt x="186284" y="33578"/>
                  </a:lnTo>
                  <a:cubicBezTo>
                    <a:pt x="207937" y="11925"/>
                    <a:pt x="236719" y="0"/>
                    <a:pt x="267333" y="0"/>
                  </a:cubicBezTo>
                  <a:lnTo>
                    <a:pt x="301666" y="0"/>
                  </a:lnTo>
                  <a:cubicBezTo>
                    <a:pt x="303944" y="0"/>
                    <a:pt x="305786" y="1843"/>
                    <a:pt x="305786" y="4120"/>
                  </a:cubicBezTo>
                  <a:lnTo>
                    <a:pt x="305786" y="38453"/>
                  </a:lnTo>
                  <a:cubicBezTo>
                    <a:pt x="305786" y="69078"/>
                    <a:pt x="293861" y="97861"/>
                    <a:pt x="272220" y="119514"/>
                  </a:cubicBezTo>
                  <a:lnTo>
                    <a:pt x="225675" y="166047"/>
                  </a:lnTo>
                  <a:lnTo>
                    <a:pt x="225675" y="267341"/>
                  </a:lnTo>
                  <a:cubicBezTo>
                    <a:pt x="225675" y="268783"/>
                    <a:pt x="224920" y="270122"/>
                    <a:pt x="223673" y="270878"/>
                  </a:cubicBezTo>
                  <a:lnTo>
                    <a:pt x="166451" y="305211"/>
                  </a:lnTo>
                  <a:cubicBezTo>
                    <a:pt x="165798" y="305600"/>
                    <a:pt x="165066" y="305795"/>
                    <a:pt x="164333" y="305795"/>
                  </a:cubicBezTo>
                  <a:close/>
                  <a:moveTo>
                    <a:pt x="164333" y="202795"/>
                  </a:moveTo>
                  <a:cubicBezTo>
                    <a:pt x="160294" y="202795"/>
                    <a:pt x="157009" y="206079"/>
                    <a:pt x="157009" y="210119"/>
                  </a:cubicBezTo>
                  <a:cubicBezTo>
                    <a:pt x="157009" y="214159"/>
                    <a:pt x="160294" y="217444"/>
                    <a:pt x="164333" y="217444"/>
                  </a:cubicBezTo>
                  <a:cubicBezTo>
                    <a:pt x="168373" y="217444"/>
                    <a:pt x="171658" y="214159"/>
                    <a:pt x="171658" y="210119"/>
                  </a:cubicBezTo>
                  <a:cubicBezTo>
                    <a:pt x="171658" y="206079"/>
                    <a:pt x="168373" y="202795"/>
                    <a:pt x="164333" y="202795"/>
                  </a:cubicBezTo>
                  <a:close/>
                  <a:moveTo>
                    <a:pt x="95667" y="134128"/>
                  </a:moveTo>
                  <a:cubicBezTo>
                    <a:pt x="91627" y="134128"/>
                    <a:pt x="88343" y="137413"/>
                    <a:pt x="88343" y="141453"/>
                  </a:cubicBezTo>
                  <a:cubicBezTo>
                    <a:pt x="88343" y="145493"/>
                    <a:pt x="91627" y="148777"/>
                    <a:pt x="95667" y="148777"/>
                  </a:cubicBezTo>
                  <a:cubicBezTo>
                    <a:pt x="99707" y="148777"/>
                    <a:pt x="102991" y="145493"/>
                    <a:pt x="102991" y="141453"/>
                  </a:cubicBezTo>
                  <a:cubicBezTo>
                    <a:pt x="102991" y="137413"/>
                    <a:pt x="99707" y="134128"/>
                    <a:pt x="95667" y="134128"/>
                  </a:cubicBezTo>
                  <a:close/>
                  <a:moveTo>
                    <a:pt x="7019" y="304593"/>
                  </a:moveTo>
                  <a:lnTo>
                    <a:pt x="1193" y="298756"/>
                  </a:lnTo>
                  <a:lnTo>
                    <a:pt x="150806" y="149155"/>
                  </a:lnTo>
                  <a:cubicBezTo>
                    <a:pt x="149513" y="146878"/>
                    <a:pt x="148769" y="144257"/>
                    <a:pt x="148769" y="141453"/>
                  </a:cubicBezTo>
                  <a:cubicBezTo>
                    <a:pt x="148769" y="132870"/>
                    <a:pt x="155750" y="125888"/>
                    <a:pt x="164333" y="125888"/>
                  </a:cubicBezTo>
                  <a:cubicBezTo>
                    <a:pt x="172917" y="125888"/>
                    <a:pt x="179898" y="132870"/>
                    <a:pt x="179898" y="141453"/>
                  </a:cubicBezTo>
                  <a:cubicBezTo>
                    <a:pt x="179898" y="150036"/>
                    <a:pt x="172917" y="157017"/>
                    <a:pt x="164333" y="157017"/>
                  </a:cubicBezTo>
                  <a:cubicBezTo>
                    <a:pt x="161530" y="157017"/>
                    <a:pt x="158909" y="156273"/>
                    <a:pt x="156631" y="154980"/>
                  </a:cubicBezTo>
                  <a:lnTo>
                    <a:pt x="7019" y="304593"/>
                  </a:lnTo>
                  <a:close/>
                  <a:moveTo>
                    <a:pt x="164333" y="134128"/>
                  </a:moveTo>
                  <a:cubicBezTo>
                    <a:pt x="160294" y="134128"/>
                    <a:pt x="157009" y="137413"/>
                    <a:pt x="157009" y="141453"/>
                  </a:cubicBezTo>
                  <a:cubicBezTo>
                    <a:pt x="157009" y="145493"/>
                    <a:pt x="160294" y="148777"/>
                    <a:pt x="164333" y="148777"/>
                  </a:cubicBezTo>
                  <a:cubicBezTo>
                    <a:pt x="168373" y="148777"/>
                    <a:pt x="171658" y="145493"/>
                    <a:pt x="171658" y="141453"/>
                  </a:cubicBezTo>
                  <a:cubicBezTo>
                    <a:pt x="171658" y="137413"/>
                    <a:pt x="168373" y="134128"/>
                    <a:pt x="164333" y="134128"/>
                  </a:cubicBezTo>
                  <a:close/>
                </a:path>
              </a:pathLst>
            </a:custGeom>
            <a:solidFill>
              <a:srgbClr val="000000"/>
            </a:solidFill>
            <a:ln w="11311" cap="flat">
              <a:noFill/>
              <a:prstDash val="solid"/>
              <a:miter/>
            </a:ln>
          </p:spPr>
          <p:txBody>
            <a:bodyPr rtlCol="0" anchor="ctr"/>
            <a:lstStyle/>
            <a:p>
              <a:endParaRPr lang="en-US" sz="900"/>
            </a:p>
          </p:txBody>
        </p:sp>
        <p:sp>
          <p:nvSpPr>
            <p:cNvPr id="6" name="Freeform: Shape 5">
              <a:extLst>
                <a:ext uri="{FF2B5EF4-FFF2-40B4-BE49-F238E27FC236}">
                  <a16:creationId xmlns:a16="http://schemas.microsoft.com/office/drawing/2014/main" id="{8454FB2F-C531-D354-CE82-8674E31A58B6}"/>
                </a:ext>
              </a:extLst>
            </p:cNvPr>
            <p:cNvSpPr>
              <a:spLocks noChangeAspect="1"/>
            </p:cNvSpPr>
            <p:nvPr/>
          </p:nvSpPr>
          <p:spPr>
            <a:xfrm rot="16200000">
              <a:off x="21062822" y="3355911"/>
              <a:ext cx="2743200" cy="2743200"/>
            </a:xfrm>
            <a:custGeom>
              <a:avLst/>
              <a:gdLst>
                <a:gd name="connsiteX0" fmla="*/ 210111 w 1432576"/>
                <a:gd name="connsiteY0" fmla="*/ 926399 h 1432576"/>
                <a:gd name="connsiteX1" fmla="*/ 0 w 1432576"/>
                <a:gd name="connsiteY1" fmla="*/ 1432576 h 1432576"/>
                <a:gd name="connsiteX2" fmla="*/ 716288 w 1432576"/>
                <a:gd name="connsiteY2" fmla="*/ 1432576 h 1432576"/>
                <a:gd name="connsiteX3" fmla="*/ 1432576 w 1432576"/>
                <a:gd name="connsiteY3" fmla="*/ 1432576 h 1432576"/>
                <a:gd name="connsiteX4" fmla="*/ 1222465 w 1432576"/>
                <a:gd name="connsiteY4" fmla="*/ 926399 h 1432576"/>
                <a:gd name="connsiteX5" fmla="*/ 716288 w 1432576"/>
                <a:gd name="connsiteY5" fmla="*/ 716288 h 1432576"/>
                <a:gd name="connsiteX6" fmla="*/ 210111 w 1432576"/>
                <a:gd name="connsiteY6" fmla="*/ 926399 h 1432576"/>
                <a:gd name="connsiteX7" fmla="*/ 210111 w 1432576"/>
                <a:gd name="connsiteY7" fmla="*/ 506912 h 1432576"/>
                <a:gd name="connsiteX8" fmla="*/ 0 w 1432576"/>
                <a:gd name="connsiteY8" fmla="*/ 0 h 1432576"/>
                <a:gd name="connsiteX9" fmla="*/ 716288 w 1432576"/>
                <a:gd name="connsiteY9" fmla="*/ 0 h 1432576"/>
                <a:gd name="connsiteX10" fmla="*/ 1432576 w 1432576"/>
                <a:gd name="connsiteY10" fmla="*/ 0 h 1432576"/>
                <a:gd name="connsiteX11" fmla="*/ 1222465 w 1432576"/>
                <a:gd name="connsiteY11" fmla="*/ 506177 h 1432576"/>
                <a:gd name="connsiteX12" fmla="*/ 716288 w 1432576"/>
                <a:gd name="connsiteY12" fmla="*/ 716288 h 1432576"/>
                <a:gd name="connsiteX13" fmla="*/ 210111 w 1432576"/>
                <a:gd name="connsiteY13" fmla="*/ 506912 h 143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32576" h="1432576">
                  <a:moveTo>
                    <a:pt x="210111" y="926399"/>
                  </a:moveTo>
                  <a:cubicBezTo>
                    <a:pt x="75669" y="1060841"/>
                    <a:pt x="0" y="1243035"/>
                    <a:pt x="0" y="1432576"/>
                  </a:cubicBezTo>
                  <a:lnTo>
                    <a:pt x="716288" y="1432576"/>
                  </a:lnTo>
                  <a:lnTo>
                    <a:pt x="1432576" y="1432576"/>
                  </a:lnTo>
                  <a:cubicBezTo>
                    <a:pt x="1432576" y="1242301"/>
                    <a:pt x="1356907" y="1060106"/>
                    <a:pt x="1222465" y="926399"/>
                  </a:cubicBezTo>
                  <a:cubicBezTo>
                    <a:pt x="1088023" y="792692"/>
                    <a:pt x="905829" y="716288"/>
                    <a:pt x="716288" y="716288"/>
                  </a:cubicBezTo>
                  <a:cubicBezTo>
                    <a:pt x="526747" y="716288"/>
                    <a:pt x="343818" y="791957"/>
                    <a:pt x="210111" y="926399"/>
                  </a:cubicBezTo>
                  <a:close/>
                  <a:moveTo>
                    <a:pt x="210111" y="506912"/>
                  </a:moveTo>
                  <a:cubicBezTo>
                    <a:pt x="75669" y="372470"/>
                    <a:pt x="0" y="190276"/>
                    <a:pt x="0" y="0"/>
                  </a:cubicBezTo>
                  <a:lnTo>
                    <a:pt x="716288" y="0"/>
                  </a:lnTo>
                  <a:lnTo>
                    <a:pt x="1432576" y="0"/>
                  </a:lnTo>
                  <a:cubicBezTo>
                    <a:pt x="1432576" y="190276"/>
                    <a:pt x="1356907" y="372470"/>
                    <a:pt x="1222465" y="506177"/>
                  </a:cubicBezTo>
                  <a:cubicBezTo>
                    <a:pt x="1088023" y="639884"/>
                    <a:pt x="905829" y="716288"/>
                    <a:pt x="716288" y="716288"/>
                  </a:cubicBezTo>
                  <a:cubicBezTo>
                    <a:pt x="526747" y="716288"/>
                    <a:pt x="343818" y="641353"/>
                    <a:pt x="210111" y="506912"/>
                  </a:cubicBezTo>
                  <a:close/>
                </a:path>
              </a:pathLst>
            </a:custGeom>
            <a:solidFill>
              <a:srgbClr val="D02670"/>
            </a:solidFill>
            <a:ln w="7342" cap="flat">
              <a:noFill/>
              <a:prstDash val="solid"/>
              <a:miter/>
            </a:ln>
          </p:spPr>
          <p:txBody>
            <a:bodyPr rtlCol="0" anchor="ctr"/>
            <a:lstStyle/>
            <a:p>
              <a:endParaRPr lang="uk-UA" sz="900"/>
            </a:p>
          </p:txBody>
        </p:sp>
        <p:sp>
          <p:nvSpPr>
            <p:cNvPr id="7" name="Freeform: Shape 6">
              <a:extLst>
                <a:ext uri="{FF2B5EF4-FFF2-40B4-BE49-F238E27FC236}">
                  <a16:creationId xmlns:a16="http://schemas.microsoft.com/office/drawing/2014/main" id="{15BD5313-7624-0100-76FD-071F8C211452}"/>
                </a:ext>
              </a:extLst>
            </p:cNvPr>
            <p:cNvSpPr>
              <a:spLocks noChangeAspect="1"/>
            </p:cNvSpPr>
            <p:nvPr/>
          </p:nvSpPr>
          <p:spPr>
            <a:xfrm>
              <a:off x="15564361" y="6099111"/>
              <a:ext cx="2743200" cy="2743200"/>
            </a:xfrm>
            <a:custGeom>
              <a:avLst/>
              <a:gdLst>
                <a:gd name="connsiteX0" fmla="*/ 716288 w 1432576"/>
                <a:gd name="connsiteY0" fmla="*/ 1432576 h 1432576"/>
                <a:gd name="connsiteX1" fmla="*/ 716288 w 1432576"/>
                <a:gd name="connsiteY1" fmla="*/ 0 h 1432576"/>
                <a:gd name="connsiteX2" fmla="*/ 1432576 w 1432576"/>
                <a:gd name="connsiteY2" fmla="*/ 716288 h 1432576"/>
                <a:gd name="connsiteX3" fmla="*/ 716288 w 1432576"/>
                <a:gd name="connsiteY3" fmla="*/ 1432576 h 1432576"/>
                <a:gd name="connsiteX4" fmla="*/ 0 w 1432576"/>
                <a:gd name="connsiteY4" fmla="*/ 1432576 h 1432576"/>
                <a:gd name="connsiteX5" fmla="*/ 0 w 1432576"/>
                <a:gd name="connsiteY5" fmla="*/ 0 h 1432576"/>
                <a:gd name="connsiteX6" fmla="*/ 716288 w 1432576"/>
                <a:gd name="connsiteY6" fmla="*/ 716288 h 1432576"/>
                <a:gd name="connsiteX7" fmla="*/ 0 w 1432576"/>
                <a:gd name="connsiteY7" fmla="*/ 1432576 h 143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2576" h="1432576">
                  <a:moveTo>
                    <a:pt x="716288" y="1432576"/>
                  </a:moveTo>
                  <a:lnTo>
                    <a:pt x="716288" y="0"/>
                  </a:lnTo>
                  <a:lnTo>
                    <a:pt x="1432576" y="716288"/>
                  </a:lnTo>
                  <a:lnTo>
                    <a:pt x="716288" y="1432576"/>
                  </a:lnTo>
                  <a:close/>
                  <a:moveTo>
                    <a:pt x="0" y="1432576"/>
                  </a:moveTo>
                  <a:lnTo>
                    <a:pt x="0" y="0"/>
                  </a:lnTo>
                  <a:lnTo>
                    <a:pt x="716288" y="716288"/>
                  </a:lnTo>
                  <a:lnTo>
                    <a:pt x="0" y="1432576"/>
                  </a:lnTo>
                  <a:close/>
                </a:path>
              </a:pathLst>
            </a:custGeom>
            <a:solidFill>
              <a:schemeClr val="accent1"/>
            </a:solidFill>
            <a:ln w="7342" cap="flat">
              <a:noFill/>
              <a:prstDash val="solid"/>
              <a:miter/>
            </a:ln>
          </p:spPr>
          <p:txBody>
            <a:bodyPr rtlCol="0" anchor="ctr"/>
            <a:lstStyle/>
            <a:p>
              <a:endParaRPr lang="uk-UA" sz="900"/>
            </a:p>
          </p:txBody>
        </p:sp>
        <p:sp>
          <p:nvSpPr>
            <p:cNvPr id="9" name="Freeform: Shape 8">
              <a:extLst>
                <a:ext uri="{FF2B5EF4-FFF2-40B4-BE49-F238E27FC236}">
                  <a16:creationId xmlns:a16="http://schemas.microsoft.com/office/drawing/2014/main" id="{90087CCD-731F-3AD9-581D-CD41741B1C9D}"/>
                </a:ext>
              </a:extLst>
            </p:cNvPr>
            <p:cNvSpPr>
              <a:spLocks noChangeAspect="1"/>
            </p:cNvSpPr>
            <p:nvPr/>
          </p:nvSpPr>
          <p:spPr>
            <a:xfrm>
              <a:off x="15564361" y="8842311"/>
              <a:ext cx="2755261" cy="2743200"/>
            </a:xfrm>
            <a:custGeom>
              <a:avLst/>
              <a:gdLst>
                <a:gd name="connsiteX0" fmla="*/ 1002803 w 1998994"/>
                <a:gd name="connsiteY0" fmla="*/ 1581041 h 1990243"/>
                <a:gd name="connsiteX1" fmla="*/ 1247443 w 1998994"/>
                <a:gd name="connsiteY1" fmla="*/ 1338605 h 1990243"/>
                <a:gd name="connsiteX2" fmla="*/ 1002803 w 1998994"/>
                <a:gd name="connsiteY2" fmla="*/ 1096169 h 1990243"/>
                <a:gd name="connsiteX3" fmla="*/ 758163 w 1998994"/>
                <a:gd name="connsiteY3" fmla="*/ 1338605 h 1990243"/>
                <a:gd name="connsiteX4" fmla="*/ 1002803 w 1998994"/>
                <a:gd name="connsiteY4" fmla="*/ 1581041 h 1990243"/>
                <a:gd name="connsiteX5" fmla="*/ 1011619 w 1998994"/>
                <a:gd name="connsiteY5" fmla="*/ 1892534 h 1990243"/>
                <a:gd name="connsiteX6" fmla="*/ 1579507 w 1998994"/>
                <a:gd name="connsiteY6" fmla="*/ 1337870 h 1990243"/>
                <a:gd name="connsiteX7" fmla="*/ 1011619 w 1998994"/>
                <a:gd name="connsiteY7" fmla="*/ 782471 h 1990243"/>
                <a:gd name="connsiteX8" fmla="*/ 443731 w 1998994"/>
                <a:gd name="connsiteY8" fmla="*/ 1337136 h 1990243"/>
                <a:gd name="connsiteX9" fmla="*/ 1011619 w 1998994"/>
                <a:gd name="connsiteY9" fmla="*/ 1892534 h 1990243"/>
                <a:gd name="connsiteX10" fmla="*/ 0 w 1998994"/>
                <a:gd name="connsiteY10" fmla="*/ 1321708 h 1990243"/>
                <a:gd name="connsiteX11" fmla="*/ 999865 w 1998994"/>
                <a:gd name="connsiteY11" fmla="*/ 660519 h 1990243"/>
                <a:gd name="connsiteX12" fmla="*/ 1998260 w 1998994"/>
                <a:gd name="connsiteY12" fmla="*/ 1329055 h 1990243"/>
                <a:gd name="connsiteX13" fmla="*/ 999865 w 1998994"/>
                <a:gd name="connsiteY13" fmla="*/ 1990244 h 1990243"/>
                <a:gd name="connsiteX14" fmla="*/ 0 w 1998994"/>
                <a:gd name="connsiteY14" fmla="*/ 1321708 h 1990243"/>
                <a:gd name="connsiteX15" fmla="*/ 372470 w 1998994"/>
                <a:gd name="connsiteY15" fmla="*/ 197686 h 1990243"/>
                <a:gd name="connsiteX16" fmla="*/ 999865 w 1998994"/>
                <a:gd name="connsiteY16" fmla="*/ 64 h 1990243"/>
                <a:gd name="connsiteX17" fmla="*/ 1627260 w 1998994"/>
                <a:gd name="connsiteY17" fmla="*/ 197686 h 1990243"/>
                <a:gd name="connsiteX18" fmla="*/ 1998995 w 1998994"/>
                <a:gd name="connsiteY18" fmla="*/ 598808 h 1990243"/>
                <a:gd name="connsiteX19" fmla="*/ 1998995 w 1998994"/>
                <a:gd name="connsiteY19" fmla="*/ 796430 h 1990243"/>
                <a:gd name="connsiteX20" fmla="*/ 1550856 w 1998994"/>
                <a:gd name="connsiteY20" fmla="*/ 470978 h 1990243"/>
                <a:gd name="connsiteX21" fmla="*/ 999865 w 1998994"/>
                <a:gd name="connsiteY21" fmla="*/ 346087 h 1990243"/>
                <a:gd name="connsiteX22" fmla="*/ 448874 w 1998994"/>
                <a:gd name="connsiteY22" fmla="*/ 470978 h 1990243"/>
                <a:gd name="connsiteX23" fmla="*/ 734 w 1998994"/>
                <a:gd name="connsiteY23" fmla="*/ 796430 h 1990243"/>
                <a:gd name="connsiteX24" fmla="*/ 734 w 1998994"/>
                <a:gd name="connsiteY24" fmla="*/ 598808 h 1990243"/>
                <a:gd name="connsiteX25" fmla="*/ 372470 w 1998994"/>
                <a:gd name="connsiteY25" fmla="*/ 197686 h 1990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998994" h="1990243">
                  <a:moveTo>
                    <a:pt x="1002803" y="1581041"/>
                  </a:moveTo>
                  <a:cubicBezTo>
                    <a:pt x="1137980" y="1581041"/>
                    <a:pt x="1247443" y="1472312"/>
                    <a:pt x="1247443" y="1338605"/>
                  </a:cubicBezTo>
                  <a:cubicBezTo>
                    <a:pt x="1247443" y="1204163"/>
                    <a:pt x="1137980" y="1096169"/>
                    <a:pt x="1002803" y="1096169"/>
                  </a:cubicBezTo>
                  <a:cubicBezTo>
                    <a:pt x="867627" y="1096169"/>
                    <a:pt x="758163" y="1204898"/>
                    <a:pt x="758163" y="1338605"/>
                  </a:cubicBezTo>
                  <a:cubicBezTo>
                    <a:pt x="757429" y="1472312"/>
                    <a:pt x="867627" y="1581041"/>
                    <a:pt x="1002803" y="1581041"/>
                  </a:cubicBezTo>
                  <a:close/>
                  <a:moveTo>
                    <a:pt x="1011619" y="1892534"/>
                  </a:moveTo>
                  <a:cubicBezTo>
                    <a:pt x="1325317" y="1892534"/>
                    <a:pt x="1579507" y="1644221"/>
                    <a:pt x="1579507" y="1337870"/>
                  </a:cubicBezTo>
                  <a:cubicBezTo>
                    <a:pt x="1579507" y="1031520"/>
                    <a:pt x="1325317" y="782471"/>
                    <a:pt x="1011619" y="782471"/>
                  </a:cubicBezTo>
                  <a:cubicBezTo>
                    <a:pt x="697922" y="782471"/>
                    <a:pt x="443731" y="1030785"/>
                    <a:pt x="443731" y="1337136"/>
                  </a:cubicBezTo>
                  <a:cubicBezTo>
                    <a:pt x="443731" y="1643487"/>
                    <a:pt x="697187" y="1892534"/>
                    <a:pt x="1011619" y="1892534"/>
                  </a:cubicBezTo>
                  <a:close/>
                  <a:moveTo>
                    <a:pt x="0" y="1321708"/>
                  </a:moveTo>
                  <a:cubicBezTo>
                    <a:pt x="0" y="1321708"/>
                    <a:pt x="230681" y="660519"/>
                    <a:pt x="999865" y="660519"/>
                  </a:cubicBezTo>
                  <a:cubicBezTo>
                    <a:pt x="1769048" y="660519"/>
                    <a:pt x="1998260" y="1329055"/>
                    <a:pt x="1998260" y="1329055"/>
                  </a:cubicBezTo>
                  <a:cubicBezTo>
                    <a:pt x="1998260" y="1329055"/>
                    <a:pt x="1771252" y="1990244"/>
                    <a:pt x="999865" y="1990244"/>
                  </a:cubicBezTo>
                  <a:cubicBezTo>
                    <a:pt x="228477" y="1990244"/>
                    <a:pt x="0" y="1321708"/>
                    <a:pt x="0" y="1321708"/>
                  </a:cubicBezTo>
                  <a:close/>
                  <a:moveTo>
                    <a:pt x="372470" y="197686"/>
                  </a:moveTo>
                  <a:cubicBezTo>
                    <a:pt x="634741" y="1534"/>
                    <a:pt x="951378" y="-670"/>
                    <a:pt x="999865" y="64"/>
                  </a:cubicBezTo>
                  <a:cubicBezTo>
                    <a:pt x="1048352" y="-670"/>
                    <a:pt x="1364988" y="1534"/>
                    <a:pt x="1627260" y="197686"/>
                  </a:cubicBezTo>
                  <a:cubicBezTo>
                    <a:pt x="1911571" y="410736"/>
                    <a:pt x="1998995" y="598808"/>
                    <a:pt x="1998995" y="598808"/>
                  </a:cubicBezTo>
                  <a:lnTo>
                    <a:pt x="1998995" y="796430"/>
                  </a:lnTo>
                  <a:cubicBezTo>
                    <a:pt x="1998995" y="796430"/>
                    <a:pt x="1821208" y="595135"/>
                    <a:pt x="1550856" y="470978"/>
                  </a:cubicBezTo>
                  <a:cubicBezTo>
                    <a:pt x="1304012" y="357841"/>
                    <a:pt x="1043209" y="346821"/>
                    <a:pt x="999865" y="346087"/>
                  </a:cubicBezTo>
                  <a:cubicBezTo>
                    <a:pt x="956520" y="346821"/>
                    <a:pt x="695718" y="357841"/>
                    <a:pt x="448874" y="470978"/>
                  </a:cubicBezTo>
                  <a:cubicBezTo>
                    <a:pt x="178521" y="595135"/>
                    <a:pt x="734" y="796430"/>
                    <a:pt x="734" y="796430"/>
                  </a:cubicBezTo>
                  <a:lnTo>
                    <a:pt x="734" y="598808"/>
                  </a:lnTo>
                  <a:cubicBezTo>
                    <a:pt x="0" y="598808"/>
                    <a:pt x="88159" y="410736"/>
                    <a:pt x="372470" y="197686"/>
                  </a:cubicBezTo>
                  <a:close/>
                </a:path>
              </a:pathLst>
            </a:custGeom>
            <a:solidFill>
              <a:schemeClr val="accent2"/>
            </a:solidFill>
            <a:ln w="7342" cap="flat">
              <a:noFill/>
              <a:prstDash val="solid"/>
              <a:miter/>
            </a:ln>
          </p:spPr>
          <p:txBody>
            <a:bodyPr rtlCol="0" anchor="ctr"/>
            <a:lstStyle/>
            <a:p>
              <a:endParaRPr lang="uk-UA" sz="900"/>
            </a:p>
          </p:txBody>
        </p:sp>
        <p:grpSp>
          <p:nvGrpSpPr>
            <p:cNvPr id="11" name="Graphic 16">
              <a:extLst>
                <a:ext uri="{FF2B5EF4-FFF2-40B4-BE49-F238E27FC236}">
                  <a16:creationId xmlns:a16="http://schemas.microsoft.com/office/drawing/2014/main" id="{D5797ED0-36EA-D3F1-3C55-157E1621EF20}"/>
                </a:ext>
              </a:extLst>
            </p:cNvPr>
            <p:cNvGrpSpPr>
              <a:grpSpLocks noChangeAspect="1"/>
            </p:cNvGrpSpPr>
            <p:nvPr/>
          </p:nvGrpSpPr>
          <p:grpSpPr>
            <a:xfrm>
              <a:off x="15564361" y="1434389"/>
              <a:ext cx="2743200" cy="1905476"/>
              <a:chOff x="36425971" y="7102135"/>
              <a:chExt cx="2006341" cy="1393639"/>
            </a:xfrm>
            <a:solidFill>
              <a:srgbClr val="08BDBA"/>
            </a:solidFill>
          </p:grpSpPr>
          <p:sp>
            <p:nvSpPr>
              <p:cNvPr id="16" name="Freeform: Shape 15">
                <a:extLst>
                  <a:ext uri="{FF2B5EF4-FFF2-40B4-BE49-F238E27FC236}">
                    <a16:creationId xmlns:a16="http://schemas.microsoft.com/office/drawing/2014/main" id="{8B7C0B27-49A4-DD3C-384D-B22C36B814CC}"/>
                  </a:ext>
                </a:extLst>
              </p:cNvPr>
              <p:cNvSpPr/>
              <p:nvPr/>
            </p:nvSpPr>
            <p:spPr>
              <a:xfrm>
                <a:off x="36425971" y="7517215"/>
                <a:ext cx="694983" cy="753755"/>
              </a:xfrm>
              <a:custGeom>
                <a:avLst/>
                <a:gdLst>
                  <a:gd name="connsiteX0" fmla="*/ 508381 w 694983"/>
                  <a:gd name="connsiteY0" fmla="*/ 563480 h 753755"/>
                  <a:gd name="connsiteX1" fmla="*/ 258598 w 694983"/>
                  <a:gd name="connsiteY1" fmla="*/ 753756 h 753755"/>
                  <a:gd name="connsiteX2" fmla="*/ 0 w 694983"/>
                  <a:gd name="connsiteY2" fmla="*/ 498830 h 753755"/>
                  <a:gd name="connsiteX3" fmla="*/ 166766 w 694983"/>
                  <a:gd name="connsiteY3" fmla="*/ 260802 h 753755"/>
                  <a:gd name="connsiteX4" fmla="*/ 694983 w 694983"/>
                  <a:gd name="connsiteY4" fmla="*/ 0 h 753755"/>
                  <a:gd name="connsiteX5" fmla="*/ 508381 w 694983"/>
                  <a:gd name="connsiteY5" fmla="*/ 563480 h 753755"/>
                  <a:gd name="connsiteX6" fmla="*/ 508381 w 694983"/>
                  <a:gd name="connsiteY6" fmla="*/ 563480 h 753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4983" h="753755">
                    <a:moveTo>
                      <a:pt x="508381" y="563480"/>
                    </a:moveTo>
                    <a:cubicBezTo>
                      <a:pt x="479729" y="672944"/>
                      <a:pt x="378347" y="753756"/>
                      <a:pt x="258598" y="753756"/>
                    </a:cubicBezTo>
                    <a:cubicBezTo>
                      <a:pt x="116075" y="753756"/>
                      <a:pt x="0" y="639884"/>
                      <a:pt x="0" y="498830"/>
                    </a:cubicBezTo>
                    <a:cubicBezTo>
                      <a:pt x="0" y="390102"/>
                      <a:pt x="69057" y="296800"/>
                      <a:pt x="166766" y="260802"/>
                    </a:cubicBezTo>
                    <a:lnTo>
                      <a:pt x="694983" y="0"/>
                    </a:lnTo>
                    <a:lnTo>
                      <a:pt x="508381" y="563480"/>
                    </a:lnTo>
                    <a:lnTo>
                      <a:pt x="508381" y="563480"/>
                    </a:lnTo>
                    <a:close/>
                  </a:path>
                </a:pathLst>
              </a:custGeom>
              <a:grpFill/>
              <a:ln w="7342" cap="flat">
                <a:noFill/>
                <a:prstDash val="solid"/>
                <a:miter/>
              </a:ln>
            </p:spPr>
            <p:txBody>
              <a:bodyPr rtlCol="0" anchor="ctr"/>
              <a:lstStyle/>
              <a:p>
                <a:endParaRPr lang="uk-UA" sz="900"/>
              </a:p>
            </p:txBody>
          </p:sp>
          <p:sp>
            <p:nvSpPr>
              <p:cNvPr id="17" name="Freeform: Shape 16">
                <a:extLst>
                  <a:ext uri="{FF2B5EF4-FFF2-40B4-BE49-F238E27FC236}">
                    <a16:creationId xmlns:a16="http://schemas.microsoft.com/office/drawing/2014/main" id="{0E5CDB3B-6C72-DD99-3C95-E1B5ABFA6346}"/>
                  </a:ext>
                </a:extLst>
              </p:cNvPr>
              <p:cNvSpPr/>
              <p:nvPr/>
            </p:nvSpPr>
            <p:spPr>
              <a:xfrm>
                <a:off x="37737329" y="7517215"/>
                <a:ext cx="694983" cy="753755"/>
              </a:xfrm>
              <a:custGeom>
                <a:avLst/>
                <a:gdLst>
                  <a:gd name="connsiteX0" fmla="*/ 186602 w 694983"/>
                  <a:gd name="connsiteY0" fmla="*/ 563480 h 753755"/>
                  <a:gd name="connsiteX1" fmla="*/ 436385 w 694983"/>
                  <a:gd name="connsiteY1" fmla="*/ 753756 h 753755"/>
                  <a:gd name="connsiteX2" fmla="*/ 694983 w 694983"/>
                  <a:gd name="connsiteY2" fmla="*/ 498830 h 753755"/>
                  <a:gd name="connsiteX3" fmla="*/ 528216 w 694983"/>
                  <a:gd name="connsiteY3" fmla="*/ 260802 h 753755"/>
                  <a:gd name="connsiteX4" fmla="*/ 0 w 694983"/>
                  <a:gd name="connsiteY4" fmla="*/ 0 h 753755"/>
                  <a:gd name="connsiteX5" fmla="*/ 186602 w 694983"/>
                  <a:gd name="connsiteY5" fmla="*/ 563480 h 753755"/>
                  <a:gd name="connsiteX6" fmla="*/ 186602 w 694983"/>
                  <a:gd name="connsiteY6" fmla="*/ 563480 h 753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4983" h="753755">
                    <a:moveTo>
                      <a:pt x="186602" y="563480"/>
                    </a:moveTo>
                    <a:cubicBezTo>
                      <a:pt x="215254" y="672944"/>
                      <a:pt x="316636" y="753756"/>
                      <a:pt x="436385" y="753756"/>
                    </a:cubicBezTo>
                    <a:cubicBezTo>
                      <a:pt x="578908" y="753756"/>
                      <a:pt x="694983" y="639884"/>
                      <a:pt x="694983" y="498830"/>
                    </a:cubicBezTo>
                    <a:cubicBezTo>
                      <a:pt x="694983" y="390102"/>
                      <a:pt x="625925" y="296800"/>
                      <a:pt x="528216" y="260802"/>
                    </a:cubicBezTo>
                    <a:lnTo>
                      <a:pt x="0" y="0"/>
                    </a:lnTo>
                    <a:lnTo>
                      <a:pt x="186602" y="563480"/>
                    </a:lnTo>
                    <a:lnTo>
                      <a:pt x="186602" y="563480"/>
                    </a:lnTo>
                    <a:close/>
                  </a:path>
                </a:pathLst>
              </a:custGeom>
              <a:grpFill/>
              <a:ln w="7342" cap="flat">
                <a:noFill/>
                <a:prstDash val="solid"/>
                <a:miter/>
              </a:ln>
            </p:spPr>
            <p:txBody>
              <a:bodyPr rtlCol="0" anchor="ctr"/>
              <a:lstStyle/>
              <a:p>
                <a:endParaRPr lang="uk-UA" sz="900"/>
              </a:p>
            </p:txBody>
          </p:sp>
          <p:sp>
            <p:nvSpPr>
              <p:cNvPr id="18" name="Freeform: Shape 17">
                <a:extLst>
                  <a:ext uri="{FF2B5EF4-FFF2-40B4-BE49-F238E27FC236}">
                    <a16:creationId xmlns:a16="http://schemas.microsoft.com/office/drawing/2014/main" id="{76A8546A-1FD8-E11A-44B4-8F39BA8B6CD2}"/>
                  </a:ext>
                </a:extLst>
              </p:cNvPr>
              <p:cNvSpPr/>
              <p:nvPr/>
            </p:nvSpPr>
            <p:spPr>
              <a:xfrm>
                <a:off x="37109934" y="7401874"/>
                <a:ext cx="638414" cy="1093900"/>
              </a:xfrm>
              <a:custGeom>
                <a:avLst/>
                <a:gdLst>
                  <a:gd name="connsiteX0" fmla="*/ 47018 w 638414"/>
                  <a:gd name="connsiteY0" fmla="*/ 944031 h 1093900"/>
                  <a:gd name="connsiteX1" fmla="*/ 318840 w 638414"/>
                  <a:gd name="connsiteY1" fmla="*/ 1093901 h 1093900"/>
                  <a:gd name="connsiteX2" fmla="*/ 590662 w 638414"/>
                  <a:gd name="connsiteY2" fmla="*/ 944031 h 1093900"/>
                  <a:gd name="connsiteX3" fmla="*/ 47018 w 638414"/>
                  <a:gd name="connsiteY3" fmla="*/ 944031 h 1093900"/>
                  <a:gd name="connsiteX4" fmla="*/ 47018 w 638414"/>
                  <a:gd name="connsiteY4" fmla="*/ 944031 h 1093900"/>
                  <a:gd name="connsiteX5" fmla="*/ 0 w 638414"/>
                  <a:gd name="connsiteY5" fmla="*/ 628864 h 1093900"/>
                  <a:gd name="connsiteX6" fmla="*/ 0 w 638414"/>
                  <a:gd name="connsiteY6" fmla="*/ 778734 h 1093900"/>
                  <a:gd name="connsiteX7" fmla="*/ 0 w 638414"/>
                  <a:gd name="connsiteY7" fmla="*/ 793427 h 1093900"/>
                  <a:gd name="connsiteX8" fmla="*/ 637680 w 638414"/>
                  <a:gd name="connsiteY8" fmla="*/ 793427 h 1093900"/>
                  <a:gd name="connsiteX9" fmla="*/ 637680 w 638414"/>
                  <a:gd name="connsiteY9" fmla="*/ 778734 h 1093900"/>
                  <a:gd name="connsiteX10" fmla="*/ 637680 w 638414"/>
                  <a:gd name="connsiteY10" fmla="*/ 628864 h 1093900"/>
                  <a:gd name="connsiteX11" fmla="*/ 0 w 638414"/>
                  <a:gd name="connsiteY11" fmla="*/ 628864 h 1093900"/>
                  <a:gd name="connsiteX12" fmla="*/ 0 w 638414"/>
                  <a:gd name="connsiteY12" fmla="*/ 628864 h 1093900"/>
                  <a:gd name="connsiteX13" fmla="*/ 38202 w 638414"/>
                  <a:gd name="connsiteY13" fmla="*/ 164563 h 1093900"/>
                  <a:gd name="connsiteX14" fmla="*/ 318840 w 638414"/>
                  <a:gd name="connsiteY14" fmla="*/ 0 h 1093900"/>
                  <a:gd name="connsiteX15" fmla="*/ 599478 w 638414"/>
                  <a:gd name="connsiteY15" fmla="*/ 164563 h 1093900"/>
                  <a:gd name="connsiteX16" fmla="*/ 38202 w 638414"/>
                  <a:gd name="connsiteY16" fmla="*/ 164563 h 1093900"/>
                  <a:gd name="connsiteX17" fmla="*/ 0 w 638414"/>
                  <a:gd name="connsiteY17" fmla="*/ 314432 h 1093900"/>
                  <a:gd name="connsiteX18" fmla="*/ 0 w 638414"/>
                  <a:gd name="connsiteY18" fmla="*/ 478995 h 1093900"/>
                  <a:gd name="connsiteX19" fmla="*/ 638415 w 638414"/>
                  <a:gd name="connsiteY19" fmla="*/ 478995 h 1093900"/>
                  <a:gd name="connsiteX20" fmla="*/ 638415 w 638414"/>
                  <a:gd name="connsiteY20" fmla="*/ 314432 h 1093900"/>
                  <a:gd name="connsiteX21" fmla="*/ 0 w 638414"/>
                  <a:gd name="connsiteY21" fmla="*/ 314432 h 109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38414" h="1093900">
                    <a:moveTo>
                      <a:pt x="47018" y="944031"/>
                    </a:moveTo>
                    <a:cubicBezTo>
                      <a:pt x="102852" y="1033659"/>
                      <a:pt x="204234" y="1093901"/>
                      <a:pt x="318840" y="1093901"/>
                    </a:cubicBezTo>
                    <a:cubicBezTo>
                      <a:pt x="434181" y="1093901"/>
                      <a:pt x="534828" y="1033659"/>
                      <a:pt x="590662" y="944031"/>
                    </a:cubicBezTo>
                    <a:lnTo>
                      <a:pt x="47018" y="944031"/>
                    </a:lnTo>
                    <a:lnTo>
                      <a:pt x="47018" y="944031"/>
                    </a:lnTo>
                    <a:close/>
                    <a:moveTo>
                      <a:pt x="0" y="628864"/>
                    </a:moveTo>
                    <a:lnTo>
                      <a:pt x="0" y="778734"/>
                    </a:lnTo>
                    <a:cubicBezTo>
                      <a:pt x="0" y="783876"/>
                      <a:pt x="0" y="789019"/>
                      <a:pt x="0" y="793427"/>
                    </a:cubicBezTo>
                    <a:lnTo>
                      <a:pt x="637680" y="793427"/>
                    </a:lnTo>
                    <a:cubicBezTo>
                      <a:pt x="637680" y="788284"/>
                      <a:pt x="637680" y="783876"/>
                      <a:pt x="637680" y="778734"/>
                    </a:cubicBezTo>
                    <a:lnTo>
                      <a:pt x="637680" y="628864"/>
                    </a:lnTo>
                    <a:lnTo>
                      <a:pt x="0" y="628864"/>
                    </a:lnTo>
                    <a:lnTo>
                      <a:pt x="0" y="628864"/>
                    </a:lnTo>
                    <a:close/>
                    <a:moveTo>
                      <a:pt x="38202" y="164563"/>
                    </a:moveTo>
                    <a:cubicBezTo>
                      <a:pt x="92566" y="66119"/>
                      <a:pt x="197622" y="0"/>
                      <a:pt x="318840" y="0"/>
                    </a:cubicBezTo>
                    <a:cubicBezTo>
                      <a:pt x="440058" y="0"/>
                      <a:pt x="545848" y="66853"/>
                      <a:pt x="599478" y="164563"/>
                    </a:cubicBezTo>
                    <a:lnTo>
                      <a:pt x="38202" y="164563"/>
                    </a:lnTo>
                    <a:close/>
                    <a:moveTo>
                      <a:pt x="0" y="314432"/>
                    </a:moveTo>
                    <a:lnTo>
                      <a:pt x="0" y="478995"/>
                    </a:lnTo>
                    <a:lnTo>
                      <a:pt x="638415" y="478995"/>
                    </a:lnTo>
                    <a:lnTo>
                      <a:pt x="638415" y="314432"/>
                    </a:lnTo>
                    <a:lnTo>
                      <a:pt x="0" y="314432"/>
                    </a:lnTo>
                    <a:close/>
                  </a:path>
                </a:pathLst>
              </a:custGeom>
              <a:grpFill/>
              <a:ln w="7342" cap="flat">
                <a:noFill/>
                <a:prstDash val="solid"/>
                <a:miter/>
              </a:ln>
            </p:spPr>
            <p:txBody>
              <a:bodyPr rtlCol="0" anchor="ctr"/>
              <a:lstStyle/>
              <a:p>
                <a:endParaRPr lang="uk-UA" sz="900"/>
              </a:p>
            </p:txBody>
          </p:sp>
          <p:sp>
            <p:nvSpPr>
              <p:cNvPr id="19" name="Freeform: Shape 18">
                <a:extLst>
                  <a:ext uri="{FF2B5EF4-FFF2-40B4-BE49-F238E27FC236}">
                    <a16:creationId xmlns:a16="http://schemas.microsoft.com/office/drawing/2014/main" id="{FEB60C58-79B3-AFA1-53F6-E9C215573672}"/>
                  </a:ext>
                </a:extLst>
              </p:cNvPr>
              <p:cNvSpPr/>
              <p:nvPr/>
            </p:nvSpPr>
            <p:spPr>
              <a:xfrm>
                <a:off x="37125362" y="7102135"/>
                <a:ext cx="304146" cy="299739"/>
              </a:xfrm>
              <a:custGeom>
                <a:avLst/>
                <a:gdLst>
                  <a:gd name="connsiteX0" fmla="*/ 304147 w 304146"/>
                  <a:gd name="connsiteY0" fmla="*/ 149870 h 299739"/>
                  <a:gd name="connsiteX1" fmla="*/ 152073 w 304146"/>
                  <a:gd name="connsiteY1" fmla="*/ 299739 h 299739"/>
                  <a:gd name="connsiteX2" fmla="*/ 0 w 304146"/>
                  <a:gd name="connsiteY2" fmla="*/ 149870 h 299739"/>
                  <a:gd name="connsiteX3" fmla="*/ 152073 w 304146"/>
                  <a:gd name="connsiteY3" fmla="*/ 0 h 299739"/>
                  <a:gd name="connsiteX4" fmla="*/ 304147 w 304146"/>
                  <a:gd name="connsiteY4" fmla="*/ 149870 h 299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146" h="299739">
                    <a:moveTo>
                      <a:pt x="304147" y="149870"/>
                    </a:moveTo>
                    <a:cubicBezTo>
                      <a:pt x="304147" y="232640"/>
                      <a:pt x="236061" y="299739"/>
                      <a:pt x="152073" y="299739"/>
                    </a:cubicBezTo>
                    <a:cubicBezTo>
                      <a:pt x="68085" y="299739"/>
                      <a:pt x="0" y="232640"/>
                      <a:pt x="0" y="149870"/>
                    </a:cubicBezTo>
                    <a:cubicBezTo>
                      <a:pt x="0" y="67099"/>
                      <a:pt x="68085" y="0"/>
                      <a:pt x="152073" y="0"/>
                    </a:cubicBezTo>
                    <a:cubicBezTo>
                      <a:pt x="236061" y="0"/>
                      <a:pt x="304147" y="67099"/>
                      <a:pt x="304147" y="149870"/>
                    </a:cubicBezTo>
                    <a:close/>
                  </a:path>
                </a:pathLst>
              </a:custGeom>
              <a:grpFill/>
              <a:ln w="7342" cap="flat">
                <a:noFill/>
                <a:prstDash val="solid"/>
                <a:miter/>
              </a:ln>
            </p:spPr>
            <p:txBody>
              <a:bodyPr rtlCol="0" anchor="ctr"/>
              <a:lstStyle/>
              <a:p>
                <a:endParaRPr lang="uk-UA" sz="900"/>
              </a:p>
            </p:txBody>
          </p:sp>
          <p:sp>
            <p:nvSpPr>
              <p:cNvPr id="20" name="Freeform: Shape 19">
                <a:extLst>
                  <a:ext uri="{FF2B5EF4-FFF2-40B4-BE49-F238E27FC236}">
                    <a16:creationId xmlns:a16="http://schemas.microsoft.com/office/drawing/2014/main" id="{504CFB1E-8D8C-C36F-82D8-F9E25329F9D6}"/>
                  </a:ext>
                </a:extLst>
              </p:cNvPr>
              <p:cNvSpPr/>
              <p:nvPr/>
            </p:nvSpPr>
            <p:spPr>
              <a:xfrm>
                <a:off x="37444202" y="7102135"/>
                <a:ext cx="304146" cy="299739"/>
              </a:xfrm>
              <a:custGeom>
                <a:avLst/>
                <a:gdLst>
                  <a:gd name="connsiteX0" fmla="*/ 304147 w 304146"/>
                  <a:gd name="connsiteY0" fmla="*/ 149870 h 299739"/>
                  <a:gd name="connsiteX1" fmla="*/ 152074 w 304146"/>
                  <a:gd name="connsiteY1" fmla="*/ 299739 h 299739"/>
                  <a:gd name="connsiteX2" fmla="*/ 0 w 304146"/>
                  <a:gd name="connsiteY2" fmla="*/ 149870 h 299739"/>
                  <a:gd name="connsiteX3" fmla="*/ 152074 w 304146"/>
                  <a:gd name="connsiteY3" fmla="*/ 0 h 299739"/>
                  <a:gd name="connsiteX4" fmla="*/ 304147 w 304146"/>
                  <a:gd name="connsiteY4" fmla="*/ 149870 h 299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146" h="299739">
                    <a:moveTo>
                      <a:pt x="304147" y="149870"/>
                    </a:moveTo>
                    <a:cubicBezTo>
                      <a:pt x="304147" y="232640"/>
                      <a:pt x="236062" y="299739"/>
                      <a:pt x="152074" y="299739"/>
                    </a:cubicBezTo>
                    <a:cubicBezTo>
                      <a:pt x="68086" y="299739"/>
                      <a:pt x="0" y="232640"/>
                      <a:pt x="0" y="149870"/>
                    </a:cubicBezTo>
                    <a:cubicBezTo>
                      <a:pt x="0" y="67099"/>
                      <a:pt x="68086" y="0"/>
                      <a:pt x="152074" y="0"/>
                    </a:cubicBezTo>
                    <a:cubicBezTo>
                      <a:pt x="236062" y="0"/>
                      <a:pt x="304147" y="67099"/>
                      <a:pt x="304147" y="149870"/>
                    </a:cubicBezTo>
                    <a:close/>
                  </a:path>
                </a:pathLst>
              </a:custGeom>
              <a:grpFill/>
              <a:ln w="7342" cap="flat">
                <a:noFill/>
                <a:prstDash val="solid"/>
                <a:miter/>
              </a:ln>
            </p:spPr>
            <p:txBody>
              <a:bodyPr rtlCol="0" anchor="ctr"/>
              <a:lstStyle/>
              <a:p>
                <a:endParaRPr lang="uk-UA" sz="900"/>
              </a:p>
            </p:txBody>
          </p:sp>
        </p:grpSp>
        <p:pic>
          <p:nvPicPr>
            <p:cNvPr id="12" name="Picture 11" descr="A person and person looking at laptops&#10;&#10;Description automatically generated">
              <a:extLst>
                <a:ext uri="{FF2B5EF4-FFF2-40B4-BE49-F238E27FC236}">
                  <a16:creationId xmlns:a16="http://schemas.microsoft.com/office/drawing/2014/main" id="{F1EB6B27-4F3F-D504-8C67-1ED377E4AB35}"/>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8324703" y="6099111"/>
              <a:ext cx="5486400" cy="5486400"/>
            </a:xfrm>
            <a:prstGeom prst="rect">
              <a:avLst/>
            </a:prstGeom>
          </p:spPr>
        </p:pic>
        <p:grpSp>
          <p:nvGrpSpPr>
            <p:cNvPr id="13" name="Group 9">
              <a:extLst>
                <a:ext uri="{FF2B5EF4-FFF2-40B4-BE49-F238E27FC236}">
                  <a16:creationId xmlns:a16="http://schemas.microsoft.com/office/drawing/2014/main" id="{15001D89-F5FA-912A-34AC-895F5B23A0EC}"/>
                </a:ext>
              </a:extLst>
            </p:cNvPr>
            <p:cNvGrpSpPr>
              <a:grpSpLocks noChangeAspect="1"/>
            </p:cNvGrpSpPr>
            <p:nvPr/>
          </p:nvGrpSpPr>
          <p:grpSpPr bwMode="auto">
            <a:xfrm>
              <a:off x="21062822" y="921113"/>
              <a:ext cx="2743200" cy="2418752"/>
              <a:chOff x="42" y="4229"/>
              <a:chExt cx="3881" cy="3422"/>
            </a:xfrm>
            <a:solidFill>
              <a:schemeClr val="tx1"/>
            </a:solidFill>
          </p:grpSpPr>
          <p:sp>
            <p:nvSpPr>
              <p:cNvPr id="14" name="Freeform 235">
                <a:extLst>
                  <a:ext uri="{FF2B5EF4-FFF2-40B4-BE49-F238E27FC236}">
                    <a16:creationId xmlns:a16="http://schemas.microsoft.com/office/drawing/2014/main" id="{044C0AB7-DDC8-594B-B541-9B61D2A37C2D}"/>
                  </a:ext>
                </a:extLst>
              </p:cNvPr>
              <p:cNvSpPr>
                <a:spLocks noEditPoints="1"/>
              </p:cNvSpPr>
              <p:nvPr/>
            </p:nvSpPr>
            <p:spPr bwMode="auto">
              <a:xfrm>
                <a:off x="2058" y="4229"/>
                <a:ext cx="1865" cy="3422"/>
              </a:xfrm>
              <a:custGeom>
                <a:avLst/>
                <a:gdLst>
                  <a:gd name="T0" fmla="*/ 2842 w 3636"/>
                  <a:gd name="T1" fmla="*/ 2120 h 6673"/>
                  <a:gd name="T2" fmla="*/ 1918 w 3636"/>
                  <a:gd name="T3" fmla="*/ 577 h 6673"/>
                  <a:gd name="T4" fmla="*/ 892 w 3636"/>
                  <a:gd name="T5" fmla="*/ 0 h 6673"/>
                  <a:gd name="T6" fmla="*/ 0 w 3636"/>
                  <a:gd name="T7" fmla="*/ 5781 h 6673"/>
                  <a:gd name="T8" fmla="*/ 1731 w 3636"/>
                  <a:gd name="T9" fmla="*/ 6079 h 6673"/>
                  <a:gd name="T10" fmla="*/ 2966 w 3636"/>
                  <a:gd name="T11" fmla="*/ 5048 h 6673"/>
                  <a:gd name="T12" fmla="*/ 3636 w 3636"/>
                  <a:gd name="T13" fmla="*/ 3336 h 6673"/>
                  <a:gd name="T14" fmla="*/ 1051 w 3636"/>
                  <a:gd name="T15" fmla="*/ 2847 h 6673"/>
                  <a:gd name="T16" fmla="*/ 738 w 3636"/>
                  <a:gd name="T17" fmla="*/ 2847 h 6673"/>
                  <a:gd name="T18" fmla="*/ 2684 w 3636"/>
                  <a:gd name="T19" fmla="*/ 4426 h 6673"/>
                  <a:gd name="T20" fmla="*/ 2640 w 3636"/>
                  <a:gd name="T21" fmla="*/ 4559 h 6673"/>
                  <a:gd name="T22" fmla="*/ 2121 w 3636"/>
                  <a:gd name="T23" fmla="*/ 4715 h 6673"/>
                  <a:gd name="T24" fmla="*/ 1467 w 3636"/>
                  <a:gd name="T25" fmla="*/ 4803 h 6673"/>
                  <a:gd name="T26" fmla="*/ 2121 w 3636"/>
                  <a:gd name="T27" fmla="*/ 4891 h 6673"/>
                  <a:gd name="T28" fmla="*/ 2790 w 3636"/>
                  <a:gd name="T29" fmla="*/ 5048 h 6673"/>
                  <a:gd name="T30" fmla="*/ 1693 w 3636"/>
                  <a:gd name="T31" fmla="*/ 5890 h 6673"/>
                  <a:gd name="T32" fmla="*/ 1585 w 3636"/>
                  <a:gd name="T33" fmla="*/ 5954 h 6673"/>
                  <a:gd name="T34" fmla="*/ 176 w 3636"/>
                  <a:gd name="T35" fmla="*/ 5781 h 6673"/>
                  <a:gd name="T36" fmla="*/ 807 w 3636"/>
                  <a:gd name="T37" fmla="*/ 3912 h 6673"/>
                  <a:gd name="T38" fmla="*/ 562 w 3636"/>
                  <a:gd name="T39" fmla="*/ 5781 h 6673"/>
                  <a:gd name="T40" fmla="*/ 1227 w 3636"/>
                  <a:gd name="T41" fmla="*/ 5781 h 6673"/>
                  <a:gd name="T42" fmla="*/ 983 w 3636"/>
                  <a:gd name="T43" fmla="*/ 3912 h 6673"/>
                  <a:gd name="T44" fmla="*/ 1881 w 3636"/>
                  <a:gd name="T45" fmla="*/ 3424 h 6673"/>
                  <a:gd name="T46" fmla="*/ 2778 w 3636"/>
                  <a:gd name="T47" fmla="*/ 3669 h 6673"/>
                  <a:gd name="T48" fmla="*/ 2778 w 3636"/>
                  <a:gd name="T49" fmla="*/ 3004 h 6673"/>
                  <a:gd name="T50" fmla="*/ 1888 w 3636"/>
                  <a:gd name="T51" fmla="*/ 3248 h 6673"/>
                  <a:gd name="T52" fmla="*/ 2132 w 3636"/>
                  <a:gd name="T53" fmla="*/ 1380 h 6673"/>
                  <a:gd name="T54" fmla="*/ 1467 w 3636"/>
                  <a:gd name="T55" fmla="*/ 1380 h 6673"/>
                  <a:gd name="T56" fmla="*/ 1712 w 3636"/>
                  <a:gd name="T57" fmla="*/ 3338 h 6673"/>
                  <a:gd name="T58" fmla="*/ 895 w 3636"/>
                  <a:gd name="T59" fmla="*/ 3736 h 6673"/>
                  <a:gd name="T60" fmla="*/ 176 w 3636"/>
                  <a:gd name="T61" fmla="*/ 891 h 6673"/>
                  <a:gd name="T62" fmla="*/ 807 w 3636"/>
                  <a:gd name="T63" fmla="*/ 2527 h 6673"/>
                  <a:gd name="T64" fmla="*/ 895 w 3636"/>
                  <a:gd name="T65" fmla="*/ 3180 h 6673"/>
                  <a:gd name="T66" fmla="*/ 983 w 3636"/>
                  <a:gd name="T67" fmla="*/ 2527 h 6673"/>
                  <a:gd name="T68" fmla="*/ 1585 w 3636"/>
                  <a:gd name="T69" fmla="*/ 719 h 6673"/>
                  <a:gd name="T70" fmla="*/ 1693 w 3636"/>
                  <a:gd name="T71" fmla="*/ 783 h 6673"/>
                  <a:gd name="T72" fmla="*/ 2790 w 3636"/>
                  <a:gd name="T73" fmla="*/ 1625 h 6673"/>
                  <a:gd name="T74" fmla="*/ 2629 w 3636"/>
                  <a:gd name="T75" fmla="*/ 2191 h 6673"/>
                  <a:gd name="T76" fmla="*/ 3460 w 3636"/>
                  <a:gd name="T77" fmla="*/ 3336 h 6673"/>
                  <a:gd name="T78" fmla="*/ 1956 w 3636"/>
                  <a:gd name="T79" fmla="*/ 4803 h 6673"/>
                  <a:gd name="T80" fmla="*/ 1643 w 3636"/>
                  <a:gd name="T81" fmla="*/ 4803 h 6673"/>
                  <a:gd name="T82" fmla="*/ 1956 w 3636"/>
                  <a:gd name="T83" fmla="*/ 4803 h 6673"/>
                  <a:gd name="T84" fmla="*/ 1051 w 3636"/>
                  <a:gd name="T85" fmla="*/ 5781 h 6673"/>
                  <a:gd name="T86" fmla="*/ 738 w 3636"/>
                  <a:gd name="T87" fmla="*/ 5781 h 6673"/>
                  <a:gd name="T88" fmla="*/ 1800 w 3636"/>
                  <a:gd name="T89" fmla="*/ 1537 h 6673"/>
                  <a:gd name="T90" fmla="*/ 1800 w 3636"/>
                  <a:gd name="T91" fmla="*/ 1224 h 6673"/>
                  <a:gd name="T92" fmla="*/ 1800 w 3636"/>
                  <a:gd name="T93" fmla="*/ 1537 h 6673"/>
                  <a:gd name="T94" fmla="*/ 2778 w 3636"/>
                  <a:gd name="T95" fmla="*/ 3180 h 6673"/>
                  <a:gd name="T96" fmla="*/ 2778 w 3636"/>
                  <a:gd name="T97" fmla="*/ 3493 h 6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36" h="6673">
                    <a:moveTo>
                      <a:pt x="3636" y="3336"/>
                    </a:moveTo>
                    <a:cubicBezTo>
                      <a:pt x="3636" y="2807"/>
                      <a:pt x="3321" y="2331"/>
                      <a:pt x="2842" y="2120"/>
                    </a:cubicBezTo>
                    <a:cubicBezTo>
                      <a:pt x="2924" y="1968"/>
                      <a:pt x="2966" y="1799"/>
                      <a:pt x="2966" y="1625"/>
                    </a:cubicBezTo>
                    <a:cubicBezTo>
                      <a:pt x="2966" y="1047"/>
                      <a:pt x="2496" y="577"/>
                      <a:pt x="1918" y="577"/>
                    </a:cubicBezTo>
                    <a:cubicBezTo>
                      <a:pt x="1856" y="577"/>
                      <a:pt x="1794" y="582"/>
                      <a:pt x="1731" y="594"/>
                    </a:cubicBezTo>
                    <a:cubicBezTo>
                      <a:pt x="1607" y="240"/>
                      <a:pt x="1273" y="0"/>
                      <a:pt x="892" y="0"/>
                    </a:cubicBezTo>
                    <a:cubicBezTo>
                      <a:pt x="400" y="0"/>
                      <a:pt x="0" y="400"/>
                      <a:pt x="0" y="891"/>
                    </a:cubicBezTo>
                    <a:cubicBezTo>
                      <a:pt x="0" y="5781"/>
                      <a:pt x="0" y="5781"/>
                      <a:pt x="0" y="5781"/>
                    </a:cubicBezTo>
                    <a:cubicBezTo>
                      <a:pt x="0" y="6273"/>
                      <a:pt x="400" y="6673"/>
                      <a:pt x="892" y="6673"/>
                    </a:cubicBezTo>
                    <a:cubicBezTo>
                      <a:pt x="1273" y="6673"/>
                      <a:pt x="1607" y="6432"/>
                      <a:pt x="1731" y="6079"/>
                    </a:cubicBezTo>
                    <a:cubicBezTo>
                      <a:pt x="1794" y="6090"/>
                      <a:pt x="1856" y="6096"/>
                      <a:pt x="1918" y="6096"/>
                    </a:cubicBezTo>
                    <a:cubicBezTo>
                      <a:pt x="2496" y="6096"/>
                      <a:pt x="2966" y="5626"/>
                      <a:pt x="2966" y="5048"/>
                    </a:cubicBezTo>
                    <a:cubicBezTo>
                      <a:pt x="2966" y="4874"/>
                      <a:pt x="2924" y="4704"/>
                      <a:pt x="2842" y="4553"/>
                    </a:cubicBezTo>
                    <a:cubicBezTo>
                      <a:pt x="3321" y="4342"/>
                      <a:pt x="3636" y="3866"/>
                      <a:pt x="3636" y="3336"/>
                    </a:cubicBezTo>
                    <a:close/>
                    <a:moveTo>
                      <a:pt x="895" y="2691"/>
                    </a:moveTo>
                    <a:cubicBezTo>
                      <a:pt x="981" y="2691"/>
                      <a:pt x="1051" y="2761"/>
                      <a:pt x="1051" y="2847"/>
                    </a:cubicBezTo>
                    <a:cubicBezTo>
                      <a:pt x="1051" y="2934"/>
                      <a:pt x="981" y="3004"/>
                      <a:pt x="895" y="3004"/>
                    </a:cubicBezTo>
                    <a:cubicBezTo>
                      <a:pt x="808" y="3004"/>
                      <a:pt x="738" y="2934"/>
                      <a:pt x="738" y="2847"/>
                    </a:cubicBezTo>
                    <a:cubicBezTo>
                      <a:pt x="738" y="2761"/>
                      <a:pt x="808" y="2691"/>
                      <a:pt x="895" y="2691"/>
                    </a:cubicBezTo>
                    <a:close/>
                    <a:moveTo>
                      <a:pt x="2684" y="4426"/>
                    </a:moveTo>
                    <a:cubicBezTo>
                      <a:pt x="2658" y="4435"/>
                      <a:pt x="2638" y="4456"/>
                      <a:pt x="2629" y="4481"/>
                    </a:cubicBezTo>
                    <a:cubicBezTo>
                      <a:pt x="2621" y="4507"/>
                      <a:pt x="2625" y="4536"/>
                      <a:pt x="2640" y="4559"/>
                    </a:cubicBezTo>
                    <a:cubicBezTo>
                      <a:pt x="2674" y="4608"/>
                      <a:pt x="2702" y="4661"/>
                      <a:pt x="2725" y="4715"/>
                    </a:cubicBezTo>
                    <a:cubicBezTo>
                      <a:pt x="2121" y="4715"/>
                      <a:pt x="2121" y="4715"/>
                      <a:pt x="2121" y="4715"/>
                    </a:cubicBezTo>
                    <a:cubicBezTo>
                      <a:pt x="2082" y="4575"/>
                      <a:pt x="1953" y="4471"/>
                      <a:pt x="1800" y="4471"/>
                    </a:cubicBezTo>
                    <a:cubicBezTo>
                      <a:pt x="1617" y="4471"/>
                      <a:pt x="1467" y="4620"/>
                      <a:pt x="1467" y="4803"/>
                    </a:cubicBezTo>
                    <a:cubicBezTo>
                      <a:pt x="1467" y="4987"/>
                      <a:pt x="1617" y="5136"/>
                      <a:pt x="1800" y="5136"/>
                    </a:cubicBezTo>
                    <a:cubicBezTo>
                      <a:pt x="1953" y="5136"/>
                      <a:pt x="2082" y="5032"/>
                      <a:pt x="2121" y="4891"/>
                    </a:cubicBezTo>
                    <a:cubicBezTo>
                      <a:pt x="2776" y="4891"/>
                      <a:pt x="2776" y="4891"/>
                      <a:pt x="2776" y="4891"/>
                    </a:cubicBezTo>
                    <a:cubicBezTo>
                      <a:pt x="2785" y="4943"/>
                      <a:pt x="2790" y="4995"/>
                      <a:pt x="2790" y="5048"/>
                    </a:cubicBezTo>
                    <a:cubicBezTo>
                      <a:pt x="2790" y="5529"/>
                      <a:pt x="2399" y="5920"/>
                      <a:pt x="1918" y="5920"/>
                    </a:cubicBezTo>
                    <a:cubicBezTo>
                      <a:pt x="1844" y="5920"/>
                      <a:pt x="1769" y="5910"/>
                      <a:pt x="1693" y="5890"/>
                    </a:cubicBezTo>
                    <a:cubicBezTo>
                      <a:pt x="1670" y="5884"/>
                      <a:pt x="1646" y="5887"/>
                      <a:pt x="1626" y="5899"/>
                    </a:cubicBezTo>
                    <a:cubicBezTo>
                      <a:pt x="1605" y="5911"/>
                      <a:pt x="1591" y="5931"/>
                      <a:pt x="1585" y="5954"/>
                    </a:cubicBezTo>
                    <a:cubicBezTo>
                      <a:pt x="1506" y="6273"/>
                      <a:pt x="1221" y="6497"/>
                      <a:pt x="892" y="6497"/>
                    </a:cubicBezTo>
                    <a:cubicBezTo>
                      <a:pt x="497" y="6497"/>
                      <a:pt x="176" y="6176"/>
                      <a:pt x="176" y="5781"/>
                    </a:cubicBezTo>
                    <a:cubicBezTo>
                      <a:pt x="176" y="3912"/>
                      <a:pt x="176" y="3912"/>
                      <a:pt x="176" y="3912"/>
                    </a:cubicBezTo>
                    <a:cubicBezTo>
                      <a:pt x="807" y="3912"/>
                      <a:pt x="807" y="3912"/>
                      <a:pt x="807" y="3912"/>
                    </a:cubicBezTo>
                    <a:cubicBezTo>
                      <a:pt x="807" y="5461"/>
                      <a:pt x="807" y="5461"/>
                      <a:pt x="807" y="5461"/>
                    </a:cubicBezTo>
                    <a:cubicBezTo>
                      <a:pt x="666" y="5499"/>
                      <a:pt x="562" y="5628"/>
                      <a:pt x="562" y="5781"/>
                    </a:cubicBezTo>
                    <a:cubicBezTo>
                      <a:pt x="562" y="5965"/>
                      <a:pt x="711" y="6114"/>
                      <a:pt x="895" y="6114"/>
                    </a:cubicBezTo>
                    <a:cubicBezTo>
                      <a:pt x="1078" y="6114"/>
                      <a:pt x="1227" y="5965"/>
                      <a:pt x="1227" y="5781"/>
                    </a:cubicBezTo>
                    <a:cubicBezTo>
                      <a:pt x="1227" y="5628"/>
                      <a:pt x="1123" y="5499"/>
                      <a:pt x="983" y="5461"/>
                    </a:cubicBezTo>
                    <a:cubicBezTo>
                      <a:pt x="983" y="3912"/>
                      <a:pt x="983" y="3912"/>
                      <a:pt x="983" y="3912"/>
                    </a:cubicBezTo>
                    <a:cubicBezTo>
                      <a:pt x="1314" y="3912"/>
                      <a:pt x="1314" y="3912"/>
                      <a:pt x="1314" y="3912"/>
                    </a:cubicBezTo>
                    <a:cubicBezTo>
                      <a:pt x="1601" y="3912"/>
                      <a:pt x="1840" y="3700"/>
                      <a:pt x="1881" y="3424"/>
                    </a:cubicBezTo>
                    <a:cubicBezTo>
                      <a:pt x="2457" y="3424"/>
                      <a:pt x="2457" y="3424"/>
                      <a:pt x="2457" y="3424"/>
                    </a:cubicBezTo>
                    <a:cubicBezTo>
                      <a:pt x="2496" y="3565"/>
                      <a:pt x="2625" y="3669"/>
                      <a:pt x="2778" y="3669"/>
                    </a:cubicBezTo>
                    <a:cubicBezTo>
                      <a:pt x="2961" y="3669"/>
                      <a:pt x="3110" y="3520"/>
                      <a:pt x="3110" y="3336"/>
                    </a:cubicBezTo>
                    <a:cubicBezTo>
                      <a:pt x="3110" y="3153"/>
                      <a:pt x="2961" y="3004"/>
                      <a:pt x="2778" y="3004"/>
                    </a:cubicBezTo>
                    <a:cubicBezTo>
                      <a:pt x="2625" y="3004"/>
                      <a:pt x="2496" y="3108"/>
                      <a:pt x="2457" y="3248"/>
                    </a:cubicBezTo>
                    <a:cubicBezTo>
                      <a:pt x="1888" y="3248"/>
                      <a:pt x="1888" y="3248"/>
                      <a:pt x="1888" y="3248"/>
                    </a:cubicBezTo>
                    <a:cubicBezTo>
                      <a:pt x="1888" y="1701"/>
                      <a:pt x="1888" y="1701"/>
                      <a:pt x="1888" y="1701"/>
                    </a:cubicBezTo>
                    <a:cubicBezTo>
                      <a:pt x="2029" y="1662"/>
                      <a:pt x="2132" y="1533"/>
                      <a:pt x="2132" y="1380"/>
                    </a:cubicBezTo>
                    <a:cubicBezTo>
                      <a:pt x="2132" y="1197"/>
                      <a:pt x="1983" y="1048"/>
                      <a:pt x="1800" y="1048"/>
                    </a:cubicBezTo>
                    <a:cubicBezTo>
                      <a:pt x="1617" y="1048"/>
                      <a:pt x="1467" y="1197"/>
                      <a:pt x="1467" y="1380"/>
                    </a:cubicBezTo>
                    <a:cubicBezTo>
                      <a:pt x="1467" y="1533"/>
                      <a:pt x="1571" y="1662"/>
                      <a:pt x="1712" y="1701"/>
                    </a:cubicBezTo>
                    <a:cubicBezTo>
                      <a:pt x="1712" y="3338"/>
                      <a:pt x="1712" y="3338"/>
                      <a:pt x="1712" y="3338"/>
                    </a:cubicBezTo>
                    <a:cubicBezTo>
                      <a:pt x="1712" y="3557"/>
                      <a:pt x="1534" y="3736"/>
                      <a:pt x="1314" y="3736"/>
                    </a:cubicBezTo>
                    <a:cubicBezTo>
                      <a:pt x="895" y="3736"/>
                      <a:pt x="895" y="3736"/>
                      <a:pt x="895" y="3736"/>
                    </a:cubicBezTo>
                    <a:cubicBezTo>
                      <a:pt x="176" y="3736"/>
                      <a:pt x="176" y="3736"/>
                      <a:pt x="176" y="3736"/>
                    </a:cubicBezTo>
                    <a:cubicBezTo>
                      <a:pt x="176" y="891"/>
                      <a:pt x="176" y="891"/>
                      <a:pt x="176" y="891"/>
                    </a:cubicBezTo>
                    <a:cubicBezTo>
                      <a:pt x="176" y="526"/>
                      <a:pt x="452" y="224"/>
                      <a:pt x="807" y="181"/>
                    </a:cubicBezTo>
                    <a:cubicBezTo>
                      <a:pt x="807" y="2527"/>
                      <a:pt x="807" y="2527"/>
                      <a:pt x="807" y="2527"/>
                    </a:cubicBezTo>
                    <a:cubicBezTo>
                      <a:pt x="666" y="2565"/>
                      <a:pt x="562" y="2695"/>
                      <a:pt x="562" y="2847"/>
                    </a:cubicBezTo>
                    <a:cubicBezTo>
                      <a:pt x="562" y="3031"/>
                      <a:pt x="711" y="3180"/>
                      <a:pt x="895" y="3180"/>
                    </a:cubicBezTo>
                    <a:cubicBezTo>
                      <a:pt x="1078" y="3180"/>
                      <a:pt x="1227" y="3031"/>
                      <a:pt x="1227" y="2847"/>
                    </a:cubicBezTo>
                    <a:cubicBezTo>
                      <a:pt x="1227" y="2695"/>
                      <a:pt x="1123" y="2565"/>
                      <a:pt x="983" y="2527"/>
                    </a:cubicBezTo>
                    <a:cubicBezTo>
                      <a:pt x="983" y="182"/>
                      <a:pt x="983" y="182"/>
                      <a:pt x="983" y="182"/>
                    </a:cubicBezTo>
                    <a:cubicBezTo>
                      <a:pt x="1272" y="219"/>
                      <a:pt x="1513" y="429"/>
                      <a:pt x="1585" y="719"/>
                    </a:cubicBezTo>
                    <a:cubicBezTo>
                      <a:pt x="1591" y="742"/>
                      <a:pt x="1605" y="762"/>
                      <a:pt x="1626" y="774"/>
                    </a:cubicBezTo>
                    <a:cubicBezTo>
                      <a:pt x="1646" y="786"/>
                      <a:pt x="1670" y="789"/>
                      <a:pt x="1693" y="783"/>
                    </a:cubicBezTo>
                    <a:cubicBezTo>
                      <a:pt x="1769" y="763"/>
                      <a:pt x="1844" y="753"/>
                      <a:pt x="1918" y="753"/>
                    </a:cubicBezTo>
                    <a:cubicBezTo>
                      <a:pt x="2399" y="753"/>
                      <a:pt x="2790" y="1144"/>
                      <a:pt x="2790" y="1625"/>
                    </a:cubicBezTo>
                    <a:cubicBezTo>
                      <a:pt x="2790" y="1800"/>
                      <a:pt x="2738" y="1970"/>
                      <a:pt x="2640" y="2114"/>
                    </a:cubicBezTo>
                    <a:cubicBezTo>
                      <a:pt x="2625" y="2137"/>
                      <a:pt x="2621" y="2165"/>
                      <a:pt x="2629" y="2191"/>
                    </a:cubicBezTo>
                    <a:cubicBezTo>
                      <a:pt x="2638" y="2217"/>
                      <a:pt x="2658" y="2238"/>
                      <a:pt x="2684" y="2247"/>
                    </a:cubicBezTo>
                    <a:cubicBezTo>
                      <a:pt x="3148" y="2408"/>
                      <a:pt x="3460" y="2846"/>
                      <a:pt x="3460" y="3336"/>
                    </a:cubicBezTo>
                    <a:cubicBezTo>
                      <a:pt x="3460" y="3827"/>
                      <a:pt x="3148" y="4265"/>
                      <a:pt x="2684" y="4426"/>
                    </a:cubicBezTo>
                    <a:close/>
                    <a:moveTo>
                      <a:pt x="1956" y="4803"/>
                    </a:moveTo>
                    <a:cubicBezTo>
                      <a:pt x="1956" y="4890"/>
                      <a:pt x="1886" y="4960"/>
                      <a:pt x="1800" y="4960"/>
                    </a:cubicBezTo>
                    <a:cubicBezTo>
                      <a:pt x="1714" y="4960"/>
                      <a:pt x="1643" y="4890"/>
                      <a:pt x="1643" y="4803"/>
                    </a:cubicBezTo>
                    <a:cubicBezTo>
                      <a:pt x="1643" y="4717"/>
                      <a:pt x="1714" y="4647"/>
                      <a:pt x="1800" y="4647"/>
                    </a:cubicBezTo>
                    <a:cubicBezTo>
                      <a:pt x="1886" y="4647"/>
                      <a:pt x="1956" y="4717"/>
                      <a:pt x="1956" y="4803"/>
                    </a:cubicBezTo>
                    <a:close/>
                    <a:moveTo>
                      <a:pt x="895" y="5625"/>
                    </a:moveTo>
                    <a:cubicBezTo>
                      <a:pt x="981" y="5625"/>
                      <a:pt x="1051" y="5695"/>
                      <a:pt x="1051" y="5781"/>
                    </a:cubicBezTo>
                    <a:cubicBezTo>
                      <a:pt x="1051" y="5868"/>
                      <a:pt x="981" y="5938"/>
                      <a:pt x="895" y="5938"/>
                    </a:cubicBezTo>
                    <a:cubicBezTo>
                      <a:pt x="808" y="5938"/>
                      <a:pt x="738" y="5868"/>
                      <a:pt x="738" y="5781"/>
                    </a:cubicBezTo>
                    <a:cubicBezTo>
                      <a:pt x="738" y="5695"/>
                      <a:pt x="808" y="5625"/>
                      <a:pt x="895" y="5625"/>
                    </a:cubicBezTo>
                    <a:close/>
                    <a:moveTo>
                      <a:pt x="1800" y="1537"/>
                    </a:moveTo>
                    <a:cubicBezTo>
                      <a:pt x="1714" y="1537"/>
                      <a:pt x="1643" y="1467"/>
                      <a:pt x="1643" y="1380"/>
                    </a:cubicBezTo>
                    <a:cubicBezTo>
                      <a:pt x="1643" y="1294"/>
                      <a:pt x="1714" y="1224"/>
                      <a:pt x="1800" y="1224"/>
                    </a:cubicBezTo>
                    <a:cubicBezTo>
                      <a:pt x="1886" y="1224"/>
                      <a:pt x="1956" y="1294"/>
                      <a:pt x="1956" y="1380"/>
                    </a:cubicBezTo>
                    <a:cubicBezTo>
                      <a:pt x="1956" y="1467"/>
                      <a:pt x="1886" y="1537"/>
                      <a:pt x="1800" y="1537"/>
                    </a:cubicBezTo>
                    <a:close/>
                    <a:moveTo>
                      <a:pt x="2621" y="3336"/>
                    </a:moveTo>
                    <a:cubicBezTo>
                      <a:pt x="2621" y="3250"/>
                      <a:pt x="2692" y="3180"/>
                      <a:pt x="2778" y="3180"/>
                    </a:cubicBezTo>
                    <a:cubicBezTo>
                      <a:pt x="2864" y="3180"/>
                      <a:pt x="2934" y="3250"/>
                      <a:pt x="2934" y="3336"/>
                    </a:cubicBezTo>
                    <a:cubicBezTo>
                      <a:pt x="2934" y="3423"/>
                      <a:pt x="2864" y="3493"/>
                      <a:pt x="2778" y="3493"/>
                    </a:cubicBezTo>
                    <a:cubicBezTo>
                      <a:pt x="2692" y="3493"/>
                      <a:pt x="2621" y="3423"/>
                      <a:pt x="2621" y="33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uk-UA" sz="900"/>
              </a:p>
            </p:txBody>
          </p:sp>
          <p:sp>
            <p:nvSpPr>
              <p:cNvPr id="15" name="Freeform 11">
                <a:extLst>
                  <a:ext uri="{FF2B5EF4-FFF2-40B4-BE49-F238E27FC236}">
                    <a16:creationId xmlns:a16="http://schemas.microsoft.com/office/drawing/2014/main" id="{207D72C0-5C64-3BDF-4A8D-98F96A2B0CC4}"/>
                  </a:ext>
                </a:extLst>
              </p:cNvPr>
              <p:cNvSpPr>
                <a:spLocks noEditPoints="1"/>
              </p:cNvSpPr>
              <p:nvPr/>
            </p:nvSpPr>
            <p:spPr bwMode="auto">
              <a:xfrm>
                <a:off x="42" y="4229"/>
                <a:ext cx="1865" cy="3422"/>
              </a:xfrm>
              <a:custGeom>
                <a:avLst/>
                <a:gdLst>
                  <a:gd name="T0" fmla="*/ 1905 w 3636"/>
                  <a:gd name="T1" fmla="*/ 594 h 6673"/>
                  <a:gd name="T2" fmla="*/ 670 w 3636"/>
                  <a:gd name="T3" fmla="*/ 1625 h 6673"/>
                  <a:gd name="T4" fmla="*/ 0 w 3636"/>
                  <a:gd name="T5" fmla="*/ 3336 h 6673"/>
                  <a:gd name="T6" fmla="*/ 670 w 3636"/>
                  <a:gd name="T7" fmla="*/ 5048 h 6673"/>
                  <a:gd name="T8" fmla="*/ 1905 w 3636"/>
                  <a:gd name="T9" fmla="*/ 6079 h 6673"/>
                  <a:gd name="T10" fmla="*/ 3636 w 3636"/>
                  <a:gd name="T11" fmla="*/ 5781 h 6673"/>
                  <a:gd name="T12" fmla="*/ 2745 w 3636"/>
                  <a:gd name="T13" fmla="*/ 0 h 6673"/>
                  <a:gd name="T14" fmla="*/ 2585 w 3636"/>
                  <a:gd name="T15" fmla="*/ 3825 h 6673"/>
                  <a:gd name="T16" fmla="*/ 2898 w 3636"/>
                  <a:gd name="T17" fmla="*/ 3825 h 6673"/>
                  <a:gd name="T18" fmla="*/ 3460 w 3636"/>
                  <a:gd name="T19" fmla="*/ 2761 h 6673"/>
                  <a:gd name="T20" fmla="*/ 2830 w 3636"/>
                  <a:gd name="T21" fmla="*/ 1212 h 6673"/>
                  <a:gd name="T22" fmla="*/ 2742 w 3636"/>
                  <a:gd name="T23" fmla="*/ 559 h 6673"/>
                  <a:gd name="T24" fmla="*/ 2654 w 3636"/>
                  <a:gd name="T25" fmla="*/ 1212 h 6673"/>
                  <a:gd name="T26" fmla="*/ 2322 w 3636"/>
                  <a:gd name="T27" fmla="*/ 2761 h 6673"/>
                  <a:gd name="T28" fmla="*/ 1179 w 3636"/>
                  <a:gd name="T29" fmla="*/ 3248 h 6673"/>
                  <a:gd name="T30" fmla="*/ 526 w 3636"/>
                  <a:gd name="T31" fmla="*/ 3336 h 6673"/>
                  <a:gd name="T32" fmla="*/ 1179 w 3636"/>
                  <a:gd name="T33" fmla="*/ 3424 h 6673"/>
                  <a:gd name="T34" fmla="*/ 1748 w 3636"/>
                  <a:gd name="T35" fmla="*/ 4972 h 6673"/>
                  <a:gd name="T36" fmla="*/ 1836 w 3636"/>
                  <a:gd name="T37" fmla="*/ 5625 h 6673"/>
                  <a:gd name="T38" fmla="*/ 1924 w 3636"/>
                  <a:gd name="T39" fmla="*/ 4972 h 6673"/>
                  <a:gd name="T40" fmla="*/ 2322 w 3636"/>
                  <a:gd name="T41" fmla="*/ 2937 h 6673"/>
                  <a:gd name="T42" fmla="*/ 3460 w 3636"/>
                  <a:gd name="T43" fmla="*/ 2937 h 6673"/>
                  <a:gd name="T44" fmla="*/ 2830 w 3636"/>
                  <a:gd name="T45" fmla="*/ 6491 h 6673"/>
                  <a:gd name="T46" fmla="*/ 3074 w 3636"/>
                  <a:gd name="T47" fmla="*/ 3825 h 6673"/>
                  <a:gd name="T48" fmla="*/ 2409 w 3636"/>
                  <a:gd name="T49" fmla="*/ 3825 h 6673"/>
                  <a:gd name="T50" fmla="*/ 2654 w 3636"/>
                  <a:gd name="T51" fmla="*/ 6491 h 6673"/>
                  <a:gd name="T52" fmla="*/ 2011 w 3636"/>
                  <a:gd name="T53" fmla="*/ 5899 h 6673"/>
                  <a:gd name="T54" fmla="*/ 1943 w 3636"/>
                  <a:gd name="T55" fmla="*/ 5890 h 6673"/>
                  <a:gd name="T56" fmla="*/ 846 w 3636"/>
                  <a:gd name="T57" fmla="*/ 5048 h 6673"/>
                  <a:gd name="T58" fmla="*/ 1007 w 3636"/>
                  <a:gd name="T59" fmla="*/ 4481 h 6673"/>
                  <a:gd name="T60" fmla="*/ 176 w 3636"/>
                  <a:gd name="T61" fmla="*/ 3336 h 6673"/>
                  <a:gd name="T62" fmla="*/ 1007 w 3636"/>
                  <a:gd name="T63" fmla="*/ 2191 h 6673"/>
                  <a:gd name="T64" fmla="*/ 912 w 3636"/>
                  <a:gd name="T65" fmla="*/ 1957 h 6673"/>
                  <a:gd name="T66" fmla="*/ 1836 w 3636"/>
                  <a:gd name="T67" fmla="*/ 2202 h 6673"/>
                  <a:gd name="T68" fmla="*/ 1836 w 3636"/>
                  <a:gd name="T69" fmla="*/ 1537 h 6673"/>
                  <a:gd name="T70" fmla="*/ 860 w 3636"/>
                  <a:gd name="T71" fmla="*/ 1781 h 6673"/>
                  <a:gd name="T72" fmla="*/ 1718 w 3636"/>
                  <a:gd name="T73" fmla="*/ 753 h 6673"/>
                  <a:gd name="T74" fmla="*/ 2011 w 3636"/>
                  <a:gd name="T75" fmla="*/ 774 h 6673"/>
                  <a:gd name="T76" fmla="*/ 2745 w 3636"/>
                  <a:gd name="T77" fmla="*/ 176 h 6673"/>
                  <a:gd name="T78" fmla="*/ 3460 w 3636"/>
                  <a:gd name="T79" fmla="*/ 2761 h 6673"/>
                  <a:gd name="T80" fmla="*/ 2585 w 3636"/>
                  <a:gd name="T81" fmla="*/ 891 h 6673"/>
                  <a:gd name="T82" fmla="*/ 2898 w 3636"/>
                  <a:gd name="T83" fmla="*/ 891 h 6673"/>
                  <a:gd name="T84" fmla="*/ 1836 w 3636"/>
                  <a:gd name="T85" fmla="*/ 5136 h 6673"/>
                  <a:gd name="T86" fmla="*/ 1836 w 3636"/>
                  <a:gd name="T87" fmla="*/ 5449 h 6673"/>
                  <a:gd name="T88" fmla="*/ 1836 w 3636"/>
                  <a:gd name="T89" fmla="*/ 5136 h 6673"/>
                  <a:gd name="T90" fmla="*/ 858 w 3636"/>
                  <a:gd name="T91" fmla="*/ 3493 h 6673"/>
                  <a:gd name="T92" fmla="*/ 858 w 3636"/>
                  <a:gd name="T93" fmla="*/ 3180 h 6673"/>
                  <a:gd name="T94" fmla="*/ 1680 w 3636"/>
                  <a:gd name="T95" fmla="*/ 1869 h 6673"/>
                  <a:gd name="T96" fmla="*/ 1993 w 3636"/>
                  <a:gd name="T97" fmla="*/ 1869 h 6673"/>
                  <a:gd name="T98" fmla="*/ 1680 w 3636"/>
                  <a:gd name="T99" fmla="*/ 1869 h 6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636" h="6673">
                    <a:moveTo>
                      <a:pt x="2745" y="0"/>
                    </a:moveTo>
                    <a:cubicBezTo>
                      <a:pt x="2363" y="0"/>
                      <a:pt x="2030" y="240"/>
                      <a:pt x="1905" y="594"/>
                    </a:cubicBezTo>
                    <a:cubicBezTo>
                      <a:pt x="1842" y="582"/>
                      <a:pt x="1780" y="577"/>
                      <a:pt x="1718" y="577"/>
                    </a:cubicBezTo>
                    <a:cubicBezTo>
                      <a:pt x="1140" y="577"/>
                      <a:pt x="670" y="1047"/>
                      <a:pt x="670" y="1625"/>
                    </a:cubicBezTo>
                    <a:cubicBezTo>
                      <a:pt x="670" y="1799"/>
                      <a:pt x="713" y="1968"/>
                      <a:pt x="794" y="2120"/>
                    </a:cubicBezTo>
                    <a:cubicBezTo>
                      <a:pt x="315" y="2331"/>
                      <a:pt x="0" y="2807"/>
                      <a:pt x="0" y="3336"/>
                    </a:cubicBezTo>
                    <a:cubicBezTo>
                      <a:pt x="0" y="3866"/>
                      <a:pt x="315" y="4342"/>
                      <a:pt x="794" y="4553"/>
                    </a:cubicBezTo>
                    <a:cubicBezTo>
                      <a:pt x="713" y="4704"/>
                      <a:pt x="670" y="4874"/>
                      <a:pt x="670" y="5048"/>
                    </a:cubicBezTo>
                    <a:cubicBezTo>
                      <a:pt x="670" y="5626"/>
                      <a:pt x="1140" y="6096"/>
                      <a:pt x="1718" y="6096"/>
                    </a:cubicBezTo>
                    <a:cubicBezTo>
                      <a:pt x="1780" y="6096"/>
                      <a:pt x="1842" y="6090"/>
                      <a:pt x="1905" y="6079"/>
                    </a:cubicBezTo>
                    <a:cubicBezTo>
                      <a:pt x="2030" y="6432"/>
                      <a:pt x="2363" y="6673"/>
                      <a:pt x="2745" y="6673"/>
                    </a:cubicBezTo>
                    <a:cubicBezTo>
                      <a:pt x="3236" y="6673"/>
                      <a:pt x="3636" y="6273"/>
                      <a:pt x="3636" y="5781"/>
                    </a:cubicBezTo>
                    <a:cubicBezTo>
                      <a:pt x="3636" y="891"/>
                      <a:pt x="3636" y="891"/>
                      <a:pt x="3636" y="891"/>
                    </a:cubicBezTo>
                    <a:cubicBezTo>
                      <a:pt x="3636" y="400"/>
                      <a:pt x="3236" y="0"/>
                      <a:pt x="2745" y="0"/>
                    </a:cubicBezTo>
                    <a:close/>
                    <a:moveTo>
                      <a:pt x="2742" y="3982"/>
                    </a:moveTo>
                    <a:cubicBezTo>
                      <a:pt x="2655" y="3982"/>
                      <a:pt x="2585" y="3912"/>
                      <a:pt x="2585" y="3825"/>
                    </a:cubicBezTo>
                    <a:cubicBezTo>
                      <a:pt x="2585" y="3739"/>
                      <a:pt x="2655" y="3669"/>
                      <a:pt x="2742" y="3669"/>
                    </a:cubicBezTo>
                    <a:cubicBezTo>
                      <a:pt x="2828" y="3669"/>
                      <a:pt x="2898" y="3739"/>
                      <a:pt x="2898" y="3825"/>
                    </a:cubicBezTo>
                    <a:cubicBezTo>
                      <a:pt x="2898" y="3912"/>
                      <a:pt x="2828" y="3982"/>
                      <a:pt x="2742" y="3982"/>
                    </a:cubicBezTo>
                    <a:close/>
                    <a:moveTo>
                      <a:pt x="3460" y="2761"/>
                    </a:moveTo>
                    <a:cubicBezTo>
                      <a:pt x="2830" y="2761"/>
                      <a:pt x="2830" y="2761"/>
                      <a:pt x="2830" y="2761"/>
                    </a:cubicBezTo>
                    <a:cubicBezTo>
                      <a:pt x="2830" y="1212"/>
                      <a:pt x="2830" y="1212"/>
                      <a:pt x="2830" y="1212"/>
                    </a:cubicBezTo>
                    <a:cubicBezTo>
                      <a:pt x="2970" y="1173"/>
                      <a:pt x="3074" y="1044"/>
                      <a:pt x="3074" y="891"/>
                    </a:cubicBezTo>
                    <a:cubicBezTo>
                      <a:pt x="3074" y="708"/>
                      <a:pt x="2925" y="559"/>
                      <a:pt x="2742" y="559"/>
                    </a:cubicBezTo>
                    <a:cubicBezTo>
                      <a:pt x="2558" y="559"/>
                      <a:pt x="2409" y="708"/>
                      <a:pt x="2409" y="891"/>
                    </a:cubicBezTo>
                    <a:cubicBezTo>
                      <a:pt x="2409" y="1044"/>
                      <a:pt x="2513" y="1173"/>
                      <a:pt x="2654" y="1212"/>
                    </a:cubicBezTo>
                    <a:cubicBezTo>
                      <a:pt x="2654" y="2761"/>
                      <a:pt x="2654" y="2761"/>
                      <a:pt x="2654" y="2761"/>
                    </a:cubicBezTo>
                    <a:cubicBezTo>
                      <a:pt x="2322" y="2761"/>
                      <a:pt x="2322" y="2761"/>
                      <a:pt x="2322" y="2761"/>
                    </a:cubicBezTo>
                    <a:cubicBezTo>
                      <a:pt x="2035" y="2761"/>
                      <a:pt x="1797" y="2973"/>
                      <a:pt x="1755" y="3248"/>
                    </a:cubicBezTo>
                    <a:cubicBezTo>
                      <a:pt x="1179" y="3248"/>
                      <a:pt x="1179" y="3248"/>
                      <a:pt x="1179" y="3248"/>
                    </a:cubicBezTo>
                    <a:cubicBezTo>
                      <a:pt x="1140" y="3108"/>
                      <a:pt x="1011" y="3004"/>
                      <a:pt x="858" y="3004"/>
                    </a:cubicBezTo>
                    <a:cubicBezTo>
                      <a:pt x="675" y="3004"/>
                      <a:pt x="526" y="3153"/>
                      <a:pt x="526" y="3336"/>
                    </a:cubicBezTo>
                    <a:cubicBezTo>
                      <a:pt x="526" y="3520"/>
                      <a:pt x="675" y="3669"/>
                      <a:pt x="858" y="3669"/>
                    </a:cubicBezTo>
                    <a:cubicBezTo>
                      <a:pt x="1011" y="3669"/>
                      <a:pt x="1140" y="3565"/>
                      <a:pt x="1179" y="3424"/>
                    </a:cubicBezTo>
                    <a:cubicBezTo>
                      <a:pt x="1748" y="3424"/>
                      <a:pt x="1748" y="3424"/>
                      <a:pt x="1748" y="3424"/>
                    </a:cubicBezTo>
                    <a:cubicBezTo>
                      <a:pt x="1748" y="4972"/>
                      <a:pt x="1748" y="4972"/>
                      <a:pt x="1748" y="4972"/>
                    </a:cubicBezTo>
                    <a:cubicBezTo>
                      <a:pt x="1608" y="5010"/>
                      <a:pt x="1504" y="5139"/>
                      <a:pt x="1504" y="5292"/>
                    </a:cubicBezTo>
                    <a:cubicBezTo>
                      <a:pt x="1504" y="5476"/>
                      <a:pt x="1653" y="5625"/>
                      <a:pt x="1836" y="5625"/>
                    </a:cubicBezTo>
                    <a:cubicBezTo>
                      <a:pt x="2020" y="5625"/>
                      <a:pt x="2169" y="5476"/>
                      <a:pt x="2169" y="5292"/>
                    </a:cubicBezTo>
                    <a:cubicBezTo>
                      <a:pt x="2169" y="5139"/>
                      <a:pt x="2065" y="5010"/>
                      <a:pt x="1924" y="4972"/>
                    </a:cubicBezTo>
                    <a:cubicBezTo>
                      <a:pt x="1924" y="3335"/>
                      <a:pt x="1924" y="3335"/>
                      <a:pt x="1924" y="3335"/>
                    </a:cubicBezTo>
                    <a:cubicBezTo>
                      <a:pt x="1924" y="3116"/>
                      <a:pt x="2103" y="2937"/>
                      <a:pt x="2322" y="2937"/>
                    </a:cubicBezTo>
                    <a:cubicBezTo>
                      <a:pt x="2742" y="2937"/>
                      <a:pt x="2742" y="2937"/>
                      <a:pt x="2742" y="2937"/>
                    </a:cubicBezTo>
                    <a:cubicBezTo>
                      <a:pt x="3460" y="2937"/>
                      <a:pt x="3460" y="2937"/>
                      <a:pt x="3460" y="2937"/>
                    </a:cubicBezTo>
                    <a:cubicBezTo>
                      <a:pt x="3460" y="5781"/>
                      <a:pt x="3460" y="5781"/>
                      <a:pt x="3460" y="5781"/>
                    </a:cubicBezTo>
                    <a:cubicBezTo>
                      <a:pt x="3460" y="6147"/>
                      <a:pt x="3184" y="6449"/>
                      <a:pt x="2830" y="6491"/>
                    </a:cubicBezTo>
                    <a:cubicBezTo>
                      <a:pt x="2830" y="4146"/>
                      <a:pt x="2830" y="4146"/>
                      <a:pt x="2830" y="4146"/>
                    </a:cubicBezTo>
                    <a:cubicBezTo>
                      <a:pt x="2970" y="4107"/>
                      <a:pt x="3074" y="3978"/>
                      <a:pt x="3074" y="3825"/>
                    </a:cubicBezTo>
                    <a:cubicBezTo>
                      <a:pt x="3074" y="3642"/>
                      <a:pt x="2925" y="3493"/>
                      <a:pt x="2742" y="3493"/>
                    </a:cubicBezTo>
                    <a:cubicBezTo>
                      <a:pt x="2558" y="3493"/>
                      <a:pt x="2409" y="3642"/>
                      <a:pt x="2409" y="3825"/>
                    </a:cubicBezTo>
                    <a:cubicBezTo>
                      <a:pt x="2409" y="3978"/>
                      <a:pt x="2513" y="4107"/>
                      <a:pt x="2654" y="4146"/>
                    </a:cubicBezTo>
                    <a:cubicBezTo>
                      <a:pt x="2654" y="6491"/>
                      <a:pt x="2654" y="6491"/>
                      <a:pt x="2654" y="6491"/>
                    </a:cubicBezTo>
                    <a:cubicBezTo>
                      <a:pt x="2364" y="6454"/>
                      <a:pt x="2123" y="6243"/>
                      <a:pt x="2051" y="5954"/>
                    </a:cubicBezTo>
                    <a:cubicBezTo>
                      <a:pt x="2046" y="5931"/>
                      <a:pt x="2031" y="5911"/>
                      <a:pt x="2011" y="5899"/>
                    </a:cubicBezTo>
                    <a:cubicBezTo>
                      <a:pt x="1997" y="5891"/>
                      <a:pt x="1981" y="5887"/>
                      <a:pt x="1966" y="5887"/>
                    </a:cubicBezTo>
                    <a:cubicBezTo>
                      <a:pt x="1958" y="5887"/>
                      <a:pt x="1951" y="5888"/>
                      <a:pt x="1943" y="5890"/>
                    </a:cubicBezTo>
                    <a:cubicBezTo>
                      <a:pt x="1867" y="5910"/>
                      <a:pt x="1792" y="5920"/>
                      <a:pt x="1718" y="5920"/>
                    </a:cubicBezTo>
                    <a:cubicBezTo>
                      <a:pt x="1237" y="5920"/>
                      <a:pt x="846" y="5529"/>
                      <a:pt x="846" y="5048"/>
                    </a:cubicBezTo>
                    <a:cubicBezTo>
                      <a:pt x="846" y="4872"/>
                      <a:pt x="898" y="4703"/>
                      <a:pt x="996" y="4559"/>
                    </a:cubicBezTo>
                    <a:cubicBezTo>
                      <a:pt x="1012" y="4536"/>
                      <a:pt x="1015" y="4507"/>
                      <a:pt x="1007" y="4481"/>
                    </a:cubicBezTo>
                    <a:cubicBezTo>
                      <a:pt x="998" y="4456"/>
                      <a:pt x="978" y="4435"/>
                      <a:pt x="952" y="4426"/>
                    </a:cubicBezTo>
                    <a:cubicBezTo>
                      <a:pt x="488" y="4265"/>
                      <a:pt x="176" y="3827"/>
                      <a:pt x="176" y="3336"/>
                    </a:cubicBezTo>
                    <a:cubicBezTo>
                      <a:pt x="176" y="2846"/>
                      <a:pt x="488" y="2408"/>
                      <a:pt x="952" y="2247"/>
                    </a:cubicBezTo>
                    <a:cubicBezTo>
                      <a:pt x="978" y="2238"/>
                      <a:pt x="998" y="2217"/>
                      <a:pt x="1007" y="2191"/>
                    </a:cubicBezTo>
                    <a:cubicBezTo>
                      <a:pt x="1015" y="2165"/>
                      <a:pt x="1012" y="2137"/>
                      <a:pt x="996" y="2114"/>
                    </a:cubicBezTo>
                    <a:cubicBezTo>
                      <a:pt x="962" y="2065"/>
                      <a:pt x="934" y="2012"/>
                      <a:pt x="912" y="1957"/>
                    </a:cubicBezTo>
                    <a:cubicBezTo>
                      <a:pt x="1516" y="1957"/>
                      <a:pt x="1516" y="1957"/>
                      <a:pt x="1516" y="1957"/>
                    </a:cubicBezTo>
                    <a:cubicBezTo>
                      <a:pt x="1554" y="2098"/>
                      <a:pt x="1683" y="2202"/>
                      <a:pt x="1836" y="2202"/>
                    </a:cubicBezTo>
                    <a:cubicBezTo>
                      <a:pt x="2020" y="2202"/>
                      <a:pt x="2169" y="2053"/>
                      <a:pt x="2169" y="1869"/>
                    </a:cubicBezTo>
                    <a:cubicBezTo>
                      <a:pt x="2169" y="1686"/>
                      <a:pt x="2020" y="1537"/>
                      <a:pt x="1836" y="1537"/>
                    </a:cubicBezTo>
                    <a:cubicBezTo>
                      <a:pt x="1683" y="1537"/>
                      <a:pt x="1554" y="1641"/>
                      <a:pt x="1516" y="1781"/>
                    </a:cubicBezTo>
                    <a:cubicBezTo>
                      <a:pt x="860" y="1781"/>
                      <a:pt x="860" y="1781"/>
                      <a:pt x="860" y="1781"/>
                    </a:cubicBezTo>
                    <a:cubicBezTo>
                      <a:pt x="851" y="1730"/>
                      <a:pt x="846" y="1678"/>
                      <a:pt x="846" y="1625"/>
                    </a:cubicBezTo>
                    <a:cubicBezTo>
                      <a:pt x="846" y="1144"/>
                      <a:pt x="1237" y="753"/>
                      <a:pt x="1718" y="753"/>
                    </a:cubicBezTo>
                    <a:cubicBezTo>
                      <a:pt x="1792" y="753"/>
                      <a:pt x="1867" y="763"/>
                      <a:pt x="1943" y="783"/>
                    </a:cubicBezTo>
                    <a:cubicBezTo>
                      <a:pt x="1966" y="789"/>
                      <a:pt x="1990" y="786"/>
                      <a:pt x="2011" y="774"/>
                    </a:cubicBezTo>
                    <a:cubicBezTo>
                      <a:pt x="2031" y="762"/>
                      <a:pt x="2046" y="742"/>
                      <a:pt x="2051" y="719"/>
                    </a:cubicBezTo>
                    <a:cubicBezTo>
                      <a:pt x="2130" y="400"/>
                      <a:pt x="2416" y="176"/>
                      <a:pt x="2745" y="176"/>
                    </a:cubicBezTo>
                    <a:cubicBezTo>
                      <a:pt x="3139" y="176"/>
                      <a:pt x="3460" y="497"/>
                      <a:pt x="3460" y="891"/>
                    </a:cubicBezTo>
                    <a:lnTo>
                      <a:pt x="3460" y="2761"/>
                    </a:lnTo>
                    <a:close/>
                    <a:moveTo>
                      <a:pt x="2742" y="1048"/>
                    </a:moveTo>
                    <a:cubicBezTo>
                      <a:pt x="2655" y="1048"/>
                      <a:pt x="2585" y="978"/>
                      <a:pt x="2585" y="891"/>
                    </a:cubicBezTo>
                    <a:cubicBezTo>
                      <a:pt x="2585" y="805"/>
                      <a:pt x="2655" y="735"/>
                      <a:pt x="2742" y="735"/>
                    </a:cubicBezTo>
                    <a:cubicBezTo>
                      <a:pt x="2828" y="735"/>
                      <a:pt x="2898" y="805"/>
                      <a:pt x="2898" y="891"/>
                    </a:cubicBezTo>
                    <a:cubicBezTo>
                      <a:pt x="2898" y="978"/>
                      <a:pt x="2828" y="1048"/>
                      <a:pt x="2742" y="1048"/>
                    </a:cubicBezTo>
                    <a:close/>
                    <a:moveTo>
                      <a:pt x="1836" y="5136"/>
                    </a:moveTo>
                    <a:cubicBezTo>
                      <a:pt x="1923" y="5136"/>
                      <a:pt x="1993" y="5206"/>
                      <a:pt x="1993" y="5292"/>
                    </a:cubicBezTo>
                    <a:cubicBezTo>
                      <a:pt x="1993" y="5379"/>
                      <a:pt x="1923" y="5449"/>
                      <a:pt x="1836" y="5449"/>
                    </a:cubicBezTo>
                    <a:cubicBezTo>
                      <a:pt x="1750" y="5449"/>
                      <a:pt x="1680" y="5379"/>
                      <a:pt x="1680" y="5292"/>
                    </a:cubicBezTo>
                    <a:cubicBezTo>
                      <a:pt x="1680" y="5206"/>
                      <a:pt x="1750" y="5136"/>
                      <a:pt x="1836" y="5136"/>
                    </a:cubicBezTo>
                    <a:close/>
                    <a:moveTo>
                      <a:pt x="1015" y="3336"/>
                    </a:moveTo>
                    <a:cubicBezTo>
                      <a:pt x="1015" y="3423"/>
                      <a:pt x="945" y="3493"/>
                      <a:pt x="858" y="3493"/>
                    </a:cubicBezTo>
                    <a:cubicBezTo>
                      <a:pt x="772" y="3493"/>
                      <a:pt x="702" y="3423"/>
                      <a:pt x="702" y="3336"/>
                    </a:cubicBezTo>
                    <a:cubicBezTo>
                      <a:pt x="702" y="3250"/>
                      <a:pt x="772" y="3180"/>
                      <a:pt x="858" y="3180"/>
                    </a:cubicBezTo>
                    <a:cubicBezTo>
                      <a:pt x="945" y="3180"/>
                      <a:pt x="1015" y="3250"/>
                      <a:pt x="1015" y="3336"/>
                    </a:cubicBezTo>
                    <a:close/>
                    <a:moveTo>
                      <a:pt x="1680" y="1869"/>
                    </a:moveTo>
                    <a:cubicBezTo>
                      <a:pt x="1680" y="1783"/>
                      <a:pt x="1750" y="1713"/>
                      <a:pt x="1836" y="1713"/>
                    </a:cubicBezTo>
                    <a:cubicBezTo>
                      <a:pt x="1923" y="1713"/>
                      <a:pt x="1993" y="1783"/>
                      <a:pt x="1993" y="1869"/>
                    </a:cubicBezTo>
                    <a:cubicBezTo>
                      <a:pt x="1993" y="1956"/>
                      <a:pt x="1923" y="2026"/>
                      <a:pt x="1836" y="2026"/>
                    </a:cubicBezTo>
                    <a:cubicBezTo>
                      <a:pt x="1750" y="2026"/>
                      <a:pt x="1680" y="1956"/>
                      <a:pt x="1680" y="18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uk-UA" sz="900"/>
              </a:p>
            </p:txBody>
          </p:sp>
        </p:grpSp>
      </p:grpSp>
    </p:spTree>
    <p:extLst>
      <p:ext uri="{BB962C8B-B14F-4D97-AF65-F5344CB8AC3E}">
        <p14:creationId xmlns:p14="http://schemas.microsoft.com/office/powerpoint/2010/main" val="3534457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8" name="Text Placeholder 5">
            <a:extLst>
              <a:ext uri="{FF2B5EF4-FFF2-40B4-BE49-F238E27FC236}">
                <a16:creationId xmlns:a16="http://schemas.microsoft.com/office/drawing/2014/main" id="{03F79CF1-BB23-64AA-9C92-5A1EAE747F93}"/>
              </a:ext>
            </a:extLst>
          </p:cNvPr>
          <p:cNvSpPr>
            <a:spLocks noGrp="1"/>
          </p:cNvSpPr>
          <p:nvPr>
            <p:ph type="body" sz="quarter" idx="13" hasCustomPrompt="1"/>
          </p:nvPr>
        </p:nvSpPr>
        <p:spPr>
          <a:xfrm>
            <a:off x="262697" y="3429000"/>
            <a:ext cx="5050131" cy="1451113"/>
          </a:xfrm>
        </p:spPr>
        <p:txBody>
          <a:bodyPr/>
          <a:lstStyle>
            <a:lvl1pPr>
              <a:defRPr/>
            </a:lvl1pPr>
          </a:lstStyle>
          <a:p>
            <a:r>
              <a:rPr lang="en-US"/>
              <a:t>Session code (ID number)</a:t>
            </a:r>
            <a:br>
              <a:rPr lang="en-US"/>
            </a:br>
            <a:r>
              <a:rPr lang="en-US"/>
              <a:t>Session Title</a:t>
            </a:r>
            <a:br>
              <a:rPr lang="en-US"/>
            </a:br>
            <a:r>
              <a:rPr lang="en-US" err="1"/>
              <a:t>Firstname</a:t>
            </a:r>
            <a:r>
              <a:rPr lang="en-US"/>
              <a:t> </a:t>
            </a:r>
            <a:r>
              <a:rPr lang="en-US" err="1"/>
              <a:t>Lastname</a:t>
            </a:r>
            <a:br>
              <a:rPr lang="en-US"/>
            </a:br>
            <a:r>
              <a:rPr lang="en-US"/>
              <a:t>Company, Job Title</a:t>
            </a:r>
          </a:p>
        </p:txBody>
      </p:sp>
      <p:sp>
        <p:nvSpPr>
          <p:cNvPr id="10" name="Title 1">
            <a:extLst>
              <a:ext uri="{FF2B5EF4-FFF2-40B4-BE49-F238E27FC236}">
                <a16:creationId xmlns:a16="http://schemas.microsoft.com/office/drawing/2014/main" id="{C20F0B5B-6B52-3139-61A7-7B7287D7127D}"/>
              </a:ext>
            </a:extLst>
          </p:cNvPr>
          <p:cNvSpPr>
            <a:spLocks noGrp="1"/>
          </p:cNvSpPr>
          <p:nvPr>
            <p:ph type="title"/>
          </p:nvPr>
        </p:nvSpPr>
        <p:spPr>
          <a:xfrm>
            <a:off x="262950" y="1093032"/>
            <a:ext cx="5049878" cy="2070856"/>
          </a:xfrm>
        </p:spPr>
        <p:txBody>
          <a:bodyPr/>
          <a:lstStyle>
            <a:lvl1pPr>
              <a:lnSpc>
                <a:spcPct val="100000"/>
              </a:lnSpc>
              <a:defRPr sz="3199">
                <a:solidFill>
                  <a:schemeClr val="tx2"/>
                </a:solidFill>
              </a:defRPr>
            </a:lvl1pPr>
          </a:lstStyle>
          <a:p>
            <a:r>
              <a:rPr lang="en-US"/>
              <a:t>Click to edit Master title style</a:t>
            </a:r>
          </a:p>
        </p:txBody>
      </p:sp>
      <p:grpSp>
        <p:nvGrpSpPr>
          <p:cNvPr id="26" name="Graphic 5">
            <a:extLst>
              <a:ext uri="{FF2B5EF4-FFF2-40B4-BE49-F238E27FC236}">
                <a16:creationId xmlns:a16="http://schemas.microsoft.com/office/drawing/2014/main" id="{F1A637DE-FA28-1BBA-ED19-561BF47FC9AA}"/>
              </a:ext>
            </a:extLst>
          </p:cNvPr>
          <p:cNvGrpSpPr/>
          <p:nvPr userDrawn="1"/>
        </p:nvGrpSpPr>
        <p:grpSpPr>
          <a:xfrm>
            <a:off x="299134" y="288036"/>
            <a:ext cx="1878950" cy="218297"/>
            <a:chOff x="6597650" y="8572457"/>
            <a:chExt cx="11188016" cy="1299659"/>
          </a:xfrm>
          <a:solidFill>
            <a:srgbClr val="000000"/>
          </a:solidFill>
        </p:grpSpPr>
        <p:sp>
          <p:nvSpPr>
            <p:cNvPr id="27" name="Freeform: Shape 26">
              <a:extLst>
                <a:ext uri="{FF2B5EF4-FFF2-40B4-BE49-F238E27FC236}">
                  <a16:creationId xmlns:a16="http://schemas.microsoft.com/office/drawing/2014/main" id="{F5985145-6140-8167-8472-4F70B1B08F56}"/>
                </a:ext>
              </a:extLst>
            </p:cNvPr>
            <p:cNvSpPr/>
            <p:nvPr/>
          </p:nvSpPr>
          <p:spPr>
            <a:xfrm>
              <a:off x="11603037" y="8572457"/>
              <a:ext cx="633888" cy="1010097"/>
            </a:xfrm>
            <a:custGeom>
              <a:avLst/>
              <a:gdLst>
                <a:gd name="connsiteX0" fmla="*/ 95 w 633888"/>
                <a:gd name="connsiteY0" fmla="*/ 42 h 1010097"/>
                <a:gd name="connsiteX1" fmla="*/ 202502 w 633888"/>
                <a:gd name="connsiteY1" fmla="*/ 42 h 1010097"/>
                <a:gd name="connsiteX2" fmla="*/ 204216 w 633888"/>
                <a:gd name="connsiteY2" fmla="*/ 419904 h 1010097"/>
                <a:gd name="connsiteX3" fmla="*/ 276320 w 633888"/>
                <a:gd name="connsiteY3" fmla="*/ 318463 h 1010097"/>
                <a:gd name="connsiteX4" fmla="*/ 591884 w 633888"/>
                <a:gd name="connsiteY4" fmla="*/ 373899 h 1010097"/>
                <a:gd name="connsiteX5" fmla="*/ 633793 w 633888"/>
                <a:gd name="connsiteY5" fmla="*/ 562303 h 1010097"/>
                <a:gd name="connsiteX6" fmla="*/ 633889 w 633888"/>
                <a:gd name="connsiteY6" fmla="*/ 1010073 h 1010097"/>
                <a:gd name="connsiteX7" fmla="*/ 431482 w 633888"/>
                <a:gd name="connsiteY7" fmla="*/ 1010073 h 1010097"/>
                <a:gd name="connsiteX8" fmla="*/ 431102 w 633888"/>
                <a:gd name="connsiteY8" fmla="*/ 561827 h 1010097"/>
                <a:gd name="connsiteX9" fmla="*/ 376333 w 633888"/>
                <a:gd name="connsiteY9" fmla="*/ 448765 h 1010097"/>
                <a:gd name="connsiteX10" fmla="*/ 203454 w 633888"/>
                <a:gd name="connsiteY10" fmla="*/ 533538 h 1010097"/>
                <a:gd name="connsiteX11" fmla="*/ 202502 w 633888"/>
                <a:gd name="connsiteY11" fmla="*/ 1010073 h 1010097"/>
                <a:gd name="connsiteX12" fmla="*/ 0 w 633888"/>
                <a:gd name="connsiteY12" fmla="*/ 1009978 h 1010097"/>
                <a:gd name="connsiteX13" fmla="*/ 95 w 633888"/>
                <a:gd name="connsiteY13" fmla="*/ 42 h 101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3888" h="1010097">
                  <a:moveTo>
                    <a:pt x="95" y="42"/>
                  </a:moveTo>
                  <a:cubicBezTo>
                    <a:pt x="67533" y="-53"/>
                    <a:pt x="134969" y="42"/>
                    <a:pt x="202502" y="42"/>
                  </a:cubicBezTo>
                  <a:cubicBezTo>
                    <a:pt x="203549" y="139965"/>
                    <a:pt x="200311" y="280077"/>
                    <a:pt x="204216" y="419904"/>
                  </a:cubicBezTo>
                  <a:cubicBezTo>
                    <a:pt x="224504" y="383709"/>
                    <a:pt x="241364" y="343419"/>
                    <a:pt x="276320" y="318463"/>
                  </a:cubicBezTo>
                  <a:cubicBezTo>
                    <a:pt x="371284" y="247692"/>
                    <a:pt x="531781" y="265695"/>
                    <a:pt x="591884" y="373899"/>
                  </a:cubicBezTo>
                  <a:cubicBezTo>
                    <a:pt x="624840" y="430668"/>
                    <a:pt x="633413" y="497724"/>
                    <a:pt x="633793" y="562303"/>
                  </a:cubicBezTo>
                  <a:cubicBezTo>
                    <a:pt x="633984" y="711560"/>
                    <a:pt x="633793" y="860817"/>
                    <a:pt x="633889" y="1010073"/>
                  </a:cubicBezTo>
                  <a:lnTo>
                    <a:pt x="431482" y="1010073"/>
                  </a:lnTo>
                  <a:cubicBezTo>
                    <a:pt x="431197" y="860626"/>
                    <a:pt x="432054" y="711179"/>
                    <a:pt x="431102" y="561827"/>
                  </a:cubicBezTo>
                  <a:cubicBezTo>
                    <a:pt x="429959" y="519441"/>
                    <a:pt x="420624" y="466386"/>
                    <a:pt x="376333" y="448765"/>
                  </a:cubicBezTo>
                  <a:cubicBezTo>
                    <a:pt x="310801" y="425334"/>
                    <a:pt x="211836" y="455052"/>
                    <a:pt x="203454" y="533538"/>
                  </a:cubicBezTo>
                  <a:cubicBezTo>
                    <a:pt x="201168" y="692319"/>
                    <a:pt x="203168" y="851196"/>
                    <a:pt x="202502" y="1010073"/>
                  </a:cubicBezTo>
                  <a:cubicBezTo>
                    <a:pt x="134969" y="1010073"/>
                    <a:pt x="67533" y="1010169"/>
                    <a:pt x="0" y="1009978"/>
                  </a:cubicBezTo>
                  <a:cubicBezTo>
                    <a:pt x="191" y="673365"/>
                    <a:pt x="95" y="336656"/>
                    <a:pt x="95" y="42"/>
                  </a:cubicBezTo>
                  <a:close/>
                </a:path>
              </a:pathLst>
            </a:custGeom>
            <a:solidFill>
              <a:srgbClr val="000000"/>
            </a:solidFill>
            <a:ln w="9525" cap="flat">
              <a:noFill/>
              <a:prstDash val="solid"/>
              <a:miter/>
            </a:ln>
          </p:spPr>
          <p:txBody>
            <a:bodyPr rtlCol="0" anchor="ctr"/>
            <a:lstStyle/>
            <a:p>
              <a:endParaRPr lang="en-US" sz="900"/>
            </a:p>
          </p:txBody>
        </p:sp>
        <p:sp>
          <p:nvSpPr>
            <p:cNvPr id="28" name="Freeform: Shape 27">
              <a:extLst>
                <a:ext uri="{FF2B5EF4-FFF2-40B4-BE49-F238E27FC236}">
                  <a16:creationId xmlns:a16="http://schemas.microsoft.com/office/drawing/2014/main" id="{7D933579-F84C-4074-BCE8-A5F3C6A8C115}"/>
                </a:ext>
              </a:extLst>
            </p:cNvPr>
            <p:cNvSpPr/>
            <p:nvPr/>
          </p:nvSpPr>
          <p:spPr>
            <a:xfrm>
              <a:off x="14012576" y="8572457"/>
              <a:ext cx="634202" cy="1010164"/>
            </a:xfrm>
            <a:custGeom>
              <a:avLst/>
              <a:gdLst>
                <a:gd name="connsiteX0" fmla="*/ 381 w 634202"/>
                <a:gd name="connsiteY0" fmla="*/ 42 h 1010164"/>
                <a:gd name="connsiteX1" fmla="*/ 202788 w 634202"/>
                <a:gd name="connsiteY1" fmla="*/ 42 h 1010164"/>
                <a:gd name="connsiteX2" fmla="*/ 204502 w 634202"/>
                <a:gd name="connsiteY2" fmla="*/ 419904 h 1010164"/>
                <a:gd name="connsiteX3" fmla="*/ 271558 w 634202"/>
                <a:gd name="connsiteY3" fmla="*/ 322559 h 1010164"/>
                <a:gd name="connsiteX4" fmla="*/ 596265 w 634202"/>
                <a:gd name="connsiteY4" fmla="*/ 381233 h 1010164"/>
                <a:gd name="connsiteX5" fmla="*/ 634175 w 634202"/>
                <a:gd name="connsiteY5" fmla="*/ 562303 h 1010164"/>
                <a:gd name="connsiteX6" fmla="*/ 634175 w 634202"/>
                <a:gd name="connsiteY6" fmla="*/ 1010073 h 1010164"/>
                <a:gd name="connsiteX7" fmla="*/ 431768 w 634202"/>
                <a:gd name="connsiteY7" fmla="*/ 1010073 h 1010164"/>
                <a:gd name="connsiteX8" fmla="*/ 431388 w 634202"/>
                <a:gd name="connsiteY8" fmla="*/ 562303 h 1010164"/>
                <a:gd name="connsiteX9" fmla="*/ 376333 w 634202"/>
                <a:gd name="connsiteY9" fmla="*/ 448575 h 1010164"/>
                <a:gd name="connsiteX10" fmla="*/ 203835 w 634202"/>
                <a:gd name="connsiteY10" fmla="*/ 533347 h 1010164"/>
                <a:gd name="connsiteX11" fmla="*/ 202788 w 634202"/>
                <a:gd name="connsiteY11" fmla="*/ 1010073 h 1010164"/>
                <a:gd name="connsiteX12" fmla="*/ 0 w 634202"/>
                <a:gd name="connsiteY12" fmla="*/ 1009597 h 1010164"/>
                <a:gd name="connsiteX13" fmla="*/ 381 w 634202"/>
                <a:gd name="connsiteY13" fmla="*/ 42 h 1010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4202" h="1010164">
                  <a:moveTo>
                    <a:pt x="381" y="42"/>
                  </a:moveTo>
                  <a:cubicBezTo>
                    <a:pt x="67819" y="-53"/>
                    <a:pt x="135255" y="42"/>
                    <a:pt x="202788" y="42"/>
                  </a:cubicBezTo>
                  <a:cubicBezTo>
                    <a:pt x="203835" y="139965"/>
                    <a:pt x="200597" y="280077"/>
                    <a:pt x="204502" y="419904"/>
                  </a:cubicBezTo>
                  <a:cubicBezTo>
                    <a:pt x="223933" y="385710"/>
                    <a:pt x="239363" y="347419"/>
                    <a:pt x="271558" y="322559"/>
                  </a:cubicBezTo>
                  <a:cubicBezTo>
                    <a:pt x="367856" y="244644"/>
                    <a:pt x="538544" y="265314"/>
                    <a:pt x="596265" y="381233"/>
                  </a:cubicBezTo>
                  <a:cubicBezTo>
                    <a:pt x="625888" y="436573"/>
                    <a:pt x="633794" y="500391"/>
                    <a:pt x="634175" y="562303"/>
                  </a:cubicBezTo>
                  <a:cubicBezTo>
                    <a:pt x="634270" y="711560"/>
                    <a:pt x="634079" y="860817"/>
                    <a:pt x="634175" y="1010073"/>
                  </a:cubicBezTo>
                  <a:lnTo>
                    <a:pt x="431768" y="1010073"/>
                  </a:lnTo>
                  <a:cubicBezTo>
                    <a:pt x="431483" y="860817"/>
                    <a:pt x="432245" y="711560"/>
                    <a:pt x="431388" y="562303"/>
                  </a:cubicBezTo>
                  <a:cubicBezTo>
                    <a:pt x="430340" y="519822"/>
                    <a:pt x="421005" y="466101"/>
                    <a:pt x="376333" y="448575"/>
                  </a:cubicBezTo>
                  <a:cubicBezTo>
                    <a:pt x="310801" y="425524"/>
                    <a:pt x="212408" y="455147"/>
                    <a:pt x="203835" y="533347"/>
                  </a:cubicBezTo>
                  <a:cubicBezTo>
                    <a:pt x="201359" y="692129"/>
                    <a:pt x="203454" y="851101"/>
                    <a:pt x="202788" y="1010073"/>
                  </a:cubicBezTo>
                  <a:cubicBezTo>
                    <a:pt x="135160" y="1009883"/>
                    <a:pt x="67533" y="1010645"/>
                    <a:pt x="0" y="1009597"/>
                  </a:cubicBezTo>
                  <a:cubicBezTo>
                    <a:pt x="858" y="673079"/>
                    <a:pt x="95" y="336561"/>
                    <a:pt x="381" y="42"/>
                  </a:cubicBezTo>
                  <a:close/>
                </a:path>
              </a:pathLst>
            </a:custGeom>
            <a:solidFill>
              <a:srgbClr val="000000"/>
            </a:solidFill>
            <a:ln w="9525" cap="flat">
              <a:noFill/>
              <a:prstDash val="solid"/>
              <a:miter/>
            </a:ln>
          </p:spPr>
          <p:txBody>
            <a:bodyPr rtlCol="0" anchor="ctr"/>
            <a:lstStyle/>
            <a:p>
              <a:endParaRPr lang="en-US" sz="900"/>
            </a:p>
          </p:txBody>
        </p:sp>
        <p:sp>
          <p:nvSpPr>
            <p:cNvPr id="29" name="Freeform: Shape 28">
              <a:extLst>
                <a:ext uri="{FF2B5EF4-FFF2-40B4-BE49-F238E27FC236}">
                  <a16:creationId xmlns:a16="http://schemas.microsoft.com/office/drawing/2014/main" id="{EB61EFE4-D8E6-B1E2-379D-12B26CE8F152}"/>
                </a:ext>
              </a:extLst>
            </p:cNvPr>
            <p:cNvSpPr/>
            <p:nvPr/>
          </p:nvSpPr>
          <p:spPr>
            <a:xfrm>
              <a:off x="6597650" y="8630030"/>
              <a:ext cx="382566" cy="952500"/>
            </a:xfrm>
            <a:custGeom>
              <a:avLst/>
              <a:gdLst>
                <a:gd name="connsiteX0" fmla="*/ 0 w 382566"/>
                <a:gd name="connsiteY0" fmla="*/ 0 h 952500"/>
                <a:gd name="connsiteX1" fmla="*/ 382524 w 382566"/>
                <a:gd name="connsiteY1" fmla="*/ 0 h 952500"/>
                <a:gd name="connsiteX2" fmla="*/ 382524 w 382566"/>
                <a:gd name="connsiteY2" fmla="*/ 95631 h 952500"/>
                <a:gd name="connsiteX3" fmla="*/ 248793 w 382566"/>
                <a:gd name="connsiteY3" fmla="*/ 95631 h 952500"/>
                <a:gd name="connsiteX4" fmla="*/ 248793 w 382566"/>
                <a:gd name="connsiteY4" fmla="*/ 856869 h 952500"/>
                <a:gd name="connsiteX5" fmla="*/ 382524 w 382566"/>
                <a:gd name="connsiteY5" fmla="*/ 856869 h 952500"/>
                <a:gd name="connsiteX6" fmla="*/ 382524 w 382566"/>
                <a:gd name="connsiteY6" fmla="*/ 952500 h 952500"/>
                <a:gd name="connsiteX7" fmla="*/ 0 w 382566"/>
                <a:gd name="connsiteY7" fmla="*/ 952500 h 952500"/>
                <a:gd name="connsiteX8" fmla="*/ 0 w 382566"/>
                <a:gd name="connsiteY8" fmla="*/ 856869 h 952500"/>
                <a:gd name="connsiteX9" fmla="*/ 133731 w 382566"/>
                <a:gd name="connsiteY9" fmla="*/ 856869 h 952500"/>
                <a:gd name="connsiteX10" fmla="*/ 133731 w 382566"/>
                <a:gd name="connsiteY10" fmla="*/ 95631 h 952500"/>
                <a:gd name="connsiteX11" fmla="*/ 0 w 382566"/>
                <a:gd name="connsiteY11" fmla="*/ 95631 h 952500"/>
                <a:gd name="connsiteX12" fmla="*/ 0 w 382566"/>
                <a:gd name="connsiteY12" fmla="*/ 0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2566" h="952500">
                  <a:moveTo>
                    <a:pt x="0" y="0"/>
                  </a:moveTo>
                  <a:lnTo>
                    <a:pt x="382524" y="0"/>
                  </a:lnTo>
                  <a:lnTo>
                    <a:pt x="382524" y="95631"/>
                  </a:lnTo>
                  <a:lnTo>
                    <a:pt x="248793" y="95631"/>
                  </a:lnTo>
                  <a:lnTo>
                    <a:pt x="248793" y="856869"/>
                  </a:lnTo>
                  <a:cubicBezTo>
                    <a:pt x="293370" y="856869"/>
                    <a:pt x="337947" y="856869"/>
                    <a:pt x="382524" y="856869"/>
                  </a:cubicBezTo>
                  <a:cubicBezTo>
                    <a:pt x="382524" y="888682"/>
                    <a:pt x="382619" y="920591"/>
                    <a:pt x="382524" y="952500"/>
                  </a:cubicBezTo>
                  <a:lnTo>
                    <a:pt x="0" y="952500"/>
                  </a:lnTo>
                  <a:cubicBezTo>
                    <a:pt x="0" y="920591"/>
                    <a:pt x="0" y="888682"/>
                    <a:pt x="0" y="856869"/>
                  </a:cubicBezTo>
                  <a:cubicBezTo>
                    <a:pt x="44577" y="856869"/>
                    <a:pt x="89154" y="856869"/>
                    <a:pt x="133731" y="856869"/>
                  </a:cubicBezTo>
                  <a:lnTo>
                    <a:pt x="133731" y="95631"/>
                  </a:lnTo>
                  <a:lnTo>
                    <a:pt x="0" y="95631"/>
                  </a:lnTo>
                  <a:cubicBezTo>
                    <a:pt x="0" y="63722"/>
                    <a:pt x="0" y="31909"/>
                    <a:pt x="0" y="0"/>
                  </a:cubicBezTo>
                  <a:close/>
                </a:path>
              </a:pathLst>
            </a:custGeom>
            <a:solidFill>
              <a:srgbClr val="000000"/>
            </a:solidFill>
            <a:ln w="9525" cap="flat">
              <a:noFill/>
              <a:prstDash val="solid"/>
              <a:miter/>
            </a:ln>
          </p:spPr>
          <p:txBody>
            <a:bodyPr rtlCol="0" anchor="ctr"/>
            <a:lstStyle/>
            <a:p>
              <a:endParaRPr lang="en-US" sz="900"/>
            </a:p>
          </p:txBody>
        </p:sp>
        <p:sp>
          <p:nvSpPr>
            <p:cNvPr id="30" name="Freeform: Shape 29">
              <a:extLst>
                <a:ext uri="{FF2B5EF4-FFF2-40B4-BE49-F238E27FC236}">
                  <a16:creationId xmlns:a16="http://schemas.microsoft.com/office/drawing/2014/main" id="{EB4E91B9-0A97-3141-A66A-E824B4E354B8}"/>
                </a:ext>
              </a:extLst>
            </p:cNvPr>
            <p:cNvSpPr/>
            <p:nvPr/>
          </p:nvSpPr>
          <p:spPr>
            <a:xfrm>
              <a:off x="7188676" y="8629948"/>
              <a:ext cx="678881" cy="952722"/>
            </a:xfrm>
            <a:custGeom>
              <a:avLst/>
              <a:gdLst>
                <a:gd name="connsiteX0" fmla="*/ 0 w 678881"/>
                <a:gd name="connsiteY0" fmla="*/ 83 h 952722"/>
                <a:gd name="connsiteX1" fmla="*/ 409956 w 678881"/>
                <a:gd name="connsiteY1" fmla="*/ 464 h 952722"/>
                <a:gd name="connsiteX2" fmla="*/ 622554 w 678881"/>
                <a:gd name="connsiteY2" fmla="*/ 130575 h 952722"/>
                <a:gd name="connsiteX3" fmla="*/ 607886 w 678881"/>
                <a:gd name="connsiteY3" fmla="*/ 378130 h 952722"/>
                <a:gd name="connsiteX4" fmla="*/ 486347 w 678881"/>
                <a:gd name="connsiteY4" fmla="*/ 452711 h 952722"/>
                <a:gd name="connsiteX5" fmla="*/ 662940 w 678881"/>
                <a:gd name="connsiteY5" fmla="*/ 585394 h 952722"/>
                <a:gd name="connsiteX6" fmla="*/ 543878 w 678881"/>
                <a:gd name="connsiteY6" fmla="*/ 925246 h 952722"/>
                <a:gd name="connsiteX7" fmla="*/ 428530 w 678881"/>
                <a:gd name="connsiteY7" fmla="*/ 952678 h 952722"/>
                <a:gd name="connsiteX8" fmla="*/ 0 w 678881"/>
                <a:gd name="connsiteY8" fmla="*/ 952583 h 952722"/>
                <a:gd name="connsiteX9" fmla="*/ 0 w 678881"/>
                <a:gd name="connsiteY9" fmla="*/ 83 h 952722"/>
                <a:gd name="connsiteX10" fmla="*/ 115062 w 678881"/>
                <a:gd name="connsiteY10" fmla="*/ 101238 h 952722"/>
                <a:gd name="connsiteX11" fmla="*/ 115062 w 678881"/>
                <a:gd name="connsiteY11" fmla="*/ 412039 h 952722"/>
                <a:gd name="connsiteX12" fmla="*/ 400050 w 678881"/>
                <a:gd name="connsiteY12" fmla="*/ 410896 h 952722"/>
                <a:gd name="connsiteX13" fmla="*/ 519398 w 678881"/>
                <a:gd name="connsiteY13" fmla="*/ 313646 h 952722"/>
                <a:gd name="connsiteX14" fmla="*/ 513969 w 678881"/>
                <a:gd name="connsiteY14" fmla="*/ 180391 h 952722"/>
                <a:gd name="connsiteX15" fmla="*/ 389858 w 678881"/>
                <a:gd name="connsiteY15" fmla="*/ 101715 h 952722"/>
                <a:gd name="connsiteX16" fmla="*/ 115062 w 678881"/>
                <a:gd name="connsiteY16" fmla="*/ 101238 h 952722"/>
                <a:gd name="connsiteX17" fmla="*/ 115062 w 678881"/>
                <a:gd name="connsiteY17" fmla="*/ 510432 h 952722"/>
                <a:gd name="connsiteX18" fmla="*/ 115062 w 678881"/>
                <a:gd name="connsiteY18" fmla="*/ 851427 h 952722"/>
                <a:gd name="connsiteX19" fmla="*/ 400526 w 678881"/>
                <a:gd name="connsiteY19" fmla="*/ 851332 h 952722"/>
                <a:gd name="connsiteX20" fmla="*/ 520637 w 678881"/>
                <a:gd name="connsiteY20" fmla="*/ 805993 h 952722"/>
                <a:gd name="connsiteX21" fmla="*/ 555498 w 678881"/>
                <a:gd name="connsiteY21" fmla="*/ 705314 h 952722"/>
                <a:gd name="connsiteX22" fmla="*/ 529304 w 678881"/>
                <a:gd name="connsiteY22" fmla="*/ 566535 h 952722"/>
                <a:gd name="connsiteX23" fmla="*/ 400241 w 678881"/>
                <a:gd name="connsiteY23" fmla="*/ 510623 h 952722"/>
                <a:gd name="connsiteX24" fmla="*/ 115062 w 678881"/>
                <a:gd name="connsiteY24" fmla="*/ 510432 h 952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8881" h="952722">
                  <a:moveTo>
                    <a:pt x="0" y="83"/>
                  </a:moveTo>
                  <a:cubicBezTo>
                    <a:pt x="136684" y="369"/>
                    <a:pt x="273272" y="-489"/>
                    <a:pt x="409956" y="464"/>
                  </a:cubicBezTo>
                  <a:cubicBezTo>
                    <a:pt x="497015" y="1893"/>
                    <a:pt x="586931" y="48279"/>
                    <a:pt x="622554" y="130575"/>
                  </a:cubicBezTo>
                  <a:cubicBezTo>
                    <a:pt x="655701" y="208490"/>
                    <a:pt x="657416" y="306693"/>
                    <a:pt x="607886" y="378130"/>
                  </a:cubicBezTo>
                  <a:cubicBezTo>
                    <a:pt x="580073" y="419850"/>
                    <a:pt x="532067" y="438328"/>
                    <a:pt x="486347" y="452711"/>
                  </a:cubicBezTo>
                  <a:cubicBezTo>
                    <a:pt x="563213" y="461950"/>
                    <a:pt x="636365" y="510909"/>
                    <a:pt x="662940" y="585394"/>
                  </a:cubicBezTo>
                  <a:cubicBezTo>
                    <a:pt x="705898" y="706743"/>
                    <a:pt x="660654" y="862191"/>
                    <a:pt x="543878" y="925246"/>
                  </a:cubicBezTo>
                  <a:cubicBezTo>
                    <a:pt x="508730" y="944391"/>
                    <a:pt x="468440" y="953440"/>
                    <a:pt x="428530" y="952678"/>
                  </a:cubicBezTo>
                  <a:cubicBezTo>
                    <a:pt x="285655" y="952488"/>
                    <a:pt x="142875" y="952583"/>
                    <a:pt x="0" y="952583"/>
                  </a:cubicBezTo>
                  <a:lnTo>
                    <a:pt x="0" y="83"/>
                  </a:lnTo>
                  <a:moveTo>
                    <a:pt x="115062" y="101238"/>
                  </a:moveTo>
                  <a:lnTo>
                    <a:pt x="115062" y="412039"/>
                  </a:lnTo>
                  <a:cubicBezTo>
                    <a:pt x="210026" y="411277"/>
                    <a:pt x="305086" y="413658"/>
                    <a:pt x="400050" y="410896"/>
                  </a:cubicBezTo>
                  <a:cubicBezTo>
                    <a:pt x="455486" y="408896"/>
                    <a:pt x="510540" y="370605"/>
                    <a:pt x="519398" y="313646"/>
                  </a:cubicBezTo>
                  <a:cubicBezTo>
                    <a:pt x="523875" y="269640"/>
                    <a:pt x="527495" y="223158"/>
                    <a:pt x="513969" y="180391"/>
                  </a:cubicBezTo>
                  <a:cubicBezTo>
                    <a:pt x="496919" y="128956"/>
                    <a:pt x="441293" y="102000"/>
                    <a:pt x="389858" y="101715"/>
                  </a:cubicBezTo>
                  <a:cubicBezTo>
                    <a:pt x="298228" y="100572"/>
                    <a:pt x="206693" y="101715"/>
                    <a:pt x="115062" y="101238"/>
                  </a:cubicBezTo>
                  <a:moveTo>
                    <a:pt x="115062" y="510432"/>
                  </a:moveTo>
                  <a:lnTo>
                    <a:pt x="115062" y="851427"/>
                  </a:lnTo>
                  <a:cubicBezTo>
                    <a:pt x="210217" y="851332"/>
                    <a:pt x="305372" y="851523"/>
                    <a:pt x="400526" y="851332"/>
                  </a:cubicBezTo>
                  <a:cubicBezTo>
                    <a:pt x="443960" y="851046"/>
                    <a:pt x="490538" y="839235"/>
                    <a:pt x="520637" y="805993"/>
                  </a:cubicBezTo>
                  <a:cubicBezTo>
                    <a:pt x="545878" y="779133"/>
                    <a:pt x="555212" y="741318"/>
                    <a:pt x="555498" y="705314"/>
                  </a:cubicBezTo>
                  <a:cubicBezTo>
                    <a:pt x="556355" y="658356"/>
                    <a:pt x="558832" y="606349"/>
                    <a:pt x="529304" y="566535"/>
                  </a:cubicBezTo>
                  <a:cubicBezTo>
                    <a:pt x="500348" y="525768"/>
                    <a:pt x="448056" y="510718"/>
                    <a:pt x="400241" y="510623"/>
                  </a:cubicBezTo>
                  <a:cubicBezTo>
                    <a:pt x="305181" y="510147"/>
                    <a:pt x="210122" y="510623"/>
                    <a:pt x="115062" y="510432"/>
                  </a:cubicBezTo>
                  <a:close/>
                </a:path>
              </a:pathLst>
            </a:custGeom>
            <a:solidFill>
              <a:srgbClr val="000000"/>
            </a:solidFill>
            <a:ln w="9525" cap="flat">
              <a:noFill/>
              <a:prstDash val="solid"/>
              <a:miter/>
            </a:ln>
          </p:spPr>
          <p:txBody>
            <a:bodyPr rtlCol="0" anchor="ctr"/>
            <a:lstStyle/>
            <a:p>
              <a:endParaRPr lang="en-US" sz="900"/>
            </a:p>
          </p:txBody>
        </p:sp>
        <p:sp>
          <p:nvSpPr>
            <p:cNvPr id="31" name="Freeform: Shape 30">
              <a:extLst>
                <a:ext uri="{FF2B5EF4-FFF2-40B4-BE49-F238E27FC236}">
                  <a16:creationId xmlns:a16="http://schemas.microsoft.com/office/drawing/2014/main" id="{DAC6552B-CC29-F330-6668-3C653EA3A00C}"/>
                </a:ext>
              </a:extLst>
            </p:cNvPr>
            <p:cNvSpPr/>
            <p:nvPr/>
          </p:nvSpPr>
          <p:spPr>
            <a:xfrm>
              <a:off x="8079644" y="8629935"/>
              <a:ext cx="854868" cy="952499"/>
            </a:xfrm>
            <a:custGeom>
              <a:avLst/>
              <a:gdLst>
                <a:gd name="connsiteX0" fmla="*/ 0 w 854868"/>
                <a:gd name="connsiteY0" fmla="*/ 95 h 952499"/>
                <a:gd name="connsiteX1" fmla="*/ 153734 w 854868"/>
                <a:gd name="connsiteY1" fmla="*/ 95 h 952499"/>
                <a:gd name="connsiteX2" fmla="*/ 430530 w 854868"/>
                <a:gd name="connsiteY2" fmla="*/ 516827 h 952499"/>
                <a:gd name="connsiteX3" fmla="*/ 706946 w 854868"/>
                <a:gd name="connsiteY3" fmla="*/ 0 h 952499"/>
                <a:gd name="connsiteX4" fmla="*/ 854869 w 854868"/>
                <a:gd name="connsiteY4" fmla="*/ 0 h 952499"/>
                <a:gd name="connsiteX5" fmla="*/ 854869 w 854868"/>
                <a:gd name="connsiteY5" fmla="*/ 952500 h 952499"/>
                <a:gd name="connsiteX6" fmla="*/ 742569 w 854868"/>
                <a:gd name="connsiteY6" fmla="*/ 952500 h 952499"/>
                <a:gd name="connsiteX7" fmla="*/ 741521 w 854868"/>
                <a:gd name="connsiteY7" fmla="*/ 146780 h 952499"/>
                <a:gd name="connsiteX8" fmla="*/ 707422 w 854868"/>
                <a:gd name="connsiteY8" fmla="*/ 207074 h 952499"/>
                <a:gd name="connsiteX9" fmla="*/ 427577 w 854868"/>
                <a:gd name="connsiteY9" fmla="*/ 725138 h 952499"/>
                <a:gd name="connsiteX10" fmla="*/ 193262 w 854868"/>
                <a:gd name="connsiteY10" fmla="*/ 297752 h 952499"/>
                <a:gd name="connsiteX11" fmla="*/ 113348 w 854868"/>
                <a:gd name="connsiteY11" fmla="*/ 146209 h 952499"/>
                <a:gd name="connsiteX12" fmla="*/ 112300 w 854868"/>
                <a:gd name="connsiteY12" fmla="*/ 952500 h 952499"/>
                <a:gd name="connsiteX13" fmla="*/ 0 w 854868"/>
                <a:gd name="connsiteY13" fmla="*/ 952500 h 952499"/>
                <a:gd name="connsiteX14" fmla="*/ 0 w 854868"/>
                <a:gd name="connsiteY14" fmla="*/ 95 h 952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54868" h="952499">
                  <a:moveTo>
                    <a:pt x="0" y="95"/>
                  </a:moveTo>
                  <a:cubicBezTo>
                    <a:pt x="51245" y="95"/>
                    <a:pt x="102489" y="95"/>
                    <a:pt x="153734" y="95"/>
                  </a:cubicBezTo>
                  <a:cubicBezTo>
                    <a:pt x="246221" y="172212"/>
                    <a:pt x="335090" y="346424"/>
                    <a:pt x="430530" y="516827"/>
                  </a:cubicBezTo>
                  <a:cubicBezTo>
                    <a:pt x="522923" y="344615"/>
                    <a:pt x="614744" y="172212"/>
                    <a:pt x="706946" y="0"/>
                  </a:cubicBezTo>
                  <a:lnTo>
                    <a:pt x="854869" y="0"/>
                  </a:lnTo>
                  <a:lnTo>
                    <a:pt x="854869" y="952500"/>
                  </a:lnTo>
                  <a:lnTo>
                    <a:pt x="742569" y="952500"/>
                  </a:lnTo>
                  <a:cubicBezTo>
                    <a:pt x="741902" y="683895"/>
                    <a:pt x="743998" y="415290"/>
                    <a:pt x="741521" y="146780"/>
                  </a:cubicBezTo>
                  <a:cubicBezTo>
                    <a:pt x="726948" y="164973"/>
                    <a:pt x="717613" y="186404"/>
                    <a:pt x="707422" y="207074"/>
                  </a:cubicBezTo>
                  <a:cubicBezTo>
                    <a:pt x="619982" y="382810"/>
                    <a:pt x="520541" y="552260"/>
                    <a:pt x="427577" y="725138"/>
                  </a:cubicBezTo>
                  <a:cubicBezTo>
                    <a:pt x="349472" y="582644"/>
                    <a:pt x="270510" y="440722"/>
                    <a:pt x="193262" y="297752"/>
                  </a:cubicBezTo>
                  <a:cubicBezTo>
                    <a:pt x="165830" y="247650"/>
                    <a:pt x="145161" y="193739"/>
                    <a:pt x="113348" y="146209"/>
                  </a:cubicBezTo>
                  <a:cubicBezTo>
                    <a:pt x="110966" y="415004"/>
                    <a:pt x="112967" y="683705"/>
                    <a:pt x="112300" y="952500"/>
                  </a:cubicBezTo>
                  <a:lnTo>
                    <a:pt x="0" y="952500"/>
                  </a:lnTo>
                  <a:lnTo>
                    <a:pt x="0" y="95"/>
                  </a:lnTo>
                  <a:close/>
                </a:path>
              </a:pathLst>
            </a:custGeom>
            <a:solidFill>
              <a:srgbClr val="000000"/>
            </a:solidFill>
            <a:ln w="9525" cap="flat">
              <a:noFill/>
              <a:prstDash val="solid"/>
              <a:miter/>
            </a:ln>
          </p:spPr>
          <p:txBody>
            <a:bodyPr rtlCol="0" anchor="ctr"/>
            <a:lstStyle/>
            <a:p>
              <a:endParaRPr lang="en-US" sz="900"/>
            </a:p>
          </p:txBody>
        </p:sp>
        <p:sp>
          <p:nvSpPr>
            <p:cNvPr id="32" name="Freeform: Shape 31">
              <a:extLst>
                <a:ext uri="{FF2B5EF4-FFF2-40B4-BE49-F238E27FC236}">
                  <a16:creationId xmlns:a16="http://schemas.microsoft.com/office/drawing/2014/main" id="{19266CF2-A3CF-C8D9-7BB9-06D2E42E9729}"/>
                </a:ext>
              </a:extLst>
            </p:cNvPr>
            <p:cNvSpPr/>
            <p:nvPr/>
          </p:nvSpPr>
          <p:spPr>
            <a:xfrm>
              <a:off x="9365138" y="8630030"/>
              <a:ext cx="723900" cy="952500"/>
            </a:xfrm>
            <a:custGeom>
              <a:avLst/>
              <a:gdLst>
                <a:gd name="connsiteX0" fmla="*/ 0 w 723900"/>
                <a:gd name="connsiteY0" fmla="*/ 0 h 952500"/>
                <a:gd name="connsiteX1" fmla="*/ 723900 w 723900"/>
                <a:gd name="connsiteY1" fmla="*/ 0 h 952500"/>
                <a:gd name="connsiteX2" fmla="*/ 723900 w 723900"/>
                <a:gd name="connsiteY2" fmla="*/ 184595 h 952500"/>
                <a:gd name="connsiteX3" fmla="*/ 465963 w 723900"/>
                <a:gd name="connsiteY3" fmla="*/ 184499 h 952500"/>
                <a:gd name="connsiteX4" fmla="*/ 465963 w 723900"/>
                <a:gd name="connsiteY4" fmla="*/ 952500 h 952500"/>
                <a:gd name="connsiteX5" fmla="*/ 257937 w 723900"/>
                <a:gd name="connsiteY5" fmla="*/ 952500 h 952500"/>
                <a:gd name="connsiteX6" fmla="*/ 257937 w 723900"/>
                <a:gd name="connsiteY6" fmla="*/ 184595 h 952500"/>
                <a:gd name="connsiteX7" fmla="*/ 0 w 723900"/>
                <a:gd name="connsiteY7" fmla="*/ 184595 h 952500"/>
                <a:gd name="connsiteX8" fmla="*/ 0 w 723900"/>
                <a:gd name="connsiteY8" fmla="*/ 0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3900" h="952500">
                  <a:moveTo>
                    <a:pt x="0" y="0"/>
                  </a:moveTo>
                  <a:lnTo>
                    <a:pt x="723900" y="0"/>
                  </a:lnTo>
                  <a:lnTo>
                    <a:pt x="723900" y="184595"/>
                  </a:lnTo>
                  <a:cubicBezTo>
                    <a:pt x="637889" y="184595"/>
                    <a:pt x="551879" y="184595"/>
                    <a:pt x="465963" y="184499"/>
                  </a:cubicBezTo>
                  <a:cubicBezTo>
                    <a:pt x="465868" y="440531"/>
                    <a:pt x="465963" y="696468"/>
                    <a:pt x="465963" y="952500"/>
                  </a:cubicBezTo>
                  <a:lnTo>
                    <a:pt x="257937" y="952500"/>
                  </a:lnTo>
                  <a:lnTo>
                    <a:pt x="257937" y="184595"/>
                  </a:lnTo>
                  <a:cubicBezTo>
                    <a:pt x="172021" y="184499"/>
                    <a:pt x="86011" y="184595"/>
                    <a:pt x="0" y="184595"/>
                  </a:cubicBezTo>
                  <a:lnTo>
                    <a:pt x="0" y="0"/>
                  </a:lnTo>
                  <a:close/>
                </a:path>
              </a:pathLst>
            </a:custGeom>
            <a:solidFill>
              <a:srgbClr val="000000"/>
            </a:solidFill>
            <a:ln w="9525" cap="flat">
              <a:noFill/>
              <a:prstDash val="solid"/>
              <a:miter/>
            </a:ln>
          </p:spPr>
          <p:txBody>
            <a:bodyPr rtlCol="0" anchor="ctr"/>
            <a:lstStyle/>
            <a:p>
              <a:endParaRPr lang="en-US" sz="900"/>
            </a:p>
          </p:txBody>
        </p:sp>
        <p:sp>
          <p:nvSpPr>
            <p:cNvPr id="33" name="Freeform: Shape 32">
              <a:extLst>
                <a:ext uri="{FF2B5EF4-FFF2-40B4-BE49-F238E27FC236}">
                  <a16:creationId xmlns:a16="http://schemas.microsoft.com/office/drawing/2014/main" id="{F944B8FF-4796-89E0-ECF1-D2DAE08721F7}"/>
                </a:ext>
              </a:extLst>
            </p:cNvPr>
            <p:cNvSpPr/>
            <p:nvPr/>
          </p:nvSpPr>
          <p:spPr>
            <a:xfrm>
              <a:off x="12344082" y="8630030"/>
              <a:ext cx="875252" cy="952622"/>
            </a:xfrm>
            <a:custGeom>
              <a:avLst/>
              <a:gdLst>
                <a:gd name="connsiteX0" fmla="*/ 14954 w 875252"/>
                <a:gd name="connsiteY0" fmla="*/ 0 h 952622"/>
                <a:gd name="connsiteX1" fmla="*/ 257080 w 875252"/>
                <a:gd name="connsiteY1" fmla="*/ 0 h 952622"/>
                <a:gd name="connsiteX2" fmla="*/ 444627 w 875252"/>
                <a:gd name="connsiteY2" fmla="*/ 324612 h 952622"/>
                <a:gd name="connsiteX3" fmla="*/ 634555 w 875252"/>
                <a:gd name="connsiteY3" fmla="*/ 95 h 952622"/>
                <a:gd name="connsiteX4" fmla="*/ 858869 w 875252"/>
                <a:gd name="connsiteY4" fmla="*/ 95 h 952622"/>
                <a:gd name="connsiteX5" fmla="*/ 565499 w 875252"/>
                <a:gd name="connsiteY5" fmla="*/ 464058 h 952622"/>
                <a:gd name="connsiteX6" fmla="*/ 875252 w 875252"/>
                <a:gd name="connsiteY6" fmla="*/ 952595 h 952622"/>
                <a:gd name="connsiteX7" fmla="*/ 634555 w 875252"/>
                <a:gd name="connsiteY7" fmla="*/ 952595 h 952622"/>
                <a:gd name="connsiteX8" fmla="*/ 426625 w 875252"/>
                <a:gd name="connsiteY8" fmla="*/ 599504 h 952622"/>
                <a:gd name="connsiteX9" fmla="*/ 224314 w 875252"/>
                <a:gd name="connsiteY9" fmla="*/ 952595 h 952622"/>
                <a:gd name="connsiteX10" fmla="*/ 0 w 875252"/>
                <a:gd name="connsiteY10" fmla="*/ 952595 h 952622"/>
                <a:gd name="connsiteX11" fmla="*/ 305562 w 875252"/>
                <a:gd name="connsiteY11" fmla="*/ 459867 h 952622"/>
                <a:gd name="connsiteX12" fmla="*/ 14954 w 875252"/>
                <a:gd name="connsiteY12" fmla="*/ 95 h 952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75252" h="952622">
                  <a:moveTo>
                    <a:pt x="14954" y="0"/>
                  </a:moveTo>
                  <a:cubicBezTo>
                    <a:pt x="95631" y="0"/>
                    <a:pt x="176308" y="0"/>
                    <a:pt x="257080" y="0"/>
                  </a:cubicBezTo>
                  <a:cubicBezTo>
                    <a:pt x="319754" y="108109"/>
                    <a:pt x="381381" y="216789"/>
                    <a:pt x="444627" y="324612"/>
                  </a:cubicBezTo>
                  <a:cubicBezTo>
                    <a:pt x="508064" y="216503"/>
                    <a:pt x="571119" y="108204"/>
                    <a:pt x="634555" y="95"/>
                  </a:cubicBezTo>
                  <a:lnTo>
                    <a:pt x="858869" y="95"/>
                  </a:lnTo>
                  <a:cubicBezTo>
                    <a:pt x="761143" y="154781"/>
                    <a:pt x="663321" y="309372"/>
                    <a:pt x="565499" y="464058"/>
                  </a:cubicBezTo>
                  <a:cubicBezTo>
                    <a:pt x="668750" y="626840"/>
                    <a:pt x="772001" y="789718"/>
                    <a:pt x="875252" y="952595"/>
                  </a:cubicBezTo>
                  <a:cubicBezTo>
                    <a:pt x="795052" y="952691"/>
                    <a:pt x="714756" y="952500"/>
                    <a:pt x="634555" y="952595"/>
                  </a:cubicBezTo>
                  <a:cubicBezTo>
                    <a:pt x="565118" y="834962"/>
                    <a:pt x="496538" y="716852"/>
                    <a:pt x="426625" y="599504"/>
                  </a:cubicBezTo>
                  <a:cubicBezTo>
                    <a:pt x="358807" y="716947"/>
                    <a:pt x="291846" y="834962"/>
                    <a:pt x="224314" y="952595"/>
                  </a:cubicBezTo>
                  <a:lnTo>
                    <a:pt x="0" y="952595"/>
                  </a:lnTo>
                  <a:cubicBezTo>
                    <a:pt x="101822" y="788289"/>
                    <a:pt x="203740" y="624173"/>
                    <a:pt x="305562" y="459867"/>
                  </a:cubicBezTo>
                  <a:cubicBezTo>
                    <a:pt x="208693" y="306705"/>
                    <a:pt x="111823" y="153353"/>
                    <a:pt x="14954" y="95"/>
                  </a:cubicBezTo>
                  <a:close/>
                </a:path>
              </a:pathLst>
            </a:custGeom>
            <a:solidFill>
              <a:srgbClr val="000000"/>
            </a:solidFill>
            <a:ln w="9525" cap="flat">
              <a:noFill/>
              <a:prstDash val="solid"/>
              <a:miter/>
            </a:ln>
          </p:spPr>
          <p:txBody>
            <a:bodyPr rtlCol="0" anchor="ctr"/>
            <a:lstStyle/>
            <a:p>
              <a:endParaRPr lang="en-US" sz="900"/>
            </a:p>
          </p:txBody>
        </p:sp>
        <p:sp>
          <p:nvSpPr>
            <p:cNvPr id="34" name="Freeform: Shape 33">
              <a:extLst>
                <a:ext uri="{FF2B5EF4-FFF2-40B4-BE49-F238E27FC236}">
                  <a16:creationId xmlns:a16="http://schemas.microsoft.com/office/drawing/2014/main" id="{42DF0011-F527-8047-800F-7E155446FCD6}"/>
                </a:ext>
              </a:extLst>
            </p:cNvPr>
            <p:cNvSpPr/>
            <p:nvPr/>
          </p:nvSpPr>
          <p:spPr>
            <a:xfrm>
              <a:off x="16351421" y="8727139"/>
              <a:ext cx="728351" cy="1144977"/>
            </a:xfrm>
            <a:custGeom>
              <a:avLst/>
              <a:gdLst>
                <a:gd name="connsiteX0" fmla="*/ 509416 w 728351"/>
                <a:gd name="connsiteY0" fmla="*/ 14429 h 1144977"/>
                <a:gd name="connsiteX1" fmla="*/ 685629 w 728351"/>
                <a:gd name="connsiteY1" fmla="*/ 904 h 1144977"/>
                <a:gd name="connsiteX2" fmla="*/ 685724 w 728351"/>
                <a:gd name="connsiteY2" fmla="*/ 151304 h 1144977"/>
                <a:gd name="connsiteX3" fmla="*/ 522275 w 728351"/>
                <a:gd name="connsiteY3" fmla="*/ 152542 h 1144977"/>
                <a:gd name="connsiteX4" fmla="*/ 628097 w 728351"/>
                <a:gd name="connsiteY4" fmla="*/ 257031 h 1144977"/>
                <a:gd name="connsiteX5" fmla="*/ 595141 w 728351"/>
                <a:gd name="connsiteY5" fmla="*/ 517730 h 1144977"/>
                <a:gd name="connsiteX6" fmla="*/ 424834 w 728351"/>
                <a:gd name="connsiteY6" fmla="*/ 596312 h 1144977"/>
                <a:gd name="connsiteX7" fmla="*/ 215093 w 728351"/>
                <a:gd name="connsiteY7" fmla="*/ 586406 h 1144977"/>
                <a:gd name="connsiteX8" fmla="*/ 207664 w 728351"/>
                <a:gd name="connsiteY8" fmla="*/ 685561 h 1144977"/>
                <a:gd name="connsiteX9" fmla="*/ 352254 w 728351"/>
                <a:gd name="connsiteY9" fmla="*/ 698229 h 1144977"/>
                <a:gd name="connsiteX10" fmla="*/ 619430 w 728351"/>
                <a:gd name="connsiteY10" fmla="*/ 722327 h 1144977"/>
                <a:gd name="connsiteX11" fmla="*/ 722490 w 728351"/>
                <a:gd name="connsiteY11" fmla="*/ 848248 h 1144977"/>
                <a:gd name="connsiteX12" fmla="*/ 671818 w 728351"/>
                <a:gd name="connsiteY12" fmla="*/ 1060560 h 1144977"/>
                <a:gd name="connsiteX13" fmla="*/ 458933 w 728351"/>
                <a:gd name="connsiteY13" fmla="*/ 1139237 h 1144977"/>
                <a:gd name="connsiteX14" fmla="*/ 192615 w 728351"/>
                <a:gd name="connsiteY14" fmla="*/ 1135141 h 1144977"/>
                <a:gd name="connsiteX15" fmla="*/ 44406 w 728351"/>
                <a:gd name="connsiteY15" fmla="*/ 1078372 h 1144977"/>
                <a:gd name="connsiteX16" fmla="*/ 53168 w 728351"/>
                <a:gd name="connsiteY16" fmla="*/ 870060 h 1144977"/>
                <a:gd name="connsiteX17" fmla="*/ 132893 w 728351"/>
                <a:gd name="connsiteY17" fmla="*/ 840533 h 1144977"/>
                <a:gd name="connsiteX18" fmla="*/ 133845 w 728351"/>
                <a:gd name="connsiteY18" fmla="*/ 828817 h 1144977"/>
                <a:gd name="connsiteX19" fmla="*/ 74886 w 728351"/>
                <a:gd name="connsiteY19" fmla="*/ 800909 h 1144977"/>
                <a:gd name="connsiteX20" fmla="*/ 62407 w 728351"/>
                <a:gd name="connsiteY20" fmla="*/ 623458 h 1144977"/>
                <a:gd name="connsiteX21" fmla="*/ 167373 w 728351"/>
                <a:gd name="connsiteY21" fmla="*/ 571451 h 1144977"/>
                <a:gd name="connsiteX22" fmla="*/ 48883 w 728351"/>
                <a:gd name="connsiteY22" fmla="*/ 446293 h 1144977"/>
                <a:gd name="connsiteX23" fmla="*/ 89078 w 728351"/>
                <a:gd name="connsiteY23" fmla="*/ 211311 h 1144977"/>
                <a:gd name="connsiteX24" fmla="*/ 259099 w 728351"/>
                <a:gd name="connsiteY24" fmla="*/ 128444 h 1144977"/>
                <a:gd name="connsiteX25" fmla="*/ 463982 w 728351"/>
                <a:gd name="connsiteY25" fmla="*/ 135397 h 1144977"/>
                <a:gd name="connsiteX26" fmla="*/ 509416 w 728351"/>
                <a:gd name="connsiteY26" fmla="*/ 14429 h 1144977"/>
                <a:gd name="connsiteX27" fmla="*/ 299866 w 728351"/>
                <a:gd name="connsiteY27" fmla="*/ 260841 h 1144977"/>
                <a:gd name="connsiteX28" fmla="*/ 226714 w 728351"/>
                <a:gd name="connsiteY28" fmla="*/ 331612 h 1144977"/>
                <a:gd name="connsiteX29" fmla="*/ 251860 w 728351"/>
                <a:gd name="connsiteY29" fmla="*/ 441245 h 1144977"/>
                <a:gd name="connsiteX30" fmla="*/ 381210 w 728351"/>
                <a:gd name="connsiteY30" fmla="*/ 465724 h 1144977"/>
                <a:gd name="connsiteX31" fmla="*/ 458838 w 728351"/>
                <a:gd name="connsiteY31" fmla="*/ 397906 h 1144977"/>
                <a:gd name="connsiteX32" fmla="*/ 431216 w 728351"/>
                <a:gd name="connsiteY32" fmla="*/ 281320 h 1144977"/>
                <a:gd name="connsiteX33" fmla="*/ 299866 w 728351"/>
                <a:gd name="connsiteY33" fmla="*/ 260841 h 1144977"/>
                <a:gd name="connsiteX34" fmla="*/ 182613 w 728351"/>
                <a:gd name="connsiteY34" fmla="*/ 987218 h 1144977"/>
                <a:gd name="connsiteX35" fmla="*/ 343872 w 728351"/>
                <a:gd name="connsiteY35" fmla="*/ 1010554 h 1144977"/>
                <a:gd name="connsiteX36" fmla="*/ 507321 w 728351"/>
                <a:gd name="connsiteY36" fmla="*/ 990170 h 1144977"/>
                <a:gd name="connsiteX37" fmla="*/ 517321 w 728351"/>
                <a:gd name="connsiteY37" fmla="*/ 890158 h 1144977"/>
                <a:gd name="connsiteX38" fmla="*/ 428644 w 728351"/>
                <a:gd name="connsiteY38" fmla="*/ 870536 h 1144977"/>
                <a:gd name="connsiteX39" fmla="*/ 180994 w 728351"/>
                <a:gd name="connsiteY39" fmla="*/ 870155 h 1144977"/>
                <a:gd name="connsiteX40" fmla="*/ 182613 w 728351"/>
                <a:gd name="connsiteY40" fmla="*/ 987218 h 1144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28351" h="1144977">
                  <a:moveTo>
                    <a:pt x="509416" y="14429"/>
                  </a:moveTo>
                  <a:cubicBezTo>
                    <a:pt x="564471" y="-10431"/>
                    <a:pt x="627240" y="5381"/>
                    <a:pt x="685629" y="904"/>
                  </a:cubicBezTo>
                  <a:cubicBezTo>
                    <a:pt x="685629" y="51005"/>
                    <a:pt x="685629" y="101202"/>
                    <a:pt x="685724" y="151304"/>
                  </a:cubicBezTo>
                  <a:cubicBezTo>
                    <a:pt x="631146" y="151875"/>
                    <a:pt x="576663" y="150065"/>
                    <a:pt x="522275" y="152542"/>
                  </a:cubicBezTo>
                  <a:cubicBezTo>
                    <a:pt x="564185" y="179498"/>
                    <a:pt x="607809" y="209311"/>
                    <a:pt x="628097" y="257031"/>
                  </a:cubicBezTo>
                  <a:cubicBezTo>
                    <a:pt x="665245" y="340280"/>
                    <a:pt x="658673" y="448769"/>
                    <a:pt x="595141" y="517730"/>
                  </a:cubicBezTo>
                  <a:cubicBezTo>
                    <a:pt x="551136" y="564879"/>
                    <a:pt x="487223" y="587168"/>
                    <a:pt x="424834" y="596312"/>
                  </a:cubicBezTo>
                  <a:cubicBezTo>
                    <a:pt x="355112" y="605551"/>
                    <a:pt x="283388" y="603932"/>
                    <a:pt x="215093" y="586406"/>
                  </a:cubicBezTo>
                  <a:cubicBezTo>
                    <a:pt x="183757" y="608123"/>
                    <a:pt x="170231" y="663177"/>
                    <a:pt x="207664" y="685561"/>
                  </a:cubicBezTo>
                  <a:cubicBezTo>
                    <a:pt x="252527" y="707087"/>
                    <a:pt x="304247" y="695181"/>
                    <a:pt x="352254" y="698229"/>
                  </a:cubicBezTo>
                  <a:cubicBezTo>
                    <a:pt x="441312" y="701277"/>
                    <a:pt x="534848" y="687085"/>
                    <a:pt x="619430" y="722327"/>
                  </a:cubicBezTo>
                  <a:cubicBezTo>
                    <a:pt x="672484" y="743282"/>
                    <a:pt x="712108" y="792241"/>
                    <a:pt x="722490" y="848248"/>
                  </a:cubicBezTo>
                  <a:cubicBezTo>
                    <a:pt x="736301" y="921019"/>
                    <a:pt x="728110" y="1006744"/>
                    <a:pt x="671818" y="1060560"/>
                  </a:cubicBezTo>
                  <a:cubicBezTo>
                    <a:pt x="614857" y="1114281"/>
                    <a:pt x="534086" y="1130283"/>
                    <a:pt x="458933" y="1139237"/>
                  </a:cubicBezTo>
                  <a:cubicBezTo>
                    <a:pt x="370447" y="1147428"/>
                    <a:pt x="280721" y="1147524"/>
                    <a:pt x="192615" y="1135141"/>
                  </a:cubicBezTo>
                  <a:cubicBezTo>
                    <a:pt x="140322" y="1126473"/>
                    <a:pt x="85744" y="1113233"/>
                    <a:pt x="44406" y="1078372"/>
                  </a:cubicBezTo>
                  <a:cubicBezTo>
                    <a:pt x="-17698" y="1026937"/>
                    <a:pt x="-14554" y="915209"/>
                    <a:pt x="53168" y="870060"/>
                  </a:cubicBezTo>
                  <a:cubicBezTo>
                    <a:pt x="76505" y="852820"/>
                    <a:pt x="105461" y="847867"/>
                    <a:pt x="132893" y="840533"/>
                  </a:cubicBezTo>
                  <a:cubicBezTo>
                    <a:pt x="133179" y="837580"/>
                    <a:pt x="133560" y="831674"/>
                    <a:pt x="133845" y="828817"/>
                  </a:cubicBezTo>
                  <a:cubicBezTo>
                    <a:pt x="113747" y="820149"/>
                    <a:pt x="91459" y="815577"/>
                    <a:pt x="74886" y="800909"/>
                  </a:cubicBezTo>
                  <a:cubicBezTo>
                    <a:pt x="22880" y="759475"/>
                    <a:pt x="13259" y="670702"/>
                    <a:pt x="62407" y="623458"/>
                  </a:cubicBezTo>
                  <a:cubicBezTo>
                    <a:pt x="90411" y="594597"/>
                    <a:pt x="130036" y="582786"/>
                    <a:pt x="167373" y="571451"/>
                  </a:cubicBezTo>
                  <a:cubicBezTo>
                    <a:pt x="114129" y="546401"/>
                    <a:pt x="66980" y="503538"/>
                    <a:pt x="48883" y="446293"/>
                  </a:cubicBezTo>
                  <a:cubicBezTo>
                    <a:pt x="23546" y="368283"/>
                    <a:pt x="33357" y="274271"/>
                    <a:pt x="89078" y="211311"/>
                  </a:cubicBezTo>
                  <a:cubicBezTo>
                    <a:pt x="132036" y="162448"/>
                    <a:pt x="196043" y="138159"/>
                    <a:pt x="259099" y="128444"/>
                  </a:cubicBezTo>
                  <a:cubicBezTo>
                    <a:pt x="327012" y="118728"/>
                    <a:pt x="396925" y="119871"/>
                    <a:pt x="463982" y="135397"/>
                  </a:cubicBezTo>
                  <a:cubicBezTo>
                    <a:pt x="462457" y="91963"/>
                    <a:pt x="465697" y="37289"/>
                    <a:pt x="509416" y="14429"/>
                  </a:cubicBezTo>
                  <a:moveTo>
                    <a:pt x="299866" y="260841"/>
                  </a:moveTo>
                  <a:cubicBezTo>
                    <a:pt x="264243" y="267223"/>
                    <a:pt x="231476" y="294464"/>
                    <a:pt x="226714" y="331612"/>
                  </a:cubicBezTo>
                  <a:cubicBezTo>
                    <a:pt x="221476" y="368855"/>
                    <a:pt x="221571" y="413908"/>
                    <a:pt x="251860" y="441245"/>
                  </a:cubicBezTo>
                  <a:cubicBezTo>
                    <a:pt x="286817" y="471534"/>
                    <a:pt x="337585" y="472201"/>
                    <a:pt x="381210" y="465724"/>
                  </a:cubicBezTo>
                  <a:cubicBezTo>
                    <a:pt x="417214" y="460676"/>
                    <a:pt x="452171" y="435339"/>
                    <a:pt x="458838" y="397906"/>
                  </a:cubicBezTo>
                  <a:cubicBezTo>
                    <a:pt x="465315" y="358282"/>
                    <a:pt x="465315" y="308942"/>
                    <a:pt x="431216" y="281320"/>
                  </a:cubicBezTo>
                  <a:cubicBezTo>
                    <a:pt x="394164" y="253221"/>
                    <a:pt x="343586" y="252935"/>
                    <a:pt x="299866" y="260841"/>
                  </a:cubicBezTo>
                  <a:moveTo>
                    <a:pt x="182613" y="987218"/>
                  </a:moveTo>
                  <a:cubicBezTo>
                    <a:pt x="230810" y="1015888"/>
                    <a:pt x="289960" y="1009411"/>
                    <a:pt x="343872" y="1010554"/>
                  </a:cubicBezTo>
                  <a:cubicBezTo>
                    <a:pt x="398354" y="1009411"/>
                    <a:pt x="457124" y="1016078"/>
                    <a:pt x="507321" y="990170"/>
                  </a:cubicBezTo>
                  <a:cubicBezTo>
                    <a:pt x="543135" y="972073"/>
                    <a:pt x="550183" y="914256"/>
                    <a:pt x="517321" y="890158"/>
                  </a:cubicBezTo>
                  <a:cubicBezTo>
                    <a:pt x="491509" y="872346"/>
                    <a:pt x="458744" y="871394"/>
                    <a:pt x="428644" y="870536"/>
                  </a:cubicBezTo>
                  <a:cubicBezTo>
                    <a:pt x="346062" y="870155"/>
                    <a:pt x="263481" y="871013"/>
                    <a:pt x="180994" y="870155"/>
                  </a:cubicBezTo>
                  <a:cubicBezTo>
                    <a:pt x="153467" y="902064"/>
                    <a:pt x="142608" y="960548"/>
                    <a:pt x="182613" y="987218"/>
                  </a:cubicBezTo>
                  <a:close/>
                </a:path>
              </a:pathLst>
            </a:custGeom>
            <a:solidFill>
              <a:srgbClr val="000000"/>
            </a:solidFill>
            <a:ln w="9525" cap="flat">
              <a:noFill/>
              <a:prstDash val="solid"/>
              <a:miter/>
            </a:ln>
          </p:spPr>
          <p:txBody>
            <a:bodyPr rtlCol="0" anchor="ctr"/>
            <a:lstStyle/>
            <a:p>
              <a:endParaRPr lang="en-US" sz="900"/>
            </a:p>
          </p:txBody>
        </p:sp>
        <p:sp>
          <p:nvSpPr>
            <p:cNvPr id="35" name="Freeform: Shape 34">
              <a:extLst>
                <a:ext uri="{FF2B5EF4-FFF2-40B4-BE49-F238E27FC236}">
                  <a16:creationId xmlns:a16="http://schemas.microsoft.com/office/drawing/2014/main" id="{53871B77-82D8-9E96-7FDF-19E07894D012}"/>
                </a:ext>
              </a:extLst>
            </p:cNvPr>
            <p:cNvSpPr/>
            <p:nvPr/>
          </p:nvSpPr>
          <p:spPr>
            <a:xfrm>
              <a:off x="10085832" y="8849421"/>
              <a:ext cx="669369" cy="749856"/>
            </a:xfrm>
            <a:custGeom>
              <a:avLst/>
              <a:gdLst>
                <a:gd name="connsiteX0" fmla="*/ 260667 w 669369"/>
                <a:gd name="connsiteY0" fmla="*/ 6542 h 749856"/>
                <a:gd name="connsiteX1" fmla="*/ 515461 w 669369"/>
                <a:gd name="connsiteY1" fmla="*/ 44071 h 749856"/>
                <a:gd name="connsiteX2" fmla="*/ 650335 w 669369"/>
                <a:gd name="connsiteY2" fmla="*/ 226855 h 749856"/>
                <a:gd name="connsiteX3" fmla="*/ 669099 w 669369"/>
                <a:gd name="connsiteY3" fmla="*/ 426404 h 749856"/>
                <a:gd name="connsiteX4" fmla="*/ 208470 w 669369"/>
                <a:gd name="connsiteY4" fmla="*/ 426404 h 749856"/>
                <a:gd name="connsiteX5" fmla="*/ 248666 w 669369"/>
                <a:gd name="connsiteY5" fmla="*/ 550039 h 749856"/>
                <a:gd name="connsiteX6" fmla="*/ 408590 w 669369"/>
                <a:gd name="connsiteY6" fmla="*/ 587472 h 749856"/>
                <a:gd name="connsiteX7" fmla="*/ 543464 w 669369"/>
                <a:gd name="connsiteY7" fmla="*/ 505081 h 749856"/>
                <a:gd name="connsiteX8" fmla="*/ 645001 w 669369"/>
                <a:gd name="connsiteY8" fmla="*/ 630239 h 749856"/>
                <a:gd name="connsiteX9" fmla="*/ 370110 w 669369"/>
                <a:gd name="connsiteY9" fmla="*/ 749111 h 749856"/>
                <a:gd name="connsiteX10" fmla="*/ 115697 w 669369"/>
                <a:gd name="connsiteY10" fmla="*/ 673673 h 749856"/>
                <a:gd name="connsiteX11" fmla="*/ 2444 w 669369"/>
                <a:gd name="connsiteY11" fmla="*/ 428785 h 749856"/>
                <a:gd name="connsiteX12" fmla="*/ 63881 w 669369"/>
                <a:gd name="connsiteY12" fmla="*/ 132082 h 749856"/>
                <a:gd name="connsiteX13" fmla="*/ 260667 w 669369"/>
                <a:gd name="connsiteY13" fmla="*/ 6542 h 749856"/>
                <a:gd name="connsiteX14" fmla="*/ 236283 w 669369"/>
                <a:gd name="connsiteY14" fmla="*/ 199900 h 749856"/>
                <a:gd name="connsiteX15" fmla="*/ 208375 w 669369"/>
                <a:gd name="connsiteY15" fmla="*/ 307246 h 749856"/>
                <a:gd name="connsiteX16" fmla="*/ 460216 w 669369"/>
                <a:gd name="connsiteY16" fmla="*/ 307246 h 749856"/>
                <a:gd name="connsiteX17" fmla="*/ 429450 w 669369"/>
                <a:gd name="connsiteY17" fmla="*/ 188851 h 749856"/>
                <a:gd name="connsiteX18" fmla="*/ 236283 w 669369"/>
                <a:gd name="connsiteY18" fmla="*/ 199900 h 74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9369" h="749856">
                  <a:moveTo>
                    <a:pt x="260667" y="6542"/>
                  </a:moveTo>
                  <a:cubicBezTo>
                    <a:pt x="346297" y="-7650"/>
                    <a:pt x="439261" y="-316"/>
                    <a:pt x="515461" y="44071"/>
                  </a:cubicBezTo>
                  <a:cubicBezTo>
                    <a:pt x="583279" y="83123"/>
                    <a:pt x="629285" y="152465"/>
                    <a:pt x="650335" y="226855"/>
                  </a:cubicBezTo>
                  <a:cubicBezTo>
                    <a:pt x="669956" y="291435"/>
                    <a:pt x="669956" y="359539"/>
                    <a:pt x="669099" y="426404"/>
                  </a:cubicBezTo>
                  <a:cubicBezTo>
                    <a:pt x="515556" y="426404"/>
                    <a:pt x="362013" y="426404"/>
                    <a:pt x="208470" y="426404"/>
                  </a:cubicBezTo>
                  <a:cubicBezTo>
                    <a:pt x="208565" y="470124"/>
                    <a:pt x="215900" y="518035"/>
                    <a:pt x="248666" y="550039"/>
                  </a:cubicBezTo>
                  <a:cubicBezTo>
                    <a:pt x="290004" y="590806"/>
                    <a:pt x="353822" y="596140"/>
                    <a:pt x="408590" y="587472"/>
                  </a:cubicBezTo>
                  <a:cubicBezTo>
                    <a:pt x="462693" y="579090"/>
                    <a:pt x="506603" y="543181"/>
                    <a:pt x="543464" y="505081"/>
                  </a:cubicBezTo>
                  <a:cubicBezTo>
                    <a:pt x="577373" y="546705"/>
                    <a:pt x="610235" y="589282"/>
                    <a:pt x="645001" y="630239"/>
                  </a:cubicBezTo>
                  <a:cubicBezTo>
                    <a:pt x="576993" y="708916"/>
                    <a:pt x="471741" y="744920"/>
                    <a:pt x="370110" y="749111"/>
                  </a:cubicBezTo>
                  <a:cubicBezTo>
                    <a:pt x="280384" y="754159"/>
                    <a:pt x="184848" y="734062"/>
                    <a:pt x="115697" y="673673"/>
                  </a:cubicBezTo>
                  <a:cubicBezTo>
                    <a:pt x="44640" y="613094"/>
                    <a:pt x="10255" y="519844"/>
                    <a:pt x="2444" y="428785"/>
                  </a:cubicBezTo>
                  <a:cubicBezTo>
                    <a:pt x="-6128" y="327249"/>
                    <a:pt x="6350" y="218664"/>
                    <a:pt x="63881" y="132082"/>
                  </a:cubicBezTo>
                  <a:cubicBezTo>
                    <a:pt x="107886" y="64645"/>
                    <a:pt x="181800" y="19972"/>
                    <a:pt x="260667" y="6542"/>
                  </a:cubicBezTo>
                  <a:moveTo>
                    <a:pt x="236283" y="199900"/>
                  </a:moveTo>
                  <a:cubicBezTo>
                    <a:pt x="213804" y="230856"/>
                    <a:pt x="209042" y="270004"/>
                    <a:pt x="208375" y="307246"/>
                  </a:cubicBezTo>
                  <a:lnTo>
                    <a:pt x="460216" y="307246"/>
                  </a:lnTo>
                  <a:cubicBezTo>
                    <a:pt x="459835" y="266289"/>
                    <a:pt x="455930" y="222093"/>
                    <a:pt x="429450" y="188851"/>
                  </a:cubicBezTo>
                  <a:cubicBezTo>
                    <a:pt x="382111" y="129700"/>
                    <a:pt x="278003" y="138273"/>
                    <a:pt x="236283" y="199900"/>
                  </a:cubicBezTo>
                  <a:close/>
                </a:path>
              </a:pathLst>
            </a:custGeom>
            <a:solidFill>
              <a:srgbClr val="000000"/>
            </a:solidFill>
            <a:ln w="9525" cap="flat">
              <a:noFill/>
              <a:prstDash val="solid"/>
              <a:miter/>
            </a:ln>
          </p:spPr>
          <p:txBody>
            <a:bodyPr rtlCol="0" anchor="ctr"/>
            <a:lstStyle/>
            <a:p>
              <a:endParaRPr lang="en-US" sz="900"/>
            </a:p>
          </p:txBody>
        </p:sp>
        <p:sp>
          <p:nvSpPr>
            <p:cNvPr id="36" name="Freeform: Shape 35">
              <a:extLst>
                <a:ext uri="{FF2B5EF4-FFF2-40B4-BE49-F238E27FC236}">
                  <a16:creationId xmlns:a16="http://schemas.microsoft.com/office/drawing/2014/main" id="{08EB9A85-89C6-1EC3-5478-A8F89D67749A}"/>
                </a:ext>
              </a:extLst>
            </p:cNvPr>
            <p:cNvSpPr/>
            <p:nvPr/>
          </p:nvSpPr>
          <p:spPr>
            <a:xfrm>
              <a:off x="10852675" y="8849297"/>
              <a:ext cx="625965" cy="749878"/>
            </a:xfrm>
            <a:custGeom>
              <a:avLst/>
              <a:gdLst>
                <a:gd name="connsiteX0" fmla="*/ 115044 w 625965"/>
                <a:gd name="connsiteY0" fmla="*/ 72770 h 749878"/>
                <a:gd name="connsiteX1" fmla="*/ 437561 w 625965"/>
                <a:gd name="connsiteY1" fmla="*/ 13810 h 749878"/>
                <a:gd name="connsiteX2" fmla="*/ 621870 w 625965"/>
                <a:gd name="connsiteY2" fmla="*/ 187165 h 749878"/>
                <a:gd name="connsiteX3" fmla="*/ 458230 w 625965"/>
                <a:gd name="connsiteY3" fmla="*/ 258221 h 749878"/>
                <a:gd name="connsiteX4" fmla="*/ 411843 w 625965"/>
                <a:gd name="connsiteY4" fmla="*/ 184117 h 749878"/>
                <a:gd name="connsiteX5" fmla="*/ 233916 w 625965"/>
                <a:gd name="connsiteY5" fmla="*/ 212120 h 749878"/>
                <a:gd name="connsiteX6" fmla="*/ 210771 w 625965"/>
                <a:gd name="connsiteY6" fmla="*/ 371093 h 749878"/>
                <a:gd name="connsiteX7" fmla="*/ 230868 w 625965"/>
                <a:gd name="connsiteY7" fmla="*/ 533684 h 749878"/>
                <a:gd name="connsiteX8" fmla="*/ 439371 w 625965"/>
                <a:gd name="connsiteY8" fmla="*/ 540352 h 749878"/>
                <a:gd name="connsiteX9" fmla="*/ 468708 w 625965"/>
                <a:gd name="connsiteY9" fmla="*/ 483392 h 749878"/>
                <a:gd name="connsiteX10" fmla="*/ 625965 w 625965"/>
                <a:gd name="connsiteY10" fmla="*/ 551782 h 749878"/>
                <a:gd name="connsiteX11" fmla="*/ 521095 w 625965"/>
                <a:gd name="connsiteY11" fmla="*/ 697800 h 749878"/>
                <a:gd name="connsiteX12" fmla="*/ 271921 w 625965"/>
                <a:gd name="connsiteY12" fmla="*/ 745425 h 749878"/>
                <a:gd name="connsiteX13" fmla="*/ 70086 w 625965"/>
                <a:gd name="connsiteY13" fmla="*/ 627696 h 749878"/>
                <a:gd name="connsiteX14" fmla="*/ 1316 w 625965"/>
                <a:gd name="connsiteY14" fmla="*/ 333183 h 749878"/>
                <a:gd name="connsiteX15" fmla="*/ 115044 w 625965"/>
                <a:gd name="connsiteY15" fmla="*/ 72770 h 749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5965" h="749878">
                  <a:moveTo>
                    <a:pt x="115044" y="72770"/>
                  </a:moveTo>
                  <a:cubicBezTo>
                    <a:pt x="202770" y="-1430"/>
                    <a:pt x="329357" y="-14479"/>
                    <a:pt x="437561" y="13810"/>
                  </a:cubicBezTo>
                  <a:cubicBezTo>
                    <a:pt x="523476" y="36003"/>
                    <a:pt x="592628" y="104202"/>
                    <a:pt x="621870" y="187165"/>
                  </a:cubicBezTo>
                  <a:cubicBezTo>
                    <a:pt x="567387" y="211073"/>
                    <a:pt x="512713" y="234504"/>
                    <a:pt x="458230" y="258221"/>
                  </a:cubicBezTo>
                  <a:cubicBezTo>
                    <a:pt x="449086" y="230313"/>
                    <a:pt x="436418" y="201738"/>
                    <a:pt x="411843" y="184117"/>
                  </a:cubicBezTo>
                  <a:cubicBezTo>
                    <a:pt x="358503" y="144969"/>
                    <a:pt x="269445" y="152494"/>
                    <a:pt x="233916" y="212120"/>
                  </a:cubicBezTo>
                  <a:cubicBezTo>
                    <a:pt x="204294" y="259650"/>
                    <a:pt x="211342" y="317753"/>
                    <a:pt x="210771" y="371093"/>
                  </a:cubicBezTo>
                  <a:cubicBezTo>
                    <a:pt x="212104" y="425385"/>
                    <a:pt x="203055" y="484059"/>
                    <a:pt x="230868" y="533684"/>
                  </a:cubicBezTo>
                  <a:cubicBezTo>
                    <a:pt x="271350" y="608265"/>
                    <a:pt x="392317" y="607884"/>
                    <a:pt x="439371" y="540352"/>
                  </a:cubicBezTo>
                  <a:cubicBezTo>
                    <a:pt x="452134" y="523112"/>
                    <a:pt x="460135" y="502919"/>
                    <a:pt x="468708" y="483392"/>
                  </a:cubicBezTo>
                  <a:cubicBezTo>
                    <a:pt x="521095" y="506252"/>
                    <a:pt x="573578" y="528922"/>
                    <a:pt x="625965" y="551782"/>
                  </a:cubicBezTo>
                  <a:cubicBezTo>
                    <a:pt x="605106" y="608741"/>
                    <a:pt x="571673" y="662939"/>
                    <a:pt x="521095" y="697800"/>
                  </a:cubicBezTo>
                  <a:cubicBezTo>
                    <a:pt x="449372" y="748092"/>
                    <a:pt x="356598" y="756855"/>
                    <a:pt x="271921" y="745425"/>
                  </a:cubicBezTo>
                  <a:cubicBezTo>
                    <a:pt x="192673" y="734757"/>
                    <a:pt x="116473" y="693800"/>
                    <a:pt x="70086" y="627696"/>
                  </a:cubicBezTo>
                  <a:cubicBezTo>
                    <a:pt x="9603" y="543114"/>
                    <a:pt x="-4876" y="434624"/>
                    <a:pt x="1316" y="333183"/>
                  </a:cubicBezTo>
                  <a:cubicBezTo>
                    <a:pt x="7031" y="237171"/>
                    <a:pt x="39702" y="136778"/>
                    <a:pt x="115044" y="72770"/>
                  </a:cubicBezTo>
                  <a:close/>
                </a:path>
              </a:pathLst>
            </a:custGeom>
            <a:solidFill>
              <a:srgbClr val="000000"/>
            </a:solidFill>
            <a:ln w="9525" cap="flat">
              <a:noFill/>
              <a:prstDash val="solid"/>
              <a:miter/>
            </a:ln>
          </p:spPr>
          <p:txBody>
            <a:bodyPr rtlCol="0" anchor="ctr"/>
            <a:lstStyle/>
            <a:p>
              <a:endParaRPr lang="en-US" sz="900"/>
            </a:p>
          </p:txBody>
        </p:sp>
        <p:sp>
          <p:nvSpPr>
            <p:cNvPr id="37" name="Freeform: Shape 36">
              <a:extLst>
                <a:ext uri="{FF2B5EF4-FFF2-40B4-BE49-F238E27FC236}">
                  <a16:creationId xmlns:a16="http://schemas.microsoft.com/office/drawing/2014/main" id="{7D9AA833-AD83-E679-5D6E-186A8D02B00C}"/>
                </a:ext>
              </a:extLst>
            </p:cNvPr>
            <p:cNvSpPr/>
            <p:nvPr/>
          </p:nvSpPr>
          <p:spPr>
            <a:xfrm>
              <a:off x="13262546" y="8849276"/>
              <a:ext cx="625919" cy="749850"/>
            </a:xfrm>
            <a:custGeom>
              <a:avLst/>
              <a:gdLst>
                <a:gd name="connsiteX0" fmla="*/ 114142 w 625919"/>
                <a:gd name="connsiteY0" fmla="*/ 73457 h 749850"/>
                <a:gd name="connsiteX1" fmla="*/ 437897 w 625919"/>
                <a:gd name="connsiteY1" fmla="*/ 13831 h 749850"/>
                <a:gd name="connsiteX2" fmla="*/ 621920 w 625919"/>
                <a:gd name="connsiteY2" fmla="*/ 187281 h 749850"/>
                <a:gd name="connsiteX3" fmla="*/ 458280 w 625919"/>
                <a:gd name="connsiteY3" fmla="*/ 258242 h 749850"/>
                <a:gd name="connsiteX4" fmla="*/ 399225 w 625919"/>
                <a:gd name="connsiteY4" fmla="*/ 175946 h 749850"/>
                <a:gd name="connsiteX5" fmla="*/ 237776 w 625919"/>
                <a:gd name="connsiteY5" fmla="*/ 206426 h 749850"/>
                <a:gd name="connsiteX6" fmla="*/ 210725 w 625919"/>
                <a:gd name="connsiteY6" fmla="*/ 371209 h 749850"/>
                <a:gd name="connsiteX7" fmla="*/ 231013 w 625919"/>
                <a:gd name="connsiteY7" fmla="*/ 534086 h 749850"/>
                <a:gd name="connsiteX8" fmla="*/ 437992 w 625919"/>
                <a:gd name="connsiteY8" fmla="*/ 542278 h 749850"/>
                <a:gd name="connsiteX9" fmla="*/ 468662 w 625919"/>
                <a:gd name="connsiteY9" fmla="*/ 483413 h 749850"/>
                <a:gd name="connsiteX10" fmla="*/ 625920 w 625919"/>
                <a:gd name="connsiteY10" fmla="*/ 551898 h 749850"/>
                <a:gd name="connsiteX11" fmla="*/ 514573 w 625919"/>
                <a:gd name="connsiteY11" fmla="*/ 702203 h 749850"/>
                <a:gd name="connsiteX12" fmla="*/ 265494 w 625919"/>
                <a:gd name="connsiteY12" fmla="*/ 744398 h 749850"/>
                <a:gd name="connsiteX13" fmla="*/ 66422 w 625919"/>
                <a:gd name="connsiteY13" fmla="*/ 622478 h 749850"/>
                <a:gd name="connsiteX14" fmla="*/ 1937 w 625919"/>
                <a:gd name="connsiteY14" fmla="*/ 324441 h 749850"/>
                <a:gd name="connsiteX15" fmla="*/ 114142 w 625919"/>
                <a:gd name="connsiteY15" fmla="*/ 73457 h 749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5919" h="749850">
                  <a:moveTo>
                    <a:pt x="114142" y="73457"/>
                  </a:moveTo>
                  <a:cubicBezTo>
                    <a:pt x="201962" y="-1409"/>
                    <a:pt x="329121" y="-14554"/>
                    <a:pt x="437897" y="13831"/>
                  </a:cubicBezTo>
                  <a:cubicBezTo>
                    <a:pt x="523717" y="36215"/>
                    <a:pt x="592582" y="104318"/>
                    <a:pt x="621920" y="187281"/>
                  </a:cubicBezTo>
                  <a:cubicBezTo>
                    <a:pt x="567341" y="210998"/>
                    <a:pt x="512763" y="234525"/>
                    <a:pt x="458280" y="258242"/>
                  </a:cubicBezTo>
                  <a:cubicBezTo>
                    <a:pt x="448184" y="225476"/>
                    <a:pt x="430753" y="192425"/>
                    <a:pt x="399225" y="175946"/>
                  </a:cubicBezTo>
                  <a:cubicBezTo>
                    <a:pt x="347599" y="148133"/>
                    <a:pt x="272447" y="155658"/>
                    <a:pt x="237776" y="206426"/>
                  </a:cubicBezTo>
                  <a:cubicBezTo>
                    <a:pt x="203772" y="254432"/>
                    <a:pt x="211202" y="315869"/>
                    <a:pt x="210725" y="371209"/>
                  </a:cubicBezTo>
                  <a:cubicBezTo>
                    <a:pt x="212059" y="425692"/>
                    <a:pt x="203105" y="484366"/>
                    <a:pt x="231013" y="534086"/>
                  </a:cubicBezTo>
                  <a:cubicBezTo>
                    <a:pt x="271304" y="607524"/>
                    <a:pt x="390081" y="607905"/>
                    <a:pt x="437992" y="542278"/>
                  </a:cubicBezTo>
                  <a:cubicBezTo>
                    <a:pt x="451422" y="524561"/>
                    <a:pt x="459899" y="503702"/>
                    <a:pt x="468662" y="483413"/>
                  </a:cubicBezTo>
                  <a:cubicBezTo>
                    <a:pt x="521050" y="506178"/>
                    <a:pt x="573532" y="528943"/>
                    <a:pt x="625920" y="551898"/>
                  </a:cubicBezTo>
                  <a:cubicBezTo>
                    <a:pt x="604298" y="611144"/>
                    <a:pt x="568579" y="667532"/>
                    <a:pt x="514573" y="702203"/>
                  </a:cubicBezTo>
                  <a:cubicBezTo>
                    <a:pt x="441706" y="749732"/>
                    <a:pt x="349600" y="756971"/>
                    <a:pt x="265494" y="744398"/>
                  </a:cubicBezTo>
                  <a:cubicBezTo>
                    <a:pt x="186341" y="732492"/>
                    <a:pt x="111189" y="689534"/>
                    <a:pt x="66422" y="622478"/>
                  </a:cubicBezTo>
                  <a:cubicBezTo>
                    <a:pt x="7366" y="535991"/>
                    <a:pt x="-5587" y="426644"/>
                    <a:pt x="1937" y="324441"/>
                  </a:cubicBezTo>
                  <a:cubicBezTo>
                    <a:pt x="8890" y="231668"/>
                    <a:pt x="41656" y="135465"/>
                    <a:pt x="114142" y="73457"/>
                  </a:cubicBezTo>
                  <a:close/>
                </a:path>
              </a:pathLst>
            </a:custGeom>
            <a:solidFill>
              <a:srgbClr val="000000"/>
            </a:solidFill>
            <a:ln w="9525" cap="flat">
              <a:noFill/>
              <a:prstDash val="solid"/>
              <a:miter/>
            </a:ln>
          </p:spPr>
          <p:txBody>
            <a:bodyPr rtlCol="0" anchor="ctr"/>
            <a:lstStyle/>
            <a:p>
              <a:endParaRPr lang="en-US" sz="900"/>
            </a:p>
          </p:txBody>
        </p:sp>
        <p:sp>
          <p:nvSpPr>
            <p:cNvPr id="38" name="Freeform: Shape 37">
              <a:extLst>
                <a:ext uri="{FF2B5EF4-FFF2-40B4-BE49-F238E27FC236}">
                  <a16:creationId xmlns:a16="http://schemas.microsoft.com/office/drawing/2014/main" id="{5BEADA96-1A80-9EB1-DBCA-0EBF9FDAB801}"/>
                </a:ext>
              </a:extLst>
            </p:cNvPr>
            <p:cNvSpPr/>
            <p:nvPr/>
          </p:nvSpPr>
          <p:spPr>
            <a:xfrm>
              <a:off x="14778191" y="8849530"/>
              <a:ext cx="689710" cy="749617"/>
            </a:xfrm>
            <a:custGeom>
              <a:avLst/>
              <a:gdLst>
                <a:gd name="connsiteX0" fmla="*/ 27247 w 689710"/>
                <a:gd name="connsiteY0" fmla="*/ 137021 h 749617"/>
                <a:gd name="connsiteX1" fmla="*/ 239750 w 689710"/>
                <a:gd name="connsiteY1" fmla="*/ 5290 h 749617"/>
                <a:gd name="connsiteX2" fmla="*/ 522070 w 689710"/>
                <a:gd name="connsiteY2" fmla="*/ 49582 h 749617"/>
                <a:gd name="connsiteX3" fmla="*/ 622654 w 689710"/>
                <a:gd name="connsiteY3" fmla="*/ 247606 h 749617"/>
                <a:gd name="connsiteX4" fmla="*/ 623036 w 689710"/>
                <a:gd name="connsiteY4" fmla="*/ 575838 h 749617"/>
                <a:gd name="connsiteX5" fmla="*/ 689711 w 689710"/>
                <a:gd name="connsiteY5" fmla="*/ 575933 h 749617"/>
                <a:gd name="connsiteX6" fmla="*/ 689711 w 689710"/>
                <a:gd name="connsiteY6" fmla="*/ 733000 h 749617"/>
                <a:gd name="connsiteX7" fmla="*/ 506259 w 689710"/>
                <a:gd name="connsiteY7" fmla="*/ 713950 h 749617"/>
                <a:gd name="connsiteX8" fmla="*/ 438441 w 689710"/>
                <a:gd name="connsiteY8" fmla="*/ 603270 h 749617"/>
                <a:gd name="connsiteX9" fmla="*/ 388625 w 689710"/>
                <a:gd name="connsiteY9" fmla="*/ 690805 h 749617"/>
                <a:gd name="connsiteX10" fmla="*/ 169074 w 689710"/>
                <a:gd name="connsiteY10" fmla="*/ 745288 h 749617"/>
                <a:gd name="connsiteX11" fmla="*/ 15341 w 689710"/>
                <a:gd name="connsiteY11" fmla="*/ 626892 h 749617"/>
                <a:gd name="connsiteX12" fmla="*/ 37153 w 689710"/>
                <a:gd name="connsiteY12" fmla="*/ 416008 h 749617"/>
                <a:gd name="connsiteX13" fmla="*/ 191076 w 689710"/>
                <a:gd name="connsiteY13" fmla="*/ 327521 h 749617"/>
                <a:gd name="connsiteX14" fmla="*/ 420629 w 689710"/>
                <a:gd name="connsiteY14" fmla="*/ 316663 h 749617"/>
                <a:gd name="connsiteX15" fmla="*/ 392911 w 689710"/>
                <a:gd name="connsiteY15" fmla="*/ 189028 h 749617"/>
                <a:gd name="connsiteX16" fmla="*/ 258323 w 689710"/>
                <a:gd name="connsiteY16" fmla="*/ 163310 h 749617"/>
                <a:gd name="connsiteX17" fmla="*/ 147452 w 689710"/>
                <a:gd name="connsiteY17" fmla="*/ 243130 h 749617"/>
                <a:gd name="connsiteX18" fmla="*/ 27247 w 689710"/>
                <a:gd name="connsiteY18" fmla="*/ 137021 h 749617"/>
                <a:gd name="connsiteX19" fmla="*/ 252894 w 689710"/>
                <a:gd name="connsiteY19" fmla="*/ 442583 h 749617"/>
                <a:gd name="connsiteX20" fmla="*/ 260038 w 689710"/>
                <a:gd name="connsiteY20" fmla="*/ 604508 h 749617"/>
                <a:gd name="connsiteX21" fmla="*/ 401579 w 689710"/>
                <a:gd name="connsiteY21" fmla="*/ 571552 h 749617"/>
                <a:gd name="connsiteX22" fmla="*/ 420534 w 689710"/>
                <a:gd name="connsiteY22" fmla="*/ 431725 h 749617"/>
                <a:gd name="connsiteX23" fmla="*/ 252894 w 689710"/>
                <a:gd name="connsiteY23" fmla="*/ 442583 h 749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89710" h="749617">
                  <a:moveTo>
                    <a:pt x="27247" y="137021"/>
                  </a:moveTo>
                  <a:cubicBezTo>
                    <a:pt x="73634" y="63583"/>
                    <a:pt x="153834" y="15387"/>
                    <a:pt x="239750" y="5290"/>
                  </a:cubicBezTo>
                  <a:cubicBezTo>
                    <a:pt x="334618" y="-6044"/>
                    <a:pt x="438632" y="-2520"/>
                    <a:pt x="522070" y="49582"/>
                  </a:cubicBezTo>
                  <a:cubicBezTo>
                    <a:pt x="588936" y="91015"/>
                    <a:pt x="621988" y="171025"/>
                    <a:pt x="622654" y="247606"/>
                  </a:cubicBezTo>
                  <a:cubicBezTo>
                    <a:pt x="623512" y="357049"/>
                    <a:pt x="622654" y="466396"/>
                    <a:pt x="623036" y="575838"/>
                  </a:cubicBezTo>
                  <a:cubicBezTo>
                    <a:pt x="645134" y="575838"/>
                    <a:pt x="667422" y="575838"/>
                    <a:pt x="689711" y="575933"/>
                  </a:cubicBezTo>
                  <a:cubicBezTo>
                    <a:pt x="689615" y="628225"/>
                    <a:pt x="689615" y="680613"/>
                    <a:pt x="689711" y="733000"/>
                  </a:cubicBezTo>
                  <a:cubicBezTo>
                    <a:pt x="628750" y="728238"/>
                    <a:pt x="561790" y="746621"/>
                    <a:pt x="506259" y="713950"/>
                  </a:cubicBezTo>
                  <a:cubicBezTo>
                    <a:pt x="466540" y="690614"/>
                    <a:pt x="448442" y="646037"/>
                    <a:pt x="438441" y="603270"/>
                  </a:cubicBezTo>
                  <a:cubicBezTo>
                    <a:pt x="423963" y="633559"/>
                    <a:pt x="413866" y="667278"/>
                    <a:pt x="388625" y="690805"/>
                  </a:cubicBezTo>
                  <a:cubicBezTo>
                    <a:pt x="331952" y="747193"/>
                    <a:pt x="244702" y="756908"/>
                    <a:pt x="169074" y="745288"/>
                  </a:cubicBezTo>
                  <a:cubicBezTo>
                    <a:pt x="102113" y="735477"/>
                    <a:pt x="38676" y="691948"/>
                    <a:pt x="15341" y="626892"/>
                  </a:cubicBezTo>
                  <a:cubicBezTo>
                    <a:pt x="-9234" y="558693"/>
                    <a:pt x="-5900" y="476302"/>
                    <a:pt x="37153" y="416008"/>
                  </a:cubicBezTo>
                  <a:cubicBezTo>
                    <a:pt x="73062" y="366097"/>
                    <a:pt x="132498" y="339808"/>
                    <a:pt x="191076" y="327521"/>
                  </a:cubicBezTo>
                  <a:cubicBezTo>
                    <a:pt x="266515" y="311424"/>
                    <a:pt x="344048" y="317996"/>
                    <a:pt x="420629" y="316663"/>
                  </a:cubicBezTo>
                  <a:cubicBezTo>
                    <a:pt x="420439" y="273419"/>
                    <a:pt x="425963" y="222746"/>
                    <a:pt x="392911" y="189028"/>
                  </a:cubicBezTo>
                  <a:cubicBezTo>
                    <a:pt x="357764" y="155119"/>
                    <a:pt x="303377" y="154547"/>
                    <a:pt x="258323" y="163310"/>
                  </a:cubicBezTo>
                  <a:cubicBezTo>
                    <a:pt x="211460" y="172359"/>
                    <a:pt x="174884" y="205982"/>
                    <a:pt x="147452" y="243130"/>
                  </a:cubicBezTo>
                  <a:cubicBezTo>
                    <a:pt x="107447" y="207697"/>
                    <a:pt x="67728" y="171883"/>
                    <a:pt x="27247" y="137021"/>
                  </a:cubicBezTo>
                  <a:moveTo>
                    <a:pt x="252894" y="442583"/>
                  </a:moveTo>
                  <a:cubicBezTo>
                    <a:pt x="182600" y="464872"/>
                    <a:pt x="184981" y="591078"/>
                    <a:pt x="260038" y="604508"/>
                  </a:cubicBezTo>
                  <a:cubicBezTo>
                    <a:pt x="308044" y="613557"/>
                    <a:pt x="366337" y="609461"/>
                    <a:pt x="401579" y="571552"/>
                  </a:cubicBezTo>
                  <a:cubicBezTo>
                    <a:pt x="433298" y="532213"/>
                    <a:pt x="416438" y="477921"/>
                    <a:pt x="420534" y="431725"/>
                  </a:cubicBezTo>
                  <a:cubicBezTo>
                    <a:pt x="364813" y="434677"/>
                    <a:pt x="306615" y="423724"/>
                    <a:pt x="252894" y="442583"/>
                  </a:cubicBezTo>
                  <a:close/>
                </a:path>
              </a:pathLst>
            </a:custGeom>
            <a:solidFill>
              <a:srgbClr val="000000"/>
            </a:solidFill>
            <a:ln w="9525" cap="flat">
              <a:noFill/>
              <a:prstDash val="solid"/>
              <a:miter/>
            </a:ln>
          </p:spPr>
          <p:txBody>
            <a:bodyPr rtlCol="0" anchor="ctr"/>
            <a:lstStyle/>
            <a:p>
              <a:endParaRPr lang="en-US" sz="900"/>
            </a:p>
          </p:txBody>
        </p:sp>
        <p:sp>
          <p:nvSpPr>
            <p:cNvPr id="39" name="Freeform: Shape 38">
              <a:extLst>
                <a:ext uri="{FF2B5EF4-FFF2-40B4-BE49-F238E27FC236}">
                  <a16:creationId xmlns:a16="http://schemas.microsoft.com/office/drawing/2014/main" id="{E08DAAAF-22D3-8686-027F-301825BDAA00}"/>
                </a:ext>
              </a:extLst>
            </p:cNvPr>
            <p:cNvSpPr/>
            <p:nvPr/>
          </p:nvSpPr>
          <p:spPr>
            <a:xfrm>
              <a:off x="15602775" y="8849035"/>
              <a:ext cx="633507" cy="733518"/>
            </a:xfrm>
            <a:custGeom>
              <a:avLst/>
              <a:gdLst>
                <a:gd name="connsiteX0" fmla="*/ 311944 w 633507"/>
                <a:gd name="connsiteY0" fmla="*/ 20073 h 733518"/>
                <a:gd name="connsiteX1" fmla="*/ 569214 w 633507"/>
                <a:gd name="connsiteY1" fmla="*/ 66078 h 733518"/>
                <a:gd name="connsiteX2" fmla="*/ 633413 w 633507"/>
                <a:gd name="connsiteY2" fmla="*/ 276295 h 733518"/>
                <a:gd name="connsiteX3" fmla="*/ 633508 w 633507"/>
                <a:gd name="connsiteY3" fmla="*/ 733495 h 733518"/>
                <a:gd name="connsiteX4" fmla="*/ 431006 w 633507"/>
                <a:gd name="connsiteY4" fmla="*/ 733495 h 733518"/>
                <a:gd name="connsiteX5" fmla="*/ 430435 w 633507"/>
                <a:gd name="connsiteY5" fmla="*/ 276676 h 733518"/>
                <a:gd name="connsiteX6" fmla="*/ 369951 w 633507"/>
                <a:gd name="connsiteY6" fmla="*/ 169901 h 733518"/>
                <a:gd name="connsiteX7" fmla="*/ 203264 w 633507"/>
                <a:gd name="connsiteY7" fmla="*/ 257245 h 733518"/>
                <a:gd name="connsiteX8" fmla="*/ 202502 w 633507"/>
                <a:gd name="connsiteY8" fmla="*/ 733495 h 733518"/>
                <a:gd name="connsiteX9" fmla="*/ 0 w 633507"/>
                <a:gd name="connsiteY9" fmla="*/ 733400 h 733518"/>
                <a:gd name="connsiteX10" fmla="*/ 95 w 633507"/>
                <a:gd name="connsiteY10" fmla="*/ 16739 h 733518"/>
                <a:gd name="connsiteX11" fmla="*/ 202406 w 633507"/>
                <a:gd name="connsiteY11" fmla="*/ 16739 h 733518"/>
                <a:gd name="connsiteX12" fmla="*/ 204883 w 633507"/>
                <a:gd name="connsiteY12" fmla="*/ 144564 h 733518"/>
                <a:gd name="connsiteX13" fmla="*/ 311944 w 633507"/>
                <a:gd name="connsiteY13" fmla="*/ 20073 h 733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3507" h="733518">
                  <a:moveTo>
                    <a:pt x="311944" y="20073"/>
                  </a:moveTo>
                  <a:cubicBezTo>
                    <a:pt x="395669" y="-15837"/>
                    <a:pt x="506825" y="-5359"/>
                    <a:pt x="569214" y="66078"/>
                  </a:cubicBezTo>
                  <a:cubicBezTo>
                    <a:pt x="618649" y="123609"/>
                    <a:pt x="632365" y="202572"/>
                    <a:pt x="633413" y="276295"/>
                  </a:cubicBezTo>
                  <a:cubicBezTo>
                    <a:pt x="633603" y="428695"/>
                    <a:pt x="633317" y="581095"/>
                    <a:pt x="633508" y="733495"/>
                  </a:cubicBezTo>
                  <a:lnTo>
                    <a:pt x="431006" y="733495"/>
                  </a:lnTo>
                  <a:cubicBezTo>
                    <a:pt x="430625" y="581190"/>
                    <a:pt x="431864" y="428981"/>
                    <a:pt x="430435" y="276676"/>
                  </a:cubicBezTo>
                  <a:cubicBezTo>
                    <a:pt x="429101" y="234861"/>
                    <a:pt x="415290" y="183045"/>
                    <a:pt x="369951" y="169901"/>
                  </a:cubicBezTo>
                  <a:cubicBezTo>
                    <a:pt x="305086" y="150946"/>
                    <a:pt x="210884" y="180759"/>
                    <a:pt x="203264" y="257245"/>
                  </a:cubicBezTo>
                  <a:cubicBezTo>
                    <a:pt x="201263" y="415931"/>
                    <a:pt x="202978" y="574713"/>
                    <a:pt x="202502" y="733495"/>
                  </a:cubicBezTo>
                  <a:cubicBezTo>
                    <a:pt x="134970" y="733495"/>
                    <a:pt x="67437" y="733590"/>
                    <a:pt x="0" y="733400"/>
                  </a:cubicBezTo>
                  <a:cubicBezTo>
                    <a:pt x="191" y="494513"/>
                    <a:pt x="-95" y="255626"/>
                    <a:pt x="95" y="16739"/>
                  </a:cubicBezTo>
                  <a:lnTo>
                    <a:pt x="202406" y="16739"/>
                  </a:lnTo>
                  <a:cubicBezTo>
                    <a:pt x="203264" y="59315"/>
                    <a:pt x="200025" y="102083"/>
                    <a:pt x="204883" y="144564"/>
                  </a:cubicBezTo>
                  <a:cubicBezTo>
                    <a:pt x="226790" y="93606"/>
                    <a:pt x="258604" y="42456"/>
                    <a:pt x="311944" y="20073"/>
                  </a:cubicBezTo>
                  <a:close/>
                </a:path>
              </a:pathLst>
            </a:custGeom>
            <a:solidFill>
              <a:srgbClr val="000000"/>
            </a:solidFill>
            <a:ln w="9525" cap="flat">
              <a:noFill/>
              <a:prstDash val="solid"/>
              <a:miter/>
            </a:ln>
          </p:spPr>
          <p:txBody>
            <a:bodyPr rtlCol="0" anchor="ctr"/>
            <a:lstStyle/>
            <a:p>
              <a:endParaRPr lang="en-US" sz="900"/>
            </a:p>
          </p:txBody>
        </p:sp>
        <p:sp>
          <p:nvSpPr>
            <p:cNvPr id="40" name="Freeform: Shape 39">
              <a:extLst>
                <a:ext uri="{FF2B5EF4-FFF2-40B4-BE49-F238E27FC236}">
                  <a16:creationId xmlns:a16="http://schemas.microsoft.com/office/drawing/2014/main" id="{3BF8AFFD-1B6C-839E-B09F-AF5203BE810E}"/>
                </a:ext>
              </a:extLst>
            </p:cNvPr>
            <p:cNvSpPr/>
            <p:nvPr/>
          </p:nvSpPr>
          <p:spPr>
            <a:xfrm>
              <a:off x="17116014" y="8849344"/>
              <a:ext cx="669651" cy="749917"/>
            </a:xfrm>
            <a:custGeom>
              <a:avLst/>
              <a:gdLst>
                <a:gd name="connsiteX0" fmla="*/ 174305 w 669651"/>
                <a:gd name="connsiteY0" fmla="*/ 34909 h 749917"/>
                <a:gd name="connsiteX1" fmla="*/ 433670 w 669651"/>
                <a:gd name="connsiteY1" fmla="*/ 11287 h 749917"/>
                <a:gd name="connsiteX2" fmla="*/ 624838 w 669651"/>
                <a:gd name="connsiteY2" fmla="*/ 161973 h 749917"/>
                <a:gd name="connsiteX3" fmla="*/ 669129 w 669651"/>
                <a:gd name="connsiteY3" fmla="*/ 426482 h 749917"/>
                <a:gd name="connsiteX4" fmla="*/ 208500 w 669651"/>
                <a:gd name="connsiteY4" fmla="*/ 426482 h 749917"/>
                <a:gd name="connsiteX5" fmla="*/ 248028 w 669651"/>
                <a:gd name="connsiteY5" fmla="*/ 549450 h 749917"/>
                <a:gd name="connsiteX6" fmla="*/ 408049 w 669651"/>
                <a:gd name="connsiteY6" fmla="*/ 587645 h 749917"/>
                <a:gd name="connsiteX7" fmla="*/ 543589 w 669651"/>
                <a:gd name="connsiteY7" fmla="*/ 505063 h 749917"/>
                <a:gd name="connsiteX8" fmla="*/ 645031 w 669651"/>
                <a:gd name="connsiteY8" fmla="*/ 631269 h 749917"/>
                <a:gd name="connsiteX9" fmla="*/ 388617 w 669651"/>
                <a:gd name="connsiteY9" fmla="*/ 747951 h 749917"/>
                <a:gd name="connsiteX10" fmla="*/ 125441 w 669651"/>
                <a:gd name="connsiteY10" fmla="*/ 681752 h 749917"/>
                <a:gd name="connsiteX11" fmla="*/ 5045 w 669651"/>
                <a:gd name="connsiteY11" fmla="*/ 451342 h 749917"/>
                <a:gd name="connsiteX12" fmla="*/ 33526 w 669651"/>
                <a:gd name="connsiteY12" fmla="*/ 189214 h 749917"/>
                <a:gd name="connsiteX13" fmla="*/ 174305 w 669651"/>
                <a:gd name="connsiteY13" fmla="*/ 34909 h 749917"/>
                <a:gd name="connsiteX14" fmla="*/ 232502 w 669651"/>
                <a:gd name="connsiteY14" fmla="*/ 205788 h 749917"/>
                <a:gd name="connsiteX15" fmla="*/ 208500 w 669651"/>
                <a:gd name="connsiteY15" fmla="*/ 307324 h 749917"/>
                <a:gd name="connsiteX16" fmla="*/ 460722 w 669651"/>
                <a:gd name="connsiteY16" fmla="*/ 307324 h 749917"/>
                <a:gd name="connsiteX17" fmla="*/ 423956 w 669651"/>
                <a:gd name="connsiteY17" fmla="*/ 182547 h 749917"/>
                <a:gd name="connsiteX18" fmla="*/ 232502 w 669651"/>
                <a:gd name="connsiteY18" fmla="*/ 205883 h 749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9651" h="749917">
                  <a:moveTo>
                    <a:pt x="174305" y="34909"/>
                  </a:moveTo>
                  <a:cubicBezTo>
                    <a:pt x="254220" y="-3858"/>
                    <a:pt x="347945" y="-8144"/>
                    <a:pt x="433670" y="11287"/>
                  </a:cubicBezTo>
                  <a:cubicBezTo>
                    <a:pt x="515681" y="29956"/>
                    <a:pt x="587690" y="86439"/>
                    <a:pt x="624838" y="161973"/>
                  </a:cubicBezTo>
                  <a:cubicBezTo>
                    <a:pt x="667223" y="243126"/>
                    <a:pt x="671510" y="336852"/>
                    <a:pt x="669129" y="426482"/>
                  </a:cubicBezTo>
                  <a:cubicBezTo>
                    <a:pt x="515586" y="426482"/>
                    <a:pt x="362043" y="426482"/>
                    <a:pt x="208500" y="426482"/>
                  </a:cubicBezTo>
                  <a:cubicBezTo>
                    <a:pt x="208690" y="469916"/>
                    <a:pt x="215834" y="517350"/>
                    <a:pt x="248028" y="549450"/>
                  </a:cubicBezTo>
                  <a:cubicBezTo>
                    <a:pt x="289272" y="590693"/>
                    <a:pt x="353089" y="596217"/>
                    <a:pt x="408049" y="587645"/>
                  </a:cubicBezTo>
                  <a:cubicBezTo>
                    <a:pt x="462341" y="579453"/>
                    <a:pt x="506537" y="543449"/>
                    <a:pt x="543589" y="505063"/>
                  </a:cubicBezTo>
                  <a:cubicBezTo>
                    <a:pt x="577308" y="547259"/>
                    <a:pt x="611216" y="589169"/>
                    <a:pt x="645031" y="631269"/>
                  </a:cubicBezTo>
                  <a:cubicBezTo>
                    <a:pt x="580260" y="703755"/>
                    <a:pt x="484153" y="740997"/>
                    <a:pt x="388617" y="747951"/>
                  </a:cubicBezTo>
                  <a:cubicBezTo>
                    <a:pt x="297273" y="756047"/>
                    <a:pt x="198880" y="740140"/>
                    <a:pt x="125441" y="681752"/>
                  </a:cubicBezTo>
                  <a:cubicBezTo>
                    <a:pt x="54481" y="626602"/>
                    <a:pt x="16381" y="538782"/>
                    <a:pt x="5045" y="451342"/>
                  </a:cubicBezTo>
                  <a:cubicBezTo>
                    <a:pt x="-5812" y="363522"/>
                    <a:pt x="-384" y="271701"/>
                    <a:pt x="33526" y="189214"/>
                  </a:cubicBezTo>
                  <a:cubicBezTo>
                    <a:pt x="60291" y="123301"/>
                    <a:pt x="110011" y="66246"/>
                    <a:pt x="174305" y="34909"/>
                  </a:cubicBezTo>
                  <a:moveTo>
                    <a:pt x="232502" y="205788"/>
                  </a:moveTo>
                  <a:cubicBezTo>
                    <a:pt x="213072" y="235887"/>
                    <a:pt x="209262" y="272367"/>
                    <a:pt x="208500" y="307324"/>
                  </a:cubicBezTo>
                  <a:cubicBezTo>
                    <a:pt x="292510" y="307324"/>
                    <a:pt x="376616" y="307324"/>
                    <a:pt x="460722" y="307324"/>
                  </a:cubicBezTo>
                  <a:cubicBezTo>
                    <a:pt x="459770" y="263890"/>
                    <a:pt x="455292" y="215884"/>
                    <a:pt x="423956" y="182547"/>
                  </a:cubicBezTo>
                  <a:cubicBezTo>
                    <a:pt x="372234" y="128730"/>
                    <a:pt x="270317" y="141780"/>
                    <a:pt x="232502" y="205883"/>
                  </a:cubicBezTo>
                  <a:close/>
                </a:path>
              </a:pathLst>
            </a:custGeom>
            <a:solidFill>
              <a:srgbClr val="000000"/>
            </a:solidFill>
            <a:ln w="9525" cap="flat">
              <a:noFill/>
              <a:prstDash val="solid"/>
              <a:miter/>
            </a:ln>
          </p:spPr>
          <p:txBody>
            <a:bodyPr rtlCol="0" anchor="ctr"/>
            <a:lstStyle/>
            <a:p>
              <a:endParaRPr lang="en-US" sz="900"/>
            </a:p>
          </p:txBody>
        </p:sp>
      </p:grpSp>
      <p:pic>
        <p:nvPicPr>
          <p:cNvPr id="4" name="Picture 3">
            <a:extLst>
              <a:ext uri="{FF2B5EF4-FFF2-40B4-BE49-F238E27FC236}">
                <a16:creationId xmlns:a16="http://schemas.microsoft.com/office/drawing/2014/main" id="{2DE16743-7FE4-7DB0-AE65-92E8AEA8C0B8}"/>
              </a:ext>
            </a:extLst>
          </p:cNvPr>
          <p:cNvPicPr>
            <a:picLocks noChangeAspect="1"/>
          </p:cNvPicPr>
          <p:nvPr userDrawn="1"/>
        </p:nvPicPr>
        <p:blipFill>
          <a:blip r:embed="rId2"/>
          <a:stretch>
            <a:fillRect/>
          </a:stretch>
        </p:blipFill>
        <p:spPr>
          <a:xfrm>
            <a:off x="11081689" y="266700"/>
            <a:ext cx="819043" cy="304800"/>
          </a:xfrm>
          <a:prstGeom prst="rect">
            <a:avLst/>
          </a:prstGeom>
        </p:spPr>
      </p:pic>
      <p:sp>
        <p:nvSpPr>
          <p:cNvPr id="24" name="TextBox 23">
            <a:extLst>
              <a:ext uri="{FF2B5EF4-FFF2-40B4-BE49-F238E27FC236}">
                <a16:creationId xmlns:a16="http://schemas.microsoft.com/office/drawing/2014/main" id="{E731D5B8-4EA5-5E55-4109-62B4448E3095}"/>
              </a:ext>
            </a:extLst>
          </p:cNvPr>
          <p:cNvSpPr txBox="1"/>
          <p:nvPr userDrawn="1"/>
        </p:nvSpPr>
        <p:spPr>
          <a:xfrm>
            <a:off x="270381" y="5966327"/>
            <a:ext cx="2761097" cy="646331"/>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r>
              <a:rPr lang="en-US" sz="1400" kern="0"/>
              <a:t>October 21–24, 2024</a:t>
            </a:r>
          </a:p>
          <a:p>
            <a:r>
              <a:rPr lang="en-US" sz="1400" kern="0"/>
              <a:t>Mandalay Bay Convention Center</a:t>
            </a:r>
            <a:br>
              <a:rPr lang="en-US" sz="1400" kern="0"/>
            </a:br>
            <a:r>
              <a:rPr lang="en-US" sz="1400" kern="0"/>
              <a:t>Las Vegas, Nevada</a:t>
            </a:r>
          </a:p>
        </p:txBody>
      </p:sp>
      <p:pic>
        <p:nvPicPr>
          <p:cNvPr id="2" name="Picture 1">
            <a:extLst>
              <a:ext uri="{FF2B5EF4-FFF2-40B4-BE49-F238E27FC236}">
                <a16:creationId xmlns:a16="http://schemas.microsoft.com/office/drawing/2014/main" id="{C62D5298-FF2B-CE25-1AC6-2FB95E4AFA8F}"/>
              </a:ext>
            </a:extLst>
          </p:cNvPr>
          <p:cNvPicPr>
            <a:picLocks noChangeAspect="1"/>
          </p:cNvPicPr>
          <p:nvPr userDrawn="1"/>
        </p:nvPicPr>
        <p:blipFill>
          <a:blip r:embed="rId3"/>
          <a:srcRect/>
          <a:stretch/>
        </p:blipFill>
        <p:spPr>
          <a:xfrm>
            <a:off x="6421573" y="1093032"/>
            <a:ext cx="1371421" cy="1371600"/>
          </a:xfrm>
          <a:prstGeom prst="rect">
            <a:avLst/>
          </a:prstGeom>
        </p:spPr>
      </p:pic>
      <p:pic>
        <p:nvPicPr>
          <p:cNvPr id="3" name="Picture 2">
            <a:extLst>
              <a:ext uri="{FF2B5EF4-FFF2-40B4-BE49-F238E27FC236}">
                <a16:creationId xmlns:a16="http://schemas.microsoft.com/office/drawing/2014/main" id="{8FC73F7B-8BBC-DBE2-335A-8A1EF2B00A8D}"/>
              </a:ext>
            </a:extLst>
          </p:cNvPr>
          <p:cNvPicPr>
            <a:picLocks noChangeAspect="1"/>
          </p:cNvPicPr>
          <p:nvPr userDrawn="1"/>
        </p:nvPicPr>
        <p:blipFill>
          <a:blip r:embed="rId4"/>
          <a:srcRect/>
          <a:stretch/>
        </p:blipFill>
        <p:spPr>
          <a:xfrm>
            <a:off x="6421573" y="5207832"/>
            <a:ext cx="1371421" cy="1371600"/>
          </a:xfrm>
          <a:prstGeom prst="rect">
            <a:avLst/>
          </a:prstGeom>
        </p:spPr>
      </p:pic>
      <p:pic>
        <p:nvPicPr>
          <p:cNvPr id="5" name="Picture 4">
            <a:extLst>
              <a:ext uri="{FF2B5EF4-FFF2-40B4-BE49-F238E27FC236}">
                <a16:creationId xmlns:a16="http://schemas.microsoft.com/office/drawing/2014/main" id="{9E828881-3C73-4CC0-304A-5AC27805F5F0}"/>
              </a:ext>
            </a:extLst>
          </p:cNvPr>
          <p:cNvPicPr>
            <a:picLocks noChangeAspect="1"/>
          </p:cNvPicPr>
          <p:nvPr userDrawn="1"/>
        </p:nvPicPr>
        <p:blipFill>
          <a:blip r:embed="rId5"/>
          <a:srcRect/>
          <a:stretch/>
        </p:blipFill>
        <p:spPr>
          <a:xfrm flipH="1">
            <a:off x="9164416" y="3836232"/>
            <a:ext cx="1371421" cy="1371600"/>
          </a:xfrm>
          <a:prstGeom prst="rect">
            <a:avLst/>
          </a:prstGeom>
        </p:spPr>
      </p:pic>
      <p:pic>
        <p:nvPicPr>
          <p:cNvPr id="6" name="Picture 5">
            <a:extLst>
              <a:ext uri="{FF2B5EF4-FFF2-40B4-BE49-F238E27FC236}">
                <a16:creationId xmlns:a16="http://schemas.microsoft.com/office/drawing/2014/main" id="{BD04376E-49EF-52CA-67FC-C796BB231404}"/>
              </a:ext>
            </a:extLst>
          </p:cNvPr>
          <p:cNvPicPr>
            <a:picLocks noChangeAspect="1"/>
          </p:cNvPicPr>
          <p:nvPr userDrawn="1"/>
        </p:nvPicPr>
        <p:blipFill>
          <a:blip r:embed="rId6"/>
          <a:srcRect/>
          <a:stretch/>
        </p:blipFill>
        <p:spPr>
          <a:xfrm>
            <a:off x="10535837" y="5207832"/>
            <a:ext cx="1371421" cy="1371600"/>
          </a:xfrm>
          <a:prstGeom prst="rect">
            <a:avLst/>
          </a:prstGeom>
        </p:spPr>
      </p:pic>
      <p:pic>
        <p:nvPicPr>
          <p:cNvPr id="7" name="Picture 6">
            <a:extLst>
              <a:ext uri="{FF2B5EF4-FFF2-40B4-BE49-F238E27FC236}">
                <a16:creationId xmlns:a16="http://schemas.microsoft.com/office/drawing/2014/main" id="{9CFF03C3-AD18-C342-2ECF-EC31EFFBEB32}"/>
              </a:ext>
            </a:extLst>
          </p:cNvPr>
          <p:cNvPicPr>
            <a:picLocks noChangeAspect="1"/>
          </p:cNvPicPr>
          <p:nvPr userDrawn="1"/>
        </p:nvPicPr>
        <p:blipFill>
          <a:blip r:embed="rId7"/>
          <a:srcRect/>
          <a:stretch/>
        </p:blipFill>
        <p:spPr>
          <a:xfrm>
            <a:off x="10535837" y="2464632"/>
            <a:ext cx="1371421" cy="1371600"/>
          </a:xfrm>
          <a:prstGeom prst="rect">
            <a:avLst/>
          </a:prstGeom>
        </p:spPr>
      </p:pic>
      <p:pic>
        <p:nvPicPr>
          <p:cNvPr id="9" name="Picture 8">
            <a:extLst>
              <a:ext uri="{FF2B5EF4-FFF2-40B4-BE49-F238E27FC236}">
                <a16:creationId xmlns:a16="http://schemas.microsoft.com/office/drawing/2014/main" id="{1BE3BDA4-D0D0-4EE1-04D3-00365696F3CF}"/>
              </a:ext>
            </a:extLst>
          </p:cNvPr>
          <p:cNvPicPr>
            <a:picLocks noChangeAspect="1"/>
          </p:cNvPicPr>
          <p:nvPr userDrawn="1"/>
        </p:nvPicPr>
        <p:blipFill>
          <a:blip r:embed="rId8"/>
          <a:srcRect/>
          <a:stretch/>
        </p:blipFill>
        <p:spPr>
          <a:xfrm>
            <a:off x="7792995" y="3836232"/>
            <a:ext cx="1371421" cy="1371600"/>
          </a:xfrm>
          <a:prstGeom prst="rect">
            <a:avLst/>
          </a:prstGeom>
        </p:spPr>
      </p:pic>
      <p:pic>
        <p:nvPicPr>
          <p:cNvPr id="11" name="Picture 10">
            <a:extLst>
              <a:ext uri="{FF2B5EF4-FFF2-40B4-BE49-F238E27FC236}">
                <a16:creationId xmlns:a16="http://schemas.microsoft.com/office/drawing/2014/main" id="{0D830655-5F6B-56C7-3482-75CB9197F216}"/>
              </a:ext>
            </a:extLst>
          </p:cNvPr>
          <p:cNvPicPr>
            <a:picLocks noChangeAspect="1"/>
          </p:cNvPicPr>
          <p:nvPr userDrawn="1"/>
        </p:nvPicPr>
        <p:blipFill>
          <a:blip r:embed="rId9"/>
          <a:srcRect/>
          <a:stretch/>
        </p:blipFill>
        <p:spPr>
          <a:xfrm>
            <a:off x="7792995" y="2464632"/>
            <a:ext cx="1371421" cy="1371600"/>
          </a:xfrm>
          <a:prstGeom prst="rect">
            <a:avLst/>
          </a:prstGeom>
        </p:spPr>
      </p:pic>
      <p:pic>
        <p:nvPicPr>
          <p:cNvPr id="12" name="Picture 11">
            <a:extLst>
              <a:ext uri="{FF2B5EF4-FFF2-40B4-BE49-F238E27FC236}">
                <a16:creationId xmlns:a16="http://schemas.microsoft.com/office/drawing/2014/main" id="{4AE5727B-73FC-8D91-C360-E1BF23E8AD09}"/>
              </a:ext>
            </a:extLst>
          </p:cNvPr>
          <p:cNvPicPr>
            <a:picLocks noChangeAspect="1"/>
          </p:cNvPicPr>
          <p:nvPr userDrawn="1"/>
        </p:nvPicPr>
        <p:blipFill>
          <a:blip r:embed="rId10"/>
          <a:srcRect/>
          <a:stretch/>
        </p:blipFill>
        <p:spPr>
          <a:xfrm>
            <a:off x="9164416" y="1093032"/>
            <a:ext cx="1371421" cy="1371600"/>
          </a:xfrm>
          <a:prstGeom prst="rect">
            <a:avLst/>
          </a:prstGeom>
        </p:spPr>
      </p:pic>
    </p:spTree>
    <p:extLst>
      <p:ext uri="{BB962C8B-B14F-4D97-AF65-F5344CB8AC3E}">
        <p14:creationId xmlns:p14="http://schemas.microsoft.com/office/powerpoint/2010/main" val="3414469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bg2"/>
        </a:solidFill>
        <a:effectLst/>
      </p:bgPr>
    </p:bg>
    <p:spTree>
      <p:nvGrpSpPr>
        <p:cNvPr id="1" name=""/>
        <p:cNvGrpSpPr/>
        <p:nvPr/>
      </p:nvGrpSpPr>
      <p:grpSpPr>
        <a:xfrm>
          <a:off x="0" y="0"/>
          <a:ext cx="0" cy="0"/>
          <a:chOff x="0" y="0"/>
          <a:chExt cx="0" cy="0"/>
        </a:xfrm>
      </p:grpSpPr>
      <p:sp>
        <p:nvSpPr>
          <p:cNvPr id="8" name="Text Placeholder 5">
            <a:extLst>
              <a:ext uri="{FF2B5EF4-FFF2-40B4-BE49-F238E27FC236}">
                <a16:creationId xmlns:a16="http://schemas.microsoft.com/office/drawing/2014/main" id="{03F79CF1-BB23-64AA-9C92-5A1EAE747F93}"/>
              </a:ext>
            </a:extLst>
          </p:cNvPr>
          <p:cNvSpPr>
            <a:spLocks noGrp="1"/>
          </p:cNvSpPr>
          <p:nvPr>
            <p:ph type="body" sz="quarter" idx="13" hasCustomPrompt="1"/>
          </p:nvPr>
        </p:nvSpPr>
        <p:spPr>
          <a:xfrm>
            <a:off x="262697" y="3429000"/>
            <a:ext cx="5050131" cy="1451113"/>
          </a:xfrm>
        </p:spPr>
        <p:txBody>
          <a:bodyPr/>
          <a:lstStyle>
            <a:lvl1pPr>
              <a:defRPr/>
            </a:lvl1pPr>
          </a:lstStyle>
          <a:p>
            <a:r>
              <a:rPr lang="en-US"/>
              <a:t>Session code (ID number)</a:t>
            </a:r>
            <a:br>
              <a:rPr lang="en-US"/>
            </a:br>
            <a:r>
              <a:rPr lang="en-US"/>
              <a:t>Session Title</a:t>
            </a:r>
            <a:br>
              <a:rPr lang="en-US"/>
            </a:br>
            <a:r>
              <a:rPr lang="en-US" err="1"/>
              <a:t>Firstname</a:t>
            </a:r>
            <a:r>
              <a:rPr lang="en-US"/>
              <a:t> </a:t>
            </a:r>
            <a:r>
              <a:rPr lang="en-US" err="1"/>
              <a:t>Lastname</a:t>
            </a:r>
            <a:br>
              <a:rPr lang="en-US"/>
            </a:br>
            <a:r>
              <a:rPr lang="en-US"/>
              <a:t>Company, Job Title</a:t>
            </a:r>
          </a:p>
        </p:txBody>
      </p:sp>
      <p:sp>
        <p:nvSpPr>
          <p:cNvPr id="10" name="Title 1">
            <a:extLst>
              <a:ext uri="{FF2B5EF4-FFF2-40B4-BE49-F238E27FC236}">
                <a16:creationId xmlns:a16="http://schemas.microsoft.com/office/drawing/2014/main" id="{C20F0B5B-6B52-3139-61A7-7B7287D7127D}"/>
              </a:ext>
            </a:extLst>
          </p:cNvPr>
          <p:cNvSpPr>
            <a:spLocks noGrp="1"/>
          </p:cNvSpPr>
          <p:nvPr>
            <p:ph type="title"/>
          </p:nvPr>
        </p:nvSpPr>
        <p:spPr>
          <a:xfrm>
            <a:off x="262950" y="1093032"/>
            <a:ext cx="5049878" cy="2070856"/>
          </a:xfrm>
        </p:spPr>
        <p:txBody>
          <a:bodyPr/>
          <a:lstStyle>
            <a:lvl1pPr>
              <a:lnSpc>
                <a:spcPct val="100000"/>
              </a:lnSpc>
              <a:defRPr sz="3199">
                <a:solidFill>
                  <a:schemeClr val="tx2"/>
                </a:solidFill>
              </a:defRPr>
            </a:lvl1pPr>
          </a:lstStyle>
          <a:p>
            <a:r>
              <a:rPr lang="en-US"/>
              <a:t>Click to edit Master title style</a:t>
            </a:r>
          </a:p>
        </p:txBody>
      </p:sp>
      <p:grpSp>
        <p:nvGrpSpPr>
          <p:cNvPr id="26" name="Graphic 5">
            <a:extLst>
              <a:ext uri="{FF2B5EF4-FFF2-40B4-BE49-F238E27FC236}">
                <a16:creationId xmlns:a16="http://schemas.microsoft.com/office/drawing/2014/main" id="{F1A637DE-FA28-1BBA-ED19-561BF47FC9AA}"/>
              </a:ext>
            </a:extLst>
          </p:cNvPr>
          <p:cNvGrpSpPr/>
          <p:nvPr userDrawn="1"/>
        </p:nvGrpSpPr>
        <p:grpSpPr>
          <a:xfrm>
            <a:off x="299134" y="288036"/>
            <a:ext cx="1878950" cy="218297"/>
            <a:chOff x="6597650" y="8572457"/>
            <a:chExt cx="11188016" cy="1299659"/>
          </a:xfrm>
          <a:solidFill>
            <a:srgbClr val="000000"/>
          </a:solidFill>
        </p:grpSpPr>
        <p:sp>
          <p:nvSpPr>
            <p:cNvPr id="27" name="Freeform: Shape 26">
              <a:extLst>
                <a:ext uri="{FF2B5EF4-FFF2-40B4-BE49-F238E27FC236}">
                  <a16:creationId xmlns:a16="http://schemas.microsoft.com/office/drawing/2014/main" id="{F5985145-6140-8167-8472-4F70B1B08F56}"/>
                </a:ext>
              </a:extLst>
            </p:cNvPr>
            <p:cNvSpPr/>
            <p:nvPr/>
          </p:nvSpPr>
          <p:spPr>
            <a:xfrm>
              <a:off x="11603037" y="8572457"/>
              <a:ext cx="633888" cy="1010097"/>
            </a:xfrm>
            <a:custGeom>
              <a:avLst/>
              <a:gdLst>
                <a:gd name="connsiteX0" fmla="*/ 95 w 633888"/>
                <a:gd name="connsiteY0" fmla="*/ 42 h 1010097"/>
                <a:gd name="connsiteX1" fmla="*/ 202502 w 633888"/>
                <a:gd name="connsiteY1" fmla="*/ 42 h 1010097"/>
                <a:gd name="connsiteX2" fmla="*/ 204216 w 633888"/>
                <a:gd name="connsiteY2" fmla="*/ 419904 h 1010097"/>
                <a:gd name="connsiteX3" fmla="*/ 276320 w 633888"/>
                <a:gd name="connsiteY3" fmla="*/ 318463 h 1010097"/>
                <a:gd name="connsiteX4" fmla="*/ 591884 w 633888"/>
                <a:gd name="connsiteY4" fmla="*/ 373899 h 1010097"/>
                <a:gd name="connsiteX5" fmla="*/ 633793 w 633888"/>
                <a:gd name="connsiteY5" fmla="*/ 562303 h 1010097"/>
                <a:gd name="connsiteX6" fmla="*/ 633889 w 633888"/>
                <a:gd name="connsiteY6" fmla="*/ 1010073 h 1010097"/>
                <a:gd name="connsiteX7" fmla="*/ 431482 w 633888"/>
                <a:gd name="connsiteY7" fmla="*/ 1010073 h 1010097"/>
                <a:gd name="connsiteX8" fmla="*/ 431102 w 633888"/>
                <a:gd name="connsiteY8" fmla="*/ 561827 h 1010097"/>
                <a:gd name="connsiteX9" fmla="*/ 376333 w 633888"/>
                <a:gd name="connsiteY9" fmla="*/ 448765 h 1010097"/>
                <a:gd name="connsiteX10" fmla="*/ 203454 w 633888"/>
                <a:gd name="connsiteY10" fmla="*/ 533538 h 1010097"/>
                <a:gd name="connsiteX11" fmla="*/ 202502 w 633888"/>
                <a:gd name="connsiteY11" fmla="*/ 1010073 h 1010097"/>
                <a:gd name="connsiteX12" fmla="*/ 0 w 633888"/>
                <a:gd name="connsiteY12" fmla="*/ 1009978 h 1010097"/>
                <a:gd name="connsiteX13" fmla="*/ 95 w 633888"/>
                <a:gd name="connsiteY13" fmla="*/ 42 h 101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3888" h="1010097">
                  <a:moveTo>
                    <a:pt x="95" y="42"/>
                  </a:moveTo>
                  <a:cubicBezTo>
                    <a:pt x="67533" y="-53"/>
                    <a:pt x="134969" y="42"/>
                    <a:pt x="202502" y="42"/>
                  </a:cubicBezTo>
                  <a:cubicBezTo>
                    <a:pt x="203549" y="139965"/>
                    <a:pt x="200311" y="280077"/>
                    <a:pt x="204216" y="419904"/>
                  </a:cubicBezTo>
                  <a:cubicBezTo>
                    <a:pt x="224504" y="383709"/>
                    <a:pt x="241364" y="343419"/>
                    <a:pt x="276320" y="318463"/>
                  </a:cubicBezTo>
                  <a:cubicBezTo>
                    <a:pt x="371284" y="247692"/>
                    <a:pt x="531781" y="265695"/>
                    <a:pt x="591884" y="373899"/>
                  </a:cubicBezTo>
                  <a:cubicBezTo>
                    <a:pt x="624840" y="430668"/>
                    <a:pt x="633413" y="497724"/>
                    <a:pt x="633793" y="562303"/>
                  </a:cubicBezTo>
                  <a:cubicBezTo>
                    <a:pt x="633984" y="711560"/>
                    <a:pt x="633793" y="860817"/>
                    <a:pt x="633889" y="1010073"/>
                  </a:cubicBezTo>
                  <a:lnTo>
                    <a:pt x="431482" y="1010073"/>
                  </a:lnTo>
                  <a:cubicBezTo>
                    <a:pt x="431197" y="860626"/>
                    <a:pt x="432054" y="711179"/>
                    <a:pt x="431102" y="561827"/>
                  </a:cubicBezTo>
                  <a:cubicBezTo>
                    <a:pt x="429959" y="519441"/>
                    <a:pt x="420624" y="466386"/>
                    <a:pt x="376333" y="448765"/>
                  </a:cubicBezTo>
                  <a:cubicBezTo>
                    <a:pt x="310801" y="425334"/>
                    <a:pt x="211836" y="455052"/>
                    <a:pt x="203454" y="533538"/>
                  </a:cubicBezTo>
                  <a:cubicBezTo>
                    <a:pt x="201168" y="692319"/>
                    <a:pt x="203168" y="851196"/>
                    <a:pt x="202502" y="1010073"/>
                  </a:cubicBezTo>
                  <a:cubicBezTo>
                    <a:pt x="134969" y="1010073"/>
                    <a:pt x="67533" y="1010169"/>
                    <a:pt x="0" y="1009978"/>
                  </a:cubicBezTo>
                  <a:cubicBezTo>
                    <a:pt x="191" y="673365"/>
                    <a:pt x="95" y="336656"/>
                    <a:pt x="95" y="42"/>
                  </a:cubicBezTo>
                  <a:close/>
                </a:path>
              </a:pathLst>
            </a:custGeom>
            <a:solidFill>
              <a:srgbClr val="000000"/>
            </a:solidFill>
            <a:ln w="9525" cap="flat">
              <a:noFill/>
              <a:prstDash val="solid"/>
              <a:miter/>
            </a:ln>
          </p:spPr>
          <p:txBody>
            <a:bodyPr rtlCol="0" anchor="ctr"/>
            <a:lstStyle/>
            <a:p>
              <a:endParaRPr lang="en-US" sz="900"/>
            </a:p>
          </p:txBody>
        </p:sp>
        <p:sp>
          <p:nvSpPr>
            <p:cNvPr id="28" name="Freeform: Shape 27">
              <a:extLst>
                <a:ext uri="{FF2B5EF4-FFF2-40B4-BE49-F238E27FC236}">
                  <a16:creationId xmlns:a16="http://schemas.microsoft.com/office/drawing/2014/main" id="{7D933579-F84C-4074-BCE8-A5F3C6A8C115}"/>
                </a:ext>
              </a:extLst>
            </p:cNvPr>
            <p:cNvSpPr/>
            <p:nvPr/>
          </p:nvSpPr>
          <p:spPr>
            <a:xfrm>
              <a:off x="14012576" y="8572457"/>
              <a:ext cx="634202" cy="1010164"/>
            </a:xfrm>
            <a:custGeom>
              <a:avLst/>
              <a:gdLst>
                <a:gd name="connsiteX0" fmla="*/ 381 w 634202"/>
                <a:gd name="connsiteY0" fmla="*/ 42 h 1010164"/>
                <a:gd name="connsiteX1" fmla="*/ 202788 w 634202"/>
                <a:gd name="connsiteY1" fmla="*/ 42 h 1010164"/>
                <a:gd name="connsiteX2" fmla="*/ 204502 w 634202"/>
                <a:gd name="connsiteY2" fmla="*/ 419904 h 1010164"/>
                <a:gd name="connsiteX3" fmla="*/ 271558 w 634202"/>
                <a:gd name="connsiteY3" fmla="*/ 322559 h 1010164"/>
                <a:gd name="connsiteX4" fmla="*/ 596265 w 634202"/>
                <a:gd name="connsiteY4" fmla="*/ 381233 h 1010164"/>
                <a:gd name="connsiteX5" fmla="*/ 634175 w 634202"/>
                <a:gd name="connsiteY5" fmla="*/ 562303 h 1010164"/>
                <a:gd name="connsiteX6" fmla="*/ 634175 w 634202"/>
                <a:gd name="connsiteY6" fmla="*/ 1010073 h 1010164"/>
                <a:gd name="connsiteX7" fmla="*/ 431768 w 634202"/>
                <a:gd name="connsiteY7" fmla="*/ 1010073 h 1010164"/>
                <a:gd name="connsiteX8" fmla="*/ 431388 w 634202"/>
                <a:gd name="connsiteY8" fmla="*/ 562303 h 1010164"/>
                <a:gd name="connsiteX9" fmla="*/ 376333 w 634202"/>
                <a:gd name="connsiteY9" fmla="*/ 448575 h 1010164"/>
                <a:gd name="connsiteX10" fmla="*/ 203835 w 634202"/>
                <a:gd name="connsiteY10" fmla="*/ 533347 h 1010164"/>
                <a:gd name="connsiteX11" fmla="*/ 202788 w 634202"/>
                <a:gd name="connsiteY11" fmla="*/ 1010073 h 1010164"/>
                <a:gd name="connsiteX12" fmla="*/ 0 w 634202"/>
                <a:gd name="connsiteY12" fmla="*/ 1009597 h 1010164"/>
                <a:gd name="connsiteX13" fmla="*/ 381 w 634202"/>
                <a:gd name="connsiteY13" fmla="*/ 42 h 1010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4202" h="1010164">
                  <a:moveTo>
                    <a:pt x="381" y="42"/>
                  </a:moveTo>
                  <a:cubicBezTo>
                    <a:pt x="67819" y="-53"/>
                    <a:pt x="135255" y="42"/>
                    <a:pt x="202788" y="42"/>
                  </a:cubicBezTo>
                  <a:cubicBezTo>
                    <a:pt x="203835" y="139965"/>
                    <a:pt x="200597" y="280077"/>
                    <a:pt x="204502" y="419904"/>
                  </a:cubicBezTo>
                  <a:cubicBezTo>
                    <a:pt x="223933" y="385710"/>
                    <a:pt x="239363" y="347419"/>
                    <a:pt x="271558" y="322559"/>
                  </a:cubicBezTo>
                  <a:cubicBezTo>
                    <a:pt x="367856" y="244644"/>
                    <a:pt x="538544" y="265314"/>
                    <a:pt x="596265" y="381233"/>
                  </a:cubicBezTo>
                  <a:cubicBezTo>
                    <a:pt x="625888" y="436573"/>
                    <a:pt x="633794" y="500391"/>
                    <a:pt x="634175" y="562303"/>
                  </a:cubicBezTo>
                  <a:cubicBezTo>
                    <a:pt x="634270" y="711560"/>
                    <a:pt x="634079" y="860817"/>
                    <a:pt x="634175" y="1010073"/>
                  </a:cubicBezTo>
                  <a:lnTo>
                    <a:pt x="431768" y="1010073"/>
                  </a:lnTo>
                  <a:cubicBezTo>
                    <a:pt x="431483" y="860817"/>
                    <a:pt x="432245" y="711560"/>
                    <a:pt x="431388" y="562303"/>
                  </a:cubicBezTo>
                  <a:cubicBezTo>
                    <a:pt x="430340" y="519822"/>
                    <a:pt x="421005" y="466101"/>
                    <a:pt x="376333" y="448575"/>
                  </a:cubicBezTo>
                  <a:cubicBezTo>
                    <a:pt x="310801" y="425524"/>
                    <a:pt x="212408" y="455147"/>
                    <a:pt x="203835" y="533347"/>
                  </a:cubicBezTo>
                  <a:cubicBezTo>
                    <a:pt x="201359" y="692129"/>
                    <a:pt x="203454" y="851101"/>
                    <a:pt x="202788" y="1010073"/>
                  </a:cubicBezTo>
                  <a:cubicBezTo>
                    <a:pt x="135160" y="1009883"/>
                    <a:pt x="67533" y="1010645"/>
                    <a:pt x="0" y="1009597"/>
                  </a:cubicBezTo>
                  <a:cubicBezTo>
                    <a:pt x="858" y="673079"/>
                    <a:pt x="95" y="336561"/>
                    <a:pt x="381" y="42"/>
                  </a:cubicBezTo>
                  <a:close/>
                </a:path>
              </a:pathLst>
            </a:custGeom>
            <a:solidFill>
              <a:srgbClr val="000000"/>
            </a:solidFill>
            <a:ln w="9525" cap="flat">
              <a:noFill/>
              <a:prstDash val="solid"/>
              <a:miter/>
            </a:ln>
          </p:spPr>
          <p:txBody>
            <a:bodyPr rtlCol="0" anchor="ctr"/>
            <a:lstStyle/>
            <a:p>
              <a:endParaRPr lang="en-US" sz="900"/>
            </a:p>
          </p:txBody>
        </p:sp>
        <p:sp>
          <p:nvSpPr>
            <p:cNvPr id="29" name="Freeform: Shape 28">
              <a:extLst>
                <a:ext uri="{FF2B5EF4-FFF2-40B4-BE49-F238E27FC236}">
                  <a16:creationId xmlns:a16="http://schemas.microsoft.com/office/drawing/2014/main" id="{EB61EFE4-D8E6-B1E2-379D-12B26CE8F152}"/>
                </a:ext>
              </a:extLst>
            </p:cNvPr>
            <p:cNvSpPr/>
            <p:nvPr/>
          </p:nvSpPr>
          <p:spPr>
            <a:xfrm>
              <a:off x="6597650" y="8630030"/>
              <a:ext cx="382566" cy="952500"/>
            </a:xfrm>
            <a:custGeom>
              <a:avLst/>
              <a:gdLst>
                <a:gd name="connsiteX0" fmla="*/ 0 w 382566"/>
                <a:gd name="connsiteY0" fmla="*/ 0 h 952500"/>
                <a:gd name="connsiteX1" fmla="*/ 382524 w 382566"/>
                <a:gd name="connsiteY1" fmla="*/ 0 h 952500"/>
                <a:gd name="connsiteX2" fmla="*/ 382524 w 382566"/>
                <a:gd name="connsiteY2" fmla="*/ 95631 h 952500"/>
                <a:gd name="connsiteX3" fmla="*/ 248793 w 382566"/>
                <a:gd name="connsiteY3" fmla="*/ 95631 h 952500"/>
                <a:gd name="connsiteX4" fmla="*/ 248793 w 382566"/>
                <a:gd name="connsiteY4" fmla="*/ 856869 h 952500"/>
                <a:gd name="connsiteX5" fmla="*/ 382524 w 382566"/>
                <a:gd name="connsiteY5" fmla="*/ 856869 h 952500"/>
                <a:gd name="connsiteX6" fmla="*/ 382524 w 382566"/>
                <a:gd name="connsiteY6" fmla="*/ 952500 h 952500"/>
                <a:gd name="connsiteX7" fmla="*/ 0 w 382566"/>
                <a:gd name="connsiteY7" fmla="*/ 952500 h 952500"/>
                <a:gd name="connsiteX8" fmla="*/ 0 w 382566"/>
                <a:gd name="connsiteY8" fmla="*/ 856869 h 952500"/>
                <a:gd name="connsiteX9" fmla="*/ 133731 w 382566"/>
                <a:gd name="connsiteY9" fmla="*/ 856869 h 952500"/>
                <a:gd name="connsiteX10" fmla="*/ 133731 w 382566"/>
                <a:gd name="connsiteY10" fmla="*/ 95631 h 952500"/>
                <a:gd name="connsiteX11" fmla="*/ 0 w 382566"/>
                <a:gd name="connsiteY11" fmla="*/ 95631 h 952500"/>
                <a:gd name="connsiteX12" fmla="*/ 0 w 382566"/>
                <a:gd name="connsiteY12" fmla="*/ 0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2566" h="952500">
                  <a:moveTo>
                    <a:pt x="0" y="0"/>
                  </a:moveTo>
                  <a:lnTo>
                    <a:pt x="382524" y="0"/>
                  </a:lnTo>
                  <a:lnTo>
                    <a:pt x="382524" y="95631"/>
                  </a:lnTo>
                  <a:lnTo>
                    <a:pt x="248793" y="95631"/>
                  </a:lnTo>
                  <a:lnTo>
                    <a:pt x="248793" y="856869"/>
                  </a:lnTo>
                  <a:cubicBezTo>
                    <a:pt x="293370" y="856869"/>
                    <a:pt x="337947" y="856869"/>
                    <a:pt x="382524" y="856869"/>
                  </a:cubicBezTo>
                  <a:cubicBezTo>
                    <a:pt x="382524" y="888682"/>
                    <a:pt x="382619" y="920591"/>
                    <a:pt x="382524" y="952500"/>
                  </a:cubicBezTo>
                  <a:lnTo>
                    <a:pt x="0" y="952500"/>
                  </a:lnTo>
                  <a:cubicBezTo>
                    <a:pt x="0" y="920591"/>
                    <a:pt x="0" y="888682"/>
                    <a:pt x="0" y="856869"/>
                  </a:cubicBezTo>
                  <a:cubicBezTo>
                    <a:pt x="44577" y="856869"/>
                    <a:pt x="89154" y="856869"/>
                    <a:pt x="133731" y="856869"/>
                  </a:cubicBezTo>
                  <a:lnTo>
                    <a:pt x="133731" y="95631"/>
                  </a:lnTo>
                  <a:lnTo>
                    <a:pt x="0" y="95631"/>
                  </a:lnTo>
                  <a:cubicBezTo>
                    <a:pt x="0" y="63722"/>
                    <a:pt x="0" y="31909"/>
                    <a:pt x="0" y="0"/>
                  </a:cubicBezTo>
                  <a:close/>
                </a:path>
              </a:pathLst>
            </a:custGeom>
            <a:solidFill>
              <a:srgbClr val="000000"/>
            </a:solidFill>
            <a:ln w="9525" cap="flat">
              <a:noFill/>
              <a:prstDash val="solid"/>
              <a:miter/>
            </a:ln>
          </p:spPr>
          <p:txBody>
            <a:bodyPr rtlCol="0" anchor="ctr"/>
            <a:lstStyle/>
            <a:p>
              <a:endParaRPr lang="en-US" sz="900"/>
            </a:p>
          </p:txBody>
        </p:sp>
        <p:sp>
          <p:nvSpPr>
            <p:cNvPr id="30" name="Freeform: Shape 29">
              <a:extLst>
                <a:ext uri="{FF2B5EF4-FFF2-40B4-BE49-F238E27FC236}">
                  <a16:creationId xmlns:a16="http://schemas.microsoft.com/office/drawing/2014/main" id="{EB4E91B9-0A97-3141-A66A-E824B4E354B8}"/>
                </a:ext>
              </a:extLst>
            </p:cNvPr>
            <p:cNvSpPr/>
            <p:nvPr/>
          </p:nvSpPr>
          <p:spPr>
            <a:xfrm>
              <a:off x="7188676" y="8629948"/>
              <a:ext cx="678881" cy="952722"/>
            </a:xfrm>
            <a:custGeom>
              <a:avLst/>
              <a:gdLst>
                <a:gd name="connsiteX0" fmla="*/ 0 w 678881"/>
                <a:gd name="connsiteY0" fmla="*/ 83 h 952722"/>
                <a:gd name="connsiteX1" fmla="*/ 409956 w 678881"/>
                <a:gd name="connsiteY1" fmla="*/ 464 h 952722"/>
                <a:gd name="connsiteX2" fmla="*/ 622554 w 678881"/>
                <a:gd name="connsiteY2" fmla="*/ 130575 h 952722"/>
                <a:gd name="connsiteX3" fmla="*/ 607886 w 678881"/>
                <a:gd name="connsiteY3" fmla="*/ 378130 h 952722"/>
                <a:gd name="connsiteX4" fmla="*/ 486347 w 678881"/>
                <a:gd name="connsiteY4" fmla="*/ 452711 h 952722"/>
                <a:gd name="connsiteX5" fmla="*/ 662940 w 678881"/>
                <a:gd name="connsiteY5" fmla="*/ 585394 h 952722"/>
                <a:gd name="connsiteX6" fmla="*/ 543878 w 678881"/>
                <a:gd name="connsiteY6" fmla="*/ 925246 h 952722"/>
                <a:gd name="connsiteX7" fmla="*/ 428530 w 678881"/>
                <a:gd name="connsiteY7" fmla="*/ 952678 h 952722"/>
                <a:gd name="connsiteX8" fmla="*/ 0 w 678881"/>
                <a:gd name="connsiteY8" fmla="*/ 952583 h 952722"/>
                <a:gd name="connsiteX9" fmla="*/ 0 w 678881"/>
                <a:gd name="connsiteY9" fmla="*/ 83 h 952722"/>
                <a:gd name="connsiteX10" fmla="*/ 115062 w 678881"/>
                <a:gd name="connsiteY10" fmla="*/ 101238 h 952722"/>
                <a:gd name="connsiteX11" fmla="*/ 115062 w 678881"/>
                <a:gd name="connsiteY11" fmla="*/ 412039 h 952722"/>
                <a:gd name="connsiteX12" fmla="*/ 400050 w 678881"/>
                <a:gd name="connsiteY12" fmla="*/ 410896 h 952722"/>
                <a:gd name="connsiteX13" fmla="*/ 519398 w 678881"/>
                <a:gd name="connsiteY13" fmla="*/ 313646 h 952722"/>
                <a:gd name="connsiteX14" fmla="*/ 513969 w 678881"/>
                <a:gd name="connsiteY14" fmla="*/ 180391 h 952722"/>
                <a:gd name="connsiteX15" fmla="*/ 389858 w 678881"/>
                <a:gd name="connsiteY15" fmla="*/ 101715 h 952722"/>
                <a:gd name="connsiteX16" fmla="*/ 115062 w 678881"/>
                <a:gd name="connsiteY16" fmla="*/ 101238 h 952722"/>
                <a:gd name="connsiteX17" fmla="*/ 115062 w 678881"/>
                <a:gd name="connsiteY17" fmla="*/ 510432 h 952722"/>
                <a:gd name="connsiteX18" fmla="*/ 115062 w 678881"/>
                <a:gd name="connsiteY18" fmla="*/ 851427 h 952722"/>
                <a:gd name="connsiteX19" fmla="*/ 400526 w 678881"/>
                <a:gd name="connsiteY19" fmla="*/ 851332 h 952722"/>
                <a:gd name="connsiteX20" fmla="*/ 520637 w 678881"/>
                <a:gd name="connsiteY20" fmla="*/ 805993 h 952722"/>
                <a:gd name="connsiteX21" fmla="*/ 555498 w 678881"/>
                <a:gd name="connsiteY21" fmla="*/ 705314 h 952722"/>
                <a:gd name="connsiteX22" fmla="*/ 529304 w 678881"/>
                <a:gd name="connsiteY22" fmla="*/ 566535 h 952722"/>
                <a:gd name="connsiteX23" fmla="*/ 400241 w 678881"/>
                <a:gd name="connsiteY23" fmla="*/ 510623 h 952722"/>
                <a:gd name="connsiteX24" fmla="*/ 115062 w 678881"/>
                <a:gd name="connsiteY24" fmla="*/ 510432 h 952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8881" h="952722">
                  <a:moveTo>
                    <a:pt x="0" y="83"/>
                  </a:moveTo>
                  <a:cubicBezTo>
                    <a:pt x="136684" y="369"/>
                    <a:pt x="273272" y="-489"/>
                    <a:pt x="409956" y="464"/>
                  </a:cubicBezTo>
                  <a:cubicBezTo>
                    <a:pt x="497015" y="1893"/>
                    <a:pt x="586931" y="48279"/>
                    <a:pt x="622554" y="130575"/>
                  </a:cubicBezTo>
                  <a:cubicBezTo>
                    <a:pt x="655701" y="208490"/>
                    <a:pt x="657416" y="306693"/>
                    <a:pt x="607886" y="378130"/>
                  </a:cubicBezTo>
                  <a:cubicBezTo>
                    <a:pt x="580073" y="419850"/>
                    <a:pt x="532067" y="438328"/>
                    <a:pt x="486347" y="452711"/>
                  </a:cubicBezTo>
                  <a:cubicBezTo>
                    <a:pt x="563213" y="461950"/>
                    <a:pt x="636365" y="510909"/>
                    <a:pt x="662940" y="585394"/>
                  </a:cubicBezTo>
                  <a:cubicBezTo>
                    <a:pt x="705898" y="706743"/>
                    <a:pt x="660654" y="862191"/>
                    <a:pt x="543878" y="925246"/>
                  </a:cubicBezTo>
                  <a:cubicBezTo>
                    <a:pt x="508730" y="944391"/>
                    <a:pt x="468440" y="953440"/>
                    <a:pt x="428530" y="952678"/>
                  </a:cubicBezTo>
                  <a:cubicBezTo>
                    <a:pt x="285655" y="952488"/>
                    <a:pt x="142875" y="952583"/>
                    <a:pt x="0" y="952583"/>
                  </a:cubicBezTo>
                  <a:lnTo>
                    <a:pt x="0" y="83"/>
                  </a:lnTo>
                  <a:moveTo>
                    <a:pt x="115062" y="101238"/>
                  </a:moveTo>
                  <a:lnTo>
                    <a:pt x="115062" y="412039"/>
                  </a:lnTo>
                  <a:cubicBezTo>
                    <a:pt x="210026" y="411277"/>
                    <a:pt x="305086" y="413658"/>
                    <a:pt x="400050" y="410896"/>
                  </a:cubicBezTo>
                  <a:cubicBezTo>
                    <a:pt x="455486" y="408896"/>
                    <a:pt x="510540" y="370605"/>
                    <a:pt x="519398" y="313646"/>
                  </a:cubicBezTo>
                  <a:cubicBezTo>
                    <a:pt x="523875" y="269640"/>
                    <a:pt x="527495" y="223158"/>
                    <a:pt x="513969" y="180391"/>
                  </a:cubicBezTo>
                  <a:cubicBezTo>
                    <a:pt x="496919" y="128956"/>
                    <a:pt x="441293" y="102000"/>
                    <a:pt x="389858" y="101715"/>
                  </a:cubicBezTo>
                  <a:cubicBezTo>
                    <a:pt x="298228" y="100572"/>
                    <a:pt x="206693" y="101715"/>
                    <a:pt x="115062" y="101238"/>
                  </a:cubicBezTo>
                  <a:moveTo>
                    <a:pt x="115062" y="510432"/>
                  </a:moveTo>
                  <a:lnTo>
                    <a:pt x="115062" y="851427"/>
                  </a:lnTo>
                  <a:cubicBezTo>
                    <a:pt x="210217" y="851332"/>
                    <a:pt x="305372" y="851523"/>
                    <a:pt x="400526" y="851332"/>
                  </a:cubicBezTo>
                  <a:cubicBezTo>
                    <a:pt x="443960" y="851046"/>
                    <a:pt x="490538" y="839235"/>
                    <a:pt x="520637" y="805993"/>
                  </a:cubicBezTo>
                  <a:cubicBezTo>
                    <a:pt x="545878" y="779133"/>
                    <a:pt x="555212" y="741318"/>
                    <a:pt x="555498" y="705314"/>
                  </a:cubicBezTo>
                  <a:cubicBezTo>
                    <a:pt x="556355" y="658356"/>
                    <a:pt x="558832" y="606349"/>
                    <a:pt x="529304" y="566535"/>
                  </a:cubicBezTo>
                  <a:cubicBezTo>
                    <a:pt x="500348" y="525768"/>
                    <a:pt x="448056" y="510718"/>
                    <a:pt x="400241" y="510623"/>
                  </a:cubicBezTo>
                  <a:cubicBezTo>
                    <a:pt x="305181" y="510147"/>
                    <a:pt x="210122" y="510623"/>
                    <a:pt x="115062" y="510432"/>
                  </a:cubicBezTo>
                  <a:close/>
                </a:path>
              </a:pathLst>
            </a:custGeom>
            <a:solidFill>
              <a:srgbClr val="000000"/>
            </a:solidFill>
            <a:ln w="9525" cap="flat">
              <a:noFill/>
              <a:prstDash val="solid"/>
              <a:miter/>
            </a:ln>
          </p:spPr>
          <p:txBody>
            <a:bodyPr rtlCol="0" anchor="ctr"/>
            <a:lstStyle/>
            <a:p>
              <a:endParaRPr lang="en-US" sz="900"/>
            </a:p>
          </p:txBody>
        </p:sp>
        <p:sp>
          <p:nvSpPr>
            <p:cNvPr id="31" name="Freeform: Shape 30">
              <a:extLst>
                <a:ext uri="{FF2B5EF4-FFF2-40B4-BE49-F238E27FC236}">
                  <a16:creationId xmlns:a16="http://schemas.microsoft.com/office/drawing/2014/main" id="{DAC6552B-CC29-F330-6668-3C653EA3A00C}"/>
                </a:ext>
              </a:extLst>
            </p:cNvPr>
            <p:cNvSpPr/>
            <p:nvPr/>
          </p:nvSpPr>
          <p:spPr>
            <a:xfrm>
              <a:off x="8079644" y="8629935"/>
              <a:ext cx="854868" cy="952499"/>
            </a:xfrm>
            <a:custGeom>
              <a:avLst/>
              <a:gdLst>
                <a:gd name="connsiteX0" fmla="*/ 0 w 854868"/>
                <a:gd name="connsiteY0" fmla="*/ 95 h 952499"/>
                <a:gd name="connsiteX1" fmla="*/ 153734 w 854868"/>
                <a:gd name="connsiteY1" fmla="*/ 95 h 952499"/>
                <a:gd name="connsiteX2" fmla="*/ 430530 w 854868"/>
                <a:gd name="connsiteY2" fmla="*/ 516827 h 952499"/>
                <a:gd name="connsiteX3" fmla="*/ 706946 w 854868"/>
                <a:gd name="connsiteY3" fmla="*/ 0 h 952499"/>
                <a:gd name="connsiteX4" fmla="*/ 854869 w 854868"/>
                <a:gd name="connsiteY4" fmla="*/ 0 h 952499"/>
                <a:gd name="connsiteX5" fmla="*/ 854869 w 854868"/>
                <a:gd name="connsiteY5" fmla="*/ 952500 h 952499"/>
                <a:gd name="connsiteX6" fmla="*/ 742569 w 854868"/>
                <a:gd name="connsiteY6" fmla="*/ 952500 h 952499"/>
                <a:gd name="connsiteX7" fmla="*/ 741521 w 854868"/>
                <a:gd name="connsiteY7" fmla="*/ 146780 h 952499"/>
                <a:gd name="connsiteX8" fmla="*/ 707422 w 854868"/>
                <a:gd name="connsiteY8" fmla="*/ 207074 h 952499"/>
                <a:gd name="connsiteX9" fmla="*/ 427577 w 854868"/>
                <a:gd name="connsiteY9" fmla="*/ 725138 h 952499"/>
                <a:gd name="connsiteX10" fmla="*/ 193262 w 854868"/>
                <a:gd name="connsiteY10" fmla="*/ 297752 h 952499"/>
                <a:gd name="connsiteX11" fmla="*/ 113348 w 854868"/>
                <a:gd name="connsiteY11" fmla="*/ 146209 h 952499"/>
                <a:gd name="connsiteX12" fmla="*/ 112300 w 854868"/>
                <a:gd name="connsiteY12" fmla="*/ 952500 h 952499"/>
                <a:gd name="connsiteX13" fmla="*/ 0 w 854868"/>
                <a:gd name="connsiteY13" fmla="*/ 952500 h 952499"/>
                <a:gd name="connsiteX14" fmla="*/ 0 w 854868"/>
                <a:gd name="connsiteY14" fmla="*/ 95 h 952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54868" h="952499">
                  <a:moveTo>
                    <a:pt x="0" y="95"/>
                  </a:moveTo>
                  <a:cubicBezTo>
                    <a:pt x="51245" y="95"/>
                    <a:pt x="102489" y="95"/>
                    <a:pt x="153734" y="95"/>
                  </a:cubicBezTo>
                  <a:cubicBezTo>
                    <a:pt x="246221" y="172212"/>
                    <a:pt x="335090" y="346424"/>
                    <a:pt x="430530" y="516827"/>
                  </a:cubicBezTo>
                  <a:cubicBezTo>
                    <a:pt x="522923" y="344615"/>
                    <a:pt x="614744" y="172212"/>
                    <a:pt x="706946" y="0"/>
                  </a:cubicBezTo>
                  <a:lnTo>
                    <a:pt x="854869" y="0"/>
                  </a:lnTo>
                  <a:lnTo>
                    <a:pt x="854869" y="952500"/>
                  </a:lnTo>
                  <a:lnTo>
                    <a:pt x="742569" y="952500"/>
                  </a:lnTo>
                  <a:cubicBezTo>
                    <a:pt x="741902" y="683895"/>
                    <a:pt x="743998" y="415290"/>
                    <a:pt x="741521" y="146780"/>
                  </a:cubicBezTo>
                  <a:cubicBezTo>
                    <a:pt x="726948" y="164973"/>
                    <a:pt x="717613" y="186404"/>
                    <a:pt x="707422" y="207074"/>
                  </a:cubicBezTo>
                  <a:cubicBezTo>
                    <a:pt x="619982" y="382810"/>
                    <a:pt x="520541" y="552260"/>
                    <a:pt x="427577" y="725138"/>
                  </a:cubicBezTo>
                  <a:cubicBezTo>
                    <a:pt x="349472" y="582644"/>
                    <a:pt x="270510" y="440722"/>
                    <a:pt x="193262" y="297752"/>
                  </a:cubicBezTo>
                  <a:cubicBezTo>
                    <a:pt x="165830" y="247650"/>
                    <a:pt x="145161" y="193739"/>
                    <a:pt x="113348" y="146209"/>
                  </a:cubicBezTo>
                  <a:cubicBezTo>
                    <a:pt x="110966" y="415004"/>
                    <a:pt x="112967" y="683705"/>
                    <a:pt x="112300" y="952500"/>
                  </a:cubicBezTo>
                  <a:lnTo>
                    <a:pt x="0" y="952500"/>
                  </a:lnTo>
                  <a:lnTo>
                    <a:pt x="0" y="95"/>
                  </a:lnTo>
                  <a:close/>
                </a:path>
              </a:pathLst>
            </a:custGeom>
            <a:solidFill>
              <a:srgbClr val="000000"/>
            </a:solidFill>
            <a:ln w="9525" cap="flat">
              <a:noFill/>
              <a:prstDash val="solid"/>
              <a:miter/>
            </a:ln>
          </p:spPr>
          <p:txBody>
            <a:bodyPr rtlCol="0" anchor="ctr"/>
            <a:lstStyle/>
            <a:p>
              <a:endParaRPr lang="en-US" sz="900"/>
            </a:p>
          </p:txBody>
        </p:sp>
        <p:sp>
          <p:nvSpPr>
            <p:cNvPr id="32" name="Freeform: Shape 31">
              <a:extLst>
                <a:ext uri="{FF2B5EF4-FFF2-40B4-BE49-F238E27FC236}">
                  <a16:creationId xmlns:a16="http://schemas.microsoft.com/office/drawing/2014/main" id="{19266CF2-A3CF-C8D9-7BB9-06D2E42E9729}"/>
                </a:ext>
              </a:extLst>
            </p:cNvPr>
            <p:cNvSpPr/>
            <p:nvPr/>
          </p:nvSpPr>
          <p:spPr>
            <a:xfrm>
              <a:off x="9365138" y="8630030"/>
              <a:ext cx="723900" cy="952500"/>
            </a:xfrm>
            <a:custGeom>
              <a:avLst/>
              <a:gdLst>
                <a:gd name="connsiteX0" fmla="*/ 0 w 723900"/>
                <a:gd name="connsiteY0" fmla="*/ 0 h 952500"/>
                <a:gd name="connsiteX1" fmla="*/ 723900 w 723900"/>
                <a:gd name="connsiteY1" fmla="*/ 0 h 952500"/>
                <a:gd name="connsiteX2" fmla="*/ 723900 w 723900"/>
                <a:gd name="connsiteY2" fmla="*/ 184595 h 952500"/>
                <a:gd name="connsiteX3" fmla="*/ 465963 w 723900"/>
                <a:gd name="connsiteY3" fmla="*/ 184499 h 952500"/>
                <a:gd name="connsiteX4" fmla="*/ 465963 w 723900"/>
                <a:gd name="connsiteY4" fmla="*/ 952500 h 952500"/>
                <a:gd name="connsiteX5" fmla="*/ 257937 w 723900"/>
                <a:gd name="connsiteY5" fmla="*/ 952500 h 952500"/>
                <a:gd name="connsiteX6" fmla="*/ 257937 w 723900"/>
                <a:gd name="connsiteY6" fmla="*/ 184595 h 952500"/>
                <a:gd name="connsiteX7" fmla="*/ 0 w 723900"/>
                <a:gd name="connsiteY7" fmla="*/ 184595 h 952500"/>
                <a:gd name="connsiteX8" fmla="*/ 0 w 723900"/>
                <a:gd name="connsiteY8" fmla="*/ 0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3900" h="952500">
                  <a:moveTo>
                    <a:pt x="0" y="0"/>
                  </a:moveTo>
                  <a:lnTo>
                    <a:pt x="723900" y="0"/>
                  </a:lnTo>
                  <a:lnTo>
                    <a:pt x="723900" y="184595"/>
                  </a:lnTo>
                  <a:cubicBezTo>
                    <a:pt x="637889" y="184595"/>
                    <a:pt x="551879" y="184595"/>
                    <a:pt x="465963" y="184499"/>
                  </a:cubicBezTo>
                  <a:cubicBezTo>
                    <a:pt x="465868" y="440531"/>
                    <a:pt x="465963" y="696468"/>
                    <a:pt x="465963" y="952500"/>
                  </a:cubicBezTo>
                  <a:lnTo>
                    <a:pt x="257937" y="952500"/>
                  </a:lnTo>
                  <a:lnTo>
                    <a:pt x="257937" y="184595"/>
                  </a:lnTo>
                  <a:cubicBezTo>
                    <a:pt x="172021" y="184499"/>
                    <a:pt x="86011" y="184595"/>
                    <a:pt x="0" y="184595"/>
                  </a:cubicBezTo>
                  <a:lnTo>
                    <a:pt x="0" y="0"/>
                  </a:lnTo>
                  <a:close/>
                </a:path>
              </a:pathLst>
            </a:custGeom>
            <a:solidFill>
              <a:srgbClr val="000000"/>
            </a:solidFill>
            <a:ln w="9525" cap="flat">
              <a:noFill/>
              <a:prstDash val="solid"/>
              <a:miter/>
            </a:ln>
          </p:spPr>
          <p:txBody>
            <a:bodyPr rtlCol="0" anchor="ctr"/>
            <a:lstStyle/>
            <a:p>
              <a:endParaRPr lang="en-US" sz="900"/>
            </a:p>
          </p:txBody>
        </p:sp>
        <p:sp>
          <p:nvSpPr>
            <p:cNvPr id="33" name="Freeform: Shape 32">
              <a:extLst>
                <a:ext uri="{FF2B5EF4-FFF2-40B4-BE49-F238E27FC236}">
                  <a16:creationId xmlns:a16="http://schemas.microsoft.com/office/drawing/2014/main" id="{F944B8FF-4796-89E0-ECF1-D2DAE08721F7}"/>
                </a:ext>
              </a:extLst>
            </p:cNvPr>
            <p:cNvSpPr/>
            <p:nvPr/>
          </p:nvSpPr>
          <p:spPr>
            <a:xfrm>
              <a:off x="12344082" y="8630030"/>
              <a:ext cx="875252" cy="952622"/>
            </a:xfrm>
            <a:custGeom>
              <a:avLst/>
              <a:gdLst>
                <a:gd name="connsiteX0" fmla="*/ 14954 w 875252"/>
                <a:gd name="connsiteY0" fmla="*/ 0 h 952622"/>
                <a:gd name="connsiteX1" fmla="*/ 257080 w 875252"/>
                <a:gd name="connsiteY1" fmla="*/ 0 h 952622"/>
                <a:gd name="connsiteX2" fmla="*/ 444627 w 875252"/>
                <a:gd name="connsiteY2" fmla="*/ 324612 h 952622"/>
                <a:gd name="connsiteX3" fmla="*/ 634555 w 875252"/>
                <a:gd name="connsiteY3" fmla="*/ 95 h 952622"/>
                <a:gd name="connsiteX4" fmla="*/ 858869 w 875252"/>
                <a:gd name="connsiteY4" fmla="*/ 95 h 952622"/>
                <a:gd name="connsiteX5" fmla="*/ 565499 w 875252"/>
                <a:gd name="connsiteY5" fmla="*/ 464058 h 952622"/>
                <a:gd name="connsiteX6" fmla="*/ 875252 w 875252"/>
                <a:gd name="connsiteY6" fmla="*/ 952595 h 952622"/>
                <a:gd name="connsiteX7" fmla="*/ 634555 w 875252"/>
                <a:gd name="connsiteY7" fmla="*/ 952595 h 952622"/>
                <a:gd name="connsiteX8" fmla="*/ 426625 w 875252"/>
                <a:gd name="connsiteY8" fmla="*/ 599504 h 952622"/>
                <a:gd name="connsiteX9" fmla="*/ 224314 w 875252"/>
                <a:gd name="connsiteY9" fmla="*/ 952595 h 952622"/>
                <a:gd name="connsiteX10" fmla="*/ 0 w 875252"/>
                <a:gd name="connsiteY10" fmla="*/ 952595 h 952622"/>
                <a:gd name="connsiteX11" fmla="*/ 305562 w 875252"/>
                <a:gd name="connsiteY11" fmla="*/ 459867 h 952622"/>
                <a:gd name="connsiteX12" fmla="*/ 14954 w 875252"/>
                <a:gd name="connsiteY12" fmla="*/ 95 h 952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75252" h="952622">
                  <a:moveTo>
                    <a:pt x="14954" y="0"/>
                  </a:moveTo>
                  <a:cubicBezTo>
                    <a:pt x="95631" y="0"/>
                    <a:pt x="176308" y="0"/>
                    <a:pt x="257080" y="0"/>
                  </a:cubicBezTo>
                  <a:cubicBezTo>
                    <a:pt x="319754" y="108109"/>
                    <a:pt x="381381" y="216789"/>
                    <a:pt x="444627" y="324612"/>
                  </a:cubicBezTo>
                  <a:cubicBezTo>
                    <a:pt x="508064" y="216503"/>
                    <a:pt x="571119" y="108204"/>
                    <a:pt x="634555" y="95"/>
                  </a:cubicBezTo>
                  <a:lnTo>
                    <a:pt x="858869" y="95"/>
                  </a:lnTo>
                  <a:cubicBezTo>
                    <a:pt x="761143" y="154781"/>
                    <a:pt x="663321" y="309372"/>
                    <a:pt x="565499" y="464058"/>
                  </a:cubicBezTo>
                  <a:cubicBezTo>
                    <a:pt x="668750" y="626840"/>
                    <a:pt x="772001" y="789718"/>
                    <a:pt x="875252" y="952595"/>
                  </a:cubicBezTo>
                  <a:cubicBezTo>
                    <a:pt x="795052" y="952691"/>
                    <a:pt x="714756" y="952500"/>
                    <a:pt x="634555" y="952595"/>
                  </a:cubicBezTo>
                  <a:cubicBezTo>
                    <a:pt x="565118" y="834962"/>
                    <a:pt x="496538" y="716852"/>
                    <a:pt x="426625" y="599504"/>
                  </a:cubicBezTo>
                  <a:cubicBezTo>
                    <a:pt x="358807" y="716947"/>
                    <a:pt x="291846" y="834962"/>
                    <a:pt x="224314" y="952595"/>
                  </a:cubicBezTo>
                  <a:lnTo>
                    <a:pt x="0" y="952595"/>
                  </a:lnTo>
                  <a:cubicBezTo>
                    <a:pt x="101822" y="788289"/>
                    <a:pt x="203740" y="624173"/>
                    <a:pt x="305562" y="459867"/>
                  </a:cubicBezTo>
                  <a:cubicBezTo>
                    <a:pt x="208693" y="306705"/>
                    <a:pt x="111823" y="153353"/>
                    <a:pt x="14954" y="95"/>
                  </a:cubicBezTo>
                  <a:close/>
                </a:path>
              </a:pathLst>
            </a:custGeom>
            <a:solidFill>
              <a:srgbClr val="000000"/>
            </a:solidFill>
            <a:ln w="9525" cap="flat">
              <a:noFill/>
              <a:prstDash val="solid"/>
              <a:miter/>
            </a:ln>
          </p:spPr>
          <p:txBody>
            <a:bodyPr rtlCol="0" anchor="ctr"/>
            <a:lstStyle/>
            <a:p>
              <a:endParaRPr lang="en-US" sz="900"/>
            </a:p>
          </p:txBody>
        </p:sp>
        <p:sp>
          <p:nvSpPr>
            <p:cNvPr id="34" name="Freeform: Shape 33">
              <a:extLst>
                <a:ext uri="{FF2B5EF4-FFF2-40B4-BE49-F238E27FC236}">
                  <a16:creationId xmlns:a16="http://schemas.microsoft.com/office/drawing/2014/main" id="{42DF0011-F527-8047-800F-7E155446FCD6}"/>
                </a:ext>
              </a:extLst>
            </p:cNvPr>
            <p:cNvSpPr/>
            <p:nvPr/>
          </p:nvSpPr>
          <p:spPr>
            <a:xfrm>
              <a:off x="16351421" y="8727139"/>
              <a:ext cx="728351" cy="1144977"/>
            </a:xfrm>
            <a:custGeom>
              <a:avLst/>
              <a:gdLst>
                <a:gd name="connsiteX0" fmla="*/ 509416 w 728351"/>
                <a:gd name="connsiteY0" fmla="*/ 14429 h 1144977"/>
                <a:gd name="connsiteX1" fmla="*/ 685629 w 728351"/>
                <a:gd name="connsiteY1" fmla="*/ 904 h 1144977"/>
                <a:gd name="connsiteX2" fmla="*/ 685724 w 728351"/>
                <a:gd name="connsiteY2" fmla="*/ 151304 h 1144977"/>
                <a:gd name="connsiteX3" fmla="*/ 522275 w 728351"/>
                <a:gd name="connsiteY3" fmla="*/ 152542 h 1144977"/>
                <a:gd name="connsiteX4" fmla="*/ 628097 w 728351"/>
                <a:gd name="connsiteY4" fmla="*/ 257031 h 1144977"/>
                <a:gd name="connsiteX5" fmla="*/ 595141 w 728351"/>
                <a:gd name="connsiteY5" fmla="*/ 517730 h 1144977"/>
                <a:gd name="connsiteX6" fmla="*/ 424834 w 728351"/>
                <a:gd name="connsiteY6" fmla="*/ 596312 h 1144977"/>
                <a:gd name="connsiteX7" fmla="*/ 215093 w 728351"/>
                <a:gd name="connsiteY7" fmla="*/ 586406 h 1144977"/>
                <a:gd name="connsiteX8" fmla="*/ 207664 w 728351"/>
                <a:gd name="connsiteY8" fmla="*/ 685561 h 1144977"/>
                <a:gd name="connsiteX9" fmla="*/ 352254 w 728351"/>
                <a:gd name="connsiteY9" fmla="*/ 698229 h 1144977"/>
                <a:gd name="connsiteX10" fmla="*/ 619430 w 728351"/>
                <a:gd name="connsiteY10" fmla="*/ 722327 h 1144977"/>
                <a:gd name="connsiteX11" fmla="*/ 722490 w 728351"/>
                <a:gd name="connsiteY11" fmla="*/ 848248 h 1144977"/>
                <a:gd name="connsiteX12" fmla="*/ 671818 w 728351"/>
                <a:gd name="connsiteY12" fmla="*/ 1060560 h 1144977"/>
                <a:gd name="connsiteX13" fmla="*/ 458933 w 728351"/>
                <a:gd name="connsiteY13" fmla="*/ 1139237 h 1144977"/>
                <a:gd name="connsiteX14" fmla="*/ 192615 w 728351"/>
                <a:gd name="connsiteY14" fmla="*/ 1135141 h 1144977"/>
                <a:gd name="connsiteX15" fmla="*/ 44406 w 728351"/>
                <a:gd name="connsiteY15" fmla="*/ 1078372 h 1144977"/>
                <a:gd name="connsiteX16" fmla="*/ 53168 w 728351"/>
                <a:gd name="connsiteY16" fmla="*/ 870060 h 1144977"/>
                <a:gd name="connsiteX17" fmla="*/ 132893 w 728351"/>
                <a:gd name="connsiteY17" fmla="*/ 840533 h 1144977"/>
                <a:gd name="connsiteX18" fmla="*/ 133845 w 728351"/>
                <a:gd name="connsiteY18" fmla="*/ 828817 h 1144977"/>
                <a:gd name="connsiteX19" fmla="*/ 74886 w 728351"/>
                <a:gd name="connsiteY19" fmla="*/ 800909 h 1144977"/>
                <a:gd name="connsiteX20" fmla="*/ 62407 w 728351"/>
                <a:gd name="connsiteY20" fmla="*/ 623458 h 1144977"/>
                <a:gd name="connsiteX21" fmla="*/ 167373 w 728351"/>
                <a:gd name="connsiteY21" fmla="*/ 571451 h 1144977"/>
                <a:gd name="connsiteX22" fmla="*/ 48883 w 728351"/>
                <a:gd name="connsiteY22" fmla="*/ 446293 h 1144977"/>
                <a:gd name="connsiteX23" fmla="*/ 89078 w 728351"/>
                <a:gd name="connsiteY23" fmla="*/ 211311 h 1144977"/>
                <a:gd name="connsiteX24" fmla="*/ 259099 w 728351"/>
                <a:gd name="connsiteY24" fmla="*/ 128444 h 1144977"/>
                <a:gd name="connsiteX25" fmla="*/ 463982 w 728351"/>
                <a:gd name="connsiteY25" fmla="*/ 135397 h 1144977"/>
                <a:gd name="connsiteX26" fmla="*/ 509416 w 728351"/>
                <a:gd name="connsiteY26" fmla="*/ 14429 h 1144977"/>
                <a:gd name="connsiteX27" fmla="*/ 299866 w 728351"/>
                <a:gd name="connsiteY27" fmla="*/ 260841 h 1144977"/>
                <a:gd name="connsiteX28" fmla="*/ 226714 w 728351"/>
                <a:gd name="connsiteY28" fmla="*/ 331612 h 1144977"/>
                <a:gd name="connsiteX29" fmla="*/ 251860 w 728351"/>
                <a:gd name="connsiteY29" fmla="*/ 441245 h 1144977"/>
                <a:gd name="connsiteX30" fmla="*/ 381210 w 728351"/>
                <a:gd name="connsiteY30" fmla="*/ 465724 h 1144977"/>
                <a:gd name="connsiteX31" fmla="*/ 458838 w 728351"/>
                <a:gd name="connsiteY31" fmla="*/ 397906 h 1144977"/>
                <a:gd name="connsiteX32" fmla="*/ 431216 w 728351"/>
                <a:gd name="connsiteY32" fmla="*/ 281320 h 1144977"/>
                <a:gd name="connsiteX33" fmla="*/ 299866 w 728351"/>
                <a:gd name="connsiteY33" fmla="*/ 260841 h 1144977"/>
                <a:gd name="connsiteX34" fmla="*/ 182613 w 728351"/>
                <a:gd name="connsiteY34" fmla="*/ 987218 h 1144977"/>
                <a:gd name="connsiteX35" fmla="*/ 343872 w 728351"/>
                <a:gd name="connsiteY35" fmla="*/ 1010554 h 1144977"/>
                <a:gd name="connsiteX36" fmla="*/ 507321 w 728351"/>
                <a:gd name="connsiteY36" fmla="*/ 990170 h 1144977"/>
                <a:gd name="connsiteX37" fmla="*/ 517321 w 728351"/>
                <a:gd name="connsiteY37" fmla="*/ 890158 h 1144977"/>
                <a:gd name="connsiteX38" fmla="*/ 428644 w 728351"/>
                <a:gd name="connsiteY38" fmla="*/ 870536 h 1144977"/>
                <a:gd name="connsiteX39" fmla="*/ 180994 w 728351"/>
                <a:gd name="connsiteY39" fmla="*/ 870155 h 1144977"/>
                <a:gd name="connsiteX40" fmla="*/ 182613 w 728351"/>
                <a:gd name="connsiteY40" fmla="*/ 987218 h 1144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28351" h="1144977">
                  <a:moveTo>
                    <a:pt x="509416" y="14429"/>
                  </a:moveTo>
                  <a:cubicBezTo>
                    <a:pt x="564471" y="-10431"/>
                    <a:pt x="627240" y="5381"/>
                    <a:pt x="685629" y="904"/>
                  </a:cubicBezTo>
                  <a:cubicBezTo>
                    <a:pt x="685629" y="51005"/>
                    <a:pt x="685629" y="101202"/>
                    <a:pt x="685724" y="151304"/>
                  </a:cubicBezTo>
                  <a:cubicBezTo>
                    <a:pt x="631146" y="151875"/>
                    <a:pt x="576663" y="150065"/>
                    <a:pt x="522275" y="152542"/>
                  </a:cubicBezTo>
                  <a:cubicBezTo>
                    <a:pt x="564185" y="179498"/>
                    <a:pt x="607809" y="209311"/>
                    <a:pt x="628097" y="257031"/>
                  </a:cubicBezTo>
                  <a:cubicBezTo>
                    <a:pt x="665245" y="340280"/>
                    <a:pt x="658673" y="448769"/>
                    <a:pt x="595141" y="517730"/>
                  </a:cubicBezTo>
                  <a:cubicBezTo>
                    <a:pt x="551136" y="564879"/>
                    <a:pt x="487223" y="587168"/>
                    <a:pt x="424834" y="596312"/>
                  </a:cubicBezTo>
                  <a:cubicBezTo>
                    <a:pt x="355112" y="605551"/>
                    <a:pt x="283388" y="603932"/>
                    <a:pt x="215093" y="586406"/>
                  </a:cubicBezTo>
                  <a:cubicBezTo>
                    <a:pt x="183757" y="608123"/>
                    <a:pt x="170231" y="663177"/>
                    <a:pt x="207664" y="685561"/>
                  </a:cubicBezTo>
                  <a:cubicBezTo>
                    <a:pt x="252527" y="707087"/>
                    <a:pt x="304247" y="695181"/>
                    <a:pt x="352254" y="698229"/>
                  </a:cubicBezTo>
                  <a:cubicBezTo>
                    <a:pt x="441312" y="701277"/>
                    <a:pt x="534848" y="687085"/>
                    <a:pt x="619430" y="722327"/>
                  </a:cubicBezTo>
                  <a:cubicBezTo>
                    <a:pt x="672484" y="743282"/>
                    <a:pt x="712108" y="792241"/>
                    <a:pt x="722490" y="848248"/>
                  </a:cubicBezTo>
                  <a:cubicBezTo>
                    <a:pt x="736301" y="921019"/>
                    <a:pt x="728110" y="1006744"/>
                    <a:pt x="671818" y="1060560"/>
                  </a:cubicBezTo>
                  <a:cubicBezTo>
                    <a:pt x="614857" y="1114281"/>
                    <a:pt x="534086" y="1130283"/>
                    <a:pt x="458933" y="1139237"/>
                  </a:cubicBezTo>
                  <a:cubicBezTo>
                    <a:pt x="370447" y="1147428"/>
                    <a:pt x="280721" y="1147524"/>
                    <a:pt x="192615" y="1135141"/>
                  </a:cubicBezTo>
                  <a:cubicBezTo>
                    <a:pt x="140322" y="1126473"/>
                    <a:pt x="85744" y="1113233"/>
                    <a:pt x="44406" y="1078372"/>
                  </a:cubicBezTo>
                  <a:cubicBezTo>
                    <a:pt x="-17698" y="1026937"/>
                    <a:pt x="-14554" y="915209"/>
                    <a:pt x="53168" y="870060"/>
                  </a:cubicBezTo>
                  <a:cubicBezTo>
                    <a:pt x="76505" y="852820"/>
                    <a:pt x="105461" y="847867"/>
                    <a:pt x="132893" y="840533"/>
                  </a:cubicBezTo>
                  <a:cubicBezTo>
                    <a:pt x="133179" y="837580"/>
                    <a:pt x="133560" y="831674"/>
                    <a:pt x="133845" y="828817"/>
                  </a:cubicBezTo>
                  <a:cubicBezTo>
                    <a:pt x="113747" y="820149"/>
                    <a:pt x="91459" y="815577"/>
                    <a:pt x="74886" y="800909"/>
                  </a:cubicBezTo>
                  <a:cubicBezTo>
                    <a:pt x="22880" y="759475"/>
                    <a:pt x="13259" y="670702"/>
                    <a:pt x="62407" y="623458"/>
                  </a:cubicBezTo>
                  <a:cubicBezTo>
                    <a:pt x="90411" y="594597"/>
                    <a:pt x="130036" y="582786"/>
                    <a:pt x="167373" y="571451"/>
                  </a:cubicBezTo>
                  <a:cubicBezTo>
                    <a:pt x="114129" y="546401"/>
                    <a:pt x="66980" y="503538"/>
                    <a:pt x="48883" y="446293"/>
                  </a:cubicBezTo>
                  <a:cubicBezTo>
                    <a:pt x="23546" y="368283"/>
                    <a:pt x="33357" y="274271"/>
                    <a:pt x="89078" y="211311"/>
                  </a:cubicBezTo>
                  <a:cubicBezTo>
                    <a:pt x="132036" y="162448"/>
                    <a:pt x="196043" y="138159"/>
                    <a:pt x="259099" y="128444"/>
                  </a:cubicBezTo>
                  <a:cubicBezTo>
                    <a:pt x="327012" y="118728"/>
                    <a:pt x="396925" y="119871"/>
                    <a:pt x="463982" y="135397"/>
                  </a:cubicBezTo>
                  <a:cubicBezTo>
                    <a:pt x="462457" y="91963"/>
                    <a:pt x="465697" y="37289"/>
                    <a:pt x="509416" y="14429"/>
                  </a:cubicBezTo>
                  <a:moveTo>
                    <a:pt x="299866" y="260841"/>
                  </a:moveTo>
                  <a:cubicBezTo>
                    <a:pt x="264243" y="267223"/>
                    <a:pt x="231476" y="294464"/>
                    <a:pt x="226714" y="331612"/>
                  </a:cubicBezTo>
                  <a:cubicBezTo>
                    <a:pt x="221476" y="368855"/>
                    <a:pt x="221571" y="413908"/>
                    <a:pt x="251860" y="441245"/>
                  </a:cubicBezTo>
                  <a:cubicBezTo>
                    <a:pt x="286817" y="471534"/>
                    <a:pt x="337585" y="472201"/>
                    <a:pt x="381210" y="465724"/>
                  </a:cubicBezTo>
                  <a:cubicBezTo>
                    <a:pt x="417214" y="460676"/>
                    <a:pt x="452171" y="435339"/>
                    <a:pt x="458838" y="397906"/>
                  </a:cubicBezTo>
                  <a:cubicBezTo>
                    <a:pt x="465315" y="358282"/>
                    <a:pt x="465315" y="308942"/>
                    <a:pt x="431216" y="281320"/>
                  </a:cubicBezTo>
                  <a:cubicBezTo>
                    <a:pt x="394164" y="253221"/>
                    <a:pt x="343586" y="252935"/>
                    <a:pt x="299866" y="260841"/>
                  </a:cubicBezTo>
                  <a:moveTo>
                    <a:pt x="182613" y="987218"/>
                  </a:moveTo>
                  <a:cubicBezTo>
                    <a:pt x="230810" y="1015888"/>
                    <a:pt x="289960" y="1009411"/>
                    <a:pt x="343872" y="1010554"/>
                  </a:cubicBezTo>
                  <a:cubicBezTo>
                    <a:pt x="398354" y="1009411"/>
                    <a:pt x="457124" y="1016078"/>
                    <a:pt x="507321" y="990170"/>
                  </a:cubicBezTo>
                  <a:cubicBezTo>
                    <a:pt x="543135" y="972073"/>
                    <a:pt x="550183" y="914256"/>
                    <a:pt x="517321" y="890158"/>
                  </a:cubicBezTo>
                  <a:cubicBezTo>
                    <a:pt x="491509" y="872346"/>
                    <a:pt x="458744" y="871394"/>
                    <a:pt x="428644" y="870536"/>
                  </a:cubicBezTo>
                  <a:cubicBezTo>
                    <a:pt x="346062" y="870155"/>
                    <a:pt x="263481" y="871013"/>
                    <a:pt x="180994" y="870155"/>
                  </a:cubicBezTo>
                  <a:cubicBezTo>
                    <a:pt x="153467" y="902064"/>
                    <a:pt x="142608" y="960548"/>
                    <a:pt x="182613" y="987218"/>
                  </a:cubicBezTo>
                  <a:close/>
                </a:path>
              </a:pathLst>
            </a:custGeom>
            <a:solidFill>
              <a:srgbClr val="000000"/>
            </a:solidFill>
            <a:ln w="9525" cap="flat">
              <a:noFill/>
              <a:prstDash val="solid"/>
              <a:miter/>
            </a:ln>
          </p:spPr>
          <p:txBody>
            <a:bodyPr rtlCol="0" anchor="ctr"/>
            <a:lstStyle/>
            <a:p>
              <a:endParaRPr lang="en-US" sz="900"/>
            </a:p>
          </p:txBody>
        </p:sp>
        <p:sp>
          <p:nvSpPr>
            <p:cNvPr id="35" name="Freeform: Shape 34">
              <a:extLst>
                <a:ext uri="{FF2B5EF4-FFF2-40B4-BE49-F238E27FC236}">
                  <a16:creationId xmlns:a16="http://schemas.microsoft.com/office/drawing/2014/main" id="{53871B77-82D8-9E96-7FDF-19E07894D012}"/>
                </a:ext>
              </a:extLst>
            </p:cNvPr>
            <p:cNvSpPr/>
            <p:nvPr/>
          </p:nvSpPr>
          <p:spPr>
            <a:xfrm>
              <a:off x="10085832" y="8849421"/>
              <a:ext cx="669369" cy="749856"/>
            </a:xfrm>
            <a:custGeom>
              <a:avLst/>
              <a:gdLst>
                <a:gd name="connsiteX0" fmla="*/ 260667 w 669369"/>
                <a:gd name="connsiteY0" fmla="*/ 6542 h 749856"/>
                <a:gd name="connsiteX1" fmla="*/ 515461 w 669369"/>
                <a:gd name="connsiteY1" fmla="*/ 44071 h 749856"/>
                <a:gd name="connsiteX2" fmla="*/ 650335 w 669369"/>
                <a:gd name="connsiteY2" fmla="*/ 226855 h 749856"/>
                <a:gd name="connsiteX3" fmla="*/ 669099 w 669369"/>
                <a:gd name="connsiteY3" fmla="*/ 426404 h 749856"/>
                <a:gd name="connsiteX4" fmla="*/ 208470 w 669369"/>
                <a:gd name="connsiteY4" fmla="*/ 426404 h 749856"/>
                <a:gd name="connsiteX5" fmla="*/ 248666 w 669369"/>
                <a:gd name="connsiteY5" fmla="*/ 550039 h 749856"/>
                <a:gd name="connsiteX6" fmla="*/ 408590 w 669369"/>
                <a:gd name="connsiteY6" fmla="*/ 587472 h 749856"/>
                <a:gd name="connsiteX7" fmla="*/ 543464 w 669369"/>
                <a:gd name="connsiteY7" fmla="*/ 505081 h 749856"/>
                <a:gd name="connsiteX8" fmla="*/ 645001 w 669369"/>
                <a:gd name="connsiteY8" fmla="*/ 630239 h 749856"/>
                <a:gd name="connsiteX9" fmla="*/ 370110 w 669369"/>
                <a:gd name="connsiteY9" fmla="*/ 749111 h 749856"/>
                <a:gd name="connsiteX10" fmla="*/ 115697 w 669369"/>
                <a:gd name="connsiteY10" fmla="*/ 673673 h 749856"/>
                <a:gd name="connsiteX11" fmla="*/ 2444 w 669369"/>
                <a:gd name="connsiteY11" fmla="*/ 428785 h 749856"/>
                <a:gd name="connsiteX12" fmla="*/ 63881 w 669369"/>
                <a:gd name="connsiteY12" fmla="*/ 132082 h 749856"/>
                <a:gd name="connsiteX13" fmla="*/ 260667 w 669369"/>
                <a:gd name="connsiteY13" fmla="*/ 6542 h 749856"/>
                <a:gd name="connsiteX14" fmla="*/ 236283 w 669369"/>
                <a:gd name="connsiteY14" fmla="*/ 199900 h 749856"/>
                <a:gd name="connsiteX15" fmla="*/ 208375 w 669369"/>
                <a:gd name="connsiteY15" fmla="*/ 307246 h 749856"/>
                <a:gd name="connsiteX16" fmla="*/ 460216 w 669369"/>
                <a:gd name="connsiteY16" fmla="*/ 307246 h 749856"/>
                <a:gd name="connsiteX17" fmla="*/ 429450 w 669369"/>
                <a:gd name="connsiteY17" fmla="*/ 188851 h 749856"/>
                <a:gd name="connsiteX18" fmla="*/ 236283 w 669369"/>
                <a:gd name="connsiteY18" fmla="*/ 199900 h 74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9369" h="749856">
                  <a:moveTo>
                    <a:pt x="260667" y="6542"/>
                  </a:moveTo>
                  <a:cubicBezTo>
                    <a:pt x="346297" y="-7650"/>
                    <a:pt x="439261" y="-316"/>
                    <a:pt x="515461" y="44071"/>
                  </a:cubicBezTo>
                  <a:cubicBezTo>
                    <a:pt x="583279" y="83123"/>
                    <a:pt x="629285" y="152465"/>
                    <a:pt x="650335" y="226855"/>
                  </a:cubicBezTo>
                  <a:cubicBezTo>
                    <a:pt x="669956" y="291435"/>
                    <a:pt x="669956" y="359539"/>
                    <a:pt x="669099" y="426404"/>
                  </a:cubicBezTo>
                  <a:cubicBezTo>
                    <a:pt x="515556" y="426404"/>
                    <a:pt x="362013" y="426404"/>
                    <a:pt x="208470" y="426404"/>
                  </a:cubicBezTo>
                  <a:cubicBezTo>
                    <a:pt x="208565" y="470124"/>
                    <a:pt x="215900" y="518035"/>
                    <a:pt x="248666" y="550039"/>
                  </a:cubicBezTo>
                  <a:cubicBezTo>
                    <a:pt x="290004" y="590806"/>
                    <a:pt x="353822" y="596140"/>
                    <a:pt x="408590" y="587472"/>
                  </a:cubicBezTo>
                  <a:cubicBezTo>
                    <a:pt x="462693" y="579090"/>
                    <a:pt x="506603" y="543181"/>
                    <a:pt x="543464" y="505081"/>
                  </a:cubicBezTo>
                  <a:cubicBezTo>
                    <a:pt x="577373" y="546705"/>
                    <a:pt x="610235" y="589282"/>
                    <a:pt x="645001" y="630239"/>
                  </a:cubicBezTo>
                  <a:cubicBezTo>
                    <a:pt x="576993" y="708916"/>
                    <a:pt x="471741" y="744920"/>
                    <a:pt x="370110" y="749111"/>
                  </a:cubicBezTo>
                  <a:cubicBezTo>
                    <a:pt x="280384" y="754159"/>
                    <a:pt x="184848" y="734062"/>
                    <a:pt x="115697" y="673673"/>
                  </a:cubicBezTo>
                  <a:cubicBezTo>
                    <a:pt x="44640" y="613094"/>
                    <a:pt x="10255" y="519844"/>
                    <a:pt x="2444" y="428785"/>
                  </a:cubicBezTo>
                  <a:cubicBezTo>
                    <a:pt x="-6128" y="327249"/>
                    <a:pt x="6350" y="218664"/>
                    <a:pt x="63881" y="132082"/>
                  </a:cubicBezTo>
                  <a:cubicBezTo>
                    <a:pt x="107886" y="64645"/>
                    <a:pt x="181800" y="19972"/>
                    <a:pt x="260667" y="6542"/>
                  </a:cubicBezTo>
                  <a:moveTo>
                    <a:pt x="236283" y="199900"/>
                  </a:moveTo>
                  <a:cubicBezTo>
                    <a:pt x="213804" y="230856"/>
                    <a:pt x="209042" y="270004"/>
                    <a:pt x="208375" y="307246"/>
                  </a:cubicBezTo>
                  <a:lnTo>
                    <a:pt x="460216" y="307246"/>
                  </a:lnTo>
                  <a:cubicBezTo>
                    <a:pt x="459835" y="266289"/>
                    <a:pt x="455930" y="222093"/>
                    <a:pt x="429450" y="188851"/>
                  </a:cubicBezTo>
                  <a:cubicBezTo>
                    <a:pt x="382111" y="129700"/>
                    <a:pt x="278003" y="138273"/>
                    <a:pt x="236283" y="199900"/>
                  </a:cubicBezTo>
                  <a:close/>
                </a:path>
              </a:pathLst>
            </a:custGeom>
            <a:solidFill>
              <a:srgbClr val="000000"/>
            </a:solidFill>
            <a:ln w="9525" cap="flat">
              <a:noFill/>
              <a:prstDash val="solid"/>
              <a:miter/>
            </a:ln>
          </p:spPr>
          <p:txBody>
            <a:bodyPr rtlCol="0" anchor="ctr"/>
            <a:lstStyle/>
            <a:p>
              <a:endParaRPr lang="en-US" sz="900"/>
            </a:p>
          </p:txBody>
        </p:sp>
        <p:sp>
          <p:nvSpPr>
            <p:cNvPr id="36" name="Freeform: Shape 35">
              <a:extLst>
                <a:ext uri="{FF2B5EF4-FFF2-40B4-BE49-F238E27FC236}">
                  <a16:creationId xmlns:a16="http://schemas.microsoft.com/office/drawing/2014/main" id="{08EB9A85-89C6-1EC3-5478-A8F89D67749A}"/>
                </a:ext>
              </a:extLst>
            </p:cNvPr>
            <p:cNvSpPr/>
            <p:nvPr/>
          </p:nvSpPr>
          <p:spPr>
            <a:xfrm>
              <a:off x="10852675" y="8849297"/>
              <a:ext cx="625965" cy="749878"/>
            </a:xfrm>
            <a:custGeom>
              <a:avLst/>
              <a:gdLst>
                <a:gd name="connsiteX0" fmla="*/ 115044 w 625965"/>
                <a:gd name="connsiteY0" fmla="*/ 72770 h 749878"/>
                <a:gd name="connsiteX1" fmla="*/ 437561 w 625965"/>
                <a:gd name="connsiteY1" fmla="*/ 13810 h 749878"/>
                <a:gd name="connsiteX2" fmla="*/ 621870 w 625965"/>
                <a:gd name="connsiteY2" fmla="*/ 187165 h 749878"/>
                <a:gd name="connsiteX3" fmla="*/ 458230 w 625965"/>
                <a:gd name="connsiteY3" fmla="*/ 258221 h 749878"/>
                <a:gd name="connsiteX4" fmla="*/ 411843 w 625965"/>
                <a:gd name="connsiteY4" fmla="*/ 184117 h 749878"/>
                <a:gd name="connsiteX5" fmla="*/ 233916 w 625965"/>
                <a:gd name="connsiteY5" fmla="*/ 212120 h 749878"/>
                <a:gd name="connsiteX6" fmla="*/ 210771 w 625965"/>
                <a:gd name="connsiteY6" fmla="*/ 371093 h 749878"/>
                <a:gd name="connsiteX7" fmla="*/ 230868 w 625965"/>
                <a:gd name="connsiteY7" fmla="*/ 533684 h 749878"/>
                <a:gd name="connsiteX8" fmla="*/ 439371 w 625965"/>
                <a:gd name="connsiteY8" fmla="*/ 540352 h 749878"/>
                <a:gd name="connsiteX9" fmla="*/ 468708 w 625965"/>
                <a:gd name="connsiteY9" fmla="*/ 483392 h 749878"/>
                <a:gd name="connsiteX10" fmla="*/ 625965 w 625965"/>
                <a:gd name="connsiteY10" fmla="*/ 551782 h 749878"/>
                <a:gd name="connsiteX11" fmla="*/ 521095 w 625965"/>
                <a:gd name="connsiteY11" fmla="*/ 697800 h 749878"/>
                <a:gd name="connsiteX12" fmla="*/ 271921 w 625965"/>
                <a:gd name="connsiteY12" fmla="*/ 745425 h 749878"/>
                <a:gd name="connsiteX13" fmla="*/ 70086 w 625965"/>
                <a:gd name="connsiteY13" fmla="*/ 627696 h 749878"/>
                <a:gd name="connsiteX14" fmla="*/ 1316 w 625965"/>
                <a:gd name="connsiteY14" fmla="*/ 333183 h 749878"/>
                <a:gd name="connsiteX15" fmla="*/ 115044 w 625965"/>
                <a:gd name="connsiteY15" fmla="*/ 72770 h 749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5965" h="749878">
                  <a:moveTo>
                    <a:pt x="115044" y="72770"/>
                  </a:moveTo>
                  <a:cubicBezTo>
                    <a:pt x="202770" y="-1430"/>
                    <a:pt x="329357" y="-14479"/>
                    <a:pt x="437561" y="13810"/>
                  </a:cubicBezTo>
                  <a:cubicBezTo>
                    <a:pt x="523476" y="36003"/>
                    <a:pt x="592628" y="104202"/>
                    <a:pt x="621870" y="187165"/>
                  </a:cubicBezTo>
                  <a:cubicBezTo>
                    <a:pt x="567387" y="211073"/>
                    <a:pt x="512713" y="234504"/>
                    <a:pt x="458230" y="258221"/>
                  </a:cubicBezTo>
                  <a:cubicBezTo>
                    <a:pt x="449086" y="230313"/>
                    <a:pt x="436418" y="201738"/>
                    <a:pt x="411843" y="184117"/>
                  </a:cubicBezTo>
                  <a:cubicBezTo>
                    <a:pt x="358503" y="144969"/>
                    <a:pt x="269445" y="152494"/>
                    <a:pt x="233916" y="212120"/>
                  </a:cubicBezTo>
                  <a:cubicBezTo>
                    <a:pt x="204294" y="259650"/>
                    <a:pt x="211342" y="317753"/>
                    <a:pt x="210771" y="371093"/>
                  </a:cubicBezTo>
                  <a:cubicBezTo>
                    <a:pt x="212104" y="425385"/>
                    <a:pt x="203055" y="484059"/>
                    <a:pt x="230868" y="533684"/>
                  </a:cubicBezTo>
                  <a:cubicBezTo>
                    <a:pt x="271350" y="608265"/>
                    <a:pt x="392317" y="607884"/>
                    <a:pt x="439371" y="540352"/>
                  </a:cubicBezTo>
                  <a:cubicBezTo>
                    <a:pt x="452134" y="523112"/>
                    <a:pt x="460135" y="502919"/>
                    <a:pt x="468708" y="483392"/>
                  </a:cubicBezTo>
                  <a:cubicBezTo>
                    <a:pt x="521095" y="506252"/>
                    <a:pt x="573578" y="528922"/>
                    <a:pt x="625965" y="551782"/>
                  </a:cubicBezTo>
                  <a:cubicBezTo>
                    <a:pt x="605106" y="608741"/>
                    <a:pt x="571673" y="662939"/>
                    <a:pt x="521095" y="697800"/>
                  </a:cubicBezTo>
                  <a:cubicBezTo>
                    <a:pt x="449372" y="748092"/>
                    <a:pt x="356598" y="756855"/>
                    <a:pt x="271921" y="745425"/>
                  </a:cubicBezTo>
                  <a:cubicBezTo>
                    <a:pt x="192673" y="734757"/>
                    <a:pt x="116473" y="693800"/>
                    <a:pt x="70086" y="627696"/>
                  </a:cubicBezTo>
                  <a:cubicBezTo>
                    <a:pt x="9603" y="543114"/>
                    <a:pt x="-4876" y="434624"/>
                    <a:pt x="1316" y="333183"/>
                  </a:cubicBezTo>
                  <a:cubicBezTo>
                    <a:pt x="7031" y="237171"/>
                    <a:pt x="39702" y="136778"/>
                    <a:pt x="115044" y="72770"/>
                  </a:cubicBezTo>
                  <a:close/>
                </a:path>
              </a:pathLst>
            </a:custGeom>
            <a:solidFill>
              <a:srgbClr val="000000"/>
            </a:solidFill>
            <a:ln w="9525" cap="flat">
              <a:noFill/>
              <a:prstDash val="solid"/>
              <a:miter/>
            </a:ln>
          </p:spPr>
          <p:txBody>
            <a:bodyPr rtlCol="0" anchor="ctr"/>
            <a:lstStyle/>
            <a:p>
              <a:endParaRPr lang="en-US" sz="900"/>
            </a:p>
          </p:txBody>
        </p:sp>
        <p:sp>
          <p:nvSpPr>
            <p:cNvPr id="37" name="Freeform: Shape 36">
              <a:extLst>
                <a:ext uri="{FF2B5EF4-FFF2-40B4-BE49-F238E27FC236}">
                  <a16:creationId xmlns:a16="http://schemas.microsoft.com/office/drawing/2014/main" id="{7D9AA833-AD83-E679-5D6E-186A8D02B00C}"/>
                </a:ext>
              </a:extLst>
            </p:cNvPr>
            <p:cNvSpPr/>
            <p:nvPr/>
          </p:nvSpPr>
          <p:spPr>
            <a:xfrm>
              <a:off x="13262546" y="8849276"/>
              <a:ext cx="625919" cy="749850"/>
            </a:xfrm>
            <a:custGeom>
              <a:avLst/>
              <a:gdLst>
                <a:gd name="connsiteX0" fmla="*/ 114142 w 625919"/>
                <a:gd name="connsiteY0" fmla="*/ 73457 h 749850"/>
                <a:gd name="connsiteX1" fmla="*/ 437897 w 625919"/>
                <a:gd name="connsiteY1" fmla="*/ 13831 h 749850"/>
                <a:gd name="connsiteX2" fmla="*/ 621920 w 625919"/>
                <a:gd name="connsiteY2" fmla="*/ 187281 h 749850"/>
                <a:gd name="connsiteX3" fmla="*/ 458280 w 625919"/>
                <a:gd name="connsiteY3" fmla="*/ 258242 h 749850"/>
                <a:gd name="connsiteX4" fmla="*/ 399225 w 625919"/>
                <a:gd name="connsiteY4" fmla="*/ 175946 h 749850"/>
                <a:gd name="connsiteX5" fmla="*/ 237776 w 625919"/>
                <a:gd name="connsiteY5" fmla="*/ 206426 h 749850"/>
                <a:gd name="connsiteX6" fmla="*/ 210725 w 625919"/>
                <a:gd name="connsiteY6" fmla="*/ 371209 h 749850"/>
                <a:gd name="connsiteX7" fmla="*/ 231013 w 625919"/>
                <a:gd name="connsiteY7" fmla="*/ 534086 h 749850"/>
                <a:gd name="connsiteX8" fmla="*/ 437992 w 625919"/>
                <a:gd name="connsiteY8" fmla="*/ 542278 h 749850"/>
                <a:gd name="connsiteX9" fmla="*/ 468662 w 625919"/>
                <a:gd name="connsiteY9" fmla="*/ 483413 h 749850"/>
                <a:gd name="connsiteX10" fmla="*/ 625920 w 625919"/>
                <a:gd name="connsiteY10" fmla="*/ 551898 h 749850"/>
                <a:gd name="connsiteX11" fmla="*/ 514573 w 625919"/>
                <a:gd name="connsiteY11" fmla="*/ 702203 h 749850"/>
                <a:gd name="connsiteX12" fmla="*/ 265494 w 625919"/>
                <a:gd name="connsiteY12" fmla="*/ 744398 h 749850"/>
                <a:gd name="connsiteX13" fmla="*/ 66422 w 625919"/>
                <a:gd name="connsiteY13" fmla="*/ 622478 h 749850"/>
                <a:gd name="connsiteX14" fmla="*/ 1937 w 625919"/>
                <a:gd name="connsiteY14" fmla="*/ 324441 h 749850"/>
                <a:gd name="connsiteX15" fmla="*/ 114142 w 625919"/>
                <a:gd name="connsiteY15" fmla="*/ 73457 h 749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5919" h="749850">
                  <a:moveTo>
                    <a:pt x="114142" y="73457"/>
                  </a:moveTo>
                  <a:cubicBezTo>
                    <a:pt x="201962" y="-1409"/>
                    <a:pt x="329121" y="-14554"/>
                    <a:pt x="437897" y="13831"/>
                  </a:cubicBezTo>
                  <a:cubicBezTo>
                    <a:pt x="523717" y="36215"/>
                    <a:pt x="592582" y="104318"/>
                    <a:pt x="621920" y="187281"/>
                  </a:cubicBezTo>
                  <a:cubicBezTo>
                    <a:pt x="567341" y="210998"/>
                    <a:pt x="512763" y="234525"/>
                    <a:pt x="458280" y="258242"/>
                  </a:cubicBezTo>
                  <a:cubicBezTo>
                    <a:pt x="448184" y="225476"/>
                    <a:pt x="430753" y="192425"/>
                    <a:pt x="399225" y="175946"/>
                  </a:cubicBezTo>
                  <a:cubicBezTo>
                    <a:pt x="347599" y="148133"/>
                    <a:pt x="272447" y="155658"/>
                    <a:pt x="237776" y="206426"/>
                  </a:cubicBezTo>
                  <a:cubicBezTo>
                    <a:pt x="203772" y="254432"/>
                    <a:pt x="211202" y="315869"/>
                    <a:pt x="210725" y="371209"/>
                  </a:cubicBezTo>
                  <a:cubicBezTo>
                    <a:pt x="212059" y="425692"/>
                    <a:pt x="203105" y="484366"/>
                    <a:pt x="231013" y="534086"/>
                  </a:cubicBezTo>
                  <a:cubicBezTo>
                    <a:pt x="271304" y="607524"/>
                    <a:pt x="390081" y="607905"/>
                    <a:pt x="437992" y="542278"/>
                  </a:cubicBezTo>
                  <a:cubicBezTo>
                    <a:pt x="451422" y="524561"/>
                    <a:pt x="459899" y="503702"/>
                    <a:pt x="468662" y="483413"/>
                  </a:cubicBezTo>
                  <a:cubicBezTo>
                    <a:pt x="521050" y="506178"/>
                    <a:pt x="573532" y="528943"/>
                    <a:pt x="625920" y="551898"/>
                  </a:cubicBezTo>
                  <a:cubicBezTo>
                    <a:pt x="604298" y="611144"/>
                    <a:pt x="568579" y="667532"/>
                    <a:pt x="514573" y="702203"/>
                  </a:cubicBezTo>
                  <a:cubicBezTo>
                    <a:pt x="441706" y="749732"/>
                    <a:pt x="349600" y="756971"/>
                    <a:pt x="265494" y="744398"/>
                  </a:cubicBezTo>
                  <a:cubicBezTo>
                    <a:pt x="186341" y="732492"/>
                    <a:pt x="111189" y="689534"/>
                    <a:pt x="66422" y="622478"/>
                  </a:cubicBezTo>
                  <a:cubicBezTo>
                    <a:pt x="7366" y="535991"/>
                    <a:pt x="-5587" y="426644"/>
                    <a:pt x="1937" y="324441"/>
                  </a:cubicBezTo>
                  <a:cubicBezTo>
                    <a:pt x="8890" y="231668"/>
                    <a:pt x="41656" y="135465"/>
                    <a:pt x="114142" y="73457"/>
                  </a:cubicBezTo>
                  <a:close/>
                </a:path>
              </a:pathLst>
            </a:custGeom>
            <a:solidFill>
              <a:srgbClr val="000000"/>
            </a:solidFill>
            <a:ln w="9525" cap="flat">
              <a:noFill/>
              <a:prstDash val="solid"/>
              <a:miter/>
            </a:ln>
          </p:spPr>
          <p:txBody>
            <a:bodyPr rtlCol="0" anchor="ctr"/>
            <a:lstStyle/>
            <a:p>
              <a:endParaRPr lang="en-US" sz="900"/>
            </a:p>
          </p:txBody>
        </p:sp>
        <p:sp>
          <p:nvSpPr>
            <p:cNvPr id="38" name="Freeform: Shape 37">
              <a:extLst>
                <a:ext uri="{FF2B5EF4-FFF2-40B4-BE49-F238E27FC236}">
                  <a16:creationId xmlns:a16="http://schemas.microsoft.com/office/drawing/2014/main" id="{5BEADA96-1A80-9EB1-DBCA-0EBF9FDAB801}"/>
                </a:ext>
              </a:extLst>
            </p:cNvPr>
            <p:cNvSpPr/>
            <p:nvPr/>
          </p:nvSpPr>
          <p:spPr>
            <a:xfrm>
              <a:off x="14778191" y="8849530"/>
              <a:ext cx="689710" cy="749617"/>
            </a:xfrm>
            <a:custGeom>
              <a:avLst/>
              <a:gdLst>
                <a:gd name="connsiteX0" fmla="*/ 27247 w 689710"/>
                <a:gd name="connsiteY0" fmla="*/ 137021 h 749617"/>
                <a:gd name="connsiteX1" fmla="*/ 239750 w 689710"/>
                <a:gd name="connsiteY1" fmla="*/ 5290 h 749617"/>
                <a:gd name="connsiteX2" fmla="*/ 522070 w 689710"/>
                <a:gd name="connsiteY2" fmla="*/ 49582 h 749617"/>
                <a:gd name="connsiteX3" fmla="*/ 622654 w 689710"/>
                <a:gd name="connsiteY3" fmla="*/ 247606 h 749617"/>
                <a:gd name="connsiteX4" fmla="*/ 623036 w 689710"/>
                <a:gd name="connsiteY4" fmla="*/ 575838 h 749617"/>
                <a:gd name="connsiteX5" fmla="*/ 689711 w 689710"/>
                <a:gd name="connsiteY5" fmla="*/ 575933 h 749617"/>
                <a:gd name="connsiteX6" fmla="*/ 689711 w 689710"/>
                <a:gd name="connsiteY6" fmla="*/ 733000 h 749617"/>
                <a:gd name="connsiteX7" fmla="*/ 506259 w 689710"/>
                <a:gd name="connsiteY7" fmla="*/ 713950 h 749617"/>
                <a:gd name="connsiteX8" fmla="*/ 438441 w 689710"/>
                <a:gd name="connsiteY8" fmla="*/ 603270 h 749617"/>
                <a:gd name="connsiteX9" fmla="*/ 388625 w 689710"/>
                <a:gd name="connsiteY9" fmla="*/ 690805 h 749617"/>
                <a:gd name="connsiteX10" fmla="*/ 169074 w 689710"/>
                <a:gd name="connsiteY10" fmla="*/ 745288 h 749617"/>
                <a:gd name="connsiteX11" fmla="*/ 15341 w 689710"/>
                <a:gd name="connsiteY11" fmla="*/ 626892 h 749617"/>
                <a:gd name="connsiteX12" fmla="*/ 37153 w 689710"/>
                <a:gd name="connsiteY12" fmla="*/ 416008 h 749617"/>
                <a:gd name="connsiteX13" fmla="*/ 191076 w 689710"/>
                <a:gd name="connsiteY13" fmla="*/ 327521 h 749617"/>
                <a:gd name="connsiteX14" fmla="*/ 420629 w 689710"/>
                <a:gd name="connsiteY14" fmla="*/ 316663 h 749617"/>
                <a:gd name="connsiteX15" fmla="*/ 392911 w 689710"/>
                <a:gd name="connsiteY15" fmla="*/ 189028 h 749617"/>
                <a:gd name="connsiteX16" fmla="*/ 258323 w 689710"/>
                <a:gd name="connsiteY16" fmla="*/ 163310 h 749617"/>
                <a:gd name="connsiteX17" fmla="*/ 147452 w 689710"/>
                <a:gd name="connsiteY17" fmla="*/ 243130 h 749617"/>
                <a:gd name="connsiteX18" fmla="*/ 27247 w 689710"/>
                <a:gd name="connsiteY18" fmla="*/ 137021 h 749617"/>
                <a:gd name="connsiteX19" fmla="*/ 252894 w 689710"/>
                <a:gd name="connsiteY19" fmla="*/ 442583 h 749617"/>
                <a:gd name="connsiteX20" fmla="*/ 260038 w 689710"/>
                <a:gd name="connsiteY20" fmla="*/ 604508 h 749617"/>
                <a:gd name="connsiteX21" fmla="*/ 401579 w 689710"/>
                <a:gd name="connsiteY21" fmla="*/ 571552 h 749617"/>
                <a:gd name="connsiteX22" fmla="*/ 420534 w 689710"/>
                <a:gd name="connsiteY22" fmla="*/ 431725 h 749617"/>
                <a:gd name="connsiteX23" fmla="*/ 252894 w 689710"/>
                <a:gd name="connsiteY23" fmla="*/ 442583 h 749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89710" h="749617">
                  <a:moveTo>
                    <a:pt x="27247" y="137021"/>
                  </a:moveTo>
                  <a:cubicBezTo>
                    <a:pt x="73634" y="63583"/>
                    <a:pt x="153834" y="15387"/>
                    <a:pt x="239750" y="5290"/>
                  </a:cubicBezTo>
                  <a:cubicBezTo>
                    <a:pt x="334618" y="-6044"/>
                    <a:pt x="438632" y="-2520"/>
                    <a:pt x="522070" y="49582"/>
                  </a:cubicBezTo>
                  <a:cubicBezTo>
                    <a:pt x="588936" y="91015"/>
                    <a:pt x="621988" y="171025"/>
                    <a:pt x="622654" y="247606"/>
                  </a:cubicBezTo>
                  <a:cubicBezTo>
                    <a:pt x="623512" y="357049"/>
                    <a:pt x="622654" y="466396"/>
                    <a:pt x="623036" y="575838"/>
                  </a:cubicBezTo>
                  <a:cubicBezTo>
                    <a:pt x="645134" y="575838"/>
                    <a:pt x="667422" y="575838"/>
                    <a:pt x="689711" y="575933"/>
                  </a:cubicBezTo>
                  <a:cubicBezTo>
                    <a:pt x="689615" y="628225"/>
                    <a:pt x="689615" y="680613"/>
                    <a:pt x="689711" y="733000"/>
                  </a:cubicBezTo>
                  <a:cubicBezTo>
                    <a:pt x="628750" y="728238"/>
                    <a:pt x="561790" y="746621"/>
                    <a:pt x="506259" y="713950"/>
                  </a:cubicBezTo>
                  <a:cubicBezTo>
                    <a:pt x="466540" y="690614"/>
                    <a:pt x="448442" y="646037"/>
                    <a:pt x="438441" y="603270"/>
                  </a:cubicBezTo>
                  <a:cubicBezTo>
                    <a:pt x="423963" y="633559"/>
                    <a:pt x="413866" y="667278"/>
                    <a:pt x="388625" y="690805"/>
                  </a:cubicBezTo>
                  <a:cubicBezTo>
                    <a:pt x="331952" y="747193"/>
                    <a:pt x="244702" y="756908"/>
                    <a:pt x="169074" y="745288"/>
                  </a:cubicBezTo>
                  <a:cubicBezTo>
                    <a:pt x="102113" y="735477"/>
                    <a:pt x="38676" y="691948"/>
                    <a:pt x="15341" y="626892"/>
                  </a:cubicBezTo>
                  <a:cubicBezTo>
                    <a:pt x="-9234" y="558693"/>
                    <a:pt x="-5900" y="476302"/>
                    <a:pt x="37153" y="416008"/>
                  </a:cubicBezTo>
                  <a:cubicBezTo>
                    <a:pt x="73062" y="366097"/>
                    <a:pt x="132498" y="339808"/>
                    <a:pt x="191076" y="327521"/>
                  </a:cubicBezTo>
                  <a:cubicBezTo>
                    <a:pt x="266515" y="311424"/>
                    <a:pt x="344048" y="317996"/>
                    <a:pt x="420629" y="316663"/>
                  </a:cubicBezTo>
                  <a:cubicBezTo>
                    <a:pt x="420439" y="273419"/>
                    <a:pt x="425963" y="222746"/>
                    <a:pt x="392911" y="189028"/>
                  </a:cubicBezTo>
                  <a:cubicBezTo>
                    <a:pt x="357764" y="155119"/>
                    <a:pt x="303377" y="154547"/>
                    <a:pt x="258323" y="163310"/>
                  </a:cubicBezTo>
                  <a:cubicBezTo>
                    <a:pt x="211460" y="172359"/>
                    <a:pt x="174884" y="205982"/>
                    <a:pt x="147452" y="243130"/>
                  </a:cubicBezTo>
                  <a:cubicBezTo>
                    <a:pt x="107447" y="207697"/>
                    <a:pt x="67728" y="171883"/>
                    <a:pt x="27247" y="137021"/>
                  </a:cubicBezTo>
                  <a:moveTo>
                    <a:pt x="252894" y="442583"/>
                  </a:moveTo>
                  <a:cubicBezTo>
                    <a:pt x="182600" y="464872"/>
                    <a:pt x="184981" y="591078"/>
                    <a:pt x="260038" y="604508"/>
                  </a:cubicBezTo>
                  <a:cubicBezTo>
                    <a:pt x="308044" y="613557"/>
                    <a:pt x="366337" y="609461"/>
                    <a:pt x="401579" y="571552"/>
                  </a:cubicBezTo>
                  <a:cubicBezTo>
                    <a:pt x="433298" y="532213"/>
                    <a:pt x="416438" y="477921"/>
                    <a:pt x="420534" y="431725"/>
                  </a:cubicBezTo>
                  <a:cubicBezTo>
                    <a:pt x="364813" y="434677"/>
                    <a:pt x="306615" y="423724"/>
                    <a:pt x="252894" y="442583"/>
                  </a:cubicBezTo>
                  <a:close/>
                </a:path>
              </a:pathLst>
            </a:custGeom>
            <a:solidFill>
              <a:srgbClr val="000000"/>
            </a:solidFill>
            <a:ln w="9525" cap="flat">
              <a:noFill/>
              <a:prstDash val="solid"/>
              <a:miter/>
            </a:ln>
          </p:spPr>
          <p:txBody>
            <a:bodyPr rtlCol="0" anchor="ctr"/>
            <a:lstStyle/>
            <a:p>
              <a:endParaRPr lang="en-US" sz="900"/>
            </a:p>
          </p:txBody>
        </p:sp>
        <p:sp>
          <p:nvSpPr>
            <p:cNvPr id="39" name="Freeform: Shape 38">
              <a:extLst>
                <a:ext uri="{FF2B5EF4-FFF2-40B4-BE49-F238E27FC236}">
                  <a16:creationId xmlns:a16="http://schemas.microsoft.com/office/drawing/2014/main" id="{E08DAAAF-22D3-8686-027F-301825BDAA00}"/>
                </a:ext>
              </a:extLst>
            </p:cNvPr>
            <p:cNvSpPr/>
            <p:nvPr/>
          </p:nvSpPr>
          <p:spPr>
            <a:xfrm>
              <a:off x="15602775" y="8849035"/>
              <a:ext cx="633507" cy="733518"/>
            </a:xfrm>
            <a:custGeom>
              <a:avLst/>
              <a:gdLst>
                <a:gd name="connsiteX0" fmla="*/ 311944 w 633507"/>
                <a:gd name="connsiteY0" fmla="*/ 20073 h 733518"/>
                <a:gd name="connsiteX1" fmla="*/ 569214 w 633507"/>
                <a:gd name="connsiteY1" fmla="*/ 66078 h 733518"/>
                <a:gd name="connsiteX2" fmla="*/ 633413 w 633507"/>
                <a:gd name="connsiteY2" fmla="*/ 276295 h 733518"/>
                <a:gd name="connsiteX3" fmla="*/ 633508 w 633507"/>
                <a:gd name="connsiteY3" fmla="*/ 733495 h 733518"/>
                <a:gd name="connsiteX4" fmla="*/ 431006 w 633507"/>
                <a:gd name="connsiteY4" fmla="*/ 733495 h 733518"/>
                <a:gd name="connsiteX5" fmla="*/ 430435 w 633507"/>
                <a:gd name="connsiteY5" fmla="*/ 276676 h 733518"/>
                <a:gd name="connsiteX6" fmla="*/ 369951 w 633507"/>
                <a:gd name="connsiteY6" fmla="*/ 169901 h 733518"/>
                <a:gd name="connsiteX7" fmla="*/ 203264 w 633507"/>
                <a:gd name="connsiteY7" fmla="*/ 257245 h 733518"/>
                <a:gd name="connsiteX8" fmla="*/ 202502 w 633507"/>
                <a:gd name="connsiteY8" fmla="*/ 733495 h 733518"/>
                <a:gd name="connsiteX9" fmla="*/ 0 w 633507"/>
                <a:gd name="connsiteY9" fmla="*/ 733400 h 733518"/>
                <a:gd name="connsiteX10" fmla="*/ 95 w 633507"/>
                <a:gd name="connsiteY10" fmla="*/ 16739 h 733518"/>
                <a:gd name="connsiteX11" fmla="*/ 202406 w 633507"/>
                <a:gd name="connsiteY11" fmla="*/ 16739 h 733518"/>
                <a:gd name="connsiteX12" fmla="*/ 204883 w 633507"/>
                <a:gd name="connsiteY12" fmla="*/ 144564 h 733518"/>
                <a:gd name="connsiteX13" fmla="*/ 311944 w 633507"/>
                <a:gd name="connsiteY13" fmla="*/ 20073 h 733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3507" h="733518">
                  <a:moveTo>
                    <a:pt x="311944" y="20073"/>
                  </a:moveTo>
                  <a:cubicBezTo>
                    <a:pt x="395669" y="-15837"/>
                    <a:pt x="506825" y="-5359"/>
                    <a:pt x="569214" y="66078"/>
                  </a:cubicBezTo>
                  <a:cubicBezTo>
                    <a:pt x="618649" y="123609"/>
                    <a:pt x="632365" y="202572"/>
                    <a:pt x="633413" y="276295"/>
                  </a:cubicBezTo>
                  <a:cubicBezTo>
                    <a:pt x="633603" y="428695"/>
                    <a:pt x="633317" y="581095"/>
                    <a:pt x="633508" y="733495"/>
                  </a:cubicBezTo>
                  <a:lnTo>
                    <a:pt x="431006" y="733495"/>
                  </a:lnTo>
                  <a:cubicBezTo>
                    <a:pt x="430625" y="581190"/>
                    <a:pt x="431864" y="428981"/>
                    <a:pt x="430435" y="276676"/>
                  </a:cubicBezTo>
                  <a:cubicBezTo>
                    <a:pt x="429101" y="234861"/>
                    <a:pt x="415290" y="183045"/>
                    <a:pt x="369951" y="169901"/>
                  </a:cubicBezTo>
                  <a:cubicBezTo>
                    <a:pt x="305086" y="150946"/>
                    <a:pt x="210884" y="180759"/>
                    <a:pt x="203264" y="257245"/>
                  </a:cubicBezTo>
                  <a:cubicBezTo>
                    <a:pt x="201263" y="415931"/>
                    <a:pt x="202978" y="574713"/>
                    <a:pt x="202502" y="733495"/>
                  </a:cubicBezTo>
                  <a:cubicBezTo>
                    <a:pt x="134970" y="733495"/>
                    <a:pt x="67437" y="733590"/>
                    <a:pt x="0" y="733400"/>
                  </a:cubicBezTo>
                  <a:cubicBezTo>
                    <a:pt x="191" y="494513"/>
                    <a:pt x="-95" y="255626"/>
                    <a:pt x="95" y="16739"/>
                  </a:cubicBezTo>
                  <a:lnTo>
                    <a:pt x="202406" y="16739"/>
                  </a:lnTo>
                  <a:cubicBezTo>
                    <a:pt x="203264" y="59315"/>
                    <a:pt x="200025" y="102083"/>
                    <a:pt x="204883" y="144564"/>
                  </a:cubicBezTo>
                  <a:cubicBezTo>
                    <a:pt x="226790" y="93606"/>
                    <a:pt x="258604" y="42456"/>
                    <a:pt x="311944" y="20073"/>
                  </a:cubicBezTo>
                  <a:close/>
                </a:path>
              </a:pathLst>
            </a:custGeom>
            <a:solidFill>
              <a:srgbClr val="000000"/>
            </a:solidFill>
            <a:ln w="9525" cap="flat">
              <a:noFill/>
              <a:prstDash val="solid"/>
              <a:miter/>
            </a:ln>
          </p:spPr>
          <p:txBody>
            <a:bodyPr rtlCol="0" anchor="ctr"/>
            <a:lstStyle/>
            <a:p>
              <a:endParaRPr lang="en-US" sz="900"/>
            </a:p>
          </p:txBody>
        </p:sp>
        <p:sp>
          <p:nvSpPr>
            <p:cNvPr id="40" name="Freeform: Shape 39">
              <a:extLst>
                <a:ext uri="{FF2B5EF4-FFF2-40B4-BE49-F238E27FC236}">
                  <a16:creationId xmlns:a16="http://schemas.microsoft.com/office/drawing/2014/main" id="{3BF8AFFD-1B6C-839E-B09F-AF5203BE810E}"/>
                </a:ext>
              </a:extLst>
            </p:cNvPr>
            <p:cNvSpPr/>
            <p:nvPr/>
          </p:nvSpPr>
          <p:spPr>
            <a:xfrm>
              <a:off x="17116014" y="8849344"/>
              <a:ext cx="669651" cy="749917"/>
            </a:xfrm>
            <a:custGeom>
              <a:avLst/>
              <a:gdLst>
                <a:gd name="connsiteX0" fmla="*/ 174305 w 669651"/>
                <a:gd name="connsiteY0" fmla="*/ 34909 h 749917"/>
                <a:gd name="connsiteX1" fmla="*/ 433670 w 669651"/>
                <a:gd name="connsiteY1" fmla="*/ 11287 h 749917"/>
                <a:gd name="connsiteX2" fmla="*/ 624838 w 669651"/>
                <a:gd name="connsiteY2" fmla="*/ 161973 h 749917"/>
                <a:gd name="connsiteX3" fmla="*/ 669129 w 669651"/>
                <a:gd name="connsiteY3" fmla="*/ 426482 h 749917"/>
                <a:gd name="connsiteX4" fmla="*/ 208500 w 669651"/>
                <a:gd name="connsiteY4" fmla="*/ 426482 h 749917"/>
                <a:gd name="connsiteX5" fmla="*/ 248028 w 669651"/>
                <a:gd name="connsiteY5" fmla="*/ 549450 h 749917"/>
                <a:gd name="connsiteX6" fmla="*/ 408049 w 669651"/>
                <a:gd name="connsiteY6" fmla="*/ 587645 h 749917"/>
                <a:gd name="connsiteX7" fmla="*/ 543589 w 669651"/>
                <a:gd name="connsiteY7" fmla="*/ 505063 h 749917"/>
                <a:gd name="connsiteX8" fmla="*/ 645031 w 669651"/>
                <a:gd name="connsiteY8" fmla="*/ 631269 h 749917"/>
                <a:gd name="connsiteX9" fmla="*/ 388617 w 669651"/>
                <a:gd name="connsiteY9" fmla="*/ 747951 h 749917"/>
                <a:gd name="connsiteX10" fmla="*/ 125441 w 669651"/>
                <a:gd name="connsiteY10" fmla="*/ 681752 h 749917"/>
                <a:gd name="connsiteX11" fmla="*/ 5045 w 669651"/>
                <a:gd name="connsiteY11" fmla="*/ 451342 h 749917"/>
                <a:gd name="connsiteX12" fmla="*/ 33526 w 669651"/>
                <a:gd name="connsiteY12" fmla="*/ 189214 h 749917"/>
                <a:gd name="connsiteX13" fmla="*/ 174305 w 669651"/>
                <a:gd name="connsiteY13" fmla="*/ 34909 h 749917"/>
                <a:gd name="connsiteX14" fmla="*/ 232502 w 669651"/>
                <a:gd name="connsiteY14" fmla="*/ 205788 h 749917"/>
                <a:gd name="connsiteX15" fmla="*/ 208500 w 669651"/>
                <a:gd name="connsiteY15" fmla="*/ 307324 h 749917"/>
                <a:gd name="connsiteX16" fmla="*/ 460722 w 669651"/>
                <a:gd name="connsiteY16" fmla="*/ 307324 h 749917"/>
                <a:gd name="connsiteX17" fmla="*/ 423956 w 669651"/>
                <a:gd name="connsiteY17" fmla="*/ 182547 h 749917"/>
                <a:gd name="connsiteX18" fmla="*/ 232502 w 669651"/>
                <a:gd name="connsiteY18" fmla="*/ 205883 h 749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9651" h="749917">
                  <a:moveTo>
                    <a:pt x="174305" y="34909"/>
                  </a:moveTo>
                  <a:cubicBezTo>
                    <a:pt x="254220" y="-3858"/>
                    <a:pt x="347945" y="-8144"/>
                    <a:pt x="433670" y="11287"/>
                  </a:cubicBezTo>
                  <a:cubicBezTo>
                    <a:pt x="515681" y="29956"/>
                    <a:pt x="587690" y="86439"/>
                    <a:pt x="624838" y="161973"/>
                  </a:cubicBezTo>
                  <a:cubicBezTo>
                    <a:pt x="667223" y="243126"/>
                    <a:pt x="671510" y="336852"/>
                    <a:pt x="669129" y="426482"/>
                  </a:cubicBezTo>
                  <a:cubicBezTo>
                    <a:pt x="515586" y="426482"/>
                    <a:pt x="362043" y="426482"/>
                    <a:pt x="208500" y="426482"/>
                  </a:cubicBezTo>
                  <a:cubicBezTo>
                    <a:pt x="208690" y="469916"/>
                    <a:pt x="215834" y="517350"/>
                    <a:pt x="248028" y="549450"/>
                  </a:cubicBezTo>
                  <a:cubicBezTo>
                    <a:pt x="289272" y="590693"/>
                    <a:pt x="353089" y="596217"/>
                    <a:pt x="408049" y="587645"/>
                  </a:cubicBezTo>
                  <a:cubicBezTo>
                    <a:pt x="462341" y="579453"/>
                    <a:pt x="506537" y="543449"/>
                    <a:pt x="543589" y="505063"/>
                  </a:cubicBezTo>
                  <a:cubicBezTo>
                    <a:pt x="577308" y="547259"/>
                    <a:pt x="611216" y="589169"/>
                    <a:pt x="645031" y="631269"/>
                  </a:cubicBezTo>
                  <a:cubicBezTo>
                    <a:pt x="580260" y="703755"/>
                    <a:pt x="484153" y="740997"/>
                    <a:pt x="388617" y="747951"/>
                  </a:cubicBezTo>
                  <a:cubicBezTo>
                    <a:pt x="297273" y="756047"/>
                    <a:pt x="198880" y="740140"/>
                    <a:pt x="125441" y="681752"/>
                  </a:cubicBezTo>
                  <a:cubicBezTo>
                    <a:pt x="54481" y="626602"/>
                    <a:pt x="16381" y="538782"/>
                    <a:pt x="5045" y="451342"/>
                  </a:cubicBezTo>
                  <a:cubicBezTo>
                    <a:pt x="-5812" y="363522"/>
                    <a:pt x="-384" y="271701"/>
                    <a:pt x="33526" y="189214"/>
                  </a:cubicBezTo>
                  <a:cubicBezTo>
                    <a:pt x="60291" y="123301"/>
                    <a:pt x="110011" y="66246"/>
                    <a:pt x="174305" y="34909"/>
                  </a:cubicBezTo>
                  <a:moveTo>
                    <a:pt x="232502" y="205788"/>
                  </a:moveTo>
                  <a:cubicBezTo>
                    <a:pt x="213072" y="235887"/>
                    <a:pt x="209262" y="272367"/>
                    <a:pt x="208500" y="307324"/>
                  </a:cubicBezTo>
                  <a:cubicBezTo>
                    <a:pt x="292510" y="307324"/>
                    <a:pt x="376616" y="307324"/>
                    <a:pt x="460722" y="307324"/>
                  </a:cubicBezTo>
                  <a:cubicBezTo>
                    <a:pt x="459770" y="263890"/>
                    <a:pt x="455292" y="215884"/>
                    <a:pt x="423956" y="182547"/>
                  </a:cubicBezTo>
                  <a:cubicBezTo>
                    <a:pt x="372234" y="128730"/>
                    <a:pt x="270317" y="141780"/>
                    <a:pt x="232502" y="205883"/>
                  </a:cubicBezTo>
                  <a:close/>
                </a:path>
              </a:pathLst>
            </a:custGeom>
            <a:solidFill>
              <a:srgbClr val="000000"/>
            </a:solidFill>
            <a:ln w="9525" cap="flat">
              <a:noFill/>
              <a:prstDash val="solid"/>
              <a:miter/>
            </a:ln>
          </p:spPr>
          <p:txBody>
            <a:bodyPr rtlCol="0" anchor="ctr"/>
            <a:lstStyle/>
            <a:p>
              <a:endParaRPr lang="en-US" sz="900"/>
            </a:p>
          </p:txBody>
        </p:sp>
      </p:grpSp>
      <p:pic>
        <p:nvPicPr>
          <p:cNvPr id="4" name="Picture 3">
            <a:extLst>
              <a:ext uri="{FF2B5EF4-FFF2-40B4-BE49-F238E27FC236}">
                <a16:creationId xmlns:a16="http://schemas.microsoft.com/office/drawing/2014/main" id="{2DE16743-7FE4-7DB0-AE65-92E8AEA8C0B8}"/>
              </a:ext>
            </a:extLst>
          </p:cNvPr>
          <p:cNvPicPr>
            <a:picLocks noChangeAspect="1"/>
          </p:cNvPicPr>
          <p:nvPr userDrawn="1"/>
        </p:nvPicPr>
        <p:blipFill>
          <a:blip r:embed="rId2"/>
          <a:stretch>
            <a:fillRect/>
          </a:stretch>
        </p:blipFill>
        <p:spPr>
          <a:xfrm>
            <a:off x="11081689" y="266700"/>
            <a:ext cx="819043" cy="304800"/>
          </a:xfrm>
          <a:prstGeom prst="rect">
            <a:avLst/>
          </a:prstGeom>
        </p:spPr>
      </p:pic>
      <p:sp>
        <p:nvSpPr>
          <p:cNvPr id="24" name="TextBox 23">
            <a:extLst>
              <a:ext uri="{FF2B5EF4-FFF2-40B4-BE49-F238E27FC236}">
                <a16:creationId xmlns:a16="http://schemas.microsoft.com/office/drawing/2014/main" id="{E731D5B8-4EA5-5E55-4109-62B4448E3095}"/>
              </a:ext>
            </a:extLst>
          </p:cNvPr>
          <p:cNvSpPr txBox="1"/>
          <p:nvPr userDrawn="1"/>
        </p:nvSpPr>
        <p:spPr>
          <a:xfrm>
            <a:off x="270381" y="5966327"/>
            <a:ext cx="2761097" cy="646331"/>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r>
              <a:rPr lang="en-US" sz="1400" kern="0"/>
              <a:t>October 21–24, 2024</a:t>
            </a:r>
          </a:p>
          <a:p>
            <a:r>
              <a:rPr lang="en-US" sz="1400" kern="0"/>
              <a:t>Mandalay Bay Convention Center</a:t>
            </a:r>
            <a:br>
              <a:rPr lang="en-US" sz="1400" kern="0"/>
            </a:br>
            <a:r>
              <a:rPr lang="en-US" sz="1400" kern="0"/>
              <a:t>Las Vegas, Nevada</a:t>
            </a:r>
          </a:p>
        </p:txBody>
      </p:sp>
      <p:pic>
        <p:nvPicPr>
          <p:cNvPr id="2" name="Picture 1">
            <a:extLst>
              <a:ext uri="{FF2B5EF4-FFF2-40B4-BE49-F238E27FC236}">
                <a16:creationId xmlns:a16="http://schemas.microsoft.com/office/drawing/2014/main" id="{C5E7312A-C4B6-8291-0DA7-222B472BD0FE}"/>
              </a:ext>
            </a:extLst>
          </p:cNvPr>
          <p:cNvPicPr>
            <a:picLocks noChangeAspect="1"/>
          </p:cNvPicPr>
          <p:nvPr userDrawn="1"/>
        </p:nvPicPr>
        <p:blipFill rotWithShape="1">
          <a:blip r:embed="rId3"/>
          <a:srcRect r="1270" b="1135"/>
          <a:stretch/>
        </p:blipFill>
        <p:spPr>
          <a:xfrm>
            <a:off x="6268221" y="925392"/>
            <a:ext cx="5923779" cy="5932608"/>
          </a:xfrm>
          <a:prstGeom prst="rect">
            <a:avLst/>
          </a:prstGeom>
        </p:spPr>
      </p:pic>
    </p:spTree>
    <p:extLst>
      <p:ext uri="{BB962C8B-B14F-4D97-AF65-F5344CB8AC3E}">
        <p14:creationId xmlns:p14="http://schemas.microsoft.com/office/powerpoint/2010/main" val="820600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sp>
        <p:nvSpPr>
          <p:cNvPr id="8" name="Text Placeholder 5">
            <a:extLst>
              <a:ext uri="{FF2B5EF4-FFF2-40B4-BE49-F238E27FC236}">
                <a16:creationId xmlns:a16="http://schemas.microsoft.com/office/drawing/2014/main" id="{03F79CF1-BB23-64AA-9C92-5A1EAE747F93}"/>
              </a:ext>
            </a:extLst>
          </p:cNvPr>
          <p:cNvSpPr>
            <a:spLocks noGrp="1"/>
          </p:cNvSpPr>
          <p:nvPr>
            <p:ph type="body" sz="quarter" idx="13" hasCustomPrompt="1"/>
          </p:nvPr>
        </p:nvSpPr>
        <p:spPr>
          <a:xfrm>
            <a:off x="262697" y="3429000"/>
            <a:ext cx="5050131" cy="1451113"/>
          </a:xfrm>
        </p:spPr>
        <p:txBody>
          <a:bodyPr/>
          <a:lstStyle/>
          <a:p>
            <a:r>
              <a:rPr lang="en-US"/>
              <a:t>Session code (ID number)</a:t>
            </a:r>
            <a:br>
              <a:rPr lang="en-US"/>
            </a:br>
            <a:r>
              <a:rPr lang="en-US"/>
              <a:t>Session Title</a:t>
            </a:r>
            <a:br>
              <a:rPr lang="en-US"/>
            </a:br>
            <a:r>
              <a:rPr lang="en-US" err="1"/>
              <a:t>Firstname</a:t>
            </a:r>
            <a:r>
              <a:rPr lang="en-US"/>
              <a:t> </a:t>
            </a:r>
            <a:r>
              <a:rPr lang="en-US" err="1"/>
              <a:t>Lastname</a:t>
            </a:r>
            <a:br>
              <a:rPr lang="en-US"/>
            </a:br>
            <a:r>
              <a:rPr lang="en-US"/>
              <a:t>Company, Job Title</a:t>
            </a:r>
          </a:p>
        </p:txBody>
      </p:sp>
      <p:sp>
        <p:nvSpPr>
          <p:cNvPr id="10" name="Title 1">
            <a:extLst>
              <a:ext uri="{FF2B5EF4-FFF2-40B4-BE49-F238E27FC236}">
                <a16:creationId xmlns:a16="http://schemas.microsoft.com/office/drawing/2014/main" id="{C20F0B5B-6B52-3139-61A7-7B7287D7127D}"/>
              </a:ext>
            </a:extLst>
          </p:cNvPr>
          <p:cNvSpPr>
            <a:spLocks noGrp="1"/>
          </p:cNvSpPr>
          <p:nvPr>
            <p:ph type="title"/>
          </p:nvPr>
        </p:nvSpPr>
        <p:spPr>
          <a:xfrm>
            <a:off x="262950" y="1093032"/>
            <a:ext cx="5049878" cy="2070856"/>
          </a:xfrm>
        </p:spPr>
        <p:txBody>
          <a:bodyPr/>
          <a:lstStyle>
            <a:lvl1pPr>
              <a:lnSpc>
                <a:spcPct val="100000"/>
              </a:lnSpc>
              <a:defRPr sz="3199">
                <a:solidFill>
                  <a:schemeClr val="tx2"/>
                </a:solidFill>
              </a:defRPr>
            </a:lvl1pPr>
          </a:lstStyle>
          <a:p>
            <a:r>
              <a:rPr lang="en-US"/>
              <a:t>Click to edit Master title style</a:t>
            </a:r>
          </a:p>
        </p:txBody>
      </p:sp>
      <p:grpSp>
        <p:nvGrpSpPr>
          <p:cNvPr id="26" name="Graphic 5">
            <a:extLst>
              <a:ext uri="{FF2B5EF4-FFF2-40B4-BE49-F238E27FC236}">
                <a16:creationId xmlns:a16="http://schemas.microsoft.com/office/drawing/2014/main" id="{F1A637DE-FA28-1BBA-ED19-561BF47FC9AA}"/>
              </a:ext>
            </a:extLst>
          </p:cNvPr>
          <p:cNvGrpSpPr/>
          <p:nvPr userDrawn="1"/>
        </p:nvGrpSpPr>
        <p:grpSpPr>
          <a:xfrm>
            <a:off x="299134" y="288036"/>
            <a:ext cx="1878950" cy="218297"/>
            <a:chOff x="6597650" y="8572457"/>
            <a:chExt cx="11188016" cy="1299659"/>
          </a:xfrm>
          <a:solidFill>
            <a:srgbClr val="000000"/>
          </a:solidFill>
        </p:grpSpPr>
        <p:sp>
          <p:nvSpPr>
            <p:cNvPr id="27" name="Freeform: Shape 26">
              <a:extLst>
                <a:ext uri="{FF2B5EF4-FFF2-40B4-BE49-F238E27FC236}">
                  <a16:creationId xmlns:a16="http://schemas.microsoft.com/office/drawing/2014/main" id="{F5985145-6140-8167-8472-4F70B1B08F56}"/>
                </a:ext>
              </a:extLst>
            </p:cNvPr>
            <p:cNvSpPr/>
            <p:nvPr/>
          </p:nvSpPr>
          <p:spPr>
            <a:xfrm>
              <a:off x="11603037" y="8572457"/>
              <a:ext cx="633888" cy="1010097"/>
            </a:xfrm>
            <a:custGeom>
              <a:avLst/>
              <a:gdLst>
                <a:gd name="connsiteX0" fmla="*/ 95 w 633888"/>
                <a:gd name="connsiteY0" fmla="*/ 42 h 1010097"/>
                <a:gd name="connsiteX1" fmla="*/ 202502 w 633888"/>
                <a:gd name="connsiteY1" fmla="*/ 42 h 1010097"/>
                <a:gd name="connsiteX2" fmla="*/ 204216 w 633888"/>
                <a:gd name="connsiteY2" fmla="*/ 419904 h 1010097"/>
                <a:gd name="connsiteX3" fmla="*/ 276320 w 633888"/>
                <a:gd name="connsiteY3" fmla="*/ 318463 h 1010097"/>
                <a:gd name="connsiteX4" fmla="*/ 591884 w 633888"/>
                <a:gd name="connsiteY4" fmla="*/ 373899 h 1010097"/>
                <a:gd name="connsiteX5" fmla="*/ 633793 w 633888"/>
                <a:gd name="connsiteY5" fmla="*/ 562303 h 1010097"/>
                <a:gd name="connsiteX6" fmla="*/ 633889 w 633888"/>
                <a:gd name="connsiteY6" fmla="*/ 1010073 h 1010097"/>
                <a:gd name="connsiteX7" fmla="*/ 431482 w 633888"/>
                <a:gd name="connsiteY7" fmla="*/ 1010073 h 1010097"/>
                <a:gd name="connsiteX8" fmla="*/ 431102 w 633888"/>
                <a:gd name="connsiteY8" fmla="*/ 561827 h 1010097"/>
                <a:gd name="connsiteX9" fmla="*/ 376333 w 633888"/>
                <a:gd name="connsiteY9" fmla="*/ 448765 h 1010097"/>
                <a:gd name="connsiteX10" fmla="*/ 203454 w 633888"/>
                <a:gd name="connsiteY10" fmla="*/ 533538 h 1010097"/>
                <a:gd name="connsiteX11" fmla="*/ 202502 w 633888"/>
                <a:gd name="connsiteY11" fmla="*/ 1010073 h 1010097"/>
                <a:gd name="connsiteX12" fmla="*/ 0 w 633888"/>
                <a:gd name="connsiteY12" fmla="*/ 1009978 h 1010097"/>
                <a:gd name="connsiteX13" fmla="*/ 95 w 633888"/>
                <a:gd name="connsiteY13" fmla="*/ 42 h 101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3888" h="1010097">
                  <a:moveTo>
                    <a:pt x="95" y="42"/>
                  </a:moveTo>
                  <a:cubicBezTo>
                    <a:pt x="67533" y="-53"/>
                    <a:pt x="134969" y="42"/>
                    <a:pt x="202502" y="42"/>
                  </a:cubicBezTo>
                  <a:cubicBezTo>
                    <a:pt x="203549" y="139965"/>
                    <a:pt x="200311" y="280077"/>
                    <a:pt x="204216" y="419904"/>
                  </a:cubicBezTo>
                  <a:cubicBezTo>
                    <a:pt x="224504" y="383709"/>
                    <a:pt x="241364" y="343419"/>
                    <a:pt x="276320" y="318463"/>
                  </a:cubicBezTo>
                  <a:cubicBezTo>
                    <a:pt x="371284" y="247692"/>
                    <a:pt x="531781" y="265695"/>
                    <a:pt x="591884" y="373899"/>
                  </a:cubicBezTo>
                  <a:cubicBezTo>
                    <a:pt x="624840" y="430668"/>
                    <a:pt x="633413" y="497724"/>
                    <a:pt x="633793" y="562303"/>
                  </a:cubicBezTo>
                  <a:cubicBezTo>
                    <a:pt x="633984" y="711560"/>
                    <a:pt x="633793" y="860817"/>
                    <a:pt x="633889" y="1010073"/>
                  </a:cubicBezTo>
                  <a:lnTo>
                    <a:pt x="431482" y="1010073"/>
                  </a:lnTo>
                  <a:cubicBezTo>
                    <a:pt x="431197" y="860626"/>
                    <a:pt x="432054" y="711179"/>
                    <a:pt x="431102" y="561827"/>
                  </a:cubicBezTo>
                  <a:cubicBezTo>
                    <a:pt x="429959" y="519441"/>
                    <a:pt x="420624" y="466386"/>
                    <a:pt x="376333" y="448765"/>
                  </a:cubicBezTo>
                  <a:cubicBezTo>
                    <a:pt x="310801" y="425334"/>
                    <a:pt x="211836" y="455052"/>
                    <a:pt x="203454" y="533538"/>
                  </a:cubicBezTo>
                  <a:cubicBezTo>
                    <a:pt x="201168" y="692319"/>
                    <a:pt x="203168" y="851196"/>
                    <a:pt x="202502" y="1010073"/>
                  </a:cubicBezTo>
                  <a:cubicBezTo>
                    <a:pt x="134969" y="1010073"/>
                    <a:pt x="67533" y="1010169"/>
                    <a:pt x="0" y="1009978"/>
                  </a:cubicBezTo>
                  <a:cubicBezTo>
                    <a:pt x="191" y="673365"/>
                    <a:pt x="95" y="336656"/>
                    <a:pt x="95" y="42"/>
                  </a:cubicBezTo>
                  <a:close/>
                </a:path>
              </a:pathLst>
            </a:custGeom>
            <a:solidFill>
              <a:srgbClr val="000000"/>
            </a:solidFill>
            <a:ln w="9525" cap="flat">
              <a:noFill/>
              <a:prstDash val="solid"/>
              <a:miter/>
            </a:ln>
          </p:spPr>
          <p:txBody>
            <a:bodyPr rtlCol="0" anchor="ctr"/>
            <a:lstStyle/>
            <a:p>
              <a:endParaRPr lang="en-US" sz="900"/>
            </a:p>
          </p:txBody>
        </p:sp>
        <p:sp>
          <p:nvSpPr>
            <p:cNvPr id="28" name="Freeform: Shape 27">
              <a:extLst>
                <a:ext uri="{FF2B5EF4-FFF2-40B4-BE49-F238E27FC236}">
                  <a16:creationId xmlns:a16="http://schemas.microsoft.com/office/drawing/2014/main" id="{7D933579-F84C-4074-BCE8-A5F3C6A8C115}"/>
                </a:ext>
              </a:extLst>
            </p:cNvPr>
            <p:cNvSpPr/>
            <p:nvPr/>
          </p:nvSpPr>
          <p:spPr>
            <a:xfrm>
              <a:off x="14012576" y="8572457"/>
              <a:ext cx="634202" cy="1010164"/>
            </a:xfrm>
            <a:custGeom>
              <a:avLst/>
              <a:gdLst>
                <a:gd name="connsiteX0" fmla="*/ 381 w 634202"/>
                <a:gd name="connsiteY0" fmla="*/ 42 h 1010164"/>
                <a:gd name="connsiteX1" fmla="*/ 202788 w 634202"/>
                <a:gd name="connsiteY1" fmla="*/ 42 h 1010164"/>
                <a:gd name="connsiteX2" fmla="*/ 204502 w 634202"/>
                <a:gd name="connsiteY2" fmla="*/ 419904 h 1010164"/>
                <a:gd name="connsiteX3" fmla="*/ 271558 w 634202"/>
                <a:gd name="connsiteY3" fmla="*/ 322559 h 1010164"/>
                <a:gd name="connsiteX4" fmla="*/ 596265 w 634202"/>
                <a:gd name="connsiteY4" fmla="*/ 381233 h 1010164"/>
                <a:gd name="connsiteX5" fmla="*/ 634175 w 634202"/>
                <a:gd name="connsiteY5" fmla="*/ 562303 h 1010164"/>
                <a:gd name="connsiteX6" fmla="*/ 634175 w 634202"/>
                <a:gd name="connsiteY6" fmla="*/ 1010073 h 1010164"/>
                <a:gd name="connsiteX7" fmla="*/ 431768 w 634202"/>
                <a:gd name="connsiteY7" fmla="*/ 1010073 h 1010164"/>
                <a:gd name="connsiteX8" fmla="*/ 431388 w 634202"/>
                <a:gd name="connsiteY8" fmla="*/ 562303 h 1010164"/>
                <a:gd name="connsiteX9" fmla="*/ 376333 w 634202"/>
                <a:gd name="connsiteY9" fmla="*/ 448575 h 1010164"/>
                <a:gd name="connsiteX10" fmla="*/ 203835 w 634202"/>
                <a:gd name="connsiteY10" fmla="*/ 533347 h 1010164"/>
                <a:gd name="connsiteX11" fmla="*/ 202788 w 634202"/>
                <a:gd name="connsiteY11" fmla="*/ 1010073 h 1010164"/>
                <a:gd name="connsiteX12" fmla="*/ 0 w 634202"/>
                <a:gd name="connsiteY12" fmla="*/ 1009597 h 1010164"/>
                <a:gd name="connsiteX13" fmla="*/ 381 w 634202"/>
                <a:gd name="connsiteY13" fmla="*/ 42 h 1010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4202" h="1010164">
                  <a:moveTo>
                    <a:pt x="381" y="42"/>
                  </a:moveTo>
                  <a:cubicBezTo>
                    <a:pt x="67819" y="-53"/>
                    <a:pt x="135255" y="42"/>
                    <a:pt x="202788" y="42"/>
                  </a:cubicBezTo>
                  <a:cubicBezTo>
                    <a:pt x="203835" y="139965"/>
                    <a:pt x="200597" y="280077"/>
                    <a:pt x="204502" y="419904"/>
                  </a:cubicBezTo>
                  <a:cubicBezTo>
                    <a:pt x="223933" y="385710"/>
                    <a:pt x="239363" y="347419"/>
                    <a:pt x="271558" y="322559"/>
                  </a:cubicBezTo>
                  <a:cubicBezTo>
                    <a:pt x="367856" y="244644"/>
                    <a:pt x="538544" y="265314"/>
                    <a:pt x="596265" y="381233"/>
                  </a:cubicBezTo>
                  <a:cubicBezTo>
                    <a:pt x="625888" y="436573"/>
                    <a:pt x="633794" y="500391"/>
                    <a:pt x="634175" y="562303"/>
                  </a:cubicBezTo>
                  <a:cubicBezTo>
                    <a:pt x="634270" y="711560"/>
                    <a:pt x="634079" y="860817"/>
                    <a:pt x="634175" y="1010073"/>
                  </a:cubicBezTo>
                  <a:lnTo>
                    <a:pt x="431768" y="1010073"/>
                  </a:lnTo>
                  <a:cubicBezTo>
                    <a:pt x="431483" y="860817"/>
                    <a:pt x="432245" y="711560"/>
                    <a:pt x="431388" y="562303"/>
                  </a:cubicBezTo>
                  <a:cubicBezTo>
                    <a:pt x="430340" y="519822"/>
                    <a:pt x="421005" y="466101"/>
                    <a:pt x="376333" y="448575"/>
                  </a:cubicBezTo>
                  <a:cubicBezTo>
                    <a:pt x="310801" y="425524"/>
                    <a:pt x="212408" y="455147"/>
                    <a:pt x="203835" y="533347"/>
                  </a:cubicBezTo>
                  <a:cubicBezTo>
                    <a:pt x="201359" y="692129"/>
                    <a:pt x="203454" y="851101"/>
                    <a:pt x="202788" y="1010073"/>
                  </a:cubicBezTo>
                  <a:cubicBezTo>
                    <a:pt x="135160" y="1009883"/>
                    <a:pt x="67533" y="1010645"/>
                    <a:pt x="0" y="1009597"/>
                  </a:cubicBezTo>
                  <a:cubicBezTo>
                    <a:pt x="858" y="673079"/>
                    <a:pt x="95" y="336561"/>
                    <a:pt x="381" y="42"/>
                  </a:cubicBezTo>
                  <a:close/>
                </a:path>
              </a:pathLst>
            </a:custGeom>
            <a:solidFill>
              <a:srgbClr val="000000"/>
            </a:solidFill>
            <a:ln w="9525" cap="flat">
              <a:noFill/>
              <a:prstDash val="solid"/>
              <a:miter/>
            </a:ln>
          </p:spPr>
          <p:txBody>
            <a:bodyPr rtlCol="0" anchor="ctr"/>
            <a:lstStyle/>
            <a:p>
              <a:endParaRPr lang="en-US" sz="900"/>
            </a:p>
          </p:txBody>
        </p:sp>
        <p:sp>
          <p:nvSpPr>
            <p:cNvPr id="29" name="Freeform: Shape 28">
              <a:extLst>
                <a:ext uri="{FF2B5EF4-FFF2-40B4-BE49-F238E27FC236}">
                  <a16:creationId xmlns:a16="http://schemas.microsoft.com/office/drawing/2014/main" id="{EB61EFE4-D8E6-B1E2-379D-12B26CE8F152}"/>
                </a:ext>
              </a:extLst>
            </p:cNvPr>
            <p:cNvSpPr/>
            <p:nvPr/>
          </p:nvSpPr>
          <p:spPr>
            <a:xfrm>
              <a:off x="6597650" y="8630030"/>
              <a:ext cx="382566" cy="952500"/>
            </a:xfrm>
            <a:custGeom>
              <a:avLst/>
              <a:gdLst>
                <a:gd name="connsiteX0" fmla="*/ 0 w 382566"/>
                <a:gd name="connsiteY0" fmla="*/ 0 h 952500"/>
                <a:gd name="connsiteX1" fmla="*/ 382524 w 382566"/>
                <a:gd name="connsiteY1" fmla="*/ 0 h 952500"/>
                <a:gd name="connsiteX2" fmla="*/ 382524 w 382566"/>
                <a:gd name="connsiteY2" fmla="*/ 95631 h 952500"/>
                <a:gd name="connsiteX3" fmla="*/ 248793 w 382566"/>
                <a:gd name="connsiteY3" fmla="*/ 95631 h 952500"/>
                <a:gd name="connsiteX4" fmla="*/ 248793 w 382566"/>
                <a:gd name="connsiteY4" fmla="*/ 856869 h 952500"/>
                <a:gd name="connsiteX5" fmla="*/ 382524 w 382566"/>
                <a:gd name="connsiteY5" fmla="*/ 856869 h 952500"/>
                <a:gd name="connsiteX6" fmla="*/ 382524 w 382566"/>
                <a:gd name="connsiteY6" fmla="*/ 952500 h 952500"/>
                <a:gd name="connsiteX7" fmla="*/ 0 w 382566"/>
                <a:gd name="connsiteY7" fmla="*/ 952500 h 952500"/>
                <a:gd name="connsiteX8" fmla="*/ 0 w 382566"/>
                <a:gd name="connsiteY8" fmla="*/ 856869 h 952500"/>
                <a:gd name="connsiteX9" fmla="*/ 133731 w 382566"/>
                <a:gd name="connsiteY9" fmla="*/ 856869 h 952500"/>
                <a:gd name="connsiteX10" fmla="*/ 133731 w 382566"/>
                <a:gd name="connsiteY10" fmla="*/ 95631 h 952500"/>
                <a:gd name="connsiteX11" fmla="*/ 0 w 382566"/>
                <a:gd name="connsiteY11" fmla="*/ 95631 h 952500"/>
                <a:gd name="connsiteX12" fmla="*/ 0 w 382566"/>
                <a:gd name="connsiteY12" fmla="*/ 0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2566" h="952500">
                  <a:moveTo>
                    <a:pt x="0" y="0"/>
                  </a:moveTo>
                  <a:lnTo>
                    <a:pt x="382524" y="0"/>
                  </a:lnTo>
                  <a:lnTo>
                    <a:pt x="382524" y="95631"/>
                  </a:lnTo>
                  <a:lnTo>
                    <a:pt x="248793" y="95631"/>
                  </a:lnTo>
                  <a:lnTo>
                    <a:pt x="248793" y="856869"/>
                  </a:lnTo>
                  <a:cubicBezTo>
                    <a:pt x="293370" y="856869"/>
                    <a:pt x="337947" y="856869"/>
                    <a:pt x="382524" y="856869"/>
                  </a:cubicBezTo>
                  <a:cubicBezTo>
                    <a:pt x="382524" y="888682"/>
                    <a:pt x="382619" y="920591"/>
                    <a:pt x="382524" y="952500"/>
                  </a:cubicBezTo>
                  <a:lnTo>
                    <a:pt x="0" y="952500"/>
                  </a:lnTo>
                  <a:cubicBezTo>
                    <a:pt x="0" y="920591"/>
                    <a:pt x="0" y="888682"/>
                    <a:pt x="0" y="856869"/>
                  </a:cubicBezTo>
                  <a:cubicBezTo>
                    <a:pt x="44577" y="856869"/>
                    <a:pt x="89154" y="856869"/>
                    <a:pt x="133731" y="856869"/>
                  </a:cubicBezTo>
                  <a:lnTo>
                    <a:pt x="133731" y="95631"/>
                  </a:lnTo>
                  <a:lnTo>
                    <a:pt x="0" y="95631"/>
                  </a:lnTo>
                  <a:cubicBezTo>
                    <a:pt x="0" y="63722"/>
                    <a:pt x="0" y="31909"/>
                    <a:pt x="0" y="0"/>
                  </a:cubicBezTo>
                  <a:close/>
                </a:path>
              </a:pathLst>
            </a:custGeom>
            <a:solidFill>
              <a:srgbClr val="000000"/>
            </a:solidFill>
            <a:ln w="9525" cap="flat">
              <a:noFill/>
              <a:prstDash val="solid"/>
              <a:miter/>
            </a:ln>
          </p:spPr>
          <p:txBody>
            <a:bodyPr rtlCol="0" anchor="ctr"/>
            <a:lstStyle/>
            <a:p>
              <a:endParaRPr lang="en-US" sz="900"/>
            </a:p>
          </p:txBody>
        </p:sp>
        <p:sp>
          <p:nvSpPr>
            <p:cNvPr id="30" name="Freeform: Shape 29">
              <a:extLst>
                <a:ext uri="{FF2B5EF4-FFF2-40B4-BE49-F238E27FC236}">
                  <a16:creationId xmlns:a16="http://schemas.microsoft.com/office/drawing/2014/main" id="{EB4E91B9-0A97-3141-A66A-E824B4E354B8}"/>
                </a:ext>
              </a:extLst>
            </p:cNvPr>
            <p:cNvSpPr/>
            <p:nvPr/>
          </p:nvSpPr>
          <p:spPr>
            <a:xfrm>
              <a:off x="7188676" y="8629948"/>
              <a:ext cx="678881" cy="952722"/>
            </a:xfrm>
            <a:custGeom>
              <a:avLst/>
              <a:gdLst>
                <a:gd name="connsiteX0" fmla="*/ 0 w 678881"/>
                <a:gd name="connsiteY0" fmla="*/ 83 h 952722"/>
                <a:gd name="connsiteX1" fmla="*/ 409956 w 678881"/>
                <a:gd name="connsiteY1" fmla="*/ 464 h 952722"/>
                <a:gd name="connsiteX2" fmla="*/ 622554 w 678881"/>
                <a:gd name="connsiteY2" fmla="*/ 130575 h 952722"/>
                <a:gd name="connsiteX3" fmla="*/ 607886 w 678881"/>
                <a:gd name="connsiteY3" fmla="*/ 378130 h 952722"/>
                <a:gd name="connsiteX4" fmla="*/ 486347 w 678881"/>
                <a:gd name="connsiteY4" fmla="*/ 452711 h 952722"/>
                <a:gd name="connsiteX5" fmla="*/ 662940 w 678881"/>
                <a:gd name="connsiteY5" fmla="*/ 585394 h 952722"/>
                <a:gd name="connsiteX6" fmla="*/ 543878 w 678881"/>
                <a:gd name="connsiteY6" fmla="*/ 925246 h 952722"/>
                <a:gd name="connsiteX7" fmla="*/ 428530 w 678881"/>
                <a:gd name="connsiteY7" fmla="*/ 952678 h 952722"/>
                <a:gd name="connsiteX8" fmla="*/ 0 w 678881"/>
                <a:gd name="connsiteY8" fmla="*/ 952583 h 952722"/>
                <a:gd name="connsiteX9" fmla="*/ 0 w 678881"/>
                <a:gd name="connsiteY9" fmla="*/ 83 h 952722"/>
                <a:gd name="connsiteX10" fmla="*/ 115062 w 678881"/>
                <a:gd name="connsiteY10" fmla="*/ 101238 h 952722"/>
                <a:gd name="connsiteX11" fmla="*/ 115062 w 678881"/>
                <a:gd name="connsiteY11" fmla="*/ 412039 h 952722"/>
                <a:gd name="connsiteX12" fmla="*/ 400050 w 678881"/>
                <a:gd name="connsiteY12" fmla="*/ 410896 h 952722"/>
                <a:gd name="connsiteX13" fmla="*/ 519398 w 678881"/>
                <a:gd name="connsiteY13" fmla="*/ 313646 h 952722"/>
                <a:gd name="connsiteX14" fmla="*/ 513969 w 678881"/>
                <a:gd name="connsiteY14" fmla="*/ 180391 h 952722"/>
                <a:gd name="connsiteX15" fmla="*/ 389858 w 678881"/>
                <a:gd name="connsiteY15" fmla="*/ 101715 h 952722"/>
                <a:gd name="connsiteX16" fmla="*/ 115062 w 678881"/>
                <a:gd name="connsiteY16" fmla="*/ 101238 h 952722"/>
                <a:gd name="connsiteX17" fmla="*/ 115062 w 678881"/>
                <a:gd name="connsiteY17" fmla="*/ 510432 h 952722"/>
                <a:gd name="connsiteX18" fmla="*/ 115062 w 678881"/>
                <a:gd name="connsiteY18" fmla="*/ 851427 h 952722"/>
                <a:gd name="connsiteX19" fmla="*/ 400526 w 678881"/>
                <a:gd name="connsiteY19" fmla="*/ 851332 h 952722"/>
                <a:gd name="connsiteX20" fmla="*/ 520637 w 678881"/>
                <a:gd name="connsiteY20" fmla="*/ 805993 h 952722"/>
                <a:gd name="connsiteX21" fmla="*/ 555498 w 678881"/>
                <a:gd name="connsiteY21" fmla="*/ 705314 h 952722"/>
                <a:gd name="connsiteX22" fmla="*/ 529304 w 678881"/>
                <a:gd name="connsiteY22" fmla="*/ 566535 h 952722"/>
                <a:gd name="connsiteX23" fmla="*/ 400241 w 678881"/>
                <a:gd name="connsiteY23" fmla="*/ 510623 h 952722"/>
                <a:gd name="connsiteX24" fmla="*/ 115062 w 678881"/>
                <a:gd name="connsiteY24" fmla="*/ 510432 h 952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8881" h="952722">
                  <a:moveTo>
                    <a:pt x="0" y="83"/>
                  </a:moveTo>
                  <a:cubicBezTo>
                    <a:pt x="136684" y="369"/>
                    <a:pt x="273272" y="-489"/>
                    <a:pt x="409956" y="464"/>
                  </a:cubicBezTo>
                  <a:cubicBezTo>
                    <a:pt x="497015" y="1893"/>
                    <a:pt x="586931" y="48279"/>
                    <a:pt x="622554" y="130575"/>
                  </a:cubicBezTo>
                  <a:cubicBezTo>
                    <a:pt x="655701" y="208490"/>
                    <a:pt x="657416" y="306693"/>
                    <a:pt x="607886" y="378130"/>
                  </a:cubicBezTo>
                  <a:cubicBezTo>
                    <a:pt x="580073" y="419850"/>
                    <a:pt x="532067" y="438328"/>
                    <a:pt x="486347" y="452711"/>
                  </a:cubicBezTo>
                  <a:cubicBezTo>
                    <a:pt x="563213" y="461950"/>
                    <a:pt x="636365" y="510909"/>
                    <a:pt x="662940" y="585394"/>
                  </a:cubicBezTo>
                  <a:cubicBezTo>
                    <a:pt x="705898" y="706743"/>
                    <a:pt x="660654" y="862191"/>
                    <a:pt x="543878" y="925246"/>
                  </a:cubicBezTo>
                  <a:cubicBezTo>
                    <a:pt x="508730" y="944391"/>
                    <a:pt x="468440" y="953440"/>
                    <a:pt x="428530" y="952678"/>
                  </a:cubicBezTo>
                  <a:cubicBezTo>
                    <a:pt x="285655" y="952488"/>
                    <a:pt x="142875" y="952583"/>
                    <a:pt x="0" y="952583"/>
                  </a:cubicBezTo>
                  <a:lnTo>
                    <a:pt x="0" y="83"/>
                  </a:lnTo>
                  <a:moveTo>
                    <a:pt x="115062" y="101238"/>
                  </a:moveTo>
                  <a:lnTo>
                    <a:pt x="115062" y="412039"/>
                  </a:lnTo>
                  <a:cubicBezTo>
                    <a:pt x="210026" y="411277"/>
                    <a:pt x="305086" y="413658"/>
                    <a:pt x="400050" y="410896"/>
                  </a:cubicBezTo>
                  <a:cubicBezTo>
                    <a:pt x="455486" y="408896"/>
                    <a:pt x="510540" y="370605"/>
                    <a:pt x="519398" y="313646"/>
                  </a:cubicBezTo>
                  <a:cubicBezTo>
                    <a:pt x="523875" y="269640"/>
                    <a:pt x="527495" y="223158"/>
                    <a:pt x="513969" y="180391"/>
                  </a:cubicBezTo>
                  <a:cubicBezTo>
                    <a:pt x="496919" y="128956"/>
                    <a:pt x="441293" y="102000"/>
                    <a:pt x="389858" y="101715"/>
                  </a:cubicBezTo>
                  <a:cubicBezTo>
                    <a:pt x="298228" y="100572"/>
                    <a:pt x="206693" y="101715"/>
                    <a:pt x="115062" y="101238"/>
                  </a:cubicBezTo>
                  <a:moveTo>
                    <a:pt x="115062" y="510432"/>
                  </a:moveTo>
                  <a:lnTo>
                    <a:pt x="115062" y="851427"/>
                  </a:lnTo>
                  <a:cubicBezTo>
                    <a:pt x="210217" y="851332"/>
                    <a:pt x="305372" y="851523"/>
                    <a:pt x="400526" y="851332"/>
                  </a:cubicBezTo>
                  <a:cubicBezTo>
                    <a:pt x="443960" y="851046"/>
                    <a:pt x="490538" y="839235"/>
                    <a:pt x="520637" y="805993"/>
                  </a:cubicBezTo>
                  <a:cubicBezTo>
                    <a:pt x="545878" y="779133"/>
                    <a:pt x="555212" y="741318"/>
                    <a:pt x="555498" y="705314"/>
                  </a:cubicBezTo>
                  <a:cubicBezTo>
                    <a:pt x="556355" y="658356"/>
                    <a:pt x="558832" y="606349"/>
                    <a:pt x="529304" y="566535"/>
                  </a:cubicBezTo>
                  <a:cubicBezTo>
                    <a:pt x="500348" y="525768"/>
                    <a:pt x="448056" y="510718"/>
                    <a:pt x="400241" y="510623"/>
                  </a:cubicBezTo>
                  <a:cubicBezTo>
                    <a:pt x="305181" y="510147"/>
                    <a:pt x="210122" y="510623"/>
                    <a:pt x="115062" y="510432"/>
                  </a:cubicBezTo>
                  <a:close/>
                </a:path>
              </a:pathLst>
            </a:custGeom>
            <a:solidFill>
              <a:srgbClr val="000000"/>
            </a:solidFill>
            <a:ln w="9525" cap="flat">
              <a:noFill/>
              <a:prstDash val="solid"/>
              <a:miter/>
            </a:ln>
          </p:spPr>
          <p:txBody>
            <a:bodyPr rtlCol="0" anchor="ctr"/>
            <a:lstStyle/>
            <a:p>
              <a:endParaRPr lang="en-US" sz="900"/>
            </a:p>
          </p:txBody>
        </p:sp>
        <p:sp>
          <p:nvSpPr>
            <p:cNvPr id="31" name="Freeform: Shape 30">
              <a:extLst>
                <a:ext uri="{FF2B5EF4-FFF2-40B4-BE49-F238E27FC236}">
                  <a16:creationId xmlns:a16="http://schemas.microsoft.com/office/drawing/2014/main" id="{DAC6552B-CC29-F330-6668-3C653EA3A00C}"/>
                </a:ext>
              </a:extLst>
            </p:cNvPr>
            <p:cNvSpPr/>
            <p:nvPr/>
          </p:nvSpPr>
          <p:spPr>
            <a:xfrm>
              <a:off x="8079644" y="8629935"/>
              <a:ext cx="854868" cy="952499"/>
            </a:xfrm>
            <a:custGeom>
              <a:avLst/>
              <a:gdLst>
                <a:gd name="connsiteX0" fmla="*/ 0 w 854868"/>
                <a:gd name="connsiteY0" fmla="*/ 95 h 952499"/>
                <a:gd name="connsiteX1" fmla="*/ 153734 w 854868"/>
                <a:gd name="connsiteY1" fmla="*/ 95 h 952499"/>
                <a:gd name="connsiteX2" fmla="*/ 430530 w 854868"/>
                <a:gd name="connsiteY2" fmla="*/ 516827 h 952499"/>
                <a:gd name="connsiteX3" fmla="*/ 706946 w 854868"/>
                <a:gd name="connsiteY3" fmla="*/ 0 h 952499"/>
                <a:gd name="connsiteX4" fmla="*/ 854869 w 854868"/>
                <a:gd name="connsiteY4" fmla="*/ 0 h 952499"/>
                <a:gd name="connsiteX5" fmla="*/ 854869 w 854868"/>
                <a:gd name="connsiteY5" fmla="*/ 952500 h 952499"/>
                <a:gd name="connsiteX6" fmla="*/ 742569 w 854868"/>
                <a:gd name="connsiteY6" fmla="*/ 952500 h 952499"/>
                <a:gd name="connsiteX7" fmla="*/ 741521 w 854868"/>
                <a:gd name="connsiteY7" fmla="*/ 146780 h 952499"/>
                <a:gd name="connsiteX8" fmla="*/ 707422 w 854868"/>
                <a:gd name="connsiteY8" fmla="*/ 207074 h 952499"/>
                <a:gd name="connsiteX9" fmla="*/ 427577 w 854868"/>
                <a:gd name="connsiteY9" fmla="*/ 725138 h 952499"/>
                <a:gd name="connsiteX10" fmla="*/ 193262 w 854868"/>
                <a:gd name="connsiteY10" fmla="*/ 297752 h 952499"/>
                <a:gd name="connsiteX11" fmla="*/ 113348 w 854868"/>
                <a:gd name="connsiteY11" fmla="*/ 146209 h 952499"/>
                <a:gd name="connsiteX12" fmla="*/ 112300 w 854868"/>
                <a:gd name="connsiteY12" fmla="*/ 952500 h 952499"/>
                <a:gd name="connsiteX13" fmla="*/ 0 w 854868"/>
                <a:gd name="connsiteY13" fmla="*/ 952500 h 952499"/>
                <a:gd name="connsiteX14" fmla="*/ 0 w 854868"/>
                <a:gd name="connsiteY14" fmla="*/ 95 h 952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54868" h="952499">
                  <a:moveTo>
                    <a:pt x="0" y="95"/>
                  </a:moveTo>
                  <a:cubicBezTo>
                    <a:pt x="51245" y="95"/>
                    <a:pt x="102489" y="95"/>
                    <a:pt x="153734" y="95"/>
                  </a:cubicBezTo>
                  <a:cubicBezTo>
                    <a:pt x="246221" y="172212"/>
                    <a:pt x="335090" y="346424"/>
                    <a:pt x="430530" y="516827"/>
                  </a:cubicBezTo>
                  <a:cubicBezTo>
                    <a:pt x="522923" y="344615"/>
                    <a:pt x="614744" y="172212"/>
                    <a:pt x="706946" y="0"/>
                  </a:cubicBezTo>
                  <a:lnTo>
                    <a:pt x="854869" y="0"/>
                  </a:lnTo>
                  <a:lnTo>
                    <a:pt x="854869" y="952500"/>
                  </a:lnTo>
                  <a:lnTo>
                    <a:pt x="742569" y="952500"/>
                  </a:lnTo>
                  <a:cubicBezTo>
                    <a:pt x="741902" y="683895"/>
                    <a:pt x="743998" y="415290"/>
                    <a:pt x="741521" y="146780"/>
                  </a:cubicBezTo>
                  <a:cubicBezTo>
                    <a:pt x="726948" y="164973"/>
                    <a:pt x="717613" y="186404"/>
                    <a:pt x="707422" y="207074"/>
                  </a:cubicBezTo>
                  <a:cubicBezTo>
                    <a:pt x="619982" y="382810"/>
                    <a:pt x="520541" y="552260"/>
                    <a:pt x="427577" y="725138"/>
                  </a:cubicBezTo>
                  <a:cubicBezTo>
                    <a:pt x="349472" y="582644"/>
                    <a:pt x="270510" y="440722"/>
                    <a:pt x="193262" y="297752"/>
                  </a:cubicBezTo>
                  <a:cubicBezTo>
                    <a:pt x="165830" y="247650"/>
                    <a:pt x="145161" y="193739"/>
                    <a:pt x="113348" y="146209"/>
                  </a:cubicBezTo>
                  <a:cubicBezTo>
                    <a:pt x="110966" y="415004"/>
                    <a:pt x="112967" y="683705"/>
                    <a:pt x="112300" y="952500"/>
                  </a:cubicBezTo>
                  <a:lnTo>
                    <a:pt x="0" y="952500"/>
                  </a:lnTo>
                  <a:lnTo>
                    <a:pt x="0" y="95"/>
                  </a:lnTo>
                  <a:close/>
                </a:path>
              </a:pathLst>
            </a:custGeom>
            <a:solidFill>
              <a:srgbClr val="000000"/>
            </a:solidFill>
            <a:ln w="9525" cap="flat">
              <a:noFill/>
              <a:prstDash val="solid"/>
              <a:miter/>
            </a:ln>
          </p:spPr>
          <p:txBody>
            <a:bodyPr rtlCol="0" anchor="ctr"/>
            <a:lstStyle/>
            <a:p>
              <a:endParaRPr lang="en-US" sz="900"/>
            </a:p>
          </p:txBody>
        </p:sp>
        <p:sp>
          <p:nvSpPr>
            <p:cNvPr id="32" name="Freeform: Shape 31">
              <a:extLst>
                <a:ext uri="{FF2B5EF4-FFF2-40B4-BE49-F238E27FC236}">
                  <a16:creationId xmlns:a16="http://schemas.microsoft.com/office/drawing/2014/main" id="{19266CF2-A3CF-C8D9-7BB9-06D2E42E9729}"/>
                </a:ext>
              </a:extLst>
            </p:cNvPr>
            <p:cNvSpPr/>
            <p:nvPr/>
          </p:nvSpPr>
          <p:spPr>
            <a:xfrm>
              <a:off x="9365138" y="8630030"/>
              <a:ext cx="723900" cy="952500"/>
            </a:xfrm>
            <a:custGeom>
              <a:avLst/>
              <a:gdLst>
                <a:gd name="connsiteX0" fmla="*/ 0 w 723900"/>
                <a:gd name="connsiteY0" fmla="*/ 0 h 952500"/>
                <a:gd name="connsiteX1" fmla="*/ 723900 w 723900"/>
                <a:gd name="connsiteY1" fmla="*/ 0 h 952500"/>
                <a:gd name="connsiteX2" fmla="*/ 723900 w 723900"/>
                <a:gd name="connsiteY2" fmla="*/ 184595 h 952500"/>
                <a:gd name="connsiteX3" fmla="*/ 465963 w 723900"/>
                <a:gd name="connsiteY3" fmla="*/ 184499 h 952500"/>
                <a:gd name="connsiteX4" fmla="*/ 465963 w 723900"/>
                <a:gd name="connsiteY4" fmla="*/ 952500 h 952500"/>
                <a:gd name="connsiteX5" fmla="*/ 257937 w 723900"/>
                <a:gd name="connsiteY5" fmla="*/ 952500 h 952500"/>
                <a:gd name="connsiteX6" fmla="*/ 257937 w 723900"/>
                <a:gd name="connsiteY6" fmla="*/ 184595 h 952500"/>
                <a:gd name="connsiteX7" fmla="*/ 0 w 723900"/>
                <a:gd name="connsiteY7" fmla="*/ 184595 h 952500"/>
                <a:gd name="connsiteX8" fmla="*/ 0 w 723900"/>
                <a:gd name="connsiteY8" fmla="*/ 0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3900" h="952500">
                  <a:moveTo>
                    <a:pt x="0" y="0"/>
                  </a:moveTo>
                  <a:lnTo>
                    <a:pt x="723900" y="0"/>
                  </a:lnTo>
                  <a:lnTo>
                    <a:pt x="723900" y="184595"/>
                  </a:lnTo>
                  <a:cubicBezTo>
                    <a:pt x="637889" y="184595"/>
                    <a:pt x="551879" y="184595"/>
                    <a:pt x="465963" y="184499"/>
                  </a:cubicBezTo>
                  <a:cubicBezTo>
                    <a:pt x="465868" y="440531"/>
                    <a:pt x="465963" y="696468"/>
                    <a:pt x="465963" y="952500"/>
                  </a:cubicBezTo>
                  <a:lnTo>
                    <a:pt x="257937" y="952500"/>
                  </a:lnTo>
                  <a:lnTo>
                    <a:pt x="257937" y="184595"/>
                  </a:lnTo>
                  <a:cubicBezTo>
                    <a:pt x="172021" y="184499"/>
                    <a:pt x="86011" y="184595"/>
                    <a:pt x="0" y="184595"/>
                  </a:cubicBezTo>
                  <a:lnTo>
                    <a:pt x="0" y="0"/>
                  </a:lnTo>
                  <a:close/>
                </a:path>
              </a:pathLst>
            </a:custGeom>
            <a:solidFill>
              <a:srgbClr val="000000"/>
            </a:solidFill>
            <a:ln w="9525" cap="flat">
              <a:noFill/>
              <a:prstDash val="solid"/>
              <a:miter/>
            </a:ln>
          </p:spPr>
          <p:txBody>
            <a:bodyPr rtlCol="0" anchor="ctr"/>
            <a:lstStyle/>
            <a:p>
              <a:endParaRPr lang="en-US" sz="900"/>
            </a:p>
          </p:txBody>
        </p:sp>
        <p:sp>
          <p:nvSpPr>
            <p:cNvPr id="33" name="Freeform: Shape 32">
              <a:extLst>
                <a:ext uri="{FF2B5EF4-FFF2-40B4-BE49-F238E27FC236}">
                  <a16:creationId xmlns:a16="http://schemas.microsoft.com/office/drawing/2014/main" id="{F944B8FF-4796-89E0-ECF1-D2DAE08721F7}"/>
                </a:ext>
              </a:extLst>
            </p:cNvPr>
            <p:cNvSpPr/>
            <p:nvPr/>
          </p:nvSpPr>
          <p:spPr>
            <a:xfrm>
              <a:off x="12344082" y="8630030"/>
              <a:ext cx="875252" cy="952622"/>
            </a:xfrm>
            <a:custGeom>
              <a:avLst/>
              <a:gdLst>
                <a:gd name="connsiteX0" fmla="*/ 14954 w 875252"/>
                <a:gd name="connsiteY0" fmla="*/ 0 h 952622"/>
                <a:gd name="connsiteX1" fmla="*/ 257080 w 875252"/>
                <a:gd name="connsiteY1" fmla="*/ 0 h 952622"/>
                <a:gd name="connsiteX2" fmla="*/ 444627 w 875252"/>
                <a:gd name="connsiteY2" fmla="*/ 324612 h 952622"/>
                <a:gd name="connsiteX3" fmla="*/ 634555 w 875252"/>
                <a:gd name="connsiteY3" fmla="*/ 95 h 952622"/>
                <a:gd name="connsiteX4" fmla="*/ 858869 w 875252"/>
                <a:gd name="connsiteY4" fmla="*/ 95 h 952622"/>
                <a:gd name="connsiteX5" fmla="*/ 565499 w 875252"/>
                <a:gd name="connsiteY5" fmla="*/ 464058 h 952622"/>
                <a:gd name="connsiteX6" fmla="*/ 875252 w 875252"/>
                <a:gd name="connsiteY6" fmla="*/ 952595 h 952622"/>
                <a:gd name="connsiteX7" fmla="*/ 634555 w 875252"/>
                <a:gd name="connsiteY7" fmla="*/ 952595 h 952622"/>
                <a:gd name="connsiteX8" fmla="*/ 426625 w 875252"/>
                <a:gd name="connsiteY8" fmla="*/ 599504 h 952622"/>
                <a:gd name="connsiteX9" fmla="*/ 224314 w 875252"/>
                <a:gd name="connsiteY9" fmla="*/ 952595 h 952622"/>
                <a:gd name="connsiteX10" fmla="*/ 0 w 875252"/>
                <a:gd name="connsiteY10" fmla="*/ 952595 h 952622"/>
                <a:gd name="connsiteX11" fmla="*/ 305562 w 875252"/>
                <a:gd name="connsiteY11" fmla="*/ 459867 h 952622"/>
                <a:gd name="connsiteX12" fmla="*/ 14954 w 875252"/>
                <a:gd name="connsiteY12" fmla="*/ 95 h 952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75252" h="952622">
                  <a:moveTo>
                    <a:pt x="14954" y="0"/>
                  </a:moveTo>
                  <a:cubicBezTo>
                    <a:pt x="95631" y="0"/>
                    <a:pt x="176308" y="0"/>
                    <a:pt x="257080" y="0"/>
                  </a:cubicBezTo>
                  <a:cubicBezTo>
                    <a:pt x="319754" y="108109"/>
                    <a:pt x="381381" y="216789"/>
                    <a:pt x="444627" y="324612"/>
                  </a:cubicBezTo>
                  <a:cubicBezTo>
                    <a:pt x="508064" y="216503"/>
                    <a:pt x="571119" y="108204"/>
                    <a:pt x="634555" y="95"/>
                  </a:cubicBezTo>
                  <a:lnTo>
                    <a:pt x="858869" y="95"/>
                  </a:lnTo>
                  <a:cubicBezTo>
                    <a:pt x="761143" y="154781"/>
                    <a:pt x="663321" y="309372"/>
                    <a:pt x="565499" y="464058"/>
                  </a:cubicBezTo>
                  <a:cubicBezTo>
                    <a:pt x="668750" y="626840"/>
                    <a:pt x="772001" y="789718"/>
                    <a:pt x="875252" y="952595"/>
                  </a:cubicBezTo>
                  <a:cubicBezTo>
                    <a:pt x="795052" y="952691"/>
                    <a:pt x="714756" y="952500"/>
                    <a:pt x="634555" y="952595"/>
                  </a:cubicBezTo>
                  <a:cubicBezTo>
                    <a:pt x="565118" y="834962"/>
                    <a:pt x="496538" y="716852"/>
                    <a:pt x="426625" y="599504"/>
                  </a:cubicBezTo>
                  <a:cubicBezTo>
                    <a:pt x="358807" y="716947"/>
                    <a:pt x="291846" y="834962"/>
                    <a:pt x="224314" y="952595"/>
                  </a:cubicBezTo>
                  <a:lnTo>
                    <a:pt x="0" y="952595"/>
                  </a:lnTo>
                  <a:cubicBezTo>
                    <a:pt x="101822" y="788289"/>
                    <a:pt x="203740" y="624173"/>
                    <a:pt x="305562" y="459867"/>
                  </a:cubicBezTo>
                  <a:cubicBezTo>
                    <a:pt x="208693" y="306705"/>
                    <a:pt x="111823" y="153353"/>
                    <a:pt x="14954" y="95"/>
                  </a:cubicBezTo>
                  <a:close/>
                </a:path>
              </a:pathLst>
            </a:custGeom>
            <a:solidFill>
              <a:srgbClr val="000000"/>
            </a:solidFill>
            <a:ln w="9525" cap="flat">
              <a:noFill/>
              <a:prstDash val="solid"/>
              <a:miter/>
            </a:ln>
          </p:spPr>
          <p:txBody>
            <a:bodyPr rtlCol="0" anchor="ctr"/>
            <a:lstStyle/>
            <a:p>
              <a:endParaRPr lang="en-US" sz="900"/>
            </a:p>
          </p:txBody>
        </p:sp>
        <p:sp>
          <p:nvSpPr>
            <p:cNvPr id="34" name="Freeform: Shape 33">
              <a:extLst>
                <a:ext uri="{FF2B5EF4-FFF2-40B4-BE49-F238E27FC236}">
                  <a16:creationId xmlns:a16="http://schemas.microsoft.com/office/drawing/2014/main" id="{42DF0011-F527-8047-800F-7E155446FCD6}"/>
                </a:ext>
              </a:extLst>
            </p:cNvPr>
            <p:cNvSpPr/>
            <p:nvPr/>
          </p:nvSpPr>
          <p:spPr>
            <a:xfrm>
              <a:off x="16351421" y="8727139"/>
              <a:ext cx="728351" cy="1144977"/>
            </a:xfrm>
            <a:custGeom>
              <a:avLst/>
              <a:gdLst>
                <a:gd name="connsiteX0" fmla="*/ 509416 w 728351"/>
                <a:gd name="connsiteY0" fmla="*/ 14429 h 1144977"/>
                <a:gd name="connsiteX1" fmla="*/ 685629 w 728351"/>
                <a:gd name="connsiteY1" fmla="*/ 904 h 1144977"/>
                <a:gd name="connsiteX2" fmla="*/ 685724 w 728351"/>
                <a:gd name="connsiteY2" fmla="*/ 151304 h 1144977"/>
                <a:gd name="connsiteX3" fmla="*/ 522275 w 728351"/>
                <a:gd name="connsiteY3" fmla="*/ 152542 h 1144977"/>
                <a:gd name="connsiteX4" fmla="*/ 628097 w 728351"/>
                <a:gd name="connsiteY4" fmla="*/ 257031 h 1144977"/>
                <a:gd name="connsiteX5" fmla="*/ 595141 w 728351"/>
                <a:gd name="connsiteY5" fmla="*/ 517730 h 1144977"/>
                <a:gd name="connsiteX6" fmla="*/ 424834 w 728351"/>
                <a:gd name="connsiteY6" fmla="*/ 596312 h 1144977"/>
                <a:gd name="connsiteX7" fmla="*/ 215093 w 728351"/>
                <a:gd name="connsiteY7" fmla="*/ 586406 h 1144977"/>
                <a:gd name="connsiteX8" fmla="*/ 207664 w 728351"/>
                <a:gd name="connsiteY8" fmla="*/ 685561 h 1144977"/>
                <a:gd name="connsiteX9" fmla="*/ 352254 w 728351"/>
                <a:gd name="connsiteY9" fmla="*/ 698229 h 1144977"/>
                <a:gd name="connsiteX10" fmla="*/ 619430 w 728351"/>
                <a:gd name="connsiteY10" fmla="*/ 722327 h 1144977"/>
                <a:gd name="connsiteX11" fmla="*/ 722490 w 728351"/>
                <a:gd name="connsiteY11" fmla="*/ 848248 h 1144977"/>
                <a:gd name="connsiteX12" fmla="*/ 671818 w 728351"/>
                <a:gd name="connsiteY12" fmla="*/ 1060560 h 1144977"/>
                <a:gd name="connsiteX13" fmla="*/ 458933 w 728351"/>
                <a:gd name="connsiteY13" fmla="*/ 1139237 h 1144977"/>
                <a:gd name="connsiteX14" fmla="*/ 192615 w 728351"/>
                <a:gd name="connsiteY14" fmla="*/ 1135141 h 1144977"/>
                <a:gd name="connsiteX15" fmla="*/ 44406 w 728351"/>
                <a:gd name="connsiteY15" fmla="*/ 1078372 h 1144977"/>
                <a:gd name="connsiteX16" fmla="*/ 53168 w 728351"/>
                <a:gd name="connsiteY16" fmla="*/ 870060 h 1144977"/>
                <a:gd name="connsiteX17" fmla="*/ 132893 w 728351"/>
                <a:gd name="connsiteY17" fmla="*/ 840533 h 1144977"/>
                <a:gd name="connsiteX18" fmla="*/ 133845 w 728351"/>
                <a:gd name="connsiteY18" fmla="*/ 828817 h 1144977"/>
                <a:gd name="connsiteX19" fmla="*/ 74886 w 728351"/>
                <a:gd name="connsiteY19" fmla="*/ 800909 h 1144977"/>
                <a:gd name="connsiteX20" fmla="*/ 62407 w 728351"/>
                <a:gd name="connsiteY20" fmla="*/ 623458 h 1144977"/>
                <a:gd name="connsiteX21" fmla="*/ 167373 w 728351"/>
                <a:gd name="connsiteY21" fmla="*/ 571451 h 1144977"/>
                <a:gd name="connsiteX22" fmla="*/ 48883 w 728351"/>
                <a:gd name="connsiteY22" fmla="*/ 446293 h 1144977"/>
                <a:gd name="connsiteX23" fmla="*/ 89078 w 728351"/>
                <a:gd name="connsiteY23" fmla="*/ 211311 h 1144977"/>
                <a:gd name="connsiteX24" fmla="*/ 259099 w 728351"/>
                <a:gd name="connsiteY24" fmla="*/ 128444 h 1144977"/>
                <a:gd name="connsiteX25" fmla="*/ 463982 w 728351"/>
                <a:gd name="connsiteY25" fmla="*/ 135397 h 1144977"/>
                <a:gd name="connsiteX26" fmla="*/ 509416 w 728351"/>
                <a:gd name="connsiteY26" fmla="*/ 14429 h 1144977"/>
                <a:gd name="connsiteX27" fmla="*/ 299866 w 728351"/>
                <a:gd name="connsiteY27" fmla="*/ 260841 h 1144977"/>
                <a:gd name="connsiteX28" fmla="*/ 226714 w 728351"/>
                <a:gd name="connsiteY28" fmla="*/ 331612 h 1144977"/>
                <a:gd name="connsiteX29" fmla="*/ 251860 w 728351"/>
                <a:gd name="connsiteY29" fmla="*/ 441245 h 1144977"/>
                <a:gd name="connsiteX30" fmla="*/ 381210 w 728351"/>
                <a:gd name="connsiteY30" fmla="*/ 465724 h 1144977"/>
                <a:gd name="connsiteX31" fmla="*/ 458838 w 728351"/>
                <a:gd name="connsiteY31" fmla="*/ 397906 h 1144977"/>
                <a:gd name="connsiteX32" fmla="*/ 431216 w 728351"/>
                <a:gd name="connsiteY32" fmla="*/ 281320 h 1144977"/>
                <a:gd name="connsiteX33" fmla="*/ 299866 w 728351"/>
                <a:gd name="connsiteY33" fmla="*/ 260841 h 1144977"/>
                <a:gd name="connsiteX34" fmla="*/ 182613 w 728351"/>
                <a:gd name="connsiteY34" fmla="*/ 987218 h 1144977"/>
                <a:gd name="connsiteX35" fmla="*/ 343872 w 728351"/>
                <a:gd name="connsiteY35" fmla="*/ 1010554 h 1144977"/>
                <a:gd name="connsiteX36" fmla="*/ 507321 w 728351"/>
                <a:gd name="connsiteY36" fmla="*/ 990170 h 1144977"/>
                <a:gd name="connsiteX37" fmla="*/ 517321 w 728351"/>
                <a:gd name="connsiteY37" fmla="*/ 890158 h 1144977"/>
                <a:gd name="connsiteX38" fmla="*/ 428644 w 728351"/>
                <a:gd name="connsiteY38" fmla="*/ 870536 h 1144977"/>
                <a:gd name="connsiteX39" fmla="*/ 180994 w 728351"/>
                <a:gd name="connsiteY39" fmla="*/ 870155 h 1144977"/>
                <a:gd name="connsiteX40" fmla="*/ 182613 w 728351"/>
                <a:gd name="connsiteY40" fmla="*/ 987218 h 1144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28351" h="1144977">
                  <a:moveTo>
                    <a:pt x="509416" y="14429"/>
                  </a:moveTo>
                  <a:cubicBezTo>
                    <a:pt x="564471" y="-10431"/>
                    <a:pt x="627240" y="5381"/>
                    <a:pt x="685629" y="904"/>
                  </a:cubicBezTo>
                  <a:cubicBezTo>
                    <a:pt x="685629" y="51005"/>
                    <a:pt x="685629" y="101202"/>
                    <a:pt x="685724" y="151304"/>
                  </a:cubicBezTo>
                  <a:cubicBezTo>
                    <a:pt x="631146" y="151875"/>
                    <a:pt x="576663" y="150065"/>
                    <a:pt x="522275" y="152542"/>
                  </a:cubicBezTo>
                  <a:cubicBezTo>
                    <a:pt x="564185" y="179498"/>
                    <a:pt x="607809" y="209311"/>
                    <a:pt x="628097" y="257031"/>
                  </a:cubicBezTo>
                  <a:cubicBezTo>
                    <a:pt x="665245" y="340280"/>
                    <a:pt x="658673" y="448769"/>
                    <a:pt x="595141" y="517730"/>
                  </a:cubicBezTo>
                  <a:cubicBezTo>
                    <a:pt x="551136" y="564879"/>
                    <a:pt x="487223" y="587168"/>
                    <a:pt x="424834" y="596312"/>
                  </a:cubicBezTo>
                  <a:cubicBezTo>
                    <a:pt x="355112" y="605551"/>
                    <a:pt x="283388" y="603932"/>
                    <a:pt x="215093" y="586406"/>
                  </a:cubicBezTo>
                  <a:cubicBezTo>
                    <a:pt x="183757" y="608123"/>
                    <a:pt x="170231" y="663177"/>
                    <a:pt x="207664" y="685561"/>
                  </a:cubicBezTo>
                  <a:cubicBezTo>
                    <a:pt x="252527" y="707087"/>
                    <a:pt x="304247" y="695181"/>
                    <a:pt x="352254" y="698229"/>
                  </a:cubicBezTo>
                  <a:cubicBezTo>
                    <a:pt x="441312" y="701277"/>
                    <a:pt x="534848" y="687085"/>
                    <a:pt x="619430" y="722327"/>
                  </a:cubicBezTo>
                  <a:cubicBezTo>
                    <a:pt x="672484" y="743282"/>
                    <a:pt x="712108" y="792241"/>
                    <a:pt x="722490" y="848248"/>
                  </a:cubicBezTo>
                  <a:cubicBezTo>
                    <a:pt x="736301" y="921019"/>
                    <a:pt x="728110" y="1006744"/>
                    <a:pt x="671818" y="1060560"/>
                  </a:cubicBezTo>
                  <a:cubicBezTo>
                    <a:pt x="614857" y="1114281"/>
                    <a:pt x="534086" y="1130283"/>
                    <a:pt x="458933" y="1139237"/>
                  </a:cubicBezTo>
                  <a:cubicBezTo>
                    <a:pt x="370447" y="1147428"/>
                    <a:pt x="280721" y="1147524"/>
                    <a:pt x="192615" y="1135141"/>
                  </a:cubicBezTo>
                  <a:cubicBezTo>
                    <a:pt x="140322" y="1126473"/>
                    <a:pt x="85744" y="1113233"/>
                    <a:pt x="44406" y="1078372"/>
                  </a:cubicBezTo>
                  <a:cubicBezTo>
                    <a:pt x="-17698" y="1026937"/>
                    <a:pt x="-14554" y="915209"/>
                    <a:pt x="53168" y="870060"/>
                  </a:cubicBezTo>
                  <a:cubicBezTo>
                    <a:pt x="76505" y="852820"/>
                    <a:pt x="105461" y="847867"/>
                    <a:pt x="132893" y="840533"/>
                  </a:cubicBezTo>
                  <a:cubicBezTo>
                    <a:pt x="133179" y="837580"/>
                    <a:pt x="133560" y="831674"/>
                    <a:pt x="133845" y="828817"/>
                  </a:cubicBezTo>
                  <a:cubicBezTo>
                    <a:pt x="113747" y="820149"/>
                    <a:pt x="91459" y="815577"/>
                    <a:pt x="74886" y="800909"/>
                  </a:cubicBezTo>
                  <a:cubicBezTo>
                    <a:pt x="22880" y="759475"/>
                    <a:pt x="13259" y="670702"/>
                    <a:pt x="62407" y="623458"/>
                  </a:cubicBezTo>
                  <a:cubicBezTo>
                    <a:pt x="90411" y="594597"/>
                    <a:pt x="130036" y="582786"/>
                    <a:pt x="167373" y="571451"/>
                  </a:cubicBezTo>
                  <a:cubicBezTo>
                    <a:pt x="114129" y="546401"/>
                    <a:pt x="66980" y="503538"/>
                    <a:pt x="48883" y="446293"/>
                  </a:cubicBezTo>
                  <a:cubicBezTo>
                    <a:pt x="23546" y="368283"/>
                    <a:pt x="33357" y="274271"/>
                    <a:pt x="89078" y="211311"/>
                  </a:cubicBezTo>
                  <a:cubicBezTo>
                    <a:pt x="132036" y="162448"/>
                    <a:pt x="196043" y="138159"/>
                    <a:pt x="259099" y="128444"/>
                  </a:cubicBezTo>
                  <a:cubicBezTo>
                    <a:pt x="327012" y="118728"/>
                    <a:pt x="396925" y="119871"/>
                    <a:pt x="463982" y="135397"/>
                  </a:cubicBezTo>
                  <a:cubicBezTo>
                    <a:pt x="462457" y="91963"/>
                    <a:pt x="465697" y="37289"/>
                    <a:pt x="509416" y="14429"/>
                  </a:cubicBezTo>
                  <a:moveTo>
                    <a:pt x="299866" y="260841"/>
                  </a:moveTo>
                  <a:cubicBezTo>
                    <a:pt x="264243" y="267223"/>
                    <a:pt x="231476" y="294464"/>
                    <a:pt x="226714" y="331612"/>
                  </a:cubicBezTo>
                  <a:cubicBezTo>
                    <a:pt x="221476" y="368855"/>
                    <a:pt x="221571" y="413908"/>
                    <a:pt x="251860" y="441245"/>
                  </a:cubicBezTo>
                  <a:cubicBezTo>
                    <a:pt x="286817" y="471534"/>
                    <a:pt x="337585" y="472201"/>
                    <a:pt x="381210" y="465724"/>
                  </a:cubicBezTo>
                  <a:cubicBezTo>
                    <a:pt x="417214" y="460676"/>
                    <a:pt x="452171" y="435339"/>
                    <a:pt x="458838" y="397906"/>
                  </a:cubicBezTo>
                  <a:cubicBezTo>
                    <a:pt x="465315" y="358282"/>
                    <a:pt x="465315" y="308942"/>
                    <a:pt x="431216" y="281320"/>
                  </a:cubicBezTo>
                  <a:cubicBezTo>
                    <a:pt x="394164" y="253221"/>
                    <a:pt x="343586" y="252935"/>
                    <a:pt x="299866" y="260841"/>
                  </a:cubicBezTo>
                  <a:moveTo>
                    <a:pt x="182613" y="987218"/>
                  </a:moveTo>
                  <a:cubicBezTo>
                    <a:pt x="230810" y="1015888"/>
                    <a:pt x="289960" y="1009411"/>
                    <a:pt x="343872" y="1010554"/>
                  </a:cubicBezTo>
                  <a:cubicBezTo>
                    <a:pt x="398354" y="1009411"/>
                    <a:pt x="457124" y="1016078"/>
                    <a:pt x="507321" y="990170"/>
                  </a:cubicBezTo>
                  <a:cubicBezTo>
                    <a:pt x="543135" y="972073"/>
                    <a:pt x="550183" y="914256"/>
                    <a:pt x="517321" y="890158"/>
                  </a:cubicBezTo>
                  <a:cubicBezTo>
                    <a:pt x="491509" y="872346"/>
                    <a:pt x="458744" y="871394"/>
                    <a:pt x="428644" y="870536"/>
                  </a:cubicBezTo>
                  <a:cubicBezTo>
                    <a:pt x="346062" y="870155"/>
                    <a:pt x="263481" y="871013"/>
                    <a:pt x="180994" y="870155"/>
                  </a:cubicBezTo>
                  <a:cubicBezTo>
                    <a:pt x="153467" y="902064"/>
                    <a:pt x="142608" y="960548"/>
                    <a:pt x="182613" y="987218"/>
                  </a:cubicBezTo>
                  <a:close/>
                </a:path>
              </a:pathLst>
            </a:custGeom>
            <a:solidFill>
              <a:srgbClr val="000000"/>
            </a:solidFill>
            <a:ln w="9525" cap="flat">
              <a:noFill/>
              <a:prstDash val="solid"/>
              <a:miter/>
            </a:ln>
          </p:spPr>
          <p:txBody>
            <a:bodyPr rtlCol="0" anchor="ctr"/>
            <a:lstStyle/>
            <a:p>
              <a:endParaRPr lang="en-US" sz="900"/>
            </a:p>
          </p:txBody>
        </p:sp>
        <p:sp>
          <p:nvSpPr>
            <p:cNvPr id="35" name="Freeform: Shape 34">
              <a:extLst>
                <a:ext uri="{FF2B5EF4-FFF2-40B4-BE49-F238E27FC236}">
                  <a16:creationId xmlns:a16="http://schemas.microsoft.com/office/drawing/2014/main" id="{53871B77-82D8-9E96-7FDF-19E07894D012}"/>
                </a:ext>
              </a:extLst>
            </p:cNvPr>
            <p:cNvSpPr/>
            <p:nvPr/>
          </p:nvSpPr>
          <p:spPr>
            <a:xfrm>
              <a:off x="10085832" y="8849421"/>
              <a:ext cx="669369" cy="749856"/>
            </a:xfrm>
            <a:custGeom>
              <a:avLst/>
              <a:gdLst>
                <a:gd name="connsiteX0" fmla="*/ 260667 w 669369"/>
                <a:gd name="connsiteY0" fmla="*/ 6542 h 749856"/>
                <a:gd name="connsiteX1" fmla="*/ 515461 w 669369"/>
                <a:gd name="connsiteY1" fmla="*/ 44071 h 749856"/>
                <a:gd name="connsiteX2" fmla="*/ 650335 w 669369"/>
                <a:gd name="connsiteY2" fmla="*/ 226855 h 749856"/>
                <a:gd name="connsiteX3" fmla="*/ 669099 w 669369"/>
                <a:gd name="connsiteY3" fmla="*/ 426404 h 749856"/>
                <a:gd name="connsiteX4" fmla="*/ 208470 w 669369"/>
                <a:gd name="connsiteY4" fmla="*/ 426404 h 749856"/>
                <a:gd name="connsiteX5" fmla="*/ 248666 w 669369"/>
                <a:gd name="connsiteY5" fmla="*/ 550039 h 749856"/>
                <a:gd name="connsiteX6" fmla="*/ 408590 w 669369"/>
                <a:gd name="connsiteY6" fmla="*/ 587472 h 749856"/>
                <a:gd name="connsiteX7" fmla="*/ 543464 w 669369"/>
                <a:gd name="connsiteY7" fmla="*/ 505081 h 749856"/>
                <a:gd name="connsiteX8" fmla="*/ 645001 w 669369"/>
                <a:gd name="connsiteY8" fmla="*/ 630239 h 749856"/>
                <a:gd name="connsiteX9" fmla="*/ 370110 w 669369"/>
                <a:gd name="connsiteY9" fmla="*/ 749111 h 749856"/>
                <a:gd name="connsiteX10" fmla="*/ 115697 w 669369"/>
                <a:gd name="connsiteY10" fmla="*/ 673673 h 749856"/>
                <a:gd name="connsiteX11" fmla="*/ 2444 w 669369"/>
                <a:gd name="connsiteY11" fmla="*/ 428785 h 749856"/>
                <a:gd name="connsiteX12" fmla="*/ 63881 w 669369"/>
                <a:gd name="connsiteY12" fmla="*/ 132082 h 749856"/>
                <a:gd name="connsiteX13" fmla="*/ 260667 w 669369"/>
                <a:gd name="connsiteY13" fmla="*/ 6542 h 749856"/>
                <a:gd name="connsiteX14" fmla="*/ 236283 w 669369"/>
                <a:gd name="connsiteY14" fmla="*/ 199900 h 749856"/>
                <a:gd name="connsiteX15" fmla="*/ 208375 w 669369"/>
                <a:gd name="connsiteY15" fmla="*/ 307246 h 749856"/>
                <a:gd name="connsiteX16" fmla="*/ 460216 w 669369"/>
                <a:gd name="connsiteY16" fmla="*/ 307246 h 749856"/>
                <a:gd name="connsiteX17" fmla="*/ 429450 w 669369"/>
                <a:gd name="connsiteY17" fmla="*/ 188851 h 749856"/>
                <a:gd name="connsiteX18" fmla="*/ 236283 w 669369"/>
                <a:gd name="connsiteY18" fmla="*/ 199900 h 74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9369" h="749856">
                  <a:moveTo>
                    <a:pt x="260667" y="6542"/>
                  </a:moveTo>
                  <a:cubicBezTo>
                    <a:pt x="346297" y="-7650"/>
                    <a:pt x="439261" y="-316"/>
                    <a:pt x="515461" y="44071"/>
                  </a:cubicBezTo>
                  <a:cubicBezTo>
                    <a:pt x="583279" y="83123"/>
                    <a:pt x="629285" y="152465"/>
                    <a:pt x="650335" y="226855"/>
                  </a:cubicBezTo>
                  <a:cubicBezTo>
                    <a:pt x="669956" y="291435"/>
                    <a:pt x="669956" y="359539"/>
                    <a:pt x="669099" y="426404"/>
                  </a:cubicBezTo>
                  <a:cubicBezTo>
                    <a:pt x="515556" y="426404"/>
                    <a:pt x="362013" y="426404"/>
                    <a:pt x="208470" y="426404"/>
                  </a:cubicBezTo>
                  <a:cubicBezTo>
                    <a:pt x="208565" y="470124"/>
                    <a:pt x="215900" y="518035"/>
                    <a:pt x="248666" y="550039"/>
                  </a:cubicBezTo>
                  <a:cubicBezTo>
                    <a:pt x="290004" y="590806"/>
                    <a:pt x="353822" y="596140"/>
                    <a:pt x="408590" y="587472"/>
                  </a:cubicBezTo>
                  <a:cubicBezTo>
                    <a:pt x="462693" y="579090"/>
                    <a:pt x="506603" y="543181"/>
                    <a:pt x="543464" y="505081"/>
                  </a:cubicBezTo>
                  <a:cubicBezTo>
                    <a:pt x="577373" y="546705"/>
                    <a:pt x="610235" y="589282"/>
                    <a:pt x="645001" y="630239"/>
                  </a:cubicBezTo>
                  <a:cubicBezTo>
                    <a:pt x="576993" y="708916"/>
                    <a:pt x="471741" y="744920"/>
                    <a:pt x="370110" y="749111"/>
                  </a:cubicBezTo>
                  <a:cubicBezTo>
                    <a:pt x="280384" y="754159"/>
                    <a:pt x="184848" y="734062"/>
                    <a:pt x="115697" y="673673"/>
                  </a:cubicBezTo>
                  <a:cubicBezTo>
                    <a:pt x="44640" y="613094"/>
                    <a:pt x="10255" y="519844"/>
                    <a:pt x="2444" y="428785"/>
                  </a:cubicBezTo>
                  <a:cubicBezTo>
                    <a:pt x="-6128" y="327249"/>
                    <a:pt x="6350" y="218664"/>
                    <a:pt x="63881" y="132082"/>
                  </a:cubicBezTo>
                  <a:cubicBezTo>
                    <a:pt x="107886" y="64645"/>
                    <a:pt x="181800" y="19972"/>
                    <a:pt x="260667" y="6542"/>
                  </a:cubicBezTo>
                  <a:moveTo>
                    <a:pt x="236283" y="199900"/>
                  </a:moveTo>
                  <a:cubicBezTo>
                    <a:pt x="213804" y="230856"/>
                    <a:pt x="209042" y="270004"/>
                    <a:pt x="208375" y="307246"/>
                  </a:cubicBezTo>
                  <a:lnTo>
                    <a:pt x="460216" y="307246"/>
                  </a:lnTo>
                  <a:cubicBezTo>
                    <a:pt x="459835" y="266289"/>
                    <a:pt x="455930" y="222093"/>
                    <a:pt x="429450" y="188851"/>
                  </a:cubicBezTo>
                  <a:cubicBezTo>
                    <a:pt x="382111" y="129700"/>
                    <a:pt x="278003" y="138273"/>
                    <a:pt x="236283" y="199900"/>
                  </a:cubicBezTo>
                  <a:close/>
                </a:path>
              </a:pathLst>
            </a:custGeom>
            <a:solidFill>
              <a:srgbClr val="000000"/>
            </a:solidFill>
            <a:ln w="9525" cap="flat">
              <a:noFill/>
              <a:prstDash val="solid"/>
              <a:miter/>
            </a:ln>
          </p:spPr>
          <p:txBody>
            <a:bodyPr rtlCol="0" anchor="ctr"/>
            <a:lstStyle/>
            <a:p>
              <a:endParaRPr lang="en-US" sz="900"/>
            </a:p>
          </p:txBody>
        </p:sp>
        <p:sp>
          <p:nvSpPr>
            <p:cNvPr id="36" name="Freeform: Shape 35">
              <a:extLst>
                <a:ext uri="{FF2B5EF4-FFF2-40B4-BE49-F238E27FC236}">
                  <a16:creationId xmlns:a16="http://schemas.microsoft.com/office/drawing/2014/main" id="{08EB9A85-89C6-1EC3-5478-A8F89D67749A}"/>
                </a:ext>
              </a:extLst>
            </p:cNvPr>
            <p:cNvSpPr/>
            <p:nvPr/>
          </p:nvSpPr>
          <p:spPr>
            <a:xfrm>
              <a:off x="10852675" y="8849297"/>
              <a:ext cx="625965" cy="749878"/>
            </a:xfrm>
            <a:custGeom>
              <a:avLst/>
              <a:gdLst>
                <a:gd name="connsiteX0" fmla="*/ 115044 w 625965"/>
                <a:gd name="connsiteY0" fmla="*/ 72770 h 749878"/>
                <a:gd name="connsiteX1" fmla="*/ 437561 w 625965"/>
                <a:gd name="connsiteY1" fmla="*/ 13810 h 749878"/>
                <a:gd name="connsiteX2" fmla="*/ 621870 w 625965"/>
                <a:gd name="connsiteY2" fmla="*/ 187165 h 749878"/>
                <a:gd name="connsiteX3" fmla="*/ 458230 w 625965"/>
                <a:gd name="connsiteY3" fmla="*/ 258221 h 749878"/>
                <a:gd name="connsiteX4" fmla="*/ 411843 w 625965"/>
                <a:gd name="connsiteY4" fmla="*/ 184117 h 749878"/>
                <a:gd name="connsiteX5" fmla="*/ 233916 w 625965"/>
                <a:gd name="connsiteY5" fmla="*/ 212120 h 749878"/>
                <a:gd name="connsiteX6" fmla="*/ 210771 w 625965"/>
                <a:gd name="connsiteY6" fmla="*/ 371093 h 749878"/>
                <a:gd name="connsiteX7" fmla="*/ 230868 w 625965"/>
                <a:gd name="connsiteY7" fmla="*/ 533684 h 749878"/>
                <a:gd name="connsiteX8" fmla="*/ 439371 w 625965"/>
                <a:gd name="connsiteY8" fmla="*/ 540352 h 749878"/>
                <a:gd name="connsiteX9" fmla="*/ 468708 w 625965"/>
                <a:gd name="connsiteY9" fmla="*/ 483392 h 749878"/>
                <a:gd name="connsiteX10" fmla="*/ 625965 w 625965"/>
                <a:gd name="connsiteY10" fmla="*/ 551782 h 749878"/>
                <a:gd name="connsiteX11" fmla="*/ 521095 w 625965"/>
                <a:gd name="connsiteY11" fmla="*/ 697800 h 749878"/>
                <a:gd name="connsiteX12" fmla="*/ 271921 w 625965"/>
                <a:gd name="connsiteY12" fmla="*/ 745425 h 749878"/>
                <a:gd name="connsiteX13" fmla="*/ 70086 w 625965"/>
                <a:gd name="connsiteY13" fmla="*/ 627696 h 749878"/>
                <a:gd name="connsiteX14" fmla="*/ 1316 w 625965"/>
                <a:gd name="connsiteY14" fmla="*/ 333183 h 749878"/>
                <a:gd name="connsiteX15" fmla="*/ 115044 w 625965"/>
                <a:gd name="connsiteY15" fmla="*/ 72770 h 749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5965" h="749878">
                  <a:moveTo>
                    <a:pt x="115044" y="72770"/>
                  </a:moveTo>
                  <a:cubicBezTo>
                    <a:pt x="202770" y="-1430"/>
                    <a:pt x="329357" y="-14479"/>
                    <a:pt x="437561" y="13810"/>
                  </a:cubicBezTo>
                  <a:cubicBezTo>
                    <a:pt x="523476" y="36003"/>
                    <a:pt x="592628" y="104202"/>
                    <a:pt x="621870" y="187165"/>
                  </a:cubicBezTo>
                  <a:cubicBezTo>
                    <a:pt x="567387" y="211073"/>
                    <a:pt x="512713" y="234504"/>
                    <a:pt x="458230" y="258221"/>
                  </a:cubicBezTo>
                  <a:cubicBezTo>
                    <a:pt x="449086" y="230313"/>
                    <a:pt x="436418" y="201738"/>
                    <a:pt x="411843" y="184117"/>
                  </a:cubicBezTo>
                  <a:cubicBezTo>
                    <a:pt x="358503" y="144969"/>
                    <a:pt x="269445" y="152494"/>
                    <a:pt x="233916" y="212120"/>
                  </a:cubicBezTo>
                  <a:cubicBezTo>
                    <a:pt x="204294" y="259650"/>
                    <a:pt x="211342" y="317753"/>
                    <a:pt x="210771" y="371093"/>
                  </a:cubicBezTo>
                  <a:cubicBezTo>
                    <a:pt x="212104" y="425385"/>
                    <a:pt x="203055" y="484059"/>
                    <a:pt x="230868" y="533684"/>
                  </a:cubicBezTo>
                  <a:cubicBezTo>
                    <a:pt x="271350" y="608265"/>
                    <a:pt x="392317" y="607884"/>
                    <a:pt x="439371" y="540352"/>
                  </a:cubicBezTo>
                  <a:cubicBezTo>
                    <a:pt x="452134" y="523112"/>
                    <a:pt x="460135" y="502919"/>
                    <a:pt x="468708" y="483392"/>
                  </a:cubicBezTo>
                  <a:cubicBezTo>
                    <a:pt x="521095" y="506252"/>
                    <a:pt x="573578" y="528922"/>
                    <a:pt x="625965" y="551782"/>
                  </a:cubicBezTo>
                  <a:cubicBezTo>
                    <a:pt x="605106" y="608741"/>
                    <a:pt x="571673" y="662939"/>
                    <a:pt x="521095" y="697800"/>
                  </a:cubicBezTo>
                  <a:cubicBezTo>
                    <a:pt x="449372" y="748092"/>
                    <a:pt x="356598" y="756855"/>
                    <a:pt x="271921" y="745425"/>
                  </a:cubicBezTo>
                  <a:cubicBezTo>
                    <a:pt x="192673" y="734757"/>
                    <a:pt x="116473" y="693800"/>
                    <a:pt x="70086" y="627696"/>
                  </a:cubicBezTo>
                  <a:cubicBezTo>
                    <a:pt x="9603" y="543114"/>
                    <a:pt x="-4876" y="434624"/>
                    <a:pt x="1316" y="333183"/>
                  </a:cubicBezTo>
                  <a:cubicBezTo>
                    <a:pt x="7031" y="237171"/>
                    <a:pt x="39702" y="136778"/>
                    <a:pt x="115044" y="72770"/>
                  </a:cubicBezTo>
                  <a:close/>
                </a:path>
              </a:pathLst>
            </a:custGeom>
            <a:solidFill>
              <a:srgbClr val="000000"/>
            </a:solidFill>
            <a:ln w="9525" cap="flat">
              <a:noFill/>
              <a:prstDash val="solid"/>
              <a:miter/>
            </a:ln>
          </p:spPr>
          <p:txBody>
            <a:bodyPr rtlCol="0" anchor="ctr"/>
            <a:lstStyle/>
            <a:p>
              <a:endParaRPr lang="en-US" sz="900"/>
            </a:p>
          </p:txBody>
        </p:sp>
        <p:sp>
          <p:nvSpPr>
            <p:cNvPr id="37" name="Freeform: Shape 36">
              <a:extLst>
                <a:ext uri="{FF2B5EF4-FFF2-40B4-BE49-F238E27FC236}">
                  <a16:creationId xmlns:a16="http://schemas.microsoft.com/office/drawing/2014/main" id="{7D9AA833-AD83-E679-5D6E-186A8D02B00C}"/>
                </a:ext>
              </a:extLst>
            </p:cNvPr>
            <p:cNvSpPr/>
            <p:nvPr/>
          </p:nvSpPr>
          <p:spPr>
            <a:xfrm>
              <a:off x="13262546" y="8849276"/>
              <a:ext cx="625919" cy="749850"/>
            </a:xfrm>
            <a:custGeom>
              <a:avLst/>
              <a:gdLst>
                <a:gd name="connsiteX0" fmla="*/ 114142 w 625919"/>
                <a:gd name="connsiteY0" fmla="*/ 73457 h 749850"/>
                <a:gd name="connsiteX1" fmla="*/ 437897 w 625919"/>
                <a:gd name="connsiteY1" fmla="*/ 13831 h 749850"/>
                <a:gd name="connsiteX2" fmla="*/ 621920 w 625919"/>
                <a:gd name="connsiteY2" fmla="*/ 187281 h 749850"/>
                <a:gd name="connsiteX3" fmla="*/ 458280 w 625919"/>
                <a:gd name="connsiteY3" fmla="*/ 258242 h 749850"/>
                <a:gd name="connsiteX4" fmla="*/ 399225 w 625919"/>
                <a:gd name="connsiteY4" fmla="*/ 175946 h 749850"/>
                <a:gd name="connsiteX5" fmla="*/ 237776 w 625919"/>
                <a:gd name="connsiteY5" fmla="*/ 206426 h 749850"/>
                <a:gd name="connsiteX6" fmla="*/ 210725 w 625919"/>
                <a:gd name="connsiteY6" fmla="*/ 371209 h 749850"/>
                <a:gd name="connsiteX7" fmla="*/ 231013 w 625919"/>
                <a:gd name="connsiteY7" fmla="*/ 534086 h 749850"/>
                <a:gd name="connsiteX8" fmla="*/ 437992 w 625919"/>
                <a:gd name="connsiteY8" fmla="*/ 542278 h 749850"/>
                <a:gd name="connsiteX9" fmla="*/ 468662 w 625919"/>
                <a:gd name="connsiteY9" fmla="*/ 483413 h 749850"/>
                <a:gd name="connsiteX10" fmla="*/ 625920 w 625919"/>
                <a:gd name="connsiteY10" fmla="*/ 551898 h 749850"/>
                <a:gd name="connsiteX11" fmla="*/ 514573 w 625919"/>
                <a:gd name="connsiteY11" fmla="*/ 702203 h 749850"/>
                <a:gd name="connsiteX12" fmla="*/ 265494 w 625919"/>
                <a:gd name="connsiteY12" fmla="*/ 744398 h 749850"/>
                <a:gd name="connsiteX13" fmla="*/ 66422 w 625919"/>
                <a:gd name="connsiteY13" fmla="*/ 622478 h 749850"/>
                <a:gd name="connsiteX14" fmla="*/ 1937 w 625919"/>
                <a:gd name="connsiteY14" fmla="*/ 324441 h 749850"/>
                <a:gd name="connsiteX15" fmla="*/ 114142 w 625919"/>
                <a:gd name="connsiteY15" fmla="*/ 73457 h 749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5919" h="749850">
                  <a:moveTo>
                    <a:pt x="114142" y="73457"/>
                  </a:moveTo>
                  <a:cubicBezTo>
                    <a:pt x="201962" y="-1409"/>
                    <a:pt x="329121" y="-14554"/>
                    <a:pt x="437897" y="13831"/>
                  </a:cubicBezTo>
                  <a:cubicBezTo>
                    <a:pt x="523717" y="36215"/>
                    <a:pt x="592582" y="104318"/>
                    <a:pt x="621920" y="187281"/>
                  </a:cubicBezTo>
                  <a:cubicBezTo>
                    <a:pt x="567341" y="210998"/>
                    <a:pt x="512763" y="234525"/>
                    <a:pt x="458280" y="258242"/>
                  </a:cubicBezTo>
                  <a:cubicBezTo>
                    <a:pt x="448184" y="225476"/>
                    <a:pt x="430753" y="192425"/>
                    <a:pt x="399225" y="175946"/>
                  </a:cubicBezTo>
                  <a:cubicBezTo>
                    <a:pt x="347599" y="148133"/>
                    <a:pt x="272447" y="155658"/>
                    <a:pt x="237776" y="206426"/>
                  </a:cubicBezTo>
                  <a:cubicBezTo>
                    <a:pt x="203772" y="254432"/>
                    <a:pt x="211202" y="315869"/>
                    <a:pt x="210725" y="371209"/>
                  </a:cubicBezTo>
                  <a:cubicBezTo>
                    <a:pt x="212059" y="425692"/>
                    <a:pt x="203105" y="484366"/>
                    <a:pt x="231013" y="534086"/>
                  </a:cubicBezTo>
                  <a:cubicBezTo>
                    <a:pt x="271304" y="607524"/>
                    <a:pt x="390081" y="607905"/>
                    <a:pt x="437992" y="542278"/>
                  </a:cubicBezTo>
                  <a:cubicBezTo>
                    <a:pt x="451422" y="524561"/>
                    <a:pt x="459899" y="503702"/>
                    <a:pt x="468662" y="483413"/>
                  </a:cubicBezTo>
                  <a:cubicBezTo>
                    <a:pt x="521050" y="506178"/>
                    <a:pt x="573532" y="528943"/>
                    <a:pt x="625920" y="551898"/>
                  </a:cubicBezTo>
                  <a:cubicBezTo>
                    <a:pt x="604298" y="611144"/>
                    <a:pt x="568579" y="667532"/>
                    <a:pt x="514573" y="702203"/>
                  </a:cubicBezTo>
                  <a:cubicBezTo>
                    <a:pt x="441706" y="749732"/>
                    <a:pt x="349600" y="756971"/>
                    <a:pt x="265494" y="744398"/>
                  </a:cubicBezTo>
                  <a:cubicBezTo>
                    <a:pt x="186341" y="732492"/>
                    <a:pt x="111189" y="689534"/>
                    <a:pt x="66422" y="622478"/>
                  </a:cubicBezTo>
                  <a:cubicBezTo>
                    <a:pt x="7366" y="535991"/>
                    <a:pt x="-5587" y="426644"/>
                    <a:pt x="1937" y="324441"/>
                  </a:cubicBezTo>
                  <a:cubicBezTo>
                    <a:pt x="8890" y="231668"/>
                    <a:pt x="41656" y="135465"/>
                    <a:pt x="114142" y="73457"/>
                  </a:cubicBezTo>
                  <a:close/>
                </a:path>
              </a:pathLst>
            </a:custGeom>
            <a:solidFill>
              <a:srgbClr val="000000"/>
            </a:solidFill>
            <a:ln w="9525" cap="flat">
              <a:noFill/>
              <a:prstDash val="solid"/>
              <a:miter/>
            </a:ln>
          </p:spPr>
          <p:txBody>
            <a:bodyPr rtlCol="0" anchor="ctr"/>
            <a:lstStyle/>
            <a:p>
              <a:endParaRPr lang="en-US" sz="900"/>
            </a:p>
          </p:txBody>
        </p:sp>
        <p:sp>
          <p:nvSpPr>
            <p:cNvPr id="38" name="Freeform: Shape 37">
              <a:extLst>
                <a:ext uri="{FF2B5EF4-FFF2-40B4-BE49-F238E27FC236}">
                  <a16:creationId xmlns:a16="http://schemas.microsoft.com/office/drawing/2014/main" id="{5BEADA96-1A80-9EB1-DBCA-0EBF9FDAB801}"/>
                </a:ext>
              </a:extLst>
            </p:cNvPr>
            <p:cNvSpPr/>
            <p:nvPr/>
          </p:nvSpPr>
          <p:spPr>
            <a:xfrm>
              <a:off x="14778191" y="8849530"/>
              <a:ext cx="689710" cy="749617"/>
            </a:xfrm>
            <a:custGeom>
              <a:avLst/>
              <a:gdLst>
                <a:gd name="connsiteX0" fmla="*/ 27247 w 689710"/>
                <a:gd name="connsiteY0" fmla="*/ 137021 h 749617"/>
                <a:gd name="connsiteX1" fmla="*/ 239750 w 689710"/>
                <a:gd name="connsiteY1" fmla="*/ 5290 h 749617"/>
                <a:gd name="connsiteX2" fmla="*/ 522070 w 689710"/>
                <a:gd name="connsiteY2" fmla="*/ 49582 h 749617"/>
                <a:gd name="connsiteX3" fmla="*/ 622654 w 689710"/>
                <a:gd name="connsiteY3" fmla="*/ 247606 h 749617"/>
                <a:gd name="connsiteX4" fmla="*/ 623036 w 689710"/>
                <a:gd name="connsiteY4" fmla="*/ 575838 h 749617"/>
                <a:gd name="connsiteX5" fmla="*/ 689711 w 689710"/>
                <a:gd name="connsiteY5" fmla="*/ 575933 h 749617"/>
                <a:gd name="connsiteX6" fmla="*/ 689711 w 689710"/>
                <a:gd name="connsiteY6" fmla="*/ 733000 h 749617"/>
                <a:gd name="connsiteX7" fmla="*/ 506259 w 689710"/>
                <a:gd name="connsiteY7" fmla="*/ 713950 h 749617"/>
                <a:gd name="connsiteX8" fmla="*/ 438441 w 689710"/>
                <a:gd name="connsiteY8" fmla="*/ 603270 h 749617"/>
                <a:gd name="connsiteX9" fmla="*/ 388625 w 689710"/>
                <a:gd name="connsiteY9" fmla="*/ 690805 h 749617"/>
                <a:gd name="connsiteX10" fmla="*/ 169074 w 689710"/>
                <a:gd name="connsiteY10" fmla="*/ 745288 h 749617"/>
                <a:gd name="connsiteX11" fmla="*/ 15341 w 689710"/>
                <a:gd name="connsiteY11" fmla="*/ 626892 h 749617"/>
                <a:gd name="connsiteX12" fmla="*/ 37153 w 689710"/>
                <a:gd name="connsiteY12" fmla="*/ 416008 h 749617"/>
                <a:gd name="connsiteX13" fmla="*/ 191076 w 689710"/>
                <a:gd name="connsiteY13" fmla="*/ 327521 h 749617"/>
                <a:gd name="connsiteX14" fmla="*/ 420629 w 689710"/>
                <a:gd name="connsiteY14" fmla="*/ 316663 h 749617"/>
                <a:gd name="connsiteX15" fmla="*/ 392911 w 689710"/>
                <a:gd name="connsiteY15" fmla="*/ 189028 h 749617"/>
                <a:gd name="connsiteX16" fmla="*/ 258323 w 689710"/>
                <a:gd name="connsiteY16" fmla="*/ 163310 h 749617"/>
                <a:gd name="connsiteX17" fmla="*/ 147452 w 689710"/>
                <a:gd name="connsiteY17" fmla="*/ 243130 h 749617"/>
                <a:gd name="connsiteX18" fmla="*/ 27247 w 689710"/>
                <a:gd name="connsiteY18" fmla="*/ 137021 h 749617"/>
                <a:gd name="connsiteX19" fmla="*/ 252894 w 689710"/>
                <a:gd name="connsiteY19" fmla="*/ 442583 h 749617"/>
                <a:gd name="connsiteX20" fmla="*/ 260038 w 689710"/>
                <a:gd name="connsiteY20" fmla="*/ 604508 h 749617"/>
                <a:gd name="connsiteX21" fmla="*/ 401579 w 689710"/>
                <a:gd name="connsiteY21" fmla="*/ 571552 h 749617"/>
                <a:gd name="connsiteX22" fmla="*/ 420534 w 689710"/>
                <a:gd name="connsiteY22" fmla="*/ 431725 h 749617"/>
                <a:gd name="connsiteX23" fmla="*/ 252894 w 689710"/>
                <a:gd name="connsiteY23" fmla="*/ 442583 h 749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89710" h="749617">
                  <a:moveTo>
                    <a:pt x="27247" y="137021"/>
                  </a:moveTo>
                  <a:cubicBezTo>
                    <a:pt x="73634" y="63583"/>
                    <a:pt x="153834" y="15387"/>
                    <a:pt x="239750" y="5290"/>
                  </a:cubicBezTo>
                  <a:cubicBezTo>
                    <a:pt x="334618" y="-6044"/>
                    <a:pt x="438632" y="-2520"/>
                    <a:pt x="522070" y="49582"/>
                  </a:cubicBezTo>
                  <a:cubicBezTo>
                    <a:pt x="588936" y="91015"/>
                    <a:pt x="621988" y="171025"/>
                    <a:pt x="622654" y="247606"/>
                  </a:cubicBezTo>
                  <a:cubicBezTo>
                    <a:pt x="623512" y="357049"/>
                    <a:pt x="622654" y="466396"/>
                    <a:pt x="623036" y="575838"/>
                  </a:cubicBezTo>
                  <a:cubicBezTo>
                    <a:pt x="645134" y="575838"/>
                    <a:pt x="667422" y="575838"/>
                    <a:pt x="689711" y="575933"/>
                  </a:cubicBezTo>
                  <a:cubicBezTo>
                    <a:pt x="689615" y="628225"/>
                    <a:pt x="689615" y="680613"/>
                    <a:pt x="689711" y="733000"/>
                  </a:cubicBezTo>
                  <a:cubicBezTo>
                    <a:pt x="628750" y="728238"/>
                    <a:pt x="561790" y="746621"/>
                    <a:pt x="506259" y="713950"/>
                  </a:cubicBezTo>
                  <a:cubicBezTo>
                    <a:pt x="466540" y="690614"/>
                    <a:pt x="448442" y="646037"/>
                    <a:pt x="438441" y="603270"/>
                  </a:cubicBezTo>
                  <a:cubicBezTo>
                    <a:pt x="423963" y="633559"/>
                    <a:pt x="413866" y="667278"/>
                    <a:pt x="388625" y="690805"/>
                  </a:cubicBezTo>
                  <a:cubicBezTo>
                    <a:pt x="331952" y="747193"/>
                    <a:pt x="244702" y="756908"/>
                    <a:pt x="169074" y="745288"/>
                  </a:cubicBezTo>
                  <a:cubicBezTo>
                    <a:pt x="102113" y="735477"/>
                    <a:pt x="38676" y="691948"/>
                    <a:pt x="15341" y="626892"/>
                  </a:cubicBezTo>
                  <a:cubicBezTo>
                    <a:pt x="-9234" y="558693"/>
                    <a:pt x="-5900" y="476302"/>
                    <a:pt x="37153" y="416008"/>
                  </a:cubicBezTo>
                  <a:cubicBezTo>
                    <a:pt x="73062" y="366097"/>
                    <a:pt x="132498" y="339808"/>
                    <a:pt x="191076" y="327521"/>
                  </a:cubicBezTo>
                  <a:cubicBezTo>
                    <a:pt x="266515" y="311424"/>
                    <a:pt x="344048" y="317996"/>
                    <a:pt x="420629" y="316663"/>
                  </a:cubicBezTo>
                  <a:cubicBezTo>
                    <a:pt x="420439" y="273419"/>
                    <a:pt x="425963" y="222746"/>
                    <a:pt x="392911" y="189028"/>
                  </a:cubicBezTo>
                  <a:cubicBezTo>
                    <a:pt x="357764" y="155119"/>
                    <a:pt x="303377" y="154547"/>
                    <a:pt x="258323" y="163310"/>
                  </a:cubicBezTo>
                  <a:cubicBezTo>
                    <a:pt x="211460" y="172359"/>
                    <a:pt x="174884" y="205982"/>
                    <a:pt x="147452" y="243130"/>
                  </a:cubicBezTo>
                  <a:cubicBezTo>
                    <a:pt x="107447" y="207697"/>
                    <a:pt x="67728" y="171883"/>
                    <a:pt x="27247" y="137021"/>
                  </a:cubicBezTo>
                  <a:moveTo>
                    <a:pt x="252894" y="442583"/>
                  </a:moveTo>
                  <a:cubicBezTo>
                    <a:pt x="182600" y="464872"/>
                    <a:pt x="184981" y="591078"/>
                    <a:pt x="260038" y="604508"/>
                  </a:cubicBezTo>
                  <a:cubicBezTo>
                    <a:pt x="308044" y="613557"/>
                    <a:pt x="366337" y="609461"/>
                    <a:pt x="401579" y="571552"/>
                  </a:cubicBezTo>
                  <a:cubicBezTo>
                    <a:pt x="433298" y="532213"/>
                    <a:pt x="416438" y="477921"/>
                    <a:pt x="420534" y="431725"/>
                  </a:cubicBezTo>
                  <a:cubicBezTo>
                    <a:pt x="364813" y="434677"/>
                    <a:pt x="306615" y="423724"/>
                    <a:pt x="252894" y="442583"/>
                  </a:cubicBezTo>
                  <a:close/>
                </a:path>
              </a:pathLst>
            </a:custGeom>
            <a:solidFill>
              <a:srgbClr val="000000"/>
            </a:solidFill>
            <a:ln w="9525" cap="flat">
              <a:noFill/>
              <a:prstDash val="solid"/>
              <a:miter/>
            </a:ln>
          </p:spPr>
          <p:txBody>
            <a:bodyPr rtlCol="0" anchor="ctr"/>
            <a:lstStyle/>
            <a:p>
              <a:endParaRPr lang="en-US" sz="900"/>
            </a:p>
          </p:txBody>
        </p:sp>
        <p:sp>
          <p:nvSpPr>
            <p:cNvPr id="39" name="Freeform: Shape 38">
              <a:extLst>
                <a:ext uri="{FF2B5EF4-FFF2-40B4-BE49-F238E27FC236}">
                  <a16:creationId xmlns:a16="http://schemas.microsoft.com/office/drawing/2014/main" id="{E08DAAAF-22D3-8686-027F-301825BDAA00}"/>
                </a:ext>
              </a:extLst>
            </p:cNvPr>
            <p:cNvSpPr/>
            <p:nvPr/>
          </p:nvSpPr>
          <p:spPr>
            <a:xfrm>
              <a:off x="15602775" y="8849035"/>
              <a:ext cx="633507" cy="733518"/>
            </a:xfrm>
            <a:custGeom>
              <a:avLst/>
              <a:gdLst>
                <a:gd name="connsiteX0" fmla="*/ 311944 w 633507"/>
                <a:gd name="connsiteY0" fmla="*/ 20073 h 733518"/>
                <a:gd name="connsiteX1" fmla="*/ 569214 w 633507"/>
                <a:gd name="connsiteY1" fmla="*/ 66078 h 733518"/>
                <a:gd name="connsiteX2" fmla="*/ 633413 w 633507"/>
                <a:gd name="connsiteY2" fmla="*/ 276295 h 733518"/>
                <a:gd name="connsiteX3" fmla="*/ 633508 w 633507"/>
                <a:gd name="connsiteY3" fmla="*/ 733495 h 733518"/>
                <a:gd name="connsiteX4" fmla="*/ 431006 w 633507"/>
                <a:gd name="connsiteY4" fmla="*/ 733495 h 733518"/>
                <a:gd name="connsiteX5" fmla="*/ 430435 w 633507"/>
                <a:gd name="connsiteY5" fmla="*/ 276676 h 733518"/>
                <a:gd name="connsiteX6" fmla="*/ 369951 w 633507"/>
                <a:gd name="connsiteY6" fmla="*/ 169901 h 733518"/>
                <a:gd name="connsiteX7" fmla="*/ 203264 w 633507"/>
                <a:gd name="connsiteY7" fmla="*/ 257245 h 733518"/>
                <a:gd name="connsiteX8" fmla="*/ 202502 w 633507"/>
                <a:gd name="connsiteY8" fmla="*/ 733495 h 733518"/>
                <a:gd name="connsiteX9" fmla="*/ 0 w 633507"/>
                <a:gd name="connsiteY9" fmla="*/ 733400 h 733518"/>
                <a:gd name="connsiteX10" fmla="*/ 95 w 633507"/>
                <a:gd name="connsiteY10" fmla="*/ 16739 h 733518"/>
                <a:gd name="connsiteX11" fmla="*/ 202406 w 633507"/>
                <a:gd name="connsiteY11" fmla="*/ 16739 h 733518"/>
                <a:gd name="connsiteX12" fmla="*/ 204883 w 633507"/>
                <a:gd name="connsiteY12" fmla="*/ 144564 h 733518"/>
                <a:gd name="connsiteX13" fmla="*/ 311944 w 633507"/>
                <a:gd name="connsiteY13" fmla="*/ 20073 h 733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3507" h="733518">
                  <a:moveTo>
                    <a:pt x="311944" y="20073"/>
                  </a:moveTo>
                  <a:cubicBezTo>
                    <a:pt x="395669" y="-15837"/>
                    <a:pt x="506825" y="-5359"/>
                    <a:pt x="569214" y="66078"/>
                  </a:cubicBezTo>
                  <a:cubicBezTo>
                    <a:pt x="618649" y="123609"/>
                    <a:pt x="632365" y="202572"/>
                    <a:pt x="633413" y="276295"/>
                  </a:cubicBezTo>
                  <a:cubicBezTo>
                    <a:pt x="633603" y="428695"/>
                    <a:pt x="633317" y="581095"/>
                    <a:pt x="633508" y="733495"/>
                  </a:cubicBezTo>
                  <a:lnTo>
                    <a:pt x="431006" y="733495"/>
                  </a:lnTo>
                  <a:cubicBezTo>
                    <a:pt x="430625" y="581190"/>
                    <a:pt x="431864" y="428981"/>
                    <a:pt x="430435" y="276676"/>
                  </a:cubicBezTo>
                  <a:cubicBezTo>
                    <a:pt x="429101" y="234861"/>
                    <a:pt x="415290" y="183045"/>
                    <a:pt x="369951" y="169901"/>
                  </a:cubicBezTo>
                  <a:cubicBezTo>
                    <a:pt x="305086" y="150946"/>
                    <a:pt x="210884" y="180759"/>
                    <a:pt x="203264" y="257245"/>
                  </a:cubicBezTo>
                  <a:cubicBezTo>
                    <a:pt x="201263" y="415931"/>
                    <a:pt x="202978" y="574713"/>
                    <a:pt x="202502" y="733495"/>
                  </a:cubicBezTo>
                  <a:cubicBezTo>
                    <a:pt x="134970" y="733495"/>
                    <a:pt x="67437" y="733590"/>
                    <a:pt x="0" y="733400"/>
                  </a:cubicBezTo>
                  <a:cubicBezTo>
                    <a:pt x="191" y="494513"/>
                    <a:pt x="-95" y="255626"/>
                    <a:pt x="95" y="16739"/>
                  </a:cubicBezTo>
                  <a:lnTo>
                    <a:pt x="202406" y="16739"/>
                  </a:lnTo>
                  <a:cubicBezTo>
                    <a:pt x="203264" y="59315"/>
                    <a:pt x="200025" y="102083"/>
                    <a:pt x="204883" y="144564"/>
                  </a:cubicBezTo>
                  <a:cubicBezTo>
                    <a:pt x="226790" y="93606"/>
                    <a:pt x="258604" y="42456"/>
                    <a:pt x="311944" y="20073"/>
                  </a:cubicBezTo>
                  <a:close/>
                </a:path>
              </a:pathLst>
            </a:custGeom>
            <a:solidFill>
              <a:srgbClr val="000000"/>
            </a:solidFill>
            <a:ln w="9525" cap="flat">
              <a:noFill/>
              <a:prstDash val="solid"/>
              <a:miter/>
            </a:ln>
          </p:spPr>
          <p:txBody>
            <a:bodyPr rtlCol="0" anchor="ctr"/>
            <a:lstStyle/>
            <a:p>
              <a:endParaRPr lang="en-US" sz="900"/>
            </a:p>
          </p:txBody>
        </p:sp>
        <p:sp>
          <p:nvSpPr>
            <p:cNvPr id="40" name="Freeform: Shape 39">
              <a:extLst>
                <a:ext uri="{FF2B5EF4-FFF2-40B4-BE49-F238E27FC236}">
                  <a16:creationId xmlns:a16="http://schemas.microsoft.com/office/drawing/2014/main" id="{3BF8AFFD-1B6C-839E-B09F-AF5203BE810E}"/>
                </a:ext>
              </a:extLst>
            </p:cNvPr>
            <p:cNvSpPr/>
            <p:nvPr/>
          </p:nvSpPr>
          <p:spPr>
            <a:xfrm>
              <a:off x="17116014" y="8849344"/>
              <a:ext cx="669651" cy="749917"/>
            </a:xfrm>
            <a:custGeom>
              <a:avLst/>
              <a:gdLst>
                <a:gd name="connsiteX0" fmla="*/ 174305 w 669651"/>
                <a:gd name="connsiteY0" fmla="*/ 34909 h 749917"/>
                <a:gd name="connsiteX1" fmla="*/ 433670 w 669651"/>
                <a:gd name="connsiteY1" fmla="*/ 11287 h 749917"/>
                <a:gd name="connsiteX2" fmla="*/ 624838 w 669651"/>
                <a:gd name="connsiteY2" fmla="*/ 161973 h 749917"/>
                <a:gd name="connsiteX3" fmla="*/ 669129 w 669651"/>
                <a:gd name="connsiteY3" fmla="*/ 426482 h 749917"/>
                <a:gd name="connsiteX4" fmla="*/ 208500 w 669651"/>
                <a:gd name="connsiteY4" fmla="*/ 426482 h 749917"/>
                <a:gd name="connsiteX5" fmla="*/ 248028 w 669651"/>
                <a:gd name="connsiteY5" fmla="*/ 549450 h 749917"/>
                <a:gd name="connsiteX6" fmla="*/ 408049 w 669651"/>
                <a:gd name="connsiteY6" fmla="*/ 587645 h 749917"/>
                <a:gd name="connsiteX7" fmla="*/ 543589 w 669651"/>
                <a:gd name="connsiteY7" fmla="*/ 505063 h 749917"/>
                <a:gd name="connsiteX8" fmla="*/ 645031 w 669651"/>
                <a:gd name="connsiteY8" fmla="*/ 631269 h 749917"/>
                <a:gd name="connsiteX9" fmla="*/ 388617 w 669651"/>
                <a:gd name="connsiteY9" fmla="*/ 747951 h 749917"/>
                <a:gd name="connsiteX10" fmla="*/ 125441 w 669651"/>
                <a:gd name="connsiteY10" fmla="*/ 681752 h 749917"/>
                <a:gd name="connsiteX11" fmla="*/ 5045 w 669651"/>
                <a:gd name="connsiteY11" fmla="*/ 451342 h 749917"/>
                <a:gd name="connsiteX12" fmla="*/ 33526 w 669651"/>
                <a:gd name="connsiteY12" fmla="*/ 189214 h 749917"/>
                <a:gd name="connsiteX13" fmla="*/ 174305 w 669651"/>
                <a:gd name="connsiteY13" fmla="*/ 34909 h 749917"/>
                <a:gd name="connsiteX14" fmla="*/ 232502 w 669651"/>
                <a:gd name="connsiteY14" fmla="*/ 205788 h 749917"/>
                <a:gd name="connsiteX15" fmla="*/ 208500 w 669651"/>
                <a:gd name="connsiteY15" fmla="*/ 307324 h 749917"/>
                <a:gd name="connsiteX16" fmla="*/ 460722 w 669651"/>
                <a:gd name="connsiteY16" fmla="*/ 307324 h 749917"/>
                <a:gd name="connsiteX17" fmla="*/ 423956 w 669651"/>
                <a:gd name="connsiteY17" fmla="*/ 182547 h 749917"/>
                <a:gd name="connsiteX18" fmla="*/ 232502 w 669651"/>
                <a:gd name="connsiteY18" fmla="*/ 205883 h 749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9651" h="749917">
                  <a:moveTo>
                    <a:pt x="174305" y="34909"/>
                  </a:moveTo>
                  <a:cubicBezTo>
                    <a:pt x="254220" y="-3858"/>
                    <a:pt x="347945" y="-8144"/>
                    <a:pt x="433670" y="11287"/>
                  </a:cubicBezTo>
                  <a:cubicBezTo>
                    <a:pt x="515681" y="29956"/>
                    <a:pt x="587690" y="86439"/>
                    <a:pt x="624838" y="161973"/>
                  </a:cubicBezTo>
                  <a:cubicBezTo>
                    <a:pt x="667223" y="243126"/>
                    <a:pt x="671510" y="336852"/>
                    <a:pt x="669129" y="426482"/>
                  </a:cubicBezTo>
                  <a:cubicBezTo>
                    <a:pt x="515586" y="426482"/>
                    <a:pt x="362043" y="426482"/>
                    <a:pt x="208500" y="426482"/>
                  </a:cubicBezTo>
                  <a:cubicBezTo>
                    <a:pt x="208690" y="469916"/>
                    <a:pt x="215834" y="517350"/>
                    <a:pt x="248028" y="549450"/>
                  </a:cubicBezTo>
                  <a:cubicBezTo>
                    <a:pt x="289272" y="590693"/>
                    <a:pt x="353089" y="596217"/>
                    <a:pt x="408049" y="587645"/>
                  </a:cubicBezTo>
                  <a:cubicBezTo>
                    <a:pt x="462341" y="579453"/>
                    <a:pt x="506537" y="543449"/>
                    <a:pt x="543589" y="505063"/>
                  </a:cubicBezTo>
                  <a:cubicBezTo>
                    <a:pt x="577308" y="547259"/>
                    <a:pt x="611216" y="589169"/>
                    <a:pt x="645031" y="631269"/>
                  </a:cubicBezTo>
                  <a:cubicBezTo>
                    <a:pt x="580260" y="703755"/>
                    <a:pt x="484153" y="740997"/>
                    <a:pt x="388617" y="747951"/>
                  </a:cubicBezTo>
                  <a:cubicBezTo>
                    <a:pt x="297273" y="756047"/>
                    <a:pt x="198880" y="740140"/>
                    <a:pt x="125441" y="681752"/>
                  </a:cubicBezTo>
                  <a:cubicBezTo>
                    <a:pt x="54481" y="626602"/>
                    <a:pt x="16381" y="538782"/>
                    <a:pt x="5045" y="451342"/>
                  </a:cubicBezTo>
                  <a:cubicBezTo>
                    <a:pt x="-5812" y="363522"/>
                    <a:pt x="-384" y="271701"/>
                    <a:pt x="33526" y="189214"/>
                  </a:cubicBezTo>
                  <a:cubicBezTo>
                    <a:pt x="60291" y="123301"/>
                    <a:pt x="110011" y="66246"/>
                    <a:pt x="174305" y="34909"/>
                  </a:cubicBezTo>
                  <a:moveTo>
                    <a:pt x="232502" y="205788"/>
                  </a:moveTo>
                  <a:cubicBezTo>
                    <a:pt x="213072" y="235887"/>
                    <a:pt x="209262" y="272367"/>
                    <a:pt x="208500" y="307324"/>
                  </a:cubicBezTo>
                  <a:cubicBezTo>
                    <a:pt x="292510" y="307324"/>
                    <a:pt x="376616" y="307324"/>
                    <a:pt x="460722" y="307324"/>
                  </a:cubicBezTo>
                  <a:cubicBezTo>
                    <a:pt x="459770" y="263890"/>
                    <a:pt x="455292" y="215884"/>
                    <a:pt x="423956" y="182547"/>
                  </a:cubicBezTo>
                  <a:cubicBezTo>
                    <a:pt x="372234" y="128730"/>
                    <a:pt x="270317" y="141780"/>
                    <a:pt x="232502" y="205883"/>
                  </a:cubicBezTo>
                  <a:close/>
                </a:path>
              </a:pathLst>
            </a:custGeom>
            <a:solidFill>
              <a:srgbClr val="000000"/>
            </a:solidFill>
            <a:ln w="9525" cap="flat">
              <a:noFill/>
              <a:prstDash val="solid"/>
              <a:miter/>
            </a:ln>
          </p:spPr>
          <p:txBody>
            <a:bodyPr rtlCol="0" anchor="ctr"/>
            <a:lstStyle/>
            <a:p>
              <a:endParaRPr lang="en-US" sz="900"/>
            </a:p>
          </p:txBody>
        </p:sp>
      </p:grpSp>
      <p:pic>
        <p:nvPicPr>
          <p:cNvPr id="4" name="Picture 3">
            <a:extLst>
              <a:ext uri="{FF2B5EF4-FFF2-40B4-BE49-F238E27FC236}">
                <a16:creationId xmlns:a16="http://schemas.microsoft.com/office/drawing/2014/main" id="{2DE16743-7FE4-7DB0-AE65-92E8AEA8C0B8}"/>
              </a:ext>
            </a:extLst>
          </p:cNvPr>
          <p:cNvPicPr>
            <a:picLocks noChangeAspect="1"/>
          </p:cNvPicPr>
          <p:nvPr userDrawn="1"/>
        </p:nvPicPr>
        <p:blipFill>
          <a:blip r:embed="rId2"/>
          <a:stretch>
            <a:fillRect/>
          </a:stretch>
        </p:blipFill>
        <p:spPr>
          <a:xfrm>
            <a:off x="11081689" y="6292851"/>
            <a:ext cx="819043" cy="304800"/>
          </a:xfrm>
          <a:prstGeom prst="rect">
            <a:avLst/>
          </a:prstGeom>
        </p:spPr>
      </p:pic>
      <p:sp>
        <p:nvSpPr>
          <p:cNvPr id="2" name="TextBox 1">
            <a:extLst>
              <a:ext uri="{FF2B5EF4-FFF2-40B4-BE49-F238E27FC236}">
                <a16:creationId xmlns:a16="http://schemas.microsoft.com/office/drawing/2014/main" id="{688A4206-3233-86A0-3616-8DA2D7758FC1}"/>
              </a:ext>
            </a:extLst>
          </p:cNvPr>
          <p:cNvSpPr txBox="1"/>
          <p:nvPr userDrawn="1"/>
        </p:nvSpPr>
        <p:spPr>
          <a:xfrm>
            <a:off x="270381" y="5966327"/>
            <a:ext cx="2761097" cy="646331"/>
          </a:xfrm>
          <a:prstGeom prst="rect">
            <a:avLst/>
          </a:prstGeom>
          <a:noFill/>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a:spAutoFit/>
          </a:bodyPr>
          <a:lstStyle/>
          <a:p>
            <a:r>
              <a:rPr lang="en-US" sz="1400" kern="0"/>
              <a:t>October 21–24, 2024</a:t>
            </a:r>
          </a:p>
          <a:p>
            <a:r>
              <a:rPr lang="en-US" sz="1400" kern="0"/>
              <a:t>Mandalay Bay Convention Center</a:t>
            </a:r>
            <a:br>
              <a:rPr lang="en-US" sz="1400" kern="0"/>
            </a:br>
            <a:r>
              <a:rPr lang="en-US" sz="1400" kern="0"/>
              <a:t>Las Vegas, Nevada</a:t>
            </a:r>
          </a:p>
        </p:txBody>
      </p:sp>
      <p:sp>
        <p:nvSpPr>
          <p:cNvPr id="3" name="Freeform: Shape 2">
            <a:extLst>
              <a:ext uri="{FF2B5EF4-FFF2-40B4-BE49-F238E27FC236}">
                <a16:creationId xmlns:a16="http://schemas.microsoft.com/office/drawing/2014/main" id="{71530E12-3A47-3E5B-9146-D0C660BB25C9}"/>
              </a:ext>
            </a:extLst>
          </p:cNvPr>
          <p:cNvSpPr>
            <a:spLocks noChangeAspect="1"/>
          </p:cNvSpPr>
          <p:nvPr userDrawn="1"/>
        </p:nvSpPr>
        <p:spPr>
          <a:xfrm>
            <a:off x="7792583" y="4381432"/>
            <a:ext cx="1371421" cy="1371600"/>
          </a:xfrm>
          <a:custGeom>
            <a:avLst/>
            <a:gdLst>
              <a:gd name="connsiteX0" fmla="*/ 1231011 w 2462022"/>
              <a:gd name="connsiteY0" fmla="*/ 2462022 h 2462022"/>
              <a:gd name="connsiteX1" fmla="*/ 0 w 2462022"/>
              <a:gd name="connsiteY1" fmla="*/ 1231011 h 2462022"/>
              <a:gd name="connsiteX2" fmla="*/ 1231011 w 2462022"/>
              <a:gd name="connsiteY2" fmla="*/ 0 h 2462022"/>
              <a:gd name="connsiteX3" fmla="*/ 2462022 w 2462022"/>
              <a:gd name="connsiteY3" fmla="*/ 1231011 h 2462022"/>
              <a:gd name="connsiteX4" fmla="*/ 1231011 w 2462022"/>
              <a:gd name="connsiteY4" fmla="*/ 2462022 h 2462022"/>
              <a:gd name="connsiteX5" fmla="*/ 1183434 w 2462022"/>
              <a:gd name="connsiteY5" fmla="*/ 62665 h 2462022"/>
              <a:gd name="connsiteX6" fmla="*/ 61722 w 2462022"/>
              <a:gd name="connsiteY6" fmla="*/ 1231011 h 2462022"/>
              <a:gd name="connsiteX7" fmla="*/ 1200150 w 2462022"/>
              <a:gd name="connsiteY7" fmla="*/ 2399957 h 2462022"/>
              <a:gd name="connsiteX8" fmla="*/ 1200150 w 2462022"/>
              <a:gd name="connsiteY8" fmla="*/ 1433322 h 2462022"/>
              <a:gd name="connsiteX9" fmla="*/ 630936 w 2462022"/>
              <a:gd name="connsiteY9" fmla="*/ 1433322 h 2462022"/>
              <a:gd name="connsiteX10" fmla="*/ 605133 w 2462022"/>
              <a:gd name="connsiteY10" fmla="*/ 1419349 h 2462022"/>
              <a:gd name="connsiteX11" fmla="*/ 602732 w 2462022"/>
              <a:gd name="connsiteY11" fmla="*/ 1390031 h 2462022"/>
              <a:gd name="connsiteX12" fmla="*/ 1183434 w 2462022"/>
              <a:gd name="connsiteY12" fmla="*/ 62665 h 2462022"/>
              <a:gd name="connsiteX13" fmla="*/ 1261872 w 2462022"/>
              <a:gd name="connsiteY13" fmla="*/ 1028700 h 2462022"/>
              <a:gd name="connsiteX14" fmla="*/ 1831086 w 2462022"/>
              <a:gd name="connsiteY14" fmla="*/ 1028700 h 2462022"/>
              <a:gd name="connsiteX15" fmla="*/ 1856975 w 2462022"/>
              <a:gd name="connsiteY15" fmla="*/ 1042673 h 2462022"/>
              <a:gd name="connsiteX16" fmla="*/ 1859375 w 2462022"/>
              <a:gd name="connsiteY16" fmla="*/ 1071991 h 2462022"/>
              <a:gd name="connsiteX17" fmla="*/ 1278588 w 2462022"/>
              <a:gd name="connsiteY17" fmla="*/ 2399357 h 2462022"/>
              <a:gd name="connsiteX18" fmla="*/ 2400300 w 2462022"/>
              <a:gd name="connsiteY18" fmla="*/ 1231011 h 2462022"/>
              <a:gd name="connsiteX19" fmla="*/ 1261872 w 2462022"/>
              <a:gd name="connsiteY19" fmla="*/ 62151 h 2462022"/>
              <a:gd name="connsiteX20" fmla="*/ 1261872 w 2462022"/>
              <a:gd name="connsiteY20" fmla="*/ 1028700 h 2462022"/>
              <a:gd name="connsiteX21" fmla="*/ 678085 w 2462022"/>
              <a:gd name="connsiteY21" fmla="*/ 1371600 h 2462022"/>
              <a:gd name="connsiteX22" fmla="*/ 1231011 w 2462022"/>
              <a:gd name="connsiteY22" fmla="*/ 1371600 h 2462022"/>
              <a:gd name="connsiteX23" fmla="*/ 1261872 w 2462022"/>
              <a:gd name="connsiteY23" fmla="*/ 1402461 h 2462022"/>
              <a:gd name="connsiteX24" fmla="*/ 1261872 w 2462022"/>
              <a:gd name="connsiteY24" fmla="*/ 2283628 h 2462022"/>
              <a:gd name="connsiteX25" fmla="*/ 1783852 w 2462022"/>
              <a:gd name="connsiteY25" fmla="*/ 1090422 h 2462022"/>
              <a:gd name="connsiteX26" fmla="*/ 1231011 w 2462022"/>
              <a:gd name="connsiteY26" fmla="*/ 1090422 h 2462022"/>
              <a:gd name="connsiteX27" fmla="*/ 1200150 w 2462022"/>
              <a:gd name="connsiteY27" fmla="*/ 1059561 h 2462022"/>
              <a:gd name="connsiteX28" fmla="*/ 1200150 w 2462022"/>
              <a:gd name="connsiteY28" fmla="*/ 178394 h 2462022"/>
              <a:gd name="connsiteX29" fmla="*/ 678085 w 2462022"/>
              <a:gd name="connsiteY29" fmla="*/ 1371600 h 2462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462022" h="2462022">
                <a:moveTo>
                  <a:pt x="1231011" y="2462022"/>
                </a:moveTo>
                <a:cubicBezTo>
                  <a:pt x="552240" y="2462022"/>
                  <a:pt x="0" y="1909782"/>
                  <a:pt x="0" y="1231011"/>
                </a:cubicBezTo>
                <a:cubicBezTo>
                  <a:pt x="0" y="552240"/>
                  <a:pt x="552240" y="0"/>
                  <a:pt x="1231011" y="0"/>
                </a:cubicBezTo>
                <a:cubicBezTo>
                  <a:pt x="1909782" y="0"/>
                  <a:pt x="2462022" y="552240"/>
                  <a:pt x="2462022" y="1231011"/>
                </a:cubicBezTo>
                <a:cubicBezTo>
                  <a:pt x="2462022" y="1909782"/>
                  <a:pt x="1909782" y="2462022"/>
                  <a:pt x="1231011" y="2462022"/>
                </a:cubicBezTo>
                <a:close/>
                <a:moveTo>
                  <a:pt x="1183434" y="62665"/>
                </a:moveTo>
                <a:cubicBezTo>
                  <a:pt x="560642" y="87782"/>
                  <a:pt x="61722" y="602218"/>
                  <a:pt x="61722" y="1231011"/>
                </a:cubicBezTo>
                <a:cubicBezTo>
                  <a:pt x="61722" y="1865376"/>
                  <a:pt x="569643" y="2383498"/>
                  <a:pt x="1200150" y="2399957"/>
                </a:cubicBezTo>
                <a:lnTo>
                  <a:pt x="1200150" y="1433322"/>
                </a:lnTo>
                <a:lnTo>
                  <a:pt x="630936" y="1433322"/>
                </a:lnTo>
                <a:cubicBezTo>
                  <a:pt x="620478" y="1433322"/>
                  <a:pt x="610791" y="1428007"/>
                  <a:pt x="605133" y="1419349"/>
                </a:cubicBezTo>
                <a:cubicBezTo>
                  <a:pt x="599475" y="1410691"/>
                  <a:pt x="598532" y="1399632"/>
                  <a:pt x="602732" y="1390031"/>
                </a:cubicBezTo>
                <a:lnTo>
                  <a:pt x="1183434" y="62665"/>
                </a:lnTo>
                <a:close/>
                <a:moveTo>
                  <a:pt x="1261872" y="1028700"/>
                </a:moveTo>
                <a:lnTo>
                  <a:pt x="1831086" y="1028700"/>
                </a:lnTo>
                <a:cubicBezTo>
                  <a:pt x="1841459" y="1028700"/>
                  <a:pt x="1851146" y="1033929"/>
                  <a:pt x="1856975" y="1042673"/>
                </a:cubicBezTo>
                <a:cubicBezTo>
                  <a:pt x="1862633" y="1051417"/>
                  <a:pt x="1863576" y="1062390"/>
                  <a:pt x="1859375" y="1071991"/>
                </a:cubicBezTo>
                <a:lnTo>
                  <a:pt x="1278588" y="2399357"/>
                </a:lnTo>
                <a:cubicBezTo>
                  <a:pt x="1901381" y="2374325"/>
                  <a:pt x="2400300" y="1859804"/>
                  <a:pt x="2400300" y="1231011"/>
                </a:cubicBezTo>
                <a:cubicBezTo>
                  <a:pt x="2400300" y="596560"/>
                  <a:pt x="1892465" y="78524"/>
                  <a:pt x="1261872" y="62151"/>
                </a:cubicBezTo>
                <a:lnTo>
                  <a:pt x="1261872" y="1028700"/>
                </a:lnTo>
                <a:close/>
                <a:moveTo>
                  <a:pt x="678085" y="1371600"/>
                </a:moveTo>
                <a:lnTo>
                  <a:pt x="1231011" y="1371600"/>
                </a:lnTo>
                <a:cubicBezTo>
                  <a:pt x="1248070" y="1371600"/>
                  <a:pt x="1261872" y="1385402"/>
                  <a:pt x="1261872" y="1402461"/>
                </a:cubicBezTo>
                <a:lnTo>
                  <a:pt x="1261872" y="2283628"/>
                </a:lnTo>
                <a:lnTo>
                  <a:pt x="1783852" y="1090422"/>
                </a:lnTo>
                <a:lnTo>
                  <a:pt x="1231011" y="1090422"/>
                </a:lnTo>
                <a:cubicBezTo>
                  <a:pt x="1213952" y="1090422"/>
                  <a:pt x="1200150" y="1076620"/>
                  <a:pt x="1200150" y="1059561"/>
                </a:cubicBezTo>
                <a:lnTo>
                  <a:pt x="1200150" y="178394"/>
                </a:lnTo>
                <a:lnTo>
                  <a:pt x="678085" y="1371600"/>
                </a:lnTo>
                <a:close/>
              </a:path>
            </a:pathLst>
          </a:custGeom>
          <a:solidFill>
            <a:srgbClr val="000000"/>
          </a:solidFill>
          <a:ln w="85725" cap="flat">
            <a:noFill/>
            <a:prstDash val="solid"/>
            <a:miter/>
          </a:ln>
        </p:spPr>
        <p:txBody>
          <a:bodyPr rtlCol="0" anchor="ctr"/>
          <a:lstStyle/>
          <a:p>
            <a:endParaRPr lang="uk-UA" sz="900"/>
          </a:p>
        </p:txBody>
      </p:sp>
      <p:grpSp>
        <p:nvGrpSpPr>
          <p:cNvPr id="5" name="Graphic 10">
            <a:extLst>
              <a:ext uri="{FF2B5EF4-FFF2-40B4-BE49-F238E27FC236}">
                <a16:creationId xmlns:a16="http://schemas.microsoft.com/office/drawing/2014/main" id="{EEDAC3B8-D4DF-6D70-D8E7-AE978D6C17D1}"/>
              </a:ext>
            </a:extLst>
          </p:cNvPr>
          <p:cNvGrpSpPr/>
          <p:nvPr userDrawn="1"/>
        </p:nvGrpSpPr>
        <p:grpSpPr>
          <a:xfrm>
            <a:off x="10535494" y="3009763"/>
            <a:ext cx="1371490" cy="1371669"/>
            <a:chOff x="-4656138" y="6553200"/>
            <a:chExt cx="2438400" cy="2438400"/>
          </a:xfrm>
        </p:grpSpPr>
        <p:sp>
          <p:nvSpPr>
            <p:cNvPr id="6" name="Freeform: Shape 5">
              <a:extLst>
                <a:ext uri="{FF2B5EF4-FFF2-40B4-BE49-F238E27FC236}">
                  <a16:creationId xmlns:a16="http://schemas.microsoft.com/office/drawing/2014/main" id="{8571E6D8-1AD5-82BD-197F-F7266940C3C2}"/>
                </a:ext>
              </a:extLst>
            </p:cNvPr>
            <p:cNvSpPr/>
            <p:nvPr/>
          </p:nvSpPr>
          <p:spPr>
            <a:xfrm>
              <a:off x="-4605541" y="6705600"/>
              <a:ext cx="2337206" cy="2235403"/>
            </a:xfrm>
            <a:custGeom>
              <a:avLst/>
              <a:gdLst>
                <a:gd name="connsiteX0" fmla="*/ 2312483 w 2337206"/>
                <a:gd name="connsiteY0" fmla="*/ 2236032 h 2235403"/>
                <a:gd name="connsiteX1" fmla="*/ 26483 w 2337206"/>
                <a:gd name="connsiteY1" fmla="*/ 2236032 h 2235403"/>
                <a:gd name="connsiteX2" fmla="*/ 880 w 2337206"/>
                <a:gd name="connsiteY2" fmla="*/ 2210429 h 2235403"/>
                <a:gd name="connsiteX3" fmla="*/ 880 w 2337206"/>
                <a:gd name="connsiteY3" fmla="*/ 1829429 h 2235403"/>
                <a:gd name="connsiteX4" fmla="*/ 52086 w 2337206"/>
                <a:gd name="connsiteY4" fmla="*/ 1829429 h 2235403"/>
                <a:gd name="connsiteX5" fmla="*/ 52086 w 2337206"/>
                <a:gd name="connsiteY5" fmla="*/ 2184826 h 2235403"/>
                <a:gd name="connsiteX6" fmla="*/ 2286880 w 2337206"/>
                <a:gd name="connsiteY6" fmla="*/ 2184826 h 2235403"/>
                <a:gd name="connsiteX7" fmla="*/ 2286880 w 2337206"/>
                <a:gd name="connsiteY7" fmla="*/ 1829429 h 2235403"/>
                <a:gd name="connsiteX8" fmla="*/ 2338087 w 2337206"/>
                <a:gd name="connsiteY8" fmla="*/ 1829429 h 2235403"/>
                <a:gd name="connsiteX9" fmla="*/ 2338087 w 2337206"/>
                <a:gd name="connsiteY9" fmla="*/ 2210429 h 2235403"/>
                <a:gd name="connsiteX10" fmla="*/ 2312483 w 2337206"/>
                <a:gd name="connsiteY10" fmla="*/ 2236032 h 2235403"/>
                <a:gd name="connsiteX11" fmla="*/ 2312483 w 2337206"/>
                <a:gd name="connsiteY11" fmla="*/ 1626432 h 2235403"/>
                <a:gd name="connsiteX12" fmla="*/ 26483 w 2337206"/>
                <a:gd name="connsiteY12" fmla="*/ 1626432 h 2235403"/>
                <a:gd name="connsiteX13" fmla="*/ 880 w 2337206"/>
                <a:gd name="connsiteY13" fmla="*/ 1600829 h 2235403"/>
                <a:gd name="connsiteX14" fmla="*/ 880 w 2337206"/>
                <a:gd name="connsiteY14" fmla="*/ 1219829 h 2235403"/>
                <a:gd name="connsiteX15" fmla="*/ 52086 w 2337206"/>
                <a:gd name="connsiteY15" fmla="*/ 1219829 h 2235403"/>
                <a:gd name="connsiteX16" fmla="*/ 52086 w 2337206"/>
                <a:gd name="connsiteY16" fmla="*/ 1575226 h 2235403"/>
                <a:gd name="connsiteX17" fmla="*/ 2286880 w 2337206"/>
                <a:gd name="connsiteY17" fmla="*/ 1575226 h 2235403"/>
                <a:gd name="connsiteX18" fmla="*/ 2286880 w 2337206"/>
                <a:gd name="connsiteY18" fmla="*/ 1219829 h 2235403"/>
                <a:gd name="connsiteX19" fmla="*/ 2338087 w 2337206"/>
                <a:gd name="connsiteY19" fmla="*/ 1219829 h 2235403"/>
                <a:gd name="connsiteX20" fmla="*/ 2338087 w 2337206"/>
                <a:gd name="connsiteY20" fmla="*/ 1600829 h 2235403"/>
                <a:gd name="connsiteX21" fmla="*/ 2312483 w 2337206"/>
                <a:gd name="connsiteY21" fmla="*/ 1626432 h 2235403"/>
                <a:gd name="connsiteX22" fmla="*/ 2312483 w 2337206"/>
                <a:gd name="connsiteY22" fmla="*/ 1016832 h 2235403"/>
                <a:gd name="connsiteX23" fmla="*/ 26483 w 2337206"/>
                <a:gd name="connsiteY23" fmla="*/ 1016832 h 2235403"/>
                <a:gd name="connsiteX24" fmla="*/ 880 w 2337206"/>
                <a:gd name="connsiteY24" fmla="*/ 991229 h 2235403"/>
                <a:gd name="connsiteX25" fmla="*/ 880 w 2337206"/>
                <a:gd name="connsiteY25" fmla="*/ 610229 h 2235403"/>
                <a:gd name="connsiteX26" fmla="*/ 52086 w 2337206"/>
                <a:gd name="connsiteY26" fmla="*/ 610229 h 2235403"/>
                <a:gd name="connsiteX27" fmla="*/ 52086 w 2337206"/>
                <a:gd name="connsiteY27" fmla="*/ 965625 h 2235403"/>
                <a:gd name="connsiteX28" fmla="*/ 2286880 w 2337206"/>
                <a:gd name="connsiteY28" fmla="*/ 965625 h 2235403"/>
                <a:gd name="connsiteX29" fmla="*/ 2286880 w 2337206"/>
                <a:gd name="connsiteY29" fmla="*/ 610229 h 2235403"/>
                <a:gd name="connsiteX30" fmla="*/ 2338087 w 2337206"/>
                <a:gd name="connsiteY30" fmla="*/ 610229 h 2235403"/>
                <a:gd name="connsiteX31" fmla="*/ 2338087 w 2337206"/>
                <a:gd name="connsiteY31" fmla="*/ 991229 h 2235403"/>
                <a:gd name="connsiteX32" fmla="*/ 2312483 w 2337206"/>
                <a:gd name="connsiteY32" fmla="*/ 1016832 h 2235403"/>
                <a:gd name="connsiteX33" fmla="*/ 2312483 w 2337206"/>
                <a:gd name="connsiteY33" fmla="*/ 407232 h 2235403"/>
                <a:gd name="connsiteX34" fmla="*/ 26483 w 2337206"/>
                <a:gd name="connsiteY34" fmla="*/ 407232 h 2235403"/>
                <a:gd name="connsiteX35" fmla="*/ 880 w 2337206"/>
                <a:gd name="connsiteY35" fmla="*/ 381629 h 2235403"/>
                <a:gd name="connsiteX36" fmla="*/ 880 w 2337206"/>
                <a:gd name="connsiteY36" fmla="*/ 629 h 2235403"/>
                <a:gd name="connsiteX37" fmla="*/ 52086 w 2337206"/>
                <a:gd name="connsiteY37" fmla="*/ 629 h 2235403"/>
                <a:gd name="connsiteX38" fmla="*/ 52086 w 2337206"/>
                <a:gd name="connsiteY38" fmla="*/ 356025 h 2235403"/>
                <a:gd name="connsiteX39" fmla="*/ 2286880 w 2337206"/>
                <a:gd name="connsiteY39" fmla="*/ 356025 h 2235403"/>
                <a:gd name="connsiteX40" fmla="*/ 2286880 w 2337206"/>
                <a:gd name="connsiteY40" fmla="*/ 629 h 2235403"/>
                <a:gd name="connsiteX41" fmla="*/ 2338087 w 2337206"/>
                <a:gd name="connsiteY41" fmla="*/ 629 h 2235403"/>
                <a:gd name="connsiteX42" fmla="*/ 2338087 w 2337206"/>
                <a:gd name="connsiteY42" fmla="*/ 381629 h 2235403"/>
                <a:gd name="connsiteX43" fmla="*/ 2312483 w 2337206"/>
                <a:gd name="connsiteY43" fmla="*/ 407232 h 2235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337206" h="2235403">
                  <a:moveTo>
                    <a:pt x="2312483" y="2236032"/>
                  </a:moveTo>
                  <a:lnTo>
                    <a:pt x="26483" y="2236032"/>
                  </a:lnTo>
                  <a:cubicBezTo>
                    <a:pt x="12310" y="2236032"/>
                    <a:pt x="880" y="2224602"/>
                    <a:pt x="880" y="2210429"/>
                  </a:cubicBezTo>
                  <a:lnTo>
                    <a:pt x="880" y="1829429"/>
                  </a:lnTo>
                  <a:lnTo>
                    <a:pt x="52086" y="1829429"/>
                  </a:lnTo>
                  <a:lnTo>
                    <a:pt x="52086" y="2184826"/>
                  </a:lnTo>
                  <a:lnTo>
                    <a:pt x="2286880" y="2184826"/>
                  </a:lnTo>
                  <a:lnTo>
                    <a:pt x="2286880" y="1829429"/>
                  </a:lnTo>
                  <a:lnTo>
                    <a:pt x="2338087" y="1829429"/>
                  </a:lnTo>
                  <a:lnTo>
                    <a:pt x="2338087" y="2210429"/>
                  </a:lnTo>
                  <a:cubicBezTo>
                    <a:pt x="2338087" y="2224602"/>
                    <a:pt x="2326657" y="2236032"/>
                    <a:pt x="2312483" y="2236032"/>
                  </a:cubicBezTo>
                  <a:close/>
                  <a:moveTo>
                    <a:pt x="2312483" y="1626432"/>
                  </a:moveTo>
                  <a:lnTo>
                    <a:pt x="26483" y="1626432"/>
                  </a:lnTo>
                  <a:cubicBezTo>
                    <a:pt x="12310" y="1626432"/>
                    <a:pt x="880" y="1615002"/>
                    <a:pt x="880" y="1600829"/>
                  </a:cubicBezTo>
                  <a:lnTo>
                    <a:pt x="880" y="1219829"/>
                  </a:lnTo>
                  <a:lnTo>
                    <a:pt x="52086" y="1219829"/>
                  </a:lnTo>
                  <a:lnTo>
                    <a:pt x="52086" y="1575226"/>
                  </a:lnTo>
                  <a:lnTo>
                    <a:pt x="2286880" y="1575226"/>
                  </a:lnTo>
                  <a:lnTo>
                    <a:pt x="2286880" y="1219829"/>
                  </a:lnTo>
                  <a:lnTo>
                    <a:pt x="2338087" y="1219829"/>
                  </a:lnTo>
                  <a:lnTo>
                    <a:pt x="2338087" y="1600829"/>
                  </a:lnTo>
                  <a:cubicBezTo>
                    <a:pt x="2338087" y="1615002"/>
                    <a:pt x="2326657" y="1626432"/>
                    <a:pt x="2312483" y="1626432"/>
                  </a:cubicBezTo>
                  <a:close/>
                  <a:moveTo>
                    <a:pt x="2312483" y="1016832"/>
                  </a:moveTo>
                  <a:lnTo>
                    <a:pt x="26483" y="1016832"/>
                  </a:lnTo>
                  <a:cubicBezTo>
                    <a:pt x="12310" y="1016832"/>
                    <a:pt x="880" y="1005402"/>
                    <a:pt x="880" y="991229"/>
                  </a:cubicBezTo>
                  <a:lnTo>
                    <a:pt x="880" y="610229"/>
                  </a:lnTo>
                  <a:lnTo>
                    <a:pt x="52086" y="610229"/>
                  </a:lnTo>
                  <a:lnTo>
                    <a:pt x="52086" y="965625"/>
                  </a:lnTo>
                  <a:lnTo>
                    <a:pt x="2286880" y="965625"/>
                  </a:lnTo>
                  <a:lnTo>
                    <a:pt x="2286880" y="610229"/>
                  </a:lnTo>
                  <a:lnTo>
                    <a:pt x="2338087" y="610229"/>
                  </a:lnTo>
                  <a:lnTo>
                    <a:pt x="2338087" y="991229"/>
                  </a:lnTo>
                  <a:cubicBezTo>
                    <a:pt x="2338087" y="1005402"/>
                    <a:pt x="2326657" y="1016832"/>
                    <a:pt x="2312483" y="1016832"/>
                  </a:cubicBezTo>
                  <a:close/>
                  <a:moveTo>
                    <a:pt x="2312483" y="407232"/>
                  </a:moveTo>
                  <a:lnTo>
                    <a:pt x="26483" y="407232"/>
                  </a:lnTo>
                  <a:cubicBezTo>
                    <a:pt x="12310" y="407232"/>
                    <a:pt x="880" y="395802"/>
                    <a:pt x="880" y="381629"/>
                  </a:cubicBezTo>
                  <a:lnTo>
                    <a:pt x="880" y="629"/>
                  </a:lnTo>
                  <a:lnTo>
                    <a:pt x="52086" y="629"/>
                  </a:lnTo>
                  <a:lnTo>
                    <a:pt x="52086" y="356025"/>
                  </a:lnTo>
                  <a:lnTo>
                    <a:pt x="2286880" y="356025"/>
                  </a:lnTo>
                  <a:lnTo>
                    <a:pt x="2286880" y="629"/>
                  </a:lnTo>
                  <a:lnTo>
                    <a:pt x="2338087" y="629"/>
                  </a:lnTo>
                  <a:lnTo>
                    <a:pt x="2338087" y="381629"/>
                  </a:lnTo>
                  <a:cubicBezTo>
                    <a:pt x="2338087" y="395802"/>
                    <a:pt x="2326657" y="407232"/>
                    <a:pt x="2312483" y="407232"/>
                  </a:cubicBezTo>
                  <a:close/>
                </a:path>
              </a:pathLst>
            </a:custGeom>
            <a:solidFill>
              <a:srgbClr val="000000"/>
            </a:solidFill>
            <a:ln w="76200" cap="flat">
              <a:noFill/>
              <a:prstDash val="solid"/>
              <a:miter/>
            </a:ln>
          </p:spPr>
          <p:txBody>
            <a:bodyPr rtlCol="0" anchor="ctr"/>
            <a:lstStyle/>
            <a:p>
              <a:endParaRPr lang="en-US" sz="900"/>
            </a:p>
          </p:txBody>
        </p:sp>
        <p:sp>
          <p:nvSpPr>
            <p:cNvPr id="7" name="Freeform: Shape 6">
              <a:extLst>
                <a:ext uri="{FF2B5EF4-FFF2-40B4-BE49-F238E27FC236}">
                  <a16:creationId xmlns:a16="http://schemas.microsoft.com/office/drawing/2014/main" id="{C45C9649-E8C6-8538-64D5-E9974B3C54F8}"/>
                </a:ext>
              </a:extLst>
            </p:cNvPr>
            <p:cNvSpPr/>
            <p:nvPr/>
          </p:nvSpPr>
          <p:spPr>
            <a:xfrm>
              <a:off x="-4656138" y="6553200"/>
              <a:ext cx="2438400" cy="2438400"/>
            </a:xfrm>
            <a:custGeom>
              <a:avLst/>
              <a:gdLst>
                <a:gd name="connsiteX0" fmla="*/ 880 w 2438400"/>
                <a:gd name="connsiteY0" fmla="*/ 624 h 2438400"/>
                <a:gd name="connsiteX1" fmla="*/ 2439280 w 2438400"/>
                <a:gd name="connsiteY1" fmla="*/ 624 h 2438400"/>
                <a:gd name="connsiteX2" fmla="*/ 2439280 w 2438400"/>
                <a:gd name="connsiteY2" fmla="*/ 2439024 h 2438400"/>
                <a:gd name="connsiteX3" fmla="*/ 880 w 2438400"/>
                <a:gd name="connsiteY3" fmla="*/ 2439024 h 2438400"/>
              </a:gdLst>
              <a:ahLst/>
              <a:cxnLst>
                <a:cxn ang="0">
                  <a:pos x="connsiteX0" y="connsiteY0"/>
                </a:cxn>
                <a:cxn ang="0">
                  <a:pos x="connsiteX1" y="connsiteY1"/>
                </a:cxn>
                <a:cxn ang="0">
                  <a:pos x="connsiteX2" y="connsiteY2"/>
                </a:cxn>
                <a:cxn ang="0">
                  <a:pos x="connsiteX3" y="connsiteY3"/>
                </a:cxn>
              </a:cxnLst>
              <a:rect l="l" t="t" r="r" b="b"/>
              <a:pathLst>
                <a:path w="2438400" h="2438400">
                  <a:moveTo>
                    <a:pt x="880" y="624"/>
                  </a:moveTo>
                  <a:lnTo>
                    <a:pt x="2439280" y="624"/>
                  </a:lnTo>
                  <a:lnTo>
                    <a:pt x="2439280" y="2439024"/>
                  </a:lnTo>
                  <a:lnTo>
                    <a:pt x="880" y="2439024"/>
                  </a:lnTo>
                  <a:close/>
                </a:path>
              </a:pathLst>
            </a:custGeom>
            <a:noFill/>
            <a:ln w="76200" cap="flat">
              <a:noFill/>
              <a:prstDash val="solid"/>
              <a:miter/>
            </a:ln>
          </p:spPr>
          <p:txBody>
            <a:bodyPr rtlCol="0" anchor="ctr"/>
            <a:lstStyle/>
            <a:p>
              <a:endParaRPr lang="en-US" sz="900"/>
            </a:p>
          </p:txBody>
        </p:sp>
      </p:grpSp>
      <p:sp>
        <p:nvSpPr>
          <p:cNvPr id="9" name="Freeform: Shape 8">
            <a:extLst>
              <a:ext uri="{FF2B5EF4-FFF2-40B4-BE49-F238E27FC236}">
                <a16:creationId xmlns:a16="http://schemas.microsoft.com/office/drawing/2014/main" id="{C713F7EE-2369-EED6-BFE6-1072CA2BF651}"/>
              </a:ext>
            </a:extLst>
          </p:cNvPr>
          <p:cNvSpPr/>
          <p:nvPr userDrawn="1"/>
        </p:nvSpPr>
        <p:spPr>
          <a:xfrm>
            <a:off x="9165925" y="1803792"/>
            <a:ext cx="1370118" cy="1040273"/>
          </a:xfrm>
          <a:custGeom>
            <a:avLst/>
            <a:gdLst>
              <a:gd name="connsiteX0" fmla="*/ 992531 w 2435961"/>
              <a:gd name="connsiteY0" fmla="*/ 334 h 1849282"/>
              <a:gd name="connsiteX1" fmla="*/ 812334 w 2435961"/>
              <a:gd name="connsiteY1" fmla="*/ 180532 h 1849282"/>
              <a:gd name="connsiteX2" fmla="*/ 992531 w 2435961"/>
              <a:gd name="connsiteY2" fmla="*/ 360730 h 1849282"/>
              <a:gd name="connsiteX3" fmla="*/ 1172729 w 2435961"/>
              <a:gd name="connsiteY3" fmla="*/ 180532 h 1849282"/>
              <a:gd name="connsiteX4" fmla="*/ 992531 w 2435961"/>
              <a:gd name="connsiteY4" fmla="*/ 334 h 1849282"/>
              <a:gd name="connsiteX5" fmla="*/ 1444367 w 2435961"/>
              <a:gd name="connsiteY5" fmla="*/ 334 h 1849282"/>
              <a:gd name="connsiteX6" fmla="*/ 1264169 w 2435961"/>
              <a:gd name="connsiteY6" fmla="*/ 180532 h 1849282"/>
              <a:gd name="connsiteX7" fmla="*/ 1444367 w 2435961"/>
              <a:gd name="connsiteY7" fmla="*/ 360730 h 1849282"/>
              <a:gd name="connsiteX8" fmla="*/ 1624565 w 2435961"/>
              <a:gd name="connsiteY8" fmla="*/ 180532 h 1849282"/>
              <a:gd name="connsiteX9" fmla="*/ 1444367 w 2435961"/>
              <a:gd name="connsiteY9" fmla="*/ 334 h 1849282"/>
              <a:gd name="connsiteX10" fmla="*/ 590 w 2435961"/>
              <a:gd name="connsiteY10" fmla="*/ 1173448 h 1849282"/>
              <a:gd name="connsiteX11" fmla="*/ 316363 w 2435961"/>
              <a:gd name="connsiteY11" fmla="*/ 1488733 h 1849282"/>
              <a:gd name="connsiteX12" fmla="*/ 621163 w 2435961"/>
              <a:gd name="connsiteY12" fmla="*/ 1257329 h 1849282"/>
              <a:gd name="connsiteX13" fmla="*/ 827695 w 2435961"/>
              <a:gd name="connsiteY13" fmla="*/ 601644 h 1849282"/>
              <a:gd name="connsiteX14" fmla="*/ 215169 w 2435961"/>
              <a:gd name="connsiteY14" fmla="*/ 872306 h 1849282"/>
              <a:gd name="connsiteX15" fmla="*/ 590 w 2435961"/>
              <a:gd name="connsiteY15" fmla="*/ 1173448 h 1849282"/>
              <a:gd name="connsiteX16" fmla="*/ 1572627 w 2435961"/>
              <a:gd name="connsiteY16" fmla="*/ 661872 h 1849282"/>
              <a:gd name="connsiteX17" fmla="*/ 1218327 w 2435961"/>
              <a:gd name="connsiteY17" fmla="*/ 436320 h 1849282"/>
              <a:gd name="connsiteX18" fmla="*/ 865003 w 2435961"/>
              <a:gd name="connsiteY18" fmla="*/ 661872 h 1849282"/>
              <a:gd name="connsiteX19" fmla="*/ 1572627 w 2435961"/>
              <a:gd name="connsiteY19" fmla="*/ 661872 h 1849282"/>
              <a:gd name="connsiteX20" fmla="*/ 1609447 w 2435961"/>
              <a:gd name="connsiteY20" fmla="*/ 842314 h 1849282"/>
              <a:gd name="connsiteX21" fmla="*/ 827452 w 2435961"/>
              <a:gd name="connsiteY21" fmla="*/ 842314 h 1849282"/>
              <a:gd name="connsiteX22" fmla="*/ 827452 w 2435961"/>
              <a:gd name="connsiteY22" fmla="*/ 1052748 h 1849282"/>
              <a:gd name="connsiteX23" fmla="*/ 1609203 w 2435961"/>
              <a:gd name="connsiteY23" fmla="*/ 1052748 h 1849282"/>
              <a:gd name="connsiteX24" fmla="*/ 1609203 w 2435961"/>
              <a:gd name="connsiteY24" fmla="*/ 842314 h 1849282"/>
              <a:gd name="connsiteX25" fmla="*/ 1609447 w 2435961"/>
              <a:gd name="connsiteY25" fmla="*/ 1233189 h 1849282"/>
              <a:gd name="connsiteX26" fmla="*/ 827452 w 2435961"/>
              <a:gd name="connsiteY26" fmla="*/ 1233189 h 1849282"/>
              <a:gd name="connsiteX27" fmla="*/ 827452 w 2435961"/>
              <a:gd name="connsiteY27" fmla="*/ 1443623 h 1849282"/>
              <a:gd name="connsiteX28" fmla="*/ 1609203 w 2435961"/>
              <a:gd name="connsiteY28" fmla="*/ 1443623 h 1849282"/>
              <a:gd name="connsiteX29" fmla="*/ 1609203 w 2435961"/>
              <a:gd name="connsiteY29" fmla="*/ 1233189 h 1849282"/>
              <a:gd name="connsiteX30" fmla="*/ 865247 w 2435961"/>
              <a:gd name="connsiteY30" fmla="*/ 1624065 h 1849282"/>
              <a:gd name="connsiteX31" fmla="*/ 1218571 w 2435961"/>
              <a:gd name="connsiteY31" fmla="*/ 1849617 h 1849282"/>
              <a:gd name="connsiteX32" fmla="*/ 1572871 w 2435961"/>
              <a:gd name="connsiteY32" fmla="*/ 1624065 h 1849282"/>
              <a:gd name="connsiteX33" fmla="*/ 865247 w 2435961"/>
              <a:gd name="connsiteY33" fmla="*/ 1624065 h 1849282"/>
              <a:gd name="connsiteX34" fmla="*/ 2221973 w 2435961"/>
              <a:gd name="connsiteY34" fmla="*/ 872306 h 1849282"/>
              <a:gd name="connsiteX35" fmla="*/ 1609447 w 2435961"/>
              <a:gd name="connsiteY35" fmla="*/ 601644 h 1849282"/>
              <a:gd name="connsiteX36" fmla="*/ 1815979 w 2435961"/>
              <a:gd name="connsiteY36" fmla="*/ 1257329 h 1849282"/>
              <a:gd name="connsiteX37" fmla="*/ 2120779 w 2435961"/>
              <a:gd name="connsiteY37" fmla="*/ 1488733 h 1849282"/>
              <a:gd name="connsiteX38" fmla="*/ 2436552 w 2435961"/>
              <a:gd name="connsiteY38" fmla="*/ 1173448 h 1849282"/>
              <a:gd name="connsiteX39" fmla="*/ 2221973 w 2435961"/>
              <a:gd name="connsiteY39" fmla="*/ 872306 h 1849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435961" h="1849282">
                <a:moveTo>
                  <a:pt x="992531" y="334"/>
                </a:moveTo>
                <a:cubicBezTo>
                  <a:pt x="893045" y="334"/>
                  <a:pt x="812334" y="81045"/>
                  <a:pt x="812334" y="180532"/>
                </a:cubicBezTo>
                <a:cubicBezTo>
                  <a:pt x="812334" y="280018"/>
                  <a:pt x="893045" y="360730"/>
                  <a:pt x="992531" y="360730"/>
                </a:cubicBezTo>
                <a:cubicBezTo>
                  <a:pt x="1092018" y="360730"/>
                  <a:pt x="1172729" y="280018"/>
                  <a:pt x="1172729" y="180532"/>
                </a:cubicBezTo>
                <a:cubicBezTo>
                  <a:pt x="1172729" y="81045"/>
                  <a:pt x="1092018" y="334"/>
                  <a:pt x="992531" y="334"/>
                </a:cubicBezTo>
                <a:close/>
                <a:moveTo>
                  <a:pt x="1444367" y="334"/>
                </a:moveTo>
                <a:cubicBezTo>
                  <a:pt x="1344880" y="334"/>
                  <a:pt x="1264169" y="81045"/>
                  <a:pt x="1264169" y="180532"/>
                </a:cubicBezTo>
                <a:cubicBezTo>
                  <a:pt x="1264169" y="280018"/>
                  <a:pt x="1344880" y="360730"/>
                  <a:pt x="1444367" y="360730"/>
                </a:cubicBezTo>
                <a:cubicBezTo>
                  <a:pt x="1543854" y="360730"/>
                  <a:pt x="1624565" y="280018"/>
                  <a:pt x="1624565" y="180532"/>
                </a:cubicBezTo>
                <a:cubicBezTo>
                  <a:pt x="1624565" y="81045"/>
                  <a:pt x="1543854" y="334"/>
                  <a:pt x="1444367" y="334"/>
                </a:cubicBezTo>
                <a:close/>
                <a:moveTo>
                  <a:pt x="590" y="1173448"/>
                </a:moveTo>
                <a:cubicBezTo>
                  <a:pt x="590" y="1347062"/>
                  <a:pt x="142749" y="1488733"/>
                  <a:pt x="316363" y="1488733"/>
                </a:cubicBezTo>
                <a:cubicBezTo>
                  <a:pt x="483150" y="1488733"/>
                  <a:pt x="581905" y="1374129"/>
                  <a:pt x="621163" y="1257329"/>
                </a:cubicBezTo>
                <a:lnTo>
                  <a:pt x="827695" y="601644"/>
                </a:lnTo>
                <a:lnTo>
                  <a:pt x="215169" y="872306"/>
                </a:lnTo>
                <a:cubicBezTo>
                  <a:pt x="91055" y="928145"/>
                  <a:pt x="590" y="1026413"/>
                  <a:pt x="590" y="1173448"/>
                </a:cubicBezTo>
                <a:close/>
                <a:moveTo>
                  <a:pt x="1572627" y="661872"/>
                </a:moveTo>
                <a:cubicBezTo>
                  <a:pt x="1510204" y="528979"/>
                  <a:pt x="1375116" y="436320"/>
                  <a:pt x="1218327" y="436320"/>
                </a:cubicBezTo>
                <a:cubicBezTo>
                  <a:pt x="1061538" y="436320"/>
                  <a:pt x="927426" y="528735"/>
                  <a:pt x="865003" y="661872"/>
                </a:cubicBezTo>
                <a:lnTo>
                  <a:pt x="1572627" y="661872"/>
                </a:lnTo>
                <a:close/>
                <a:moveTo>
                  <a:pt x="1609447" y="842314"/>
                </a:moveTo>
                <a:lnTo>
                  <a:pt x="827452" y="842314"/>
                </a:lnTo>
                <a:lnTo>
                  <a:pt x="827452" y="1052748"/>
                </a:lnTo>
                <a:lnTo>
                  <a:pt x="1609203" y="1052748"/>
                </a:lnTo>
                <a:lnTo>
                  <a:pt x="1609203" y="842314"/>
                </a:lnTo>
                <a:close/>
                <a:moveTo>
                  <a:pt x="1609447" y="1233189"/>
                </a:moveTo>
                <a:lnTo>
                  <a:pt x="827452" y="1233189"/>
                </a:lnTo>
                <a:lnTo>
                  <a:pt x="827452" y="1443623"/>
                </a:lnTo>
                <a:lnTo>
                  <a:pt x="1609203" y="1443623"/>
                </a:lnTo>
                <a:lnTo>
                  <a:pt x="1609203" y="1233189"/>
                </a:lnTo>
                <a:close/>
                <a:moveTo>
                  <a:pt x="865247" y="1624065"/>
                </a:moveTo>
                <a:cubicBezTo>
                  <a:pt x="927670" y="1756957"/>
                  <a:pt x="1062026" y="1849617"/>
                  <a:pt x="1218571" y="1849617"/>
                </a:cubicBezTo>
                <a:cubicBezTo>
                  <a:pt x="1375360" y="1849617"/>
                  <a:pt x="1510448" y="1757201"/>
                  <a:pt x="1572871" y="1624065"/>
                </a:cubicBezTo>
                <a:lnTo>
                  <a:pt x="865247" y="1624065"/>
                </a:lnTo>
                <a:close/>
                <a:moveTo>
                  <a:pt x="2221973" y="872306"/>
                </a:moveTo>
                <a:lnTo>
                  <a:pt x="1609447" y="601644"/>
                </a:lnTo>
                <a:lnTo>
                  <a:pt x="1815979" y="1257329"/>
                </a:lnTo>
                <a:cubicBezTo>
                  <a:pt x="1855237" y="1374129"/>
                  <a:pt x="1953992" y="1488733"/>
                  <a:pt x="2120779" y="1488733"/>
                </a:cubicBezTo>
                <a:cubicBezTo>
                  <a:pt x="2294393" y="1488733"/>
                  <a:pt x="2436552" y="1347062"/>
                  <a:pt x="2436552" y="1173448"/>
                </a:cubicBezTo>
                <a:cubicBezTo>
                  <a:pt x="2436552" y="1026413"/>
                  <a:pt x="2346087" y="928145"/>
                  <a:pt x="2221973" y="872306"/>
                </a:cubicBezTo>
                <a:close/>
              </a:path>
            </a:pathLst>
          </a:custGeom>
          <a:solidFill>
            <a:srgbClr val="6FDC8C"/>
          </a:solidFill>
          <a:ln w="24384" cap="flat">
            <a:noFill/>
            <a:prstDash val="solid"/>
            <a:miter/>
          </a:ln>
        </p:spPr>
        <p:txBody>
          <a:bodyPr rtlCol="0" anchor="ctr"/>
          <a:lstStyle/>
          <a:p>
            <a:endParaRPr lang="en-US" sz="900"/>
          </a:p>
        </p:txBody>
      </p:sp>
      <p:sp>
        <p:nvSpPr>
          <p:cNvPr id="11" name="Freeform: Shape 10">
            <a:extLst>
              <a:ext uri="{FF2B5EF4-FFF2-40B4-BE49-F238E27FC236}">
                <a16:creationId xmlns:a16="http://schemas.microsoft.com/office/drawing/2014/main" id="{774CD570-60FE-DA87-4E19-80D8AA26A41B}"/>
              </a:ext>
            </a:extLst>
          </p:cNvPr>
          <p:cNvSpPr/>
          <p:nvPr userDrawn="1"/>
        </p:nvSpPr>
        <p:spPr>
          <a:xfrm>
            <a:off x="7793886" y="266700"/>
            <a:ext cx="1370118" cy="1370297"/>
          </a:xfrm>
          <a:custGeom>
            <a:avLst/>
            <a:gdLst>
              <a:gd name="connsiteX0" fmla="*/ 1524334 w 2435961"/>
              <a:gd name="connsiteY0" fmla="*/ 1598693 h 2435961"/>
              <a:gd name="connsiteX1" fmla="*/ 1219778 w 2435961"/>
              <a:gd name="connsiteY1" fmla="*/ 1903249 h 2435961"/>
              <a:gd name="connsiteX2" fmla="*/ 915222 w 2435961"/>
              <a:gd name="connsiteY2" fmla="*/ 1598693 h 2435961"/>
              <a:gd name="connsiteX3" fmla="*/ 1219778 w 2435961"/>
              <a:gd name="connsiteY3" fmla="*/ 1294137 h 2435961"/>
              <a:gd name="connsiteX4" fmla="*/ 1524334 w 2435961"/>
              <a:gd name="connsiteY4" fmla="*/ 1598693 h 2435961"/>
              <a:gd name="connsiteX5" fmla="*/ 2436296 w 2435961"/>
              <a:gd name="connsiteY5" fmla="*/ 1598693 h 2435961"/>
              <a:gd name="connsiteX6" fmla="*/ 1218315 w 2435961"/>
              <a:gd name="connsiteY6" fmla="*/ 2436040 h 2435961"/>
              <a:gd name="connsiteX7" fmla="*/ 334 w 2435961"/>
              <a:gd name="connsiteY7" fmla="*/ 1598693 h 2435961"/>
              <a:gd name="connsiteX8" fmla="*/ 1218315 w 2435961"/>
              <a:gd name="connsiteY8" fmla="*/ 761346 h 2435961"/>
              <a:gd name="connsiteX9" fmla="*/ 2436296 w 2435961"/>
              <a:gd name="connsiteY9" fmla="*/ 1598693 h 2435961"/>
              <a:gd name="connsiteX10" fmla="*/ 1903505 w 2435961"/>
              <a:gd name="connsiteY10" fmla="*/ 1598693 h 2435961"/>
              <a:gd name="connsiteX11" fmla="*/ 1218315 w 2435961"/>
              <a:gd name="connsiteY11" fmla="*/ 913503 h 2435961"/>
              <a:gd name="connsiteX12" fmla="*/ 533125 w 2435961"/>
              <a:gd name="connsiteY12" fmla="*/ 1598693 h 2435961"/>
              <a:gd name="connsiteX13" fmla="*/ 1218315 w 2435961"/>
              <a:gd name="connsiteY13" fmla="*/ 2283884 h 2435961"/>
              <a:gd name="connsiteX14" fmla="*/ 1903505 w 2435961"/>
              <a:gd name="connsiteY14" fmla="*/ 1598693 h 2435961"/>
              <a:gd name="connsiteX15" fmla="*/ 1218315 w 2435961"/>
              <a:gd name="connsiteY15" fmla="*/ 78 h 2435961"/>
              <a:gd name="connsiteX16" fmla="*/ 76656 w 2435961"/>
              <a:gd name="connsiteY16" fmla="*/ 685268 h 2435961"/>
              <a:gd name="connsiteX17" fmla="*/ 76656 w 2435961"/>
              <a:gd name="connsiteY17" fmla="*/ 913747 h 2435961"/>
              <a:gd name="connsiteX18" fmla="*/ 1218315 w 2435961"/>
              <a:gd name="connsiteY18" fmla="*/ 380712 h 2435961"/>
              <a:gd name="connsiteX19" fmla="*/ 2360218 w 2435961"/>
              <a:gd name="connsiteY19" fmla="*/ 913503 h 2435961"/>
              <a:gd name="connsiteX20" fmla="*/ 2360218 w 2435961"/>
              <a:gd name="connsiteY20" fmla="*/ 685025 h 2435961"/>
              <a:gd name="connsiteX21" fmla="*/ 1218315 w 2435961"/>
              <a:gd name="connsiteY21" fmla="*/ 78 h 2435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435961" h="2435961">
                <a:moveTo>
                  <a:pt x="1524334" y="1598693"/>
                </a:moveTo>
                <a:cubicBezTo>
                  <a:pt x="1524334" y="1766943"/>
                  <a:pt x="1388028" y="1903249"/>
                  <a:pt x="1219778" y="1903249"/>
                </a:cubicBezTo>
                <a:cubicBezTo>
                  <a:pt x="1051528" y="1903249"/>
                  <a:pt x="915222" y="1766943"/>
                  <a:pt x="915222" y="1598693"/>
                </a:cubicBezTo>
                <a:cubicBezTo>
                  <a:pt x="915222" y="1430443"/>
                  <a:pt x="1051528" y="1294137"/>
                  <a:pt x="1219778" y="1294137"/>
                </a:cubicBezTo>
                <a:cubicBezTo>
                  <a:pt x="1388028" y="1294137"/>
                  <a:pt x="1524334" y="1430443"/>
                  <a:pt x="1524334" y="1598693"/>
                </a:cubicBezTo>
                <a:close/>
                <a:moveTo>
                  <a:pt x="2436296" y="1598693"/>
                </a:moveTo>
                <a:cubicBezTo>
                  <a:pt x="2235859" y="2090762"/>
                  <a:pt x="1765980" y="2436040"/>
                  <a:pt x="1218315" y="2436040"/>
                </a:cubicBezTo>
                <a:cubicBezTo>
                  <a:pt x="670650" y="2436040"/>
                  <a:pt x="201014" y="2090762"/>
                  <a:pt x="334" y="1598693"/>
                </a:cubicBezTo>
                <a:cubicBezTo>
                  <a:pt x="201014" y="1106624"/>
                  <a:pt x="670650" y="761346"/>
                  <a:pt x="1218315" y="761346"/>
                </a:cubicBezTo>
                <a:cubicBezTo>
                  <a:pt x="1765980" y="761346"/>
                  <a:pt x="2235615" y="1106624"/>
                  <a:pt x="2436296" y="1598693"/>
                </a:cubicBezTo>
                <a:close/>
                <a:moveTo>
                  <a:pt x="1903505" y="1598693"/>
                </a:moveTo>
                <a:cubicBezTo>
                  <a:pt x="1903505" y="1220253"/>
                  <a:pt x="1596755" y="913503"/>
                  <a:pt x="1218315" y="913503"/>
                </a:cubicBezTo>
                <a:cubicBezTo>
                  <a:pt x="839875" y="913503"/>
                  <a:pt x="533125" y="1220253"/>
                  <a:pt x="533125" y="1598693"/>
                </a:cubicBezTo>
                <a:cubicBezTo>
                  <a:pt x="533125" y="1977133"/>
                  <a:pt x="839875" y="2283884"/>
                  <a:pt x="1218315" y="2283884"/>
                </a:cubicBezTo>
                <a:cubicBezTo>
                  <a:pt x="1596755" y="2283884"/>
                  <a:pt x="1903505" y="1977133"/>
                  <a:pt x="1903505" y="1598693"/>
                </a:cubicBezTo>
                <a:close/>
                <a:moveTo>
                  <a:pt x="1218315" y="78"/>
                </a:moveTo>
                <a:cubicBezTo>
                  <a:pt x="731123" y="78"/>
                  <a:pt x="305622" y="275373"/>
                  <a:pt x="76656" y="685268"/>
                </a:cubicBezTo>
                <a:lnTo>
                  <a:pt x="76656" y="913747"/>
                </a:lnTo>
                <a:cubicBezTo>
                  <a:pt x="349269" y="587976"/>
                  <a:pt x="759408" y="380712"/>
                  <a:pt x="1218315" y="380712"/>
                </a:cubicBezTo>
                <a:cubicBezTo>
                  <a:pt x="1677222" y="380712"/>
                  <a:pt x="2087361" y="587976"/>
                  <a:pt x="2360218" y="913503"/>
                </a:cubicBezTo>
                <a:lnTo>
                  <a:pt x="2360218" y="685025"/>
                </a:lnTo>
                <a:cubicBezTo>
                  <a:pt x="2131008" y="275373"/>
                  <a:pt x="1705507" y="78"/>
                  <a:pt x="1218315" y="78"/>
                </a:cubicBezTo>
                <a:close/>
              </a:path>
            </a:pathLst>
          </a:custGeom>
          <a:solidFill>
            <a:srgbClr val="A56EFF"/>
          </a:solidFill>
          <a:ln w="24384" cap="flat">
            <a:noFill/>
            <a:prstDash val="solid"/>
            <a:miter/>
          </a:ln>
        </p:spPr>
        <p:txBody>
          <a:bodyPr rtlCol="0" anchor="ctr"/>
          <a:lstStyle/>
          <a:p>
            <a:endParaRPr lang="en-US" sz="900"/>
          </a:p>
        </p:txBody>
      </p:sp>
      <p:sp>
        <p:nvSpPr>
          <p:cNvPr id="12" name="Freeform: Shape 11">
            <a:extLst>
              <a:ext uri="{FF2B5EF4-FFF2-40B4-BE49-F238E27FC236}">
                <a16:creationId xmlns:a16="http://schemas.microsoft.com/office/drawing/2014/main" id="{0B5E8390-A5EA-27D5-D685-1332D91CD727}"/>
              </a:ext>
            </a:extLst>
          </p:cNvPr>
          <p:cNvSpPr/>
          <p:nvPr userDrawn="1"/>
        </p:nvSpPr>
        <p:spPr>
          <a:xfrm>
            <a:off x="10536866" y="337204"/>
            <a:ext cx="1370393" cy="1230112"/>
          </a:xfrm>
          <a:custGeom>
            <a:avLst/>
            <a:gdLst>
              <a:gd name="connsiteX0" fmla="*/ 1218583 w 2436449"/>
              <a:gd name="connsiteY0" fmla="*/ 2186835 h 2186757"/>
              <a:gd name="connsiteX1" fmla="*/ 1271740 w 2436449"/>
              <a:gd name="connsiteY1" fmla="*/ 2034679 h 2186757"/>
              <a:gd name="connsiteX2" fmla="*/ 1165914 w 2436449"/>
              <a:gd name="connsiteY2" fmla="*/ 2034679 h 2186757"/>
              <a:gd name="connsiteX3" fmla="*/ 1218583 w 2436449"/>
              <a:gd name="connsiteY3" fmla="*/ 2186835 h 2186757"/>
              <a:gd name="connsiteX4" fmla="*/ 1117390 w 2436449"/>
              <a:gd name="connsiteY4" fmla="*/ 1896178 h 2186757"/>
              <a:gd name="connsiteX5" fmla="*/ 1320508 w 2436449"/>
              <a:gd name="connsiteY5" fmla="*/ 1896178 h 2186757"/>
              <a:gd name="connsiteX6" fmla="*/ 1373909 w 2436449"/>
              <a:gd name="connsiteY6" fmla="*/ 1744022 h 2186757"/>
              <a:gd name="connsiteX7" fmla="*/ 1063989 w 2436449"/>
              <a:gd name="connsiteY7" fmla="*/ 1744022 h 2186757"/>
              <a:gd name="connsiteX8" fmla="*/ 1117390 w 2436449"/>
              <a:gd name="connsiteY8" fmla="*/ 1896178 h 2186757"/>
              <a:gd name="connsiteX9" fmla="*/ 1015464 w 2436449"/>
              <a:gd name="connsiteY9" fmla="*/ 1605521 h 2186757"/>
              <a:gd name="connsiteX10" fmla="*/ 1422433 w 2436449"/>
              <a:gd name="connsiteY10" fmla="*/ 1605521 h 2186757"/>
              <a:gd name="connsiteX11" fmla="*/ 1475834 w 2436449"/>
              <a:gd name="connsiteY11" fmla="*/ 1453365 h 2186757"/>
              <a:gd name="connsiteX12" fmla="*/ 961820 w 2436449"/>
              <a:gd name="connsiteY12" fmla="*/ 1453365 h 2186757"/>
              <a:gd name="connsiteX13" fmla="*/ 1015221 w 2436449"/>
              <a:gd name="connsiteY13" fmla="*/ 1605521 h 2186757"/>
              <a:gd name="connsiteX14" fmla="*/ 913539 w 2436449"/>
              <a:gd name="connsiteY14" fmla="*/ 1314863 h 2186757"/>
              <a:gd name="connsiteX15" fmla="*/ 1524602 w 2436449"/>
              <a:gd name="connsiteY15" fmla="*/ 1314863 h 2186757"/>
              <a:gd name="connsiteX16" fmla="*/ 1578003 w 2436449"/>
              <a:gd name="connsiteY16" fmla="*/ 1162707 h 2186757"/>
              <a:gd name="connsiteX17" fmla="*/ 859894 w 2436449"/>
              <a:gd name="connsiteY17" fmla="*/ 1162707 h 2186757"/>
              <a:gd name="connsiteX18" fmla="*/ 913295 w 2436449"/>
              <a:gd name="connsiteY18" fmla="*/ 1314863 h 2186757"/>
              <a:gd name="connsiteX19" fmla="*/ 305646 w 2436449"/>
              <a:gd name="connsiteY19" fmla="*/ 733549 h 2186757"/>
              <a:gd name="connsiteX20" fmla="*/ 1128119 w 2436449"/>
              <a:gd name="connsiteY20" fmla="*/ 733549 h 2186757"/>
              <a:gd name="connsiteX21" fmla="*/ 1075205 w 2436449"/>
              <a:gd name="connsiteY21" fmla="*/ 581393 h 2186757"/>
              <a:gd name="connsiteX22" fmla="*/ 305402 w 2436449"/>
              <a:gd name="connsiteY22" fmla="*/ 581393 h 2186757"/>
              <a:gd name="connsiteX23" fmla="*/ 305402 w 2436449"/>
              <a:gd name="connsiteY23" fmla="*/ 733549 h 2186757"/>
              <a:gd name="connsiteX24" fmla="*/ 1411217 w 2436449"/>
              <a:gd name="connsiteY24" fmla="*/ 442891 h 2186757"/>
              <a:gd name="connsiteX25" fmla="*/ 2437052 w 2436449"/>
              <a:gd name="connsiteY25" fmla="*/ 442891 h 2186757"/>
              <a:gd name="connsiteX26" fmla="*/ 2437052 w 2436449"/>
              <a:gd name="connsiteY26" fmla="*/ 290735 h 2186757"/>
              <a:gd name="connsiteX27" fmla="*/ 1464130 w 2436449"/>
              <a:gd name="connsiteY27" fmla="*/ 290735 h 2186757"/>
              <a:gd name="connsiteX28" fmla="*/ 1411217 w 2436449"/>
              <a:gd name="connsiteY28" fmla="*/ 442891 h 2186757"/>
              <a:gd name="connsiteX29" fmla="*/ 1565324 w 2436449"/>
              <a:gd name="connsiteY29" fmla="*/ 78 h 2186757"/>
              <a:gd name="connsiteX30" fmla="*/ 1512410 w 2436449"/>
              <a:gd name="connsiteY30" fmla="*/ 152234 h 2186757"/>
              <a:gd name="connsiteX31" fmla="*/ 2437295 w 2436449"/>
              <a:gd name="connsiteY31" fmla="*/ 152234 h 2186757"/>
              <a:gd name="connsiteX32" fmla="*/ 2437295 w 2436449"/>
              <a:gd name="connsiteY32" fmla="*/ 78 h 2186757"/>
              <a:gd name="connsiteX33" fmla="*/ 1565324 w 2436449"/>
              <a:gd name="connsiteY33" fmla="*/ 78 h 2186757"/>
              <a:gd name="connsiteX34" fmla="*/ 846 w 2436449"/>
              <a:gd name="connsiteY34" fmla="*/ 2186835 h 2186757"/>
              <a:gd name="connsiteX35" fmla="*/ 762115 w 2436449"/>
              <a:gd name="connsiteY35" fmla="*/ 2186835 h 2186757"/>
              <a:gd name="connsiteX36" fmla="*/ 762115 w 2436449"/>
              <a:gd name="connsiteY36" fmla="*/ 2034679 h 2186757"/>
              <a:gd name="connsiteX37" fmla="*/ 846 w 2436449"/>
              <a:gd name="connsiteY37" fmla="*/ 2034679 h 2186757"/>
              <a:gd name="connsiteX38" fmla="*/ 846 w 2436449"/>
              <a:gd name="connsiteY38" fmla="*/ 2186835 h 2186757"/>
              <a:gd name="connsiteX39" fmla="*/ 846 w 2436449"/>
              <a:gd name="connsiteY39" fmla="*/ 1896178 h 2186757"/>
              <a:gd name="connsiteX40" fmla="*/ 762115 w 2436449"/>
              <a:gd name="connsiteY40" fmla="*/ 1896178 h 2186757"/>
              <a:gd name="connsiteX41" fmla="*/ 762115 w 2436449"/>
              <a:gd name="connsiteY41" fmla="*/ 1744022 h 2186757"/>
              <a:gd name="connsiteX42" fmla="*/ 846 w 2436449"/>
              <a:gd name="connsiteY42" fmla="*/ 1744022 h 2186757"/>
              <a:gd name="connsiteX43" fmla="*/ 846 w 2436449"/>
              <a:gd name="connsiteY43" fmla="*/ 1896178 h 2186757"/>
              <a:gd name="connsiteX44" fmla="*/ 305402 w 2436449"/>
              <a:gd name="connsiteY44" fmla="*/ 1605521 h 2186757"/>
              <a:gd name="connsiteX45" fmla="*/ 762115 w 2436449"/>
              <a:gd name="connsiteY45" fmla="*/ 1605521 h 2186757"/>
              <a:gd name="connsiteX46" fmla="*/ 762115 w 2436449"/>
              <a:gd name="connsiteY46" fmla="*/ 1453365 h 2186757"/>
              <a:gd name="connsiteX47" fmla="*/ 305402 w 2436449"/>
              <a:gd name="connsiteY47" fmla="*/ 1453365 h 2186757"/>
              <a:gd name="connsiteX48" fmla="*/ 305402 w 2436449"/>
              <a:gd name="connsiteY48" fmla="*/ 1605521 h 2186757"/>
              <a:gd name="connsiteX49" fmla="*/ 305402 w 2436449"/>
              <a:gd name="connsiteY49" fmla="*/ 1314863 h 2186757"/>
              <a:gd name="connsiteX50" fmla="*/ 762115 w 2436449"/>
              <a:gd name="connsiteY50" fmla="*/ 1314863 h 2186757"/>
              <a:gd name="connsiteX51" fmla="*/ 762115 w 2436449"/>
              <a:gd name="connsiteY51" fmla="*/ 1162707 h 2186757"/>
              <a:gd name="connsiteX52" fmla="*/ 305402 w 2436449"/>
              <a:gd name="connsiteY52" fmla="*/ 1162707 h 2186757"/>
              <a:gd name="connsiteX53" fmla="*/ 305402 w 2436449"/>
              <a:gd name="connsiteY53" fmla="*/ 1314863 h 2186757"/>
              <a:gd name="connsiteX54" fmla="*/ 2132252 w 2436449"/>
              <a:gd name="connsiteY54" fmla="*/ 581393 h 2186757"/>
              <a:gd name="connsiteX55" fmla="*/ 1362693 w 2436449"/>
              <a:gd name="connsiteY55" fmla="*/ 581393 h 2186757"/>
              <a:gd name="connsiteX56" fmla="*/ 1309779 w 2436449"/>
              <a:gd name="connsiteY56" fmla="*/ 733549 h 2186757"/>
              <a:gd name="connsiteX57" fmla="*/ 2132252 w 2436449"/>
              <a:gd name="connsiteY57" fmla="*/ 733549 h 2186757"/>
              <a:gd name="connsiteX58" fmla="*/ 2132252 w 2436449"/>
              <a:gd name="connsiteY58" fmla="*/ 581393 h 2186757"/>
              <a:gd name="connsiteX59" fmla="*/ 1675539 w 2436449"/>
              <a:gd name="connsiteY59" fmla="*/ 1024206 h 2186757"/>
              <a:gd name="connsiteX60" fmla="*/ 2132252 w 2436449"/>
              <a:gd name="connsiteY60" fmla="*/ 1024206 h 2186757"/>
              <a:gd name="connsiteX61" fmla="*/ 2132252 w 2436449"/>
              <a:gd name="connsiteY61" fmla="*/ 872050 h 2186757"/>
              <a:gd name="connsiteX62" fmla="*/ 1261499 w 2436449"/>
              <a:gd name="connsiteY62" fmla="*/ 872050 h 2186757"/>
              <a:gd name="connsiteX63" fmla="*/ 1218827 w 2436449"/>
              <a:gd name="connsiteY63" fmla="*/ 995189 h 2186757"/>
              <a:gd name="connsiteX64" fmla="*/ 1175911 w 2436449"/>
              <a:gd name="connsiteY64" fmla="*/ 872050 h 2186757"/>
              <a:gd name="connsiteX65" fmla="*/ 305402 w 2436449"/>
              <a:gd name="connsiteY65" fmla="*/ 872050 h 2186757"/>
              <a:gd name="connsiteX66" fmla="*/ 305402 w 2436449"/>
              <a:gd name="connsiteY66" fmla="*/ 1024206 h 2186757"/>
              <a:gd name="connsiteX67" fmla="*/ 762115 w 2436449"/>
              <a:gd name="connsiteY67" fmla="*/ 1024206 h 2186757"/>
              <a:gd name="connsiteX68" fmla="*/ 762115 w 2436449"/>
              <a:gd name="connsiteY68" fmla="*/ 884242 h 2186757"/>
              <a:gd name="connsiteX69" fmla="*/ 811126 w 2436449"/>
              <a:gd name="connsiteY69" fmla="*/ 1024206 h 2186757"/>
              <a:gd name="connsiteX70" fmla="*/ 1626284 w 2436449"/>
              <a:gd name="connsiteY70" fmla="*/ 1024206 h 2186757"/>
              <a:gd name="connsiteX71" fmla="*/ 1675295 w 2436449"/>
              <a:gd name="connsiteY71" fmla="*/ 884242 h 2186757"/>
              <a:gd name="connsiteX72" fmla="*/ 1675295 w 2436449"/>
              <a:gd name="connsiteY72" fmla="*/ 1024206 h 2186757"/>
              <a:gd name="connsiteX73" fmla="*/ 2132252 w 2436449"/>
              <a:gd name="connsiteY73" fmla="*/ 1162707 h 2186757"/>
              <a:gd name="connsiteX74" fmla="*/ 1675539 w 2436449"/>
              <a:gd name="connsiteY74" fmla="*/ 1162707 h 2186757"/>
              <a:gd name="connsiteX75" fmla="*/ 1675539 w 2436449"/>
              <a:gd name="connsiteY75" fmla="*/ 1314863 h 2186757"/>
              <a:gd name="connsiteX76" fmla="*/ 2132252 w 2436449"/>
              <a:gd name="connsiteY76" fmla="*/ 1314863 h 2186757"/>
              <a:gd name="connsiteX77" fmla="*/ 2132252 w 2436449"/>
              <a:gd name="connsiteY77" fmla="*/ 1162707 h 2186757"/>
              <a:gd name="connsiteX78" fmla="*/ 1675539 w 2436449"/>
              <a:gd name="connsiteY78" fmla="*/ 1605521 h 2186757"/>
              <a:gd name="connsiteX79" fmla="*/ 2132252 w 2436449"/>
              <a:gd name="connsiteY79" fmla="*/ 1605521 h 2186757"/>
              <a:gd name="connsiteX80" fmla="*/ 2132252 w 2436449"/>
              <a:gd name="connsiteY80" fmla="*/ 1453365 h 2186757"/>
              <a:gd name="connsiteX81" fmla="*/ 1675539 w 2436449"/>
              <a:gd name="connsiteY81" fmla="*/ 1453365 h 2186757"/>
              <a:gd name="connsiteX82" fmla="*/ 1675539 w 2436449"/>
              <a:gd name="connsiteY82" fmla="*/ 1605521 h 2186757"/>
              <a:gd name="connsiteX83" fmla="*/ 1675539 w 2436449"/>
              <a:gd name="connsiteY83" fmla="*/ 1896178 h 2186757"/>
              <a:gd name="connsiteX84" fmla="*/ 2436808 w 2436449"/>
              <a:gd name="connsiteY84" fmla="*/ 1896178 h 2186757"/>
              <a:gd name="connsiteX85" fmla="*/ 2436808 w 2436449"/>
              <a:gd name="connsiteY85" fmla="*/ 1744022 h 2186757"/>
              <a:gd name="connsiteX86" fmla="*/ 1675539 w 2436449"/>
              <a:gd name="connsiteY86" fmla="*/ 1744022 h 2186757"/>
              <a:gd name="connsiteX87" fmla="*/ 1675539 w 2436449"/>
              <a:gd name="connsiteY87" fmla="*/ 1896178 h 2186757"/>
              <a:gd name="connsiteX88" fmla="*/ 1675539 w 2436449"/>
              <a:gd name="connsiteY88" fmla="*/ 2186835 h 2186757"/>
              <a:gd name="connsiteX89" fmla="*/ 2436808 w 2436449"/>
              <a:gd name="connsiteY89" fmla="*/ 2186835 h 2186757"/>
              <a:gd name="connsiteX90" fmla="*/ 2436808 w 2436449"/>
              <a:gd name="connsiteY90" fmla="*/ 2034679 h 2186757"/>
              <a:gd name="connsiteX91" fmla="*/ 1675539 w 2436449"/>
              <a:gd name="connsiteY91" fmla="*/ 2034679 h 2186757"/>
              <a:gd name="connsiteX92" fmla="*/ 1675539 w 2436449"/>
              <a:gd name="connsiteY92" fmla="*/ 2186835 h 2186757"/>
              <a:gd name="connsiteX93" fmla="*/ 1026925 w 2436449"/>
              <a:gd name="connsiteY93" fmla="*/ 442891 h 2186757"/>
              <a:gd name="connsiteX94" fmla="*/ 974012 w 2436449"/>
              <a:gd name="connsiteY94" fmla="*/ 290735 h 2186757"/>
              <a:gd name="connsiteX95" fmla="*/ 846 w 2436449"/>
              <a:gd name="connsiteY95" fmla="*/ 290735 h 2186757"/>
              <a:gd name="connsiteX96" fmla="*/ 846 w 2436449"/>
              <a:gd name="connsiteY96" fmla="*/ 442891 h 2186757"/>
              <a:gd name="connsiteX97" fmla="*/ 1026681 w 2436449"/>
              <a:gd name="connsiteY97" fmla="*/ 442891 h 2186757"/>
              <a:gd name="connsiteX98" fmla="*/ 925975 w 2436449"/>
              <a:gd name="connsiteY98" fmla="*/ 152234 h 2186757"/>
              <a:gd name="connsiteX99" fmla="*/ 873062 w 2436449"/>
              <a:gd name="connsiteY99" fmla="*/ 78 h 2186757"/>
              <a:gd name="connsiteX100" fmla="*/ 846 w 2436449"/>
              <a:gd name="connsiteY100" fmla="*/ 78 h 2186757"/>
              <a:gd name="connsiteX101" fmla="*/ 846 w 2436449"/>
              <a:gd name="connsiteY101" fmla="*/ 152234 h 2186757"/>
              <a:gd name="connsiteX102" fmla="*/ 925731 w 2436449"/>
              <a:gd name="connsiteY102" fmla="*/ 152234 h 2186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2436449" h="2186757">
                <a:moveTo>
                  <a:pt x="1218583" y="2186835"/>
                </a:moveTo>
                <a:lnTo>
                  <a:pt x="1271740" y="2034679"/>
                </a:lnTo>
                <a:lnTo>
                  <a:pt x="1165914" y="2034679"/>
                </a:lnTo>
                <a:lnTo>
                  <a:pt x="1218583" y="2186835"/>
                </a:lnTo>
                <a:close/>
                <a:moveTo>
                  <a:pt x="1117390" y="1896178"/>
                </a:moveTo>
                <a:lnTo>
                  <a:pt x="1320508" y="1896178"/>
                </a:lnTo>
                <a:lnTo>
                  <a:pt x="1373909" y="1744022"/>
                </a:lnTo>
                <a:lnTo>
                  <a:pt x="1063989" y="1744022"/>
                </a:lnTo>
                <a:lnTo>
                  <a:pt x="1117390" y="1896178"/>
                </a:lnTo>
                <a:close/>
                <a:moveTo>
                  <a:pt x="1015464" y="1605521"/>
                </a:moveTo>
                <a:lnTo>
                  <a:pt x="1422433" y="1605521"/>
                </a:lnTo>
                <a:lnTo>
                  <a:pt x="1475834" y="1453365"/>
                </a:lnTo>
                <a:lnTo>
                  <a:pt x="961820" y="1453365"/>
                </a:lnTo>
                <a:lnTo>
                  <a:pt x="1015221" y="1605521"/>
                </a:lnTo>
                <a:close/>
                <a:moveTo>
                  <a:pt x="913539" y="1314863"/>
                </a:moveTo>
                <a:lnTo>
                  <a:pt x="1524602" y="1314863"/>
                </a:lnTo>
                <a:lnTo>
                  <a:pt x="1578003" y="1162707"/>
                </a:lnTo>
                <a:lnTo>
                  <a:pt x="859894" y="1162707"/>
                </a:lnTo>
                <a:lnTo>
                  <a:pt x="913295" y="1314863"/>
                </a:lnTo>
                <a:close/>
                <a:moveTo>
                  <a:pt x="305646" y="733549"/>
                </a:moveTo>
                <a:lnTo>
                  <a:pt x="1128119" y="733549"/>
                </a:lnTo>
                <a:lnTo>
                  <a:pt x="1075205" y="581393"/>
                </a:lnTo>
                <a:lnTo>
                  <a:pt x="305402" y="581393"/>
                </a:lnTo>
                <a:lnTo>
                  <a:pt x="305402" y="733549"/>
                </a:lnTo>
                <a:close/>
                <a:moveTo>
                  <a:pt x="1411217" y="442891"/>
                </a:moveTo>
                <a:lnTo>
                  <a:pt x="2437052" y="442891"/>
                </a:lnTo>
                <a:lnTo>
                  <a:pt x="2437052" y="290735"/>
                </a:lnTo>
                <a:lnTo>
                  <a:pt x="1464130" y="290735"/>
                </a:lnTo>
                <a:lnTo>
                  <a:pt x="1411217" y="442891"/>
                </a:lnTo>
                <a:close/>
                <a:moveTo>
                  <a:pt x="1565324" y="78"/>
                </a:moveTo>
                <a:lnTo>
                  <a:pt x="1512410" y="152234"/>
                </a:lnTo>
                <a:lnTo>
                  <a:pt x="2437295" y="152234"/>
                </a:lnTo>
                <a:lnTo>
                  <a:pt x="2437295" y="78"/>
                </a:lnTo>
                <a:lnTo>
                  <a:pt x="1565324" y="78"/>
                </a:lnTo>
                <a:close/>
                <a:moveTo>
                  <a:pt x="846" y="2186835"/>
                </a:moveTo>
                <a:lnTo>
                  <a:pt x="762115" y="2186835"/>
                </a:lnTo>
                <a:lnTo>
                  <a:pt x="762115" y="2034679"/>
                </a:lnTo>
                <a:lnTo>
                  <a:pt x="846" y="2034679"/>
                </a:lnTo>
                <a:lnTo>
                  <a:pt x="846" y="2186835"/>
                </a:lnTo>
                <a:close/>
                <a:moveTo>
                  <a:pt x="846" y="1896178"/>
                </a:moveTo>
                <a:lnTo>
                  <a:pt x="762115" y="1896178"/>
                </a:lnTo>
                <a:lnTo>
                  <a:pt x="762115" y="1744022"/>
                </a:lnTo>
                <a:lnTo>
                  <a:pt x="846" y="1744022"/>
                </a:lnTo>
                <a:lnTo>
                  <a:pt x="846" y="1896178"/>
                </a:lnTo>
                <a:close/>
                <a:moveTo>
                  <a:pt x="305402" y="1605521"/>
                </a:moveTo>
                <a:lnTo>
                  <a:pt x="762115" y="1605521"/>
                </a:lnTo>
                <a:lnTo>
                  <a:pt x="762115" y="1453365"/>
                </a:lnTo>
                <a:lnTo>
                  <a:pt x="305402" y="1453365"/>
                </a:lnTo>
                <a:lnTo>
                  <a:pt x="305402" y="1605521"/>
                </a:lnTo>
                <a:close/>
                <a:moveTo>
                  <a:pt x="305402" y="1314863"/>
                </a:moveTo>
                <a:lnTo>
                  <a:pt x="762115" y="1314863"/>
                </a:lnTo>
                <a:lnTo>
                  <a:pt x="762115" y="1162707"/>
                </a:lnTo>
                <a:lnTo>
                  <a:pt x="305402" y="1162707"/>
                </a:lnTo>
                <a:lnTo>
                  <a:pt x="305402" y="1314863"/>
                </a:lnTo>
                <a:close/>
                <a:moveTo>
                  <a:pt x="2132252" y="581393"/>
                </a:moveTo>
                <a:lnTo>
                  <a:pt x="1362693" y="581393"/>
                </a:lnTo>
                <a:lnTo>
                  <a:pt x="1309779" y="733549"/>
                </a:lnTo>
                <a:lnTo>
                  <a:pt x="2132252" y="733549"/>
                </a:lnTo>
                <a:lnTo>
                  <a:pt x="2132252" y="581393"/>
                </a:lnTo>
                <a:close/>
                <a:moveTo>
                  <a:pt x="1675539" y="1024206"/>
                </a:moveTo>
                <a:lnTo>
                  <a:pt x="2132252" y="1024206"/>
                </a:lnTo>
                <a:lnTo>
                  <a:pt x="2132252" y="872050"/>
                </a:lnTo>
                <a:lnTo>
                  <a:pt x="1261499" y="872050"/>
                </a:lnTo>
                <a:lnTo>
                  <a:pt x="1218827" y="995189"/>
                </a:lnTo>
                <a:lnTo>
                  <a:pt x="1175911" y="872050"/>
                </a:lnTo>
                <a:lnTo>
                  <a:pt x="305402" y="872050"/>
                </a:lnTo>
                <a:lnTo>
                  <a:pt x="305402" y="1024206"/>
                </a:lnTo>
                <a:lnTo>
                  <a:pt x="762115" y="1024206"/>
                </a:lnTo>
                <a:lnTo>
                  <a:pt x="762115" y="884242"/>
                </a:lnTo>
                <a:lnTo>
                  <a:pt x="811126" y="1024206"/>
                </a:lnTo>
                <a:lnTo>
                  <a:pt x="1626284" y="1024206"/>
                </a:lnTo>
                <a:lnTo>
                  <a:pt x="1675295" y="884242"/>
                </a:lnTo>
                <a:lnTo>
                  <a:pt x="1675295" y="1024206"/>
                </a:lnTo>
                <a:close/>
                <a:moveTo>
                  <a:pt x="2132252" y="1162707"/>
                </a:moveTo>
                <a:lnTo>
                  <a:pt x="1675539" y="1162707"/>
                </a:lnTo>
                <a:lnTo>
                  <a:pt x="1675539" y="1314863"/>
                </a:lnTo>
                <a:lnTo>
                  <a:pt x="2132252" y="1314863"/>
                </a:lnTo>
                <a:lnTo>
                  <a:pt x="2132252" y="1162707"/>
                </a:lnTo>
                <a:close/>
                <a:moveTo>
                  <a:pt x="1675539" y="1605521"/>
                </a:moveTo>
                <a:lnTo>
                  <a:pt x="2132252" y="1605521"/>
                </a:lnTo>
                <a:lnTo>
                  <a:pt x="2132252" y="1453365"/>
                </a:lnTo>
                <a:lnTo>
                  <a:pt x="1675539" y="1453365"/>
                </a:lnTo>
                <a:lnTo>
                  <a:pt x="1675539" y="1605521"/>
                </a:lnTo>
                <a:close/>
                <a:moveTo>
                  <a:pt x="1675539" y="1896178"/>
                </a:moveTo>
                <a:lnTo>
                  <a:pt x="2436808" y="1896178"/>
                </a:lnTo>
                <a:lnTo>
                  <a:pt x="2436808" y="1744022"/>
                </a:lnTo>
                <a:lnTo>
                  <a:pt x="1675539" y="1744022"/>
                </a:lnTo>
                <a:lnTo>
                  <a:pt x="1675539" y="1896178"/>
                </a:lnTo>
                <a:close/>
                <a:moveTo>
                  <a:pt x="1675539" y="2186835"/>
                </a:moveTo>
                <a:lnTo>
                  <a:pt x="2436808" y="2186835"/>
                </a:lnTo>
                <a:lnTo>
                  <a:pt x="2436808" y="2034679"/>
                </a:lnTo>
                <a:lnTo>
                  <a:pt x="1675539" y="2034679"/>
                </a:lnTo>
                <a:lnTo>
                  <a:pt x="1675539" y="2186835"/>
                </a:lnTo>
                <a:close/>
                <a:moveTo>
                  <a:pt x="1026925" y="442891"/>
                </a:moveTo>
                <a:lnTo>
                  <a:pt x="974012" y="290735"/>
                </a:lnTo>
                <a:lnTo>
                  <a:pt x="846" y="290735"/>
                </a:lnTo>
                <a:lnTo>
                  <a:pt x="846" y="442891"/>
                </a:lnTo>
                <a:lnTo>
                  <a:pt x="1026681" y="442891"/>
                </a:lnTo>
                <a:close/>
                <a:moveTo>
                  <a:pt x="925975" y="152234"/>
                </a:moveTo>
                <a:lnTo>
                  <a:pt x="873062" y="78"/>
                </a:lnTo>
                <a:lnTo>
                  <a:pt x="846" y="78"/>
                </a:lnTo>
                <a:lnTo>
                  <a:pt x="846" y="152234"/>
                </a:lnTo>
                <a:lnTo>
                  <a:pt x="925731" y="152234"/>
                </a:lnTo>
                <a:close/>
              </a:path>
            </a:pathLst>
          </a:custGeom>
          <a:solidFill>
            <a:srgbClr val="08BDBA"/>
          </a:solidFill>
          <a:ln w="24384" cap="flat">
            <a:noFill/>
            <a:prstDash val="solid"/>
            <a:miter/>
          </a:ln>
        </p:spPr>
        <p:txBody>
          <a:bodyPr rtlCol="0" anchor="ctr"/>
          <a:lstStyle/>
          <a:p>
            <a:endParaRPr lang="en-US" sz="900"/>
          </a:p>
        </p:txBody>
      </p:sp>
      <p:sp>
        <p:nvSpPr>
          <p:cNvPr id="13" name="Freeform: Shape 12">
            <a:extLst>
              <a:ext uri="{FF2B5EF4-FFF2-40B4-BE49-F238E27FC236}">
                <a16:creationId xmlns:a16="http://schemas.microsoft.com/office/drawing/2014/main" id="{F39BC78B-C2FE-FAA5-A6D1-5690950A4B3F}"/>
              </a:ext>
            </a:extLst>
          </p:cNvPr>
          <p:cNvSpPr/>
          <p:nvPr userDrawn="1"/>
        </p:nvSpPr>
        <p:spPr>
          <a:xfrm>
            <a:off x="6421025" y="1638095"/>
            <a:ext cx="1371490" cy="1371669"/>
          </a:xfrm>
          <a:custGeom>
            <a:avLst/>
            <a:gdLst>
              <a:gd name="connsiteX0" fmla="*/ 2438431 w 2438400"/>
              <a:gd name="connsiteY0" fmla="*/ 2438687 h 2438400"/>
              <a:gd name="connsiteX1" fmla="*/ 2438431 w 2438400"/>
              <a:gd name="connsiteY1" fmla="*/ 287 h 2438400"/>
              <a:gd name="connsiteX2" fmla="*/ 1219231 w 2438400"/>
              <a:gd name="connsiteY2" fmla="*/ 1219487 h 2438400"/>
              <a:gd name="connsiteX3" fmla="*/ 31 w 2438400"/>
              <a:gd name="connsiteY3" fmla="*/ 287 h 2438400"/>
              <a:gd name="connsiteX4" fmla="*/ 31 w 2438400"/>
              <a:gd name="connsiteY4" fmla="*/ 2438687 h 2438400"/>
              <a:gd name="connsiteX5" fmla="*/ 1219231 w 2438400"/>
              <a:gd name="connsiteY5" fmla="*/ 1219487 h 2438400"/>
              <a:gd name="connsiteX6" fmla="*/ 2438431 w 2438400"/>
              <a:gd name="connsiteY6" fmla="*/ 2438687 h 243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38400" h="2438400">
                <a:moveTo>
                  <a:pt x="2438431" y="2438687"/>
                </a:moveTo>
                <a:lnTo>
                  <a:pt x="2438431" y="287"/>
                </a:lnTo>
                <a:lnTo>
                  <a:pt x="1219231" y="1219487"/>
                </a:lnTo>
                <a:lnTo>
                  <a:pt x="31" y="287"/>
                </a:lnTo>
                <a:lnTo>
                  <a:pt x="31" y="2438687"/>
                </a:lnTo>
                <a:lnTo>
                  <a:pt x="1219231" y="1219487"/>
                </a:lnTo>
                <a:lnTo>
                  <a:pt x="2438431" y="2438687"/>
                </a:lnTo>
                <a:close/>
              </a:path>
            </a:pathLst>
          </a:custGeom>
          <a:solidFill>
            <a:srgbClr val="A8A8A8"/>
          </a:solidFill>
          <a:ln w="12505" cap="flat">
            <a:noFill/>
            <a:prstDash val="solid"/>
            <a:miter/>
          </a:ln>
        </p:spPr>
        <p:txBody>
          <a:bodyPr rtlCol="0" anchor="ctr"/>
          <a:lstStyle/>
          <a:p>
            <a:endParaRPr lang="en-US" sz="900"/>
          </a:p>
        </p:txBody>
      </p:sp>
      <p:sp>
        <p:nvSpPr>
          <p:cNvPr id="14" name="Freeform: Shape 13">
            <a:extLst>
              <a:ext uri="{FF2B5EF4-FFF2-40B4-BE49-F238E27FC236}">
                <a16:creationId xmlns:a16="http://schemas.microsoft.com/office/drawing/2014/main" id="{03C1FD5E-FA2F-D865-388F-6EA7ABBDA346}"/>
              </a:ext>
            </a:extLst>
          </p:cNvPr>
          <p:cNvSpPr/>
          <p:nvPr userDrawn="1"/>
        </p:nvSpPr>
        <p:spPr>
          <a:xfrm>
            <a:off x="10535494" y="4381432"/>
            <a:ext cx="1371490" cy="1371669"/>
          </a:xfrm>
          <a:custGeom>
            <a:avLst/>
            <a:gdLst>
              <a:gd name="connsiteX0" fmla="*/ 1219999 w 2438400"/>
              <a:gd name="connsiteY0" fmla="*/ 2439199 h 2438400"/>
              <a:gd name="connsiteX1" fmla="*/ 799 w 2438400"/>
              <a:gd name="connsiteY1" fmla="*/ 1219999 h 2438400"/>
              <a:gd name="connsiteX2" fmla="*/ 799 w 2438400"/>
              <a:gd name="connsiteY2" fmla="*/ 2439199 h 2438400"/>
              <a:gd name="connsiteX3" fmla="*/ 1219999 w 2438400"/>
              <a:gd name="connsiteY3" fmla="*/ 2439199 h 2438400"/>
              <a:gd name="connsiteX4" fmla="*/ 1219999 w 2438400"/>
              <a:gd name="connsiteY4" fmla="*/ 2439199 h 2438400"/>
              <a:gd name="connsiteX5" fmla="*/ 2439199 w 2438400"/>
              <a:gd name="connsiteY5" fmla="*/ 1219999 h 2438400"/>
              <a:gd name="connsiteX6" fmla="*/ 2439199 w 2438400"/>
              <a:gd name="connsiteY6" fmla="*/ 2439199 h 2438400"/>
              <a:gd name="connsiteX7" fmla="*/ 1219999 w 2438400"/>
              <a:gd name="connsiteY7" fmla="*/ 2439199 h 2438400"/>
              <a:gd name="connsiteX8" fmla="*/ 2439199 w 2438400"/>
              <a:gd name="connsiteY8" fmla="*/ 799 h 2438400"/>
              <a:gd name="connsiteX9" fmla="*/ 2439199 w 2438400"/>
              <a:gd name="connsiteY9" fmla="*/ 1219999 h 2438400"/>
              <a:gd name="connsiteX10" fmla="*/ 1219999 w 2438400"/>
              <a:gd name="connsiteY10" fmla="*/ 799 h 2438400"/>
              <a:gd name="connsiteX11" fmla="*/ 799 w 2438400"/>
              <a:gd name="connsiteY11" fmla="*/ 1219999 h 2438400"/>
              <a:gd name="connsiteX12" fmla="*/ 799 w 2438400"/>
              <a:gd name="connsiteY12" fmla="*/ 799 h 2438400"/>
              <a:gd name="connsiteX13" fmla="*/ 1219873 w 2438400"/>
              <a:gd name="connsiteY13" fmla="*/ 799 h 2438400"/>
              <a:gd name="connsiteX14" fmla="*/ 1219873 w 2438400"/>
              <a:gd name="connsiteY14" fmla="*/ 799 h 2438400"/>
              <a:gd name="connsiteX15" fmla="*/ 2439199 w 2438400"/>
              <a:gd name="connsiteY15" fmla="*/ 799 h 243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38400" h="2438400">
                <a:moveTo>
                  <a:pt x="1219999" y="2439199"/>
                </a:moveTo>
                <a:lnTo>
                  <a:pt x="799" y="1219999"/>
                </a:lnTo>
                <a:lnTo>
                  <a:pt x="799" y="2439199"/>
                </a:lnTo>
                <a:cubicBezTo>
                  <a:pt x="799" y="2439199"/>
                  <a:pt x="1219999" y="2439199"/>
                  <a:pt x="1219999" y="2439199"/>
                </a:cubicBezTo>
                <a:close/>
                <a:moveTo>
                  <a:pt x="1219999" y="2439199"/>
                </a:moveTo>
                <a:lnTo>
                  <a:pt x="2439199" y="1219999"/>
                </a:lnTo>
                <a:lnTo>
                  <a:pt x="2439199" y="2439199"/>
                </a:lnTo>
                <a:lnTo>
                  <a:pt x="1219999" y="2439199"/>
                </a:lnTo>
                <a:close/>
                <a:moveTo>
                  <a:pt x="2439199" y="799"/>
                </a:moveTo>
                <a:lnTo>
                  <a:pt x="2439199" y="1219999"/>
                </a:lnTo>
                <a:lnTo>
                  <a:pt x="1219999" y="799"/>
                </a:lnTo>
                <a:lnTo>
                  <a:pt x="799" y="1219999"/>
                </a:lnTo>
                <a:lnTo>
                  <a:pt x="799" y="799"/>
                </a:lnTo>
                <a:lnTo>
                  <a:pt x="1219873" y="799"/>
                </a:lnTo>
                <a:lnTo>
                  <a:pt x="1219873" y="799"/>
                </a:lnTo>
                <a:cubicBezTo>
                  <a:pt x="1219873" y="799"/>
                  <a:pt x="2439199" y="799"/>
                  <a:pt x="2439199" y="799"/>
                </a:cubicBezTo>
                <a:close/>
              </a:path>
            </a:pathLst>
          </a:custGeom>
          <a:solidFill>
            <a:srgbClr val="A56EFF"/>
          </a:solidFill>
          <a:ln w="12505" cap="flat">
            <a:noFill/>
            <a:prstDash val="solid"/>
            <a:miter/>
          </a:ln>
        </p:spPr>
        <p:txBody>
          <a:bodyPr rtlCol="0" anchor="ctr"/>
          <a:lstStyle/>
          <a:p>
            <a:endParaRPr lang="en-US" sz="900"/>
          </a:p>
        </p:txBody>
      </p:sp>
      <p:grpSp>
        <p:nvGrpSpPr>
          <p:cNvPr id="15" name="Graphic 10">
            <a:extLst>
              <a:ext uri="{FF2B5EF4-FFF2-40B4-BE49-F238E27FC236}">
                <a16:creationId xmlns:a16="http://schemas.microsoft.com/office/drawing/2014/main" id="{F71294A1-D561-8274-2745-A0371A91C47C}"/>
              </a:ext>
            </a:extLst>
          </p:cNvPr>
          <p:cNvGrpSpPr/>
          <p:nvPr userDrawn="1"/>
        </p:nvGrpSpPr>
        <p:grpSpPr>
          <a:xfrm>
            <a:off x="6421025" y="3009763"/>
            <a:ext cx="1371490" cy="1371669"/>
            <a:chOff x="-11971338" y="6553200"/>
            <a:chExt cx="2438400" cy="2438400"/>
          </a:xfrm>
          <a:solidFill>
            <a:schemeClr val="accent1"/>
          </a:solidFill>
        </p:grpSpPr>
        <p:sp>
          <p:nvSpPr>
            <p:cNvPr id="16" name="Freeform: Shape 15">
              <a:extLst>
                <a:ext uri="{FF2B5EF4-FFF2-40B4-BE49-F238E27FC236}">
                  <a16:creationId xmlns:a16="http://schemas.microsoft.com/office/drawing/2014/main" id="{9ED1C6BA-968E-45CB-B15E-5823AE503F40}"/>
                </a:ext>
              </a:extLst>
            </p:cNvPr>
            <p:cNvSpPr/>
            <p:nvPr/>
          </p:nvSpPr>
          <p:spPr>
            <a:xfrm>
              <a:off x="-11971338" y="6553200"/>
              <a:ext cx="2438400" cy="2438400"/>
            </a:xfrm>
            <a:custGeom>
              <a:avLst/>
              <a:gdLst>
                <a:gd name="connsiteX0" fmla="*/ 2438431 w 2438400"/>
                <a:gd name="connsiteY0" fmla="*/ 2438943 h 2438400"/>
                <a:gd name="connsiteX1" fmla="*/ 31 w 2438400"/>
                <a:gd name="connsiteY1" fmla="*/ 2438943 h 2438400"/>
                <a:gd name="connsiteX2" fmla="*/ 1219231 w 2438400"/>
                <a:gd name="connsiteY2" fmla="*/ 1219743 h 2438400"/>
                <a:gd name="connsiteX3" fmla="*/ 1219231 w 2438400"/>
                <a:gd name="connsiteY3" fmla="*/ 2438943 h 2438400"/>
                <a:gd name="connsiteX4" fmla="*/ 2438431 w 2438400"/>
                <a:gd name="connsiteY4" fmla="*/ 1219743 h 2438400"/>
                <a:gd name="connsiteX5" fmla="*/ 2438431 w 2438400"/>
                <a:gd name="connsiteY5" fmla="*/ 2438943 h 2438400"/>
                <a:gd name="connsiteX6" fmla="*/ 1219231 w 2438400"/>
                <a:gd name="connsiteY6" fmla="*/ 543 h 2438400"/>
                <a:gd name="connsiteX7" fmla="*/ 31 w 2438400"/>
                <a:gd name="connsiteY7" fmla="*/ 543 h 2438400"/>
                <a:gd name="connsiteX8" fmla="*/ 1219231 w 2438400"/>
                <a:gd name="connsiteY8" fmla="*/ 1219743 h 2438400"/>
                <a:gd name="connsiteX9" fmla="*/ 1219231 w 2438400"/>
                <a:gd name="connsiteY9" fmla="*/ 543 h 2438400"/>
                <a:gd name="connsiteX10" fmla="*/ 2438431 w 2438400"/>
                <a:gd name="connsiteY10" fmla="*/ 1219743 h 2438400"/>
                <a:gd name="connsiteX11" fmla="*/ 2438431 w 2438400"/>
                <a:gd name="connsiteY11" fmla="*/ 543 h 2438400"/>
                <a:gd name="connsiteX12" fmla="*/ 1219231 w 2438400"/>
                <a:gd name="connsiteY12" fmla="*/ 543 h 243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38400" h="2438400">
                  <a:moveTo>
                    <a:pt x="2438431" y="2438943"/>
                  </a:moveTo>
                  <a:lnTo>
                    <a:pt x="31" y="2438943"/>
                  </a:lnTo>
                  <a:lnTo>
                    <a:pt x="1219231" y="1219743"/>
                  </a:lnTo>
                  <a:lnTo>
                    <a:pt x="1219231" y="2438943"/>
                  </a:lnTo>
                  <a:lnTo>
                    <a:pt x="2438431" y="1219743"/>
                  </a:lnTo>
                  <a:lnTo>
                    <a:pt x="2438431" y="2438943"/>
                  </a:lnTo>
                  <a:close/>
                  <a:moveTo>
                    <a:pt x="1219231" y="543"/>
                  </a:moveTo>
                  <a:lnTo>
                    <a:pt x="31" y="543"/>
                  </a:lnTo>
                  <a:lnTo>
                    <a:pt x="1219231" y="1219743"/>
                  </a:lnTo>
                  <a:lnTo>
                    <a:pt x="1219231" y="543"/>
                  </a:lnTo>
                  <a:lnTo>
                    <a:pt x="2438431" y="1219743"/>
                  </a:lnTo>
                  <a:lnTo>
                    <a:pt x="2438431" y="543"/>
                  </a:lnTo>
                  <a:lnTo>
                    <a:pt x="1219231" y="543"/>
                  </a:lnTo>
                  <a:close/>
                </a:path>
              </a:pathLst>
            </a:custGeom>
            <a:grpFill/>
            <a:ln w="12505" cap="flat">
              <a:noFill/>
              <a:prstDash val="solid"/>
              <a:miter/>
            </a:ln>
          </p:spPr>
          <p:txBody>
            <a:bodyPr rtlCol="0" anchor="ctr"/>
            <a:lstStyle/>
            <a:p>
              <a:endParaRPr lang="en-US" sz="900"/>
            </a:p>
          </p:txBody>
        </p:sp>
        <p:sp>
          <p:nvSpPr>
            <p:cNvPr id="17" name="Freeform: Shape 16">
              <a:extLst>
                <a:ext uri="{FF2B5EF4-FFF2-40B4-BE49-F238E27FC236}">
                  <a16:creationId xmlns:a16="http://schemas.microsoft.com/office/drawing/2014/main" id="{7E54A2EC-45AA-16B3-D94A-19E2DD4C27C8}"/>
                </a:ext>
              </a:extLst>
            </p:cNvPr>
            <p:cNvSpPr/>
            <p:nvPr/>
          </p:nvSpPr>
          <p:spPr>
            <a:xfrm>
              <a:off x="-11971338" y="6553200"/>
              <a:ext cx="2438400" cy="2438400"/>
            </a:xfrm>
            <a:custGeom>
              <a:avLst/>
              <a:gdLst>
                <a:gd name="connsiteX0" fmla="*/ 2438431 w 2438400"/>
                <a:gd name="connsiteY0" fmla="*/ 2438943 h 2438400"/>
                <a:gd name="connsiteX1" fmla="*/ 31 w 2438400"/>
                <a:gd name="connsiteY1" fmla="*/ 2438943 h 2438400"/>
                <a:gd name="connsiteX2" fmla="*/ 1219231 w 2438400"/>
                <a:gd name="connsiteY2" fmla="*/ 1219743 h 2438400"/>
                <a:gd name="connsiteX3" fmla="*/ 1219231 w 2438400"/>
                <a:gd name="connsiteY3" fmla="*/ 2438943 h 2438400"/>
                <a:gd name="connsiteX4" fmla="*/ 2438431 w 2438400"/>
                <a:gd name="connsiteY4" fmla="*/ 1219743 h 2438400"/>
                <a:gd name="connsiteX5" fmla="*/ 2438431 w 2438400"/>
                <a:gd name="connsiteY5" fmla="*/ 2438943 h 2438400"/>
                <a:gd name="connsiteX6" fmla="*/ 1219231 w 2438400"/>
                <a:gd name="connsiteY6" fmla="*/ 543 h 2438400"/>
                <a:gd name="connsiteX7" fmla="*/ 31 w 2438400"/>
                <a:gd name="connsiteY7" fmla="*/ 543 h 2438400"/>
                <a:gd name="connsiteX8" fmla="*/ 1219231 w 2438400"/>
                <a:gd name="connsiteY8" fmla="*/ 1219743 h 2438400"/>
                <a:gd name="connsiteX9" fmla="*/ 1219231 w 2438400"/>
                <a:gd name="connsiteY9" fmla="*/ 543 h 2438400"/>
                <a:gd name="connsiteX10" fmla="*/ 2438431 w 2438400"/>
                <a:gd name="connsiteY10" fmla="*/ 1219743 h 2438400"/>
                <a:gd name="connsiteX11" fmla="*/ 2438431 w 2438400"/>
                <a:gd name="connsiteY11" fmla="*/ 543 h 2438400"/>
                <a:gd name="connsiteX12" fmla="*/ 1219231 w 2438400"/>
                <a:gd name="connsiteY12" fmla="*/ 543 h 243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38400" h="2438400">
                  <a:moveTo>
                    <a:pt x="2438431" y="2438943"/>
                  </a:moveTo>
                  <a:lnTo>
                    <a:pt x="31" y="2438943"/>
                  </a:lnTo>
                  <a:lnTo>
                    <a:pt x="1219231" y="1219743"/>
                  </a:lnTo>
                  <a:lnTo>
                    <a:pt x="1219231" y="2438943"/>
                  </a:lnTo>
                  <a:lnTo>
                    <a:pt x="2438431" y="1219743"/>
                  </a:lnTo>
                  <a:lnTo>
                    <a:pt x="2438431" y="2438943"/>
                  </a:lnTo>
                  <a:close/>
                  <a:moveTo>
                    <a:pt x="1219231" y="543"/>
                  </a:moveTo>
                  <a:lnTo>
                    <a:pt x="31" y="543"/>
                  </a:lnTo>
                  <a:lnTo>
                    <a:pt x="1219231" y="1219743"/>
                  </a:lnTo>
                  <a:lnTo>
                    <a:pt x="1219231" y="543"/>
                  </a:lnTo>
                  <a:lnTo>
                    <a:pt x="2438431" y="1219743"/>
                  </a:lnTo>
                  <a:lnTo>
                    <a:pt x="2438431" y="543"/>
                  </a:lnTo>
                  <a:lnTo>
                    <a:pt x="1219231" y="543"/>
                  </a:lnTo>
                  <a:close/>
                </a:path>
              </a:pathLst>
            </a:custGeom>
            <a:grpFill/>
            <a:ln w="12505" cap="flat">
              <a:noFill/>
              <a:prstDash val="solid"/>
              <a:miter/>
            </a:ln>
          </p:spPr>
          <p:txBody>
            <a:bodyPr rtlCol="0" anchor="ctr"/>
            <a:lstStyle/>
            <a:p>
              <a:endParaRPr lang="en-US" sz="900"/>
            </a:p>
          </p:txBody>
        </p:sp>
      </p:grpSp>
      <p:grpSp>
        <p:nvGrpSpPr>
          <p:cNvPr id="18" name="Graphic 10">
            <a:extLst>
              <a:ext uri="{FF2B5EF4-FFF2-40B4-BE49-F238E27FC236}">
                <a16:creationId xmlns:a16="http://schemas.microsoft.com/office/drawing/2014/main" id="{A0E8D683-51E2-5DFD-D924-258CC239F0E4}"/>
              </a:ext>
            </a:extLst>
          </p:cNvPr>
          <p:cNvGrpSpPr/>
          <p:nvPr userDrawn="1"/>
        </p:nvGrpSpPr>
        <p:grpSpPr>
          <a:xfrm>
            <a:off x="6421025" y="4381432"/>
            <a:ext cx="1371490" cy="1371669"/>
            <a:chOff x="-11971338" y="8991600"/>
            <a:chExt cx="2438400" cy="2438400"/>
          </a:xfrm>
          <a:solidFill>
            <a:srgbClr val="82CFFF"/>
          </a:solidFill>
        </p:grpSpPr>
        <p:sp>
          <p:nvSpPr>
            <p:cNvPr id="19" name="Freeform: Shape 18">
              <a:extLst>
                <a:ext uri="{FF2B5EF4-FFF2-40B4-BE49-F238E27FC236}">
                  <a16:creationId xmlns:a16="http://schemas.microsoft.com/office/drawing/2014/main" id="{417895E1-E6A7-3F2D-9D84-47A324CB622E}"/>
                </a:ext>
              </a:extLst>
            </p:cNvPr>
            <p:cNvSpPr/>
            <p:nvPr/>
          </p:nvSpPr>
          <p:spPr>
            <a:xfrm>
              <a:off x="-11971338" y="8991600"/>
              <a:ext cx="2438400" cy="2438400"/>
            </a:xfrm>
            <a:custGeom>
              <a:avLst/>
              <a:gdLst>
                <a:gd name="connsiteX0" fmla="*/ 357162 w 2438400"/>
                <a:gd name="connsiteY0" fmla="*/ 1577130 h 2438400"/>
                <a:gd name="connsiteX1" fmla="*/ 31 w 2438400"/>
                <a:gd name="connsiteY1" fmla="*/ 2439199 h 2438400"/>
                <a:gd name="connsiteX2" fmla="*/ 2438431 w 2438400"/>
                <a:gd name="connsiteY2" fmla="*/ 2439199 h 2438400"/>
                <a:gd name="connsiteX3" fmla="*/ 2081299 w 2438400"/>
                <a:gd name="connsiteY3" fmla="*/ 1577130 h 2438400"/>
                <a:gd name="connsiteX4" fmla="*/ 1219231 w 2438400"/>
                <a:gd name="connsiteY4" fmla="*/ 1219999 h 2438400"/>
                <a:gd name="connsiteX5" fmla="*/ 357162 w 2438400"/>
                <a:gd name="connsiteY5" fmla="*/ 1577130 h 2438400"/>
                <a:gd name="connsiteX6" fmla="*/ 357162 w 2438400"/>
                <a:gd name="connsiteY6" fmla="*/ 862992 h 2438400"/>
                <a:gd name="connsiteX7" fmla="*/ 31 w 2438400"/>
                <a:gd name="connsiteY7" fmla="*/ 799 h 2438400"/>
                <a:gd name="connsiteX8" fmla="*/ 2438431 w 2438400"/>
                <a:gd name="connsiteY8" fmla="*/ 799 h 2438400"/>
                <a:gd name="connsiteX9" fmla="*/ 2081299 w 2438400"/>
                <a:gd name="connsiteY9" fmla="*/ 862867 h 2438400"/>
                <a:gd name="connsiteX10" fmla="*/ 1219231 w 2438400"/>
                <a:gd name="connsiteY10" fmla="*/ 1219999 h 2438400"/>
                <a:gd name="connsiteX11" fmla="*/ 357162 w 2438400"/>
                <a:gd name="connsiteY11" fmla="*/ 862867 h 243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38400" h="2438400">
                  <a:moveTo>
                    <a:pt x="357162" y="1577130"/>
                  </a:moveTo>
                  <a:cubicBezTo>
                    <a:pt x="128453" y="1805715"/>
                    <a:pt x="31" y="2115829"/>
                    <a:pt x="31" y="2439199"/>
                  </a:cubicBezTo>
                  <a:lnTo>
                    <a:pt x="2438431" y="2439199"/>
                  </a:lnTo>
                  <a:cubicBezTo>
                    <a:pt x="2438431" y="2115829"/>
                    <a:pt x="2310008" y="1805715"/>
                    <a:pt x="2081299" y="1577130"/>
                  </a:cubicBezTo>
                  <a:cubicBezTo>
                    <a:pt x="1852714" y="1348546"/>
                    <a:pt x="1542600" y="1219999"/>
                    <a:pt x="1219231" y="1219999"/>
                  </a:cubicBezTo>
                  <a:cubicBezTo>
                    <a:pt x="895861" y="1219999"/>
                    <a:pt x="585747" y="1348421"/>
                    <a:pt x="357162" y="1577130"/>
                  </a:cubicBezTo>
                  <a:close/>
                  <a:moveTo>
                    <a:pt x="357162" y="862992"/>
                  </a:moveTo>
                  <a:cubicBezTo>
                    <a:pt x="128453" y="634282"/>
                    <a:pt x="31" y="324168"/>
                    <a:pt x="31" y="799"/>
                  </a:cubicBezTo>
                  <a:lnTo>
                    <a:pt x="2438431" y="799"/>
                  </a:lnTo>
                  <a:cubicBezTo>
                    <a:pt x="2438431" y="324168"/>
                    <a:pt x="2310008" y="634282"/>
                    <a:pt x="2081299" y="862867"/>
                  </a:cubicBezTo>
                  <a:cubicBezTo>
                    <a:pt x="1852714" y="1091451"/>
                    <a:pt x="1542600" y="1219999"/>
                    <a:pt x="1219231" y="1219999"/>
                  </a:cubicBezTo>
                  <a:cubicBezTo>
                    <a:pt x="895861" y="1219999"/>
                    <a:pt x="585747" y="1091576"/>
                    <a:pt x="357162" y="862867"/>
                  </a:cubicBezTo>
                  <a:close/>
                </a:path>
              </a:pathLst>
            </a:custGeom>
            <a:solidFill>
              <a:srgbClr val="82CFFF"/>
            </a:solidFill>
            <a:ln w="12505" cap="flat">
              <a:noFill/>
              <a:prstDash val="solid"/>
              <a:miter/>
            </a:ln>
          </p:spPr>
          <p:txBody>
            <a:bodyPr rtlCol="0" anchor="ctr"/>
            <a:lstStyle/>
            <a:p>
              <a:endParaRPr lang="en-US" sz="900"/>
            </a:p>
          </p:txBody>
        </p:sp>
        <p:sp>
          <p:nvSpPr>
            <p:cNvPr id="20" name="Freeform: Shape 19">
              <a:extLst>
                <a:ext uri="{FF2B5EF4-FFF2-40B4-BE49-F238E27FC236}">
                  <a16:creationId xmlns:a16="http://schemas.microsoft.com/office/drawing/2014/main" id="{ED6873E8-2C30-9E1F-B8C4-51C2CA7B8DA4}"/>
                </a:ext>
              </a:extLst>
            </p:cNvPr>
            <p:cNvSpPr/>
            <p:nvPr/>
          </p:nvSpPr>
          <p:spPr>
            <a:xfrm>
              <a:off x="-11971338" y="8991600"/>
              <a:ext cx="2438400" cy="2438400"/>
            </a:xfrm>
            <a:custGeom>
              <a:avLst/>
              <a:gdLst>
                <a:gd name="connsiteX0" fmla="*/ 357162 w 2438400"/>
                <a:gd name="connsiteY0" fmla="*/ 1577130 h 2438400"/>
                <a:gd name="connsiteX1" fmla="*/ 31 w 2438400"/>
                <a:gd name="connsiteY1" fmla="*/ 2439199 h 2438400"/>
                <a:gd name="connsiteX2" fmla="*/ 2438431 w 2438400"/>
                <a:gd name="connsiteY2" fmla="*/ 2439199 h 2438400"/>
                <a:gd name="connsiteX3" fmla="*/ 2081299 w 2438400"/>
                <a:gd name="connsiteY3" fmla="*/ 1577130 h 2438400"/>
                <a:gd name="connsiteX4" fmla="*/ 1219231 w 2438400"/>
                <a:gd name="connsiteY4" fmla="*/ 1219999 h 2438400"/>
                <a:gd name="connsiteX5" fmla="*/ 357162 w 2438400"/>
                <a:gd name="connsiteY5" fmla="*/ 1577130 h 2438400"/>
                <a:gd name="connsiteX6" fmla="*/ 357162 w 2438400"/>
                <a:gd name="connsiteY6" fmla="*/ 862992 h 2438400"/>
                <a:gd name="connsiteX7" fmla="*/ 31 w 2438400"/>
                <a:gd name="connsiteY7" fmla="*/ 799 h 2438400"/>
                <a:gd name="connsiteX8" fmla="*/ 2438431 w 2438400"/>
                <a:gd name="connsiteY8" fmla="*/ 799 h 2438400"/>
                <a:gd name="connsiteX9" fmla="*/ 2081299 w 2438400"/>
                <a:gd name="connsiteY9" fmla="*/ 862867 h 2438400"/>
                <a:gd name="connsiteX10" fmla="*/ 1219231 w 2438400"/>
                <a:gd name="connsiteY10" fmla="*/ 1219999 h 2438400"/>
                <a:gd name="connsiteX11" fmla="*/ 357162 w 2438400"/>
                <a:gd name="connsiteY11" fmla="*/ 862867 h 243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38400" h="2438400">
                  <a:moveTo>
                    <a:pt x="357162" y="1577130"/>
                  </a:moveTo>
                  <a:cubicBezTo>
                    <a:pt x="128453" y="1805715"/>
                    <a:pt x="31" y="2115829"/>
                    <a:pt x="31" y="2439199"/>
                  </a:cubicBezTo>
                  <a:lnTo>
                    <a:pt x="2438431" y="2439199"/>
                  </a:lnTo>
                  <a:cubicBezTo>
                    <a:pt x="2438431" y="2115829"/>
                    <a:pt x="2310008" y="1805715"/>
                    <a:pt x="2081299" y="1577130"/>
                  </a:cubicBezTo>
                  <a:cubicBezTo>
                    <a:pt x="1852714" y="1348546"/>
                    <a:pt x="1542600" y="1219999"/>
                    <a:pt x="1219231" y="1219999"/>
                  </a:cubicBezTo>
                  <a:cubicBezTo>
                    <a:pt x="895861" y="1219999"/>
                    <a:pt x="585747" y="1348421"/>
                    <a:pt x="357162" y="1577130"/>
                  </a:cubicBezTo>
                  <a:close/>
                  <a:moveTo>
                    <a:pt x="357162" y="862992"/>
                  </a:moveTo>
                  <a:cubicBezTo>
                    <a:pt x="128453" y="634282"/>
                    <a:pt x="31" y="324168"/>
                    <a:pt x="31" y="799"/>
                  </a:cubicBezTo>
                  <a:lnTo>
                    <a:pt x="2438431" y="799"/>
                  </a:lnTo>
                  <a:cubicBezTo>
                    <a:pt x="2438431" y="324168"/>
                    <a:pt x="2310008" y="634282"/>
                    <a:pt x="2081299" y="862867"/>
                  </a:cubicBezTo>
                  <a:cubicBezTo>
                    <a:pt x="1852714" y="1091451"/>
                    <a:pt x="1542600" y="1219999"/>
                    <a:pt x="1219231" y="1219999"/>
                  </a:cubicBezTo>
                  <a:cubicBezTo>
                    <a:pt x="895861" y="1219999"/>
                    <a:pt x="585747" y="1091576"/>
                    <a:pt x="357162" y="862867"/>
                  </a:cubicBezTo>
                  <a:close/>
                </a:path>
              </a:pathLst>
            </a:custGeom>
            <a:solidFill>
              <a:srgbClr val="82CFFF"/>
            </a:solidFill>
            <a:ln w="12505" cap="flat">
              <a:noFill/>
              <a:prstDash val="solid"/>
              <a:miter/>
            </a:ln>
          </p:spPr>
          <p:txBody>
            <a:bodyPr rtlCol="0" anchor="ctr"/>
            <a:lstStyle/>
            <a:p>
              <a:endParaRPr lang="en-US" sz="900"/>
            </a:p>
          </p:txBody>
        </p:sp>
      </p:grpSp>
      <p:grpSp>
        <p:nvGrpSpPr>
          <p:cNvPr id="21" name="Graphic 10">
            <a:extLst>
              <a:ext uri="{FF2B5EF4-FFF2-40B4-BE49-F238E27FC236}">
                <a16:creationId xmlns:a16="http://schemas.microsoft.com/office/drawing/2014/main" id="{60C5586C-C2A6-5473-EF69-A3706BC6F368}"/>
              </a:ext>
            </a:extLst>
          </p:cNvPr>
          <p:cNvGrpSpPr/>
          <p:nvPr userDrawn="1"/>
        </p:nvGrpSpPr>
        <p:grpSpPr>
          <a:xfrm>
            <a:off x="9164004" y="4381432"/>
            <a:ext cx="1371490" cy="1371669"/>
            <a:chOff x="-7094538" y="8991600"/>
            <a:chExt cx="2438400" cy="2438400"/>
          </a:xfrm>
          <a:solidFill>
            <a:srgbClr val="08BDBA"/>
          </a:solidFill>
        </p:grpSpPr>
        <p:sp>
          <p:nvSpPr>
            <p:cNvPr id="22" name="Freeform: Shape 21">
              <a:extLst>
                <a:ext uri="{FF2B5EF4-FFF2-40B4-BE49-F238E27FC236}">
                  <a16:creationId xmlns:a16="http://schemas.microsoft.com/office/drawing/2014/main" id="{6407E751-2BC6-22BD-425F-D246D0BA0BF2}"/>
                </a:ext>
              </a:extLst>
            </p:cNvPr>
            <p:cNvSpPr/>
            <p:nvPr/>
          </p:nvSpPr>
          <p:spPr>
            <a:xfrm>
              <a:off x="-7094538" y="8991600"/>
              <a:ext cx="2438400" cy="2438400"/>
            </a:xfrm>
            <a:custGeom>
              <a:avLst/>
              <a:gdLst>
                <a:gd name="connsiteX0" fmla="*/ 1219743 w 2438400"/>
                <a:gd name="connsiteY0" fmla="*/ 2439199 h 2438400"/>
                <a:gd name="connsiteX1" fmla="*/ 1219743 w 2438400"/>
                <a:gd name="connsiteY1" fmla="*/ 799 h 2438400"/>
                <a:gd name="connsiteX2" fmla="*/ 2438943 w 2438400"/>
                <a:gd name="connsiteY2" fmla="*/ 1219999 h 2438400"/>
                <a:gd name="connsiteX3" fmla="*/ 1219743 w 2438400"/>
                <a:gd name="connsiteY3" fmla="*/ 2439199 h 2438400"/>
                <a:gd name="connsiteX4" fmla="*/ 543 w 2438400"/>
                <a:gd name="connsiteY4" fmla="*/ 2439199 h 2438400"/>
                <a:gd name="connsiteX5" fmla="*/ 543 w 2438400"/>
                <a:gd name="connsiteY5" fmla="*/ 799 h 2438400"/>
                <a:gd name="connsiteX6" fmla="*/ 1219743 w 2438400"/>
                <a:gd name="connsiteY6" fmla="*/ 1219999 h 2438400"/>
                <a:gd name="connsiteX7" fmla="*/ 543 w 2438400"/>
                <a:gd name="connsiteY7" fmla="*/ 2439199 h 243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 h="2438400">
                  <a:moveTo>
                    <a:pt x="1219743" y="2439199"/>
                  </a:moveTo>
                  <a:lnTo>
                    <a:pt x="1219743" y="799"/>
                  </a:lnTo>
                  <a:lnTo>
                    <a:pt x="2438943" y="1219999"/>
                  </a:lnTo>
                  <a:lnTo>
                    <a:pt x="1219743" y="2439199"/>
                  </a:lnTo>
                  <a:close/>
                  <a:moveTo>
                    <a:pt x="543" y="2439199"/>
                  </a:moveTo>
                  <a:lnTo>
                    <a:pt x="543" y="799"/>
                  </a:lnTo>
                  <a:lnTo>
                    <a:pt x="1219743" y="1219999"/>
                  </a:lnTo>
                  <a:lnTo>
                    <a:pt x="543" y="2439199"/>
                  </a:lnTo>
                  <a:close/>
                </a:path>
              </a:pathLst>
            </a:custGeom>
            <a:solidFill>
              <a:srgbClr val="08BDBA"/>
            </a:solidFill>
            <a:ln w="12505" cap="flat">
              <a:noFill/>
              <a:prstDash val="solid"/>
              <a:miter/>
            </a:ln>
          </p:spPr>
          <p:txBody>
            <a:bodyPr rtlCol="0" anchor="ctr"/>
            <a:lstStyle/>
            <a:p>
              <a:endParaRPr lang="en-US" sz="900"/>
            </a:p>
          </p:txBody>
        </p:sp>
        <p:sp>
          <p:nvSpPr>
            <p:cNvPr id="23" name="Freeform: Shape 22">
              <a:extLst>
                <a:ext uri="{FF2B5EF4-FFF2-40B4-BE49-F238E27FC236}">
                  <a16:creationId xmlns:a16="http://schemas.microsoft.com/office/drawing/2014/main" id="{9CF14A94-CADF-212B-BB95-6D91CFD86EE3}"/>
                </a:ext>
              </a:extLst>
            </p:cNvPr>
            <p:cNvSpPr/>
            <p:nvPr/>
          </p:nvSpPr>
          <p:spPr>
            <a:xfrm>
              <a:off x="-7094538" y="8991600"/>
              <a:ext cx="2438400" cy="2438400"/>
            </a:xfrm>
            <a:custGeom>
              <a:avLst/>
              <a:gdLst>
                <a:gd name="connsiteX0" fmla="*/ 1219743 w 2438400"/>
                <a:gd name="connsiteY0" fmla="*/ 2439199 h 2438400"/>
                <a:gd name="connsiteX1" fmla="*/ 1219743 w 2438400"/>
                <a:gd name="connsiteY1" fmla="*/ 799 h 2438400"/>
                <a:gd name="connsiteX2" fmla="*/ 2438943 w 2438400"/>
                <a:gd name="connsiteY2" fmla="*/ 1219999 h 2438400"/>
                <a:gd name="connsiteX3" fmla="*/ 1219743 w 2438400"/>
                <a:gd name="connsiteY3" fmla="*/ 2439199 h 2438400"/>
                <a:gd name="connsiteX4" fmla="*/ 543 w 2438400"/>
                <a:gd name="connsiteY4" fmla="*/ 2439199 h 2438400"/>
                <a:gd name="connsiteX5" fmla="*/ 543 w 2438400"/>
                <a:gd name="connsiteY5" fmla="*/ 799 h 2438400"/>
                <a:gd name="connsiteX6" fmla="*/ 1219743 w 2438400"/>
                <a:gd name="connsiteY6" fmla="*/ 1219999 h 2438400"/>
                <a:gd name="connsiteX7" fmla="*/ 543 w 2438400"/>
                <a:gd name="connsiteY7" fmla="*/ 2439199 h 243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 h="2438400">
                  <a:moveTo>
                    <a:pt x="1219743" y="2439199"/>
                  </a:moveTo>
                  <a:lnTo>
                    <a:pt x="1219743" y="799"/>
                  </a:lnTo>
                  <a:lnTo>
                    <a:pt x="2438943" y="1219999"/>
                  </a:lnTo>
                  <a:lnTo>
                    <a:pt x="1219743" y="2439199"/>
                  </a:lnTo>
                  <a:close/>
                  <a:moveTo>
                    <a:pt x="543" y="2439199"/>
                  </a:moveTo>
                  <a:lnTo>
                    <a:pt x="543" y="799"/>
                  </a:lnTo>
                  <a:lnTo>
                    <a:pt x="1219743" y="1219999"/>
                  </a:lnTo>
                  <a:lnTo>
                    <a:pt x="543" y="2439199"/>
                  </a:lnTo>
                  <a:close/>
                </a:path>
              </a:pathLst>
            </a:custGeom>
            <a:solidFill>
              <a:srgbClr val="08BDBA"/>
            </a:solidFill>
            <a:ln w="12505" cap="flat">
              <a:noFill/>
              <a:prstDash val="solid"/>
              <a:miter/>
            </a:ln>
          </p:spPr>
          <p:txBody>
            <a:bodyPr rtlCol="0" anchor="ctr"/>
            <a:lstStyle/>
            <a:p>
              <a:endParaRPr lang="en-US" sz="900"/>
            </a:p>
          </p:txBody>
        </p:sp>
      </p:grpSp>
      <p:grpSp>
        <p:nvGrpSpPr>
          <p:cNvPr id="24" name="Graphic 10">
            <a:extLst>
              <a:ext uri="{FF2B5EF4-FFF2-40B4-BE49-F238E27FC236}">
                <a16:creationId xmlns:a16="http://schemas.microsoft.com/office/drawing/2014/main" id="{130F95F5-FFD5-0D83-A87D-9F4C8C713F79}"/>
              </a:ext>
            </a:extLst>
          </p:cNvPr>
          <p:cNvGrpSpPr/>
          <p:nvPr userDrawn="1"/>
        </p:nvGrpSpPr>
        <p:grpSpPr>
          <a:xfrm>
            <a:off x="10535494" y="1645129"/>
            <a:ext cx="1371490" cy="1357600"/>
            <a:chOff x="-4656138" y="4127304"/>
            <a:chExt cx="2438400" cy="2413390"/>
          </a:xfrm>
          <a:solidFill>
            <a:srgbClr val="0F62FE"/>
          </a:solidFill>
        </p:grpSpPr>
        <p:sp>
          <p:nvSpPr>
            <p:cNvPr id="25" name="Freeform: Shape 24">
              <a:extLst>
                <a:ext uri="{FF2B5EF4-FFF2-40B4-BE49-F238E27FC236}">
                  <a16:creationId xmlns:a16="http://schemas.microsoft.com/office/drawing/2014/main" id="{782B9B40-93AA-FCD3-6B79-266B561BF157}"/>
                </a:ext>
              </a:extLst>
            </p:cNvPr>
            <p:cNvSpPr/>
            <p:nvPr/>
          </p:nvSpPr>
          <p:spPr>
            <a:xfrm>
              <a:off x="-4656138" y="4127304"/>
              <a:ext cx="2438400" cy="2413390"/>
            </a:xfrm>
            <a:custGeom>
              <a:avLst/>
              <a:gdLst>
                <a:gd name="connsiteX0" fmla="*/ 1219999 w 2438400"/>
                <a:gd name="connsiteY0" fmla="*/ 288 h 2413390"/>
                <a:gd name="connsiteX1" fmla="*/ 1219999 w 2438400"/>
                <a:gd name="connsiteY1" fmla="*/ 288 h 2413390"/>
                <a:gd name="connsiteX2" fmla="*/ 799 w 2438400"/>
                <a:gd name="connsiteY2" fmla="*/ 288 h 2413390"/>
                <a:gd name="connsiteX3" fmla="*/ 1219999 w 2438400"/>
                <a:gd name="connsiteY3" fmla="*/ 1206983 h 2413390"/>
                <a:gd name="connsiteX4" fmla="*/ 799 w 2438400"/>
                <a:gd name="connsiteY4" fmla="*/ 2413678 h 2413390"/>
                <a:gd name="connsiteX5" fmla="*/ 1219999 w 2438400"/>
                <a:gd name="connsiteY5" fmla="*/ 2413678 h 2413390"/>
                <a:gd name="connsiteX6" fmla="*/ 1219999 w 2438400"/>
                <a:gd name="connsiteY6" fmla="*/ 2413678 h 2413390"/>
                <a:gd name="connsiteX7" fmla="*/ 2439199 w 2438400"/>
                <a:gd name="connsiteY7" fmla="*/ 1206983 h 2413390"/>
                <a:gd name="connsiteX8" fmla="*/ 1219999 w 2438400"/>
                <a:gd name="connsiteY8" fmla="*/ 1206983 h 2413390"/>
                <a:gd name="connsiteX9" fmla="*/ 1219999 w 2438400"/>
                <a:gd name="connsiteY9" fmla="*/ 1206983 h 2413390"/>
                <a:gd name="connsiteX10" fmla="*/ 2439199 w 2438400"/>
                <a:gd name="connsiteY10" fmla="*/ 1206983 h 2413390"/>
                <a:gd name="connsiteX11" fmla="*/ 1219999 w 2438400"/>
                <a:gd name="connsiteY11" fmla="*/ 288 h 241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38400" h="2413390">
                  <a:moveTo>
                    <a:pt x="1219999" y="288"/>
                  </a:moveTo>
                  <a:lnTo>
                    <a:pt x="1219999" y="288"/>
                  </a:lnTo>
                  <a:lnTo>
                    <a:pt x="799" y="288"/>
                  </a:lnTo>
                  <a:lnTo>
                    <a:pt x="1219999" y="1206983"/>
                  </a:lnTo>
                  <a:lnTo>
                    <a:pt x="799" y="2413678"/>
                  </a:lnTo>
                  <a:lnTo>
                    <a:pt x="1219999" y="2413678"/>
                  </a:lnTo>
                  <a:lnTo>
                    <a:pt x="1219999" y="2413678"/>
                  </a:lnTo>
                  <a:lnTo>
                    <a:pt x="2439199" y="1206983"/>
                  </a:lnTo>
                  <a:lnTo>
                    <a:pt x="1219999" y="1206983"/>
                  </a:lnTo>
                  <a:lnTo>
                    <a:pt x="1219999" y="1206983"/>
                  </a:lnTo>
                  <a:lnTo>
                    <a:pt x="2439199" y="1206983"/>
                  </a:lnTo>
                  <a:lnTo>
                    <a:pt x="1219999" y="288"/>
                  </a:lnTo>
                  <a:close/>
                </a:path>
              </a:pathLst>
            </a:custGeom>
            <a:solidFill>
              <a:srgbClr val="0F62FE"/>
            </a:solidFill>
            <a:ln w="12505" cap="flat">
              <a:noFill/>
              <a:prstDash val="solid"/>
              <a:miter/>
            </a:ln>
          </p:spPr>
          <p:txBody>
            <a:bodyPr rtlCol="0" anchor="ctr"/>
            <a:lstStyle/>
            <a:p>
              <a:endParaRPr lang="en-US" sz="900"/>
            </a:p>
          </p:txBody>
        </p:sp>
        <p:sp>
          <p:nvSpPr>
            <p:cNvPr id="41" name="Freeform: Shape 40">
              <a:extLst>
                <a:ext uri="{FF2B5EF4-FFF2-40B4-BE49-F238E27FC236}">
                  <a16:creationId xmlns:a16="http://schemas.microsoft.com/office/drawing/2014/main" id="{4FA2A501-C4E1-DF66-F56C-9C03E2251EF0}"/>
                </a:ext>
              </a:extLst>
            </p:cNvPr>
            <p:cNvSpPr/>
            <p:nvPr/>
          </p:nvSpPr>
          <p:spPr>
            <a:xfrm>
              <a:off x="-4656138" y="4127304"/>
              <a:ext cx="2438400" cy="2413390"/>
            </a:xfrm>
            <a:custGeom>
              <a:avLst/>
              <a:gdLst>
                <a:gd name="connsiteX0" fmla="*/ 1219999 w 2438400"/>
                <a:gd name="connsiteY0" fmla="*/ 288 h 2413390"/>
                <a:gd name="connsiteX1" fmla="*/ 1219999 w 2438400"/>
                <a:gd name="connsiteY1" fmla="*/ 288 h 2413390"/>
                <a:gd name="connsiteX2" fmla="*/ 799 w 2438400"/>
                <a:gd name="connsiteY2" fmla="*/ 288 h 2413390"/>
                <a:gd name="connsiteX3" fmla="*/ 1219999 w 2438400"/>
                <a:gd name="connsiteY3" fmla="*/ 1206983 h 2413390"/>
                <a:gd name="connsiteX4" fmla="*/ 799 w 2438400"/>
                <a:gd name="connsiteY4" fmla="*/ 2413678 h 2413390"/>
                <a:gd name="connsiteX5" fmla="*/ 1219999 w 2438400"/>
                <a:gd name="connsiteY5" fmla="*/ 2413678 h 2413390"/>
                <a:gd name="connsiteX6" fmla="*/ 1219999 w 2438400"/>
                <a:gd name="connsiteY6" fmla="*/ 2413678 h 2413390"/>
                <a:gd name="connsiteX7" fmla="*/ 2439199 w 2438400"/>
                <a:gd name="connsiteY7" fmla="*/ 1206983 h 2413390"/>
                <a:gd name="connsiteX8" fmla="*/ 1219999 w 2438400"/>
                <a:gd name="connsiteY8" fmla="*/ 1206983 h 2413390"/>
                <a:gd name="connsiteX9" fmla="*/ 1219999 w 2438400"/>
                <a:gd name="connsiteY9" fmla="*/ 1206983 h 2413390"/>
                <a:gd name="connsiteX10" fmla="*/ 2439199 w 2438400"/>
                <a:gd name="connsiteY10" fmla="*/ 1206983 h 2413390"/>
                <a:gd name="connsiteX11" fmla="*/ 1219999 w 2438400"/>
                <a:gd name="connsiteY11" fmla="*/ 288 h 241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38400" h="2413390">
                  <a:moveTo>
                    <a:pt x="1219999" y="288"/>
                  </a:moveTo>
                  <a:lnTo>
                    <a:pt x="1219999" y="288"/>
                  </a:lnTo>
                  <a:lnTo>
                    <a:pt x="799" y="288"/>
                  </a:lnTo>
                  <a:lnTo>
                    <a:pt x="1219999" y="1206983"/>
                  </a:lnTo>
                  <a:lnTo>
                    <a:pt x="799" y="2413678"/>
                  </a:lnTo>
                  <a:lnTo>
                    <a:pt x="1219999" y="2413678"/>
                  </a:lnTo>
                  <a:lnTo>
                    <a:pt x="1219999" y="2413678"/>
                  </a:lnTo>
                  <a:lnTo>
                    <a:pt x="2439199" y="1206983"/>
                  </a:lnTo>
                  <a:lnTo>
                    <a:pt x="1219999" y="1206983"/>
                  </a:lnTo>
                  <a:lnTo>
                    <a:pt x="1219999" y="1206983"/>
                  </a:lnTo>
                  <a:lnTo>
                    <a:pt x="2439199" y="1206983"/>
                  </a:lnTo>
                  <a:lnTo>
                    <a:pt x="1219999" y="288"/>
                  </a:lnTo>
                  <a:close/>
                </a:path>
              </a:pathLst>
            </a:custGeom>
            <a:solidFill>
              <a:srgbClr val="0F62FE"/>
            </a:solidFill>
            <a:ln w="12505" cap="flat">
              <a:noFill/>
              <a:prstDash val="solid"/>
              <a:miter/>
            </a:ln>
          </p:spPr>
          <p:txBody>
            <a:bodyPr rtlCol="0" anchor="ctr"/>
            <a:lstStyle/>
            <a:p>
              <a:endParaRPr lang="en-US" sz="900"/>
            </a:p>
          </p:txBody>
        </p:sp>
      </p:grpSp>
    </p:spTree>
    <p:extLst>
      <p:ext uri="{BB962C8B-B14F-4D97-AF65-F5344CB8AC3E}">
        <p14:creationId xmlns:p14="http://schemas.microsoft.com/office/powerpoint/2010/main" val="2918964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slide 5">
    <p:bg>
      <p:bgPr>
        <a:solidFill>
          <a:schemeClr val="bg2"/>
        </a:solidFill>
        <a:effectLst/>
      </p:bgPr>
    </p:bg>
    <p:spTree>
      <p:nvGrpSpPr>
        <p:cNvPr id="1" name=""/>
        <p:cNvGrpSpPr/>
        <p:nvPr/>
      </p:nvGrpSpPr>
      <p:grpSpPr>
        <a:xfrm>
          <a:off x="0" y="0"/>
          <a:ext cx="0" cy="0"/>
          <a:chOff x="0" y="0"/>
          <a:chExt cx="0" cy="0"/>
        </a:xfrm>
      </p:grpSpPr>
      <p:sp>
        <p:nvSpPr>
          <p:cNvPr id="8" name="Text Placeholder 5">
            <a:extLst>
              <a:ext uri="{FF2B5EF4-FFF2-40B4-BE49-F238E27FC236}">
                <a16:creationId xmlns:a16="http://schemas.microsoft.com/office/drawing/2014/main" id="{03F79CF1-BB23-64AA-9C92-5A1EAE747F93}"/>
              </a:ext>
            </a:extLst>
          </p:cNvPr>
          <p:cNvSpPr>
            <a:spLocks noGrp="1"/>
          </p:cNvSpPr>
          <p:nvPr>
            <p:ph type="body" sz="quarter" idx="13" hasCustomPrompt="1"/>
          </p:nvPr>
        </p:nvSpPr>
        <p:spPr>
          <a:xfrm>
            <a:off x="262697" y="3429000"/>
            <a:ext cx="5050131" cy="1451113"/>
          </a:xfrm>
        </p:spPr>
        <p:txBody>
          <a:bodyPr/>
          <a:lstStyle/>
          <a:p>
            <a:r>
              <a:rPr lang="en-US"/>
              <a:t>Session code (ID number)</a:t>
            </a:r>
            <a:br>
              <a:rPr lang="en-US"/>
            </a:br>
            <a:r>
              <a:rPr lang="en-US"/>
              <a:t>Session Title</a:t>
            </a:r>
            <a:br>
              <a:rPr lang="en-US"/>
            </a:br>
            <a:r>
              <a:rPr lang="en-US" err="1"/>
              <a:t>Firstname</a:t>
            </a:r>
            <a:r>
              <a:rPr lang="en-US"/>
              <a:t> </a:t>
            </a:r>
            <a:r>
              <a:rPr lang="en-US" err="1"/>
              <a:t>Lastname</a:t>
            </a:r>
            <a:br>
              <a:rPr lang="en-US"/>
            </a:br>
            <a:r>
              <a:rPr lang="en-US"/>
              <a:t>Company, Job Title</a:t>
            </a:r>
          </a:p>
        </p:txBody>
      </p:sp>
      <p:sp>
        <p:nvSpPr>
          <p:cNvPr id="10" name="Title 1">
            <a:extLst>
              <a:ext uri="{FF2B5EF4-FFF2-40B4-BE49-F238E27FC236}">
                <a16:creationId xmlns:a16="http://schemas.microsoft.com/office/drawing/2014/main" id="{C20F0B5B-6B52-3139-61A7-7B7287D7127D}"/>
              </a:ext>
            </a:extLst>
          </p:cNvPr>
          <p:cNvSpPr>
            <a:spLocks noGrp="1"/>
          </p:cNvSpPr>
          <p:nvPr>
            <p:ph type="title"/>
          </p:nvPr>
        </p:nvSpPr>
        <p:spPr>
          <a:xfrm>
            <a:off x="262950" y="1093032"/>
            <a:ext cx="5049878" cy="2070856"/>
          </a:xfrm>
        </p:spPr>
        <p:txBody>
          <a:bodyPr/>
          <a:lstStyle>
            <a:lvl1pPr>
              <a:lnSpc>
                <a:spcPct val="100000"/>
              </a:lnSpc>
              <a:defRPr sz="3199">
                <a:solidFill>
                  <a:schemeClr val="tx2"/>
                </a:solidFill>
              </a:defRPr>
            </a:lvl1pPr>
          </a:lstStyle>
          <a:p>
            <a:r>
              <a:rPr lang="en-US"/>
              <a:t>Click to edit Master title style</a:t>
            </a:r>
          </a:p>
        </p:txBody>
      </p:sp>
      <p:grpSp>
        <p:nvGrpSpPr>
          <p:cNvPr id="26" name="Graphic 5">
            <a:extLst>
              <a:ext uri="{FF2B5EF4-FFF2-40B4-BE49-F238E27FC236}">
                <a16:creationId xmlns:a16="http://schemas.microsoft.com/office/drawing/2014/main" id="{F1A637DE-FA28-1BBA-ED19-561BF47FC9AA}"/>
              </a:ext>
            </a:extLst>
          </p:cNvPr>
          <p:cNvGrpSpPr/>
          <p:nvPr userDrawn="1"/>
        </p:nvGrpSpPr>
        <p:grpSpPr>
          <a:xfrm>
            <a:off x="299134" y="288036"/>
            <a:ext cx="1878950" cy="218297"/>
            <a:chOff x="6597650" y="8572457"/>
            <a:chExt cx="11188016" cy="1299659"/>
          </a:xfrm>
          <a:solidFill>
            <a:srgbClr val="000000"/>
          </a:solidFill>
        </p:grpSpPr>
        <p:sp>
          <p:nvSpPr>
            <p:cNvPr id="27" name="Freeform: Shape 26">
              <a:extLst>
                <a:ext uri="{FF2B5EF4-FFF2-40B4-BE49-F238E27FC236}">
                  <a16:creationId xmlns:a16="http://schemas.microsoft.com/office/drawing/2014/main" id="{F5985145-6140-8167-8472-4F70B1B08F56}"/>
                </a:ext>
              </a:extLst>
            </p:cNvPr>
            <p:cNvSpPr/>
            <p:nvPr/>
          </p:nvSpPr>
          <p:spPr>
            <a:xfrm>
              <a:off x="11603037" y="8572457"/>
              <a:ext cx="633888" cy="1010097"/>
            </a:xfrm>
            <a:custGeom>
              <a:avLst/>
              <a:gdLst>
                <a:gd name="connsiteX0" fmla="*/ 95 w 633888"/>
                <a:gd name="connsiteY0" fmla="*/ 42 h 1010097"/>
                <a:gd name="connsiteX1" fmla="*/ 202502 w 633888"/>
                <a:gd name="connsiteY1" fmla="*/ 42 h 1010097"/>
                <a:gd name="connsiteX2" fmla="*/ 204216 w 633888"/>
                <a:gd name="connsiteY2" fmla="*/ 419904 h 1010097"/>
                <a:gd name="connsiteX3" fmla="*/ 276320 w 633888"/>
                <a:gd name="connsiteY3" fmla="*/ 318463 h 1010097"/>
                <a:gd name="connsiteX4" fmla="*/ 591884 w 633888"/>
                <a:gd name="connsiteY4" fmla="*/ 373899 h 1010097"/>
                <a:gd name="connsiteX5" fmla="*/ 633793 w 633888"/>
                <a:gd name="connsiteY5" fmla="*/ 562303 h 1010097"/>
                <a:gd name="connsiteX6" fmla="*/ 633889 w 633888"/>
                <a:gd name="connsiteY6" fmla="*/ 1010073 h 1010097"/>
                <a:gd name="connsiteX7" fmla="*/ 431482 w 633888"/>
                <a:gd name="connsiteY7" fmla="*/ 1010073 h 1010097"/>
                <a:gd name="connsiteX8" fmla="*/ 431102 w 633888"/>
                <a:gd name="connsiteY8" fmla="*/ 561827 h 1010097"/>
                <a:gd name="connsiteX9" fmla="*/ 376333 w 633888"/>
                <a:gd name="connsiteY9" fmla="*/ 448765 h 1010097"/>
                <a:gd name="connsiteX10" fmla="*/ 203454 w 633888"/>
                <a:gd name="connsiteY10" fmla="*/ 533538 h 1010097"/>
                <a:gd name="connsiteX11" fmla="*/ 202502 w 633888"/>
                <a:gd name="connsiteY11" fmla="*/ 1010073 h 1010097"/>
                <a:gd name="connsiteX12" fmla="*/ 0 w 633888"/>
                <a:gd name="connsiteY12" fmla="*/ 1009978 h 1010097"/>
                <a:gd name="connsiteX13" fmla="*/ 95 w 633888"/>
                <a:gd name="connsiteY13" fmla="*/ 42 h 101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3888" h="1010097">
                  <a:moveTo>
                    <a:pt x="95" y="42"/>
                  </a:moveTo>
                  <a:cubicBezTo>
                    <a:pt x="67533" y="-53"/>
                    <a:pt x="134969" y="42"/>
                    <a:pt x="202502" y="42"/>
                  </a:cubicBezTo>
                  <a:cubicBezTo>
                    <a:pt x="203549" y="139965"/>
                    <a:pt x="200311" y="280077"/>
                    <a:pt x="204216" y="419904"/>
                  </a:cubicBezTo>
                  <a:cubicBezTo>
                    <a:pt x="224504" y="383709"/>
                    <a:pt x="241364" y="343419"/>
                    <a:pt x="276320" y="318463"/>
                  </a:cubicBezTo>
                  <a:cubicBezTo>
                    <a:pt x="371284" y="247692"/>
                    <a:pt x="531781" y="265695"/>
                    <a:pt x="591884" y="373899"/>
                  </a:cubicBezTo>
                  <a:cubicBezTo>
                    <a:pt x="624840" y="430668"/>
                    <a:pt x="633413" y="497724"/>
                    <a:pt x="633793" y="562303"/>
                  </a:cubicBezTo>
                  <a:cubicBezTo>
                    <a:pt x="633984" y="711560"/>
                    <a:pt x="633793" y="860817"/>
                    <a:pt x="633889" y="1010073"/>
                  </a:cubicBezTo>
                  <a:lnTo>
                    <a:pt x="431482" y="1010073"/>
                  </a:lnTo>
                  <a:cubicBezTo>
                    <a:pt x="431197" y="860626"/>
                    <a:pt x="432054" y="711179"/>
                    <a:pt x="431102" y="561827"/>
                  </a:cubicBezTo>
                  <a:cubicBezTo>
                    <a:pt x="429959" y="519441"/>
                    <a:pt x="420624" y="466386"/>
                    <a:pt x="376333" y="448765"/>
                  </a:cubicBezTo>
                  <a:cubicBezTo>
                    <a:pt x="310801" y="425334"/>
                    <a:pt x="211836" y="455052"/>
                    <a:pt x="203454" y="533538"/>
                  </a:cubicBezTo>
                  <a:cubicBezTo>
                    <a:pt x="201168" y="692319"/>
                    <a:pt x="203168" y="851196"/>
                    <a:pt x="202502" y="1010073"/>
                  </a:cubicBezTo>
                  <a:cubicBezTo>
                    <a:pt x="134969" y="1010073"/>
                    <a:pt x="67533" y="1010169"/>
                    <a:pt x="0" y="1009978"/>
                  </a:cubicBezTo>
                  <a:cubicBezTo>
                    <a:pt x="191" y="673365"/>
                    <a:pt x="95" y="336656"/>
                    <a:pt x="95" y="42"/>
                  </a:cubicBezTo>
                  <a:close/>
                </a:path>
              </a:pathLst>
            </a:custGeom>
            <a:solidFill>
              <a:srgbClr val="000000"/>
            </a:solidFill>
            <a:ln w="9525" cap="flat">
              <a:noFill/>
              <a:prstDash val="solid"/>
              <a:miter/>
            </a:ln>
          </p:spPr>
          <p:txBody>
            <a:bodyPr rtlCol="0" anchor="ctr"/>
            <a:lstStyle/>
            <a:p>
              <a:endParaRPr lang="en-US" sz="900"/>
            </a:p>
          </p:txBody>
        </p:sp>
        <p:sp>
          <p:nvSpPr>
            <p:cNvPr id="28" name="Freeform: Shape 27">
              <a:extLst>
                <a:ext uri="{FF2B5EF4-FFF2-40B4-BE49-F238E27FC236}">
                  <a16:creationId xmlns:a16="http://schemas.microsoft.com/office/drawing/2014/main" id="{7D933579-F84C-4074-BCE8-A5F3C6A8C115}"/>
                </a:ext>
              </a:extLst>
            </p:cNvPr>
            <p:cNvSpPr/>
            <p:nvPr/>
          </p:nvSpPr>
          <p:spPr>
            <a:xfrm>
              <a:off x="14012576" y="8572457"/>
              <a:ext cx="634202" cy="1010164"/>
            </a:xfrm>
            <a:custGeom>
              <a:avLst/>
              <a:gdLst>
                <a:gd name="connsiteX0" fmla="*/ 381 w 634202"/>
                <a:gd name="connsiteY0" fmla="*/ 42 h 1010164"/>
                <a:gd name="connsiteX1" fmla="*/ 202788 w 634202"/>
                <a:gd name="connsiteY1" fmla="*/ 42 h 1010164"/>
                <a:gd name="connsiteX2" fmla="*/ 204502 w 634202"/>
                <a:gd name="connsiteY2" fmla="*/ 419904 h 1010164"/>
                <a:gd name="connsiteX3" fmla="*/ 271558 w 634202"/>
                <a:gd name="connsiteY3" fmla="*/ 322559 h 1010164"/>
                <a:gd name="connsiteX4" fmla="*/ 596265 w 634202"/>
                <a:gd name="connsiteY4" fmla="*/ 381233 h 1010164"/>
                <a:gd name="connsiteX5" fmla="*/ 634175 w 634202"/>
                <a:gd name="connsiteY5" fmla="*/ 562303 h 1010164"/>
                <a:gd name="connsiteX6" fmla="*/ 634175 w 634202"/>
                <a:gd name="connsiteY6" fmla="*/ 1010073 h 1010164"/>
                <a:gd name="connsiteX7" fmla="*/ 431768 w 634202"/>
                <a:gd name="connsiteY7" fmla="*/ 1010073 h 1010164"/>
                <a:gd name="connsiteX8" fmla="*/ 431388 w 634202"/>
                <a:gd name="connsiteY8" fmla="*/ 562303 h 1010164"/>
                <a:gd name="connsiteX9" fmla="*/ 376333 w 634202"/>
                <a:gd name="connsiteY9" fmla="*/ 448575 h 1010164"/>
                <a:gd name="connsiteX10" fmla="*/ 203835 w 634202"/>
                <a:gd name="connsiteY10" fmla="*/ 533347 h 1010164"/>
                <a:gd name="connsiteX11" fmla="*/ 202788 w 634202"/>
                <a:gd name="connsiteY11" fmla="*/ 1010073 h 1010164"/>
                <a:gd name="connsiteX12" fmla="*/ 0 w 634202"/>
                <a:gd name="connsiteY12" fmla="*/ 1009597 h 1010164"/>
                <a:gd name="connsiteX13" fmla="*/ 381 w 634202"/>
                <a:gd name="connsiteY13" fmla="*/ 42 h 1010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4202" h="1010164">
                  <a:moveTo>
                    <a:pt x="381" y="42"/>
                  </a:moveTo>
                  <a:cubicBezTo>
                    <a:pt x="67819" y="-53"/>
                    <a:pt x="135255" y="42"/>
                    <a:pt x="202788" y="42"/>
                  </a:cubicBezTo>
                  <a:cubicBezTo>
                    <a:pt x="203835" y="139965"/>
                    <a:pt x="200597" y="280077"/>
                    <a:pt x="204502" y="419904"/>
                  </a:cubicBezTo>
                  <a:cubicBezTo>
                    <a:pt x="223933" y="385710"/>
                    <a:pt x="239363" y="347419"/>
                    <a:pt x="271558" y="322559"/>
                  </a:cubicBezTo>
                  <a:cubicBezTo>
                    <a:pt x="367856" y="244644"/>
                    <a:pt x="538544" y="265314"/>
                    <a:pt x="596265" y="381233"/>
                  </a:cubicBezTo>
                  <a:cubicBezTo>
                    <a:pt x="625888" y="436573"/>
                    <a:pt x="633794" y="500391"/>
                    <a:pt x="634175" y="562303"/>
                  </a:cubicBezTo>
                  <a:cubicBezTo>
                    <a:pt x="634270" y="711560"/>
                    <a:pt x="634079" y="860817"/>
                    <a:pt x="634175" y="1010073"/>
                  </a:cubicBezTo>
                  <a:lnTo>
                    <a:pt x="431768" y="1010073"/>
                  </a:lnTo>
                  <a:cubicBezTo>
                    <a:pt x="431483" y="860817"/>
                    <a:pt x="432245" y="711560"/>
                    <a:pt x="431388" y="562303"/>
                  </a:cubicBezTo>
                  <a:cubicBezTo>
                    <a:pt x="430340" y="519822"/>
                    <a:pt x="421005" y="466101"/>
                    <a:pt x="376333" y="448575"/>
                  </a:cubicBezTo>
                  <a:cubicBezTo>
                    <a:pt x="310801" y="425524"/>
                    <a:pt x="212408" y="455147"/>
                    <a:pt x="203835" y="533347"/>
                  </a:cubicBezTo>
                  <a:cubicBezTo>
                    <a:pt x="201359" y="692129"/>
                    <a:pt x="203454" y="851101"/>
                    <a:pt x="202788" y="1010073"/>
                  </a:cubicBezTo>
                  <a:cubicBezTo>
                    <a:pt x="135160" y="1009883"/>
                    <a:pt x="67533" y="1010645"/>
                    <a:pt x="0" y="1009597"/>
                  </a:cubicBezTo>
                  <a:cubicBezTo>
                    <a:pt x="858" y="673079"/>
                    <a:pt x="95" y="336561"/>
                    <a:pt x="381" y="42"/>
                  </a:cubicBezTo>
                  <a:close/>
                </a:path>
              </a:pathLst>
            </a:custGeom>
            <a:solidFill>
              <a:srgbClr val="000000"/>
            </a:solidFill>
            <a:ln w="9525" cap="flat">
              <a:noFill/>
              <a:prstDash val="solid"/>
              <a:miter/>
            </a:ln>
          </p:spPr>
          <p:txBody>
            <a:bodyPr rtlCol="0" anchor="ctr"/>
            <a:lstStyle/>
            <a:p>
              <a:endParaRPr lang="en-US" sz="900"/>
            </a:p>
          </p:txBody>
        </p:sp>
        <p:sp>
          <p:nvSpPr>
            <p:cNvPr id="29" name="Freeform: Shape 28">
              <a:extLst>
                <a:ext uri="{FF2B5EF4-FFF2-40B4-BE49-F238E27FC236}">
                  <a16:creationId xmlns:a16="http://schemas.microsoft.com/office/drawing/2014/main" id="{EB61EFE4-D8E6-B1E2-379D-12B26CE8F152}"/>
                </a:ext>
              </a:extLst>
            </p:cNvPr>
            <p:cNvSpPr/>
            <p:nvPr/>
          </p:nvSpPr>
          <p:spPr>
            <a:xfrm>
              <a:off x="6597650" y="8630030"/>
              <a:ext cx="382566" cy="952500"/>
            </a:xfrm>
            <a:custGeom>
              <a:avLst/>
              <a:gdLst>
                <a:gd name="connsiteX0" fmla="*/ 0 w 382566"/>
                <a:gd name="connsiteY0" fmla="*/ 0 h 952500"/>
                <a:gd name="connsiteX1" fmla="*/ 382524 w 382566"/>
                <a:gd name="connsiteY1" fmla="*/ 0 h 952500"/>
                <a:gd name="connsiteX2" fmla="*/ 382524 w 382566"/>
                <a:gd name="connsiteY2" fmla="*/ 95631 h 952500"/>
                <a:gd name="connsiteX3" fmla="*/ 248793 w 382566"/>
                <a:gd name="connsiteY3" fmla="*/ 95631 h 952500"/>
                <a:gd name="connsiteX4" fmla="*/ 248793 w 382566"/>
                <a:gd name="connsiteY4" fmla="*/ 856869 h 952500"/>
                <a:gd name="connsiteX5" fmla="*/ 382524 w 382566"/>
                <a:gd name="connsiteY5" fmla="*/ 856869 h 952500"/>
                <a:gd name="connsiteX6" fmla="*/ 382524 w 382566"/>
                <a:gd name="connsiteY6" fmla="*/ 952500 h 952500"/>
                <a:gd name="connsiteX7" fmla="*/ 0 w 382566"/>
                <a:gd name="connsiteY7" fmla="*/ 952500 h 952500"/>
                <a:gd name="connsiteX8" fmla="*/ 0 w 382566"/>
                <a:gd name="connsiteY8" fmla="*/ 856869 h 952500"/>
                <a:gd name="connsiteX9" fmla="*/ 133731 w 382566"/>
                <a:gd name="connsiteY9" fmla="*/ 856869 h 952500"/>
                <a:gd name="connsiteX10" fmla="*/ 133731 w 382566"/>
                <a:gd name="connsiteY10" fmla="*/ 95631 h 952500"/>
                <a:gd name="connsiteX11" fmla="*/ 0 w 382566"/>
                <a:gd name="connsiteY11" fmla="*/ 95631 h 952500"/>
                <a:gd name="connsiteX12" fmla="*/ 0 w 382566"/>
                <a:gd name="connsiteY12" fmla="*/ 0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2566" h="952500">
                  <a:moveTo>
                    <a:pt x="0" y="0"/>
                  </a:moveTo>
                  <a:lnTo>
                    <a:pt x="382524" y="0"/>
                  </a:lnTo>
                  <a:lnTo>
                    <a:pt x="382524" y="95631"/>
                  </a:lnTo>
                  <a:lnTo>
                    <a:pt x="248793" y="95631"/>
                  </a:lnTo>
                  <a:lnTo>
                    <a:pt x="248793" y="856869"/>
                  </a:lnTo>
                  <a:cubicBezTo>
                    <a:pt x="293370" y="856869"/>
                    <a:pt x="337947" y="856869"/>
                    <a:pt x="382524" y="856869"/>
                  </a:cubicBezTo>
                  <a:cubicBezTo>
                    <a:pt x="382524" y="888682"/>
                    <a:pt x="382619" y="920591"/>
                    <a:pt x="382524" y="952500"/>
                  </a:cubicBezTo>
                  <a:lnTo>
                    <a:pt x="0" y="952500"/>
                  </a:lnTo>
                  <a:cubicBezTo>
                    <a:pt x="0" y="920591"/>
                    <a:pt x="0" y="888682"/>
                    <a:pt x="0" y="856869"/>
                  </a:cubicBezTo>
                  <a:cubicBezTo>
                    <a:pt x="44577" y="856869"/>
                    <a:pt x="89154" y="856869"/>
                    <a:pt x="133731" y="856869"/>
                  </a:cubicBezTo>
                  <a:lnTo>
                    <a:pt x="133731" y="95631"/>
                  </a:lnTo>
                  <a:lnTo>
                    <a:pt x="0" y="95631"/>
                  </a:lnTo>
                  <a:cubicBezTo>
                    <a:pt x="0" y="63722"/>
                    <a:pt x="0" y="31909"/>
                    <a:pt x="0" y="0"/>
                  </a:cubicBezTo>
                  <a:close/>
                </a:path>
              </a:pathLst>
            </a:custGeom>
            <a:solidFill>
              <a:srgbClr val="000000"/>
            </a:solidFill>
            <a:ln w="9525" cap="flat">
              <a:noFill/>
              <a:prstDash val="solid"/>
              <a:miter/>
            </a:ln>
          </p:spPr>
          <p:txBody>
            <a:bodyPr rtlCol="0" anchor="ctr"/>
            <a:lstStyle/>
            <a:p>
              <a:endParaRPr lang="en-US" sz="900"/>
            </a:p>
          </p:txBody>
        </p:sp>
        <p:sp>
          <p:nvSpPr>
            <p:cNvPr id="30" name="Freeform: Shape 29">
              <a:extLst>
                <a:ext uri="{FF2B5EF4-FFF2-40B4-BE49-F238E27FC236}">
                  <a16:creationId xmlns:a16="http://schemas.microsoft.com/office/drawing/2014/main" id="{EB4E91B9-0A97-3141-A66A-E824B4E354B8}"/>
                </a:ext>
              </a:extLst>
            </p:cNvPr>
            <p:cNvSpPr/>
            <p:nvPr/>
          </p:nvSpPr>
          <p:spPr>
            <a:xfrm>
              <a:off x="7188676" y="8629948"/>
              <a:ext cx="678881" cy="952722"/>
            </a:xfrm>
            <a:custGeom>
              <a:avLst/>
              <a:gdLst>
                <a:gd name="connsiteX0" fmla="*/ 0 w 678881"/>
                <a:gd name="connsiteY0" fmla="*/ 83 h 952722"/>
                <a:gd name="connsiteX1" fmla="*/ 409956 w 678881"/>
                <a:gd name="connsiteY1" fmla="*/ 464 h 952722"/>
                <a:gd name="connsiteX2" fmla="*/ 622554 w 678881"/>
                <a:gd name="connsiteY2" fmla="*/ 130575 h 952722"/>
                <a:gd name="connsiteX3" fmla="*/ 607886 w 678881"/>
                <a:gd name="connsiteY3" fmla="*/ 378130 h 952722"/>
                <a:gd name="connsiteX4" fmla="*/ 486347 w 678881"/>
                <a:gd name="connsiteY4" fmla="*/ 452711 h 952722"/>
                <a:gd name="connsiteX5" fmla="*/ 662940 w 678881"/>
                <a:gd name="connsiteY5" fmla="*/ 585394 h 952722"/>
                <a:gd name="connsiteX6" fmla="*/ 543878 w 678881"/>
                <a:gd name="connsiteY6" fmla="*/ 925246 h 952722"/>
                <a:gd name="connsiteX7" fmla="*/ 428530 w 678881"/>
                <a:gd name="connsiteY7" fmla="*/ 952678 h 952722"/>
                <a:gd name="connsiteX8" fmla="*/ 0 w 678881"/>
                <a:gd name="connsiteY8" fmla="*/ 952583 h 952722"/>
                <a:gd name="connsiteX9" fmla="*/ 0 w 678881"/>
                <a:gd name="connsiteY9" fmla="*/ 83 h 952722"/>
                <a:gd name="connsiteX10" fmla="*/ 115062 w 678881"/>
                <a:gd name="connsiteY10" fmla="*/ 101238 h 952722"/>
                <a:gd name="connsiteX11" fmla="*/ 115062 w 678881"/>
                <a:gd name="connsiteY11" fmla="*/ 412039 h 952722"/>
                <a:gd name="connsiteX12" fmla="*/ 400050 w 678881"/>
                <a:gd name="connsiteY12" fmla="*/ 410896 h 952722"/>
                <a:gd name="connsiteX13" fmla="*/ 519398 w 678881"/>
                <a:gd name="connsiteY13" fmla="*/ 313646 h 952722"/>
                <a:gd name="connsiteX14" fmla="*/ 513969 w 678881"/>
                <a:gd name="connsiteY14" fmla="*/ 180391 h 952722"/>
                <a:gd name="connsiteX15" fmla="*/ 389858 w 678881"/>
                <a:gd name="connsiteY15" fmla="*/ 101715 h 952722"/>
                <a:gd name="connsiteX16" fmla="*/ 115062 w 678881"/>
                <a:gd name="connsiteY16" fmla="*/ 101238 h 952722"/>
                <a:gd name="connsiteX17" fmla="*/ 115062 w 678881"/>
                <a:gd name="connsiteY17" fmla="*/ 510432 h 952722"/>
                <a:gd name="connsiteX18" fmla="*/ 115062 w 678881"/>
                <a:gd name="connsiteY18" fmla="*/ 851427 h 952722"/>
                <a:gd name="connsiteX19" fmla="*/ 400526 w 678881"/>
                <a:gd name="connsiteY19" fmla="*/ 851332 h 952722"/>
                <a:gd name="connsiteX20" fmla="*/ 520637 w 678881"/>
                <a:gd name="connsiteY20" fmla="*/ 805993 h 952722"/>
                <a:gd name="connsiteX21" fmla="*/ 555498 w 678881"/>
                <a:gd name="connsiteY21" fmla="*/ 705314 h 952722"/>
                <a:gd name="connsiteX22" fmla="*/ 529304 w 678881"/>
                <a:gd name="connsiteY22" fmla="*/ 566535 h 952722"/>
                <a:gd name="connsiteX23" fmla="*/ 400241 w 678881"/>
                <a:gd name="connsiteY23" fmla="*/ 510623 h 952722"/>
                <a:gd name="connsiteX24" fmla="*/ 115062 w 678881"/>
                <a:gd name="connsiteY24" fmla="*/ 510432 h 952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8881" h="952722">
                  <a:moveTo>
                    <a:pt x="0" y="83"/>
                  </a:moveTo>
                  <a:cubicBezTo>
                    <a:pt x="136684" y="369"/>
                    <a:pt x="273272" y="-489"/>
                    <a:pt x="409956" y="464"/>
                  </a:cubicBezTo>
                  <a:cubicBezTo>
                    <a:pt x="497015" y="1893"/>
                    <a:pt x="586931" y="48279"/>
                    <a:pt x="622554" y="130575"/>
                  </a:cubicBezTo>
                  <a:cubicBezTo>
                    <a:pt x="655701" y="208490"/>
                    <a:pt x="657416" y="306693"/>
                    <a:pt x="607886" y="378130"/>
                  </a:cubicBezTo>
                  <a:cubicBezTo>
                    <a:pt x="580073" y="419850"/>
                    <a:pt x="532067" y="438328"/>
                    <a:pt x="486347" y="452711"/>
                  </a:cubicBezTo>
                  <a:cubicBezTo>
                    <a:pt x="563213" y="461950"/>
                    <a:pt x="636365" y="510909"/>
                    <a:pt x="662940" y="585394"/>
                  </a:cubicBezTo>
                  <a:cubicBezTo>
                    <a:pt x="705898" y="706743"/>
                    <a:pt x="660654" y="862191"/>
                    <a:pt x="543878" y="925246"/>
                  </a:cubicBezTo>
                  <a:cubicBezTo>
                    <a:pt x="508730" y="944391"/>
                    <a:pt x="468440" y="953440"/>
                    <a:pt x="428530" y="952678"/>
                  </a:cubicBezTo>
                  <a:cubicBezTo>
                    <a:pt x="285655" y="952488"/>
                    <a:pt x="142875" y="952583"/>
                    <a:pt x="0" y="952583"/>
                  </a:cubicBezTo>
                  <a:lnTo>
                    <a:pt x="0" y="83"/>
                  </a:lnTo>
                  <a:moveTo>
                    <a:pt x="115062" y="101238"/>
                  </a:moveTo>
                  <a:lnTo>
                    <a:pt x="115062" y="412039"/>
                  </a:lnTo>
                  <a:cubicBezTo>
                    <a:pt x="210026" y="411277"/>
                    <a:pt x="305086" y="413658"/>
                    <a:pt x="400050" y="410896"/>
                  </a:cubicBezTo>
                  <a:cubicBezTo>
                    <a:pt x="455486" y="408896"/>
                    <a:pt x="510540" y="370605"/>
                    <a:pt x="519398" y="313646"/>
                  </a:cubicBezTo>
                  <a:cubicBezTo>
                    <a:pt x="523875" y="269640"/>
                    <a:pt x="527495" y="223158"/>
                    <a:pt x="513969" y="180391"/>
                  </a:cubicBezTo>
                  <a:cubicBezTo>
                    <a:pt x="496919" y="128956"/>
                    <a:pt x="441293" y="102000"/>
                    <a:pt x="389858" y="101715"/>
                  </a:cubicBezTo>
                  <a:cubicBezTo>
                    <a:pt x="298228" y="100572"/>
                    <a:pt x="206693" y="101715"/>
                    <a:pt x="115062" y="101238"/>
                  </a:cubicBezTo>
                  <a:moveTo>
                    <a:pt x="115062" y="510432"/>
                  </a:moveTo>
                  <a:lnTo>
                    <a:pt x="115062" y="851427"/>
                  </a:lnTo>
                  <a:cubicBezTo>
                    <a:pt x="210217" y="851332"/>
                    <a:pt x="305372" y="851523"/>
                    <a:pt x="400526" y="851332"/>
                  </a:cubicBezTo>
                  <a:cubicBezTo>
                    <a:pt x="443960" y="851046"/>
                    <a:pt x="490538" y="839235"/>
                    <a:pt x="520637" y="805993"/>
                  </a:cubicBezTo>
                  <a:cubicBezTo>
                    <a:pt x="545878" y="779133"/>
                    <a:pt x="555212" y="741318"/>
                    <a:pt x="555498" y="705314"/>
                  </a:cubicBezTo>
                  <a:cubicBezTo>
                    <a:pt x="556355" y="658356"/>
                    <a:pt x="558832" y="606349"/>
                    <a:pt x="529304" y="566535"/>
                  </a:cubicBezTo>
                  <a:cubicBezTo>
                    <a:pt x="500348" y="525768"/>
                    <a:pt x="448056" y="510718"/>
                    <a:pt x="400241" y="510623"/>
                  </a:cubicBezTo>
                  <a:cubicBezTo>
                    <a:pt x="305181" y="510147"/>
                    <a:pt x="210122" y="510623"/>
                    <a:pt x="115062" y="510432"/>
                  </a:cubicBezTo>
                  <a:close/>
                </a:path>
              </a:pathLst>
            </a:custGeom>
            <a:solidFill>
              <a:srgbClr val="000000"/>
            </a:solidFill>
            <a:ln w="9525" cap="flat">
              <a:noFill/>
              <a:prstDash val="solid"/>
              <a:miter/>
            </a:ln>
          </p:spPr>
          <p:txBody>
            <a:bodyPr rtlCol="0" anchor="ctr"/>
            <a:lstStyle/>
            <a:p>
              <a:endParaRPr lang="en-US" sz="900"/>
            </a:p>
          </p:txBody>
        </p:sp>
        <p:sp>
          <p:nvSpPr>
            <p:cNvPr id="31" name="Freeform: Shape 30">
              <a:extLst>
                <a:ext uri="{FF2B5EF4-FFF2-40B4-BE49-F238E27FC236}">
                  <a16:creationId xmlns:a16="http://schemas.microsoft.com/office/drawing/2014/main" id="{DAC6552B-CC29-F330-6668-3C653EA3A00C}"/>
                </a:ext>
              </a:extLst>
            </p:cNvPr>
            <p:cNvSpPr/>
            <p:nvPr/>
          </p:nvSpPr>
          <p:spPr>
            <a:xfrm>
              <a:off x="8079644" y="8629935"/>
              <a:ext cx="854868" cy="952499"/>
            </a:xfrm>
            <a:custGeom>
              <a:avLst/>
              <a:gdLst>
                <a:gd name="connsiteX0" fmla="*/ 0 w 854868"/>
                <a:gd name="connsiteY0" fmla="*/ 95 h 952499"/>
                <a:gd name="connsiteX1" fmla="*/ 153734 w 854868"/>
                <a:gd name="connsiteY1" fmla="*/ 95 h 952499"/>
                <a:gd name="connsiteX2" fmla="*/ 430530 w 854868"/>
                <a:gd name="connsiteY2" fmla="*/ 516827 h 952499"/>
                <a:gd name="connsiteX3" fmla="*/ 706946 w 854868"/>
                <a:gd name="connsiteY3" fmla="*/ 0 h 952499"/>
                <a:gd name="connsiteX4" fmla="*/ 854869 w 854868"/>
                <a:gd name="connsiteY4" fmla="*/ 0 h 952499"/>
                <a:gd name="connsiteX5" fmla="*/ 854869 w 854868"/>
                <a:gd name="connsiteY5" fmla="*/ 952500 h 952499"/>
                <a:gd name="connsiteX6" fmla="*/ 742569 w 854868"/>
                <a:gd name="connsiteY6" fmla="*/ 952500 h 952499"/>
                <a:gd name="connsiteX7" fmla="*/ 741521 w 854868"/>
                <a:gd name="connsiteY7" fmla="*/ 146780 h 952499"/>
                <a:gd name="connsiteX8" fmla="*/ 707422 w 854868"/>
                <a:gd name="connsiteY8" fmla="*/ 207074 h 952499"/>
                <a:gd name="connsiteX9" fmla="*/ 427577 w 854868"/>
                <a:gd name="connsiteY9" fmla="*/ 725138 h 952499"/>
                <a:gd name="connsiteX10" fmla="*/ 193262 w 854868"/>
                <a:gd name="connsiteY10" fmla="*/ 297752 h 952499"/>
                <a:gd name="connsiteX11" fmla="*/ 113348 w 854868"/>
                <a:gd name="connsiteY11" fmla="*/ 146209 h 952499"/>
                <a:gd name="connsiteX12" fmla="*/ 112300 w 854868"/>
                <a:gd name="connsiteY12" fmla="*/ 952500 h 952499"/>
                <a:gd name="connsiteX13" fmla="*/ 0 w 854868"/>
                <a:gd name="connsiteY13" fmla="*/ 952500 h 952499"/>
                <a:gd name="connsiteX14" fmla="*/ 0 w 854868"/>
                <a:gd name="connsiteY14" fmla="*/ 95 h 952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54868" h="952499">
                  <a:moveTo>
                    <a:pt x="0" y="95"/>
                  </a:moveTo>
                  <a:cubicBezTo>
                    <a:pt x="51245" y="95"/>
                    <a:pt x="102489" y="95"/>
                    <a:pt x="153734" y="95"/>
                  </a:cubicBezTo>
                  <a:cubicBezTo>
                    <a:pt x="246221" y="172212"/>
                    <a:pt x="335090" y="346424"/>
                    <a:pt x="430530" y="516827"/>
                  </a:cubicBezTo>
                  <a:cubicBezTo>
                    <a:pt x="522923" y="344615"/>
                    <a:pt x="614744" y="172212"/>
                    <a:pt x="706946" y="0"/>
                  </a:cubicBezTo>
                  <a:lnTo>
                    <a:pt x="854869" y="0"/>
                  </a:lnTo>
                  <a:lnTo>
                    <a:pt x="854869" y="952500"/>
                  </a:lnTo>
                  <a:lnTo>
                    <a:pt x="742569" y="952500"/>
                  </a:lnTo>
                  <a:cubicBezTo>
                    <a:pt x="741902" y="683895"/>
                    <a:pt x="743998" y="415290"/>
                    <a:pt x="741521" y="146780"/>
                  </a:cubicBezTo>
                  <a:cubicBezTo>
                    <a:pt x="726948" y="164973"/>
                    <a:pt x="717613" y="186404"/>
                    <a:pt x="707422" y="207074"/>
                  </a:cubicBezTo>
                  <a:cubicBezTo>
                    <a:pt x="619982" y="382810"/>
                    <a:pt x="520541" y="552260"/>
                    <a:pt x="427577" y="725138"/>
                  </a:cubicBezTo>
                  <a:cubicBezTo>
                    <a:pt x="349472" y="582644"/>
                    <a:pt x="270510" y="440722"/>
                    <a:pt x="193262" y="297752"/>
                  </a:cubicBezTo>
                  <a:cubicBezTo>
                    <a:pt x="165830" y="247650"/>
                    <a:pt x="145161" y="193739"/>
                    <a:pt x="113348" y="146209"/>
                  </a:cubicBezTo>
                  <a:cubicBezTo>
                    <a:pt x="110966" y="415004"/>
                    <a:pt x="112967" y="683705"/>
                    <a:pt x="112300" y="952500"/>
                  </a:cubicBezTo>
                  <a:lnTo>
                    <a:pt x="0" y="952500"/>
                  </a:lnTo>
                  <a:lnTo>
                    <a:pt x="0" y="95"/>
                  </a:lnTo>
                  <a:close/>
                </a:path>
              </a:pathLst>
            </a:custGeom>
            <a:solidFill>
              <a:srgbClr val="000000"/>
            </a:solidFill>
            <a:ln w="9525" cap="flat">
              <a:noFill/>
              <a:prstDash val="solid"/>
              <a:miter/>
            </a:ln>
          </p:spPr>
          <p:txBody>
            <a:bodyPr rtlCol="0" anchor="ctr"/>
            <a:lstStyle/>
            <a:p>
              <a:endParaRPr lang="en-US" sz="900"/>
            </a:p>
          </p:txBody>
        </p:sp>
        <p:sp>
          <p:nvSpPr>
            <p:cNvPr id="32" name="Freeform: Shape 31">
              <a:extLst>
                <a:ext uri="{FF2B5EF4-FFF2-40B4-BE49-F238E27FC236}">
                  <a16:creationId xmlns:a16="http://schemas.microsoft.com/office/drawing/2014/main" id="{19266CF2-A3CF-C8D9-7BB9-06D2E42E9729}"/>
                </a:ext>
              </a:extLst>
            </p:cNvPr>
            <p:cNvSpPr/>
            <p:nvPr/>
          </p:nvSpPr>
          <p:spPr>
            <a:xfrm>
              <a:off x="9365138" y="8630030"/>
              <a:ext cx="723900" cy="952500"/>
            </a:xfrm>
            <a:custGeom>
              <a:avLst/>
              <a:gdLst>
                <a:gd name="connsiteX0" fmla="*/ 0 w 723900"/>
                <a:gd name="connsiteY0" fmla="*/ 0 h 952500"/>
                <a:gd name="connsiteX1" fmla="*/ 723900 w 723900"/>
                <a:gd name="connsiteY1" fmla="*/ 0 h 952500"/>
                <a:gd name="connsiteX2" fmla="*/ 723900 w 723900"/>
                <a:gd name="connsiteY2" fmla="*/ 184595 h 952500"/>
                <a:gd name="connsiteX3" fmla="*/ 465963 w 723900"/>
                <a:gd name="connsiteY3" fmla="*/ 184499 h 952500"/>
                <a:gd name="connsiteX4" fmla="*/ 465963 w 723900"/>
                <a:gd name="connsiteY4" fmla="*/ 952500 h 952500"/>
                <a:gd name="connsiteX5" fmla="*/ 257937 w 723900"/>
                <a:gd name="connsiteY5" fmla="*/ 952500 h 952500"/>
                <a:gd name="connsiteX6" fmla="*/ 257937 w 723900"/>
                <a:gd name="connsiteY6" fmla="*/ 184595 h 952500"/>
                <a:gd name="connsiteX7" fmla="*/ 0 w 723900"/>
                <a:gd name="connsiteY7" fmla="*/ 184595 h 952500"/>
                <a:gd name="connsiteX8" fmla="*/ 0 w 723900"/>
                <a:gd name="connsiteY8" fmla="*/ 0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3900" h="952500">
                  <a:moveTo>
                    <a:pt x="0" y="0"/>
                  </a:moveTo>
                  <a:lnTo>
                    <a:pt x="723900" y="0"/>
                  </a:lnTo>
                  <a:lnTo>
                    <a:pt x="723900" y="184595"/>
                  </a:lnTo>
                  <a:cubicBezTo>
                    <a:pt x="637889" y="184595"/>
                    <a:pt x="551879" y="184595"/>
                    <a:pt x="465963" y="184499"/>
                  </a:cubicBezTo>
                  <a:cubicBezTo>
                    <a:pt x="465868" y="440531"/>
                    <a:pt x="465963" y="696468"/>
                    <a:pt x="465963" y="952500"/>
                  </a:cubicBezTo>
                  <a:lnTo>
                    <a:pt x="257937" y="952500"/>
                  </a:lnTo>
                  <a:lnTo>
                    <a:pt x="257937" y="184595"/>
                  </a:lnTo>
                  <a:cubicBezTo>
                    <a:pt x="172021" y="184499"/>
                    <a:pt x="86011" y="184595"/>
                    <a:pt x="0" y="184595"/>
                  </a:cubicBezTo>
                  <a:lnTo>
                    <a:pt x="0" y="0"/>
                  </a:lnTo>
                  <a:close/>
                </a:path>
              </a:pathLst>
            </a:custGeom>
            <a:solidFill>
              <a:srgbClr val="000000"/>
            </a:solidFill>
            <a:ln w="9525" cap="flat">
              <a:noFill/>
              <a:prstDash val="solid"/>
              <a:miter/>
            </a:ln>
          </p:spPr>
          <p:txBody>
            <a:bodyPr rtlCol="0" anchor="ctr"/>
            <a:lstStyle/>
            <a:p>
              <a:endParaRPr lang="en-US" sz="900"/>
            </a:p>
          </p:txBody>
        </p:sp>
        <p:sp>
          <p:nvSpPr>
            <p:cNvPr id="33" name="Freeform: Shape 32">
              <a:extLst>
                <a:ext uri="{FF2B5EF4-FFF2-40B4-BE49-F238E27FC236}">
                  <a16:creationId xmlns:a16="http://schemas.microsoft.com/office/drawing/2014/main" id="{F944B8FF-4796-89E0-ECF1-D2DAE08721F7}"/>
                </a:ext>
              </a:extLst>
            </p:cNvPr>
            <p:cNvSpPr/>
            <p:nvPr/>
          </p:nvSpPr>
          <p:spPr>
            <a:xfrm>
              <a:off x="12344082" y="8630030"/>
              <a:ext cx="875252" cy="952622"/>
            </a:xfrm>
            <a:custGeom>
              <a:avLst/>
              <a:gdLst>
                <a:gd name="connsiteX0" fmla="*/ 14954 w 875252"/>
                <a:gd name="connsiteY0" fmla="*/ 0 h 952622"/>
                <a:gd name="connsiteX1" fmla="*/ 257080 w 875252"/>
                <a:gd name="connsiteY1" fmla="*/ 0 h 952622"/>
                <a:gd name="connsiteX2" fmla="*/ 444627 w 875252"/>
                <a:gd name="connsiteY2" fmla="*/ 324612 h 952622"/>
                <a:gd name="connsiteX3" fmla="*/ 634555 w 875252"/>
                <a:gd name="connsiteY3" fmla="*/ 95 h 952622"/>
                <a:gd name="connsiteX4" fmla="*/ 858869 w 875252"/>
                <a:gd name="connsiteY4" fmla="*/ 95 h 952622"/>
                <a:gd name="connsiteX5" fmla="*/ 565499 w 875252"/>
                <a:gd name="connsiteY5" fmla="*/ 464058 h 952622"/>
                <a:gd name="connsiteX6" fmla="*/ 875252 w 875252"/>
                <a:gd name="connsiteY6" fmla="*/ 952595 h 952622"/>
                <a:gd name="connsiteX7" fmla="*/ 634555 w 875252"/>
                <a:gd name="connsiteY7" fmla="*/ 952595 h 952622"/>
                <a:gd name="connsiteX8" fmla="*/ 426625 w 875252"/>
                <a:gd name="connsiteY8" fmla="*/ 599504 h 952622"/>
                <a:gd name="connsiteX9" fmla="*/ 224314 w 875252"/>
                <a:gd name="connsiteY9" fmla="*/ 952595 h 952622"/>
                <a:gd name="connsiteX10" fmla="*/ 0 w 875252"/>
                <a:gd name="connsiteY10" fmla="*/ 952595 h 952622"/>
                <a:gd name="connsiteX11" fmla="*/ 305562 w 875252"/>
                <a:gd name="connsiteY11" fmla="*/ 459867 h 952622"/>
                <a:gd name="connsiteX12" fmla="*/ 14954 w 875252"/>
                <a:gd name="connsiteY12" fmla="*/ 95 h 952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75252" h="952622">
                  <a:moveTo>
                    <a:pt x="14954" y="0"/>
                  </a:moveTo>
                  <a:cubicBezTo>
                    <a:pt x="95631" y="0"/>
                    <a:pt x="176308" y="0"/>
                    <a:pt x="257080" y="0"/>
                  </a:cubicBezTo>
                  <a:cubicBezTo>
                    <a:pt x="319754" y="108109"/>
                    <a:pt x="381381" y="216789"/>
                    <a:pt x="444627" y="324612"/>
                  </a:cubicBezTo>
                  <a:cubicBezTo>
                    <a:pt x="508064" y="216503"/>
                    <a:pt x="571119" y="108204"/>
                    <a:pt x="634555" y="95"/>
                  </a:cubicBezTo>
                  <a:lnTo>
                    <a:pt x="858869" y="95"/>
                  </a:lnTo>
                  <a:cubicBezTo>
                    <a:pt x="761143" y="154781"/>
                    <a:pt x="663321" y="309372"/>
                    <a:pt x="565499" y="464058"/>
                  </a:cubicBezTo>
                  <a:cubicBezTo>
                    <a:pt x="668750" y="626840"/>
                    <a:pt x="772001" y="789718"/>
                    <a:pt x="875252" y="952595"/>
                  </a:cubicBezTo>
                  <a:cubicBezTo>
                    <a:pt x="795052" y="952691"/>
                    <a:pt x="714756" y="952500"/>
                    <a:pt x="634555" y="952595"/>
                  </a:cubicBezTo>
                  <a:cubicBezTo>
                    <a:pt x="565118" y="834962"/>
                    <a:pt x="496538" y="716852"/>
                    <a:pt x="426625" y="599504"/>
                  </a:cubicBezTo>
                  <a:cubicBezTo>
                    <a:pt x="358807" y="716947"/>
                    <a:pt x="291846" y="834962"/>
                    <a:pt x="224314" y="952595"/>
                  </a:cubicBezTo>
                  <a:lnTo>
                    <a:pt x="0" y="952595"/>
                  </a:lnTo>
                  <a:cubicBezTo>
                    <a:pt x="101822" y="788289"/>
                    <a:pt x="203740" y="624173"/>
                    <a:pt x="305562" y="459867"/>
                  </a:cubicBezTo>
                  <a:cubicBezTo>
                    <a:pt x="208693" y="306705"/>
                    <a:pt x="111823" y="153353"/>
                    <a:pt x="14954" y="95"/>
                  </a:cubicBezTo>
                  <a:close/>
                </a:path>
              </a:pathLst>
            </a:custGeom>
            <a:solidFill>
              <a:srgbClr val="000000"/>
            </a:solidFill>
            <a:ln w="9525" cap="flat">
              <a:noFill/>
              <a:prstDash val="solid"/>
              <a:miter/>
            </a:ln>
          </p:spPr>
          <p:txBody>
            <a:bodyPr rtlCol="0" anchor="ctr"/>
            <a:lstStyle/>
            <a:p>
              <a:endParaRPr lang="en-US" sz="900"/>
            </a:p>
          </p:txBody>
        </p:sp>
        <p:sp>
          <p:nvSpPr>
            <p:cNvPr id="34" name="Freeform: Shape 33">
              <a:extLst>
                <a:ext uri="{FF2B5EF4-FFF2-40B4-BE49-F238E27FC236}">
                  <a16:creationId xmlns:a16="http://schemas.microsoft.com/office/drawing/2014/main" id="{42DF0011-F527-8047-800F-7E155446FCD6}"/>
                </a:ext>
              </a:extLst>
            </p:cNvPr>
            <p:cNvSpPr/>
            <p:nvPr/>
          </p:nvSpPr>
          <p:spPr>
            <a:xfrm>
              <a:off x="16351421" y="8727139"/>
              <a:ext cx="728351" cy="1144977"/>
            </a:xfrm>
            <a:custGeom>
              <a:avLst/>
              <a:gdLst>
                <a:gd name="connsiteX0" fmla="*/ 509416 w 728351"/>
                <a:gd name="connsiteY0" fmla="*/ 14429 h 1144977"/>
                <a:gd name="connsiteX1" fmla="*/ 685629 w 728351"/>
                <a:gd name="connsiteY1" fmla="*/ 904 h 1144977"/>
                <a:gd name="connsiteX2" fmla="*/ 685724 w 728351"/>
                <a:gd name="connsiteY2" fmla="*/ 151304 h 1144977"/>
                <a:gd name="connsiteX3" fmla="*/ 522275 w 728351"/>
                <a:gd name="connsiteY3" fmla="*/ 152542 h 1144977"/>
                <a:gd name="connsiteX4" fmla="*/ 628097 w 728351"/>
                <a:gd name="connsiteY4" fmla="*/ 257031 h 1144977"/>
                <a:gd name="connsiteX5" fmla="*/ 595141 w 728351"/>
                <a:gd name="connsiteY5" fmla="*/ 517730 h 1144977"/>
                <a:gd name="connsiteX6" fmla="*/ 424834 w 728351"/>
                <a:gd name="connsiteY6" fmla="*/ 596312 h 1144977"/>
                <a:gd name="connsiteX7" fmla="*/ 215093 w 728351"/>
                <a:gd name="connsiteY7" fmla="*/ 586406 h 1144977"/>
                <a:gd name="connsiteX8" fmla="*/ 207664 w 728351"/>
                <a:gd name="connsiteY8" fmla="*/ 685561 h 1144977"/>
                <a:gd name="connsiteX9" fmla="*/ 352254 w 728351"/>
                <a:gd name="connsiteY9" fmla="*/ 698229 h 1144977"/>
                <a:gd name="connsiteX10" fmla="*/ 619430 w 728351"/>
                <a:gd name="connsiteY10" fmla="*/ 722327 h 1144977"/>
                <a:gd name="connsiteX11" fmla="*/ 722490 w 728351"/>
                <a:gd name="connsiteY11" fmla="*/ 848248 h 1144977"/>
                <a:gd name="connsiteX12" fmla="*/ 671818 w 728351"/>
                <a:gd name="connsiteY12" fmla="*/ 1060560 h 1144977"/>
                <a:gd name="connsiteX13" fmla="*/ 458933 w 728351"/>
                <a:gd name="connsiteY13" fmla="*/ 1139237 h 1144977"/>
                <a:gd name="connsiteX14" fmla="*/ 192615 w 728351"/>
                <a:gd name="connsiteY14" fmla="*/ 1135141 h 1144977"/>
                <a:gd name="connsiteX15" fmla="*/ 44406 w 728351"/>
                <a:gd name="connsiteY15" fmla="*/ 1078372 h 1144977"/>
                <a:gd name="connsiteX16" fmla="*/ 53168 w 728351"/>
                <a:gd name="connsiteY16" fmla="*/ 870060 h 1144977"/>
                <a:gd name="connsiteX17" fmla="*/ 132893 w 728351"/>
                <a:gd name="connsiteY17" fmla="*/ 840533 h 1144977"/>
                <a:gd name="connsiteX18" fmla="*/ 133845 w 728351"/>
                <a:gd name="connsiteY18" fmla="*/ 828817 h 1144977"/>
                <a:gd name="connsiteX19" fmla="*/ 74886 w 728351"/>
                <a:gd name="connsiteY19" fmla="*/ 800909 h 1144977"/>
                <a:gd name="connsiteX20" fmla="*/ 62407 w 728351"/>
                <a:gd name="connsiteY20" fmla="*/ 623458 h 1144977"/>
                <a:gd name="connsiteX21" fmla="*/ 167373 w 728351"/>
                <a:gd name="connsiteY21" fmla="*/ 571451 h 1144977"/>
                <a:gd name="connsiteX22" fmla="*/ 48883 w 728351"/>
                <a:gd name="connsiteY22" fmla="*/ 446293 h 1144977"/>
                <a:gd name="connsiteX23" fmla="*/ 89078 w 728351"/>
                <a:gd name="connsiteY23" fmla="*/ 211311 h 1144977"/>
                <a:gd name="connsiteX24" fmla="*/ 259099 w 728351"/>
                <a:gd name="connsiteY24" fmla="*/ 128444 h 1144977"/>
                <a:gd name="connsiteX25" fmla="*/ 463982 w 728351"/>
                <a:gd name="connsiteY25" fmla="*/ 135397 h 1144977"/>
                <a:gd name="connsiteX26" fmla="*/ 509416 w 728351"/>
                <a:gd name="connsiteY26" fmla="*/ 14429 h 1144977"/>
                <a:gd name="connsiteX27" fmla="*/ 299866 w 728351"/>
                <a:gd name="connsiteY27" fmla="*/ 260841 h 1144977"/>
                <a:gd name="connsiteX28" fmla="*/ 226714 w 728351"/>
                <a:gd name="connsiteY28" fmla="*/ 331612 h 1144977"/>
                <a:gd name="connsiteX29" fmla="*/ 251860 w 728351"/>
                <a:gd name="connsiteY29" fmla="*/ 441245 h 1144977"/>
                <a:gd name="connsiteX30" fmla="*/ 381210 w 728351"/>
                <a:gd name="connsiteY30" fmla="*/ 465724 h 1144977"/>
                <a:gd name="connsiteX31" fmla="*/ 458838 w 728351"/>
                <a:gd name="connsiteY31" fmla="*/ 397906 h 1144977"/>
                <a:gd name="connsiteX32" fmla="*/ 431216 w 728351"/>
                <a:gd name="connsiteY32" fmla="*/ 281320 h 1144977"/>
                <a:gd name="connsiteX33" fmla="*/ 299866 w 728351"/>
                <a:gd name="connsiteY33" fmla="*/ 260841 h 1144977"/>
                <a:gd name="connsiteX34" fmla="*/ 182613 w 728351"/>
                <a:gd name="connsiteY34" fmla="*/ 987218 h 1144977"/>
                <a:gd name="connsiteX35" fmla="*/ 343872 w 728351"/>
                <a:gd name="connsiteY35" fmla="*/ 1010554 h 1144977"/>
                <a:gd name="connsiteX36" fmla="*/ 507321 w 728351"/>
                <a:gd name="connsiteY36" fmla="*/ 990170 h 1144977"/>
                <a:gd name="connsiteX37" fmla="*/ 517321 w 728351"/>
                <a:gd name="connsiteY37" fmla="*/ 890158 h 1144977"/>
                <a:gd name="connsiteX38" fmla="*/ 428644 w 728351"/>
                <a:gd name="connsiteY38" fmla="*/ 870536 h 1144977"/>
                <a:gd name="connsiteX39" fmla="*/ 180994 w 728351"/>
                <a:gd name="connsiteY39" fmla="*/ 870155 h 1144977"/>
                <a:gd name="connsiteX40" fmla="*/ 182613 w 728351"/>
                <a:gd name="connsiteY40" fmla="*/ 987218 h 1144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28351" h="1144977">
                  <a:moveTo>
                    <a:pt x="509416" y="14429"/>
                  </a:moveTo>
                  <a:cubicBezTo>
                    <a:pt x="564471" y="-10431"/>
                    <a:pt x="627240" y="5381"/>
                    <a:pt x="685629" y="904"/>
                  </a:cubicBezTo>
                  <a:cubicBezTo>
                    <a:pt x="685629" y="51005"/>
                    <a:pt x="685629" y="101202"/>
                    <a:pt x="685724" y="151304"/>
                  </a:cubicBezTo>
                  <a:cubicBezTo>
                    <a:pt x="631146" y="151875"/>
                    <a:pt x="576663" y="150065"/>
                    <a:pt x="522275" y="152542"/>
                  </a:cubicBezTo>
                  <a:cubicBezTo>
                    <a:pt x="564185" y="179498"/>
                    <a:pt x="607809" y="209311"/>
                    <a:pt x="628097" y="257031"/>
                  </a:cubicBezTo>
                  <a:cubicBezTo>
                    <a:pt x="665245" y="340280"/>
                    <a:pt x="658673" y="448769"/>
                    <a:pt x="595141" y="517730"/>
                  </a:cubicBezTo>
                  <a:cubicBezTo>
                    <a:pt x="551136" y="564879"/>
                    <a:pt x="487223" y="587168"/>
                    <a:pt x="424834" y="596312"/>
                  </a:cubicBezTo>
                  <a:cubicBezTo>
                    <a:pt x="355112" y="605551"/>
                    <a:pt x="283388" y="603932"/>
                    <a:pt x="215093" y="586406"/>
                  </a:cubicBezTo>
                  <a:cubicBezTo>
                    <a:pt x="183757" y="608123"/>
                    <a:pt x="170231" y="663177"/>
                    <a:pt x="207664" y="685561"/>
                  </a:cubicBezTo>
                  <a:cubicBezTo>
                    <a:pt x="252527" y="707087"/>
                    <a:pt x="304247" y="695181"/>
                    <a:pt x="352254" y="698229"/>
                  </a:cubicBezTo>
                  <a:cubicBezTo>
                    <a:pt x="441312" y="701277"/>
                    <a:pt x="534848" y="687085"/>
                    <a:pt x="619430" y="722327"/>
                  </a:cubicBezTo>
                  <a:cubicBezTo>
                    <a:pt x="672484" y="743282"/>
                    <a:pt x="712108" y="792241"/>
                    <a:pt x="722490" y="848248"/>
                  </a:cubicBezTo>
                  <a:cubicBezTo>
                    <a:pt x="736301" y="921019"/>
                    <a:pt x="728110" y="1006744"/>
                    <a:pt x="671818" y="1060560"/>
                  </a:cubicBezTo>
                  <a:cubicBezTo>
                    <a:pt x="614857" y="1114281"/>
                    <a:pt x="534086" y="1130283"/>
                    <a:pt x="458933" y="1139237"/>
                  </a:cubicBezTo>
                  <a:cubicBezTo>
                    <a:pt x="370447" y="1147428"/>
                    <a:pt x="280721" y="1147524"/>
                    <a:pt x="192615" y="1135141"/>
                  </a:cubicBezTo>
                  <a:cubicBezTo>
                    <a:pt x="140322" y="1126473"/>
                    <a:pt x="85744" y="1113233"/>
                    <a:pt x="44406" y="1078372"/>
                  </a:cubicBezTo>
                  <a:cubicBezTo>
                    <a:pt x="-17698" y="1026937"/>
                    <a:pt x="-14554" y="915209"/>
                    <a:pt x="53168" y="870060"/>
                  </a:cubicBezTo>
                  <a:cubicBezTo>
                    <a:pt x="76505" y="852820"/>
                    <a:pt x="105461" y="847867"/>
                    <a:pt x="132893" y="840533"/>
                  </a:cubicBezTo>
                  <a:cubicBezTo>
                    <a:pt x="133179" y="837580"/>
                    <a:pt x="133560" y="831674"/>
                    <a:pt x="133845" y="828817"/>
                  </a:cubicBezTo>
                  <a:cubicBezTo>
                    <a:pt x="113747" y="820149"/>
                    <a:pt x="91459" y="815577"/>
                    <a:pt x="74886" y="800909"/>
                  </a:cubicBezTo>
                  <a:cubicBezTo>
                    <a:pt x="22880" y="759475"/>
                    <a:pt x="13259" y="670702"/>
                    <a:pt x="62407" y="623458"/>
                  </a:cubicBezTo>
                  <a:cubicBezTo>
                    <a:pt x="90411" y="594597"/>
                    <a:pt x="130036" y="582786"/>
                    <a:pt x="167373" y="571451"/>
                  </a:cubicBezTo>
                  <a:cubicBezTo>
                    <a:pt x="114129" y="546401"/>
                    <a:pt x="66980" y="503538"/>
                    <a:pt x="48883" y="446293"/>
                  </a:cubicBezTo>
                  <a:cubicBezTo>
                    <a:pt x="23546" y="368283"/>
                    <a:pt x="33357" y="274271"/>
                    <a:pt x="89078" y="211311"/>
                  </a:cubicBezTo>
                  <a:cubicBezTo>
                    <a:pt x="132036" y="162448"/>
                    <a:pt x="196043" y="138159"/>
                    <a:pt x="259099" y="128444"/>
                  </a:cubicBezTo>
                  <a:cubicBezTo>
                    <a:pt x="327012" y="118728"/>
                    <a:pt x="396925" y="119871"/>
                    <a:pt x="463982" y="135397"/>
                  </a:cubicBezTo>
                  <a:cubicBezTo>
                    <a:pt x="462457" y="91963"/>
                    <a:pt x="465697" y="37289"/>
                    <a:pt x="509416" y="14429"/>
                  </a:cubicBezTo>
                  <a:moveTo>
                    <a:pt x="299866" y="260841"/>
                  </a:moveTo>
                  <a:cubicBezTo>
                    <a:pt x="264243" y="267223"/>
                    <a:pt x="231476" y="294464"/>
                    <a:pt x="226714" y="331612"/>
                  </a:cubicBezTo>
                  <a:cubicBezTo>
                    <a:pt x="221476" y="368855"/>
                    <a:pt x="221571" y="413908"/>
                    <a:pt x="251860" y="441245"/>
                  </a:cubicBezTo>
                  <a:cubicBezTo>
                    <a:pt x="286817" y="471534"/>
                    <a:pt x="337585" y="472201"/>
                    <a:pt x="381210" y="465724"/>
                  </a:cubicBezTo>
                  <a:cubicBezTo>
                    <a:pt x="417214" y="460676"/>
                    <a:pt x="452171" y="435339"/>
                    <a:pt x="458838" y="397906"/>
                  </a:cubicBezTo>
                  <a:cubicBezTo>
                    <a:pt x="465315" y="358282"/>
                    <a:pt x="465315" y="308942"/>
                    <a:pt x="431216" y="281320"/>
                  </a:cubicBezTo>
                  <a:cubicBezTo>
                    <a:pt x="394164" y="253221"/>
                    <a:pt x="343586" y="252935"/>
                    <a:pt x="299866" y="260841"/>
                  </a:cubicBezTo>
                  <a:moveTo>
                    <a:pt x="182613" y="987218"/>
                  </a:moveTo>
                  <a:cubicBezTo>
                    <a:pt x="230810" y="1015888"/>
                    <a:pt x="289960" y="1009411"/>
                    <a:pt x="343872" y="1010554"/>
                  </a:cubicBezTo>
                  <a:cubicBezTo>
                    <a:pt x="398354" y="1009411"/>
                    <a:pt x="457124" y="1016078"/>
                    <a:pt x="507321" y="990170"/>
                  </a:cubicBezTo>
                  <a:cubicBezTo>
                    <a:pt x="543135" y="972073"/>
                    <a:pt x="550183" y="914256"/>
                    <a:pt x="517321" y="890158"/>
                  </a:cubicBezTo>
                  <a:cubicBezTo>
                    <a:pt x="491509" y="872346"/>
                    <a:pt x="458744" y="871394"/>
                    <a:pt x="428644" y="870536"/>
                  </a:cubicBezTo>
                  <a:cubicBezTo>
                    <a:pt x="346062" y="870155"/>
                    <a:pt x="263481" y="871013"/>
                    <a:pt x="180994" y="870155"/>
                  </a:cubicBezTo>
                  <a:cubicBezTo>
                    <a:pt x="153467" y="902064"/>
                    <a:pt x="142608" y="960548"/>
                    <a:pt x="182613" y="987218"/>
                  </a:cubicBezTo>
                  <a:close/>
                </a:path>
              </a:pathLst>
            </a:custGeom>
            <a:solidFill>
              <a:srgbClr val="000000"/>
            </a:solidFill>
            <a:ln w="9525" cap="flat">
              <a:noFill/>
              <a:prstDash val="solid"/>
              <a:miter/>
            </a:ln>
          </p:spPr>
          <p:txBody>
            <a:bodyPr rtlCol="0" anchor="ctr"/>
            <a:lstStyle/>
            <a:p>
              <a:endParaRPr lang="en-US" sz="900"/>
            </a:p>
          </p:txBody>
        </p:sp>
        <p:sp>
          <p:nvSpPr>
            <p:cNvPr id="35" name="Freeform: Shape 34">
              <a:extLst>
                <a:ext uri="{FF2B5EF4-FFF2-40B4-BE49-F238E27FC236}">
                  <a16:creationId xmlns:a16="http://schemas.microsoft.com/office/drawing/2014/main" id="{53871B77-82D8-9E96-7FDF-19E07894D012}"/>
                </a:ext>
              </a:extLst>
            </p:cNvPr>
            <p:cNvSpPr/>
            <p:nvPr/>
          </p:nvSpPr>
          <p:spPr>
            <a:xfrm>
              <a:off x="10085832" y="8849421"/>
              <a:ext cx="669369" cy="749856"/>
            </a:xfrm>
            <a:custGeom>
              <a:avLst/>
              <a:gdLst>
                <a:gd name="connsiteX0" fmla="*/ 260667 w 669369"/>
                <a:gd name="connsiteY0" fmla="*/ 6542 h 749856"/>
                <a:gd name="connsiteX1" fmla="*/ 515461 w 669369"/>
                <a:gd name="connsiteY1" fmla="*/ 44071 h 749856"/>
                <a:gd name="connsiteX2" fmla="*/ 650335 w 669369"/>
                <a:gd name="connsiteY2" fmla="*/ 226855 h 749856"/>
                <a:gd name="connsiteX3" fmla="*/ 669099 w 669369"/>
                <a:gd name="connsiteY3" fmla="*/ 426404 h 749856"/>
                <a:gd name="connsiteX4" fmla="*/ 208470 w 669369"/>
                <a:gd name="connsiteY4" fmla="*/ 426404 h 749856"/>
                <a:gd name="connsiteX5" fmla="*/ 248666 w 669369"/>
                <a:gd name="connsiteY5" fmla="*/ 550039 h 749856"/>
                <a:gd name="connsiteX6" fmla="*/ 408590 w 669369"/>
                <a:gd name="connsiteY6" fmla="*/ 587472 h 749856"/>
                <a:gd name="connsiteX7" fmla="*/ 543464 w 669369"/>
                <a:gd name="connsiteY7" fmla="*/ 505081 h 749856"/>
                <a:gd name="connsiteX8" fmla="*/ 645001 w 669369"/>
                <a:gd name="connsiteY8" fmla="*/ 630239 h 749856"/>
                <a:gd name="connsiteX9" fmla="*/ 370110 w 669369"/>
                <a:gd name="connsiteY9" fmla="*/ 749111 h 749856"/>
                <a:gd name="connsiteX10" fmla="*/ 115697 w 669369"/>
                <a:gd name="connsiteY10" fmla="*/ 673673 h 749856"/>
                <a:gd name="connsiteX11" fmla="*/ 2444 w 669369"/>
                <a:gd name="connsiteY11" fmla="*/ 428785 h 749856"/>
                <a:gd name="connsiteX12" fmla="*/ 63881 w 669369"/>
                <a:gd name="connsiteY12" fmla="*/ 132082 h 749856"/>
                <a:gd name="connsiteX13" fmla="*/ 260667 w 669369"/>
                <a:gd name="connsiteY13" fmla="*/ 6542 h 749856"/>
                <a:gd name="connsiteX14" fmla="*/ 236283 w 669369"/>
                <a:gd name="connsiteY14" fmla="*/ 199900 h 749856"/>
                <a:gd name="connsiteX15" fmla="*/ 208375 w 669369"/>
                <a:gd name="connsiteY15" fmla="*/ 307246 h 749856"/>
                <a:gd name="connsiteX16" fmla="*/ 460216 w 669369"/>
                <a:gd name="connsiteY16" fmla="*/ 307246 h 749856"/>
                <a:gd name="connsiteX17" fmla="*/ 429450 w 669369"/>
                <a:gd name="connsiteY17" fmla="*/ 188851 h 749856"/>
                <a:gd name="connsiteX18" fmla="*/ 236283 w 669369"/>
                <a:gd name="connsiteY18" fmla="*/ 199900 h 74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9369" h="749856">
                  <a:moveTo>
                    <a:pt x="260667" y="6542"/>
                  </a:moveTo>
                  <a:cubicBezTo>
                    <a:pt x="346297" y="-7650"/>
                    <a:pt x="439261" y="-316"/>
                    <a:pt x="515461" y="44071"/>
                  </a:cubicBezTo>
                  <a:cubicBezTo>
                    <a:pt x="583279" y="83123"/>
                    <a:pt x="629285" y="152465"/>
                    <a:pt x="650335" y="226855"/>
                  </a:cubicBezTo>
                  <a:cubicBezTo>
                    <a:pt x="669956" y="291435"/>
                    <a:pt x="669956" y="359539"/>
                    <a:pt x="669099" y="426404"/>
                  </a:cubicBezTo>
                  <a:cubicBezTo>
                    <a:pt x="515556" y="426404"/>
                    <a:pt x="362013" y="426404"/>
                    <a:pt x="208470" y="426404"/>
                  </a:cubicBezTo>
                  <a:cubicBezTo>
                    <a:pt x="208565" y="470124"/>
                    <a:pt x="215900" y="518035"/>
                    <a:pt x="248666" y="550039"/>
                  </a:cubicBezTo>
                  <a:cubicBezTo>
                    <a:pt x="290004" y="590806"/>
                    <a:pt x="353822" y="596140"/>
                    <a:pt x="408590" y="587472"/>
                  </a:cubicBezTo>
                  <a:cubicBezTo>
                    <a:pt x="462693" y="579090"/>
                    <a:pt x="506603" y="543181"/>
                    <a:pt x="543464" y="505081"/>
                  </a:cubicBezTo>
                  <a:cubicBezTo>
                    <a:pt x="577373" y="546705"/>
                    <a:pt x="610235" y="589282"/>
                    <a:pt x="645001" y="630239"/>
                  </a:cubicBezTo>
                  <a:cubicBezTo>
                    <a:pt x="576993" y="708916"/>
                    <a:pt x="471741" y="744920"/>
                    <a:pt x="370110" y="749111"/>
                  </a:cubicBezTo>
                  <a:cubicBezTo>
                    <a:pt x="280384" y="754159"/>
                    <a:pt x="184848" y="734062"/>
                    <a:pt x="115697" y="673673"/>
                  </a:cubicBezTo>
                  <a:cubicBezTo>
                    <a:pt x="44640" y="613094"/>
                    <a:pt x="10255" y="519844"/>
                    <a:pt x="2444" y="428785"/>
                  </a:cubicBezTo>
                  <a:cubicBezTo>
                    <a:pt x="-6128" y="327249"/>
                    <a:pt x="6350" y="218664"/>
                    <a:pt x="63881" y="132082"/>
                  </a:cubicBezTo>
                  <a:cubicBezTo>
                    <a:pt x="107886" y="64645"/>
                    <a:pt x="181800" y="19972"/>
                    <a:pt x="260667" y="6542"/>
                  </a:cubicBezTo>
                  <a:moveTo>
                    <a:pt x="236283" y="199900"/>
                  </a:moveTo>
                  <a:cubicBezTo>
                    <a:pt x="213804" y="230856"/>
                    <a:pt x="209042" y="270004"/>
                    <a:pt x="208375" y="307246"/>
                  </a:cubicBezTo>
                  <a:lnTo>
                    <a:pt x="460216" y="307246"/>
                  </a:lnTo>
                  <a:cubicBezTo>
                    <a:pt x="459835" y="266289"/>
                    <a:pt x="455930" y="222093"/>
                    <a:pt x="429450" y="188851"/>
                  </a:cubicBezTo>
                  <a:cubicBezTo>
                    <a:pt x="382111" y="129700"/>
                    <a:pt x="278003" y="138273"/>
                    <a:pt x="236283" y="199900"/>
                  </a:cubicBezTo>
                  <a:close/>
                </a:path>
              </a:pathLst>
            </a:custGeom>
            <a:solidFill>
              <a:srgbClr val="000000"/>
            </a:solidFill>
            <a:ln w="9525" cap="flat">
              <a:noFill/>
              <a:prstDash val="solid"/>
              <a:miter/>
            </a:ln>
          </p:spPr>
          <p:txBody>
            <a:bodyPr rtlCol="0" anchor="ctr"/>
            <a:lstStyle/>
            <a:p>
              <a:endParaRPr lang="en-US" sz="900"/>
            </a:p>
          </p:txBody>
        </p:sp>
        <p:sp>
          <p:nvSpPr>
            <p:cNvPr id="36" name="Freeform: Shape 35">
              <a:extLst>
                <a:ext uri="{FF2B5EF4-FFF2-40B4-BE49-F238E27FC236}">
                  <a16:creationId xmlns:a16="http://schemas.microsoft.com/office/drawing/2014/main" id="{08EB9A85-89C6-1EC3-5478-A8F89D67749A}"/>
                </a:ext>
              </a:extLst>
            </p:cNvPr>
            <p:cNvSpPr/>
            <p:nvPr/>
          </p:nvSpPr>
          <p:spPr>
            <a:xfrm>
              <a:off x="10852675" y="8849297"/>
              <a:ext cx="625965" cy="749878"/>
            </a:xfrm>
            <a:custGeom>
              <a:avLst/>
              <a:gdLst>
                <a:gd name="connsiteX0" fmla="*/ 115044 w 625965"/>
                <a:gd name="connsiteY0" fmla="*/ 72770 h 749878"/>
                <a:gd name="connsiteX1" fmla="*/ 437561 w 625965"/>
                <a:gd name="connsiteY1" fmla="*/ 13810 h 749878"/>
                <a:gd name="connsiteX2" fmla="*/ 621870 w 625965"/>
                <a:gd name="connsiteY2" fmla="*/ 187165 h 749878"/>
                <a:gd name="connsiteX3" fmla="*/ 458230 w 625965"/>
                <a:gd name="connsiteY3" fmla="*/ 258221 h 749878"/>
                <a:gd name="connsiteX4" fmla="*/ 411843 w 625965"/>
                <a:gd name="connsiteY4" fmla="*/ 184117 h 749878"/>
                <a:gd name="connsiteX5" fmla="*/ 233916 w 625965"/>
                <a:gd name="connsiteY5" fmla="*/ 212120 h 749878"/>
                <a:gd name="connsiteX6" fmla="*/ 210771 w 625965"/>
                <a:gd name="connsiteY6" fmla="*/ 371093 h 749878"/>
                <a:gd name="connsiteX7" fmla="*/ 230868 w 625965"/>
                <a:gd name="connsiteY7" fmla="*/ 533684 h 749878"/>
                <a:gd name="connsiteX8" fmla="*/ 439371 w 625965"/>
                <a:gd name="connsiteY8" fmla="*/ 540352 h 749878"/>
                <a:gd name="connsiteX9" fmla="*/ 468708 w 625965"/>
                <a:gd name="connsiteY9" fmla="*/ 483392 h 749878"/>
                <a:gd name="connsiteX10" fmla="*/ 625965 w 625965"/>
                <a:gd name="connsiteY10" fmla="*/ 551782 h 749878"/>
                <a:gd name="connsiteX11" fmla="*/ 521095 w 625965"/>
                <a:gd name="connsiteY11" fmla="*/ 697800 h 749878"/>
                <a:gd name="connsiteX12" fmla="*/ 271921 w 625965"/>
                <a:gd name="connsiteY12" fmla="*/ 745425 h 749878"/>
                <a:gd name="connsiteX13" fmla="*/ 70086 w 625965"/>
                <a:gd name="connsiteY13" fmla="*/ 627696 h 749878"/>
                <a:gd name="connsiteX14" fmla="*/ 1316 w 625965"/>
                <a:gd name="connsiteY14" fmla="*/ 333183 h 749878"/>
                <a:gd name="connsiteX15" fmla="*/ 115044 w 625965"/>
                <a:gd name="connsiteY15" fmla="*/ 72770 h 749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5965" h="749878">
                  <a:moveTo>
                    <a:pt x="115044" y="72770"/>
                  </a:moveTo>
                  <a:cubicBezTo>
                    <a:pt x="202770" y="-1430"/>
                    <a:pt x="329357" y="-14479"/>
                    <a:pt x="437561" y="13810"/>
                  </a:cubicBezTo>
                  <a:cubicBezTo>
                    <a:pt x="523476" y="36003"/>
                    <a:pt x="592628" y="104202"/>
                    <a:pt x="621870" y="187165"/>
                  </a:cubicBezTo>
                  <a:cubicBezTo>
                    <a:pt x="567387" y="211073"/>
                    <a:pt x="512713" y="234504"/>
                    <a:pt x="458230" y="258221"/>
                  </a:cubicBezTo>
                  <a:cubicBezTo>
                    <a:pt x="449086" y="230313"/>
                    <a:pt x="436418" y="201738"/>
                    <a:pt x="411843" y="184117"/>
                  </a:cubicBezTo>
                  <a:cubicBezTo>
                    <a:pt x="358503" y="144969"/>
                    <a:pt x="269445" y="152494"/>
                    <a:pt x="233916" y="212120"/>
                  </a:cubicBezTo>
                  <a:cubicBezTo>
                    <a:pt x="204294" y="259650"/>
                    <a:pt x="211342" y="317753"/>
                    <a:pt x="210771" y="371093"/>
                  </a:cubicBezTo>
                  <a:cubicBezTo>
                    <a:pt x="212104" y="425385"/>
                    <a:pt x="203055" y="484059"/>
                    <a:pt x="230868" y="533684"/>
                  </a:cubicBezTo>
                  <a:cubicBezTo>
                    <a:pt x="271350" y="608265"/>
                    <a:pt x="392317" y="607884"/>
                    <a:pt x="439371" y="540352"/>
                  </a:cubicBezTo>
                  <a:cubicBezTo>
                    <a:pt x="452134" y="523112"/>
                    <a:pt x="460135" y="502919"/>
                    <a:pt x="468708" y="483392"/>
                  </a:cubicBezTo>
                  <a:cubicBezTo>
                    <a:pt x="521095" y="506252"/>
                    <a:pt x="573578" y="528922"/>
                    <a:pt x="625965" y="551782"/>
                  </a:cubicBezTo>
                  <a:cubicBezTo>
                    <a:pt x="605106" y="608741"/>
                    <a:pt x="571673" y="662939"/>
                    <a:pt x="521095" y="697800"/>
                  </a:cubicBezTo>
                  <a:cubicBezTo>
                    <a:pt x="449372" y="748092"/>
                    <a:pt x="356598" y="756855"/>
                    <a:pt x="271921" y="745425"/>
                  </a:cubicBezTo>
                  <a:cubicBezTo>
                    <a:pt x="192673" y="734757"/>
                    <a:pt x="116473" y="693800"/>
                    <a:pt x="70086" y="627696"/>
                  </a:cubicBezTo>
                  <a:cubicBezTo>
                    <a:pt x="9603" y="543114"/>
                    <a:pt x="-4876" y="434624"/>
                    <a:pt x="1316" y="333183"/>
                  </a:cubicBezTo>
                  <a:cubicBezTo>
                    <a:pt x="7031" y="237171"/>
                    <a:pt x="39702" y="136778"/>
                    <a:pt x="115044" y="72770"/>
                  </a:cubicBezTo>
                  <a:close/>
                </a:path>
              </a:pathLst>
            </a:custGeom>
            <a:solidFill>
              <a:srgbClr val="000000"/>
            </a:solidFill>
            <a:ln w="9525" cap="flat">
              <a:noFill/>
              <a:prstDash val="solid"/>
              <a:miter/>
            </a:ln>
          </p:spPr>
          <p:txBody>
            <a:bodyPr rtlCol="0" anchor="ctr"/>
            <a:lstStyle/>
            <a:p>
              <a:endParaRPr lang="en-US" sz="900"/>
            </a:p>
          </p:txBody>
        </p:sp>
        <p:sp>
          <p:nvSpPr>
            <p:cNvPr id="37" name="Freeform: Shape 36">
              <a:extLst>
                <a:ext uri="{FF2B5EF4-FFF2-40B4-BE49-F238E27FC236}">
                  <a16:creationId xmlns:a16="http://schemas.microsoft.com/office/drawing/2014/main" id="{7D9AA833-AD83-E679-5D6E-186A8D02B00C}"/>
                </a:ext>
              </a:extLst>
            </p:cNvPr>
            <p:cNvSpPr/>
            <p:nvPr/>
          </p:nvSpPr>
          <p:spPr>
            <a:xfrm>
              <a:off x="13262546" y="8849276"/>
              <a:ext cx="625919" cy="749850"/>
            </a:xfrm>
            <a:custGeom>
              <a:avLst/>
              <a:gdLst>
                <a:gd name="connsiteX0" fmla="*/ 114142 w 625919"/>
                <a:gd name="connsiteY0" fmla="*/ 73457 h 749850"/>
                <a:gd name="connsiteX1" fmla="*/ 437897 w 625919"/>
                <a:gd name="connsiteY1" fmla="*/ 13831 h 749850"/>
                <a:gd name="connsiteX2" fmla="*/ 621920 w 625919"/>
                <a:gd name="connsiteY2" fmla="*/ 187281 h 749850"/>
                <a:gd name="connsiteX3" fmla="*/ 458280 w 625919"/>
                <a:gd name="connsiteY3" fmla="*/ 258242 h 749850"/>
                <a:gd name="connsiteX4" fmla="*/ 399225 w 625919"/>
                <a:gd name="connsiteY4" fmla="*/ 175946 h 749850"/>
                <a:gd name="connsiteX5" fmla="*/ 237776 w 625919"/>
                <a:gd name="connsiteY5" fmla="*/ 206426 h 749850"/>
                <a:gd name="connsiteX6" fmla="*/ 210725 w 625919"/>
                <a:gd name="connsiteY6" fmla="*/ 371209 h 749850"/>
                <a:gd name="connsiteX7" fmla="*/ 231013 w 625919"/>
                <a:gd name="connsiteY7" fmla="*/ 534086 h 749850"/>
                <a:gd name="connsiteX8" fmla="*/ 437992 w 625919"/>
                <a:gd name="connsiteY8" fmla="*/ 542278 h 749850"/>
                <a:gd name="connsiteX9" fmla="*/ 468662 w 625919"/>
                <a:gd name="connsiteY9" fmla="*/ 483413 h 749850"/>
                <a:gd name="connsiteX10" fmla="*/ 625920 w 625919"/>
                <a:gd name="connsiteY10" fmla="*/ 551898 h 749850"/>
                <a:gd name="connsiteX11" fmla="*/ 514573 w 625919"/>
                <a:gd name="connsiteY11" fmla="*/ 702203 h 749850"/>
                <a:gd name="connsiteX12" fmla="*/ 265494 w 625919"/>
                <a:gd name="connsiteY12" fmla="*/ 744398 h 749850"/>
                <a:gd name="connsiteX13" fmla="*/ 66422 w 625919"/>
                <a:gd name="connsiteY13" fmla="*/ 622478 h 749850"/>
                <a:gd name="connsiteX14" fmla="*/ 1937 w 625919"/>
                <a:gd name="connsiteY14" fmla="*/ 324441 h 749850"/>
                <a:gd name="connsiteX15" fmla="*/ 114142 w 625919"/>
                <a:gd name="connsiteY15" fmla="*/ 73457 h 749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5919" h="749850">
                  <a:moveTo>
                    <a:pt x="114142" y="73457"/>
                  </a:moveTo>
                  <a:cubicBezTo>
                    <a:pt x="201962" y="-1409"/>
                    <a:pt x="329121" y="-14554"/>
                    <a:pt x="437897" y="13831"/>
                  </a:cubicBezTo>
                  <a:cubicBezTo>
                    <a:pt x="523717" y="36215"/>
                    <a:pt x="592582" y="104318"/>
                    <a:pt x="621920" y="187281"/>
                  </a:cubicBezTo>
                  <a:cubicBezTo>
                    <a:pt x="567341" y="210998"/>
                    <a:pt x="512763" y="234525"/>
                    <a:pt x="458280" y="258242"/>
                  </a:cubicBezTo>
                  <a:cubicBezTo>
                    <a:pt x="448184" y="225476"/>
                    <a:pt x="430753" y="192425"/>
                    <a:pt x="399225" y="175946"/>
                  </a:cubicBezTo>
                  <a:cubicBezTo>
                    <a:pt x="347599" y="148133"/>
                    <a:pt x="272447" y="155658"/>
                    <a:pt x="237776" y="206426"/>
                  </a:cubicBezTo>
                  <a:cubicBezTo>
                    <a:pt x="203772" y="254432"/>
                    <a:pt x="211202" y="315869"/>
                    <a:pt x="210725" y="371209"/>
                  </a:cubicBezTo>
                  <a:cubicBezTo>
                    <a:pt x="212059" y="425692"/>
                    <a:pt x="203105" y="484366"/>
                    <a:pt x="231013" y="534086"/>
                  </a:cubicBezTo>
                  <a:cubicBezTo>
                    <a:pt x="271304" y="607524"/>
                    <a:pt x="390081" y="607905"/>
                    <a:pt x="437992" y="542278"/>
                  </a:cubicBezTo>
                  <a:cubicBezTo>
                    <a:pt x="451422" y="524561"/>
                    <a:pt x="459899" y="503702"/>
                    <a:pt x="468662" y="483413"/>
                  </a:cubicBezTo>
                  <a:cubicBezTo>
                    <a:pt x="521050" y="506178"/>
                    <a:pt x="573532" y="528943"/>
                    <a:pt x="625920" y="551898"/>
                  </a:cubicBezTo>
                  <a:cubicBezTo>
                    <a:pt x="604298" y="611144"/>
                    <a:pt x="568579" y="667532"/>
                    <a:pt x="514573" y="702203"/>
                  </a:cubicBezTo>
                  <a:cubicBezTo>
                    <a:pt x="441706" y="749732"/>
                    <a:pt x="349600" y="756971"/>
                    <a:pt x="265494" y="744398"/>
                  </a:cubicBezTo>
                  <a:cubicBezTo>
                    <a:pt x="186341" y="732492"/>
                    <a:pt x="111189" y="689534"/>
                    <a:pt x="66422" y="622478"/>
                  </a:cubicBezTo>
                  <a:cubicBezTo>
                    <a:pt x="7366" y="535991"/>
                    <a:pt x="-5587" y="426644"/>
                    <a:pt x="1937" y="324441"/>
                  </a:cubicBezTo>
                  <a:cubicBezTo>
                    <a:pt x="8890" y="231668"/>
                    <a:pt x="41656" y="135465"/>
                    <a:pt x="114142" y="73457"/>
                  </a:cubicBezTo>
                  <a:close/>
                </a:path>
              </a:pathLst>
            </a:custGeom>
            <a:solidFill>
              <a:srgbClr val="000000"/>
            </a:solidFill>
            <a:ln w="9525" cap="flat">
              <a:noFill/>
              <a:prstDash val="solid"/>
              <a:miter/>
            </a:ln>
          </p:spPr>
          <p:txBody>
            <a:bodyPr rtlCol="0" anchor="ctr"/>
            <a:lstStyle/>
            <a:p>
              <a:endParaRPr lang="en-US" sz="900"/>
            </a:p>
          </p:txBody>
        </p:sp>
        <p:sp>
          <p:nvSpPr>
            <p:cNvPr id="38" name="Freeform: Shape 37">
              <a:extLst>
                <a:ext uri="{FF2B5EF4-FFF2-40B4-BE49-F238E27FC236}">
                  <a16:creationId xmlns:a16="http://schemas.microsoft.com/office/drawing/2014/main" id="{5BEADA96-1A80-9EB1-DBCA-0EBF9FDAB801}"/>
                </a:ext>
              </a:extLst>
            </p:cNvPr>
            <p:cNvSpPr/>
            <p:nvPr/>
          </p:nvSpPr>
          <p:spPr>
            <a:xfrm>
              <a:off x="14778191" y="8849530"/>
              <a:ext cx="689710" cy="749617"/>
            </a:xfrm>
            <a:custGeom>
              <a:avLst/>
              <a:gdLst>
                <a:gd name="connsiteX0" fmla="*/ 27247 w 689710"/>
                <a:gd name="connsiteY0" fmla="*/ 137021 h 749617"/>
                <a:gd name="connsiteX1" fmla="*/ 239750 w 689710"/>
                <a:gd name="connsiteY1" fmla="*/ 5290 h 749617"/>
                <a:gd name="connsiteX2" fmla="*/ 522070 w 689710"/>
                <a:gd name="connsiteY2" fmla="*/ 49582 h 749617"/>
                <a:gd name="connsiteX3" fmla="*/ 622654 w 689710"/>
                <a:gd name="connsiteY3" fmla="*/ 247606 h 749617"/>
                <a:gd name="connsiteX4" fmla="*/ 623036 w 689710"/>
                <a:gd name="connsiteY4" fmla="*/ 575838 h 749617"/>
                <a:gd name="connsiteX5" fmla="*/ 689711 w 689710"/>
                <a:gd name="connsiteY5" fmla="*/ 575933 h 749617"/>
                <a:gd name="connsiteX6" fmla="*/ 689711 w 689710"/>
                <a:gd name="connsiteY6" fmla="*/ 733000 h 749617"/>
                <a:gd name="connsiteX7" fmla="*/ 506259 w 689710"/>
                <a:gd name="connsiteY7" fmla="*/ 713950 h 749617"/>
                <a:gd name="connsiteX8" fmla="*/ 438441 w 689710"/>
                <a:gd name="connsiteY8" fmla="*/ 603270 h 749617"/>
                <a:gd name="connsiteX9" fmla="*/ 388625 w 689710"/>
                <a:gd name="connsiteY9" fmla="*/ 690805 h 749617"/>
                <a:gd name="connsiteX10" fmla="*/ 169074 w 689710"/>
                <a:gd name="connsiteY10" fmla="*/ 745288 h 749617"/>
                <a:gd name="connsiteX11" fmla="*/ 15341 w 689710"/>
                <a:gd name="connsiteY11" fmla="*/ 626892 h 749617"/>
                <a:gd name="connsiteX12" fmla="*/ 37153 w 689710"/>
                <a:gd name="connsiteY12" fmla="*/ 416008 h 749617"/>
                <a:gd name="connsiteX13" fmla="*/ 191076 w 689710"/>
                <a:gd name="connsiteY13" fmla="*/ 327521 h 749617"/>
                <a:gd name="connsiteX14" fmla="*/ 420629 w 689710"/>
                <a:gd name="connsiteY14" fmla="*/ 316663 h 749617"/>
                <a:gd name="connsiteX15" fmla="*/ 392911 w 689710"/>
                <a:gd name="connsiteY15" fmla="*/ 189028 h 749617"/>
                <a:gd name="connsiteX16" fmla="*/ 258323 w 689710"/>
                <a:gd name="connsiteY16" fmla="*/ 163310 h 749617"/>
                <a:gd name="connsiteX17" fmla="*/ 147452 w 689710"/>
                <a:gd name="connsiteY17" fmla="*/ 243130 h 749617"/>
                <a:gd name="connsiteX18" fmla="*/ 27247 w 689710"/>
                <a:gd name="connsiteY18" fmla="*/ 137021 h 749617"/>
                <a:gd name="connsiteX19" fmla="*/ 252894 w 689710"/>
                <a:gd name="connsiteY19" fmla="*/ 442583 h 749617"/>
                <a:gd name="connsiteX20" fmla="*/ 260038 w 689710"/>
                <a:gd name="connsiteY20" fmla="*/ 604508 h 749617"/>
                <a:gd name="connsiteX21" fmla="*/ 401579 w 689710"/>
                <a:gd name="connsiteY21" fmla="*/ 571552 h 749617"/>
                <a:gd name="connsiteX22" fmla="*/ 420534 w 689710"/>
                <a:gd name="connsiteY22" fmla="*/ 431725 h 749617"/>
                <a:gd name="connsiteX23" fmla="*/ 252894 w 689710"/>
                <a:gd name="connsiteY23" fmla="*/ 442583 h 749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89710" h="749617">
                  <a:moveTo>
                    <a:pt x="27247" y="137021"/>
                  </a:moveTo>
                  <a:cubicBezTo>
                    <a:pt x="73634" y="63583"/>
                    <a:pt x="153834" y="15387"/>
                    <a:pt x="239750" y="5290"/>
                  </a:cubicBezTo>
                  <a:cubicBezTo>
                    <a:pt x="334618" y="-6044"/>
                    <a:pt x="438632" y="-2520"/>
                    <a:pt x="522070" y="49582"/>
                  </a:cubicBezTo>
                  <a:cubicBezTo>
                    <a:pt x="588936" y="91015"/>
                    <a:pt x="621988" y="171025"/>
                    <a:pt x="622654" y="247606"/>
                  </a:cubicBezTo>
                  <a:cubicBezTo>
                    <a:pt x="623512" y="357049"/>
                    <a:pt x="622654" y="466396"/>
                    <a:pt x="623036" y="575838"/>
                  </a:cubicBezTo>
                  <a:cubicBezTo>
                    <a:pt x="645134" y="575838"/>
                    <a:pt x="667422" y="575838"/>
                    <a:pt x="689711" y="575933"/>
                  </a:cubicBezTo>
                  <a:cubicBezTo>
                    <a:pt x="689615" y="628225"/>
                    <a:pt x="689615" y="680613"/>
                    <a:pt x="689711" y="733000"/>
                  </a:cubicBezTo>
                  <a:cubicBezTo>
                    <a:pt x="628750" y="728238"/>
                    <a:pt x="561790" y="746621"/>
                    <a:pt x="506259" y="713950"/>
                  </a:cubicBezTo>
                  <a:cubicBezTo>
                    <a:pt x="466540" y="690614"/>
                    <a:pt x="448442" y="646037"/>
                    <a:pt x="438441" y="603270"/>
                  </a:cubicBezTo>
                  <a:cubicBezTo>
                    <a:pt x="423963" y="633559"/>
                    <a:pt x="413866" y="667278"/>
                    <a:pt x="388625" y="690805"/>
                  </a:cubicBezTo>
                  <a:cubicBezTo>
                    <a:pt x="331952" y="747193"/>
                    <a:pt x="244702" y="756908"/>
                    <a:pt x="169074" y="745288"/>
                  </a:cubicBezTo>
                  <a:cubicBezTo>
                    <a:pt x="102113" y="735477"/>
                    <a:pt x="38676" y="691948"/>
                    <a:pt x="15341" y="626892"/>
                  </a:cubicBezTo>
                  <a:cubicBezTo>
                    <a:pt x="-9234" y="558693"/>
                    <a:pt x="-5900" y="476302"/>
                    <a:pt x="37153" y="416008"/>
                  </a:cubicBezTo>
                  <a:cubicBezTo>
                    <a:pt x="73062" y="366097"/>
                    <a:pt x="132498" y="339808"/>
                    <a:pt x="191076" y="327521"/>
                  </a:cubicBezTo>
                  <a:cubicBezTo>
                    <a:pt x="266515" y="311424"/>
                    <a:pt x="344048" y="317996"/>
                    <a:pt x="420629" y="316663"/>
                  </a:cubicBezTo>
                  <a:cubicBezTo>
                    <a:pt x="420439" y="273419"/>
                    <a:pt x="425963" y="222746"/>
                    <a:pt x="392911" y="189028"/>
                  </a:cubicBezTo>
                  <a:cubicBezTo>
                    <a:pt x="357764" y="155119"/>
                    <a:pt x="303377" y="154547"/>
                    <a:pt x="258323" y="163310"/>
                  </a:cubicBezTo>
                  <a:cubicBezTo>
                    <a:pt x="211460" y="172359"/>
                    <a:pt x="174884" y="205982"/>
                    <a:pt x="147452" y="243130"/>
                  </a:cubicBezTo>
                  <a:cubicBezTo>
                    <a:pt x="107447" y="207697"/>
                    <a:pt x="67728" y="171883"/>
                    <a:pt x="27247" y="137021"/>
                  </a:cubicBezTo>
                  <a:moveTo>
                    <a:pt x="252894" y="442583"/>
                  </a:moveTo>
                  <a:cubicBezTo>
                    <a:pt x="182600" y="464872"/>
                    <a:pt x="184981" y="591078"/>
                    <a:pt x="260038" y="604508"/>
                  </a:cubicBezTo>
                  <a:cubicBezTo>
                    <a:pt x="308044" y="613557"/>
                    <a:pt x="366337" y="609461"/>
                    <a:pt x="401579" y="571552"/>
                  </a:cubicBezTo>
                  <a:cubicBezTo>
                    <a:pt x="433298" y="532213"/>
                    <a:pt x="416438" y="477921"/>
                    <a:pt x="420534" y="431725"/>
                  </a:cubicBezTo>
                  <a:cubicBezTo>
                    <a:pt x="364813" y="434677"/>
                    <a:pt x="306615" y="423724"/>
                    <a:pt x="252894" y="442583"/>
                  </a:cubicBezTo>
                  <a:close/>
                </a:path>
              </a:pathLst>
            </a:custGeom>
            <a:solidFill>
              <a:srgbClr val="000000"/>
            </a:solidFill>
            <a:ln w="9525" cap="flat">
              <a:noFill/>
              <a:prstDash val="solid"/>
              <a:miter/>
            </a:ln>
          </p:spPr>
          <p:txBody>
            <a:bodyPr rtlCol="0" anchor="ctr"/>
            <a:lstStyle/>
            <a:p>
              <a:endParaRPr lang="en-US" sz="900"/>
            </a:p>
          </p:txBody>
        </p:sp>
        <p:sp>
          <p:nvSpPr>
            <p:cNvPr id="39" name="Freeform: Shape 38">
              <a:extLst>
                <a:ext uri="{FF2B5EF4-FFF2-40B4-BE49-F238E27FC236}">
                  <a16:creationId xmlns:a16="http://schemas.microsoft.com/office/drawing/2014/main" id="{E08DAAAF-22D3-8686-027F-301825BDAA00}"/>
                </a:ext>
              </a:extLst>
            </p:cNvPr>
            <p:cNvSpPr/>
            <p:nvPr/>
          </p:nvSpPr>
          <p:spPr>
            <a:xfrm>
              <a:off x="15602775" y="8849035"/>
              <a:ext cx="633507" cy="733518"/>
            </a:xfrm>
            <a:custGeom>
              <a:avLst/>
              <a:gdLst>
                <a:gd name="connsiteX0" fmla="*/ 311944 w 633507"/>
                <a:gd name="connsiteY0" fmla="*/ 20073 h 733518"/>
                <a:gd name="connsiteX1" fmla="*/ 569214 w 633507"/>
                <a:gd name="connsiteY1" fmla="*/ 66078 h 733518"/>
                <a:gd name="connsiteX2" fmla="*/ 633413 w 633507"/>
                <a:gd name="connsiteY2" fmla="*/ 276295 h 733518"/>
                <a:gd name="connsiteX3" fmla="*/ 633508 w 633507"/>
                <a:gd name="connsiteY3" fmla="*/ 733495 h 733518"/>
                <a:gd name="connsiteX4" fmla="*/ 431006 w 633507"/>
                <a:gd name="connsiteY4" fmla="*/ 733495 h 733518"/>
                <a:gd name="connsiteX5" fmla="*/ 430435 w 633507"/>
                <a:gd name="connsiteY5" fmla="*/ 276676 h 733518"/>
                <a:gd name="connsiteX6" fmla="*/ 369951 w 633507"/>
                <a:gd name="connsiteY6" fmla="*/ 169901 h 733518"/>
                <a:gd name="connsiteX7" fmla="*/ 203264 w 633507"/>
                <a:gd name="connsiteY7" fmla="*/ 257245 h 733518"/>
                <a:gd name="connsiteX8" fmla="*/ 202502 w 633507"/>
                <a:gd name="connsiteY8" fmla="*/ 733495 h 733518"/>
                <a:gd name="connsiteX9" fmla="*/ 0 w 633507"/>
                <a:gd name="connsiteY9" fmla="*/ 733400 h 733518"/>
                <a:gd name="connsiteX10" fmla="*/ 95 w 633507"/>
                <a:gd name="connsiteY10" fmla="*/ 16739 h 733518"/>
                <a:gd name="connsiteX11" fmla="*/ 202406 w 633507"/>
                <a:gd name="connsiteY11" fmla="*/ 16739 h 733518"/>
                <a:gd name="connsiteX12" fmla="*/ 204883 w 633507"/>
                <a:gd name="connsiteY12" fmla="*/ 144564 h 733518"/>
                <a:gd name="connsiteX13" fmla="*/ 311944 w 633507"/>
                <a:gd name="connsiteY13" fmla="*/ 20073 h 733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3507" h="733518">
                  <a:moveTo>
                    <a:pt x="311944" y="20073"/>
                  </a:moveTo>
                  <a:cubicBezTo>
                    <a:pt x="395669" y="-15837"/>
                    <a:pt x="506825" y="-5359"/>
                    <a:pt x="569214" y="66078"/>
                  </a:cubicBezTo>
                  <a:cubicBezTo>
                    <a:pt x="618649" y="123609"/>
                    <a:pt x="632365" y="202572"/>
                    <a:pt x="633413" y="276295"/>
                  </a:cubicBezTo>
                  <a:cubicBezTo>
                    <a:pt x="633603" y="428695"/>
                    <a:pt x="633317" y="581095"/>
                    <a:pt x="633508" y="733495"/>
                  </a:cubicBezTo>
                  <a:lnTo>
                    <a:pt x="431006" y="733495"/>
                  </a:lnTo>
                  <a:cubicBezTo>
                    <a:pt x="430625" y="581190"/>
                    <a:pt x="431864" y="428981"/>
                    <a:pt x="430435" y="276676"/>
                  </a:cubicBezTo>
                  <a:cubicBezTo>
                    <a:pt x="429101" y="234861"/>
                    <a:pt x="415290" y="183045"/>
                    <a:pt x="369951" y="169901"/>
                  </a:cubicBezTo>
                  <a:cubicBezTo>
                    <a:pt x="305086" y="150946"/>
                    <a:pt x="210884" y="180759"/>
                    <a:pt x="203264" y="257245"/>
                  </a:cubicBezTo>
                  <a:cubicBezTo>
                    <a:pt x="201263" y="415931"/>
                    <a:pt x="202978" y="574713"/>
                    <a:pt x="202502" y="733495"/>
                  </a:cubicBezTo>
                  <a:cubicBezTo>
                    <a:pt x="134970" y="733495"/>
                    <a:pt x="67437" y="733590"/>
                    <a:pt x="0" y="733400"/>
                  </a:cubicBezTo>
                  <a:cubicBezTo>
                    <a:pt x="191" y="494513"/>
                    <a:pt x="-95" y="255626"/>
                    <a:pt x="95" y="16739"/>
                  </a:cubicBezTo>
                  <a:lnTo>
                    <a:pt x="202406" y="16739"/>
                  </a:lnTo>
                  <a:cubicBezTo>
                    <a:pt x="203264" y="59315"/>
                    <a:pt x="200025" y="102083"/>
                    <a:pt x="204883" y="144564"/>
                  </a:cubicBezTo>
                  <a:cubicBezTo>
                    <a:pt x="226790" y="93606"/>
                    <a:pt x="258604" y="42456"/>
                    <a:pt x="311944" y="20073"/>
                  </a:cubicBezTo>
                  <a:close/>
                </a:path>
              </a:pathLst>
            </a:custGeom>
            <a:solidFill>
              <a:srgbClr val="000000"/>
            </a:solidFill>
            <a:ln w="9525" cap="flat">
              <a:noFill/>
              <a:prstDash val="solid"/>
              <a:miter/>
            </a:ln>
          </p:spPr>
          <p:txBody>
            <a:bodyPr rtlCol="0" anchor="ctr"/>
            <a:lstStyle/>
            <a:p>
              <a:endParaRPr lang="en-US" sz="900"/>
            </a:p>
          </p:txBody>
        </p:sp>
        <p:sp>
          <p:nvSpPr>
            <p:cNvPr id="40" name="Freeform: Shape 39">
              <a:extLst>
                <a:ext uri="{FF2B5EF4-FFF2-40B4-BE49-F238E27FC236}">
                  <a16:creationId xmlns:a16="http://schemas.microsoft.com/office/drawing/2014/main" id="{3BF8AFFD-1B6C-839E-B09F-AF5203BE810E}"/>
                </a:ext>
              </a:extLst>
            </p:cNvPr>
            <p:cNvSpPr/>
            <p:nvPr/>
          </p:nvSpPr>
          <p:spPr>
            <a:xfrm>
              <a:off x="17116014" y="8849344"/>
              <a:ext cx="669651" cy="749917"/>
            </a:xfrm>
            <a:custGeom>
              <a:avLst/>
              <a:gdLst>
                <a:gd name="connsiteX0" fmla="*/ 174305 w 669651"/>
                <a:gd name="connsiteY0" fmla="*/ 34909 h 749917"/>
                <a:gd name="connsiteX1" fmla="*/ 433670 w 669651"/>
                <a:gd name="connsiteY1" fmla="*/ 11287 h 749917"/>
                <a:gd name="connsiteX2" fmla="*/ 624838 w 669651"/>
                <a:gd name="connsiteY2" fmla="*/ 161973 h 749917"/>
                <a:gd name="connsiteX3" fmla="*/ 669129 w 669651"/>
                <a:gd name="connsiteY3" fmla="*/ 426482 h 749917"/>
                <a:gd name="connsiteX4" fmla="*/ 208500 w 669651"/>
                <a:gd name="connsiteY4" fmla="*/ 426482 h 749917"/>
                <a:gd name="connsiteX5" fmla="*/ 248028 w 669651"/>
                <a:gd name="connsiteY5" fmla="*/ 549450 h 749917"/>
                <a:gd name="connsiteX6" fmla="*/ 408049 w 669651"/>
                <a:gd name="connsiteY6" fmla="*/ 587645 h 749917"/>
                <a:gd name="connsiteX7" fmla="*/ 543589 w 669651"/>
                <a:gd name="connsiteY7" fmla="*/ 505063 h 749917"/>
                <a:gd name="connsiteX8" fmla="*/ 645031 w 669651"/>
                <a:gd name="connsiteY8" fmla="*/ 631269 h 749917"/>
                <a:gd name="connsiteX9" fmla="*/ 388617 w 669651"/>
                <a:gd name="connsiteY9" fmla="*/ 747951 h 749917"/>
                <a:gd name="connsiteX10" fmla="*/ 125441 w 669651"/>
                <a:gd name="connsiteY10" fmla="*/ 681752 h 749917"/>
                <a:gd name="connsiteX11" fmla="*/ 5045 w 669651"/>
                <a:gd name="connsiteY11" fmla="*/ 451342 h 749917"/>
                <a:gd name="connsiteX12" fmla="*/ 33526 w 669651"/>
                <a:gd name="connsiteY12" fmla="*/ 189214 h 749917"/>
                <a:gd name="connsiteX13" fmla="*/ 174305 w 669651"/>
                <a:gd name="connsiteY13" fmla="*/ 34909 h 749917"/>
                <a:gd name="connsiteX14" fmla="*/ 232502 w 669651"/>
                <a:gd name="connsiteY14" fmla="*/ 205788 h 749917"/>
                <a:gd name="connsiteX15" fmla="*/ 208500 w 669651"/>
                <a:gd name="connsiteY15" fmla="*/ 307324 h 749917"/>
                <a:gd name="connsiteX16" fmla="*/ 460722 w 669651"/>
                <a:gd name="connsiteY16" fmla="*/ 307324 h 749917"/>
                <a:gd name="connsiteX17" fmla="*/ 423956 w 669651"/>
                <a:gd name="connsiteY17" fmla="*/ 182547 h 749917"/>
                <a:gd name="connsiteX18" fmla="*/ 232502 w 669651"/>
                <a:gd name="connsiteY18" fmla="*/ 205883 h 749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9651" h="749917">
                  <a:moveTo>
                    <a:pt x="174305" y="34909"/>
                  </a:moveTo>
                  <a:cubicBezTo>
                    <a:pt x="254220" y="-3858"/>
                    <a:pt x="347945" y="-8144"/>
                    <a:pt x="433670" y="11287"/>
                  </a:cubicBezTo>
                  <a:cubicBezTo>
                    <a:pt x="515681" y="29956"/>
                    <a:pt x="587690" y="86439"/>
                    <a:pt x="624838" y="161973"/>
                  </a:cubicBezTo>
                  <a:cubicBezTo>
                    <a:pt x="667223" y="243126"/>
                    <a:pt x="671510" y="336852"/>
                    <a:pt x="669129" y="426482"/>
                  </a:cubicBezTo>
                  <a:cubicBezTo>
                    <a:pt x="515586" y="426482"/>
                    <a:pt x="362043" y="426482"/>
                    <a:pt x="208500" y="426482"/>
                  </a:cubicBezTo>
                  <a:cubicBezTo>
                    <a:pt x="208690" y="469916"/>
                    <a:pt x="215834" y="517350"/>
                    <a:pt x="248028" y="549450"/>
                  </a:cubicBezTo>
                  <a:cubicBezTo>
                    <a:pt x="289272" y="590693"/>
                    <a:pt x="353089" y="596217"/>
                    <a:pt x="408049" y="587645"/>
                  </a:cubicBezTo>
                  <a:cubicBezTo>
                    <a:pt x="462341" y="579453"/>
                    <a:pt x="506537" y="543449"/>
                    <a:pt x="543589" y="505063"/>
                  </a:cubicBezTo>
                  <a:cubicBezTo>
                    <a:pt x="577308" y="547259"/>
                    <a:pt x="611216" y="589169"/>
                    <a:pt x="645031" y="631269"/>
                  </a:cubicBezTo>
                  <a:cubicBezTo>
                    <a:pt x="580260" y="703755"/>
                    <a:pt x="484153" y="740997"/>
                    <a:pt x="388617" y="747951"/>
                  </a:cubicBezTo>
                  <a:cubicBezTo>
                    <a:pt x="297273" y="756047"/>
                    <a:pt x="198880" y="740140"/>
                    <a:pt x="125441" y="681752"/>
                  </a:cubicBezTo>
                  <a:cubicBezTo>
                    <a:pt x="54481" y="626602"/>
                    <a:pt x="16381" y="538782"/>
                    <a:pt x="5045" y="451342"/>
                  </a:cubicBezTo>
                  <a:cubicBezTo>
                    <a:pt x="-5812" y="363522"/>
                    <a:pt x="-384" y="271701"/>
                    <a:pt x="33526" y="189214"/>
                  </a:cubicBezTo>
                  <a:cubicBezTo>
                    <a:pt x="60291" y="123301"/>
                    <a:pt x="110011" y="66246"/>
                    <a:pt x="174305" y="34909"/>
                  </a:cubicBezTo>
                  <a:moveTo>
                    <a:pt x="232502" y="205788"/>
                  </a:moveTo>
                  <a:cubicBezTo>
                    <a:pt x="213072" y="235887"/>
                    <a:pt x="209262" y="272367"/>
                    <a:pt x="208500" y="307324"/>
                  </a:cubicBezTo>
                  <a:cubicBezTo>
                    <a:pt x="292510" y="307324"/>
                    <a:pt x="376616" y="307324"/>
                    <a:pt x="460722" y="307324"/>
                  </a:cubicBezTo>
                  <a:cubicBezTo>
                    <a:pt x="459770" y="263890"/>
                    <a:pt x="455292" y="215884"/>
                    <a:pt x="423956" y="182547"/>
                  </a:cubicBezTo>
                  <a:cubicBezTo>
                    <a:pt x="372234" y="128730"/>
                    <a:pt x="270317" y="141780"/>
                    <a:pt x="232502" y="205883"/>
                  </a:cubicBezTo>
                  <a:close/>
                </a:path>
              </a:pathLst>
            </a:custGeom>
            <a:solidFill>
              <a:srgbClr val="000000"/>
            </a:solidFill>
            <a:ln w="9525" cap="flat">
              <a:noFill/>
              <a:prstDash val="solid"/>
              <a:miter/>
            </a:ln>
          </p:spPr>
          <p:txBody>
            <a:bodyPr rtlCol="0" anchor="ctr"/>
            <a:lstStyle/>
            <a:p>
              <a:endParaRPr lang="en-US" sz="900"/>
            </a:p>
          </p:txBody>
        </p:sp>
      </p:grpSp>
      <p:pic>
        <p:nvPicPr>
          <p:cNvPr id="4" name="Picture 3">
            <a:extLst>
              <a:ext uri="{FF2B5EF4-FFF2-40B4-BE49-F238E27FC236}">
                <a16:creationId xmlns:a16="http://schemas.microsoft.com/office/drawing/2014/main" id="{2DE16743-7FE4-7DB0-AE65-92E8AEA8C0B8}"/>
              </a:ext>
            </a:extLst>
          </p:cNvPr>
          <p:cNvPicPr>
            <a:picLocks noChangeAspect="1"/>
          </p:cNvPicPr>
          <p:nvPr userDrawn="1"/>
        </p:nvPicPr>
        <p:blipFill>
          <a:blip r:embed="rId2"/>
          <a:stretch>
            <a:fillRect/>
          </a:stretch>
        </p:blipFill>
        <p:spPr>
          <a:xfrm>
            <a:off x="11081689" y="6292851"/>
            <a:ext cx="819043" cy="304800"/>
          </a:xfrm>
          <a:prstGeom prst="rect">
            <a:avLst/>
          </a:prstGeom>
        </p:spPr>
      </p:pic>
      <p:sp>
        <p:nvSpPr>
          <p:cNvPr id="2" name="TextBox 1">
            <a:extLst>
              <a:ext uri="{FF2B5EF4-FFF2-40B4-BE49-F238E27FC236}">
                <a16:creationId xmlns:a16="http://schemas.microsoft.com/office/drawing/2014/main" id="{688A4206-3233-86A0-3616-8DA2D7758FC1}"/>
              </a:ext>
            </a:extLst>
          </p:cNvPr>
          <p:cNvSpPr txBox="1"/>
          <p:nvPr userDrawn="1"/>
        </p:nvSpPr>
        <p:spPr>
          <a:xfrm>
            <a:off x="270381" y="5966327"/>
            <a:ext cx="2761097" cy="646331"/>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r>
              <a:rPr lang="en-US" sz="1400" kern="0"/>
              <a:t>October 21–24, 2024</a:t>
            </a:r>
          </a:p>
          <a:p>
            <a:r>
              <a:rPr lang="en-US" sz="1400" kern="0"/>
              <a:t>Mandalay Bay Convention Center</a:t>
            </a:r>
            <a:br>
              <a:rPr lang="en-US" sz="1400" kern="0"/>
            </a:br>
            <a:r>
              <a:rPr lang="en-US" sz="1400" kern="0"/>
              <a:t>Las Vegas, Nevada</a:t>
            </a:r>
          </a:p>
        </p:txBody>
      </p:sp>
      <p:pic>
        <p:nvPicPr>
          <p:cNvPr id="3" name="Picture 2">
            <a:extLst>
              <a:ext uri="{FF2B5EF4-FFF2-40B4-BE49-F238E27FC236}">
                <a16:creationId xmlns:a16="http://schemas.microsoft.com/office/drawing/2014/main" id="{9D2CFBF9-D71D-66A1-0775-4AB7510E6127}"/>
              </a:ext>
            </a:extLst>
          </p:cNvPr>
          <p:cNvPicPr>
            <a:picLocks noChangeAspect="1"/>
          </p:cNvPicPr>
          <p:nvPr userDrawn="1"/>
        </p:nvPicPr>
        <p:blipFill>
          <a:blip r:embed="rId3"/>
          <a:stretch>
            <a:fillRect/>
          </a:stretch>
        </p:blipFill>
        <p:spPr>
          <a:xfrm>
            <a:off x="9157889" y="184107"/>
            <a:ext cx="2742843" cy="2743200"/>
          </a:xfrm>
          <a:prstGeom prst="rect">
            <a:avLst/>
          </a:prstGeom>
        </p:spPr>
      </p:pic>
      <p:sp>
        <p:nvSpPr>
          <p:cNvPr id="5" name="Freeform: Shape 4">
            <a:extLst>
              <a:ext uri="{FF2B5EF4-FFF2-40B4-BE49-F238E27FC236}">
                <a16:creationId xmlns:a16="http://schemas.microsoft.com/office/drawing/2014/main" id="{0CE26799-50EE-2DA3-031C-DE1843EE3A0D}"/>
              </a:ext>
            </a:extLst>
          </p:cNvPr>
          <p:cNvSpPr>
            <a:spLocks noChangeAspect="1"/>
          </p:cNvSpPr>
          <p:nvPr userDrawn="1"/>
        </p:nvSpPr>
        <p:spPr>
          <a:xfrm>
            <a:off x="7786468" y="4309876"/>
            <a:ext cx="1371421" cy="1371634"/>
          </a:xfrm>
          <a:custGeom>
            <a:avLst/>
            <a:gdLst>
              <a:gd name="connsiteX0" fmla="*/ 164333 w 305786"/>
              <a:gd name="connsiteY0" fmla="*/ 305795 h 305794"/>
              <a:gd name="connsiteX1" fmla="*/ 162308 w 305786"/>
              <a:gd name="connsiteY1" fmla="*/ 305257 h 305794"/>
              <a:gd name="connsiteX2" fmla="*/ 160213 w 305786"/>
              <a:gd name="connsiteY2" fmla="*/ 301675 h 305794"/>
              <a:gd name="connsiteX3" fmla="*/ 160213 w 305786"/>
              <a:gd name="connsiteY3" fmla="*/ 225134 h 305794"/>
              <a:gd name="connsiteX4" fmla="*/ 156666 w 305786"/>
              <a:gd name="connsiteY4" fmla="*/ 223669 h 305794"/>
              <a:gd name="connsiteX5" fmla="*/ 98574 w 305786"/>
              <a:gd name="connsiteY5" fmla="*/ 281704 h 305794"/>
              <a:gd name="connsiteX6" fmla="*/ 92749 w 305786"/>
              <a:gd name="connsiteY6" fmla="*/ 275867 h 305794"/>
              <a:gd name="connsiteX7" fmla="*/ 150818 w 305786"/>
              <a:gd name="connsiteY7" fmla="*/ 217844 h 305794"/>
              <a:gd name="connsiteX8" fmla="*/ 148758 w 305786"/>
              <a:gd name="connsiteY8" fmla="*/ 210119 h 305794"/>
              <a:gd name="connsiteX9" fmla="*/ 164322 w 305786"/>
              <a:gd name="connsiteY9" fmla="*/ 194555 h 305794"/>
              <a:gd name="connsiteX10" fmla="*/ 179886 w 305786"/>
              <a:gd name="connsiteY10" fmla="*/ 210119 h 305794"/>
              <a:gd name="connsiteX11" fmla="*/ 168442 w 305786"/>
              <a:gd name="connsiteY11" fmla="*/ 225134 h 305794"/>
              <a:gd name="connsiteX12" fmla="*/ 168442 w 305786"/>
              <a:gd name="connsiteY12" fmla="*/ 294407 h 305794"/>
              <a:gd name="connsiteX13" fmla="*/ 217413 w 305786"/>
              <a:gd name="connsiteY13" fmla="*/ 265018 h 305794"/>
              <a:gd name="connsiteX14" fmla="*/ 217413 w 305786"/>
              <a:gd name="connsiteY14" fmla="*/ 164342 h 305794"/>
              <a:gd name="connsiteX15" fmla="*/ 218614 w 305786"/>
              <a:gd name="connsiteY15" fmla="*/ 161435 h 305794"/>
              <a:gd name="connsiteX16" fmla="*/ 266372 w 305786"/>
              <a:gd name="connsiteY16" fmla="*/ 113700 h 305794"/>
              <a:gd name="connsiteX17" fmla="*/ 297546 w 305786"/>
              <a:gd name="connsiteY17" fmla="*/ 38453 h 305794"/>
              <a:gd name="connsiteX18" fmla="*/ 297546 w 305786"/>
              <a:gd name="connsiteY18" fmla="*/ 8240 h 305794"/>
              <a:gd name="connsiteX19" fmla="*/ 267333 w 305786"/>
              <a:gd name="connsiteY19" fmla="*/ 8240 h 305794"/>
              <a:gd name="connsiteX20" fmla="*/ 192120 w 305786"/>
              <a:gd name="connsiteY20" fmla="*/ 39403 h 305794"/>
              <a:gd name="connsiteX21" fmla="*/ 144363 w 305786"/>
              <a:gd name="connsiteY21" fmla="*/ 87138 h 305794"/>
              <a:gd name="connsiteX22" fmla="*/ 141445 w 305786"/>
              <a:gd name="connsiteY22" fmla="*/ 88351 h 305794"/>
              <a:gd name="connsiteX23" fmla="*/ 40791 w 305786"/>
              <a:gd name="connsiteY23" fmla="*/ 88351 h 305794"/>
              <a:gd name="connsiteX24" fmla="*/ 11390 w 305786"/>
              <a:gd name="connsiteY24" fmla="*/ 137333 h 305794"/>
              <a:gd name="connsiteX25" fmla="*/ 80652 w 305786"/>
              <a:gd name="connsiteY25" fmla="*/ 137333 h 305794"/>
              <a:gd name="connsiteX26" fmla="*/ 95667 w 305786"/>
              <a:gd name="connsiteY26" fmla="*/ 125888 h 305794"/>
              <a:gd name="connsiteX27" fmla="*/ 111231 w 305786"/>
              <a:gd name="connsiteY27" fmla="*/ 141453 h 305794"/>
              <a:gd name="connsiteX28" fmla="*/ 95667 w 305786"/>
              <a:gd name="connsiteY28" fmla="*/ 157017 h 305794"/>
              <a:gd name="connsiteX29" fmla="*/ 87965 w 305786"/>
              <a:gd name="connsiteY29" fmla="*/ 154980 h 305794"/>
              <a:gd name="connsiteX30" fmla="*/ 29907 w 305786"/>
              <a:gd name="connsiteY30" fmla="*/ 213038 h 305794"/>
              <a:gd name="connsiteX31" fmla="*/ 24082 w 305786"/>
              <a:gd name="connsiteY31" fmla="*/ 207201 h 305794"/>
              <a:gd name="connsiteX32" fmla="*/ 82128 w 305786"/>
              <a:gd name="connsiteY32" fmla="*/ 149144 h 305794"/>
              <a:gd name="connsiteX33" fmla="*/ 80652 w 305786"/>
              <a:gd name="connsiteY33" fmla="*/ 145573 h 305794"/>
              <a:gd name="connsiteX34" fmla="*/ 4112 w 305786"/>
              <a:gd name="connsiteY34" fmla="*/ 145573 h 305794"/>
              <a:gd name="connsiteX35" fmla="*/ 530 w 305786"/>
              <a:gd name="connsiteY35" fmla="*/ 143479 h 305794"/>
              <a:gd name="connsiteX36" fmla="*/ 587 w 305786"/>
              <a:gd name="connsiteY36" fmla="*/ 139336 h 305794"/>
              <a:gd name="connsiteX37" fmla="*/ 34931 w 305786"/>
              <a:gd name="connsiteY37" fmla="*/ 82114 h 305794"/>
              <a:gd name="connsiteX38" fmla="*/ 38456 w 305786"/>
              <a:gd name="connsiteY38" fmla="*/ 80111 h 305794"/>
              <a:gd name="connsiteX39" fmla="*/ 139739 w 305786"/>
              <a:gd name="connsiteY39" fmla="*/ 80111 h 305794"/>
              <a:gd name="connsiteX40" fmla="*/ 186284 w 305786"/>
              <a:gd name="connsiteY40" fmla="*/ 33578 h 305794"/>
              <a:gd name="connsiteX41" fmla="*/ 267333 w 305786"/>
              <a:gd name="connsiteY41" fmla="*/ 0 h 305794"/>
              <a:gd name="connsiteX42" fmla="*/ 301666 w 305786"/>
              <a:gd name="connsiteY42" fmla="*/ 0 h 305794"/>
              <a:gd name="connsiteX43" fmla="*/ 305786 w 305786"/>
              <a:gd name="connsiteY43" fmla="*/ 4120 h 305794"/>
              <a:gd name="connsiteX44" fmla="*/ 305786 w 305786"/>
              <a:gd name="connsiteY44" fmla="*/ 38453 h 305794"/>
              <a:gd name="connsiteX45" fmla="*/ 272220 w 305786"/>
              <a:gd name="connsiteY45" fmla="*/ 119514 h 305794"/>
              <a:gd name="connsiteX46" fmla="*/ 225675 w 305786"/>
              <a:gd name="connsiteY46" fmla="*/ 166047 h 305794"/>
              <a:gd name="connsiteX47" fmla="*/ 225675 w 305786"/>
              <a:gd name="connsiteY47" fmla="*/ 267341 h 305794"/>
              <a:gd name="connsiteX48" fmla="*/ 223673 w 305786"/>
              <a:gd name="connsiteY48" fmla="*/ 270878 h 305794"/>
              <a:gd name="connsiteX49" fmla="*/ 166451 w 305786"/>
              <a:gd name="connsiteY49" fmla="*/ 305211 h 305794"/>
              <a:gd name="connsiteX50" fmla="*/ 164333 w 305786"/>
              <a:gd name="connsiteY50" fmla="*/ 305795 h 305794"/>
              <a:gd name="connsiteX51" fmla="*/ 164333 w 305786"/>
              <a:gd name="connsiteY51" fmla="*/ 202795 h 305794"/>
              <a:gd name="connsiteX52" fmla="*/ 157009 w 305786"/>
              <a:gd name="connsiteY52" fmla="*/ 210119 h 305794"/>
              <a:gd name="connsiteX53" fmla="*/ 164333 w 305786"/>
              <a:gd name="connsiteY53" fmla="*/ 217444 h 305794"/>
              <a:gd name="connsiteX54" fmla="*/ 171658 w 305786"/>
              <a:gd name="connsiteY54" fmla="*/ 210119 h 305794"/>
              <a:gd name="connsiteX55" fmla="*/ 164333 w 305786"/>
              <a:gd name="connsiteY55" fmla="*/ 202795 h 305794"/>
              <a:gd name="connsiteX56" fmla="*/ 95667 w 305786"/>
              <a:gd name="connsiteY56" fmla="*/ 134128 h 305794"/>
              <a:gd name="connsiteX57" fmla="*/ 88343 w 305786"/>
              <a:gd name="connsiteY57" fmla="*/ 141453 h 305794"/>
              <a:gd name="connsiteX58" fmla="*/ 95667 w 305786"/>
              <a:gd name="connsiteY58" fmla="*/ 148777 h 305794"/>
              <a:gd name="connsiteX59" fmla="*/ 102991 w 305786"/>
              <a:gd name="connsiteY59" fmla="*/ 141453 h 305794"/>
              <a:gd name="connsiteX60" fmla="*/ 95667 w 305786"/>
              <a:gd name="connsiteY60" fmla="*/ 134128 h 305794"/>
              <a:gd name="connsiteX61" fmla="*/ 7019 w 305786"/>
              <a:gd name="connsiteY61" fmla="*/ 304593 h 305794"/>
              <a:gd name="connsiteX62" fmla="*/ 1193 w 305786"/>
              <a:gd name="connsiteY62" fmla="*/ 298756 h 305794"/>
              <a:gd name="connsiteX63" fmla="*/ 150806 w 305786"/>
              <a:gd name="connsiteY63" fmla="*/ 149155 h 305794"/>
              <a:gd name="connsiteX64" fmla="*/ 148769 w 305786"/>
              <a:gd name="connsiteY64" fmla="*/ 141453 h 305794"/>
              <a:gd name="connsiteX65" fmla="*/ 164333 w 305786"/>
              <a:gd name="connsiteY65" fmla="*/ 125888 h 305794"/>
              <a:gd name="connsiteX66" fmla="*/ 179898 w 305786"/>
              <a:gd name="connsiteY66" fmla="*/ 141453 h 305794"/>
              <a:gd name="connsiteX67" fmla="*/ 164333 w 305786"/>
              <a:gd name="connsiteY67" fmla="*/ 157017 h 305794"/>
              <a:gd name="connsiteX68" fmla="*/ 156631 w 305786"/>
              <a:gd name="connsiteY68" fmla="*/ 154980 h 305794"/>
              <a:gd name="connsiteX69" fmla="*/ 7019 w 305786"/>
              <a:gd name="connsiteY69" fmla="*/ 304593 h 305794"/>
              <a:gd name="connsiteX70" fmla="*/ 164333 w 305786"/>
              <a:gd name="connsiteY70" fmla="*/ 134128 h 305794"/>
              <a:gd name="connsiteX71" fmla="*/ 157009 w 305786"/>
              <a:gd name="connsiteY71" fmla="*/ 141453 h 305794"/>
              <a:gd name="connsiteX72" fmla="*/ 164333 w 305786"/>
              <a:gd name="connsiteY72" fmla="*/ 148777 h 305794"/>
              <a:gd name="connsiteX73" fmla="*/ 171658 w 305786"/>
              <a:gd name="connsiteY73" fmla="*/ 141453 h 305794"/>
              <a:gd name="connsiteX74" fmla="*/ 164333 w 305786"/>
              <a:gd name="connsiteY74" fmla="*/ 134128 h 305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305786" h="305794">
                <a:moveTo>
                  <a:pt x="164333" y="305795"/>
                </a:moveTo>
                <a:cubicBezTo>
                  <a:pt x="163635" y="305795"/>
                  <a:pt x="162937" y="305611"/>
                  <a:pt x="162308" y="305257"/>
                </a:cubicBezTo>
                <a:cubicBezTo>
                  <a:pt x="161015" y="304524"/>
                  <a:pt x="160213" y="303162"/>
                  <a:pt x="160213" y="301675"/>
                </a:cubicBezTo>
                <a:lnTo>
                  <a:pt x="160213" y="225134"/>
                </a:lnTo>
                <a:cubicBezTo>
                  <a:pt x="158966" y="224791"/>
                  <a:pt x="157776" y="224299"/>
                  <a:pt x="156666" y="223669"/>
                </a:cubicBezTo>
                <a:lnTo>
                  <a:pt x="98574" y="281704"/>
                </a:lnTo>
                <a:lnTo>
                  <a:pt x="92749" y="275867"/>
                </a:lnTo>
                <a:lnTo>
                  <a:pt x="150818" y="217844"/>
                </a:lnTo>
                <a:cubicBezTo>
                  <a:pt x="149513" y="215578"/>
                  <a:pt x="148758" y="212935"/>
                  <a:pt x="148758" y="210119"/>
                </a:cubicBezTo>
                <a:cubicBezTo>
                  <a:pt x="148758" y="201536"/>
                  <a:pt x="155739" y="194555"/>
                  <a:pt x="164322" y="194555"/>
                </a:cubicBezTo>
                <a:cubicBezTo>
                  <a:pt x="172905" y="194555"/>
                  <a:pt x="179886" y="201536"/>
                  <a:pt x="179886" y="210119"/>
                </a:cubicBezTo>
                <a:cubicBezTo>
                  <a:pt x="179886" y="217272"/>
                  <a:pt x="175022" y="223315"/>
                  <a:pt x="168442" y="225134"/>
                </a:cubicBezTo>
                <a:lnTo>
                  <a:pt x="168442" y="294407"/>
                </a:lnTo>
                <a:lnTo>
                  <a:pt x="217413" y="265018"/>
                </a:lnTo>
                <a:lnTo>
                  <a:pt x="217413" y="164342"/>
                </a:lnTo>
                <a:cubicBezTo>
                  <a:pt x="217413" y="163243"/>
                  <a:pt x="217847" y="162202"/>
                  <a:pt x="218614" y="161435"/>
                </a:cubicBezTo>
                <a:lnTo>
                  <a:pt x="266372" y="113700"/>
                </a:lnTo>
                <a:cubicBezTo>
                  <a:pt x="286491" y="93592"/>
                  <a:pt x="297546" y="66881"/>
                  <a:pt x="297546" y="38453"/>
                </a:cubicBezTo>
                <a:lnTo>
                  <a:pt x="297546" y="8240"/>
                </a:lnTo>
                <a:lnTo>
                  <a:pt x="267333" y="8240"/>
                </a:lnTo>
                <a:cubicBezTo>
                  <a:pt x="238928" y="8240"/>
                  <a:pt x="212205" y="19307"/>
                  <a:pt x="192120" y="39403"/>
                </a:cubicBezTo>
                <a:lnTo>
                  <a:pt x="144363" y="87138"/>
                </a:lnTo>
                <a:cubicBezTo>
                  <a:pt x="143585" y="87916"/>
                  <a:pt x="142543" y="88351"/>
                  <a:pt x="141445" y="88351"/>
                </a:cubicBezTo>
                <a:lnTo>
                  <a:pt x="40791" y="88351"/>
                </a:lnTo>
                <a:lnTo>
                  <a:pt x="11390" y="137333"/>
                </a:lnTo>
                <a:lnTo>
                  <a:pt x="80652" y="137333"/>
                </a:lnTo>
                <a:cubicBezTo>
                  <a:pt x="82460" y="130741"/>
                  <a:pt x="88503" y="125888"/>
                  <a:pt x="95667" y="125888"/>
                </a:cubicBezTo>
                <a:cubicBezTo>
                  <a:pt x="104250" y="125888"/>
                  <a:pt x="111231" y="132870"/>
                  <a:pt x="111231" y="141453"/>
                </a:cubicBezTo>
                <a:cubicBezTo>
                  <a:pt x="111231" y="150036"/>
                  <a:pt x="104250" y="157017"/>
                  <a:pt x="95667" y="157017"/>
                </a:cubicBezTo>
                <a:cubicBezTo>
                  <a:pt x="92863" y="157017"/>
                  <a:pt x="90242" y="156273"/>
                  <a:pt x="87965" y="154980"/>
                </a:cubicBezTo>
                <a:lnTo>
                  <a:pt x="29907" y="213038"/>
                </a:lnTo>
                <a:lnTo>
                  <a:pt x="24082" y="207201"/>
                </a:lnTo>
                <a:lnTo>
                  <a:pt x="82128" y="149144"/>
                </a:lnTo>
                <a:cubicBezTo>
                  <a:pt x="81499" y="148033"/>
                  <a:pt x="80995" y="146832"/>
                  <a:pt x="80652" y="145573"/>
                </a:cubicBezTo>
                <a:lnTo>
                  <a:pt x="4112" y="145573"/>
                </a:lnTo>
                <a:cubicBezTo>
                  <a:pt x="2624" y="145573"/>
                  <a:pt x="1251" y="144772"/>
                  <a:pt x="530" y="143479"/>
                </a:cubicBezTo>
                <a:cubicBezTo>
                  <a:pt x="-191" y="142185"/>
                  <a:pt x="-180" y="140606"/>
                  <a:pt x="587" y="139336"/>
                </a:cubicBezTo>
                <a:lnTo>
                  <a:pt x="34931" y="82114"/>
                </a:lnTo>
                <a:cubicBezTo>
                  <a:pt x="35675" y="80878"/>
                  <a:pt x="37014" y="80111"/>
                  <a:pt x="38456" y="80111"/>
                </a:cubicBezTo>
                <a:lnTo>
                  <a:pt x="139739" y="80111"/>
                </a:lnTo>
                <a:lnTo>
                  <a:pt x="186284" y="33578"/>
                </a:lnTo>
                <a:cubicBezTo>
                  <a:pt x="207937" y="11925"/>
                  <a:pt x="236719" y="0"/>
                  <a:pt x="267333" y="0"/>
                </a:cubicBezTo>
                <a:lnTo>
                  <a:pt x="301666" y="0"/>
                </a:lnTo>
                <a:cubicBezTo>
                  <a:pt x="303944" y="0"/>
                  <a:pt x="305786" y="1843"/>
                  <a:pt x="305786" y="4120"/>
                </a:cubicBezTo>
                <a:lnTo>
                  <a:pt x="305786" y="38453"/>
                </a:lnTo>
                <a:cubicBezTo>
                  <a:pt x="305786" y="69078"/>
                  <a:pt x="293861" y="97861"/>
                  <a:pt x="272220" y="119514"/>
                </a:cubicBezTo>
                <a:lnTo>
                  <a:pt x="225675" y="166047"/>
                </a:lnTo>
                <a:lnTo>
                  <a:pt x="225675" y="267341"/>
                </a:lnTo>
                <a:cubicBezTo>
                  <a:pt x="225675" y="268783"/>
                  <a:pt x="224920" y="270122"/>
                  <a:pt x="223673" y="270878"/>
                </a:cubicBezTo>
                <a:lnTo>
                  <a:pt x="166451" y="305211"/>
                </a:lnTo>
                <a:cubicBezTo>
                  <a:pt x="165798" y="305600"/>
                  <a:pt x="165066" y="305795"/>
                  <a:pt x="164333" y="305795"/>
                </a:cubicBezTo>
                <a:close/>
                <a:moveTo>
                  <a:pt x="164333" y="202795"/>
                </a:moveTo>
                <a:cubicBezTo>
                  <a:pt x="160294" y="202795"/>
                  <a:pt x="157009" y="206079"/>
                  <a:pt x="157009" y="210119"/>
                </a:cubicBezTo>
                <a:cubicBezTo>
                  <a:pt x="157009" y="214159"/>
                  <a:pt x="160294" y="217444"/>
                  <a:pt x="164333" y="217444"/>
                </a:cubicBezTo>
                <a:cubicBezTo>
                  <a:pt x="168373" y="217444"/>
                  <a:pt x="171658" y="214159"/>
                  <a:pt x="171658" y="210119"/>
                </a:cubicBezTo>
                <a:cubicBezTo>
                  <a:pt x="171658" y="206079"/>
                  <a:pt x="168373" y="202795"/>
                  <a:pt x="164333" y="202795"/>
                </a:cubicBezTo>
                <a:close/>
                <a:moveTo>
                  <a:pt x="95667" y="134128"/>
                </a:moveTo>
                <a:cubicBezTo>
                  <a:pt x="91627" y="134128"/>
                  <a:pt x="88343" y="137413"/>
                  <a:pt x="88343" y="141453"/>
                </a:cubicBezTo>
                <a:cubicBezTo>
                  <a:pt x="88343" y="145493"/>
                  <a:pt x="91627" y="148777"/>
                  <a:pt x="95667" y="148777"/>
                </a:cubicBezTo>
                <a:cubicBezTo>
                  <a:pt x="99707" y="148777"/>
                  <a:pt x="102991" y="145493"/>
                  <a:pt x="102991" y="141453"/>
                </a:cubicBezTo>
                <a:cubicBezTo>
                  <a:pt x="102991" y="137413"/>
                  <a:pt x="99707" y="134128"/>
                  <a:pt x="95667" y="134128"/>
                </a:cubicBezTo>
                <a:close/>
                <a:moveTo>
                  <a:pt x="7019" y="304593"/>
                </a:moveTo>
                <a:lnTo>
                  <a:pt x="1193" y="298756"/>
                </a:lnTo>
                <a:lnTo>
                  <a:pt x="150806" y="149155"/>
                </a:lnTo>
                <a:cubicBezTo>
                  <a:pt x="149513" y="146878"/>
                  <a:pt x="148769" y="144257"/>
                  <a:pt x="148769" y="141453"/>
                </a:cubicBezTo>
                <a:cubicBezTo>
                  <a:pt x="148769" y="132870"/>
                  <a:pt x="155750" y="125888"/>
                  <a:pt x="164333" y="125888"/>
                </a:cubicBezTo>
                <a:cubicBezTo>
                  <a:pt x="172917" y="125888"/>
                  <a:pt x="179898" y="132870"/>
                  <a:pt x="179898" y="141453"/>
                </a:cubicBezTo>
                <a:cubicBezTo>
                  <a:pt x="179898" y="150036"/>
                  <a:pt x="172917" y="157017"/>
                  <a:pt x="164333" y="157017"/>
                </a:cubicBezTo>
                <a:cubicBezTo>
                  <a:pt x="161530" y="157017"/>
                  <a:pt x="158909" y="156273"/>
                  <a:pt x="156631" y="154980"/>
                </a:cubicBezTo>
                <a:lnTo>
                  <a:pt x="7019" y="304593"/>
                </a:lnTo>
                <a:close/>
                <a:moveTo>
                  <a:pt x="164333" y="134128"/>
                </a:moveTo>
                <a:cubicBezTo>
                  <a:pt x="160294" y="134128"/>
                  <a:pt x="157009" y="137413"/>
                  <a:pt x="157009" y="141453"/>
                </a:cubicBezTo>
                <a:cubicBezTo>
                  <a:pt x="157009" y="145493"/>
                  <a:pt x="160294" y="148777"/>
                  <a:pt x="164333" y="148777"/>
                </a:cubicBezTo>
                <a:cubicBezTo>
                  <a:pt x="168373" y="148777"/>
                  <a:pt x="171658" y="145493"/>
                  <a:pt x="171658" y="141453"/>
                </a:cubicBezTo>
                <a:cubicBezTo>
                  <a:pt x="171658" y="137413"/>
                  <a:pt x="168373" y="134128"/>
                  <a:pt x="164333" y="134128"/>
                </a:cubicBezTo>
                <a:close/>
              </a:path>
            </a:pathLst>
          </a:custGeom>
          <a:solidFill>
            <a:srgbClr val="000000"/>
          </a:solidFill>
          <a:ln w="11311" cap="flat">
            <a:noFill/>
            <a:prstDash val="solid"/>
            <a:miter/>
          </a:ln>
        </p:spPr>
        <p:txBody>
          <a:bodyPr rtlCol="0" anchor="ctr"/>
          <a:lstStyle/>
          <a:p>
            <a:endParaRPr lang="en-US" sz="900"/>
          </a:p>
        </p:txBody>
      </p:sp>
      <p:sp>
        <p:nvSpPr>
          <p:cNvPr id="6" name="Freeform: Shape 5">
            <a:extLst>
              <a:ext uri="{FF2B5EF4-FFF2-40B4-BE49-F238E27FC236}">
                <a16:creationId xmlns:a16="http://schemas.microsoft.com/office/drawing/2014/main" id="{34043421-7513-AF54-41BA-7E63D644E874}"/>
              </a:ext>
            </a:extLst>
          </p:cNvPr>
          <p:cNvSpPr>
            <a:spLocks noChangeAspect="1"/>
          </p:cNvSpPr>
          <p:nvPr userDrawn="1"/>
        </p:nvSpPr>
        <p:spPr>
          <a:xfrm rot="10800000">
            <a:off x="7786468" y="186647"/>
            <a:ext cx="1371421" cy="1371600"/>
          </a:xfrm>
          <a:custGeom>
            <a:avLst/>
            <a:gdLst>
              <a:gd name="connsiteX0" fmla="*/ 210111 w 1432576"/>
              <a:gd name="connsiteY0" fmla="*/ 926399 h 1432576"/>
              <a:gd name="connsiteX1" fmla="*/ 0 w 1432576"/>
              <a:gd name="connsiteY1" fmla="*/ 1432576 h 1432576"/>
              <a:gd name="connsiteX2" fmla="*/ 716288 w 1432576"/>
              <a:gd name="connsiteY2" fmla="*/ 1432576 h 1432576"/>
              <a:gd name="connsiteX3" fmla="*/ 1432576 w 1432576"/>
              <a:gd name="connsiteY3" fmla="*/ 1432576 h 1432576"/>
              <a:gd name="connsiteX4" fmla="*/ 1222465 w 1432576"/>
              <a:gd name="connsiteY4" fmla="*/ 926399 h 1432576"/>
              <a:gd name="connsiteX5" fmla="*/ 716288 w 1432576"/>
              <a:gd name="connsiteY5" fmla="*/ 716288 h 1432576"/>
              <a:gd name="connsiteX6" fmla="*/ 210111 w 1432576"/>
              <a:gd name="connsiteY6" fmla="*/ 926399 h 1432576"/>
              <a:gd name="connsiteX7" fmla="*/ 210111 w 1432576"/>
              <a:gd name="connsiteY7" fmla="*/ 506912 h 1432576"/>
              <a:gd name="connsiteX8" fmla="*/ 0 w 1432576"/>
              <a:gd name="connsiteY8" fmla="*/ 0 h 1432576"/>
              <a:gd name="connsiteX9" fmla="*/ 716288 w 1432576"/>
              <a:gd name="connsiteY9" fmla="*/ 0 h 1432576"/>
              <a:gd name="connsiteX10" fmla="*/ 1432576 w 1432576"/>
              <a:gd name="connsiteY10" fmla="*/ 0 h 1432576"/>
              <a:gd name="connsiteX11" fmla="*/ 1222465 w 1432576"/>
              <a:gd name="connsiteY11" fmla="*/ 506177 h 1432576"/>
              <a:gd name="connsiteX12" fmla="*/ 716288 w 1432576"/>
              <a:gd name="connsiteY12" fmla="*/ 716288 h 1432576"/>
              <a:gd name="connsiteX13" fmla="*/ 210111 w 1432576"/>
              <a:gd name="connsiteY13" fmla="*/ 506912 h 143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32576" h="1432576">
                <a:moveTo>
                  <a:pt x="210111" y="926399"/>
                </a:moveTo>
                <a:cubicBezTo>
                  <a:pt x="75669" y="1060841"/>
                  <a:pt x="0" y="1243035"/>
                  <a:pt x="0" y="1432576"/>
                </a:cubicBezTo>
                <a:lnTo>
                  <a:pt x="716288" y="1432576"/>
                </a:lnTo>
                <a:lnTo>
                  <a:pt x="1432576" y="1432576"/>
                </a:lnTo>
                <a:cubicBezTo>
                  <a:pt x="1432576" y="1242301"/>
                  <a:pt x="1356907" y="1060106"/>
                  <a:pt x="1222465" y="926399"/>
                </a:cubicBezTo>
                <a:cubicBezTo>
                  <a:pt x="1088023" y="792692"/>
                  <a:pt x="905829" y="716288"/>
                  <a:pt x="716288" y="716288"/>
                </a:cubicBezTo>
                <a:cubicBezTo>
                  <a:pt x="526747" y="716288"/>
                  <a:pt x="343818" y="791957"/>
                  <a:pt x="210111" y="926399"/>
                </a:cubicBezTo>
                <a:close/>
                <a:moveTo>
                  <a:pt x="210111" y="506912"/>
                </a:moveTo>
                <a:cubicBezTo>
                  <a:pt x="75669" y="372470"/>
                  <a:pt x="0" y="190276"/>
                  <a:pt x="0" y="0"/>
                </a:cubicBezTo>
                <a:lnTo>
                  <a:pt x="716288" y="0"/>
                </a:lnTo>
                <a:lnTo>
                  <a:pt x="1432576" y="0"/>
                </a:lnTo>
                <a:cubicBezTo>
                  <a:pt x="1432576" y="190276"/>
                  <a:pt x="1356907" y="372470"/>
                  <a:pt x="1222465" y="506177"/>
                </a:cubicBezTo>
                <a:cubicBezTo>
                  <a:pt x="1088023" y="639884"/>
                  <a:pt x="905829" y="716288"/>
                  <a:pt x="716288" y="716288"/>
                </a:cubicBezTo>
                <a:cubicBezTo>
                  <a:pt x="526747" y="716288"/>
                  <a:pt x="343818" y="641353"/>
                  <a:pt x="210111" y="506912"/>
                </a:cubicBezTo>
                <a:close/>
              </a:path>
            </a:pathLst>
          </a:custGeom>
          <a:solidFill>
            <a:srgbClr val="D02670"/>
          </a:solidFill>
          <a:ln w="7342" cap="flat">
            <a:noFill/>
            <a:prstDash val="solid"/>
            <a:miter/>
          </a:ln>
        </p:spPr>
        <p:txBody>
          <a:bodyPr rtlCol="0" anchor="ctr"/>
          <a:lstStyle/>
          <a:p>
            <a:endParaRPr lang="uk-UA" sz="900"/>
          </a:p>
        </p:txBody>
      </p:sp>
      <p:sp>
        <p:nvSpPr>
          <p:cNvPr id="7" name="Freeform: Shape 6">
            <a:extLst>
              <a:ext uri="{FF2B5EF4-FFF2-40B4-BE49-F238E27FC236}">
                <a16:creationId xmlns:a16="http://schemas.microsoft.com/office/drawing/2014/main" id="{D62804A0-1E46-C911-3CBF-E0B5427C8AE4}"/>
              </a:ext>
            </a:extLst>
          </p:cNvPr>
          <p:cNvSpPr>
            <a:spLocks noChangeAspect="1"/>
          </p:cNvSpPr>
          <p:nvPr userDrawn="1"/>
        </p:nvSpPr>
        <p:spPr>
          <a:xfrm>
            <a:off x="10526296" y="2932862"/>
            <a:ext cx="1377451" cy="1371600"/>
          </a:xfrm>
          <a:custGeom>
            <a:avLst/>
            <a:gdLst>
              <a:gd name="connsiteX0" fmla="*/ 1002803 w 1998994"/>
              <a:gd name="connsiteY0" fmla="*/ 1581041 h 1990243"/>
              <a:gd name="connsiteX1" fmla="*/ 1247443 w 1998994"/>
              <a:gd name="connsiteY1" fmla="*/ 1338605 h 1990243"/>
              <a:gd name="connsiteX2" fmla="*/ 1002803 w 1998994"/>
              <a:gd name="connsiteY2" fmla="*/ 1096169 h 1990243"/>
              <a:gd name="connsiteX3" fmla="*/ 758163 w 1998994"/>
              <a:gd name="connsiteY3" fmla="*/ 1338605 h 1990243"/>
              <a:gd name="connsiteX4" fmla="*/ 1002803 w 1998994"/>
              <a:gd name="connsiteY4" fmla="*/ 1581041 h 1990243"/>
              <a:gd name="connsiteX5" fmla="*/ 1011619 w 1998994"/>
              <a:gd name="connsiteY5" fmla="*/ 1892534 h 1990243"/>
              <a:gd name="connsiteX6" fmla="*/ 1579507 w 1998994"/>
              <a:gd name="connsiteY6" fmla="*/ 1337870 h 1990243"/>
              <a:gd name="connsiteX7" fmla="*/ 1011619 w 1998994"/>
              <a:gd name="connsiteY7" fmla="*/ 782471 h 1990243"/>
              <a:gd name="connsiteX8" fmla="*/ 443731 w 1998994"/>
              <a:gd name="connsiteY8" fmla="*/ 1337136 h 1990243"/>
              <a:gd name="connsiteX9" fmla="*/ 1011619 w 1998994"/>
              <a:gd name="connsiteY9" fmla="*/ 1892534 h 1990243"/>
              <a:gd name="connsiteX10" fmla="*/ 0 w 1998994"/>
              <a:gd name="connsiteY10" fmla="*/ 1321708 h 1990243"/>
              <a:gd name="connsiteX11" fmla="*/ 999865 w 1998994"/>
              <a:gd name="connsiteY11" fmla="*/ 660519 h 1990243"/>
              <a:gd name="connsiteX12" fmla="*/ 1998260 w 1998994"/>
              <a:gd name="connsiteY12" fmla="*/ 1329055 h 1990243"/>
              <a:gd name="connsiteX13" fmla="*/ 999865 w 1998994"/>
              <a:gd name="connsiteY13" fmla="*/ 1990244 h 1990243"/>
              <a:gd name="connsiteX14" fmla="*/ 0 w 1998994"/>
              <a:gd name="connsiteY14" fmla="*/ 1321708 h 1990243"/>
              <a:gd name="connsiteX15" fmla="*/ 372470 w 1998994"/>
              <a:gd name="connsiteY15" fmla="*/ 197686 h 1990243"/>
              <a:gd name="connsiteX16" fmla="*/ 999865 w 1998994"/>
              <a:gd name="connsiteY16" fmla="*/ 64 h 1990243"/>
              <a:gd name="connsiteX17" fmla="*/ 1627260 w 1998994"/>
              <a:gd name="connsiteY17" fmla="*/ 197686 h 1990243"/>
              <a:gd name="connsiteX18" fmla="*/ 1998995 w 1998994"/>
              <a:gd name="connsiteY18" fmla="*/ 598808 h 1990243"/>
              <a:gd name="connsiteX19" fmla="*/ 1998995 w 1998994"/>
              <a:gd name="connsiteY19" fmla="*/ 796430 h 1990243"/>
              <a:gd name="connsiteX20" fmla="*/ 1550856 w 1998994"/>
              <a:gd name="connsiteY20" fmla="*/ 470978 h 1990243"/>
              <a:gd name="connsiteX21" fmla="*/ 999865 w 1998994"/>
              <a:gd name="connsiteY21" fmla="*/ 346087 h 1990243"/>
              <a:gd name="connsiteX22" fmla="*/ 448874 w 1998994"/>
              <a:gd name="connsiteY22" fmla="*/ 470978 h 1990243"/>
              <a:gd name="connsiteX23" fmla="*/ 734 w 1998994"/>
              <a:gd name="connsiteY23" fmla="*/ 796430 h 1990243"/>
              <a:gd name="connsiteX24" fmla="*/ 734 w 1998994"/>
              <a:gd name="connsiteY24" fmla="*/ 598808 h 1990243"/>
              <a:gd name="connsiteX25" fmla="*/ 372470 w 1998994"/>
              <a:gd name="connsiteY25" fmla="*/ 197686 h 1990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998994" h="1990243">
                <a:moveTo>
                  <a:pt x="1002803" y="1581041"/>
                </a:moveTo>
                <a:cubicBezTo>
                  <a:pt x="1137980" y="1581041"/>
                  <a:pt x="1247443" y="1472312"/>
                  <a:pt x="1247443" y="1338605"/>
                </a:cubicBezTo>
                <a:cubicBezTo>
                  <a:pt x="1247443" y="1204163"/>
                  <a:pt x="1137980" y="1096169"/>
                  <a:pt x="1002803" y="1096169"/>
                </a:cubicBezTo>
                <a:cubicBezTo>
                  <a:pt x="867627" y="1096169"/>
                  <a:pt x="758163" y="1204898"/>
                  <a:pt x="758163" y="1338605"/>
                </a:cubicBezTo>
                <a:cubicBezTo>
                  <a:pt x="757429" y="1472312"/>
                  <a:pt x="867627" y="1581041"/>
                  <a:pt x="1002803" y="1581041"/>
                </a:cubicBezTo>
                <a:close/>
                <a:moveTo>
                  <a:pt x="1011619" y="1892534"/>
                </a:moveTo>
                <a:cubicBezTo>
                  <a:pt x="1325317" y="1892534"/>
                  <a:pt x="1579507" y="1644221"/>
                  <a:pt x="1579507" y="1337870"/>
                </a:cubicBezTo>
                <a:cubicBezTo>
                  <a:pt x="1579507" y="1031520"/>
                  <a:pt x="1325317" y="782471"/>
                  <a:pt x="1011619" y="782471"/>
                </a:cubicBezTo>
                <a:cubicBezTo>
                  <a:pt x="697922" y="782471"/>
                  <a:pt x="443731" y="1030785"/>
                  <a:pt x="443731" y="1337136"/>
                </a:cubicBezTo>
                <a:cubicBezTo>
                  <a:pt x="443731" y="1643487"/>
                  <a:pt x="697187" y="1892534"/>
                  <a:pt x="1011619" y="1892534"/>
                </a:cubicBezTo>
                <a:close/>
                <a:moveTo>
                  <a:pt x="0" y="1321708"/>
                </a:moveTo>
                <a:cubicBezTo>
                  <a:pt x="0" y="1321708"/>
                  <a:pt x="230681" y="660519"/>
                  <a:pt x="999865" y="660519"/>
                </a:cubicBezTo>
                <a:cubicBezTo>
                  <a:pt x="1769048" y="660519"/>
                  <a:pt x="1998260" y="1329055"/>
                  <a:pt x="1998260" y="1329055"/>
                </a:cubicBezTo>
                <a:cubicBezTo>
                  <a:pt x="1998260" y="1329055"/>
                  <a:pt x="1771252" y="1990244"/>
                  <a:pt x="999865" y="1990244"/>
                </a:cubicBezTo>
                <a:cubicBezTo>
                  <a:pt x="228477" y="1990244"/>
                  <a:pt x="0" y="1321708"/>
                  <a:pt x="0" y="1321708"/>
                </a:cubicBezTo>
                <a:close/>
                <a:moveTo>
                  <a:pt x="372470" y="197686"/>
                </a:moveTo>
                <a:cubicBezTo>
                  <a:pt x="634741" y="1534"/>
                  <a:pt x="951378" y="-670"/>
                  <a:pt x="999865" y="64"/>
                </a:cubicBezTo>
                <a:cubicBezTo>
                  <a:pt x="1048352" y="-670"/>
                  <a:pt x="1364988" y="1534"/>
                  <a:pt x="1627260" y="197686"/>
                </a:cubicBezTo>
                <a:cubicBezTo>
                  <a:pt x="1911571" y="410736"/>
                  <a:pt x="1998995" y="598808"/>
                  <a:pt x="1998995" y="598808"/>
                </a:cubicBezTo>
                <a:lnTo>
                  <a:pt x="1998995" y="796430"/>
                </a:lnTo>
                <a:cubicBezTo>
                  <a:pt x="1998995" y="796430"/>
                  <a:pt x="1821208" y="595135"/>
                  <a:pt x="1550856" y="470978"/>
                </a:cubicBezTo>
                <a:cubicBezTo>
                  <a:pt x="1304012" y="357841"/>
                  <a:pt x="1043209" y="346821"/>
                  <a:pt x="999865" y="346087"/>
                </a:cubicBezTo>
                <a:cubicBezTo>
                  <a:pt x="956520" y="346821"/>
                  <a:pt x="695718" y="357841"/>
                  <a:pt x="448874" y="470978"/>
                </a:cubicBezTo>
                <a:cubicBezTo>
                  <a:pt x="178521" y="595135"/>
                  <a:pt x="734" y="796430"/>
                  <a:pt x="734" y="796430"/>
                </a:cubicBezTo>
                <a:lnTo>
                  <a:pt x="734" y="598808"/>
                </a:lnTo>
                <a:cubicBezTo>
                  <a:pt x="0" y="598808"/>
                  <a:pt x="88159" y="410736"/>
                  <a:pt x="372470" y="197686"/>
                </a:cubicBezTo>
                <a:close/>
              </a:path>
            </a:pathLst>
          </a:custGeom>
          <a:solidFill>
            <a:schemeClr val="accent2"/>
          </a:solidFill>
          <a:ln w="7342" cap="flat">
            <a:noFill/>
            <a:prstDash val="solid"/>
            <a:miter/>
          </a:ln>
        </p:spPr>
        <p:txBody>
          <a:bodyPr rtlCol="0" anchor="ctr"/>
          <a:lstStyle/>
          <a:p>
            <a:endParaRPr lang="uk-UA" sz="900"/>
          </a:p>
        </p:txBody>
      </p:sp>
      <p:grpSp>
        <p:nvGrpSpPr>
          <p:cNvPr id="9" name="Graphic 16">
            <a:extLst>
              <a:ext uri="{FF2B5EF4-FFF2-40B4-BE49-F238E27FC236}">
                <a16:creationId xmlns:a16="http://schemas.microsoft.com/office/drawing/2014/main" id="{76EA9890-F9A5-841E-D8C7-FD03C80DD513}"/>
              </a:ext>
            </a:extLst>
          </p:cNvPr>
          <p:cNvGrpSpPr>
            <a:grpSpLocks noChangeAspect="1"/>
          </p:cNvGrpSpPr>
          <p:nvPr userDrawn="1"/>
        </p:nvGrpSpPr>
        <p:grpSpPr>
          <a:xfrm>
            <a:off x="6616428" y="3145309"/>
            <a:ext cx="1371421" cy="952738"/>
            <a:chOff x="36425971" y="7102135"/>
            <a:chExt cx="2006341" cy="1393639"/>
          </a:xfrm>
          <a:solidFill>
            <a:srgbClr val="08BDBA"/>
          </a:solidFill>
        </p:grpSpPr>
        <p:sp>
          <p:nvSpPr>
            <p:cNvPr id="11" name="Freeform: Shape 10">
              <a:extLst>
                <a:ext uri="{FF2B5EF4-FFF2-40B4-BE49-F238E27FC236}">
                  <a16:creationId xmlns:a16="http://schemas.microsoft.com/office/drawing/2014/main" id="{4F7B58BB-7704-BFF8-DC12-D8A6E4E50F1A}"/>
                </a:ext>
              </a:extLst>
            </p:cNvPr>
            <p:cNvSpPr/>
            <p:nvPr/>
          </p:nvSpPr>
          <p:spPr>
            <a:xfrm>
              <a:off x="36425971" y="7517215"/>
              <a:ext cx="694983" cy="753755"/>
            </a:xfrm>
            <a:custGeom>
              <a:avLst/>
              <a:gdLst>
                <a:gd name="connsiteX0" fmla="*/ 508381 w 694983"/>
                <a:gd name="connsiteY0" fmla="*/ 563480 h 753755"/>
                <a:gd name="connsiteX1" fmla="*/ 258598 w 694983"/>
                <a:gd name="connsiteY1" fmla="*/ 753756 h 753755"/>
                <a:gd name="connsiteX2" fmla="*/ 0 w 694983"/>
                <a:gd name="connsiteY2" fmla="*/ 498830 h 753755"/>
                <a:gd name="connsiteX3" fmla="*/ 166766 w 694983"/>
                <a:gd name="connsiteY3" fmla="*/ 260802 h 753755"/>
                <a:gd name="connsiteX4" fmla="*/ 694983 w 694983"/>
                <a:gd name="connsiteY4" fmla="*/ 0 h 753755"/>
                <a:gd name="connsiteX5" fmla="*/ 508381 w 694983"/>
                <a:gd name="connsiteY5" fmla="*/ 563480 h 753755"/>
                <a:gd name="connsiteX6" fmla="*/ 508381 w 694983"/>
                <a:gd name="connsiteY6" fmla="*/ 563480 h 753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4983" h="753755">
                  <a:moveTo>
                    <a:pt x="508381" y="563480"/>
                  </a:moveTo>
                  <a:cubicBezTo>
                    <a:pt x="479729" y="672944"/>
                    <a:pt x="378347" y="753756"/>
                    <a:pt x="258598" y="753756"/>
                  </a:cubicBezTo>
                  <a:cubicBezTo>
                    <a:pt x="116075" y="753756"/>
                    <a:pt x="0" y="639884"/>
                    <a:pt x="0" y="498830"/>
                  </a:cubicBezTo>
                  <a:cubicBezTo>
                    <a:pt x="0" y="390102"/>
                    <a:pt x="69057" y="296800"/>
                    <a:pt x="166766" y="260802"/>
                  </a:cubicBezTo>
                  <a:lnTo>
                    <a:pt x="694983" y="0"/>
                  </a:lnTo>
                  <a:lnTo>
                    <a:pt x="508381" y="563480"/>
                  </a:lnTo>
                  <a:lnTo>
                    <a:pt x="508381" y="563480"/>
                  </a:lnTo>
                  <a:close/>
                </a:path>
              </a:pathLst>
            </a:custGeom>
            <a:grpFill/>
            <a:ln w="7342" cap="flat">
              <a:noFill/>
              <a:prstDash val="solid"/>
              <a:miter/>
            </a:ln>
          </p:spPr>
          <p:txBody>
            <a:bodyPr rtlCol="0" anchor="ctr"/>
            <a:lstStyle/>
            <a:p>
              <a:endParaRPr lang="uk-UA" sz="900"/>
            </a:p>
          </p:txBody>
        </p:sp>
        <p:sp>
          <p:nvSpPr>
            <p:cNvPr id="12" name="Freeform: Shape 11">
              <a:extLst>
                <a:ext uri="{FF2B5EF4-FFF2-40B4-BE49-F238E27FC236}">
                  <a16:creationId xmlns:a16="http://schemas.microsoft.com/office/drawing/2014/main" id="{148505C0-F60C-443B-C4AA-7FBD6F3ECE09}"/>
                </a:ext>
              </a:extLst>
            </p:cNvPr>
            <p:cNvSpPr/>
            <p:nvPr/>
          </p:nvSpPr>
          <p:spPr>
            <a:xfrm>
              <a:off x="37737329" y="7517215"/>
              <a:ext cx="694983" cy="753755"/>
            </a:xfrm>
            <a:custGeom>
              <a:avLst/>
              <a:gdLst>
                <a:gd name="connsiteX0" fmla="*/ 186602 w 694983"/>
                <a:gd name="connsiteY0" fmla="*/ 563480 h 753755"/>
                <a:gd name="connsiteX1" fmla="*/ 436385 w 694983"/>
                <a:gd name="connsiteY1" fmla="*/ 753756 h 753755"/>
                <a:gd name="connsiteX2" fmla="*/ 694983 w 694983"/>
                <a:gd name="connsiteY2" fmla="*/ 498830 h 753755"/>
                <a:gd name="connsiteX3" fmla="*/ 528216 w 694983"/>
                <a:gd name="connsiteY3" fmla="*/ 260802 h 753755"/>
                <a:gd name="connsiteX4" fmla="*/ 0 w 694983"/>
                <a:gd name="connsiteY4" fmla="*/ 0 h 753755"/>
                <a:gd name="connsiteX5" fmla="*/ 186602 w 694983"/>
                <a:gd name="connsiteY5" fmla="*/ 563480 h 753755"/>
                <a:gd name="connsiteX6" fmla="*/ 186602 w 694983"/>
                <a:gd name="connsiteY6" fmla="*/ 563480 h 753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4983" h="753755">
                  <a:moveTo>
                    <a:pt x="186602" y="563480"/>
                  </a:moveTo>
                  <a:cubicBezTo>
                    <a:pt x="215254" y="672944"/>
                    <a:pt x="316636" y="753756"/>
                    <a:pt x="436385" y="753756"/>
                  </a:cubicBezTo>
                  <a:cubicBezTo>
                    <a:pt x="578908" y="753756"/>
                    <a:pt x="694983" y="639884"/>
                    <a:pt x="694983" y="498830"/>
                  </a:cubicBezTo>
                  <a:cubicBezTo>
                    <a:pt x="694983" y="390102"/>
                    <a:pt x="625925" y="296800"/>
                    <a:pt x="528216" y="260802"/>
                  </a:cubicBezTo>
                  <a:lnTo>
                    <a:pt x="0" y="0"/>
                  </a:lnTo>
                  <a:lnTo>
                    <a:pt x="186602" y="563480"/>
                  </a:lnTo>
                  <a:lnTo>
                    <a:pt x="186602" y="563480"/>
                  </a:lnTo>
                  <a:close/>
                </a:path>
              </a:pathLst>
            </a:custGeom>
            <a:grpFill/>
            <a:ln w="7342" cap="flat">
              <a:noFill/>
              <a:prstDash val="solid"/>
              <a:miter/>
            </a:ln>
          </p:spPr>
          <p:txBody>
            <a:bodyPr rtlCol="0" anchor="ctr"/>
            <a:lstStyle/>
            <a:p>
              <a:endParaRPr lang="uk-UA" sz="900"/>
            </a:p>
          </p:txBody>
        </p:sp>
        <p:sp>
          <p:nvSpPr>
            <p:cNvPr id="13" name="Freeform: Shape 12">
              <a:extLst>
                <a:ext uri="{FF2B5EF4-FFF2-40B4-BE49-F238E27FC236}">
                  <a16:creationId xmlns:a16="http://schemas.microsoft.com/office/drawing/2014/main" id="{B6380620-2214-9184-CECD-BFD855484351}"/>
                </a:ext>
              </a:extLst>
            </p:cNvPr>
            <p:cNvSpPr/>
            <p:nvPr/>
          </p:nvSpPr>
          <p:spPr>
            <a:xfrm>
              <a:off x="37109934" y="7401874"/>
              <a:ext cx="638414" cy="1093900"/>
            </a:xfrm>
            <a:custGeom>
              <a:avLst/>
              <a:gdLst>
                <a:gd name="connsiteX0" fmla="*/ 47018 w 638414"/>
                <a:gd name="connsiteY0" fmla="*/ 944031 h 1093900"/>
                <a:gd name="connsiteX1" fmla="*/ 318840 w 638414"/>
                <a:gd name="connsiteY1" fmla="*/ 1093901 h 1093900"/>
                <a:gd name="connsiteX2" fmla="*/ 590662 w 638414"/>
                <a:gd name="connsiteY2" fmla="*/ 944031 h 1093900"/>
                <a:gd name="connsiteX3" fmla="*/ 47018 w 638414"/>
                <a:gd name="connsiteY3" fmla="*/ 944031 h 1093900"/>
                <a:gd name="connsiteX4" fmla="*/ 47018 w 638414"/>
                <a:gd name="connsiteY4" fmla="*/ 944031 h 1093900"/>
                <a:gd name="connsiteX5" fmla="*/ 0 w 638414"/>
                <a:gd name="connsiteY5" fmla="*/ 628864 h 1093900"/>
                <a:gd name="connsiteX6" fmla="*/ 0 w 638414"/>
                <a:gd name="connsiteY6" fmla="*/ 778734 h 1093900"/>
                <a:gd name="connsiteX7" fmla="*/ 0 w 638414"/>
                <a:gd name="connsiteY7" fmla="*/ 793427 h 1093900"/>
                <a:gd name="connsiteX8" fmla="*/ 637680 w 638414"/>
                <a:gd name="connsiteY8" fmla="*/ 793427 h 1093900"/>
                <a:gd name="connsiteX9" fmla="*/ 637680 w 638414"/>
                <a:gd name="connsiteY9" fmla="*/ 778734 h 1093900"/>
                <a:gd name="connsiteX10" fmla="*/ 637680 w 638414"/>
                <a:gd name="connsiteY10" fmla="*/ 628864 h 1093900"/>
                <a:gd name="connsiteX11" fmla="*/ 0 w 638414"/>
                <a:gd name="connsiteY11" fmla="*/ 628864 h 1093900"/>
                <a:gd name="connsiteX12" fmla="*/ 0 w 638414"/>
                <a:gd name="connsiteY12" fmla="*/ 628864 h 1093900"/>
                <a:gd name="connsiteX13" fmla="*/ 38202 w 638414"/>
                <a:gd name="connsiteY13" fmla="*/ 164563 h 1093900"/>
                <a:gd name="connsiteX14" fmla="*/ 318840 w 638414"/>
                <a:gd name="connsiteY14" fmla="*/ 0 h 1093900"/>
                <a:gd name="connsiteX15" fmla="*/ 599478 w 638414"/>
                <a:gd name="connsiteY15" fmla="*/ 164563 h 1093900"/>
                <a:gd name="connsiteX16" fmla="*/ 38202 w 638414"/>
                <a:gd name="connsiteY16" fmla="*/ 164563 h 1093900"/>
                <a:gd name="connsiteX17" fmla="*/ 0 w 638414"/>
                <a:gd name="connsiteY17" fmla="*/ 314432 h 1093900"/>
                <a:gd name="connsiteX18" fmla="*/ 0 w 638414"/>
                <a:gd name="connsiteY18" fmla="*/ 478995 h 1093900"/>
                <a:gd name="connsiteX19" fmla="*/ 638415 w 638414"/>
                <a:gd name="connsiteY19" fmla="*/ 478995 h 1093900"/>
                <a:gd name="connsiteX20" fmla="*/ 638415 w 638414"/>
                <a:gd name="connsiteY20" fmla="*/ 314432 h 1093900"/>
                <a:gd name="connsiteX21" fmla="*/ 0 w 638414"/>
                <a:gd name="connsiteY21" fmla="*/ 314432 h 109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38414" h="1093900">
                  <a:moveTo>
                    <a:pt x="47018" y="944031"/>
                  </a:moveTo>
                  <a:cubicBezTo>
                    <a:pt x="102852" y="1033659"/>
                    <a:pt x="204234" y="1093901"/>
                    <a:pt x="318840" y="1093901"/>
                  </a:cubicBezTo>
                  <a:cubicBezTo>
                    <a:pt x="434181" y="1093901"/>
                    <a:pt x="534828" y="1033659"/>
                    <a:pt x="590662" y="944031"/>
                  </a:cubicBezTo>
                  <a:lnTo>
                    <a:pt x="47018" y="944031"/>
                  </a:lnTo>
                  <a:lnTo>
                    <a:pt x="47018" y="944031"/>
                  </a:lnTo>
                  <a:close/>
                  <a:moveTo>
                    <a:pt x="0" y="628864"/>
                  </a:moveTo>
                  <a:lnTo>
                    <a:pt x="0" y="778734"/>
                  </a:lnTo>
                  <a:cubicBezTo>
                    <a:pt x="0" y="783876"/>
                    <a:pt x="0" y="789019"/>
                    <a:pt x="0" y="793427"/>
                  </a:cubicBezTo>
                  <a:lnTo>
                    <a:pt x="637680" y="793427"/>
                  </a:lnTo>
                  <a:cubicBezTo>
                    <a:pt x="637680" y="788284"/>
                    <a:pt x="637680" y="783876"/>
                    <a:pt x="637680" y="778734"/>
                  </a:cubicBezTo>
                  <a:lnTo>
                    <a:pt x="637680" y="628864"/>
                  </a:lnTo>
                  <a:lnTo>
                    <a:pt x="0" y="628864"/>
                  </a:lnTo>
                  <a:lnTo>
                    <a:pt x="0" y="628864"/>
                  </a:lnTo>
                  <a:close/>
                  <a:moveTo>
                    <a:pt x="38202" y="164563"/>
                  </a:moveTo>
                  <a:cubicBezTo>
                    <a:pt x="92566" y="66119"/>
                    <a:pt x="197622" y="0"/>
                    <a:pt x="318840" y="0"/>
                  </a:cubicBezTo>
                  <a:cubicBezTo>
                    <a:pt x="440058" y="0"/>
                    <a:pt x="545848" y="66853"/>
                    <a:pt x="599478" y="164563"/>
                  </a:cubicBezTo>
                  <a:lnTo>
                    <a:pt x="38202" y="164563"/>
                  </a:lnTo>
                  <a:close/>
                  <a:moveTo>
                    <a:pt x="0" y="314432"/>
                  </a:moveTo>
                  <a:lnTo>
                    <a:pt x="0" y="478995"/>
                  </a:lnTo>
                  <a:lnTo>
                    <a:pt x="638415" y="478995"/>
                  </a:lnTo>
                  <a:lnTo>
                    <a:pt x="638415" y="314432"/>
                  </a:lnTo>
                  <a:lnTo>
                    <a:pt x="0" y="314432"/>
                  </a:lnTo>
                  <a:close/>
                </a:path>
              </a:pathLst>
            </a:custGeom>
            <a:grpFill/>
            <a:ln w="7342" cap="flat">
              <a:noFill/>
              <a:prstDash val="solid"/>
              <a:miter/>
            </a:ln>
          </p:spPr>
          <p:txBody>
            <a:bodyPr rtlCol="0" anchor="ctr"/>
            <a:lstStyle/>
            <a:p>
              <a:endParaRPr lang="uk-UA" sz="900"/>
            </a:p>
          </p:txBody>
        </p:sp>
        <p:sp>
          <p:nvSpPr>
            <p:cNvPr id="14" name="Freeform: Shape 13">
              <a:extLst>
                <a:ext uri="{FF2B5EF4-FFF2-40B4-BE49-F238E27FC236}">
                  <a16:creationId xmlns:a16="http://schemas.microsoft.com/office/drawing/2014/main" id="{7FCB08A7-36FC-3113-3367-4C831C1C600C}"/>
                </a:ext>
              </a:extLst>
            </p:cNvPr>
            <p:cNvSpPr/>
            <p:nvPr/>
          </p:nvSpPr>
          <p:spPr>
            <a:xfrm>
              <a:off x="37125362" y="7102135"/>
              <a:ext cx="304146" cy="299739"/>
            </a:xfrm>
            <a:custGeom>
              <a:avLst/>
              <a:gdLst>
                <a:gd name="connsiteX0" fmla="*/ 304147 w 304146"/>
                <a:gd name="connsiteY0" fmla="*/ 149870 h 299739"/>
                <a:gd name="connsiteX1" fmla="*/ 152073 w 304146"/>
                <a:gd name="connsiteY1" fmla="*/ 299739 h 299739"/>
                <a:gd name="connsiteX2" fmla="*/ 0 w 304146"/>
                <a:gd name="connsiteY2" fmla="*/ 149870 h 299739"/>
                <a:gd name="connsiteX3" fmla="*/ 152073 w 304146"/>
                <a:gd name="connsiteY3" fmla="*/ 0 h 299739"/>
                <a:gd name="connsiteX4" fmla="*/ 304147 w 304146"/>
                <a:gd name="connsiteY4" fmla="*/ 149870 h 299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146" h="299739">
                  <a:moveTo>
                    <a:pt x="304147" y="149870"/>
                  </a:moveTo>
                  <a:cubicBezTo>
                    <a:pt x="304147" y="232640"/>
                    <a:pt x="236061" y="299739"/>
                    <a:pt x="152073" y="299739"/>
                  </a:cubicBezTo>
                  <a:cubicBezTo>
                    <a:pt x="68085" y="299739"/>
                    <a:pt x="0" y="232640"/>
                    <a:pt x="0" y="149870"/>
                  </a:cubicBezTo>
                  <a:cubicBezTo>
                    <a:pt x="0" y="67099"/>
                    <a:pt x="68085" y="0"/>
                    <a:pt x="152073" y="0"/>
                  </a:cubicBezTo>
                  <a:cubicBezTo>
                    <a:pt x="236061" y="0"/>
                    <a:pt x="304147" y="67099"/>
                    <a:pt x="304147" y="149870"/>
                  </a:cubicBezTo>
                  <a:close/>
                </a:path>
              </a:pathLst>
            </a:custGeom>
            <a:grpFill/>
            <a:ln w="7342" cap="flat">
              <a:noFill/>
              <a:prstDash val="solid"/>
              <a:miter/>
            </a:ln>
          </p:spPr>
          <p:txBody>
            <a:bodyPr rtlCol="0" anchor="ctr"/>
            <a:lstStyle/>
            <a:p>
              <a:endParaRPr lang="uk-UA" sz="900"/>
            </a:p>
          </p:txBody>
        </p:sp>
        <p:sp>
          <p:nvSpPr>
            <p:cNvPr id="15" name="Freeform: Shape 14">
              <a:extLst>
                <a:ext uri="{FF2B5EF4-FFF2-40B4-BE49-F238E27FC236}">
                  <a16:creationId xmlns:a16="http://schemas.microsoft.com/office/drawing/2014/main" id="{6A7F1EE5-85FE-E119-2A91-8F82EF6D8F86}"/>
                </a:ext>
              </a:extLst>
            </p:cNvPr>
            <p:cNvSpPr/>
            <p:nvPr/>
          </p:nvSpPr>
          <p:spPr>
            <a:xfrm>
              <a:off x="37444202" y="7102135"/>
              <a:ext cx="304146" cy="299739"/>
            </a:xfrm>
            <a:custGeom>
              <a:avLst/>
              <a:gdLst>
                <a:gd name="connsiteX0" fmla="*/ 304147 w 304146"/>
                <a:gd name="connsiteY0" fmla="*/ 149870 h 299739"/>
                <a:gd name="connsiteX1" fmla="*/ 152074 w 304146"/>
                <a:gd name="connsiteY1" fmla="*/ 299739 h 299739"/>
                <a:gd name="connsiteX2" fmla="*/ 0 w 304146"/>
                <a:gd name="connsiteY2" fmla="*/ 149870 h 299739"/>
                <a:gd name="connsiteX3" fmla="*/ 152074 w 304146"/>
                <a:gd name="connsiteY3" fmla="*/ 0 h 299739"/>
                <a:gd name="connsiteX4" fmla="*/ 304147 w 304146"/>
                <a:gd name="connsiteY4" fmla="*/ 149870 h 299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146" h="299739">
                  <a:moveTo>
                    <a:pt x="304147" y="149870"/>
                  </a:moveTo>
                  <a:cubicBezTo>
                    <a:pt x="304147" y="232640"/>
                    <a:pt x="236062" y="299739"/>
                    <a:pt x="152074" y="299739"/>
                  </a:cubicBezTo>
                  <a:cubicBezTo>
                    <a:pt x="68086" y="299739"/>
                    <a:pt x="0" y="232640"/>
                    <a:pt x="0" y="149870"/>
                  </a:cubicBezTo>
                  <a:cubicBezTo>
                    <a:pt x="0" y="67099"/>
                    <a:pt x="68086" y="0"/>
                    <a:pt x="152074" y="0"/>
                  </a:cubicBezTo>
                  <a:cubicBezTo>
                    <a:pt x="236062" y="0"/>
                    <a:pt x="304147" y="67099"/>
                    <a:pt x="304147" y="149870"/>
                  </a:cubicBezTo>
                  <a:close/>
                </a:path>
              </a:pathLst>
            </a:custGeom>
            <a:grpFill/>
            <a:ln w="7342" cap="flat">
              <a:noFill/>
              <a:prstDash val="solid"/>
              <a:miter/>
            </a:ln>
          </p:spPr>
          <p:txBody>
            <a:bodyPr rtlCol="0" anchor="ctr"/>
            <a:lstStyle/>
            <a:p>
              <a:endParaRPr lang="uk-UA" sz="900"/>
            </a:p>
          </p:txBody>
        </p:sp>
      </p:grpSp>
      <p:grpSp>
        <p:nvGrpSpPr>
          <p:cNvPr id="16" name="Group 9">
            <a:extLst>
              <a:ext uri="{FF2B5EF4-FFF2-40B4-BE49-F238E27FC236}">
                <a16:creationId xmlns:a16="http://schemas.microsoft.com/office/drawing/2014/main" id="{366BB6D5-6803-8266-FAFB-316268B6CE5C}"/>
              </a:ext>
            </a:extLst>
          </p:cNvPr>
          <p:cNvGrpSpPr>
            <a:grpSpLocks noChangeAspect="1"/>
          </p:cNvGrpSpPr>
          <p:nvPr userDrawn="1"/>
        </p:nvGrpSpPr>
        <p:grpSpPr bwMode="auto">
          <a:xfrm>
            <a:off x="6488126" y="267759"/>
            <a:ext cx="1371421" cy="1209376"/>
            <a:chOff x="42" y="4229"/>
            <a:chExt cx="3881" cy="3422"/>
          </a:xfrm>
          <a:solidFill>
            <a:schemeClr val="tx1"/>
          </a:solidFill>
        </p:grpSpPr>
        <p:sp>
          <p:nvSpPr>
            <p:cNvPr id="17" name="Freeform 235">
              <a:extLst>
                <a:ext uri="{FF2B5EF4-FFF2-40B4-BE49-F238E27FC236}">
                  <a16:creationId xmlns:a16="http://schemas.microsoft.com/office/drawing/2014/main" id="{4E0E1CD9-D670-7F98-30F3-43FD0389CF0F}"/>
                </a:ext>
              </a:extLst>
            </p:cNvPr>
            <p:cNvSpPr>
              <a:spLocks noEditPoints="1"/>
            </p:cNvSpPr>
            <p:nvPr/>
          </p:nvSpPr>
          <p:spPr bwMode="auto">
            <a:xfrm>
              <a:off x="2058" y="4229"/>
              <a:ext cx="1865" cy="3422"/>
            </a:xfrm>
            <a:custGeom>
              <a:avLst/>
              <a:gdLst>
                <a:gd name="T0" fmla="*/ 2842 w 3636"/>
                <a:gd name="T1" fmla="*/ 2120 h 6673"/>
                <a:gd name="T2" fmla="*/ 1918 w 3636"/>
                <a:gd name="T3" fmla="*/ 577 h 6673"/>
                <a:gd name="T4" fmla="*/ 892 w 3636"/>
                <a:gd name="T5" fmla="*/ 0 h 6673"/>
                <a:gd name="T6" fmla="*/ 0 w 3636"/>
                <a:gd name="T7" fmla="*/ 5781 h 6673"/>
                <a:gd name="T8" fmla="*/ 1731 w 3636"/>
                <a:gd name="T9" fmla="*/ 6079 h 6673"/>
                <a:gd name="T10" fmla="*/ 2966 w 3636"/>
                <a:gd name="T11" fmla="*/ 5048 h 6673"/>
                <a:gd name="T12" fmla="*/ 3636 w 3636"/>
                <a:gd name="T13" fmla="*/ 3336 h 6673"/>
                <a:gd name="T14" fmla="*/ 1051 w 3636"/>
                <a:gd name="T15" fmla="*/ 2847 h 6673"/>
                <a:gd name="T16" fmla="*/ 738 w 3636"/>
                <a:gd name="T17" fmla="*/ 2847 h 6673"/>
                <a:gd name="T18" fmla="*/ 2684 w 3636"/>
                <a:gd name="T19" fmla="*/ 4426 h 6673"/>
                <a:gd name="T20" fmla="*/ 2640 w 3636"/>
                <a:gd name="T21" fmla="*/ 4559 h 6673"/>
                <a:gd name="T22" fmla="*/ 2121 w 3636"/>
                <a:gd name="T23" fmla="*/ 4715 h 6673"/>
                <a:gd name="T24" fmla="*/ 1467 w 3636"/>
                <a:gd name="T25" fmla="*/ 4803 h 6673"/>
                <a:gd name="T26" fmla="*/ 2121 w 3636"/>
                <a:gd name="T27" fmla="*/ 4891 h 6673"/>
                <a:gd name="T28" fmla="*/ 2790 w 3636"/>
                <a:gd name="T29" fmla="*/ 5048 h 6673"/>
                <a:gd name="T30" fmla="*/ 1693 w 3636"/>
                <a:gd name="T31" fmla="*/ 5890 h 6673"/>
                <a:gd name="T32" fmla="*/ 1585 w 3636"/>
                <a:gd name="T33" fmla="*/ 5954 h 6673"/>
                <a:gd name="T34" fmla="*/ 176 w 3636"/>
                <a:gd name="T35" fmla="*/ 5781 h 6673"/>
                <a:gd name="T36" fmla="*/ 807 w 3636"/>
                <a:gd name="T37" fmla="*/ 3912 h 6673"/>
                <a:gd name="T38" fmla="*/ 562 w 3636"/>
                <a:gd name="T39" fmla="*/ 5781 h 6673"/>
                <a:gd name="T40" fmla="*/ 1227 w 3636"/>
                <a:gd name="T41" fmla="*/ 5781 h 6673"/>
                <a:gd name="T42" fmla="*/ 983 w 3636"/>
                <a:gd name="T43" fmla="*/ 3912 h 6673"/>
                <a:gd name="T44" fmla="*/ 1881 w 3636"/>
                <a:gd name="T45" fmla="*/ 3424 h 6673"/>
                <a:gd name="T46" fmla="*/ 2778 w 3636"/>
                <a:gd name="T47" fmla="*/ 3669 h 6673"/>
                <a:gd name="T48" fmla="*/ 2778 w 3636"/>
                <a:gd name="T49" fmla="*/ 3004 h 6673"/>
                <a:gd name="T50" fmla="*/ 1888 w 3636"/>
                <a:gd name="T51" fmla="*/ 3248 h 6673"/>
                <a:gd name="T52" fmla="*/ 2132 w 3636"/>
                <a:gd name="T53" fmla="*/ 1380 h 6673"/>
                <a:gd name="T54" fmla="*/ 1467 w 3636"/>
                <a:gd name="T55" fmla="*/ 1380 h 6673"/>
                <a:gd name="T56" fmla="*/ 1712 w 3636"/>
                <a:gd name="T57" fmla="*/ 3338 h 6673"/>
                <a:gd name="T58" fmla="*/ 895 w 3636"/>
                <a:gd name="T59" fmla="*/ 3736 h 6673"/>
                <a:gd name="T60" fmla="*/ 176 w 3636"/>
                <a:gd name="T61" fmla="*/ 891 h 6673"/>
                <a:gd name="T62" fmla="*/ 807 w 3636"/>
                <a:gd name="T63" fmla="*/ 2527 h 6673"/>
                <a:gd name="T64" fmla="*/ 895 w 3636"/>
                <a:gd name="T65" fmla="*/ 3180 h 6673"/>
                <a:gd name="T66" fmla="*/ 983 w 3636"/>
                <a:gd name="T67" fmla="*/ 2527 h 6673"/>
                <a:gd name="T68" fmla="*/ 1585 w 3636"/>
                <a:gd name="T69" fmla="*/ 719 h 6673"/>
                <a:gd name="T70" fmla="*/ 1693 w 3636"/>
                <a:gd name="T71" fmla="*/ 783 h 6673"/>
                <a:gd name="T72" fmla="*/ 2790 w 3636"/>
                <a:gd name="T73" fmla="*/ 1625 h 6673"/>
                <a:gd name="T74" fmla="*/ 2629 w 3636"/>
                <a:gd name="T75" fmla="*/ 2191 h 6673"/>
                <a:gd name="T76" fmla="*/ 3460 w 3636"/>
                <a:gd name="T77" fmla="*/ 3336 h 6673"/>
                <a:gd name="T78" fmla="*/ 1956 w 3636"/>
                <a:gd name="T79" fmla="*/ 4803 h 6673"/>
                <a:gd name="T80" fmla="*/ 1643 w 3636"/>
                <a:gd name="T81" fmla="*/ 4803 h 6673"/>
                <a:gd name="T82" fmla="*/ 1956 w 3636"/>
                <a:gd name="T83" fmla="*/ 4803 h 6673"/>
                <a:gd name="T84" fmla="*/ 1051 w 3636"/>
                <a:gd name="T85" fmla="*/ 5781 h 6673"/>
                <a:gd name="T86" fmla="*/ 738 w 3636"/>
                <a:gd name="T87" fmla="*/ 5781 h 6673"/>
                <a:gd name="T88" fmla="*/ 1800 w 3636"/>
                <a:gd name="T89" fmla="*/ 1537 h 6673"/>
                <a:gd name="T90" fmla="*/ 1800 w 3636"/>
                <a:gd name="T91" fmla="*/ 1224 h 6673"/>
                <a:gd name="T92" fmla="*/ 1800 w 3636"/>
                <a:gd name="T93" fmla="*/ 1537 h 6673"/>
                <a:gd name="T94" fmla="*/ 2778 w 3636"/>
                <a:gd name="T95" fmla="*/ 3180 h 6673"/>
                <a:gd name="T96" fmla="*/ 2778 w 3636"/>
                <a:gd name="T97" fmla="*/ 3493 h 6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36" h="6673">
                  <a:moveTo>
                    <a:pt x="3636" y="3336"/>
                  </a:moveTo>
                  <a:cubicBezTo>
                    <a:pt x="3636" y="2807"/>
                    <a:pt x="3321" y="2331"/>
                    <a:pt x="2842" y="2120"/>
                  </a:cubicBezTo>
                  <a:cubicBezTo>
                    <a:pt x="2924" y="1968"/>
                    <a:pt x="2966" y="1799"/>
                    <a:pt x="2966" y="1625"/>
                  </a:cubicBezTo>
                  <a:cubicBezTo>
                    <a:pt x="2966" y="1047"/>
                    <a:pt x="2496" y="577"/>
                    <a:pt x="1918" y="577"/>
                  </a:cubicBezTo>
                  <a:cubicBezTo>
                    <a:pt x="1856" y="577"/>
                    <a:pt x="1794" y="582"/>
                    <a:pt x="1731" y="594"/>
                  </a:cubicBezTo>
                  <a:cubicBezTo>
                    <a:pt x="1607" y="240"/>
                    <a:pt x="1273" y="0"/>
                    <a:pt x="892" y="0"/>
                  </a:cubicBezTo>
                  <a:cubicBezTo>
                    <a:pt x="400" y="0"/>
                    <a:pt x="0" y="400"/>
                    <a:pt x="0" y="891"/>
                  </a:cubicBezTo>
                  <a:cubicBezTo>
                    <a:pt x="0" y="5781"/>
                    <a:pt x="0" y="5781"/>
                    <a:pt x="0" y="5781"/>
                  </a:cubicBezTo>
                  <a:cubicBezTo>
                    <a:pt x="0" y="6273"/>
                    <a:pt x="400" y="6673"/>
                    <a:pt x="892" y="6673"/>
                  </a:cubicBezTo>
                  <a:cubicBezTo>
                    <a:pt x="1273" y="6673"/>
                    <a:pt x="1607" y="6432"/>
                    <a:pt x="1731" y="6079"/>
                  </a:cubicBezTo>
                  <a:cubicBezTo>
                    <a:pt x="1794" y="6090"/>
                    <a:pt x="1856" y="6096"/>
                    <a:pt x="1918" y="6096"/>
                  </a:cubicBezTo>
                  <a:cubicBezTo>
                    <a:pt x="2496" y="6096"/>
                    <a:pt x="2966" y="5626"/>
                    <a:pt x="2966" y="5048"/>
                  </a:cubicBezTo>
                  <a:cubicBezTo>
                    <a:pt x="2966" y="4874"/>
                    <a:pt x="2924" y="4704"/>
                    <a:pt x="2842" y="4553"/>
                  </a:cubicBezTo>
                  <a:cubicBezTo>
                    <a:pt x="3321" y="4342"/>
                    <a:pt x="3636" y="3866"/>
                    <a:pt x="3636" y="3336"/>
                  </a:cubicBezTo>
                  <a:close/>
                  <a:moveTo>
                    <a:pt x="895" y="2691"/>
                  </a:moveTo>
                  <a:cubicBezTo>
                    <a:pt x="981" y="2691"/>
                    <a:pt x="1051" y="2761"/>
                    <a:pt x="1051" y="2847"/>
                  </a:cubicBezTo>
                  <a:cubicBezTo>
                    <a:pt x="1051" y="2934"/>
                    <a:pt x="981" y="3004"/>
                    <a:pt x="895" y="3004"/>
                  </a:cubicBezTo>
                  <a:cubicBezTo>
                    <a:pt x="808" y="3004"/>
                    <a:pt x="738" y="2934"/>
                    <a:pt x="738" y="2847"/>
                  </a:cubicBezTo>
                  <a:cubicBezTo>
                    <a:pt x="738" y="2761"/>
                    <a:pt x="808" y="2691"/>
                    <a:pt x="895" y="2691"/>
                  </a:cubicBezTo>
                  <a:close/>
                  <a:moveTo>
                    <a:pt x="2684" y="4426"/>
                  </a:moveTo>
                  <a:cubicBezTo>
                    <a:pt x="2658" y="4435"/>
                    <a:pt x="2638" y="4456"/>
                    <a:pt x="2629" y="4481"/>
                  </a:cubicBezTo>
                  <a:cubicBezTo>
                    <a:pt x="2621" y="4507"/>
                    <a:pt x="2625" y="4536"/>
                    <a:pt x="2640" y="4559"/>
                  </a:cubicBezTo>
                  <a:cubicBezTo>
                    <a:pt x="2674" y="4608"/>
                    <a:pt x="2702" y="4661"/>
                    <a:pt x="2725" y="4715"/>
                  </a:cubicBezTo>
                  <a:cubicBezTo>
                    <a:pt x="2121" y="4715"/>
                    <a:pt x="2121" y="4715"/>
                    <a:pt x="2121" y="4715"/>
                  </a:cubicBezTo>
                  <a:cubicBezTo>
                    <a:pt x="2082" y="4575"/>
                    <a:pt x="1953" y="4471"/>
                    <a:pt x="1800" y="4471"/>
                  </a:cubicBezTo>
                  <a:cubicBezTo>
                    <a:pt x="1617" y="4471"/>
                    <a:pt x="1467" y="4620"/>
                    <a:pt x="1467" y="4803"/>
                  </a:cubicBezTo>
                  <a:cubicBezTo>
                    <a:pt x="1467" y="4987"/>
                    <a:pt x="1617" y="5136"/>
                    <a:pt x="1800" y="5136"/>
                  </a:cubicBezTo>
                  <a:cubicBezTo>
                    <a:pt x="1953" y="5136"/>
                    <a:pt x="2082" y="5032"/>
                    <a:pt x="2121" y="4891"/>
                  </a:cubicBezTo>
                  <a:cubicBezTo>
                    <a:pt x="2776" y="4891"/>
                    <a:pt x="2776" y="4891"/>
                    <a:pt x="2776" y="4891"/>
                  </a:cubicBezTo>
                  <a:cubicBezTo>
                    <a:pt x="2785" y="4943"/>
                    <a:pt x="2790" y="4995"/>
                    <a:pt x="2790" y="5048"/>
                  </a:cubicBezTo>
                  <a:cubicBezTo>
                    <a:pt x="2790" y="5529"/>
                    <a:pt x="2399" y="5920"/>
                    <a:pt x="1918" y="5920"/>
                  </a:cubicBezTo>
                  <a:cubicBezTo>
                    <a:pt x="1844" y="5920"/>
                    <a:pt x="1769" y="5910"/>
                    <a:pt x="1693" y="5890"/>
                  </a:cubicBezTo>
                  <a:cubicBezTo>
                    <a:pt x="1670" y="5884"/>
                    <a:pt x="1646" y="5887"/>
                    <a:pt x="1626" y="5899"/>
                  </a:cubicBezTo>
                  <a:cubicBezTo>
                    <a:pt x="1605" y="5911"/>
                    <a:pt x="1591" y="5931"/>
                    <a:pt x="1585" y="5954"/>
                  </a:cubicBezTo>
                  <a:cubicBezTo>
                    <a:pt x="1506" y="6273"/>
                    <a:pt x="1221" y="6497"/>
                    <a:pt x="892" y="6497"/>
                  </a:cubicBezTo>
                  <a:cubicBezTo>
                    <a:pt x="497" y="6497"/>
                    <a:pt x="176" y="6176"/>
                    <a:pt x="176" y="5781"/>
                  </a:cubicBezTo>
                  <a:cubicBezTo>
                    <a:pt x="176" y="3912"/>
                    <a:pt x="176" y="3912"/>
                    <a:pt x="176" y="3912"/>
                  </a:cubicBezTo>
                  <a:cubicBezTo>
                    <a:pt x="807" y="3912"/>
                    <a:pt x="807" y="3912"/>
                    <a:pt x="807" y="3912"/>
                  </a:cubicBezTo>
                  <a:cubicBezTo>
                    <a:pt x="807" y="5461"/>
                    <a:pt x="807" y="5461"/>
                    <a:pt x="807" y="5461"/>
                  </a:cubicBezTo>
                  <a:cubicBezTo>
                    <a:pt x="666" y="5499"/>
                    <a:pt x="562" y="5628"/>
                    <a:pt x="562" y="5781"/>
                  </a:cubicBezTo>
                  <a:cubicBezTo>
                    <a:pt x="562" y="5965"/>
                    <a:pt x="711" y="6114"/>
                    <a:pt x="895" y="6114"/>
                  </a:cubicBezTo>
                  <a:cubicBezTo>
                    <a:pt x="1078" y="6114"/>
                    <a:pt x="1227" y="5965"/>
                    <a:pt x="1227" y="5781"/>
                  </a:cubicBezTo>
                  <a:cubicBezTo>
                    <a:pt x="1227" y="5628"/>
                    <a:pt x="1123" y="5499"/>
                    <a:pt x="983" y="5461"/>
                  </a:cubicBezTo>
                  <a:cubicBezTo>
                    <a:pt x="983" y="3912"/>
                    <a:pt x="983" y="3912"/>
                    <a:pt x="983" y="3912"/>
                  </a:cubicBezTo>
                  <a:cubicBezTo>
                    <a:pt x="1314" y="3912"/>
                    <a:pt x="1314" y="3912"/>
                    <a:pt x="1314" y="3912"/>
                  </a:cubicBezTo>
                  <a:cubicBezTo>
                    <a:pt x="1601" y="3912"/>
                    <a:pt x="1840" y="3700"/>
                    <a:pt x="1881" y="3424"/>
                  </a:cubicBezTo>
                  <a:cubicBezTo>
                    <a:pt x="2457" y="3424"/>
                    <a:pt x="2457" y="3424"/>
                    <a:pt x="2457" y="3424"/>
                  </a:cubicBezTo>
                  <a:cubicBezTo>
                    <a:pt x="2496" y="3565"/>
                    <a:pt x="2625" y="3669"/>
                    <a:pt x="2778" y="3669"/>
                  </a:cubicBezTo>
                  <a:cubicBezTo>
                    <a:pt x="2961" y="3669"/>
                    <a:pt x="3110" y="3520"/>
                    <a:pt x="3110" y="3336"/>
                  </a:cubicBezTo>
                  <a:cubicBezTo>
                    <a:pt x="3110" y="3153"/>
                    <a:pt x="2961" y="3004"/>
                    <a:pt x="2778" y="3004"/>
                  </a:cubicBezTo>
                  <a:cubicBezTo>
                    <a:pt x="2625" y="3004"/>
                    <a:pt x="2496" y="3108"/>
                    <a:pt x="2457" y="3248"/>
                  </a:cubicBezTo>
                  <a:cubicBezTo>
                    <a:pt x="1888" y="3248"/>
                    <a:pt x="1888" y="3248"/>
                    <a:pt x="1888" y="3248"/>
                  </a:cubicBezTo>
                  <a:cubicBezTo>
                    <a:pt x="1888" y="1701"/>
                    <a:pt x="1888" y="1701"/>
                    <a:pt x="1888" y="1701"/>
                  </a:cubicBezTo>
                  <a:cubicBezTo>
                    <a:pt x="2029" y="1662"/>
                    <a:pt x="2132" y="1533"/>
                    <a:pt x="2132" y="1380"/>
                  </a:cubicBezTo>
                  <a:cubicBezTo>
                    <a:pt x="2132" y="1197"/>
                    <a:pt x="1983" y="1048"/>
                    <a:pt x="1800" y="1048"/>
                  </a:cubicBezTo>
                  <a:cubicBezTo>
                    <a:pt x="1617" y="1048"/>
                    <a:pt x="1467" y="1197"/>
                    <a:pt x="1467" y="1380"/>
                  </a:cubicBezTo>
                  <a:cubicBezTo>
                    <a:pt x="1467" y="1533"/>
                    <a:pt x="1571" y="1662"/>
                    <a:pt x="1712" y="1701"/>
                  </a:cubicBezTo>
                  <a:cubicBezTo>
                    <a:pt x="1712" y="3338"/>
                    <a:pt x="1712" y="3338"/>
                    <a:pt x="1712" y="3338"/>
                  </a:cubicBezTo>
                  <a:cubicBezTo>
                    <a:pt x="1712" y="3557"/>
                    <a:pt x="1534" y="3736"/>
                    <a:pt x="1314" y="3736"/>
                  </a:cubicBezTo>
                  <a:cubicBezTo>
                    <a:pt x="895" y="3736"/>
                    <a:pt x="895" y="3736"/>
                    <a:pt x="895" y="3736"/>
                  </a:cubicBezTo>
                  <a:cubicBezTo>
                    <a:pt x="176" y="3736"/>
                    <a:pt x="176" y="3736"/>
                    <a:pt x="176" y="3736"/>
                  </a:cubicBezTo>
                  <a:cubicBezTo>
                    <a:pt x="176" y="891"/>
                    <a:pt x="176" y="891"/>
                    <a:pt x="176" y="891"/>
                  </a:cubicBezTo>
                  <a:cubicBezTo>
                    <a:pt x="176" y="526"/>
                    <a:pt x="452" y="224"/>
                    <a:pt x="807" y="181"/>
                  </a:cubicBezTo>
                  <a:cubicBezTo>
                    <a:pt x="807" y="2527"/>
                    <a:pt x="807" y="2527"/>
                    <a:pt x="807" y="2527"/>
                  </a:cubicBezTo>
                  <a:cubicBezTo>
                    <a:pt x="666" y="2565"/>
                    <a:pt x="562" y="2695"/>
                    <a:pt x="562" y="2847"/>
                  </a:cubicBezTo>
                  <a:cubicBezTo>
                    <a:pt x="562" y="3031"/>
                    <a:pt x="711" y="3180"/>
                    <a:pt x="895" y="3180"/>
                  </a:cubicBezTo>
                  <a:cubicBezTo>
                    <a:pt x="1078" y="3180"/>
                    <a:pt x="1227" y="3031"/>
                    <a:pt x="1227" y="2847"/>
                  </a:cubicBezTo>
                  <a:cubicBezTo>
                    <a:pt x="1227" y="2695"/>
                    <a:pt x="1123" y="2565"/>
                    <a:pt x="983" y="2527"/>
                  </a:cubicBezTo>
                  <a:cubicBezTo>
                    <a:pt x="983" y="182"/>
                    <a:pt x="983" y="182"/>
                    <a:pt x="983" y="182"/>
                  </a:cubicBezTo>
                  <a:cubicBezTo>
                    <a:pt x="1272" y="219"/>
                    <a:pt x="1513" y="429"/>
                    <a:pt x="1585" y="719"/>
                  </a:cubicBezTo>
                  <a:cubicBezTo>
                    <a:pt x="1591" y="742"/>
                    <a:pt x="1605" y="762"/>
                    <a:pt x="1626" y="774"/>
                  </a:cubicBezTo>
                  <a:cubicBezTo>
                    <a:pt x="1646" y="786"/>
                    <a:pt x="1670" y="789"/>
                    <a:pt x="1693" y="783"/>
                  </a:cubicBezTo>
                  <a:cubicBezTo>
                    <a:pt x="1769" y="763"/>
                    <a:pt x="1844" y="753"/>
                    <a:pt x="1918" y="753"/>
                  </a:cubicBezTo>
                  <a:cubicBezTo>
                    <a:pt x="2399" y="753"/>
                    <a:pt x="2790" y="1144"/>
                    <a:pt x="2790" y="1625"/>
                  </a:cubicBezTo>
                  <a:cubicBezTo>
                    <a:pt x="2790" y="1800"/>
                    <a:pt x="2738" y="1970"/>
                    <a:pt x="2640" y="2114"/>
                  </a:cubicBezTo>
                  <a:cubicBezTo>
                    <a:pt x="2625" y="2137"/>
                    <a:pt x="2621" y="2165"/>
                    <a:pt x="2629" y="2191"/>
                  </a:cubicBezTo>
                  <a:cubicBezTo>
                    <a:pt x="2638" y="2217"/>
                    <a:pt x="2658" y="2238"/>
                    <a:pt x="2684" y="2247"/>
                  </a:cubicBezTo>
                  <a:cubicBezTo>
                    <a:pt x="3148" y="2408"/>
                    <a:pt x="3460" y="2846"/>
                    <a:pt x="3460" y="3336"/>
                  </a:cubicBezTo>
                  <a:cubicBezTo>
                    <a:pt x="3460" y="3827"/>
                    <a:pt x="3148" y="4265"/>
                    <a:pt x="2684" y="4426"/>
                  </a:cubicBezTo>
                  <a:close/>
                  <a:moveTo>
                    <a:pt x="1956" y="4803"/>
                  </a:moveTo>
                  <a:cubicBezTo>
                    <a:pt x="1956" y="4890"/>
                    <a:pt x="1886" y="4960"/>
                    <a:pt x="1800" y="4960"/>
                  </a:cubicBezTo>
                  <a:cubicBezTo>
                    <a:pt x="1714" y="4960"/>
                    <a:pt x="1643" y="4890"/>
                    <a:pt x="1643" y="4803"/>
                  </a:cubicBezTo>
                  <a:cubicBezTo>
                    <a:pt x="1643" y="4717"/>
                    <a:pt x="1714" y="4647"/>
                    <a:pt x="1800" y="4647"/>
                  </a:cubicBezTo>
                  <a:cubicBezTo>
                    <a:pt x="1886" y="4647"/>
                    <a:pt x="1956" y="4717"/>
                    <a:pt x="1956" y="4803"/>
                  </a:cubicBezTo>
                  <a:close/>
                  <a:moveTo>
                    <a:pt x="895" y="5625"/>
                  </a:moveTo>
                  <a:cubicBezTo>
                    <a:pt x="981" y="5625"/>
                    <a:pt x="1051" y="5695"/>
                    <a:pt x="1051" y="5781"/>
                  </a:cubicBezTo>
                  <a:cubicBezTo>
                    <a:pt x="1051" y="5868"/>
                    <a:pt x="981" y="5938"/>
                    <a:pt x="895" y="5938"/>
                  </a:cubicBezTo>
                  <a:cubicBezTo>
                    <a:pt x="808" y="5938"/>
                    <a:pt x="738" y="5868"/>
                    <a:pt x="738" y="5781"/>
                  </a:cubicBezTo>
                  <a:cubicBezTo>
                    <a:pt x="738" y="5695"/>
                    <a:pt x="808" y="5625"/>
                    <a:pt x="895" y="5625"/>
                  </a:cubicBezTo>
                  <a:close/>
                  <a:moveTo>
                    <a:pt x="1800" y="1537"/>
                  </a:moveTo>
                  <a:cubicBezTo>
                    <a:pt x="1714" y="1537"/>
                    <a:pt x="1643" y="1467"/>
                    <a:pt x="1643" y="1380"/>
                  </a:cubicBezTo>
                  <a:cubicBezTo>
                    <a:pt x="1643" y="1294"/>
                    <a:pt x="1714" y="1224"/>
                    <a:pt x="1800" y="1224"/>
                  </a:cubicBezTo>
                  <a:cubicBezTo>
                    <a:pt x="1886" y="1224"/>
                    <a:pt x="1956" y="1294"/>
                    <a:pt x="1956" y="1380"/>
                  </a:cubicBezTo>
                  <a:cubicBezTo>
                    <a:pt x="1956" y="1467"/>
                    <a:pt x="1886" y="1537"/>
                    <a:pt x="1800" y="1537"/>
                  </a:cubicBezTo>
                  <a:close/>
                  <a:moveTo>
                    <a:pt x="2621" y="3336"/>
                  </a:moveTo>
                  <a:cubicBezTo>
                    <a:pt x="2621" y="3250"/>
                    <a:pt x="2692" y="3180"/>
                    <a:pt x="2778" y="3180"/>
                  </a:cubicBezTo>
                  <a:cubicBezTo>
                    <a:pt x="2864" y="3180"/>
                    <a:pt x="2934" y="3250"/>
                    <a:pt x="2934" y="3336"/>
                  </a:cubicBezTo>
                  <a:cubicBezTo>
                    <a:pt x="2934" y="3423"/>
                    <a:pt x="2864" y="3493"/>
                    <a:pt x="2778" y="3493"/>
                  </a:cubicBezTo>
                  <a:cubicBezTo>
                    <a:pt x="2692" y="3493"/>
                    <a:pt x="2621" y="3423"/>
                    <a:pt x="2621" y="33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uk-UA" sz="900"/>
            </a:p>
          </p:txBody>
        </p:sp>
        <p:sp>
          <p:nvSpPr>
            <p:cNvPr id="18" name="Freeform 11">
              <a:extLst>
                <a:ext uri="{FF2B5EF4-FFF2-40B4-BE49-F238E27FC236}">
                  <a16:creationId xmlns:a16="http://schemas.microsoft.com/office/drawing/2014/main" id="{18A9E4ED-16E5-5AAF-6A2B-D9D83BB02A85}"/>
                </a:ext>
              </a:extLst>
            </p:cNvPr>
            <p:cNvSpPr>
              <a:spLocks noEditPoints="1"/>
            </p:cNvSpPr>
            <p:nvPr/>
          </p:nvSpPr>
          <p:spPr bwMode="auto">
            <a:xfrm>
              <a:off x="42" y="4229"/>
              <a:ext cx="1865" cy="3422"/>
            </a:xfrm>
            <a:custGeom>
              <a:avLst/>
              <a:gdLst>
                <a:gd name="T0" fmla="*/ 1905 w 3636"/>
                <a:gd name="T1" fmla="*/ 594 h 6673"/>
                <a:gd name="T2" fmla="*/ 670 w 3636"/>
                <a:gd name="T3" fmla="*/ 1625 h 6673"/>
                <a:gd name="T4" fmla="*/ 0 w 3636"/>
                <a:gd name="T5" fmla="*/ 3336 h 6673"/>
                <a:gd name="T6" fmla="*/ 670 w 3636"/>
                <a:gd name="T7" fmla="*/ 5048 h 6673"/>
                <a:gd name="T8" fmla="*/ 1905 w 3636"/>
                <a:gd name="T9" fmla="*/ 6079 h 6673"/>
                <a:gd name="T10" fmla="*/ 3636 w 3636"/>
                <a:gd name="T11" fmla="*/ 5781 h 6673"/>
                <a:gd name="T12" fmla="*/ 2745 w 3636"/>
                <a:gd name="T13" fmla="*/ 0 h 6673"/>
                <a:gd name="T14" fmla="*/ 2585 w 3636"/>
                <a:gd name="T15" fmla="*/ 3825 h 6673"/>
                <a:gd name="T16" fmla="*/ 2898 w 3636"/>
                <a:gd name="T17" fmla="*/ 3825 h 6673"/>
                <a:gd name="T18" fmla="*/ 3460 w 3636"/>
                <a:gd name="T19" fmla="*/ 2761 h 6673"/>
                <a:gd name="T20" fmla="*/ 2830 w 3636"/>
                <a:gd name="T21" fmla="*/ 1212 h 6673"/>
                <a:gd name="T22" fmla="*/ 2742 w 3636"/>
                <a:gd name="T23" fmla="*/ 559 h 6673"/>
                <a:gd name="T24" fmla="*/ 2654 w 3636"/>
                <a:gd name="T25" fmla="*/ 1212 h 6673"/>
                <a:gd name="T26" fmla="*/ 2322 w 3636"/>
                <a:gd name="T27" fmla="*/ 2761 h 6673"/>
                <a:gd name="T28" fmla="*/ 1179 w 3636"/>
                <a:gd name="T29" fmla="*/ 3248 h 6673"/>
                <a:gd name="T30" fmla="*/ 526 w 3636"/>
                <a:gd name="T31" fmla="*/ 3336 h 6673"/>
                <a:gd name="T32" fmla="*/ 1179 w 3636"/>
                <a:gd name="T33" fmla="*/ 3424 h 6673"/>
                <a:gd name="T34" fmla="*/ 1748 w 3636"/>
                <a:gd name="T35" fmla="*/ 4972 h 6673"/>
                <a:gd name="T36" fmla="*/ 1836 w 3636"/>
                <a:gd name="T37" fmla="*/ 5625 h 6673"/>
                <a:gd name="T38" fmla="*/ 1924 w 3636"/>
                <a:gd name="T39" fmla="*/ 4972 h 6673"/>
                <a:gd name="T40" fmla="*/ 2322 w 3636"/>
                <a:gd name="T41" fmla="*/ 2937 h 6673"/>
                <a:gd name="T42" fmla="*/ 3460 w 3636"/>
                <a:gd name="T43" fmla="*/ 2937 h 6673"/>
                <a:gd name="T44" fmla="*/ 2830 w 3636"/>
                <a:gd name="T45" fmla="*/ 6491 h 6673"/>
                <a:gd name="T46" fmla="*/ 3074 w 3636"/>
                <a:gd name="T47" fmla="*/ 3825 h 6673"/>
                <a:gd name="T48" fmla="*/ 2409 w 3636"/>
                <a:gd name="T49" fmla="*/ 3825 h 6673"/>
                <a:gd name="T50" fmla="*/ 2654 w 3636"/>
                <a:gd name="T51" fmla="*/ 6491 h 6673"/>
                <a:gd name="T52" fmla="*/ 2011 w 3636"/>
                <a:gd name="T53" fmla="*/ 5899 h 6673"/>
                <a:gd name="T54" fmla="*/ 1943 w 3636"/>
                <a:gd name="T55" fmla="*/ 5890 h 6673"/>
                <a:gd name="T56" fmla="*/ 846 w 3636"/>
                <a:gd name="T57" fmla="*/ 5048 h 6673"/>
                <a:gd name="T58" fmla="*/ 1007 w 3636"/>
                <a:gd name="T59" fmla="*/ 4481 h 6673"/>
                <a:gd name="T60" fmla="*/ 176 w 3636"/>
                <a:gd name="T61" fmla="*/ 3336 h 6673"/>
                <a:gd name="T62" fmla="*/ 1007 w 3636"/>
                <a:gd name="T63" fmla="*/ 2191 h 6673"/>
                <a:gd name="T64" fmla="*/ 912 w 3636"/>
                <a:gd name="T65" fmla="*/ 1957 h 6673"/>
                <a:gd name="T66" fmla="*/ 1836 w 3636"/>
                <a:gd name="T67" fmla="*/ 2202 h 6673"/>
                <a:gd name="T68" fmla="*/ 1836 w 3636"/>
                <a:gd name="T69" fmla="*/ 1537 h 6673"/>
                <a:gd name="T70" fmla="*/ 860 w 3636"/>
                <a:gd name="T71" fmla="*/ 1781 h 6673"/>
                <a:gd name="T72" fmla="*/ 1718 w 3636"/>
                <a:gd name="T73" fmla="*/ 753 h 6673"/>
                <a:gd name="T74" fmla="*/ 2011 w 3636"/>
                <a:gd name="T75" fmla="*/ 774 h 6673"/>
                <a:gd name="T76" fmla="*/ 2745 w 3636"/>
                <a:gd name="T77" fmla="*/ 176 h 6673"/>
                <a:gd name="T78" fmla="*/ 3460 w 3636"/>
                <a:gd name="T79" fmla="*/ 2761 h 6673"/>
                <a:gd name="T80" fmla="*/ 2585 w 3636"/>
                <a:gd name="T81" fmla="*/ 891 h 6673"/>
                <a:gd name="T82" fmla="*/ 2898 w 3636"/>
                <a:gd name="T83" fmla="*/ 891 h 6673"/>
                <a:gd name="T84" fmla="*/ 1836 w 3636"/>
                <a:gd name="T85" fmla="*/ 5136 h 6673"/>
                <a:gd name="T86" fmla="*/ 1836 w 3636"/>
                <a:gd name="T87" fmla="*/ 5449 h 6673"/>
                <a:gd name="T88" fmla="*/ 1836 w 3636"/>
                <a:gd name="T89" fmla="*/ 5136 h 6673"/>
                <a:gd name="T90" fmla="*/ 858 w 3636"/>
                <a:gd name="T91" fmla="*/ 3493 h 6673"/>
                <a:gd name="T92" fmla="*/ 858 w 3636"/>
                <a:gd name="T93" fmla="*/ 3180 h 6673"/>
                <a:gd name="T94" fmla="*/ 1680 w 3636"/>
                <a:gd name="T95" fmla="*/ 1869 h 6673"/>
                <a:gd name="T96" fmla="*/ 1993 w 3636"/>
                <a:gd name="T97" fmla="*/ 1869 h 6673"/>
                <a:gd name="T98" fmla="*/ 1680 w 3636"/>
                <a:gd name="T99" fmla="*/ 1869 h 6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636" h="6673">
                  <a:moveTo>
                    <a:pt x="2745" y="0"/>
                  </a:moveTo>
                  <a:cubicBezTo>
                    <a:pt x="2363" y="0"/>
                    <a:pt x="2030" y="240"/>
                    <a:pt x="1905" y="594"/>
                  </a:cubicBezTo>
                  <a:cubicBezTo>
                    <a:pt x="1842" y="582"/>
                    <a:pt x="1780" y="577"/>
                    <a:pt x="1718" y="577"/>
                  </a:cubicBezTo>
                  <a:cubicBezTo>
                    <a:pt x="1140" y="577"/>
                    <a:pt x="670" y="1047"/>
                    <a:pt x="670" y="1625"/>
                  </a:cubicBezTo>
                  <a:cubicBezTo>
                    <a:pt x="670" y="1799"/>
                    <a:pt x="713" y="1968"/>
                    <a:pt x="794" y="2120"/>
                  </a:cubicBezTo>
                  <a:cubicBezTo>
                    <a:pt x="315" y="2331"/>
                    <a:pt x="0" y="2807"/>
                    <a:pt x="0" y="3336"/>
                  </a:cubicBezTo>
                  <a:cubicBezTo>
                    <a:pt x="0" y="3866"/>
                    <a:pt x="315" y="4342"/>
                    <a:pt x="794" y="4553"/>
                  </a:cubicBezTo>
                  <a:cubicBezTo>
                    <a:pt x="713" y="4704"/>
                    <a:pt x="670" y="4874"/>
                    <a:pt x="670" y="5048"/>
                  </a:cubicBezTo>
                  <a:cubicBezTo>
                    <a:pt x="670" y="5626"/>
                    <a:pt x="1140" y="6096"/>
                    <a:pt x="1718" y="6096"/>
                  </a:cubicBezTo>
                  <a:cubicBezTo>
                    <a:pt x="1780" y="6096"/>
                    <a:pt x="1842" y="6090"/>
                    <a:pt x="1905" y="6079"/>
                  </a:cubicBezTo>
                  <a:cubicBezTo>
                    <a:pt x="2030" y="6432"/>
                    <a:pt x="2363" y="6673"/>
                    <a:pt x="2745" y="6673"/>
                  </a:cubicBezTo>
                  <a:cubicBezTo>
                    <a:pt x="3236" y="6673"/>
                    <a:pt x="3636" y="6273"/>
                    <a:pt x="3636" y="5781"/>
                  </a:cubicBezTo>
                  <a:cubicBezTo>
                    <a:pt x="3636" y="891"/>
                    <a:pt x="3636" y="891"/>
                    <a:pt x="3636" y="891"/>
                  </a:cubicBezTo>
                  <a:cubicBezTo>
                    <a:pt x="3636" y="400"/>
                    <a:pt x="3236" y="0"/>
                    <a:pt x="2745" y="0"/>
                  </a:cubicBezTo>
                  <a:close/>
                  <a:moveTo>
                    <a:pt x="2742" y="3982"/>
                  </a:moveTo>
                  <a:cubicBezTo>
                    <a:pt x="2655" y="3982"/>
                    <a:pt x="2585" y="3912"/>
                    <a:pt x="2585" y="3825"/>
                  </a:cubicBezTo>
                  <a:cubicBezTo>
                    <a:pt x="2585" y="3739"/>
                    <a:pt x="2655" y="3669"/>
                    <a:pt x="2742" y="3669"/>
                  </a:cubicBezTo>
                  <a:cubicBezTo>
                    <a:pt x="2828" y="3669"/>
                    <a:pt x="2898" y="3739"/>
                    <a:pt x="2898" y="3825"/>
                  </a:cubicBezTo>
                  <a:cubicBezTo>
                    <a:pt x="2898" y="3912"/>
                    <a:pt x="2828" y="3982"/>
                    <a:pt x="2742" y="3982"/>
                  </a:cubicBezTo>
                  <a:close/>
                  <a:moveTo>
                    <a:pt x="3460" y="2761"/>
                  </a:moveTo>
                  <a:cubicBezTo>
                    <a:pt x="2830" y="2761"/>
                    <a:pt x="2830" y="2761"/>
                    <a:pt x="2830" y="2761"/>
                  </a:cubicBezTo>
                  <a:cubicBezTo>
                    <a:pt x="2830" y="1212"/>
                    <a:pt x="2830" y="1212"/>
                    <a:pt x="2830" y="1212"/>
                  </a:cubicBezTo>
                  <a:cubicBezTo>
                    <a:pt x="2970" y="1173"/>
                    <a:pt x="3074" y="1044"/>
                    <a:pt x="3074" y="891"/>
                  </a:cubicBezTo>
                  <a:cubicBezTo>
                    <a:pt x="3074" y="708"/>
                    <a:pt x="2925" y="559"/>
                    <a:pt x="2742" y="559"/>
                  </a:cubicBezTo>
                  <a:cubicBezTo>
                    <a:pt x="2558" y="559"/>
                    <a:pt x="2409" y="708"/>
                    <a:pt x="2409" y="891"/>
                  </a:cubicBezTo>
                  <a:cubicBezTo>
                    <a:pt x="2409" y="1044"/>
                    <a:pt x="2513" y="1173"/>
                    <a:pt x="2654" y="1212"/>
                  </a:cubicBezTo>
                  <a:cubicBezTo>
                    <a:pt x="2654" y="2761"/>
                    <a:pt x="2654" y="2761"/>
                    <a:pt x="2654" y="2761"/>
                  </a:cubicBezTo>
                  <a:cubicBezTo>
                    <a:pt x="2322" y="2761"/>
                    <a:pt x="2322" y="2761"/>
                    <a:pt x="2322" y="2761"/>
                  </a:cubicBezTo>
                  <a:cubicBezTo>
                    <a:pt x="2035" y="2761"/>
                    <a:pt x="1797" y="2973"/>
                    <a:pt x="1755" y="3248"/>
                  </a:cubicBezTo>
                  <a:cubicBezTo>
                    <a:pt x="1179" y="3248"/>
                    <a:pt x="1179" y="3248"/>
                    <a:pt x="1179" y="3248"/>
                  </a:cubicBezTo>
                  <a:cubicBezTo>
                    <a:pt x="1140" y="3108"/>
                    <a:pt x="1011" y="3004"/>
                    <a:pt x="858" y="3004"/>
                  </a:cubicBezTo>
                  <a:cubicBezTo>
                    <a:pt x="675" y="3004"/>
                    <a:pt x="526" y="3153"/>
                    <a:pt x="526" y="3336"/>
                  </a:cubicBezTo>
                  <a:cubicBezTo>
                    <a:pt x="526" y="3520"/>
                    <a:pt x="675" y="3669"/>
                    <a:pt x="858" y="3669"/>
                  </a:cubicBezTo>
                  <a:cubicBezTo>
                    <a:pt x="1011" y="3669"/>
                    <a:pt x="1140" y="3565"/>
                    <a:pt x="1179" y="3424"/>
                  </a:cubicBezTo>
                  <a:cubicBezTo>
                    <a:pt x="1748" y="3424"/>
                    <a:pt x="1748" y="3424"/>
                    <a:pt x="1748" y="3424"/>
                  </a:cubicBezTo>
                  <a:cubicBezTo>
                    <a:pt x="1748" y="4972"/>
                    <a:pt x="1748" y="4972"/>
                    <a:pt x="1748" y="4972"/>
                  </a:cubicBezTo>
                  <a:cubicBezTo>
                    <a:pt x="1608" y="5010"/>
                    <a:pt x="1504" y="5139"/>
                    <a:pt x="1504" y="5292"/>
                  </a:cubicBezTo>
                  <a:cubicBezTo>
                    <a:pt x="1504" y="5476"/>
                    <a:pt x="1653" y="5625"/>
                    <a:pt x="1836" y="5625"/>
                  </a:cubicBezTo>
                  <a:cubicBezTo>
                    <a:pt x="2020" y="5625"/>
                    <a:pt x="2169" y="5476"/>
                    <a:pt x="2169" y="5292"/>
                  </a:cubicBezTo>
                  <a:cubicBezTo>
                    <a:pt x="2169" y="5139"/>
                    <a:pt x="2065" y="5010"/>
                    <a:pt x="1924" y="4972"/>
                  </a:cubicBezTo>
                  <a:cubicBezTo>
                    <a:pt x="1924" y="3335"/>
                    <a:pt x="1924" y="3335"/>
                    <a:pt x="1924" y="3335"/>
                  </a:cubicBezTo>
                  <a:cubicBezTo>
                    <a:pt x="1924" y="3116"/>
                    <a:pt x="2103" y="2937"/>
                    <a:pt x="2322" y="2937"/>
                  </a:cubicBezTo>
                  <a:cubicBezTo>
                    <a:pt x="2742" y="2937"/>
                    <a:pt x="2742" y="2937"/>
                    <a:pt x="2742" y="2937"/>
                  </a:cubicBezTo>
                  <a:cubicBezTo>
                    <a:pt x="3460" y="2937"/>
                    <a:pt x="3460" y="2937"/>
                    <a:pt x="3460" y="2937"/>
                  </a:cubicBezTo>
                  <a:cubicBezTo>
                    <a:pt x="3460" y="5781"/>
                    <a:pt x="3460" y="5781"/>
                    <a:pt x="3460" y="5781"/>
                  </a:cubicBezTo>
                  <a:cubicBezTo>
                    <a:pt x="3460" y="6147"/>
                    <a:pt x="3184" y="6449"/>
                    <a:pt x="2830" y="6491"/>
                  </a:cubicBezTo>
                  <a:cubicBezTo>
                    <a:pt x="2830" y="4146"/>
                    <a:pt x="2830" y="4146"/>
                    <a:pt x="2830" y="4146"/>
                  </a:cubicBezTo>
                  <a:cubicBezTo>
                    <a:pt x="2970" y="4107"/>
                    <a:pt x="3074" y="3978"/>
                    <a:pt x="3074" y="3825"/>
                  </a:cubicBezTo>
                  <a:cubicBezTo>
                    <a:pt x="3074" y="3642"/>
                    <a:pt x="2925" y="3493"/>
                    <a:pt x="2742" y="3493"/>
                  </a:cubicBezTo>
                  <a:cubicBezTo>
                    <a:pt x="2558" y="3493"/>
                    <a:pt x="2409" y="3642"/>
                    <a:pt x="2409" y="3825"/>
                  </a:cubicBezTo>
                  <a:cubicBezTo>
                    <a:pt x="2409" y="3978"/>
                    <a:pt x="2513" y="4107"/>
                    <a:pt x="2654" y="4146"/>
                  </a:cubicBezTo>
                  <a:cubicBezTo>
                    <a:pt x="2654" y="6491"/>
                    <a:pt x="2654" y="6491"/>
                    <a:pt x="2654" y="6491"/>
                  </a:cubicBezTo>
                  <a:cubicBezTo>
                    <a:pt x="2364" y="6454"/>
                    <a:pt x="2123" y="6243"/>
                    <a:pt x="2051" y="5954"/>
                  </a:cubicBezTo>
                  <a:cubicBezTo>
                    <a:pt x="2046" y="5931"/>
                    <a:pt x="2031" y="5911"/>
                    <a:pt x="2011" y="5899"/>
                  </a:cubicBezTo>
                  <a:cubicBezTo>
                    <a:pt x="1997" y="5891"/>
                    <a:pt x="1981" y="5887"/>
                    <a:pt x="1966" y="5887"/>
                  </a:cubicBezTo>
                  <a:cubicBezTo>
                    <a:pt x="1958" y="5887"/>
                    <a:pt x="1951" y="5888"/>
                    <a:pt x="1943" y="5890"/>
                  </a:cubicBezTo>
                  <a:cubicBezTo>
                    <a:pt x="1867" y="5910"/>
                    <a:pt x="1792" y="5920"/>
                    <a:pt x="1718" y="5920"/>
                  </a:cubicBezTo>
                  <a:cubicBezTo>
                    <a:pt x="1237" y="5920"/>
                    <a:pt x="846" y="5529"/>
                    <a:pt x="846" y="5048"/>
                  </a:cubicBezTo>
                  <a:cubicBezTo>
                    <a:pt x="846" y="4872"/>
                    <a:pt x="898" y="4703"/>
                    <a:pt x="996" y="4559"/>
                  </a:cubicBezTo>
                  <a:cubicBezTo>
                    <a:pt x="1012" y="4536"/>
                    <a:pt x="1015" y="4507"/>
                    <a:pt x="1007" y="4481"/>
                  </a:cubicBezTo>
                  <a:cubicBezTo>
                    <a:pt x="998" y="4456"/>
                    <a:pt x="978" y="4435"/>
                    <a:pt x="952" y="4426"/>
                  </a:cubicBezTo>
                  <a:cubicBezTo>
                    <a:pt x="488" y="4265"/>
                    <a:pt x="176" y="3827"/>
                    <a:pt x="176" y="3336"/>
                  </a:cubicBezTo>
                  <a:cubicBezTo>
                    <a:pt x="176" y="2846"/>
                    <a:pt x="488" y="2408"/>
                    <a:pt x="952" y="2247"/>
                  </a:cubicBezTo>
                  <a:cubicBezTo>
                    <a:pt x="978" y="2238"/>
                    <a:pt x="998" y="2217"/>
                    <a:pt x="1007" y="2191"/>
                  </a:cubicBezTo>
                  <a:cubicBezTo>
                    <a:pt x="1015" y="2165"/>
                    <a:pt x="1012" y="2137"/>
                    <a:pt x="996" y="2114"/>
                  </a:cubicBezTo>
                  <a:cubicBezTo>
                    <a:pt x="962" y="2065"/>
                    <a:pt x="934" y="2012"/>
                    <a:pt x="912" y="1957"/>
                  </a:cubicBezTo>
                  <a:cubicBezTo>
                    <a:pt x="1516" y="1957"/>
                    <a:pt x="1516" y="1957"/>
                    <a:pt x="1516" y="1957"/>
                  </a:cubicBezTo>
                  <a:cubicBezTo>
                    <a:pt x="1554" y="2098"/>
                    <a:pt x="1683" y="2202"/>
                    <a:pt x="1836" y="2202"/>
                  </a:cubicBezTo>
                  <a:cubicBezTo>
                    <a:pt x="2020" y="2202"/>
                    <a:pt x="2169" y="2053"/>
                    <a:pt x="2169" y="1869"/>
                  </a:cubicBezTo>
                  <a:cubicBezTo>
                    <a:pt x="2169" y="1686"/>
                    <a:pt x="2020" y="1537"/>
                    <a:pt x="1836" y="1537"/>
                  </a:cubicBezTo>
                  <a:cubicBezTo>
                    <a:pt x="1683" y="1537"/>
                    <a:pt x="1554" y="1641"/>
                    <a:pt x="1516" y="1781"/>
                  </a:cubicBezTo>
                  <a:cubicBezTo>
                    <a:pt x="860" y="1781"/>
                    <a:pt x="860" y="1781"/>
                    <a:pt x="860" y="1781"/>
                  </a:cubicBezTo>
                  <a:cubicBezTo>
                    <a:pt x="851" y="1730"/>
                    <a:pt x="846" y="1678"/>
                    <a:pt x="846" y="1625"/>
                  </a:cubicBezTo>
                  <a:cubicBezTo>
                    <a:pt x="846" y="1144"/>
                    <a:pt x="1237" y="753"/>
                    <a:pt x="1718" y="753"/>
                  </a:cubicBezTo>
                  <a:cubicBezTo>
                    <a:pt x="1792" y="753"/>
                    <a:pt x="1867" y="763"/>
                    <a:pt x="1943" y="783"/>
                  </a:cubicBezTo>
                  <a:cubicBezTo>
                    <a:pt x="1966" y="789"/>
                    <a:pt x="1990" y="786"/>
                    <a:pt x="2011" y="774"/>
                  </a:cubicBezTo>
                  <a:cubicBezTo>
                    <a:pt x="2031" y="762"/>
                    <a:pt x="2046" y="742"/>
                    <a:pt x="2051" y="719"/>
                  </a:cubicBezTo>
                  <a:cubicBezTo>
                    <a:pt x="2130" y="400"/>
                    <a:pt x="2416" y="176"/>
                    <a:pt x="2745" y="176"/>
                  </a:cubicBezTo>
                  <a:cubicBezTo>
                    <a:pt x="3139" y="176"/>
                    <a:pt x="3460" y="497"/>
                    <a:pt x="3460" y="891"/>
                  </a:cubicBezTo>
                  <a:lnTo>
                    <a:pt x="3460" y="2761"/>
                  </a:lnTo>
                  <a:close/>
                  <a:moveTo>
                    <a:pt x="2742" y="1048"/>
                  </a:moveTo>
                  <a:cubicBezTo>
                    <a:pt x="2655" y="1048"/>
                    <a:pt x="2585" y="978"/>
                    <a:pt x="2585" y="891"/>
                  </a:cubicBezTo>
                  <a:cubicBezTo>
                    <a:pt x="2585" y="805"/>
                    <a:pt x="2655" y="735"/>
                    <a:pt x="2742" y="735"/>
                  </a:cubicBezTo>
                  <a:cubicBezTo>
                    <a:pt x="2828" y="735"/>
                    <a:pt x="2898" y="805"/>
                    <a:pt x="2898" y="891"/>
                  </a:cubicBezTo>
                  <a:cubicBezTo>
                    <a:pt x="2898" y="978"/>
                    <a:pt x="2828" y="1048"/>
                    <a:pt x="2742" y="1048"/>
                  </a:cubicBezTo>
                  <a:close/>
                  <a:moveTo>
                    <a:pt x="1836" y="5136"/>
                  </a:moveTo>
                  <a:cubicBezTo>
                    <a:pt x="1923" y="5136"/>
                    <a:pt x="1993" y="5206"/>
                    <a:pt x="1993" y="5292"/>
                  </a:cubicBezTo>
                  <a:cubicBezTo>
                    <a:pt x="1993" y="5379"/>
                    <a:pt x="1923" y="5449"/>
                    <a:pt x="1836" y="5449"/>
                  </a:cubicBezTo>
                  <a:cubicBezTo>
                    <a:pt x="1750" y="5449"/>
                    <a:pt x="1680" y="5379"/>
                    <a:pt x="1680" y="5292"/>
                  </a:cubicBezTo>
                  <a:cubicBezTo>
                    <a:pt x="1680" y="5206"/>
                    <a:pt x="1750" y="5136"/>
                    <a:pt x="1836" y="5136"/>
                  </a:cubicBezTo>
                  <a:close/>
                  <a:moveTo>
                    <a:pt x="1015" y="3336"/>
                  </a:moveTo>
                  <a:cubicBezTo>
                    <a:pt x="1015" y="3423"/>
                    <a:pt x="945" y="3493"/>
                    <a:pt x="858" y="3493"/>
                  </a:cubicBezTo>
                  <a:cubicBezTo>
                    <a:pt x="772" y="3493"/>
                    <a:pt x="702" y="3423"/>
                    <a:pt x="702" y="3336"/>
                  </a:cubicBezTo>
                  <a:cubicBezTo>
                    <a:pt x="702" y="3250"/>
                    <a:pt x="772" y="3180"/>
                    <a:pt x="858" y="3180"/>
                  </a:cubicBezTo>
                  <a:cubicBezTo>
                    <a:pt x="945" y="3180"/>
                    <a:pt x="1015" y="3250"/>
                    <a:pt x="1015" y="3336"/>
                  </a:cubicBezTo>
                  <a:close/>
                  <a:moveTo>
                    <a:pt x="1680" y="1869"/>
                  </a:moveTo>
                  <a:cubicBezTo>
                    <a:pt x="1680" y="1783"/>
                    <a:pt x="1750" y="1713"/>
                    <a:pt x="1836" y="1713"/>
                  </a:cubicBezTo>
                  <a:cubicBezTo>
                    <a:pt x="1923" y="1713"/>
                    <a:pt x="1993" y="1783"/>
                    <a:pt x="1993" y="1869"/>
                  </a:cubicBezTo>
                  <a:cubicBezTo>
                    <a:pt x="1993" y="1956"/>
                    <a:pt x="1923" y="2026"/>
                    <a:pt x="1836" y="2026"/>
                  </a:cubicBezTo>
                  <a:cubicBezTo>
                    <a:pt x="1750" y="2026"/>
                    <a:pt x="1680" y="1956"/>
                    <a:pt x="1680" y="18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uk-UA" sz="900"/>
            </a:p>
          </p:txBody>
        </p:sp>
      </p:grpSp>
    </p:spTree>
    <p:extLst>
      <p:ext uri="{BB962C8B-B14F-4D97-AF65-F5344CB8AC3E}">
        <p14:creationId xmlns:p14="http://schemas.microsoft.com/office/powerpoint/2010/main" val="3519289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75474" y="191938"/>
            <a:ext cx="5533226" cy="646263"/>
          </a:xfrm>
        </p:spPr>
        <p:txBody>
          <a:bodyPr/>
          <a:lstStyle>
            <a:lvl1pPr>
              <a:lnSpc>
                <a:spcPct val="100000"/>
              </a:lnSpc>
              <a:defRPr sz="1800">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275474" y="1714500"/>
            <a:ext cx="548569" cy="4283869"/>
          </a:xfrm>
        </p:spPr>
        <p:txBody>
          <a:bodyPr/>
          <a:lstStyle>
            <a:lvl1pPr defTabSz="580528">
              <a:spcBef>
                <a:spcPts val="0"/>
              </a:spcBef>
              <a:spcAft>
                <a:spcPts val="900"/>
              </a:spcAft>
              <a:defRPr sz="3199">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en-US"/>
              <a:t>Click to edit Master text styles</a:t>
            </a:r>
          </a:p>
        </p:txBody>
      </p:sp>
      <p:sp>
        <p:nvSpPr>
          <p:cNvPr id="9" name="Text Placeholder 6">
            <a:extLst>
              <a:ext uri="{FF2B5EF4-FFF2-40B4-BE49-F238E27FC236}">
                <a16:creationId xmlns:a16="http://schemas.microsoft.com/office/drawing/2014/main" id="{79EEE1D6-6B7E-76B8-7CD3-AF36ED0688CE}"/>
              </a:ext>
            </a:extLst>
          </p:cNvPr>
          <p:cNvSpPr>
            <a:spLocks noGrp="1"/>
          </p:cNvSpPr>
          <p:nvPr>
            <p:ph type="body" sz="quarter" idx="11"/>
          </p:nvPr>
        </p:nvSpPr>
        <p:spPr>
          <a:xfrm>
            <a:off x="1020698" y="1714500"/>
            <a:ext cx="4788002" cy="4283869"/>
          </a:xfrm>
        </p:spPr>
        <p:txBody>
          <a:bodyPr/>
          <a:lstStyle>
            <a:lvl1pPr defTabSz="580528">
              <a:spcBef>
                <a:spcPts val="0"/>
              </a:spcBef>
              <a:spcAft>
                <a:spcPts val="900"/>
              </a:spcAft>
              <a:defRPr sz="3199">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en-US"/>
              <a:t>Click to edit Master text styles</a:t>
            </a:r>
          </a:p>
        </p:txBody>
      </p:sp>
      <p:sp>
        <p:nvSpPr>
          <p:cNvPr id="5" name="Footer Placeholder 1">
            <a:extLst>
              <a:ext uri="{FF2B5EF4-FFF2-40B4-BE49-F238E27FC236}">
                <a16:creationId xmlns:a16="http://schemas.microsoft.com/office/drawing/2014/main" id="{3FA6A4E4-9CC1-7010-E902-B213741D098B}"/>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
        <p:nvSpPr>
          <p:cNvPr id="3" name="Freeform: Shape 2">
            <a:extLst>
              <a:ext uri="{FF2B5EF4-FFF2-40B4-BE49-F238E27FC236}">
                <a16:creationId xmlns:a16="http://schemas.microsoft.com/office/drawing/2014/main" id="{67AFA234-9EB2-81ED-6BF3-392ADD6E072B}"/>
              </a:ext>
            </a:extLst>
          </p:cNvPr>
          <p:cNvSpPr>
            <a:spLocks noChangeAspect="1"/>
          </p:cNvSpPr>
          <p:nvPr userDrawn="1"/>
        </p:nvSpPr>
        <p:spPr>
          <a:xfrm rot="10800000">
            <a:off x="9138733" y="2452530"/>
            <a:ext cx="1371421" cy="1371600"/>
          </a:xfrm>
          <a:custGeom>
            <a:avLst/>
            <a:gdLst>
              <a:gd name="connsiteX0" fmla="*/ 716288 w 1432576"/>
              <a:gd name="connsiteY0" fmla="*/ 1432576 h 1432576"/>
              <a:gd name="connsiteX1" fmla="*/ 716288 w 1432576"/>
              <a:gd name="connsiteY1" fmla="*/ 0 h 1432576"/>
              <a:gd name="connsiteX2" fmla="*/ 1432576 w 1432576"/>
              <a:gd name="connsiteY2" fmla="*/ 716288 h 1432576"/>
              <a:gd name="connsiteX3" fmla="*/ 716288 w 1432576"/>
              <a:gd name="connsiteY3" fmla="*/ 1432576 h 1432576"/>
              <a:gd name="connsiteX4" fmla="*/ 0 w 1432576"/>
              <a:gd name="connsiteY4" fmla="*/ 1432576 h 1432576"/>
              <a:gd name="connsiteX5" fmla="*/ 0 w 1432576"/>
              <a:gd name="connsiteY5" fmla="*/ 0 h 1432576"/>
              <a:gd name="connsiteX6" fmla="*/ 716288 w 1432576"/>
              <a:gd name="connsiteY6" fmla="*/ 716288 h 1432576"/>
              <a:gd name="connsiteX7" fmla="*/ 0 w 1432576"/>
              <a:gd name="connsiteY7" fmla="*/ 1432576 h 143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2576" h="1432576">
                <a:moveTo>
                  <a:pt x="716288" y="1432576"/>
                </a:moveTo>
                <a:lnTo>
                  <a:pt x="716288" y="0"/>
                </a:lnTo>
                <a:lnTo>
                  <a:pt x="1432576" y="716288"/>
                </a:lnTo>
                <a:lnTo>
                  <a:pt x="716288" y="1432576"/>
                </a:lnTo>
                <a:close/>
                <a:moveTo>
                  <a:pt x="0" y="1432576"/>
                </a:moveTo>
                <a:lnTo>
                  <a:pt x="0" y="0"/>
                </a:lnTo>
                <a:lnTo>
                  <a:pt x="716288" y="716288"/>
                </a:lnTo>
                <a:lnTo>
                  <a:pt x="0" y="1432576"/>
                </a:lnTo>
                <a:close/>
              </a:path>
            </a:pathLst>
          </a:custGeom>
          <a:solidFill>
            <a:schemeClr val="accent6"/>
          </a:solidFill>
          <a:ln w="7342" cap="flat">
            <a:noFill/>
            <a:prstDash val="solid"/>
            <a:miter/>
          </a:ln>
        </p:spPr>
        <p:txBody>
          <a:bodyPr rtlCol="0" anchor="ctr"/>
          <a:lstStyle/>
          <a:p>
            <a:endParaRPr lang="uk-UA" sz="900"/>
          </a:p>
        </p:txBody>
      </p:sp>
      <p:sp>
        <p:nvSpPr>
          <p:cNvPr id="6" name="Graphic 53">
            <a:extLst>
              <a:ext uri="{FF2B5EF4-FFF2-40B4-BE49-F238E27FC236}">
                <a16:creationId xmlns:a16="http://schemas.microsoft.com/office/drawing/2014/main" id="{AE68EB12-09B4-4390-1746-9E1CAECB3D74}"/>
              </a:ext>
            </a:extLst>
          </p:cNvPr>
          <p:cNvSpPr>
            <a:spLocks noChangeAspect="1"/>
          </p:cNvSpPr>
          <p:nvPr userDrawn="1"/>
        </p:nvSpPr>
        <p:spPr>
          <a:xfrm>
            <a:off x="7093559" y="5883958"/>
            <a:ext cx="685711" cy="685800"/>
          </a:xfrm>
          <a:custGeom>
            <a:avLst/>
            <a:gdLst>
              <a:gd name="connsiteX0" fmla="*/ 928688 w 1857375"/>
              <a:gd name="connsiteY0" fmla="*/ 1857375 h 1857375"/>
              <a:gd name="connsiteX1" fmla="*/ 0 w 1857375"/>
              <a:gd name="connsiteY1" fmla="*/ 928688 h 1857375"/>
              <a:gd name="connsiteX2" fmla="*/ 0 w 1857375"/>
              <a:gd name="connsiteY2" fmla="*/ 1857375 h 1857375"/>
              <a:gd name="connsiteX3" fmla="*/ 928688 w 1857375"/>
              <a:gd name="connsiteY3" fmla="*/ 1857375 h 1857375"/>
              <a:gd name="connsiteX4" fmla="*/ 928688 w 1857375"/>
              <a:gd name="connsiteY4" fmla="*/ 1857375 h 1857375"/>
              <a:gd name="connsiteX5" fmla="*/ 1857375 w 1857375"/>
              <a:gd name="connsiteY5" fmla="*/ 928688 h 1857375"/>
              <a:gd name="connsiteX6" fmla="*/ 1857375 w 1857375"/>
              <a:gd name="connsiteY6" fmla="*/ 1857375 h 1857375"/>
              <a:gd name="connsiteX7" fmla="*/ 928688 w 1857375"/>
              <a:gd name="connsiteY7" fmla="*/ 1857375 h 1857375"/>
              <a:gd name="connsiteX8" fmla="*/ 1857375 w 1857375"/>
              <a:gd name="connsiteY8" fmla="*/ 0 h 1857375"/>
              <a:gd name="connsiteX9" fmla="*/ 1857375 w 1857375"/>
              <a:gd name="connsiteY9" fmla="*/ 928688 h 1857375"/>
              <a:gd name="connsiteX10" fmla="*/ 928688 w 1857375"/>
              <a:gd name="connsiteY10" fmla="*/ 0 h 1857375"/>
              <a:gd name="connsiteX11" fmla="*/ 0 w 1857375"/>
              <a:gd name="connsiteY11" fmla="*/ 928688 h 1857375"/>
              <a:gd name="connsiteX12" fmla="*/ 0 w 1857375"/>
              <a:gd name="connsiteY12" fmla="*/ 0 h 1857375"/>
              <a:gd name="connsiteX13" fmla="*/ 928688 w 1857375"/>
              <a:gd name="connsiteY13" fmla="*/ 0 h 1857375"/>
              <a:gd name="connsiteX14" fmla="*/ 928688 w 1857375"/>
              <a:gd name="connsiteY14" fmla="*/ 0 h 1857375"/>
              <a:gd name="connsiteX15" fmla="*/ 1857375 w 1857375"/>
              <a:gd name="connsiteY15" fmla="*/ 0 h 1857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57375" h="1857375">
                <a:moveTo>
                  <a:pt x="928688" y="1857375"/>
                </a:moveTo>
                <a:lnTo>
                  <a:pt x="0" y="928688"/>
                </a:lnTo>
                <a:lnTo>
                  <a:pt x="0" y="1857375"/>
                </a:lnTo>
                <a:lnTo>
                  <a:pt x="928688" y="1857375"/>
                </a:lnTo>
                <a:close/>
                <a:moveTo>
                  <a:pt x="928688" y="1857375"/>
                </a:moveTo>
                <a:lnTo>
                  <a:pt x="1857375" y="928688"/>
                </a:lnTo>
                <a:lnTo>
                  <a:pt x="1857375" y="1857375"/>
                </a:lnTo>
                <a:lnTo>
                  <a:pt x="928688" y="1857375"/>
                </a:lnTo>
                <a:close/>
                <a:moveTo>
                  <a:pt x="1857375" y="0"/>
                </a:moveTo>
                <a:lnTo>
                  <a:pt x="1857375" y="928688"/>
                </a:lnTo>
                <a:lnTo>
                  <a:pt x="928688" y="0"/>
                </a:lnTo>
                <a:lnTo>
                  <a:pt x="0" y="928688"/>
                </a:lnTo>
                <a:lnTo>
                  <a:pt x="0" y="0"/>
                </a:lnTo>
                <a:lnTo>
                  <a:pt x="928688" y="0"/>
                </a:lnTo>
                <a:lnTo>
                  <a:pt x="928688" y="0"/>
                </a:lnTo>
                <a:lnTo>
                  <a:pt x="1857375" y="0"/>
                </a:lnTo>
                <a:close/>
              </a:path>
            </a:pathLst>
          </a:custGeom>
          <a:solidFill>
            <a:srgbClr val="08BDBA"/>
          </a:solidFill>
          <a:ln w="9525" cap="flat">
            <a:noFill/>
            <a:prstDash val="solid"/>
            <a:miter/>
          </a:ln>
        </p:spPr>
        <p:txBody>
          <a:bodyPr rtlCol="0" anchor="ctr"/>
          <a:lstStyle/>
          <a:p>
            <a:endParaRPr lang="uk-UA" sz="900"/>
          </a:p>
        </p:txBody>
      </p:sp>
      <p:sp>
        <p:nvSpPr>
          <p:cNvPr id="8" name="Freeform: Shape 7">
            <a:extLst>
              <a:ext uri="{FF2B5EF4-FFF2-40B4-BE49-F238E27FC236}">
                <a16:creationId xmlns:a16="http://schemas.microsoft.com/office/drawing/2014/main" id="{4B4C5853-D720-A66C-60C1-74AF8617E53C}"/>
              </a:ext>
            </a:extLst>
          </p:cNvPr>
          <p:cNvSpPr>
            <a:spLocks noChangeAspect="1"/>
          </p:cNvSpPr>
          <p:nvPr userDrawn="1"/>
        </p:nvSpPr>
        <p:spPr>
          <a:xfrm>
            <a:off x="9138733" y="3826558"/>
            <a:ext cx="2742843" cy="2743200"/>
          </a:xfrm>
          <a:custGeom>
            <a:avLst/>
            <a:gdLst>
              <a:gd name="connsiteX0" fmla="*/ 210111 w 1432576"/>
              <a:gd name="connsiteY0" fmla="*/ 926399 h 1432576"/>
              <a:gd name="connsiteX1" fmla="*/ 0 w 1432576"/>
              <a:gd name="connsiteY1" fmla="*/ 1432576 h 1432576"/>
              <a:gd name="connsiteX2" fmla="*/ 716288 w 1432576"/>
              <a:gd name="connsiteY2" fmla="*/ 1432576 h 1432576"/>
              <a:gd name="connsiteX3" fmla="*/ 1432576 w 1432576"/>
              <a:gd name="connsiteY3" fmla="*/ 1432576 h 1432576"/>
              <a:gd name="connsiteX4" fmla="*/ 1222465 w 1432576"/>
              <a:gd name="connsiteY4" fmla="*/ 926399 h 1432576"/>
              <a:gd name="connsiteX5" fmla="*/ 716288 w 1432576"/>
              <a:gd name="connsiteY5" fmla="*/ 716288 h 1432576"/>
              <a:gd name="connsiteX6" fmla="*/ 210111 w 1432576"/>
              <a:gd name="connsiteY6" fmla="*/ 926399 h 1432576"/>
              <a:gd name="connsiteX7" fmla="*/ 210111 w 1432576"/>
              <a:gd name="connsiteY7" fmla="*/ 506912 h 1432576"/>
              <a:gd name="connsiteX8" fmla="*/ 0 w 1432576"/>
              <a:gd name="connsiteY8" fmla="*/ 0 h 1432576"/>
              <a:gd name="connsiteX9" fmla="*/ 716288 w 1432576"/>
              <a:gd name="connsiteY9" fmla="*/ 0 h 1432576"/>
              <a:gd name="connsiteX10" fmla="*/ 1432576 w 1432576"/>
              <a:gd name="connsiteY10" fmla="*/ 0 h 1432576"/>
              <a:gd name="connsiteX11" fmla="*/ 1222465 w 1432576"/>
              <a:gd name="connsiteY11" fmla="*/ 506177 h 1432576"/>
              <a:gd name="connsiteX12" fmla="*/ 716288 w 1432576"/>
              <a:gd name="connsiteY12" fmla="*/ 716288 h 1432576"/>
              <a:gd name="connsiteX13" fmla="*/ 210111 w 1432576"/>
              <a:gd name="connsiteY13" fmla="*/ 506912 h 143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32576" h="1432576">
                <a:moveTo>
                  <a:pt x="210111" y="926399"/>
                </a:moveTo>
                <a:cubicBezTo>
                  <a:pt x="75669" y="1060841"/>
                  <a:pt x="0" y="1243035"/>
                  <a:pt x="0" y="1432576"/>
                </a:cubicBezTo>
                <a:lnTo>
                  <a:pt x="716288" y="1432576"/>
                </a:lnTo>
                <a:lnTo>
                  <a:pt x="1432576" y="1432576"/>
                </a:lnTo>
                <a:cubicBezTo>
                  <a:pt x="1432576" y="1242301"/>
                  <a:pt x="1356907" y="1060106"/>
                  <a:pt x="1222465" y="926399"/>
                </a:cubicBezTo>
                <a:cubicBezTo>
                  <a:pt x="1088023" y="792692"/>
                  <a:pt x="905829" y="716288"/>
                  <a:pt x="716288" y="716288"/>
                </a:cubicBezTo>
                <a:cubicBezTo>
                  <a:pt x="526747" y="716288"/>
                  <a:pt x="343818" y="791957"/>
                  <a:pt x="210111" y="926399"/>
                </a:cubicBezTo>
                <a:close/>
                <a:moveTo>
                  <a:pt x="210111" y="506912"/>
                </a:moveTo>
                <a:cubicBezTo>
                  <a:pt x="75669" y="372470"/>
                  <a:pt x="0" y="190276"/>
                  <a:pt x="0" y="0"/>
                </a:cubicBezTo>
                <a:lnTo>
                  <a:pt x="716288" y="0"/>
                </a:lnTo>
                <a:lnTo>
                  <a:pt x="1432576" y="0"/>
                </a:lnTo>
                <a:cubicBezTo>
                  <a:pt x="1432576" y="190276"/>
                  <a:pt x="1356907" y="372470"/>
                  <a:pt x="1222465" y="506177"/>
                </a:cubicBezTo>
                <a:cubicBezTo>
                  <a:pt x="1088023" y="639884"/>
                  <a:pt x="905829" y="716288"/>
                  <a:pt x="716288" y="716288"/>
                </a:cubicBezTo>
                <a:cubicBezTo>
                  <a:pt x="526747" y="716288"/>
                  <a:pt x="343818" y="641353"/>
                  <a:pt x="210111" y="506912"/>
                </a:cubicBezTo>
                <a:close/>
              </a:path>
            </a:pathLst>
          </a:custGeom>
          <a:solidFill>
            <a:srgbClr val="82CFFF"/>
          </a:solidFill>
          <a:ln w="7342" cap="flat">
            <a:noFill/>
            <a:prstDash val="solid"/>
            <a:miter/>
          </a:ln>
        </p:spPr>
        <p:txBody>
          <a:bodyPr rtlCol="0" anchor="ctr"/>
          <a:lstStyle/>
          <a:p>
            <a:endParaRPr lang="uk-UA" sz="900"/>
          </a:p>
        </p:txBody>
      </p:sp>
      <p:sp>
        <p:nvSpPr>
          <p:cNvPr id="10" name="Freeform: Shape 9">
            <a:extLst>
              <a:ext uri="{FF2B5EF4-FFF2-40B4-BE49-F238E27FC236}">
                <a16:creationId xmlns:a16="http://schemas.microsoft.com/office/drawing/2014/main" id="{DFFD3785-A942-17C5-1BEA-DCC78BF3ED3E}"/>
              </a:ext>
            </a:extLst>
          </p:cNvPr>
          <p:cNvSpPr>
            <a:spLocks noChangeAspect="1"/>
          </p:cNvSpPr>
          <p:nvPr userDrawn="1"/>
        </p:nvSpPr>
        <p:spPr>
          <a:xfrm>
            <a:off x="7781345" y="3814605"/>
            <a:ext cx="1371421" cy="1365596"/>
          </a:xfrm>
          <a:custGeom>
            <a:avLst/>
            <a:gdLst>
              <a:gd name="connsiteX0" fmla="*/ 1002803 w 1998994"/>
              <a:gd name="connsiteY0" fmla="*/ 1581041 h 1990243"/>
              <a:gd name="connsiteX1" fmla="*/ 1247443 w 1998994"/>
              <a:gd name="connsiteY1" fmla="*/ 1338605 h 1990243"/>
              <a:gd name="connsiteX2" fmla="*/ 1002803 w 1998994"/>
              <a:gd name="connsiteY2" fmla="*/ 1096169 h 1990243"/>
              <a:gd name="connsiteX3" fmla="*/ 758163 w 1998994"/>
              <a:gd name="connsiteY3" fmla="*/ 1338605 h 1990243"/>
              <a:gd name="connsiteX4" fmla="*/ 1002803 w 1998994"/>
              <a:gd name="connsiteY4" fmla="*/ 1581041 h 1990243"/>
              <a:gd name="connsiteX5" fmla="*/ 1011619 w 1998994"/>
              <a:gd name="connsiteY5" fmla="*/ 1892534 h 1990243"/>
              <a:gd name="connsiteX6" fmla="*/ 1579507 w 1998994"/>
              <a:gd name="connsiteY6" fmla="*/ 1337870 h 1990243"/>
              <a:gd name="connsiteX7" fmla="*/ 1011619 w 1998994"/>
              <a:gd name="connsiteY7" fmla="*/ 782471 h 1990243"/>
              <a:gd name="connsiteX8" fmla="*/ 443731 w 1998994"/>
              <a:gd name="connsiteY8" fmla="*/ 1337136 h 1990243"/>
              <a:gd name="connsiteX9" fmla="*/ 1011619 w 1998994"/>
              <a:gd name="connsiteY9" fmla="*/ 1892534 h 1990243"/>
              <a:gd name="connsiteX10" fmla="*/ 0 w 1998994"/>
              <a:gd name="connsiteY10" fmla="*/ 1321708 h 1990243"/>
              <a:gd name="connsiteX11" fmla="*/ 999865 w 1998994"/>
              <a:gd name="connsiteY11" fmla="*/ 660519 h 1990243"/>
              <a:gd name="connsiteX12" fmla="*/ 1998260 w 1998994"/>
              <a:gd name="connsiteY12" fmla="*/ 1329055 h 1990243"/>
              <a:gd name="connsiteX13" fmla="*/ 999865 w 1998994"/>
              <a:gd name="connsiteY13" fmla="*/ 1990244 h 1990243"/>
              <a:gd name="connsiteX14" fmla="*/ 0 w 1998994"/>
              <a:gd name="connsiteY14" fmla="*/ 1321708 h 1990243"/>
              <a:gd name="connsiteX15" fmla="*/ 372470 w 1998994"/>
              <a:gd name="connsiteY15" fmla="*/ 197686 h 1990243"/>
              <a:gd name="connsiteX16" fmla="*/ 999865 w 1998994"/>
              <a:gd name="connsiteY16" fmla="*/ 64 h 1990243"/>
              <a:gd name="connsiteX17" fmla="*/ 1627260 w 1998994"/>
              <a:gd name="connsiteY17" fmla="*/ 197686 h 1990243"/>
              <a:gd name="connsiteX18" fmla="*/ 1998995 w 1998994"/>
              <a:gd name="connsiteY18" fmla="*/ 598808 h 1990243"/>
              <a:gd name="connsiteX19" fmla="*/ 1998995 w 1998994"/>
              <a:gd name="connsiteY19" fmla="*/ 796430 h 1990243"/>
              <a:gd name="connsiteX20" fmla="*/ 1550856 w 1998994"/>
              <a:gd name="connsiteY20" fmla="*/ 470978 h 1990243"/>
              <a:gd name="connsiteX21" fmla="*/ 999865 w 1998994"/>
              <a:gd name="connsiteY21" fmla="*/ 346087 h 1990243"/>
              <a:gd name="connsiteX22" fmla="*/ 448874 w 1998994"/>
              <a:gd name="connsiteY22" fmla="*/ 470978 h 1990243"/>
              <a:gd name="connsiteX23" fmla="*/ 734 w 1998994"/>
              <a:gd name="connsiteY23" fmla="*/ 796430 h 1990243"/>
              <a:gd name="connsiteX24" fmla="*/ 734 w 1998994"/>
              <a:gd name="connsiteY24" fmla="*/ 598808 h 1990243"/>
              <a:gd name="connsiteX25" fmla="*/ 372470 w 1998994"/>
              <a:gd name="connsiteY25" fmla="*/ 197686 h 1990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998994" h="1990243">
                <a:moveTo>
                  <a:pt x="1002803" y="1581041"/>
                </a:moveTo>
                <a:cubicBezTo>
                  <a:pt x="1137980" y="1581041"/>
                  <a:pt x="1247443" y="1472312"/>
                  <a:pt x="1247443" y="1338605"/>
                </a:cubicBezTo>
                <a:cubicBezTo>
                  <a:pt x="1247443" y="1204163"/>
                  <a:pt x="1137980" y="1096169"/>
                  <a:pt x="1002803" y="1096169"/>
                </a:cubicBezTo>
                <a:cubicBezTo>
                  <a:pt x="867627" y="1096169"/>
                  <a:pt x="758163" y="1204898"/>
                  <a:pt x="758163" y="1338605"/>
                </a:cubicBezTo>
                <a:cubicBezTo>
                  <a:pt x="757429" y="1472312"/>
                  <a:pt x="867627" y="1581041"/>
                  <a:pt x="1002803" y="1581041"/>
                </a:cubicBezTo>
                <a:close/>
                <a:moveTo>
                  <a:pt x="1011619" y="1892534"/>
                </a:moveTo>
                <a:cubicBezTo>
                  <a:pt x="1325317" y="1892534"/>
                  <a:pt x="1579507" y="1644221"/>
                  <a:pt x="1579507" y="1337870"/>
                </a:cubicBezTo>
                <a:cubicBezTo>
                  <a:pt x="1579507" y="1031520"/>
                  <a:pt x="1325317" y="782471"/>
                  <a:pt x="1011619" y="782471"/>
                </a:cubicBezTo>
                <a:cubicBezTo>
                  <a:pt x="697922" y="782471"/>
                  <a:pt x="443731" y="1030785"/>
                  <a:pt x="443731" y="1337136"/>
                </a:cubicBezTo>
                <a:cubicBezTo>
                  <a:pt x="443731" y="1643487"/>
                  <a:pt x="697187" y="1892534"/>
                  <a:pt x="1011619" y="1892534"/>
                </a:cubicBezTo>
                <a:close/>
                <a:moveTo>
                  <a:pt x="0" y="1321708"/>
                </a:moveTo>
                <a:cubicBezTo>
                  <a:pt x="0" y="1321708"/>
                  <a:pt x="230681" y="660519"/>
                  <a:pt x="999865" y="660519"/>
                </a:cubicBezTo>
                <a:cubicBezTo>
                  <a:pt x="1769048" y="660519"/>
                  <a:pt x="1998260" y="1329055"/>
                  <a:pt x="1998260" y="1329055"/>
                </a:cubicBezTo>
                <a:cubicBezTo>
                  <a:pt x="1998260" y="1329055"/>
                  <a:pt x="1771252" y="1990244"/>
                  <a:pt x="999865" y="1990244"/>
                </a:cubicBezTo>
                <a:cubicBezTo>
                  <a:pt x="228477" y="1990244"/>
                  <a:pt x="0" y="1321708"/>
                  <a:pt x="0" y="1321708"/>
                </a:cubicBezTo>
                <a:close/>
                <a:moveTo>
                  <a:pt x="372470" y="197686"/>
                </a:moveTo>
                <a:cubicBezTo>
                  <a:pt x="634741" y="1534"/>
                  <a:pt x="951378" y="-670"/>
                  <a:pt x="999865" y="64"/>
                </a:cubicBezTo>
                <a:cubicBezTo>
                  <a:pt x="1048352" y="-670"/>
                  <a:pt x="1364988" y="1534"/>
                  <a:pt x="1627260" y="197686"/>
                </a:cubicBezTo>
                <a:cubicBezTo>
                  <a:pt x="1911571" y="410736"/>
                  <a:pt x="1998995" y="598808"/>
                  <a:pt x="1998995" y="598808"/>
                </a:cubicBezTo>
                <a:lnTo>
                  <a:pt x="1998995" y="796430"/>
                </a:lnTo>
                <a:cubicBezTo>
                  <a:pt x="1998995" y="796430"/>
                  <a:pt x="1821208" y="595135"/>
                  <a:pt x="1550856" y="470978"/>
                </a:cubicBezTo>
                <a:cubicBezTo>
                  <a:pt x="1304012" y="357841"/>
                  <a:pt x="1043209" y="346821"/>
                  <a:pt x="999865" y="346087"/>
                </a:cubicBezTo>
                <a:cubicBezTo>
                  <a:pt x="956520" y="346821"/>
                  <a:pt x="695718" y="357841"/>
                  <a:pt x="448874" y="470978"/>
                </a:cubicBezTo>
                <a:cubicBezTo>
                  <a:pt x="178521" y="595135"/>
                  <a:pt x="734" y="796430"/>
                  <a:pt x="734" y="796430"/>
                </a:cubicBezTo>
                <a:lnTo>
                  <a:pt x="734" y="598808"/>
                </a:lnTo>
                <a:cubicBezTo>
                  <a:pt x="0" y="598808"/>
                  <a:pt x="88159" y="410736"/>
                  <a:pt x="372470" y="197686"/>
                </a:cubicBezTo>
                <a:close/>
              </a:path>
            </a:pathLst>
          </a:custGeom>
          <a:solidFill>
            <a:schemeClr val="accent2"/>
          </a:solidFill>
          <a:ln w="7342" cap="flat">
            <a:noFill/>
            <a:prstDash val="solid"/>
            <a:miter/>
          </a:ln>
        </p:spPr>
        <p:txBody>
          <a:bodyPr rtlCol="0" anchor="ctr"/>
          <a:lstStyle/>
          <a:p>
            <a:endParaRPr lang="uk-UA" sz="900"/>
          </a:p>
        </p:txBody>
      </p:sp>
      <p:sp>
        <p:nvSpPr>
          <p:cNvPr id="19" name="Graphic 59">
            <a:extLst>
              <a:ext uri="{FF2B5EF4-FFF2-40B4-BE49-F238E27FC236}">
                <a16:creationId xmlns:a16="http://schemas.microsoft.com/office/drawing/2014/main" id="{7DE7B692-96B2-5293-BEEF-D054C7BC441F}"/>
              </a:ext>
            </a:extLst>
          </p:cNvPr>
          <p:cNvSpPr>
            <a:spLocks noChangeAspect="1"/>
          </p:cNvSpPr>
          <p:nvPr userDrawn="1"/>
        </p:nvSpPr>
        <p:spPr>
          <a:xfrm rot="10800000">
            <a:off x="6407849" y="5205191"/>
            <a:ext cx="685711" cy="678767"/>
          </a:xfrm>
          <a:custGeom>
            <a:avLst/>
            <a:gdLst>
              <a:gd name="connsiteX0" fmla="*/ 928688 w 1857375"/>
              <a:gd name="connsiteY0" fmla="*/ 0 h 1838325"/>
              <a:gd name="connsiteX1" fmla="*/ 928688 w 1857375"/>
              <a:gd name="connsiteY1" fmla="*/ 0 h 1838325"/>
              <a:gd name="connsiteX2" fmla="*/ 0 w 1857375"/>
              <a:gd name="connsiteY2" fmla="*/ 0 h 1838325"/>
              <a:gd name="connsiteX3" fmla="*/ 928688 w 1857375"/>
              <a:gd name="connsiteY3" fmla="*/ 919163 h 1838325"/>
              <a:gd name="connsiteX4" fmla="*/ 0 w 1857375"/>
              <a:gd name="connsiteY4" fmla="*/ 1838325 h 1838325"/>
              <a:gd name="connsiteX5" fmla="*/ 928688 w 1857375"/>
              <a:gd name="connsiteY5" fmla="*/ 1838325 h 1838325"/>
              <a:gd name="connsiteX6" fmla="*/ 928688 w 1857375"/>
              <a:gd name="connsiteY6" fmla="*/ 1838325 h 1838325"/>
              <a:gd name="connsiteX7" fmla="*/ 1857375 w 1857375"/>
              <a:gd name="connsiteY7" fmla="*/ 919163 h 1838325"/>
              <a:gd name="connsiteX8" fmla="*/ 928688 w 1857375"/>
              <a:gd name="connsiteY8" fmla="*/ 919163 h 1838325"/>
              <a:gd name="connsiteX9" fmla="*/ 928688 w 1857375"/>
              <a:gd name="connsiteY9" fmla="*/ 919163 h 1838325"/>
              <a:gd name="connsiteX10" fmla="*/ 1857375 w 1857375"/>
              <a:gd name="connsiteY10" fmla="*/ 919163 h 1838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57375" h="1838325">
                <a:moveTo>
                  <a:pt x="928688" y="0"/>
                </a:moveTo>
                <a:lnTo>
                  <a:pt x="928688" y="0"/>
                </a:lnTo>
                <a:lnTo>
                  <a:pt x="0" y="0"/>
                </a:lnTo>
                <a:lnTo>
                  <a:pt x="928688" y="919163"/>
                </a:lnTo>
                <a:lnTo>
                  <a:pt x="0" y="1838325"/>
                </a:lnTo>
                <a:lnTo>
                  <a:pt x="928688" y="1838325"/>
                </a:lnTo>
                <a:lnTo>
                  <a:pt x="928688" y="1838325"/>
                </a:lnTo>
                <a:lnTo>
                  <a:pt x="1857375" y="919163"/>
                </a:lnTo>
                <a:lnTo>
                  <a:pt x="928688" y="919163"/>
                </a:lnTo>
                <a:lnTo>
                  <a:pt x="928688" y="919163"/>
                </a:lnTo>
                <a:lnTo>
                  <a:pt x="1857375" y="919163"/>
                </a:lnTo>
                <a:close/>
              </a:path>
            </a:pathLst>
          </a:custGeom>
          <a:solidFill>
            <a:srgbClr val="D02670"/>
          </a:solidFill>
          <a:ln w="9525" cap="flat">
            <a:noFill/>
            <a:prstDash val="solid"/>
            <a:miter/>
          </a:ln>
        </p:spPr>
        <p:txBody>
          <a:bodyPr rtlCol="0" anchor="ctr"/>
          <a:lstStyle/>
          <a:p>
            <a:endParaRPr lang="uk-UA" sz="900"/>
          </a:p>
        </p:txBody>
      </p:sp>
      <p:sp>
        <p:nvSpPr>
          <p:cNvPr id="21" name="Freeform: Shape 20">
            <a:extLst>
              <a:ext uri="{FF2B5EF4-FFF2-40B4-BE49-F238E27FC236}">
                <a16:creationId xmlns:a16="http://schemas.microsoft.com/office/drawing/2014/main" id="{280B4A65-2EBB-7BF8-14F1-542EE5DA6A8D}"/>
              </a:ext>
            </a:extLst>
          </p:cNvPr>
          <p:cNvSpPr>
            <a:spLocks noChangeAspect="1"/>
          </p:cNvSpPr>
          <p:nvPr userDrawn="1"/>
        </p:nvSpPr>
        <p:spPr>
          <a:xfrm>
            <a:off x="10510155" y="1082828"/>
            <a:ext cx="1371421" cy="1371600"/>
          </a:xfrm>
          <a:custGeom>
            <a:avLst/>
            <a:gdLst>
              <a:gd name="connsiteX0" fmla="*/ 1231011 w 2462022"/>
              <a:gd name="connsiteY0" fmla="*/ 2462022 h 2462022"/>
              <a:gd name="connsiteX1" fmla="*/ 0 w 2462022"/>
              <a:gd name="connsiteY1" fmla="*/ 1231011 h 2462022"/>
              <a:gd name="connsiteX2" fmla="*/ 1231011 w 2462022"/>
              <a:gd name="connsiteY2" fmla="*/ 0 h 2462022"/>
              <a:gd name="connsiteX3" fmla="*/ 2462022 w 2462022"/>
              <a:gd name="connsiteY3" fmla="*/ 1231011 h 2462022"/>
              <a:gd name="connsiteX4" fmla="*/ 1231011 w 2462022"/>
              <a:gd name="connsiteY4" fmla="*/ 2462022 h 2462022"/>
              <a:gd name="connsiteX5" fmla="*/ 1183434 w 2462022"/>
              <a:gd name="connsiteY5" fmla="*/ 62665 h 2462022"/>
              <a:gd name="connsiteX6" fmla="*/ 61722 w 2462022"/>
              <a:gd name="connsiteY6" fmla="*/ 1231011 h 2462022"/>
              <a:gd name="connsiteX7" fmla="*/ 1200150 w 2462022"/>
              <a:gd name="connsiteY7" fmla="*/ 2399957 h 2462022"/>
              <a:gd name="connsiteX8" fmla="*/ 1200150 w 2462022"/>
              <a:gd name="connsiteY8" fmla="*/ 1433322 h 2462022"/>
              <a:gd name="connsiteX9" fmla="*/ 630936 w 2462022"/>
              <a:gd name="connsiteY9" fmla="*/ 1433322 h 2462022"/>
              <a:gd name="connsiteX10" fmla="*/ 605133 w 2462022"/>
              <a:gd name="connsiteY10" fmla="*/ 1419349 h 2462022"/>
              <a:gd name="connsiteX11" fmla="*/ 602732 w 2462022"/>
              <a:gd name="connsiteY11" fmla="*/ 1390031 h 2462022"/>
              <a:gd name="connsiteX12" fmla="*/ 1183434 w 2462022"/>
              <a:gd name="connsiteY12" fmla="*/ 62665 h 2462022"/>
              <a:gd name="connsiteX13" fmla="*/ 1261872 w 2462022"/>
              <a:gd name="connsiteY13" fmla="*/ 1028700 h 2462022"/>
              <a:gd name="connsiteX14" fmla="*/ 1831086 w 2462022"/>
              <a:gd name="connsiteY14" fmla="*/ 1028700 h 2462022"/>
              <a:gd name="connsiteX15" fmla="*/ 1856975 w 2462022"/>
              <a:gd name="connsiteY15" fmla="*/ 1042673 h 2462022"/>
              <a:gd name="connsiteX16" fmla="*/ 1859375 w 2462022"/>
              <a:gd name="connsiteY16" fmla="*/ 1071991 h 2462022"/>
              <a:gd name="connsiteX17" fmla="*/ 1278588 w 2462022"/>
              <a:gd name="connsiteY17" fmla="*/ 2399357 h 2462022"/>
              <a:gd name="connsiteX18" fmla="*/ 2400300 w 2462022"/>
              <a:gd name="connsiteY18" fmla="*/ 1231011 h 2462022"/>
              <a:gd name="connsiteX19" fmla="*/ 1261872 w 2462022"/>
              <a:gd name="connsiteY19" fmla="*/ 62151 h 2462022"/>
              <a:gd name="connsiteX20" fmla="*/ 1261872 w 2462022"/>
              <a:gd name="connsiteY20" fmla="*/ 1028700 h 2462022"/>
              <a:gd name="connsiteX21" fmla="*/ 678085 w 2462022"/>
              <a:gd name="connsiteY21" fmla="*/ 1371600 h 2462022"/>
              <a:gd name="connsiteX22" fmla="*/ 1231011 w 2462022"/>
              <a:gd name="connsiteY22" fmla="*/ 1371600 h 2462022"/>
              <a:gd name="connsiteX23" fmla="*/ 1261872 w 2462022"/>
              <a:gd name="connsiteY23" fmla="*/ 1402461 h 2462022"/>
              <a:gd name="connsiteX24" fmla="*/ 1261872 w 2462022"/>
              <a:gd name="connsiteY24" fmla="*/ 2283628 h 2462022"/>
              <a:gd name="connsiteX25" fmla="*/ 1783852 w 2462022"/>
              <a:gd name="connsiteY25" fmla="*/ 1090422 h 2462022"/>
              <a:gd name="connsiteX26" fmla="*/ 1231011 w 2462022"/>
              <a:gd name="connsiteY26" fmla="*/ 1090422 h 2462022"/>
              <a:gd name="connsiteX27" fmla="*/ 1200150 w 2462022"/>
              <a:gd name="connsiteY27" fmla="*/ 1059561 h 2462022"/>
              <a:gd name="connsiteX28" fmla="*/ 1200150 w 2462022"/>
              <a:gd name="connsiteY28" fmla="*/ 178394 h 2462022"/>
              <a:gd name="connsiteX29" fmla="*/ 678085 w 2462022"/>
              <a:gd name="connsiteY29" fmla="*/ 1371600 h 2462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462022" h="2462022">
                <a:moveTo>
                  <a:pt x="1231011" y="2462022"/>
                </a:moveTo>
                <a:cubicBezTo>
                  <a:pt x="552240" y="2462022"/>
                  <a:pt x="0" y="1909782"/>
                  <a:pt x="0" y="1231011"/>
                </a:cubicBezTo>
                <a:cubicBezTo>
                  <a:pt x="0" y="552240"/>
                  <a:pt x="552240" y="0"/>
                  <a:pt x="1231011" y="0"/>
                </a:cubicBezTo>
                <a:cubicBezTo>
                  <a:pt x="1909782" y="0"/>
                  <a:pt x="2462022" y="552240"/>
                  <a:pt x="2462022" y="1231011"/>
                </a:cubicBezTo>
                <a:cubicBezTo>
                  <a:pt x="2462022" y="1909782"/>
                  <a:pt x="1909782" y="2462022"/>
                  <a:pt x="1231011" y="2462022"/>
                </a:cubicBezTo>
                <a:close/>
                <a:moveTo>
                  <a:pt x="1183434" y="62665"/>
                </a:moveTo>
                <a:cubicBezTo>
                  <a:pt x="560642" y="87782"/>
                  <a:pt x="61722" y="602218"/>
                  <a:pt x="61722" y="1231011"/>
                </a:cubicBezTo>
                <a:cubicBezTo>
                  <a:pt x="61722" y="1865376"/>
                  <a:pt x="569643" y="2383498"/>
                  <a:pt x="1200150" y="2399957"/>
                </a:cubicBezTo>
                <a:lnTo>
                  <a:pt x="1200150" y="1433322"/>
                </a:lnTo>
                <a:lnTo>
                  <a:pt x="630936" y="1433322"/>
                </a:lnTo>
                <a:cubicBezTo>
                  <a:pt x="620478" y="1433322"/>
                  <a:pt x="610791" y="1428007"/>
                  <a:pt x="605133" y="1419349"/>
                </a:cubicBezTo>
                <a:cubicBezTo>
                  <a:pt x="599475" y="1410691"/>
                  <a:pt x="598532" y="1399632"/>
                  <a:pt x="602732" y="1390031"/>
                </a:cubicBezTo>
                <a:lnTo>
                  <a:pt x="1183434" y="62665"/>
                </a:lnTo>
                <a:close/>
                <a:moveTo>
                  <a:pt x="1261872" y="1028700"/>
                </a:moveTo>
                <a:lnTo>
                  <a:pt x="1831086" y="1028700"/>
                </a:lnTo>
                <a:cubicBezTo>
                  <a:pt x="1841459" y="1028700"/>
                  <a:pt x="1851146" y="1033929"/>
                  <a:pt x="1856975" y="1042673"/>
                </a:cubicBezTo>
                <a:cubicBezTo>
                  <a:pt x="1862633" y="1051417"/>
                  <a:pt x="1863576" y="1062390"/>
                  <a:pt x="1859375" y="1071991"/>
                </a:cubicBezTo>
                <a:lnTo>
                  <a:pt x="1278588" y="2399357"/>
                </a:lnTo>
                <a:cubicBezTo>
                  <a:pt x="1901381" y="2374325"/>
                  <a:pt x="2400300" y="1859804"/>
                  <a:pt x="2400300" y="1231011"/>
                </a:cubicBezTo>
                <a:cubicBezTo>
                  <a:pt x="2400300" y="596560"/>
                  <a:pt x="1892465" y="78524"/>
                  <a:pt x="1261872" y="62151"/>
                </a:cubicBezTo>
                <a:lnTo>
                  <a:pt x="1261872" y="1028700"/>
                </a:lnTo>
                <a:close/>
                <a:moveTo>
                  <a:pt x="678085" y="1371600"/>
                </a:moveTo>
                <a:lnTo>
                  <a:pt x="1231011" y="1371600"/>
                </a:lnTo>
                <a:cubicBezTo>
                  <a:pt x="1248070" y="1371600"/>
                  <a:pt x="1261872" y="1385402"/>
                  <a:pt x="1261872" y="1402461"/>
                </a:cubicBezTo>
                <a:lnTo>
                  <a:pt x="1261872" y="2283628"/>
                </a:lnTo>
                <a:lnTo>
                  <a:pt x="1783852" y="1090422"/>
                </a:lnTo>
                <a:lnTo>
                  <a:pt x="1231011" y="1090422"/>
                </a:lnTo>
                <a:cubicBezTo>
                  <a:pt x="1213952" y="1090422"/>
                  <a:pt x="1200150" y="1076620"/>
                  <a:pt x="1200150" y="1059561"/>
                </a:cubicBezTo>
                <a:lnTo>
                  <a:pt x="1200150" y="178394"/>
                </a:lnTo>
                <a:lnTo>
                  <a:pt x="678085" y="1371600"/>
                </a:lnTo>
                <a:close/>
              </a:path>
            </a:pathLst>
          </a:custGeom>
          <a:solidFill>
            <a:srgbClr val="000000"/>
          </a:solidFill>
          <a:ln w="85725" cap="flat">
            <a:noFill/>
            <a:prstDash val="solid"/>
            <a:miter/>
          </a:ln>
        </p:spPr>
        <p:txBody>
          <a:bodyPr rtlCol="0" anchor="ctr"/>
          <a:lstStyle/>
          <a:p>
            <a:endParaRPr lang="uk-UA" sz="900"/>
          </a:p>
        </p:txBody>
      </p:sp>
    </p:spTree>
    <p:extLst>
      <p:ext uri="{BB962C8B-B14F-4D97-AF65-F5344CB8AC3E}">
        <p14:creationId xmlns:p14="http://schemas.microsoft.com/office/powerpoint/2010/main" val="3622373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What you will learn">
    <p:spTree>
      <p:nvGrpSpPr>
        <p:cNvPr id="1" name=""/>
        <p:cNvGrpSpPr/>
        <p:nvPr/>
      </p:nvGrpSpPr>
      <p:grpSpPr>
        <a:xfrm>
          <a:off x="0" y="0"/>
          <a:ext cx="0" cy="0"/>
          <a:chOff x="0" y="0"/>
          <a:chExt cx="0" cy="0"/>
        </a:xfrm>
      </p:grpSpPr>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Title 1">
            <a:extLst>
              <a:ext uri="{FF2B5EF4-FFF2-40B4-BE49-F238E27FC236}">
                <a16:creationId xmlns:a16="http://schemas.microsoft.com/office/drawing/2014/main" id="{CA175240-12A7-12D7-DC4F-B715F74304DD}"/>
              </a:ext>
            </a:extLst>
          </p:cNvPr>
          <p:cNvSpPr>
            <a:spLocks noGrp="1"/>
          </p:cNvSpPr>
          <p:nvPr>
            <p:ph type="title"/>
          </p:nvPr>
        </p:nvSpPr>
        <p:spPr>
          <a:xfrm>
            <a:off x="269212" y="191937"/>
            <a:ext cx="5539489" cy="1429544"/>
          </a:xfrm>
        </p:spPr>
        <p:txBody>
          <a:bodyPr rIns="457200"/>
          <a:lstStyle>
            <a:lvl1pPr>
              <a:lnSpc>
                <a:spcPct val="100000"/>
              </a:lnSpc>
              <a:defRPr sz="3199">
                <a:solidFill>
                  <a:schemeClr val="tx2"/>
                </a:solidFill>
              </a:defRPr>
            </a:lvl1pPr>
          </a:lstStyle>
          <a:p>
            <a:r>
              <a:rPr lang="en-US"/>
              <a:t>Click to edit Master title style</a:t>
            </a:r>
          </a:p>
        </p:txBody>
      </p:sp>
      <p:sp>
        <p:nvSpPr>
          <p:cNvPr id="3" name="Footer Placeholder 1">
            <a:extLst>
              <a:ext uri="{FF2B5EF4-FFF2-40B4-BE49-F238E27FC236}">
                <a16:creationId xmlns:a16="http://schemas.microsoft.com/office/drawing/2014/main" id="{95C9BB08-694B-5D15-5524-4AF48C832BC6}"/>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
        <p:nvSpPr>
          <p:cNvPr id="2" name="Text Placeholder 6">
            <a:extLst>
              <a:ext uri="{FF2B5EF4-FFF2-40B4-BE49-F238E27FC236}">
                <a16:creationId xmlns:a16="http://schemas.microsoft.com/office/drawing/2014/main" id="{3C249F73-D2D8-35CC-BF86-6F2E5E5B2A13}"/>
              </a:ext>
            </a:extLst>
          </p:cNvPr>
          <p:cNvSpPr>
            <a:spLocks noGrp="1"/>
          </p:cNvSpPr>
          <p:nvPr>
            <p:ph type="body" sz="quarter" idx="10" hasCustomPrompt="1"/>
          </p:nvPr>
        </p:nvSpPr>
        <p:spPr>
          <a:xfrm>
            <a:off x="6380919" y="1714500"/>
            <a:ext cx="548569" cy="4283869"/>
          </a:xfrm>
        </p:spPr>
        <p:txBody>
          <a:bodyPr/>
          <a:lstStyle>
            <a:lvl1pPr defTabSz="580528">
              <a:spcBef>
                <a:spcPts val="0"/>
              </a:spcBef>
              <a:spcAft>
                <a:spcPts val="900"/>
              </a:spcAft>
              <a:defRPr sz="3199">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en-US"/>
              <a:t>01</a:t>
            </a:r>
            <a:br>
              <a:rPr lang="en-US"/>
            </a:br>
            <a:r>
              <a:rPr lang="en-US"/>
              <a:t>02</a:t>
            </a:r>
            <a:br>
              <a:rPr lang="en-US"/>
            </a:br>
            <a:r>
              <a:rPr lang="en-US"/>
              <a:t>03</a:t>
            </a:r>
            <a:br>
              <a:rPr lang="en-US"/>
            </a:br>
            <a:r>
              <a:rPr lang="en-US"/>
              <a:t>04</a:t>
            </a:r>
            <a:br>
              <a:rPr lang="en-US"/>
            </a:br>
            <a:r>
              <a:rPr lang="en-US"/>
              <a:t>05</a:t>
            </a:r>
            <a:br>
              <a:rPr lang="en-US"/>
            </a:br>
            <a:r>
              <a:rPr lang="en-US"/>
              <a:t>06</a:t>
            </a:r>
          </a:p>
        </p:txBody>
      </p:sp>
      <p:sp>
        <p:nvSpPr>
          <p:cNvPr id="7" name="Text Placeholder 6">
            <a:extLst>
              <a:ext uri="{FF2B5EF4-FFF2-40B4-BE49-F238E27FC236}">
                <a16:creationId xmlns:a16="http://schemas.microsoft.com/office/drawing/2014/main" id="{2FA1D6E6-D82A-895F-5243-4160CD24D4BA}"/>
              </a:ext>
            </a:extLst>
          </p:cNvPr>
          <p:cNvSpPr>
            <a:spLocks noGrp="1"/>
          </p:cNvSpPr>
          <p:nvPr>
            <p:ph type="body" sz="quarter" idx="11"/>
          </p:nvPr>
        </p:nvSpPr>
        <p:spPr>
          <a:xfrm>
            <a:off x="7126143" y="1714500"/>
            <a:ext cx="4774589" cy="4283869"/>
          </a:xfrm>
        </p:spPr>
        <p:txBody>
          <a:bodyPr/>
          <a:lstStyle>
            <a:lvl1pPr defTabSz="580528">
              <a:spcBef>
                <a:spcPts val="0"/>
              </a:spcBef>
              <a:spcAft>
                <a:spcPts val="900"/>
              </a:spcAft>
              <a:defRPr sz="3199">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en-US"/>
              <a:t>Click to edit Master text styles</a:t>
            </a:r>
          </a:p>
        </p:txBody>
      </p:sp>
      <p:sp>
        <p:nvSpPr>
          <p:cNvPr id="13" name="Graphic 86">
            <a:extLst>
              <a:ext uri="{FF2B5EF4-FFF2-40B4-BE49-F238E27FC236}">
                <a16:creationId xmlns:a16="http://schemas.microsoft.com/office/drawing/2014/main" id="{B61372B9-A141-64D2-2658-B2541D5747E8}"/>
              </a:ext>
            </a:extLst>
          </p:cNvPr>
          <p:cNvSpPr>
            <a:spLocks noChangeAspect="1"/>
          </p:cNvSpPr>
          <p:nvPr userDrawn="1"/>
        </p:nvSpPr>
        <p:spPr>
          <a:xfrm>
            <a:off x="1503517" y="5392458"/>
            <a:ext cx="605834" cy="605912"/>
          </a:xfrm>
          <a:custGeom>
            <a:avLst/>
            <a:gdLst>
              <a:gd name="connsiteX0" fmla="*/ 828675 w 828675"/>
              <a:gd name="connsiteY0" fmla="*/ 828675 h 828675"/>
              <a:gd name="connsiteX1" fmla="*/ 828675 w 828675"/>
              <a:gd name="connsiteY1" fmla="*/ 414338 h 828675"/>
              <a:gd name="connsiteX2" fmla="*/ 828675 w 828675"/>
              <a:gd name="connsiteY2" fmla="*/ 0 h 828675"/>
              <a:gd name="connsiteX3" fmla="*/ 414338 w 828675"/>
              <a:gd name="connsiteY3" fmla="*/ 0 h 828675"/>
              <a:gd name="connsiteX4" fmla="*/ 828675 w 828675"/>
              <a:gd name="connsiteY4" fmla="*/ 414338 h 828675"/>
              <a:gd name="connsiteX5" fmla="*/ 414338 w 828675"/>
              <a:gd name="connsiteY5" fmla="*/ 828675 h 828675"/>
              <a:gd name="connsiteX6" fmla="*/ 828675 w 828675"/>
              <a:gd name="connsiteY6" fmla="*/ 828675 h 828675"/>
              <a:gd name="connsiteX7" fmla="*/ 0 w 828675"/>
              <a:gd name="connsiteY7" fmla="*/ 828675 h 828675"/>
              <a:gd name="connsiteX8" fmla="*/ 0 w 828675"/>
              <a:gd name="connsiteY8" fmla="*/ 414338 h 828675"/>
              <a:gd name="connsiteX9" fmla="*/ 0 w 828675"/>
              <a:gd name="connsiteY9" fmla="*/ 0 h 828675"/>
              <a:gd name="connsiteX10" fmla="*/ 414338 w 828675"/>
              <a:gd name="connsiteY10" fmla="*/ 414338 h 828675"/>
              <a:gd name="connsiteX11" fmla="*/ 0 w 828675"/>
              <a:gd name="connsiteY11" fmla="*/ 828675 h 828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28675" h="828675">
                <a:moveTo>
                  <a:pt x="828675" y="828675"/>
                </a:moveTo>
                <a:lnTo>
                  <a:pt x="828675" y="414338"/>
                </a:lnTo>
                <a:lnTo>
                  <a:pt x="828675" y="0"/>
                </a:lnTo>
                <a:lnTo>
                  <a:pt x="414338" y="0"/>
                </a:lnTo>
                <a:lnTo>
                  <a:pt x="828675" y="414338"/>
                </a:lnTo>
                <a:lnTo>
                  <a:pt x="414338" y="828675"/>
                </a:lnTo>
                <a:lnTo>
                  <a:pt x="828675" y="828675"/>
                </a:lnTo>
                <a:close/>
                <a:moveTo>
                  <a:pt x="0" y="828675"/>
                </a:moveTo>
                <a:lnTo>
                  <a:pt x="0" y="414338"/>
                </a:lnTo>
                <a:lnTo>
                  <a:pt x="0" y="0"/>
                </a:lnTo>
                <a:lnTo>
                  <a:pt x="414338" y="414338"/>
                </a:lnTo>
                <a:lnTo>
                  <a:pt x="0" y="828675"/>
                </a:lnTo>
                <a:close/>
              </a:path>
            </a:pathLst>
          </a:custGeom>
          <a:solidFill>
            <a:srgbClr val="08BDBA"/>
          </a:solidFill>
          <a:ln w="9525" cap="flat">
            <a:noFill/>
            <a:prstDash val="solid"/>
            <a:miter/>
          </a:ln>
        </p:spPr>
        <p:txBody>
          <a:bodyPr rtlCol="0" anchor="ctr"/>
          <a:lstStyle/>
          <a:p>
            <a:endParaRPr lang="en-US" sz="900"/>
          </a:p>
        </p:txBody>
      </p:sp>
      <p:sp>
        <p:nvSpPr>
          <p:cNvPr id="14" name="Freeform: Shape 82">
            <a:extLst>
              <a:ext uri="{FF2B5EF4-FFF2-40B4-BE49-F238E27FC236}">
                <a16:creationId xmlns:a16="http://schemas.microsoft.com/office/drawing/2014/main" id="{692FDA55-17C2-2BE4-1573-4D1217E38C78}"/>
              </a:ext>
            </a:extLst>
          </p:cNvPr>
          <p:cNvSpPr>
            <a:spLocks noChangeAspect="1"/>
          </p:cNvSpPr>
          <p:nvPr userDrawn="1"/>
        </p:nvSpPr>
        <p:spPr>
          <a:xfrm rot="5400000">
            <a:off x="293458" y="1714579"/>
            <a:ext cx="1206645" cy="1206488"/>
          </a:xfrm>
          <a:custGeom>
            <a:avLst/>
            <a:gdLst>
              <a:gd name="connsiteX0" fmla="*/ 409166 w 818931"/>
              <a:gd name="connsiteY0" fmla="*/ 409166 h 818931"/>
              <a:gd name="connsiteX1" fmla="*/ 289000 w 818931"/>
              <a:gd name="connsiteY1" fmla="*/ 119565 h 818931"/>
              <a:gd name="connsiteX2" fmla="*/ 0 w 818931"/>
              <a:gd name="connsiteY2" fmla="*/ 0 h 818931"/>
              <a:gd name="connsiteX3" fmla="*/ 0 w 818931"/>
              <a:gd name="connsiteY3" fmla="*/ 409166 h 818931"/>
              <a:gd name="connsiteX4" fmla="*/ 0 w 818931"/>
              <a:gd name="connsiteY4" fmla="*/ 818331 h 818931"/>
              <a:gd name="connsiteX5" fmla="*/ 289600 w 818931"/>
              <a:gd name="connsiteY5" fmla="*/ 698165 h 818931"/>
              <a:gd name="connsiteX6" fmla="*/ 409166 w 818931"/>
              <a:gd name="connsiteY6" fmla="*/ 409166 h 818931"/>
              <a:gd name="connsiteX7" fmla="*/ 698766 w 818931"/>
              <a:gd name="connsiteY7" fmla="*/ 698766 h 818931"/>
              <a:gd name="connsiteX8" fmla="*/ 409166 w 818931"/>
              <a:gd name="connsiteY8" fmla="*/ 818932 h 818931"/>
              <a:gd name="connsiteX9" fmla="*/ 409166 w 818931"/>
              <a:gd name="connsiteY9" fmla="*/ 409166 h 818931"/>
              <a:gd name="connsiteX10" fmla="*/ 409166 w 818931"/>
              <a:gd name="connsiteY10" fmla="*/ 0 h 818931"/>
              <a:gd name="connsiteX11" fmla="*/ 698766 w 818931"/>
              <a:gd name="connsiteY11" fmla="*/ 120166 h 818931"/>
              <a:gd name="connsiteX12" fmla="*/ 818932 w 818931"/>
              <a:gd name="connsiteY12" fmla="*/ 409766 h 818931"/>
              <a:gd name="connsiteX13" fmla="*/ 698766 w 818931"/>
              <a:gd name="connsiteY13" fmla="*/ 698766 h 81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18931" h="818931">
                <a:moveTo>
                  <a:pt x="409166" y="409166"/>
                </a:moveTo>
                <a:cubicBezTo>
                  <a:pt x="409166" y="300415"/>
                  <a:pt x="365906" y="196472"/>
                  <a:pt x="289000" y="119565"/>
                </a:cubicBezTo>
                <a:cubicBezTo>
                  <a:pt x="212093" y="42659"/>
                  <a:pt x="108750" y="0"/>
                  <a:pt x="0" y="0"/>
                </a:cubicBezTo>
                <a:lnTo>
                  <a:pt x="0" y="409166"/>
                </a:lnTo>
                <a:lnTo>
                  <a:pt x="0" y="818331"/>
                </a:lnTo>
                <a:cubicBezTo>
                  <a:pt x="108750" y="818331"/>
                  <a:pt x="212694" y="775071"/>
                  <a:pt x="289600" y="698165"/>
                </a:cubicBezTo>
                <a:cubicBezTo>
                  <a:pt x="365906" y="621860"/>
                  <a:pt x="409166" y="517916"/>
                  <a:pt x="409166" y="409166"/>
                </a:cubicBezTo>
                <a:close/>
                <a:moveTo>
                  <a:pt x="698766" y="698766"/>
                </a:moveTo>
                <a:cubicBezTo>
                  <a:pt x="621860" y="775672"/>
                  <a:pt x="517916" y="818932"/>
                  <a:pt x="409166" y="818932"/>
                </a:cubicBezTo>
                <a:lnTo>
                  <a:pt x="409166" y="409166"/>
                </a:lnTo>
                <a:lnTo>
                  <a:pt x="409166" y="0"/>
                </a:lnTo>
                <a:cubicBezTo>
                  <a:pt x="517916" y="0"/>
                  <a:pt x="621860" y="43260"/>
                  <a:pt x="698766" y="120166"/>
                </a:cubicBezTo>
                <a:cubicBezTo>
                  <a:pt x="775672" y="197072"/>
                  <a:pt x="818932" y="301016"/>
                  <a:pt x="818932" y="409766"/>
                </a:cubicBezTo>
                <a:cubicBezTo>
                  <a:pt x="818932" y="518517"/>
                  <a:pt x="775672" y="621860"/>
                  <a:pt x="698766" y="698766"/>
                </a:cubicBezTo>
                <a:close/>
              </a:path>
            </a:pathLst>
          </a:custGeom>
          <a:solidFill>
            <a:srgbClr val="82CFFF"/>
          </a:solidFill>
          <a:ln w="5992" cap="flat">
            <a:noFill/>
            <a:prstDash val="solid"/>
            <a:miter/>
          </a:ln>
        </p:spPr>
        <p:txBody>
          <a:bodyPr rtlCol="0" anchor="ctr"/>
          <a:lstStyle/>
          <a:p>
            <a:endParaRPr lang="en-US" sz="900"/>
          </a:p>
        </p:txBody>
      </p:sp>
      <p:sp>
        <p:nvSpPr>
          <p:cNvPr id="15" name="Graphic 33">
            <a:extLst>
              <a:ext uri="{FF2B5EF4-FFF2-40B4-BE49-F238E27FC236}">
                <a16:creationId xmlns:a16="http://schemas.microsoft.com/office/drawing/2014/main" id="{B7FA59DC-0788-BB1B-E8A4-28BE4D0C9588}"/>
              </a:ext>
            </a:extLst>
          </p:cNvPr>
          <p:cNvSpPr>
            <a:spLocks noChangeAspect="1"/>
          </p:cNvSpPr>
          <p:nvPr userDrawn="1"/>
        </p:nvSpPr>
        <p:spPr>
          <a:xfrm>
            <a:off x="1506106" y="3028977"/>
            <a:ext cx="1206488" cy="1065357"/>
          </a:xfrm>
          <a:custGeom>
            <a:avLst/>
            <a:gdLst>
              <a:gd name="connsiteX0" fmla="*/ 811530 w 1309687"/>
              <a:gd name="connsiteY0" fmla="*/ 80963 h 1156335"/>
              <a:gd name="connsiteX1" fmla="*/ 838200 w 1309687"/>
              <a:gd name="connsiteY1" fmla="*/ 0 h 1156335"/>
              <a:gd name="connsiteX2" fmla="*/ 1309688 w 1309687"/>
              <a:gd name="connsiteY2" fmla="*/ 0 h 1156335"/>
              <a:gd name="connsiteX3" fmla="*/ 1309688 w 1309687"/>
              <a:gd name="connsiteY3" fmla="*/ 80963 h 1156335"/>
              <a:gd name="connsiteX4" fmla="*/ 811530 w 1309687"/>
              <a:gd name="connsiteY4" fmla="*/ 80963 h 1156335"/>
              <a:gd name="connsiteX5" fmla="*/ 0 w 1309687"/>
              <a:gd name="connsiteY5" fmla="*/ 80963 h 1156335"/>
              <a:gd name="connsiteX6" fmla="*/ 0 w 1309687"/>
              <a:gd name="connsiteY6" fmla="*/ 0 h 1156335"/>
              <a:gd name="connsiteX7" fmla="*/ 471488 w 1309687"/>
              <a:gd name="connsiteY7" fmla="*/ 0 h 1156335"/>
              <a:gd name="connsiteX8" fmla="*/ 498158 w 1309687"/>
              <a:gd name="connsiteY8" fmla="*/ 80963 h 1156335"/>
              <a:gd name="connsiteX9" fmla="*/ 0 w 1309687"/>
              <a:gd name="connsiteY9" fmla="*/ 80963 h 1156335"/>
              <a:gd name="connsiteX10" fmla="*/ 1228725 w 1309687"/>
              <a:gd name="connsiteY10" fmla="*/ 231458 h 1156335"/>
              <a:gd name="connsiteX11" fmla="*/ 1309688 w 1309687"/>
              <a:gd name="connsiteY11" fmla="*/ 231458 h 1156335"/>
              <a:gd name="connsiteX12" fmla="*/ 1309688 w 1309687"/>
              <a:gd name="connsiteY12" fmla="*/ 150495 h 1156335"/>
              <a:gd name="connsiteX13" fmla="*/ 788670 w 1309687"/>
              <a:gd name="connsiteY13" fmla="*/ 150495 h 1156335"/>
              <a:gd name="connsiteX14" fmla="*/ 762000 w 1309687"/>
              <a:gd name="connsiteY14" fmla="*/ 231458 h 1156335"/>
              <a:gd name="connsiteX15" fmla="*/ 1228725 w 1309687"/>
              <a:gd name="connsiteY15" fmla="*/ 231458 h 1156335"/>
              <a:gd name="connsiteX16" fmla="*/ 80963 w 1309687"/>
              <a:gd name="connsiteY16" fmla="*/ 231458 h 1156335"/>
              <a:gd name="connsiteX17" fmla="*/ 0 w 1309687"/>
              <a:gd name="connsiteY17" fmla="*/ 231458 h 1156335"/>
              <a:gd name="connsiteX18" fmla="*/ 0 w 1309687"/>
              <a:gd name="connsiteY18" fmla="*/ 150495 h 1156335"/>
              <a:gd name="connsiteX19" fmla="*/ 521018 w 1309687"/>
              <a:gd name="connsiteY19" fmla="*/ 150495 h 1156335"/>
              <a:gd name="connsiteX20" fmla="*/ 547688 w 1309687"/>
              <a:gd name="connsiteY20" fmla="*/ 231458 h 1156335"/>
              <a:gd name="connsiteX21" fmla="*/ 80963 w 1309687"/>
              <a:gd name="connsiteY21" fmla="*/ 231458 h 1156335"/>
              <a:gd name="connsiteX22" fmla="*/ 1147763 w 1309687"/>
              <a:gd name="connsiteY22" fmla="*/ 381953 h 1156335"/>
              <a:gd name="connsiteX23" fmla="*/ 1147763 w 1309687"/>
              <a:gd name="connsiteY23" fmla="*/ 300990 h 1156335"/>
              <a:gd name="connsiteX24" fmla="*/ 739140 w 1309687"/>
              <a:gd name="connsiteY24" fmla="*/ 300990 h 1156335"/>
              <a:gd name="connsiteX25" fmla="*/ 712470 w 1309687"/>
              <a:gd name="connsiteY25" fmla="*/ 381953 h 1156335"/>
              <a:gd name="connsiteX26" fmla="*/ 1147763 w 1309687"/>
              <a:gd name="connsiteY26" fmla="*/ 381953 h 1156335"/>
              <a:gd name="connsiteX27" fmla="*/ 1147763 w 1309687"/>
              <a:gd name="connsiteY27" fmla="*/ 381953 h 1156335"/>
              <a:gd name="connsiteX28" fmla="*/ 161925 w 1309687"/>
              <a:gd name="connsiteY28" fmla="*/ 381953 h 1156335"/>
              <a:gd name="connsiteX29" fmla="*/ 161925 w 1309687"/>
              <a:gd name="connsiteY29" fmla="*/ 300990 h 1156335"/>
              <a:gd name="connsiteX30" fmla="*/ 570548 w 1309687"/>
              <a:gd name="connsiteY30" fmla="*/ 300990 h 1156335"/>
              <a:gd name="connsiteX31" fmla="*/ 597218 w 1309687"/>
              <a:gd name="connsiteY31" fmla="*/ 381953 h 1156335"/>
              <a:gd name="connsiteX32" fmla="*/ 161925 w 1309687"/>
              <a:gd name="connsiteY32" fmla="*/ 381953 h 1156335"/>
              <a:gd name="connsiteX33" fmla="*/ 879158 w 1309687"/>
              <a:gd name="connsiteY33" fmla="*/ 542925 h 1156335"/>
              <a:gd name="connsiteX34" fmla="*/ 898208 w 1309687"/>
              <a:gd name="connsiteY34" fmla="*/ 492443 h 1156335"/>
              <a:gd name="connsiteX35" fmla="*/ 898208 w 1309687"/>
              <a:gd name="connsiteY35" fmla="*/ 542925 h 1156335"/>
              <a:gd name="connsiteX36" fmla="*/ 1147763 w 1309687"/>
              <a:gd name="connsiteY36" fmla="*/ 542925 h 1156335"/>
              <a:gd name="connsiteX37" fmla="*/ 1147763 w 1309687"/>
              <a:gd name="connsiteY37" fmla="*/ 450533 h 1156335"/>
              <a:gd name="connsiteX38" fmla="*/ 689610 w 1309687"/>
              <a:gd name="connsiteY38" fmla="*/ 450533 h 1156335"/>
              <a:gd name="connsiteX39" fmla="*/ 659130 w 1309687"/>
              <a:gd name="connsiteY39" fmla="*/ 542925 h 1156335"/>
              <a:gd name="connsiteX40" fmla="*/ 879158 w 1309687"/>
              <a:gd name="connsiteY40" fmla="*/ 542925 h 1156335"/>
              <a:gd name="connsiteX41" fmla="*/ 879158 w 1309687"/>
              <a:gd name="connsiteY41" fmla="*/ 542925 h 1156335"/>
              <a:gd name="connsiteX42" fmla="*/ 161925 w 1309687"/>
              <a:gd name="connsiteY42" fmla="*/ 542925 h 1156335"/>
              <a:gd name="connsiteX43" fmla="*/ 161925 w 1309687"/>
              <a:gd name="connsiteY43" fmla="*/ 450533 h 1156335"/>
              <a:gd name="connsiteX44" fmla="*/ 620078 w 1309687"/>
              <a:gd name="connsiteY44" fmla="*/ 450533 h 1156335"/>
              <a:gd name="connsiteX45" fmla="*/ 650558 w 1309687"/>
              <a:gd name="connsiteY45" fmla="*/ 542925 h 1156335"/>
              <a:gd name="connsiteX46" fmla="*/ 429578 w 1309687"/>
              <a:gd name="connsiteY46" fmla="*/ 542925 h 1156335"/>
              <a:gd name="connsiteX47" fmla="*/ 411480 w 1309687"/>
              <a:gd name="connsiteY47" fmla="*/ 492443 h 1156335"/>
              <a:gd name="connsiteX48" fmla="*/ 411480 w 1309687"/>
              <a:gd name="connsiteY48" fmla="*/ 542925 h 1156335"/>
              <a:gd name="connsiteX49" fmla="*/ 161925 w 1309687"/>
              <a:gd name="connsiteY49" fmla="*/ 542925 h 1156335"/>
              <a:gd name="connsiteX50" fmla="*/ 898208 w 1309687"/>
              <a:gd name="connsiteY50" fmla="*/ 693420 h 1156335"/>
              <a:gd name="connsiteX51" fmla="*/ 898208 w 1309687"/>
              <a:gd name="connsiteY51" fmla="*/ 612458 h 1156335"/>
              <a:gd name="connsiteX52" fmla="*/ 1147763 w 1309687"/>
              <a:gd name="connsiteY52" fmla="*/ 612458 h 1156335"/>
              <a:gd name="connsiteX53" fmla="*/ 1147763 w 1309687"/>
              <a:gd name="connsiteY53" fmla="*/ 693420 h 1156335"/>
              <a:gd name="connsiteX54" fmla="*/ 898208 w 1309687"/>
              <a:gd name="connsiteY54" fmla="*/ 693420 h 1156335"/>
              <a:gd name="connsiteX55" fmla="*/ 484823 w 1309687"/>
              <a:gd name="connsiteY55" fmla="*/ 693420 h 1156335"/>
              <a:gd name="connsiteX56" fmla="*/ 455295 w 1309687"/>
              <a:gd name="connsiteY56" fmla="*/ 612458 h 1156335"/>
              <a:gd name="connsiteX57" fmla="*/ 853440 w 1309687"/>
              <a:gd name="connsiteY57" fmla="*/ 612458 h 1156335"/>
              <a:gd name="connsiteX58" fmla="*/ 823913 w 1309687"/>
              <a:gd name="connsiteY58" fmla="*/ 693420 h 1156335"/>
              <a:gd name="connsiteX59" fmla="*/ 484823 w 1309687"/>
              <a:gd name="connsiteY59" fmla="*/ 693420 h 1156335"/>
              <a:gd name="connsiteX60" fmla="*/ 484823 w 1309687"/>
              <a:gd name="connsiteY60" fmla="*/ 693420 h 1156335"/>
              <a:gd name="connsiteX61" fmla="*/ 161925 w 1309687"/>
              <a:gd name="connsiteY61" fmla="*/ 693420 h 1156335"/>
              <a:gd name="connsiteX62" fmla="*/ 161925 w 1309687"/>
              <a:gd name="connsiteY62" fmla="*/ 612458 h 1156335"/>
              <a:gd name="connsiteX63" fmla="*/ 411480 w 1309687"/>
              <a:gd name="connsiteY63" fmla="*/ 612458 h 1156335"/>
              <a:gd name="connsiteX64" fmla="*/ 411480 w 1309687"/>
              <a:gd name="connsiteY64" fmla="*/ 693420 h 1156335"/>
              <a:gd name="connsiteX65" fmla="*/ 161925 w 1309687"/>
              <a:gd name="connsiteY65" fmla="*/ 693420 h 1156335"/>
              <a:gd name="connsiteX66" fmla="*/ 898208 w 1309687"/>
              <a:gd name="connsiteY66" fmla="*/ 855345 h 1156335"/>
              <a:gd name="connsiteX67" fmla="*/ 898208 w 1309687"/>
              <a:gd name="connsiteY67" fmla="*/ 762953 h 1156335"/>
              <a:gd name="connsiteX68" fmla="*/ 1147763 w 1309687"/>
              <a:gd name="connsiteY68" fmla="*/ 762953 h 1156335"/>
              <a:gd name="connsiteX69" fmla="*/ 1147763 w 1309687"/>
              <a:gd name="connsiteY69" fmla="*/ 855345 h 1156335"/>
              <a:gd name="connsiteX70" fmla="*/ 898208 w 1309687"/>
              <a:gd name="connsiteY70" fmla="*/ 855345 h 1156335"/>
              <a:gd name="connsiteX71" fmla="*/ 542925 w 1309687"/>
              <a:gd name="connsiteY71" fmla="*/ 855345 h 1156335"/>
              <a:gd name="connsiteX72" fmla="*/ 509588 w 1309687"/>
              <a:gd name="connsiteY72" fmla="*/ 762953 h 1156335"/>
              <a:gd name="connsiteX73" fmla="*/ 798195 w 1309687"/>
              <a:gd name="connsiteY73" fmla="*/ 762953 h 1156335"/>
              <a:gd name="connsiteX74" fmla="*/ 763905 w 1309687"/>
              <a:gd name="connsiteY74" fmla="*/ 855345 h 1156335"/>
              <a:gd name="connsiteX75" fmla="*/ 542925 w 1309687"/>
              <a:gd name="connsiteY75" fmla="*/ 855345 h 1156335"/>
              <a:gd name="connsiteX76" fmla="*/ 542925 w 1309687"/>
              <a:gd name="connsiteY76" fmla="*/ 855345 h 1156335"/>
              <a:gd name="connsiteX77" fmla="*/ 161925 w 1309687"/>
              <a:gd name="connsiteY77" fmla="*/ 855345 h 1156335"/>
              <a:gd name="connsiteX78" fmla="*/ 161925 w 1309687"/>
              <a:gd name="connsiteY78" fmla="*/ 762953 h 1156335"/>
              <a:gd name="connsiteX79" fmla="*/ 411480 w 1309687"/>
              <a:gd name="connsiteY79" fmla="*/ 762953 h 1156335"/>
              <a:gd name="connsiteX80" fmla="*/ 411480 w 1309687"/>
              <a:gd name="connsiteY80" fmla="*/ 855345 h 1156335"/>
              <a:gd name="connsiteX81" fmla="*/ 161925 w 1309687"/>
              <a:gd name="connsiteY81" fmla="*/ 855345 h 1156335"/>
              <a:gd name="connsiteX82" fmla="*/ 898208 w 1309687"/>
              <a:gd name="connsiteY82" fmla="*/ 1075373 h 1156335"/>
              <a:gd name="connsiteX83" fmla="*/ 898208 w 1309687"/>
              <a:gd name="connsiteY83" fmla="*/ 1156335 h 1156335"/>
              <a:gd name="connsiteX84" fmla="*/ 1309688 w 1309687"/>
              <a:gd name="connsiteY84" fmla="*/ 1156335 h 1156335"/>
              <a:gd name="connsiteX85" fmla="*/ 1309688 w 1309687"/>
              <a:gd name="connsiteY85" fmla="*/ 1075373 h 1156335"/>
              <a:gd name="connsiteX86" fmla="*/ 898208 w 1309687"/>
              <a:gd name="connsiteY86" fmla="*/ 1075373 h 1156335"/>
              <a:gd name="connsiteX87" fmla="*/ 622935 w 1309687"/>
              <a:gd name="connsiteY87" fmla="*/ 1075373 h 1156335"/>
              <a:gd name="connsiteX88" fmla="*/ 652463 w 1309687"/>
              <a:gd name="connsiteY88" fmla="*/ 1156335 h 1156335"/>
              <a:gd name="connsiteX89" fmla="*/ 652463 w 1309687"/>
              <a:gd name="connsiteY89" fmla="*/ 1156335 h 1156335"/>
              <a:gd name="connsiteX90" fmla="*/ 653415 w 1309687"/>
              <a:gd name="connsiteY90" fmla="*/ 1156335 h 1156335"/>
              <a:gd name="connsiteX91" fmla="*/ 682943 w 1309687"/>
              <a:gd name="connsiteY91" fmla="*/ 1075373 h 1156335"/>
              <a:gd name="connsiteX92" fmla="*/ 622935 w 1309687"/>
              <a:gd name="connsiteY92" fmla="*/ 1075373 h 1156335"/>
              <a:gd name="connsiteX93" fmla="*/ 597218 w 1309687"/>
              <a:gd name="connsiteY93" fmla="*/ 1005840 h 1156335"/>
              <a:gd name="connsiteX94" fmla="*/ 567690 w 1309687"/>
              <a:gd name="connsiteY94" fmla="*/ 924878 h 1156335"/>
              <a:gd name="connsiteX95" fmla="*/ 738188 w 1309687"/>
              <a:gd name="connsiteY95" fmla="*/ 924878 h 1156335"/>
              <a:gd name="connsiteX96" fmla="*/ 708660 w 1309687"/>
              <a:gd name="connsiteY96" fmla="*/ 1005840 h 1156335"/>
              <a:gd name="connsiteX97" fmla="*/ 597218 w 1309687"/>
              <a:gd name="connsiteY97" fmla="*/ 1005840 h 1156335"/>
              <a:gd name="connsiteX98" fmla="*/ 597218 w 1309687"/>
              <a:gd name="connsiteY98" fmla="*/ 1005840 h 1156335"/>
              <a:gd name="connsiteX99" fmla="*/ 0 w 1309687"/>
              <a:gd name="connsiteY99" fmla="*/ 1075373 h 1156335"/>
              <a:gd name="connsiteX100" fmla="*/ 0 w 1309687"/>
              <a:gd name="connsiteY100" fmla="*/ 1156335 h 1156335"/>
              <a:gd name="connsiteX101" fmla="*/ 411480 w 1309687"/>
              <a:gd name="connsiteY101" fmla="*/ 1156335 h 1156335"/>
              <a:gd name="connsiteX102" fmla="*/ 411480 w 1309687"/>
              <a:gd name="connsiteY102" fmla="*/ 1075373 h 1156335"/>
              <a:gd name="connsiteX103" fmla="*/ 0 w 1309687"/>
              <a:gd name="connsiteY103" fmla="*/ 1075373 h 1156335"/>
              <a:gd name="connsiteX104" fmla="*/ 1112520 w 1309687"/>
              <a:gd name="connsiteY104" fmla="*/ 924878 h 1156335"/>
              <a:gd name="connsiteX105" fmla="*/ 898208 w 1309687"/>
              <a:gd name="connsiteY105" fmla="*/ 924878 h 1156335"/>
              <a:gd name="connsiteX106" fmla="*/ 898208 w 1309687"/>
              <a:gd name="connsiteY106" fmla="*/ 1005840 h 1156335"/>
              <a:gd name="connsiteX107" fmla="*/ 1309688 w 1309687"/>
              <a:gd name="connsiteY107" fmla="*/ 1005840 h 1156335"/>
              <a:gd name="connsiteX108" fmla="*/ 1309688 w 1309687"/>
              <a:gd name="connsiteY108" fmla="*/ 924878 h 1156335"/>
              <a:gd name="connsiteX109" fmla="*/ 1112520 w 1309687"/>
              <a:gd name="connsiteY109" fmla="*/ 924878 h 1156335"/>
              <a:gd name="connsiteX110" fmla="*/ 1112520 w 1309687"/>
              <a:gd name="connsiteY110" fmla="*/ 924878 h 1156335"/>
              <a:gd name="connsiteX111" fmla="*/ 0 w 1309687"/>
              <a:gd name="connsiteY111" fmla="*/ 947738 h 1156335"/>
              <a:gd name="connsiteX112" fmla="*/ 0 w 1309687"/>
              <a:gd name="connsiteY112" fmla="*/ 1005840 h 1156335"/>
              <a:gd name="connsiteX113" fmla="*/ 411480 w 1309687"/>
              <a:gd name="connsiteY113" fmla="*/ 1005840 h 1156335"/>
              <a:gd name="connsiteX114" fmla="*/ 411480 w 1309687"/>
              <a:gd name="connsiteY114" fmla="*/ 924878 h 1156335"/>
              <a:gd name="connsiteX115" fmla="*/ 0 w 1309687"/>
              <a:gd name="connsiteY115" fmla="*/ 924878 h 1156335"/>
              <a:gd name="connsiteX116" fmla="*/ 0 w 1309687"/>
              <a:gd name="connsiteY116" fmla="*/ 947738 h 1156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1309687" h="1156335">
                <a:moveTo>
                  <a:pt x="811530" y="80963"/>
                </a:moveTo>
                <a:lnTo>
                  <a:pt x="838200" y="0"/>
                </a:lnTo>
                <a:lnTo>
                  <a:pt x="1309688" y="0"/>
                </a:lnTo>
                <a:lnTo>
                  <a:pt x="1309688" y="80963"/>
                </a:lnTo>
                <a:lnTo>
                  <a:pt x="811530" y="80963"/>
                </a:lnTo>
                <a:close/>
                <a:moveTo>
                  <a:pt x="0" y="80963"/>
                </a:moveTo>
                <a:lnTo>
                  <a:pt x="0" y="0"/>
                </a:lnTo>
                <a:lnTo>
                  <a:pt x="471488" y="0"/>
                </a:lnTo>
                <a:lnTo>
                  <a:pt x="498158" y="80963"/>
                </a:lnTo>
                <a:lnTo>
                  <a:pt x="0" y="80963"/>
                </a:lnTo>
                <a:close/>
                <a:moveTo>
                  <a:pt x="1228725" y="231458"/>
                </a:moveTo>
                <a:lnTo>
                  <a:pt x="1309688" y="231458"/>
                </a:lnTo>
                <a:lnTo>
                  <a:pt x="1309688" y="150495"/>
                </a:lnTo>
                <a:lnTo>
                  <a:pt x="788670" y="150495"/>
                </a:lnTo>
                <a:lnTo>
                  <a:pt x="762000" y="231458"/>
                </a:lnTo>
                <a:lnTo>
                  <a:pt x="1228725" y="231458"/>
                </a:lnTo>
                <a:close/>
                <a:moveTo>
                  <a:pt x="80963" y="231458"/>
                </a:moveTo>
                <a:lnTo>
                  <a:pt x="0" y="231458"/>
                </a:lnTo>
                <a:lnTo>
                  <a:pt x="0" y="150495"/>
                </a:lnTo>
                <a:lnTo>
                  <a:pt x="521018" y="150495"/>
                </a:lnTo>
                <a:lnTo>
                  <a:pt x="547688" y="231458"/>
                </a:lnTo>
                <a:lnTo>
                  <a:pt x="80963" y="231458"/>
                </a:lnTo>
                <a:close/>
                <a:moveTo>
                  <a:pt x="1147763" y="381953"/>
                </a:moveTo>
                <a:lnTo>
                  <a:pt x="1147763" y="300990"/>
                </a:lnTo>
                <a:lnTo>
                  <a:pt x="739140" y="300990"/>
                </a:lnTo>
                <a:lnTo>
                  <a:pt x="712470" y="381953"/>
                </a:lnTo>
                <a:lnTo>
                  <a:pt x="1147763" y="381953"/>
                </a:lnTo>
                <a:lnTo>
                  <a:pt x="1147763" y="381953"/>
                </a:lnTo>
                <a:close/>
                <a:moveTo>
                  <a:pt x="161925" y="381953"/>
                </a:moveTo>
                <a:lnTo>
                  <a:pt x="161925" y="300990"/>
                </a:lnTo>
                <a:lnTo>
                  <a:pt x="570548" y="300990"/>
                </a:lnTo>
                <a:lnTo>
                  <a:pt x="597218" y="381953"/>
                </a:lnTo>
                <a:lnTo>
                  <a:pt x="161925" y="381953"/>
                </a:lnTo>
                <a:close/>
                <a:moveTo>
                  <a:pt x="879158" y="542925"/>
                </a:moveTo>
                <a:lnTo>
                  <a:pt x="898208" y="492443"/>
                </a:lnTo>
                <a:lnTo>
                  <a:pt x="898208" y="542925"/>
                </a:lnTo>
                <a:lnTo>
                  <a:pt x="1147763" y="542925"/>
                </a:lnTo>
                <a:lnTo>
                  <a:pt x="1147763" y="450533"/>
                </a:lnTo>
                <a:lnTo>
                  <a:pt x="689610" y="450533"/>
                </a:lnTo>
                <a:lnTo>
                  <a:pt x="659130" y="542925"/>
                </a:lnTo>
                <a:lnTo>
                  <a:pt x="879158" y="542925"/>
                </a:lnTo>
                <a:lnTo>
                  <a:pt x="879158" y="542925"/>
                </a:lnTo>
                <a:close/>
                <a:moveTo>
                  <a:pt x="161925" y="542925"/>
                </a:moveTo>
                <a:lnTo>
                  <a:pt x="161925" y="450533"/>
                </a:lnTo>
                <a:lnTo>
                  <a:pt x="620078" y="450533"/>
                </a:lnTo>
                <a:lnTo>
                  <a:pt x="650558" y="542925"/>
                </a:lnTo>
                <a:lnTo>
                  <a:pt x="429578" y="542925"/>
                </a:lnTo>
                <a:lnTo>
                  <a:pt x="411480" y="492443"/>
                </a:lnTo>
                <a:lnTo>
                  <a:pt x="411480" y="542925"/>
                </a:lnTo>
                <a:lnTo>
                  <a:pt x="161925" y="542925"/>
                </a:lnTo>
                <a:close/>
                <a:moveTo>
                  <a:pt x="898208" y="693420"/>
                </a:moveTo>
                <a:lnTo>
                  <a:pt x="898208" y="612458"/>
                </a:lnTo>
                <a:lnTo>
                  <a:pt x="1147763" y="612458"/>
                </a:lnTo>
                <a:lnTo>
                  <a:pt x="1147763" y="693420"/>
                </a:lnTo>
                <a:lnTo>
                  <a:pt x="898208" y="693420"/>
                </a:lnTo>
                <a:close/>
                <a:moveTo>
                  <a:pt x="484823" y="693420"/>
                </a:moveTo>
                <a:lnTo>
                  <a:pt x="455295" y="612458"/>
                </a:lnTo>
                <a:lnTo>
                  <a:pt x="853440" y="612458"/>
                </a:lnTo>
                <a:lnTo>
                  <a:pt x="823913" y="693420"/>
                </a:lnTo>
                <a:lnTo>
                  <a:pt x="484823" y="693420"/>
                </a:lnTo>
                <a:lnTo>
                  <a:pt x="484823" y="693420"/>
                </a:lnTo>
                <a:close/>
                <a:moveTo>
                  <a:pt x="161925" y="693420"/>
                </a:moveTo>
                <a:lnTo>
                  <a:pt x="161925" y="612458"/>
                </a:lnTo>
                <a:lnTo>
                  <a:pt x="411480" y="612458"/>
                </a:lnTo>
                <a:lnTo>
                  <a:pt x="411480" y="693420"/>
                </a:lnTo>
                <a:lnTo>
                  <a:pt x="161925" y="693420"/>
                </a:lnTo>
                <a:close/>
                <a:moveTo>
                  <a:pt x="898208" y="855345"/>
                </a:moveTo>
                <a:lnTo>
                  <a:pt x="898208" y="762953"/>
                </a:lnTo>
                <a:lnTo>
                  <a:pt x="1147763" y="762953"/>
                </a:lnTo>
                <a:lnTo>
                  <a:pt x="1147763" y="855345"/>
                </a:lnTo>
                <a:lnTo>
                  <a:pt x="898208" y="855345"/>
                </a:lnTo>
                <a:close/>
                <a:moveTo>
                  <a:pt x="542925" y="855345"/>
                </a:moveTo>
                <a:lnTo>
                  <a:pt x="509588" y="762953"/>
                </a:lnTo>
                <a:lnTo>
                  <a:pt x="798195" y="762953"/>
                </a:lnTo>
                <a:lnTo>
                  <a:pt x="763905" y="855345"/>
                </a:lnTo>
                <a:lnTo>
                  <a:pt x="542925" y="855345"/>
                </a:lnTo>
                <a:lnTo>
                  <a:pt x="542925" y="855345"/>
                </a:lnTo>
                <a:close/>
                <a:moveTo>
                  <a:pt x="161925" y="855345"/>
                </a:moveTo>
                <a:lnTo>
                  <a:pt x="161925" y="762953"/>
                </a:lnTo>
                <a:lnTo>
                  <a:pt x="411480" y="762953"/>
                </a:lnTo>
                <a:lnTo>
                  <a:pt x="411480" y="855345"/>
                </a:lnTo>
                <a:lnTo>
                  <a:pt x="161925" y="855345"/>
                </a:lnTo>
                <a:close/>
                <a:moveTo>
                  <a:pt x="898208" y="1075373"/>
                </a:moveTo>
                <a:lnTo>
                  <a:pt x="898208" y="1156335"/>
                </a:lnTo>
                <a:lnTo>
                  <a:pt x="1309688" y="1156335"/>
                </a:lnTo>
                <a:lnTo>
                  <a:pt x="1309688" y="1075373"/>
                </a:lnTo>
                <a:lnTo>
                  <a:pt x="898208" y="1075373"/>
                </a:lnTo>
                <a:close/>
                <a:moveTo>
                  <a:pt x="622935" y="1075373"/>
                </a:moveTo>
                <a:lnTo>
                  <a:pt x="652463" y="1156335"/>
                </a:lnTo>
                <a:lnTo>
                  <a:pt x="652463" y="1156335"/>
                </a:lnTo>
                <a:lnTo>
                  <a:pt x="653415" y="1156335"/>
                </a:lnTo>
                <a:lnTo>
                  <a:pt x="682943" y="1075373"/>
                </a:lnTo>
                <a:lnTo>
                  <a:pt x="622935" y="1075373"/>
                </a:lnTo>
                <a:close/>
                <a:moveTo>
                  <a:pt x="597218" y="1005840"/>
                </a:moveTo>
                <a:lnTo>
                  <a:pt x="567690" y="924878"/>
                </a:lnTo>
                <a:lnTo>
                  <a:pt x="738188" y="924878"/>
                </a:lnTo>
                <a:lnTo>
                  <a:pt x="708660" y="1005840"/>
                </a:lnTo>
                <a:lnTo>
                  <a:pt x="597218" y="1005840"/>
                </a:lnTo>
                <a:lnTo>
                  <a:pt x="597218" y="1005840"/>
                </a:lnTo>
                <a:close/>
                <a:moveTo>
                  <a:pt x="0" y="1075373"/>
                </a:moveTo>
                <a:lnTo>
                  <a:pt x="0" y="1156335"/>
                </a:lnTo>
                <a:lnTo>
                  <a:pt x="411480" y="1156335"/>
                </a:lnTo>
                <a:lnTo>
                  <a:pt x="411480" y="1075373"/>
                </a:lnTo>
                <a:lnTo>
                  <a:pt x="0" y="1075373"/>
                </a:lnTo>
                <a:close/>
                <a:moveTo>
                  <a:pt x="1112520" y="924878"/>
                </a:moveTo>
                <a:lnTo>
                  <a:pt x="898208" y="924878"/>
                </a:lnTo>
                <a:lnTo>
                  <a:pt x="898208" y="1005840"/>
                </a:lnTo>
                <a:lnTo>
                  <a:pt x="1309688" y="1005840"/>
                </a:lnTo>
                <a:lnTo>
                  <a:pt x="1309688" y="924878"/>
                </a:lnTo>
                <a:lnTo>
                  <a:pt x="1112520" y="924878"/>
                </a:lnTo>
                <a:lnTo>
                  <a:pt x="1112520" y="924878"/>
                </a:lnTo>
                <a:close/>
                <a:moveTo>
                  <a:pt x="0" y="947738"/>
                </a:moveTo>
                <a:lnTo>
                  <a:pt x="0" y="1005840"/>
                </a:lnTo>
                <a:lnTo>
                  <a:pt x="411480" y="1005840"/>
                </a:lnTo>
                <a:lnTo>
                  <a:pt x="411480" y="924878"/>
                </a:lnTo>
                <a:lnTo>
                  <a:pt x="0" y="924878"/>
                </a:lnTo>
                <a:lnTo>
                  <a:pt x="0" y="947738"/>
                </a:lnTo>
                <a:close/>
              </a:path>
            </a:pathLst>
          </a:custGeom>
          <a:solidFill>
            <a:schemeClr val="accent2"/>
          </a:solidFill>
          <a:ln w="9525" cap="flat">
            <a:noFill/>
            <a:prstDash val="solid"/>
            <a:miter/>
          </a:ln>
        </p:spPr>
        <p:txBody>
          <a:bodyPr rtlCol="0" anchor="ctr"/>
          <a:lstStyle/>
          <a:p>
            <a:endParaRPr lang="en-US" sz="900"/>
          </a:p>
        </p:txBody>
      </p:sp>
      <p:grpSp>
        <p:nvGrpSpPr>
          <p:cNvPr id="16" name="Group 193">
            <a:extLst>
              <a:ext uri="{FF2B5EF4-FFF2-40B4-BE49-F238E27FC236}">
                <a16:creationId xmlns:a16="http://schemas.microsoft.com/office/drawing/2014/main" id="{D25BF402-48E0-C61F-F441-22AED6751297}"/>
              </a:ext>
            </a:extLst>
          </p:cNvPr>
          <p:cNvGrpSpPr>
            <a:grpSpLocks noChangeAspect="1"/>
          </p:cNvGrpSpPr>
          <p:nvPr userDrawn="1"/>
        </p:nvGrpSpPr>
        <p:grpSpPr bwMode="auto">
          <a:xfrm>
            <a:off x="300812" y="4143958"/>
            <a:ext cx="1205294" cy="1198877"/>
            <a:chOff x="3752" y="19838"/>
            <a:chExt cx="3118" cy="3101"/>
          </a:xfrm>
          <a:solidFill>
            <a:schemeClr val="tx1"/>
          </a:solidFill>
        </p:grpSpPr>
        <p:sp>
          <p:nvSpPr>
            <p:cNvPr id="17" name="Freeform 194">
              <a:extLst>
                <a:ext uri="{FF2B5EF4-FFF2-40B4-BE49-F238E27FC236}">
                  <a16:creationId xmlns:a16="http://schemas.microsoft.com/office/drawing/2014/main" id="{867CD5AB-F7BA-27C2-30BF-C88D19B82962}"/>
                </a:ext>
              </a:extLst>
            </p:cNvPr>
            <p:cNvSpPr>
              <a:spLocks noEditPoints="1"/>
            </p:cNvSpPr>
            <p:nvPr/>
          </p:nvSpPr>
          <p:spPr bwMode="auto">
            <a:xfrm>
              <a:off x="4246" y="20381"/>
              <a:ext cx="2283" cy="1320"/>
            </a:xfrm>
            <a:custGeom>
              <a:avLst/>
              <a:gdLst>
                <a:gd name="T0" fmla="*/ 321 w 1206"/>
                <a:gd name="T1" fmla="*/ 643 h 697"/>
                <a:gd name="T2" fmla="*/ 268 w 1206"/>
                <a:gd name="T3" fmla="*/ 697 h 697"/>
                <a:gd name="T4" fmla="*/ 214 w 1206"/>
                <a:gd name="T5" fmla="*/ 643 h 697"/>
                <a:gd name="T6" fmla="*/ 268 w 1206"/>
                <a:gd name="T7" fmla="*/ 590 h 697"/>
                <a:gd name="T8" fmla="*/ 321 w 1206"/>
                <a:gd name="T9" fmla="*/ 643 h 697"/>
                <a:gd name="T10" fmla="*/ 482 w 1206"/>
                <a:gd name="T11" fmla="*/ 590 h 697"/>
                <a:gd name="T12" fmla="*/ 429 w 1206"/>
                <a:gd name="T13" fmla="*/ 643 h 697"/>
                <a:gd name="T14" fmla="*/ 482 w 1206"/>
                <a:gd name="T15" fmla="*/ 697 h 697"/>
                <a:gd name="T16" fmla="*/ 536 w 1206"/>
                <a:gd name="T17" fmla="*/ 643 h 697"/>
                <a:gd name="T18" fmla="*/ 482 w 1206"/>
                <a:gd name="T19" fmla="*/ 590 h 697"/>
                <a:gd name="T20" fmla="*/ 53 w 1206"/>
                <a:gd name="T21" fmla="*/ 590 h 697"/>
                <a:gd name="T22" fmla="*/ 0 w 1206"/>
                <a:gd name="T23" fmla="*/ 643 h 697"/>
                <a:gd name="T24" fmla="*/ 53 w 1206"/>
                <a:gd name="T25" fmla="*/ 697 h 697"/>
                <a:gd name="T26" fmla="*/ 107 w 1206"/>
                <a:gd name="T27" fmla="*/ 643 h 697"/>
                <a:gd name="T28" fmla="*/ 53 w 1206"/>
                <a:gd name="T29" fmla="*/ 590 h 697"/>
                <a:gd name="T30" fmla="*/ 938 w 1206"/>
                <a:gd name="T31" fmla="*/ 0 h 697"/>
                <a:gd name="T32" fmla="*/ 884 w 1206"/>
                <a:gd name="T33" fmla="*/ 54 h 697"/>
                <a:gd name="T34" fmla="*/ 938 w 1206"/>
                <a:gd name="T35" fmla="*/ 107 h 697"/>
                <a:gd name="T36" fmla="*/ 991 w 1206"/>
                <a:gd name="T37" fmla="*/ 54 h 697"/>
                <a:gd name="T38" fmla="*/ 938 w 1206"/>
                <a:gd name="T39" fmla="*/ 0 h 697"/>
                <a:gd name="T40" fmla="*/ 1152 w 1206"/>
                <a:gd name="T41" fmla="*/ 0 h 697"/>
                <a:gd name="T42" fmla="*/ 1098 w 1206"/>
                <a:gd name="T43" fmla="*/ 54 h 697"/>
                <a:gd name="T44" fmla="*/ 1152 w 1206"/>
                <a:gd name="T45" fmla="*/ 107 h 697"/>
                <a:gd name="T46" fmla="*/ 1206 w 1206"/>
                <a:gd name="T47" fmla="*/ 54 h 697"/>
                <a:gd name="T48" fmla="*/ 1152 w 1206"/>
                <a:gd name="T49" fmla="*/ 0 h 697"/>
                <a:gd name="T50" fmla="*/ 723 w 1206"/>
                <a:gd name="T51" fmla="*/ 0 h 697"/>
                <a:gd name="T52" fmla="*/ 670 w 1206"/>
                <a:gd name="T53" fmla="*/ 54 h 697"/>
                <a:gd name="T54" fmla="*/ 723 w 1206"/>
                <a:gd name="T55" fmla="*/ 107 h 697"/>
                <a:gd name="T56" fmla="*/ 777 w 1206"/>
                <a:gd name="T57" fmla="*/ 54 h 697"/>
                <a:gd name="T58" fmla="*/ 723 w 1206"/>
                <a:gd name="T59" fmla="*/ 0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06" h="697">
                  <a:moveTo>
                    <a:pt x="321" y="643"/>
                  </a:moveTo>
                  <a:cubicBezTo>
                    <a:pt x="321" y="673"/>
                    <a:pt x="297" y="697"/>
                    <a:pt x="268" y="697"/>
                  </a:cubicBezTo>
                  <a:cubicBezTo>
                    <a:pt x="238" y="697"/>
                    <a:pt x="214" y="673"/>
                    <a:pt x="214" y="643"/>
                  </a:cubicBezTo>
                  <a:cubicBezTo>
                    <a:pt x="214" y="614"/>
                    <a:pt x="238" y="590"/>
                    <a:pt x="268" y="590"/>
                  </a:cubicBezTo>
                  <a:cubicBezTo>
                    <a:pt x="297" y="590"/>
                    <a:pt x="321" y="614"/>
                    <a:pt x="321" y="643"/>
                  </a:cubicBezTo>
                  <a:close/>
                  <a:moveTo>
                    <a:pt x="482" y="590"/>
                  </a:moveTo>
                  <a:cubicBezTo>
                    <a:pt x="453" y="590"/>
                    <a:pt x="429" y="614"/>
                    <a:pt x="429" y="643"/>
                  </a:cubicBezTo>
                  <a:cubicBezTo>
                    <a:pt x="429" y="673"/>
                    <a:pt x="453" y="697"/>
                    <a:pt x="482" y="697"/>
                  </a:cubicBezTo>
                  <a:cubicBezTo>
                    <a:pt x="512" y="697"/>
                    <a:pt x="536" y="673"/>
                    <a:pt x="536" y="643"/>
                  </a:cubicBezTo>
                  <a:cubicBezTo>
                    <a:pt x="536" y="614"/>
                    <a:pt x="512" y="590"/>
                    <a:pt x="482" y="590"/>
                  </a:cubicBezTo>
                  <a:close/>
                  <a:moveTo>
                    <a:pt x="53" y="590"/>
                  </a:moveTo>
                  <a:cubicBezTo>
                    <a:pt x="24" y="590"/>
                    <a:pt x="0" y="614"/>
                    <a:pt x="0" y="643"/>
                  </a:cubicBezTo>
                  <a:cubicBezTo>
                    <a:pt x="0" y="673"/>
                    <a:pt x="24" y="697"/>
                    <a:pt x="53" y="697"/>
                  </a:cubicBezTo>
                  <a:cubicBezTo>
                    <a:pt x="83" y="697"/>
                    <a:pt x="107" y="673"/>
                    <a:pt x="107" y="643"/>
                  </a:cubicBezTo>
                  <a:cubicBezTo>
                    <a:pt x="107" y="614"/>
                    <a:pt x="83" y="590"/>
                    <a:pt x="53" y="590"/>
                  </a:cubicBezTo>
                  <a:close/>
                  <a:moveTo>
                    <a:pt x="938" y="0"/>
                  </a:moveTo>
                  <a:cubicBezTo>
                    <a:pt x="908" y="0"/>
                    <a:pt x="884" y="24"/>
                    <a:pt x="884" y="54"/>
                  </a:cubicBezTo>
                  <a:cubicBezTo>
                    <a:pt x="884" y="83"/>
                    <a:pt x="908" y="107"/>
                    <a:pt x="938" y="107"/>
                  </a:cubicBezTo>
                  <a:cubicBezTo>
                    <a:pt x="967" y="107"/>
                    <a:pt x="991" y="83"/>
                    <a:pt x="991" y="54"/>
                  </a:cubicBezTo>
                  <a:cubicBezTo>
                    <a:pt x="991" y="24"/>
                    <a:pt x="967" y="0"/>
                    <a:pt x="938" y="0"/>
                  </a:cubicBezTo>
                  <a:close/>
                  <a:moveTo>
                    <a:pt x="1152" y="0"/>
                  </a:moveTo>
                  <a:cubicBezTo>
                    <a:pt x="1122" y="0"/>
                    <a:pt x="1098" y="24"/>
                    <a:pt x="1098" y="54"/>
                  </a:cubicBezTo>
                  <a:cubicBezTo>
                    <a:pt x="1098" y="83"/>
                    <a:pt x="1122" y="107"/>
                    <a:pt x="1152" y="107"/>
                  </a:cubicBezTo>
                  <a:cubicBezTo>
                    <a:pt x="1182" y="107"/>
                    <a:pt x="1206" y="83"/>
                    <a:pt x="1206" y="54"/>
                  </a:cubicBezTo>
                  <a:cubicBezTo>
                    <a:pt x="1206" y="24"/>
                    <a:pt x="1182" y="0"/>
                    <a:pt x="1152" y="0"/>
                  </a:cubicBezTo>
                  <a:close/>
                  <a:moveTo>
                    <a:pt x="723" y="0"/>
                  </a:moveTo>
                  <a:cubicBezTo>
                    <a:pt x="694" y="0"/>
                    <a:pt x="670" y="24"/>
                    <a:pt x="670" y="54"/>
                  </a:cubicBezTo>
                  <a:cubicBezTo>
                    <a:pt x="670" y="83"/>
                    <a:pt x="694" y="107"/>
                    <a:pt x="723" y="107"/>
                  </a:cubicBezTo>
                  <a:cubicBezTo>
                    <a:pt x="753" y="107"/>
                    <a:pt x="777" y="83"/>
                    <a:pt x="777" y="54"/>
                  </a:cubicBezTo>
                  <a:cubicBezTo>
                    <a:pt x="777" y="24"/>
                    <a:pt x="753" y="0"/>
                    <a:pt x="7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uk-UA" sz="900"/>
            </a:p>
          </p:txBody>
        </p:sp>
        <p:sp>
          <p:nvSpPr>
            <p:cNvPr id="18" name="Freeform 195">
              <a:extLst>
                <a:ext uri="{FF2B5EF4-FFF2-40B4-BE49-F238E27FC236}">
                  <a16:creationId xmlns:a16="http://schemas.microsoft.com/office/drawing/2014/main" id="{DD1C62E2-1C29-904F-BEAF-42C113F30978}"/>
                </a:ext>
              </a:extLst>
            </p:cNvPr>
            <p:cNvSpPr>
              <a:spLocks/>
            </p:cNvSpPr>
            <p:nvPr/>
          </p:nvSpPr>
          <p:spPr bwMode="auto">
            <a:xfrm>
              <a:off x="3752" y="19838"/>
              <a:ext cx="3118" cy="3101"/>
            </a:xfrm>
            <a:custGeom>
              <a:avLst/>
              <a:gdLst>
                <a:gd name="T0" fmla="*/ 540 w 1647"/>
                <a:gd name="T1" fmla="*/ 1638 h 1638"/>
                <a:gd name="T2" fmla="*/ 331 w 1647"/>
                <a:gd name="T3" fmla="*/ 1325 h 1638"/>
                <a:gd name="T4" fmla="*/ 127 w 1647"/>
                <a:gd name="T5" fmla="*/ 1325 h 1638"/>
                <a:gd name="T6" fmla="*/ 0 w 1647"/>
                <a:gd name="T7" fmla="*/ 1198 h 1638"/>
                <a:gd name="T8" fmla="*/ 0 w 1647"/>
                <a:gd name="T9" fmla="*/ 662 h 1638"/>
                <a:gd name="T10" fmla="*/ 127 w 1647"/>
                <a:gd name="T11" fmla="*/ 536 h 1638"/>
                <a:gd name="T12" fmla="*/ 751 w 1647"/>
                <a:gd name="T13" fmla="*/ 536 h 1638"/>
                <a:gd name="T14" fmla="*/ 751 w 1647"/>
                <a:gd name="T15" fmla="*/ 127 h 1638"/>
                <a:gd name="T16" fmla="*/ 877 w 1647"/>
                <a:gd name="T17" fmla="*/ 0 h 1638"/>
                <a:gd name="T18" fmla="*/ 1520 w 1647"/>
                <a:gd name="T19" fmla="*/ 0 h 1638"/>
                <a:gd name="T20" fmla="*/ 1647 w 1647"/>
                <a:gd name="T21" fmla="*/ 127 h 1638"/>
                <a:gd name="T22" fmla="*/ 1647 w 1647"/>
                <a:gd name="T23" fmla="*/ 555 h 1638"/>
                <a:gd name="T24" fmla="*/ 1520 w 1647"/>
                <a:gd name="T25" fmla="*/ 682 h 1638"/>
                <a:gd name="T26" fmla="*/ 1371 w 1647"/>
                <a:gd name="T27" fmla="*/ 682 h 1638"/>
                <a:gd name="T28" fmla="*/ 1270 w 1647"/>
                <a:gd name="T29" fmla="*/ 885 h 1638"/>
                <a:gd name="T30" fmla="*/ 1235 w 1647"/>
                <a:gd name="T31" fmla="*/ 868 h 1638"/>
                <a:gd name="T32" fmla="*/ 1342 w 1647"/>
                <a:gd name="T33" fmla="*/ 654 h 1638"/>
                <a:gd name="T34" fmla="*/ 1359 w 1647"/>
                <a:gd name="T35" fmla="*/ 643 h 1638"/>
                <a:gd name="T36" fmla="*/ 1520 w 1647"/>
                <a:gd name="T37" fmla="*/ 643 h 1638"/>
                <a:gd name="T38" fmla="*/ 1608 w 1647"/>
                <a:gd name="T39" fmla="*/ 555 h 1638"/>
                <a:gd name="T40" fmla="*/ 1608 w 1647"/>
                <a:gd name="T41" fmla="*/ 127 h 1638"/>
                <a:gd name="T42" fmla="*/ 1520 w 1647"/>
                <a:gd name="T43" fmla="*/ 39 h 1638"/>
                <a:gd name="T44" fmla="*/ 877 w 1647"/>
                <a:gd name="T45" fmla="*/ 39 h 1638"/>
                <a:gd name="T46" fmla="*/ 789 w 1647"/>
                <a:gd name="T47" fmla="*/ 127 h 1638"/>
                <a:gd name="T48" fmla="*/ 789 w 1647"/>
                <a:gd name="T49" fmla="*/ 536 h 1638"/>
                <a:gd name="T50" fmla="*/ 931 w 1647"/>
                <a:gd name="T51" fmla="*/ 536 h 1638"/>
                <a:gd name="T52" fmla="*/ 1056 w 1647"/>
                <a:gd name="T53" fmla="*/ 643 h 1638"/>
                <a:gd name="T54" fmla="*/ 1199 w 1647"/>
                <a:gd name="T55" fmla="*/ 643 h 1638"/>
                <a:gd name="T56" fmla="*/ 1199 w 1647"/>
                <a:gd name="T57" fmla="*/ 682 h 1638"/>
                <a:gd name="T58" fmla="*/ 1057 w 1647"/>
                <a:gd name="T59" fmla="*/ 682 h 1638"/>
                <a:gd name="T60" fmla="*/ 1057 w 1647"/>
                <a:gd name="T61" fmla="*/ 1198 h 1638"/>
                <a:gd name="T62" fmla="*/ 931 w 1647"/>
                <a:gd name="T63" fmla="*/ 1325 h 1638"/>
                <a:gd name="T64" fmla="*/ 556 w 1647"/>
                <a:gd name="T65" fmla="*/ 1325 h 1638"/>
                <a:gd name="T66" fmla="*/ 556 w 1647"/>
                <a:gd name="T67" fmla="*/ 1286 h 1638"/>
                <a:gd name="T68" fmla="*/ 931 w 1647"/>
                <a:gd name="T69" fmla="*/ 1286 h 1638"/>
                <a:gd name="T70" fmla="*/ 1019 w 1647"/>
                <a:gd name="T71" fmla="*/ 1198 h 1638"/>
                <a:gd name="T72" fmla="*/ 1019 w 1647"/>
                <a:gd name="T73" fmla="*/ 662 h 1638"/>
                <a:gd name="T74" fmla="*/ 931 w 1647"/>
                <a:gd name="T75" fmla="*/ 575 h 1638"/>
                <a:gd name="T76" fmla="*/ 127 w 1647"/>
                <a:gd name="T77" fmla="*/ 575 h 1638"/>
                <a:gd name="T78" fmla="*/ 39 w 1647"/>
                <a:gd name="T79" fmla="*/ 662 h 1638"/>
                <a:gd name="T80" fmla="*/ 39 w 1647"/>
                <a:gd name="T81" fmla="*/ 1198 h 1638"/>
                <a:gd name="T82" fmla="*/ 127 w 1647"/>
                <a:gd name="T83" fmla="*/ 1286 h 1638"/>
                <a:gd name="T84" fmla="*/ 341 w 1647"/>
                <a:gd name="T85" fmla="*/ 1286 h 1638"/>
                <a:gd name="T86" fmla="*/ 357 w 1647"/>
                <a:gd name="T87" fmla="*/ 1295 h 1638"/>
                <a:gd name="T88" fmla="*/ 572 w 1647"/>
                <a:gd name="T89" fmla="*/ 1616 h 1638"/>
                <a:gd name="T90" fmla="*/ 540 w 1647"/>
                <a:gd name="T91" fmla="*/ 1638 h 1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47" h="1638">
                  <a:moveTo>
                    <a:pt x="540" y="1638"/>
                  </a:moveTo>
                  <a:cubicBezTo>
                    <a:pt x="331" y="1325"/>
                    <a:pt x="331" y="1325"/>
                    <a:pt x="331" y="1325"/>
                  </a:cubicBezTo>
                  <a:cubicBezTo>
                    <a:pt x="127" y="1325"/>
                    <a:pt x="127" y="1325"/>
                    <a:pt x="127" y="1325"/>
                  </a:cubicBezTo>
                  <a:cubicBezTo>
                    <a:pt x="57" y="1325"/>
                    <a:pt x="0" y="1268"/>
                    <a:pt x="0" y="1198"/>
                  </a:cubicBezTo>
                  <a:cubicBezTo>
                    <a:pt x="0" y="662"/>
                    <a:pt x="0" y="662"/>
                    <a:pt x="0" y="662"/>
                  </a:cubicBezTo>
                  <a:cubicBezTo>
                    <a:pt x="0" y="593"/>
                    <a:pt x="57" y="536"/>
                    <a:pt x="127" y="536"/>
                  </a:cubicBezTo>
                  <a:cubicBezTo>
                    <a:pt x="751" y="536"/>
                    <a:pt x="751" y="536"/>
                    <a:pt x="751" y="536"/>
                  </a:cubicBezTo>
                  <a:cubicBezTo>
                    <a:pt x="751" y="127"/>
                    <a:pt x="751" y="127"/>
                    <a:pt x="751" y="127"/>
                  </a:cubicBezTo>
                  <a:cubicBezTo>
                    <a:pt x="751" y="57"/>
                    <a:pt x="807" y="0"/>
                    <a:pt x="877" y="0"/>
                  </a:cubicBezTo>
                  <a:cubicBezTo>
                    <a:pt x="1520" y="0"/>
                    <a:pt x="1520" y="0"/>
                    <a:pt x="1520" y="0"/>
                  </a:cubicBezTo>
                  <a:cubicBezTo>
                    <a:pt x="1590" y="0"/>
                    <a:pt x="1647" y="57"/>
                    <a:pt x="1647" y="127"/>
                  </a:cubicBezTo>
                  <a:cubicBezTo>
                    <a:pt x="1647" y="555"/>
                    <a:pt x="1647" y="555"/>
                    <a:pt x="1647" y="555"/>
                  </a:cubicBezTo>
                  <a:cubicBezTo>
                    <a:pt x="1647" y="625"/>
                    <a:pt x="1590" y="682"/>
                    <a:pt x="1520" y="682"/>
                  </a:cubicBezTo>
                  <a:cubicBezTo>
                    <a:pt x="1371" y="682"/>
                    <a:pt x="1371" y="682"/>
                    <a:pt x="1371" y="682"/>
                  </a:cubicBezTo>
                  <a:cubicBezTo>
                    <a:pt x="1270" y="885"/>
                    <a:pt x="1270" y="885"/>
                    <a:pt x="1270" y="885"/>
                  </a:cubicBezTo>
                  <a:cubicBezTo>
                    <a:pt x="1235" y="868"/>
                    <a:pt x="1235" y="868"/>
                    <a:pt x="1235" y="868"/>
                  </a:cubicBezTo>
                  <a:cubicBezTo>
                    <a:pt x="1342" y="654"/>
                    <a:pt x="1342" y="654"/>
                    <a:pt x="1342" y="654"/>
                  </a:cubicBezTo>
                  <a:cubicBezTo>
                    <a:pt x="1345" y="647"/>
                    <a:pt x="1352" y="643"/>
                    <a:pt x="1359" y="643"/>
                  </a:cubicBezTo>
                  <a:cubicBezTo>
                    <a:pt x="1520" y="643"/>
                    <a:pt x="1520" y="643"/>
                    <a:pt x="1520" y="643"/>
                  </a:cubicBezTo>
                  <a:cubicBezTo>
                    <a:pt x="1569" y="643"/>
                    <a:pt x="1608" y="604"/>
                    <a:pt x="1608" y="555"/>
                  </a:cubicBezTo>
                  <a:cubicBezTo>
                    <a:pt x="1608" y="127"/>
                    <a:pt x="1608" y="127"/>
                    <a:pt x="1608" y="127"/>
                  </a:cubicBezTo>
                  <a:cubicBezTo>
                    <a:pt x="1608" y="78"/>
                    <a:pt x="1569" y="39"/>
                    <a:pt x="1520" y="39"/>
                  </a:cubicBezTo>
                  <a:cubicBezTo>
                    <a:pt x="877" y="39"/>
                    <a:pt x="877" y="39"/>
                    <a:pt x="877" y="39"/>
                  </a:cubicBezTo>
                  <a:cubicBezTo>
                    <a:pt x="829" y="39"/>
                    <a:pt x="789" y="78"/>
                    <a:pt x="789" y="127"/>
                  </a:cubicBezTo>
                  <a:cubicBezTo>
                    <a:pt x="789" y="536"/>
                    <a:pt x="789" y="536"/>
                    <a:pt x="789" y="536"/>
                  </a:cubicBezTo>
                  <a:cubicBezTo>
                    <a:pt x="931" y="536"/>
                    <a:pt x="931" y="536"/>
                    <a:pt x="931" y="536"/>
                  </a:cubicBezTo>
                  <a:cubicBezTo>
                    <a:pt x="994" y="536"/>
                    <a:pt x="1046" y="583"/>
                    <a:pt x="1056" y="643"/>
                  </a:cubicBezTo>
                  <a:cubicBezTo>
                    <a:pt x="1199" y="643"/>
                    <a:pt x="1199" y="643"/>
                    <a:pt x="1199" y="643"/>
                  </a:cubicBezTo>
                  <a:cubicBezTo>
                    <a:pt x="1199" y="682"/>
                    <a:pt x="1199" y="682"/>
                    <a:pt x="1199" y="682"/>
                  </a:cubicBezTo>
                  <a:cubicBezTo>
                    <a:pt x="1057" y="682"/>
                    <a:pt x="1057" y="682"/>
                    <a:pt x="1057" y="682"/>
                  </a:cubicBezTo>
                  <a:cubicBezTo>
                    <a:pt x="1057" y="1198"/>
                    <a:pt x="1057" y="1198"/>
                    <a:pt x="1057" y="1198"/>
                  </a:cubicBezTo>
                  <a:cubicBezTo>
                    <a:pt x="1057" y="1268"/>
                    <a:pt x="1000" y="1325"/>
                    <a:pt x="931" y="1325"/>
                  </a:cubicBezTo>
                  <a:cubicBezTo>
                    <a:pt x="556" y="1325"/>
                    <a:pt x="556" y="1325"/>
                    <a:pt x="556" y="1325"/>
                  </a:cubicBezTo>
                  <a:cubicBezTo>
                    <a:pt x="556" y="1286"/>
                    <a:pt x="556" y="1286"/>
                    <a:pt x="556" y="1286"/>
                  </a:cubicBezTo>
                  <a:cubicBezTo>
                    <a:pt x="931" y="1286"/>
                    <a:pt x="931" y="1286"/>
                    <a:pt x="931" y="1286"/>
                  </a:cubicBezTo>
                  <a:cubicBezTo>
                    <a:pt x="979" y="1286"/>
                    <a:pt x="1019" y="1247"/>
                    <a:pt x="1019" y="1198"/>
                  </a:cubicBezTo>
                  <a:cubicBezTo>
                    <a:pt x="1019" y="662"/>
                    <a:pt x="1019" y="662"/>
                    <a:pt x="1019" y="662"/>
                  </a:cubicBezTo>
                  <a:cubicBezTo>
                    <a:pt x="1019" y="614"/>
                    <a:pt x="979" y="575"/>
                    <a:pt x="931" y="575"/>
                  </a:cubicBezTo>
                  <a:cubicBezTo>
                    <a:pt x="127" y="575"/>
                    <a:pt x="127" y="575"/>
                    <a:pt x="127" y="575"/>
                  </a:cubicBezTo>
                  <a:cubicBezTo>
                    <a:pt x="78" y="575"/>
                    <a:pt x="39" y="614"/>
                    <a:pt x="39" y="662"/>
                  </a:cubicBezTo>
                  <a:cubicBezTo>
                    <a:pt x="39" y="1198"/>
                    <a:pt x="39" y="1198"/>
                    <a:pt x="39" y="1198"/>
                  </a:cubicBezTo>
                  <a:cubicBezTo>
                    <a:pt x="39" y="1247"/>
                    <a:pt x="78" y="1286"/>
                    <a:pt x="127" y="1286"/>
                  </a:cubicBezTo>
                  <a:cubicBezTo>
                    <a:pt x="341" y="1286"/>
                    <a:pt x="341" y="1286"/>
                    <a:pt x="341" y="1286"/>
                  </a:cubicBezTo>
                  <a:cubicBezTo>
                    <a:pt x="348" y="1286"/>
                    <a:pt x="354" y="1289"/>
                    <a:pt x="357" y="1295"/>
                  </a:cubicBezTo>
                  <a:cubicBezTo>
                    <a:pt x="572" y="1616"/>
                    <a:pt x="572" y="1616"/>
                    <a:pt x="572" y="1616"/>
                  </a:cubicBezTo>
                  <a:lnTo>
                    <a:pt x="540" y="16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uk-UA" sz="900"/>
            </a:p>
          </p:txBody>
        </p:sp>
      </p:grpSp>
      <p:sp>
        <p:nvSpPr>
          <p:cNvPr id="21" name="Freeform: Shape 11">
            <a:extLst>
              <a:ext uri="{FF2B5EF4-FFF2-40B4-BE49-F238E27FC236}">
                <a16:creationId xmlns:a16="http://schemas.microsoft.com/office/drawing/2014/main" id="{349D5D56-7138-E71B-4394-7AF21445AC56}"/>
              </a:ext>
            </a:extLst>
          </p:cNvPr>
          <p:cNvSpPr>
            <a:spLocks noChangeAspect="1"/>
          </p:cNvSpPr>
          <p:nvPr userDrawn="1"/>
        </p:nvSpPr>
        <p:spPr>
          <a:xfrm>
            <a:off x="1503517" y="1714500"/>
            <a:ext cx="1206851" cy="1192972"/>
          </a:xfrm>
          <a:custGeom>
            <a:avLst/>
            <a:gdLst>
              <a:gd name="connsiteX0" fmla="*/ 216412 w 292581"/>
              <a:gd name="connsiteY0" fmla="*/ 289179 h 289179"/>
              <a:gd name="connsiteX1" fmla="*/ 209554 w 292581"/>
              <a:gd name="connsiteY1" fmla="*/ 289179 h 289179"/>
              <a:gd name="connsiteX2" fmla="*/ 209554 w 292581"/>
              <a:gd name="connsiteY2" fmla="*/ 241554 h 289179"/>
              <a:gd name="connsiteX3" fmla="*/ 212983 w 292581"/>
              <a:gd name="connsiteY3" fmla="*/ 238125 h 289179"/>
              <a:gd name="connsiteX4" fmla="*/ 257179 w 292581"/>
              <a:gd name="connsiteY4" fmla="*/ 193929 h 289179"/>
              <a:gd name="connsiteX5" fmla="*/ 257179 w 292581"/>
              <a:gd name="connsiteY5" fmla="*/ 165354 h 289179"/>
              <a:gd name="connsiteX6" fmla="*/ 260608 w 292581"/>
              <a:gd name="connsiteY6" fmla="*/ 161925 h 289179"/>
              <a:gd name="connsiteX7" fmla="*/ 279658 w 292581"/>
              <a:gd name="connsiteY7" fmla="*/ 161925 h 289179"/>
              <a:gd name="connsiteX8" fmla="*/ 284830 w 292581"/>
              <a:gd name="connsiteY8" fmla="*/ 159039 h 289179"/>
              <a:gd name="connsiteX9" fmla="*/ 285088 w 292581"/>
              <a:gd name="connsiteY9" fmla="*/ 153105 h 289179"/>
              <a:gd name="connsiteX10" fmla="*/ 257713 w 292581"/>
              <a:gd name="connsiteY10" fmla="*/ 110042 h 289179"/>
              <a:gd name="connsiteX11" fmla="*/ 257179 w 292581"/>
              <a:gd name="connsiteY11" fmla="*/ 108204 h 289179"/>
              <a:gd name="connsiteX12" fmla="*/ 257179 w 292581"/>
              <a:gd name="connsiteY12" fmla="*/ 98679 h 289179"/>
              <a:gd name="connsiteX13" fmla="*/ 155833 w 292581"/>
              <a:gd name="connsiteY13" fmla="*/ 6858 h 289179"/>
              <a:gd name="connsiteX14" fmla="*/ 149737 w 292581"/>
              <a:gd name="connsiteY14" fmla="*/ 6858 h 289179"/>
              <a:gd name="connsiteX15" fmla="*/ 149737 w 292581"/>
              <a:gd name="connsiteY15" fmla="*/ 76200 h 289179"/>
              <a:gd name="connsiteX16" fmla="*/ 178008 w 292581"/>
              <a:gd name="connsiteY16" fmla="*/ 76200 h 289179"/>
              <a:gd name="connsiteX17" fmla="*/ 198696 w 292581"/>
              <a:gd name="connsiteY17" fmla="*/ 66675 h 289179"/>
              <a:gd name="connsiteX18" fmla="*/ 225937 w 292581"/>
              <a:gd name="connsiteY18" fmla="*/ 93917 h 289179"/>
              <a:gd name="connsiteX19" fmla="*/ 198696 w 292581"/>
              <a:gd name="connsiteY19" fmla="*/ 121158 h 289179"/>
              <a:gd name="connsiteX20" fmla="*/ 178008 w 292581"/>
              <a:gd name="connsiteY20" fmla="*/ 111633 h 289179"/>
              <a:gd name="connsiteX21" fmla="*/ 149737 w 292581"/>
              <a:gd name="connsiteY21" fmla="*/ 111633 h 289179"/>
              <a:gd name="connsiteX22" fmla="*/ 149737 w 292581"/>
              <a:gd name="connsiteY22" fmla="*/ 165354 h 289179"/>
              <a:gd name="connsiteX23" fmla="*/ 146308 w 292581"/>
              <a:gd name="connsiteY23" fmla="*/ 168783 h 289179"/>
              <a:gd name="connsiteX24" fmla="*/ 112971 w 292581"/>
              <a:gd name="connsiteY24" fmla="*/ 168783 h 289179"/>
              <a:gd name="connsiteX25" fmla="*/ 110237 w 292581"/>
              <a:gd name="connsiteY25" fmla="*/ 167411 h 289179"/>
              <a:gd name="connsiteX26" fmla="*/ 93921 w 292581"/>
              <a:gd name="connsiteY26" fmla="*/ 159258 h 289179"/>
              <a:gd name="connsiteX27" fmla="*/ 73537 w 292581"/>
              <a:gd name="connsiteY27" fmla="*/ 179642 h 289179"/>
              <a:gd name="connsiteX28" fmla="*/ 93921 w 292581"/>
              <a:gd name="connsiteY28" fmla="*/ 200025 h 289179"/>
              <a:gd name="connsiteX29" fmla="*/ 110237 w 292581"/>
              <a:gd name="connsiteY29" fmla="*/ 191872 h 289179"/>
              <a:gd name="connsiteX30" fmla="*/ 112971 w 292581"/>
              <a:gd name="connsiteY30" fmla="*/ 190500 h 289179"/>
              <a:gd name="connsiteX31" fmla="*/ 146308 w 292581"/>
              <a:gd name="connsiteY31" fmla="*/ 190500 h 289179"/>
              <a:gd name="connsiteX32" fmla="*/ 149737 w 292581"/>
              <a:gd name="connsiteY32" fmla="*/ 193929 h 289179"/>
              <a:gd name="connsiteX33" fmla="*/ 149737 w 292581"/>
              <a:gd name="connsiteY33" fmla="*/ 289179 h 289179"/>
              <a:gd name="connsiteX34" fmla="*/ 142879 w 292581"/>
              <a:gd name="connsiteY34" fmla="*/ 289179 h 289179"/>
              <a:gd name="connsiteX35" fmla="*/ 142879 w 292581"/>
              <a:gd name="connsiteY35" fmla="*/ 197358 h 289179"/>
              <a:gd name="connsiteX36" fmla="*/ 114609 w 292581"/>
              <a:gd name="connsiteY36" fmla="*/ 197358 h 289179"/>
              <a:gd name="connsiteX37" fmla="*/ 93921 w 292581"/>
              <a:gd name="connsiteY37" fmla="*/ 206883 h 289179"/>
              <a:gd name="connsiteX38" fmla="*/ 66679 w 292581"/>
              <a:gd name="connsiteY38" fmla="*/ 179642 h 289179"/>
              <a:gd name="connsiteX39" fmla="*/ 93921 w 292581"/>
              <a:gd name="connsiteY39" fmla="*/ 152400 h 289179"/>
              <a:gd name="connsiteX40" fmla="*/ 114609 w 292581"/>
              <a:gd name="connsiteY40" fmla="*/ 161925 h 289179"/>
              <a:gd name="connsiteX41" fmla="*/ 142879 w 292581"/>
              <a:gd name="connsiteY41" fmla="*/ 161925 h 289179"/>
              <a:gd name="connsiteX42" fmla="*/ 142879 w 292581"/>
              <a:gd name="connsiteY42" fmla="*/ 108204 h 289179"/>
              <a:gd name="connsiteX43" fmla="*/ 146308 w 292581"/>
              <a:gd name="connsiteY43" fmla="*/ 104775 h 289179"/>
              <a:gd name="connsiteX44" fmla="*/ 179646 w 292581"/>
              <a:gd name="connsiteY44" fmla="*/ 104775 h 289179"/>
              <a:gd name="connsiteX45" fmla="*/ 182380 w 292581"/>
              <a:gd name="connsiteY45" fmla="*/ 106137 h 289179"/>
              <a:gd name="connsiteX46" fmla="*/ 198696 w 292581"/>
              <a:gd name="connsiteY46" fmla="*/ 114300 h 289179"/>
              <a:gd name="connsiteX47" fmla="*/ 219079 w 292581"/>
              <a:gd name="connsiteY47" fmla="*/ 93917 h 289179"/>
              <a:gd name="connsiteX48" fmla="*/ 198696 w 292581"/>
              <a:gd name="connsiteY48" fmla="*/ 73533 h 289179"/>
              <a:gd name="connsiteX49" fmla="*/ 182380 w 292581"/>
              <a:gd name="connsiteY49" fmla="*/ 81696 h 289179"/>
              <a:gd name="connsiteX50" fmla="*/ 179646 w 292581"/>
              <a:gd name="connsiteY50" fmla="*/ 83058 h 289179"/>
              <a:gd name="connsiteX51" fmla="*/ 146308 w 292581"/>
              <a:gd name="connsiteY51" fmla="*/ 83058 h 289179"/>
              <a:gd name="connsiteX52" fmla="*/ 142879 w 292581"/>
              <a:gd name="connsiteY52" fmla="*/ 79629 h 289179"/>
              <a:gd name="connsiteX53" fmla="*/ 142879 w 292581"/>
              <a:gd name="connsiteY53" fmla="*/ 6858 h 289179"/>
              <a:gd name="connsiteX54" fmla="*/ 136783 w 292581"/>
              <a:gd name="connsiteY54" fmla="*/ 6858 h 289179"/>
              <a:gd name="connsiteX55" fmla="*/ 35437 w 292581"/>
              <a:gd name="connsiteY55" fmla="*/ 98679 h 289179"/>
              <a:gd name="connsiteX56" fmla="*/ 35437 w 292581"/>
              <a:gd name="connsiteY56" fmla="*/ 108204 h 289179"/>
              <a:gd name="connsiteX57" fmla="*/ 34904 w 292581"/>
              <a:gd name="connsiteY57" fmla="*/ 110042 h 289179"/>
              <a:gd name="connsiteX58" fmla="*/ 7348 w 292581"/>
              <a:gd name="connsiteY58" fmla="*/ 153410 h 289179"/>
              <a:gd name="connsiteX59" fmla="*/ 7786 w 292581"/>
              <a:gd name="connsiteY59" fmla="*/ 159039 h 289179"/>
              <a:gd name="connsiteX60" fmla="*/ 12958 w 292581"/>
              <a:gd name="connsiteY60" fmla="*/ 161925 h 289179"/>
              <a:gd name="connsiteX61" fmla="*/ 32008 w 292581"/>
              <a:gd name="connsiteY61" fmla="*/ 161925 h 289179"/>
              <a:gd name="connsiteX62" fmla="*/ 35437 w 292581"/>
              <a:gd name="connsiteY62" fmla="*/ 165354 h 289179"/>
              <a:gd name="connsiteX63" fmla="*/ 35437 w 292581"/>
              <a:gd name="connsiteY63" fmla="*/ 193929 h 289179"/>
              <a:gd name="connsiteX64" fmla="*/ 79633 w 292581"/>
              <a:gd name="connsiteY64" fmla="*/ 238125 h 289179"/>
              <a:gd name="connsiteX65" fmla="*/ 83062 w 292581"/>
              <a:gd name="connsiteY65" fmla="*/ 241554 h 289179"/>
              <a:gd name="connsiteX66" fmla="*/ 83062 w 292581"/>
              <a:gd name="connsiteY66" fmla="*/ 289179 h 289179"/>
              <a:gd name="connsiteX67" fmla="*/ 76204 w 292581"/>
              <a:gd name="connsiteY67" fmla="*/ 289179 h 289179"/>
              <a:gd name="connsiteX68" fmla="*/ 76204 w 292581"/>
              <a:gd name="connsiteY68" fmla="*/ 244869 h 289179"/>
              <a:gd name="connsiteX69" fmla="*/ 28579 w 292581"/>
              <a:gd name="connsiteY69" fmla="*/ 193929 h 289179"/>
              <a:gd name="connsiteX70" fmla="*/ 28579 w 292581"/>
              <a:gd name="connsiteY70" fmla="*/ 168783 h 289179"/>
              <a:gd name="connsiteX71" fmla="*/ 12958 w 292581"/>
              <a:gd name="connsiteY71" fmla="*/ 168783 h 289179"/>
              <a:gd name="connsiteX72" fmla="*/ 1947 w 292581"/>
              <a:gd name="connsiteY72" fmla="*/ 162639 h 289179"/>
              <a:gd name="connsiteX73" fmla="*/ 1385 w 292581"/>
              <a:gd name="connsiteY73" fmla="*/ 150028 h 289179"/>
              <a:gd name="connsiteX74" fmla="*/ 28579 w 292581"/>
              <a:gd name="connsiteY74" fmla="*/ 107204 h 289179"/>
              <a:gd name="connsiteX75" fmla="*/ 28579 w 292581"/>
              <a:gd name="connsiteY75" fmla="*/ 98679 h 289179"/>
              <a:gd name="connsiteX76" fmla="*/ 136783 w 292581"/>
              <a:gd name="connsiteY76" fmla="*/ 0 h 289179"/>
              <a:gd name="connsiteX77" fmla="*/ 155833 w 292581"/>
              <a:gd name="connsiteY77" fmla="*/ 0 h 289179"/>
              <a:gd name="connsiteX78" fmla="*/ 264037 w 292581"/>
              <a:gd name="connsiteY78" fmla="*/ 98679 h 289179"/>
              <a:gd name="connsiteX79" fmla="*/ 264037 w 292581"/>
              <a:gd name="connsiteY79" fmla="*/ 107213 h 289179"/>
              <a:gd name="connsiteX80" fmla="*/ 291050 w 292581"/>
              <a:gd name="connsiteY80" fmla="*/ 149733 h 289179"/>
              <a:gd name="connsiteX81" fmla="*/ 290669 w 292581"/>
              <a:gd name="connsiteY81" fmla="*/ 162649 h 289179"/>
              <a:gd name="connsiteX82" fmla="*/ 279658 w 292581"/>
              <a:gd name="connsiteY82" fmla="*/ 168793 h 289179"/>
              <a:gd name="connsiteX83" fmla="*/ 264037 w 292581"/>
              <a:gd name="connsiteY83" fmla="*/ 168793 h 289179"/>
              <a:gd name="connsiteX84" fmla="*/ 264037 w 292581"/>
              <a:gd name="connsiteY84" fmla="*/ 193929 h 289179"/>
              <a:gd name="connsiteX85" fmla="*/ 216412 w 292581"/>
              <a:gd name="connsiteY85" fmla="*/ 244869 h 289179"/>
              <a:gd name="connsiteX86" fmla="*/ 216412 w 292581"/>
              <a:gd name="connsiteY86" fmla="*/ 289179 h 289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92581" h="289179">
                <a:moveTo>
                  <a:pt x="216412" y="289179"/>
                </a:moveTo>
                <a:lnTo>
                  <a:pt x="209554" y="289179"/>
                </a:lnTo>
                <a:lnTo>
                  <a:pt x="209554" y="241554"/>
                </a:lnTo>
                <a:cubicBezTo>
                  <a:pt x="209554" y="239659"/>
                  <a:pt x="211088" y="238125"/>
                  <a:pt x="212983" y="238125"/>
                </a:cubicBezTo>
                <a:cubicBezTo>
                  <a:pt x="237358" y="238125"/>
                  <a:pt x="257179" y="218303"/>
                  <a:pt x="257179" y="193929"/>
                </a:cubicBezTo>
                <a:lnTo>
                  <a:pt x="257179" y="165354"/>
                </a:lnTo>
                <a:cubicBezTo>
                  <a:pt x="257179" y="163459"/>
                  <a:pt x="258713" y="161925"/>
                  <a:pt x="260608" y="161925"/>
                </a:cubicBezTo>
                <a:lnTo>
                  <a:pt x="279658" y="161925"/>
                </a:lnTo>
                <a:cubicBezTo>
                  <a:pt x="281820" y="161925"/>
                  <a:pt x="283706" y="160877"/>
                  <a:pt x="284830" y="159039"/>
                </a:cubicBezTo>
                <a:cubicBezTo>
                  <a:pt x="285964" y="157210"/>
                  <a:pt x="286069" y="155038"/>
                  <a:pt x="285088" y="153105"/>
                </a:cubicBezTo>
                <a:lnTo>
                  <a:pt x="257713" y="110042"/>
                </a:lnTo>
                <a:cubicBezTo>
                  <a:pt x="257360" y="109490"/>
                  <a:pt x="257179" y="108852"/>
                  <a:pt x="257179" y="108204"/>
                </a:cubicBezTo>
                <a:lnTo>
                  <a:pt x="257179" y="98679"/>
                </a:lnTo>
                <a:cubicBezTo>
                  <a:pt x="257179" y="36890"/>
                  <a:pt x="224032" y="6858"/>
                  <a:pt x="155833" y="6858"/>
                </a:cubicBezTo>
                <a:lnTo>
                  <a:pt x="149737" y="6858"/>
                </a:lnTo>
                <a:lnTo>
                  <a:pt x="149737" y="76200"/>
                </a:lnTo>
                <a:lnTo>
                  <a:pt x="178008" y="76200"/>
                </a:lnTo>
                <a:cubicBezTo>
                  <a:pt x="183170" y="70209"/>
                  <a:pt x="190781" y="66675"/>
                  <a:pt x="198696" y="66675"/>
                </a:cubicBezTo>
                <a:cubicBezTo>
                  <a:pt x="213717" y="66675"/>
                  <a:pt x="225937" y="78896"/>
                  <a:pt x="225937" y="93917"/>
                </a:cubicBezTo>
                <a:cubicBezTo>
                  <a:pt x="225937" y="108937"/>
                  <a:pt x="213717" y="121158"/>
                  <a:pt x="198696" y="121158"/>
                </a:cubicBezTo>
                <a:cubicBezTo>
                  <a:pt x="190781" y="121158"/>
                  <a:pt x="183170" y="117624"/>
                  <a:pt x="178008" y="111633"/>
                </a:cubicBezTo>
                <a:lnTo>
                  <a:pt x="149737" y="111633"/>
                </a:lnTo>
                <a:lnTo>
                  <a:pt x="149737" y="165354"/>
                </a:lnTo>
                <a:cubicBezTo>
                  <a:pt x="149737" y="167249"/>
                  <a:pt x="148204" y="168783"/>
                  <a:pt x="146308" y="168783"/>
                </a:cubicBezTo>
                <a:lnTo>
                  <a:pt x="112971" y="168783"/>
                </a:lnTo>
                <a:cubicBezTo>
                  <a:pt x="111894" y="168783"/>
                  <a:pt x="110885" y="168278"/>
                  <a:pt x="110237" y="167411"/>
                </a:cubicBezTo>
                <a:cubicBezTo>
                  <a:pt x="106370" y="162306"/>
                  <a:pt x="100274" y="159258"/>
                  <a:pt x="93921" y="159258"/>
                </a:cubicBezTo>
                <a:cubicBezTo>
                  <a:pt x="82681" y="159258"/>
                  <a:pt x="73537" y="168402"/>
                  <a:pt x="73537" y="179642"/>
                </a:cubicBezTo>
                <a:cubicBezTo>
                  <a:pt x="73537" y="190881"/>
                  <a:pt x="82681" y="200025"/>
                  <a:pt x="93921" y="200025"/>
                </a:cubicBezTo>
                <a:cubicBezTo>
                  <a:pt x="100274" y="200025"/>
                  <a:pt x="106380" y="196977"/>
                  <a:pt x="110237" y="191872"/>
                </a:cubicBezTo>
                <a:cubicBezTo>
                  <a:pt x="110885" y="191014"/>
                  <a:pt x="111894" y="190500"/>
                  <a:pt x="112971" y="190500"/>
                </a:cubicBezTo>
                <a:lnTo>
                  <a:pt x="146308" y="190500"/>
                </a:lnTo>
                <a:cubicBezTo>
                  <a:pt x="148204" y="190500"/>
                  <a:pt x="149737" y="192034"/>
                  <a:pt x="149737" y="193929"/>
                </a:cubicBezTo>
                <a:lnTo>
                  <a:pt x="149737" y="289179"/>
                </a:lnTo>
                <a:lnTo>
                  <a:pt x="142879" y="289179"/>
                </a:lnTo>
                <a:lnTo>
                  <a:pt x="142879" y="197358"/>
                </a:lnTo>
                <a:lnTo>
                  <a:pt x="114609" y="197358"/>
                </a:lnTo>
                <a:cubicBezTo>
                  <a:pt x="109447" y="203349"/>
                  <a:pt x="101836" y="206883"/>
                  <a:pt x="93921" y="206883"/>
                </a:cubicBezTo>
                <a:cubicBezTo>
                  <a:pt x="78900" y="206883"/>
                  <a:pt x="66679" y="194662"/>
                  <a:pt x="66679" y="179642"/>
                </a:cubicBezTo>
                <a:cubicBezTo>
                  <a:pt x="66679" y="164621"/>
                  <a:pt x="78900" y="152400"/>
                  <a:pt x="93921" y="152400"/>
                </a:cubicBezTo>
                <a:cubicBezTo>
                  <a:pt x="101827" y="152400"/>
                  <a:pt x="109428" y="155934"/>
                  <a:pt x="114609" y="161925"/>
                </a:cubicBezTo>
                <a:lnTo>
                  <a:pt x="142879" y="161925"/>
                </a:lnTo>
                <a:lnTo>
                  <a:pt x="142879" y="108204"/>
                </a:lnTo>
                <a:cubicBezTo>
                  <a:pt x="142879" y="106309"/>
                  <a:pt x="144413" y="104775"/>
                  <a:pt x="146308" y="104775"/>
                </a:cubicBezTo>
                <a:lnTo>
                  <a:pt x="179646" y="104775"/>
                </a:lnTo>
                <a:cubicBezTo>
                  <a:pt x="180722" y="104775"/>
                  <a:pt x="181741" y="105280"/>
                  <a:pt x="182380" y="106137"/>
                </a:cubicBezTo>
                <a:cubicBezTo>
                  <a:pt x="186237" y="111252"/>
                  <a:pt x="192343" y="114300"/>
                  <a:pt x="198696" y="114300"/>
                </a:cubicBezTo>
                <a:cubicBezTo>
                  <a:pt x="209935" y="114300"/>
                  <a:pt x="219079" y="105156"/>
                  <a:pt x="219079" y="93917"/>
                </a:cubicBezTo>
                <a:cubicBezTo>
                  <a:pt x="219079" y="82677"/>
                  <a:pt x="209935" y="73533"/>
                  <a:pt x="198696" y="73533"/>
                </a:cubicBezTo>
                <a:cubicBezTo>
                  <a:pt x="192343" y="73533"/>
                  <a:pt x="186237" y="76581"/>
                  <a:pt x="182380" y="81696"/>
                </a:cubicBezTo>
                <a:cubicBezTo>
                  <a:pt x="181741" y="82553"/>
                  <a:pt x="180722" y="83058"/>
                  <a:pt x="179646" y="83058"/>
                </a:cubicBezTo>
                <a:lnTo>
                  <a:pt x="146308" y="83058"/>
                </a:lnTo>
                <a:cubicBezTo>
                  <a:pt x="144413" y="83058"/>
                  <a:pt x="142879" y="81524"/>
                  <a:pt x="142879" y="79629"/>
                </a:cubicBezTo>
                <a:lnTo>
                  <a:pt x="142879" y="6858"/>
                </a:lnTo>
                <a:lnTo>
                  <a:pt x="136783" y="6858"/>
                </a:lnTo>
                <a:cubicBezTo>
                  <a:pt x="68584" y="6858"/>
                  <a:pt x="35437" y="36890"/>
                  <a:pt x="35437" y="98679"/>
                </a:cubicBezTo>
                <a:lnTo>
                  <a:pt x="35437" y="108204"/>
                </a:lnTo>
                <a:cubicBezTo>
                  <a:pt x="35437" y="108852"/>
                  <a:pt x="35247" y="109490"/>
                  <a:pt x="34904" y="110042"/>
                </a:cubicBezTo>
                <a:lnTo>
                  <a:pt x="7348" y="153410"/>
                </a:lnTo>
                <a:cubicBezTo>
                  <a:pt x="6558" y="155038"/>
                  <a:pt x="6653" y="157210"/>
                  <a:pt x="7786" y="159039"/>
                </a:cubicBezTo>
                <a:cubicBezTo>
                  <a:pt x="8920" y="160868"/>
                  <a:pt x="10806" y="161925"/>
                  <a:pt x="12958" y="161925"/>
                </a:cubicBezTo>
                <a:lnTo>
                  <a:pt x="32008" y="161925"/>
                </a:lnTo>
                <a:cubicBezTo>
                  <a:pt x="33904" y="161925"/>
                  <a:pt x="35437" y="163459"/>
                  <a:pt x="35437" y="165354"/>
                </a:cubicBezTo>
                <a:lnTo>
                  <a:pt x="35437" y="193929"/>
                </a:lnTo>
                <a:cubicBezTo>
                  <a:pt x="35437" y="218303"/>
                  <a:pt x="55268" y="238125"/>
                  <a:pt x="79633" y="238125"/>
                </a:cubicBezTo>
                <a:cubicBezTo>
                  <a:pt x="81529" y="238125"/>
                  <a:pt x="83062" y="239659"/>
                  <a:pt x="83062" y="241554"/>
                </a:cubicBezTo>
                <a:lnTo>
                  <a:pt x="83062" y="289179"/>
                </a:lnTo>
                <a:lnTo>
                  <a:pt x="76204" y="289179"/>
                </a:lnTo>
                <a:lnTo>
                  <a:pt x="76204" y="244869"/>
                </a:lnTo>
                <a:cubicBezTo>
                  <a:pt x="49639" y="243097"/>
                  <a:pt x="28579" y="220923"/>
                  <a:pt x="28579" y="193929"/>
                </a:cubicBezTo>
                <a:lnTo>
                  <a:pt x="28579" y="168783"/>
                </a:lnTo>
                <a:lnTo>
                  <a:pt x="12958" y="168783"/>
                </a:lnTo>
                <a:cubicBezTo>
                  <a:pt x="8443" y="168783"/>
                  <a:pt x="4329" y="166487"/>
                  <a:pt x="1947" y="162639"/>
                </a:cubicBezTo>
                <a:cubicBezTo>
                  <a:pt x="-434" y="158791"/>
                  <a:pt x="-643" y="154076"/>
                  <a:pt x="1385" y="150028"/>
                </a:cubicBezTo>
                <a:lnTo>
                  <a:pt x="28579" y="107204"/>
                </a:lnTo>
                <a:lnTo>
                  <a:pt x="28579" y="98679"/>
                </a:lnTo>
                <a:cubicBezTo>
                  <a:pt x="28579" y="33195"/>
                  <a:pt x="64984" y="0"/>
                  <a:pt x="136783" y="0"/>
                </a:cubicBezTo>
                <a:lnTo>
                  <a:pt x="155833" y="0"/>
                </a:lnTo>
                <a:cubicBezTo>
                  <a:pt x="227633" y="0"/>
                  <a:pt x="264037" y="33195"/>
                  <a:pt x="264037" y="98679"/>
                </a:cubicBezTo>
                <a:lnTo>
                  <a:pt x="264037" y="107213"/>
                </a:lnTo>
                <a:lnTo>
                  <a:pt x="291050" y="149733"/>
                </a:lnTo>
                <a:cubicBezTo>
                  <a:pt x="293251" y="154086"/>
                  <a:pt x="293041" y="158801"/>
                  <a:pt x="290669" y="162649"/>
                </a:cubicBezTo>
                <a:cubicBezTo>
                  <a:pt x="288288" y="166487"/>
                  <a:pt x="284173" y="168793"/>
                  <a:pt x="279658" y="168793"/>
                </a:cubicBezTo>
                <a:lnTo>
                  <a:pt x="264037" y="168793"/>
                </a:lnTo>
                <a:lnTo>
                  <a:pt x="264037" y="193929"/>
                </a:lnTo>
                <a:cubicBezTo>
                  <a:pt x="264037" y="220923"/>
                  <a:pt x="242968" y="243097"/>
                  <a:pt x="216412" y="244869"/>
                </a:cubicBezTo>
                <a:lnTo>
                  <a:pt x="216412" y="289179"/>
                </a:lnTo>
                <a:close/>
              </a:path>
            </a:pathLst>
          </a:custGeom>
          <a:solidFill>
            <a:schemeClr val="tx1"/>
          </a:solidFill>
          <a:ln w="9525" cap="flat">
            <a:noFill/>
            <a:prstDash val="solid"/>
            <a:miter/>
          </a:ln>
        </p:spPr>
        <p:txBody>
          <a:bodyPr rtlCol="0" anchor="ctr"/>
          <a:lstStyle/>
          <a:p>
            <a:endParaRPr lang="en-US" sz="2874">
              <a:solidFill>
                <a:schemeClr val="accent1"/>
              </a:solidFill>
            </a:endParaRPr>
          </a:p>
        </p:txBody>
      </p:sp>
      <p:sp>
        <p:nvSpPr>
          <p:cNvPr id="4" name="TextBox 3">
            <a:extLst>
              <a:ext uri="{FF2B5EF4-FFF2-40B4-BE49-F238E27FC236}">
                <a16:creationId xmlns:a16="http://schemas.microsoft.com/office/drawing/2014/main" id="{8F42D3AE-53CA-3A47-B8DE-A39E00883C44}"/>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rgbClr val="000000"/>
                </a:solidFill>
                <a:latin typeface="IBM Plex Sans" panose="020B0503050203000203" pitchFamily="34" charset="0"/>
                <a:ea typeface="+mj-ea"/>
                <a:cs typeface="+mj-cs"/>
                <a:sym typeface="IBM Plex Sans Light"/>
              </a:rPr>
              <a:t>#IBMTechXchange</a:t>
            </a:r>
          </a:p>
        </p:txBody>
      </p:sp>
    </p:spTree>
    <p:extLst>
      <p:ext uri="{BB962C8B-B14F-4D97-AF65-F5344CB8AC3E}">
        <p14:creationId xmlns:p14="http://schemas.microsoft.com/office/powerpoint/2010/main" val="655494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18416" y="160295"/>
            <a:ext cx="8569797" cy="4095750"/>
          </a:xfrm>
        </p:spPr>
        <p:txBody>
          <a:bodyPr/>
          <a:lstStyle>
            <a:lvl1pPr>
              <a:defRPr sz="8598" b="0" i="0">
                <a:solidFill>
                  <a:schemeClr val="tx1"/>
                </a:solidFill>
                <a:latin typeface="IBM Plex Sans Light" panose="020B0403050203000203" pitchFamily="34" charset="0"/>
              </a:defRPr>
            </a:lvl1pPr>
          </a:lstStyle>
          <a:p>
            <a:r>
              <a:rPr lang="en-US"/>
              <a:t>Click to edit Master title style</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1">
            <a:extLst>
              <a:ext uri="{FF2B5EF4-FFF2-40B4-BE49-F238E27FC236}">
                <a16:creationId xmlns:a16="http://schemas.microsoft.com/office/drawing/2014/main" id="{15E15240-CB4B-3EBC-59A0-A3009A53924C}"/>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
        <p:nvSpPr>
          <p:cNvPr id="3" name="TextBox 2">
            <a:extLst>
              <a:ext uri="{FF2B5EF4-FFF2-40B4-BE49-F238E27FC236}">
                <a16:creationId xmlns:a16="http://schemas.microsoft.com/office/drawing/2014/main" id="{AA91D4B0-B647-CABB-F558-8DE439C16E48}"/>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rgbClr val="000000"/>
                </a:solidFill>
                <a:latin typeface="IBM Plex Sans" panose="020B0503050203000203" pitchFamily="34" charset="0"/>
                <a:ea typeface="+mj-ea"/>
                <a:cs typeface="+mj-cs"/>
                <a:sym typeface="IBM Plex Sans Light"/>
              </a:rPr>
              <a:t>#IBMTechXchange</a:t>
            </a:r>
          </a:p>
        </p:txBody>
      </p:sp>
    </p:spTree>
    <p:extLst>
      <p:ext uri="{BB962C8B-B14F-4D97-AF65-F5344CB8AC3E}">
        <p14:creationId xmlns:p14="http://schemas.microsoft.com/office/powerpoint/2010/main" val="1386167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Large text, pattern">
    <p:bg>
      <p:bgPr>
        <a:solidFill>
          <a:schemeClr val="bg1"/>
        </a:solidFill>
        <a:effectLst/>
      </p:bgPr>
    </p:bg>
    <p:spTree>
      <p:nvGrpSpPr>
        <p:cNvPr id="1" name=""/>
        <p:cNvGrpSpPr/>
        <p:nvPr/>
      </p:nvGrpSpPr>
      <p:grpSpPr>
        <a:xfrm>
          <a:off x="0" y="0"/>
          <a:ext cx="0" cy="0"/>
          <a:chOff x="0" y="0"/>
          <a:chExt cx="0" cy="0"/>
        </a:xfrm>
      </p:grpSpPr>
      <p:grpSp>
        <p:nvGrpSpPr>
          <p:cNvPr id="470" name="Group 469">
            <a:extLst>
              <a:ext uri="{FF2B5EF4-FFF2-40B4-BE49-F238E27FC236}">
                <a16:creationId xmlns:a16="http://schemas.microsoft.com/office/drawing/2014/main" id="{7D045C5A-D5A3-CA8C-C9E9-6B74127339EA}"/>
              </a:ext>
            </a:extLst>
          </p:cNvPr>
          <p:cNvGrpSpPr>
            <a:grpSpLocks noChangeAspect="1"/>
          </p:cNvGrpSpPr>
          <p:nvPr userDrawn="1"/>
        </p:nvGrpSpPr>
        <p:grpSpPr>
          <a:xfrm>
            <a:off x="254136" y="251460"/>
            <a:ext cx="11683728" cy="6355080"/>
            <a:chOff x="-34412" y="228570"/>
            <a:chExt cx="24799683" cy="13487429"/>
          </a:xfrm>
          <a:solidFill>
            <a:srgbClr val="EDF5FF"/>
          </a:solidFill>
        </p:grpSpPr>
        <p:sp>
          <p:nvSpPr>
            <p:cNvPr id="471" name="Freeform: Shape 470">
              <a:extLst>
                <a:ext uri="{FF2B5EF4-FFF2-40B4-BE49-F238E27FC236}">
                  <a16:creationId xmlns:a16="http://schemas.microsoft.com/office/drawing/2014/main" id="{5090741A-E6C7-1B42-4545-4B21EB8FB5CB}"/>
                </a:ext>
              </a:extLst>
            </p:cNvPr>
            <p:cNvSpPr/>
            <p:nvPr/>
          </p:nvSpPr>
          <p:spPr>
            <a:xfrm>
              <a:off x="835769" y="228598"/>
              <a:ext cx="435077" cy="435073"/>
            </a:xfrm>
            <a:custGeom>
              <a:avLst/>
              <a:gdLst>
                <a:gd name="connsiteX0" fmla="*/ 371366 w 435077"/>
                <a:gd name="connsiteY0" fmla="*/ 63716 h 435073"/>
                <a:gd name="connsiteX1" fmla="*/ 435077 w 435077"/>
                <a:gd name="connsiteY1" fmla="*/ 217539 h 435073"/>
                <a:gd name="connsiteX2" fmla="*/ 218925 w 435077"/>
                <a:gd name="connsiteY2" fmla="*/ 217539 h 435073"/>
                <a:gd name="connsiteX3" fmla="*/ 371366 w 435077"/>
                <a:gd name="connsiteY3" fmla="*/ 281249 h 435073"/>
                <a:gd name="connsiteX4" fmla="*/ 435077 w 435077"/>
                <a:gd name="connsiteY4" fmla="*/ 435073 h 435073"/>
                <a:gd name="connsiteX5" fmla="*/ 217539 w 435077"/>
                <a:gd name="connsiteY5" fmla="*/ 435073 h 435073"/>
                <a:gd name="connsiteX6" fmla="*/ 0 w 435077"/>
                <a:gd name="connsiteY6" fmla="*/ 435073 h 435073"/>
                <a:gd name="connsiteX7" fmla="*/ 63711 w 435077"/>
                <a:gd name="connsiteY7" fmla="*/ 281249 h 435073"/>
                <a:gd name="connsiteX8" fmla="*/ 216125 w 435077"/>
                <a:gd name="connsiteY8" fmla="*/ 217539 h 435073"/>
                <a:gd name="connsiteX9" fmla="*/ 0 w 435077"/>
                <a:gd name="connsiteY9" fmla="*/ 217539 h 435073"/>
                <a:gd name="connsiteX10" fmla="*/ 63711 w 435077"/>
                <a:gd name="connsiteY10" fmla="*/ 63716 h 435073"/>
                <a:gd name="connsiteX11" fmla="*/ 217539 w 435077"/>
                <a:gd name="connsiteY11" fmla="*/ 0 h 435073"/>
                <a:gd name="connsiteX12" fmla="*/ 371366 w 435077"/>
                <a:gd name="connsiteY12" fmla="*/ 63716 h 43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3">
                  <a:moveTo>
                    <a:pt x="371366" y="63716"/>
                  </a:moveTo>
                  <a:cubicBezTo>
                    <a:pt x="412154" y="104512"/>
                    <a:pt x="435077" y="159844"/>
                    <a:pt x="435077" y="217539"/>
                  </a:cubicBezTo>
                  <a:lnTo>
                    <a:pt x="218925" y="217539"/>
                  </a:lnTo>
                  <a:cubicBezTo>
                    <a:pt x="276138" y="217907"/>
                    <a:pt x="330903" y="240784"/>
                    <a:pt x="371366" y="281249"/>
                  </a:cubicBezTo>
                  <a:cubicBezTo>
                    <a:pt x="412154" y="322046"/>
                    <a:pt x="435077" y="377379"/>
                    <a:pt x="435077" y="435073"/>
                  </a:cubicBezTo>
                  <a:lnTo>
                    <a:pt x="217539" y="435073"/>
                  </a:lnTo>
                  <a:lnTo>
                    <a:pt x="0" y="435073"/>
                  </a:lnTo>
                  <a:cubicBezTo>
                    <a:pt x="0" y="377379"/>
                    <a:pt x="22923" y="322046"/>
                    <a:pt x="63711" y="281249"/>
                  </a:cubicBezTo>
                  <a:cubicBezTo>
                    <a:pt x="104174" y="240784"/>
                    <a:pt x="158939" y="217907"/>
                    <a:pt x="216125" y="217539"/>
                  </a:cubicBezTo>
                  <a:lnTo>
                    <a:pt x="0" y="217539"/>
                  </a:lnTo>
                  <a:cubicBezTo>
                    <a:pt x="0" y="159844"/>
                    <a:pt x="22923" y="104512"/>
                    <a:pt x="63711" y="63716"/>
                  </a:cubicBezTo>
                  <a:cubicBezTo>
                    <a:pt x="104500" y="22919"/>
                    <a:pt x="159836" y="0"/>
                    <a:pt x="217539" y="0"/>
                  </a:cubicBezTo>
                  <a:cubicBezTo>
                    <a:pt x="275213" y="0"/>
                    <a:pt x="330550" y="22919"/>
                    <a:pt x="371366" y="63716"/>
                  </a:cubicBezTo>
                  <a:close/>
                </a:path>
              </a:pathLst>
            </a:custGeom>
            <a:grpFill/>
            <a:ln w="27192" cap="flat">
              <a:noFill/>
              <a:prstDash val="solid"/>
              <a:miter/>
            </a:ln>
          </p:spPr>
          <p:txBody>
            <a:bodyPr rtlCol="0" anchor="ctr"/>
            <a:lstStyle/>
            <a:p>
              <a:endParaRPr lang="uk-UA" sz="900"/>
            </a:p>
          </p:txBody>
        </p:sp>
        <p:sp>
          <p:nvSpPr>
            <p:cNvPr id="472" name="Freeform: Shape 471">
              <a:extLst>
                <a:ext uri="{FF2B5EF4-FFF2-40B4-BE49-F238E27FC236}">
                  <a16:creationId xmlns:a16="http://schemas.microsoft.com/office/drawing/2014/main" id="{5AFFC501-C9A3-E248-6E9B-299B337D2D8B}"/>
                </a:ext>
              </a:extLst>
            </p:cNvPr>
            <p:cNvSpPr/>
            <p:nvPr/>
          </p:nvSpPr>
          <p:spPr>
            <a:xfrm>
              <a:off x="-34398" y="228598"/>
              <a:ext cx="435090" cy="435078"/>
            </a:xfrm>
            <a:custGeom>
              <a:avLst/>
              <a:gdLst>
                <a:gd name="connsiteX0" fmla="*/ 217525 w 435090"/>
                <a:gd name="connsiteY0" fmla="*/ 0 h 435078"/>
                <a:gd name="connsiteX1" fmla="*/ 0 w 435090"/>
                <a:gd name="connsiteY1" fmla="*/ 0 h 435078"/>
                <a:gd name="connsiteX2" fmla="*/ 0 w 435090"/>
                <a:gd name="connsiteY2" fmla="*/ 217539 h 435078"/>
                <a:gd name="connsiteX3" fmla="*/ 217525 w 435090"/>
                <a:gd name="connsiteY3" fmla="*/ 0 h 435078"/>
                <a:gd name="connsiteX4" fmla="*/ 435091 w 435090"/>
                <a:gd name="connsiteY4" fmla="*/ 0 h 435078"/>
                <a:gd name="connsiteX5" fmla="*/ 435091 w 435090"/>
                <a:gd name="connsiteY5" fmla="*/ 217539 h 435078"/>
                <a:gd name="connsiteX6" fmla="*/ 217552 w 435090"/>
                <a:gd name="connsiteY6" fmla="*/ 0 h 435078"/>
                <a:gd name="connsiteX7" fmla="*/ 435091 w 435090"/>
                <a:gd name="connsiteY7" fmla="*/ 0 h 435078"/>
                <a:gd name="connsiteX8" fmla="*/ 217552 w 435090"/>
                <a:gd name="connsiteY8" fmla="*/ 435079 h 435078"/>
                <a:gd name="connsiteX9" fmla="*/ 435091 w 435090"/>
                <a:gd name="connsiteY9" fmla="*/ 217539 h 435078"/>
                <a:gd name="connsiteX10" fmla="*/ 435091 w 435090"/>
                <a:gd name="connsiteY10" fmla="*/ 435079 h 435078"/>
                <a:gd name="connsiteX11" fmla="*/ 217552 w 435090"/>
                <a:gd name="connsiteY11" fmla="*/ 435079 h 435078"/>
                <a:gd name="connsiteX12" fmla="*/ 217552 w 435090"/>
                <a:gd name="connsiteY12" fmla="*/ 435079 h 435078"/>
                <a:gd name="connsiteX13" fmla="*/ 11 w 435090"/>
                <a:gd name="connsiteY13" fmla="*/ 217539 h 435078"/>
                <a:gd name="connsiteX14" fmla="*/ 11 w 435090"/>
                <a:gd name="connsiteY14" fmla="*/ 435079 h 435078"/>
                <a:gd name="connsiteX15" fmla="*/ 217552 w 435090"/>
                <a:gd name="connsiteY15" fmla="*/ 435079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90" h="435078">
                  <a:moveTo>
                    <a:pt x="217525" y="0"/>
                  </a:moveTo>
                  <a:lnTo>
                    <a:pt x="0" y="0"/>
                  </a:lnTo>
                  <a:lnTo>
                    <a:pt x="0" y="217539"/>
                  </a:lnTo>
                  <a:lnTo>
                    <a:pt x="217525" y="0"/>
                  </a:lnTo>
                  <a:close/>
                  <a:moveTo>
                    <a:pt x="435091" y="0"/>
                  </a:moveTo>
                  <a:lnTo>
                    <a:pt x="435091" y="217539"/>
                  </a:lnTo>
                  <a:lnTo>
                    <a:pt x="217552" y="0"/>
                  </a:lnTo>
                  <a:lnTo>
                    <a:pt x="435091" y="0"/>
                  </a:lnTo>
                  <a:close/>
                  <a:moveTo>
                    <a:pt x="217552" y="435079"/>
                  </a:moveTo>
                  <a:lnTo>
                    <a:pt x="435091" y="217539"/>
                  </a:lnTo>
                  <a:lnTo>
                    <a:pt x="435091" y="435079"/>
                  </a:lnTo>
                  <a:lnTo>
                    <a:pt x="217552" y="435079"/>
                  </a:lnTo>
                  <a:close/>
                  <a:moveTo>
                    <a:pt x="217552" y="435079"/>
                  </a:moveTo>
                  <a:lnTo>
                    <a:pt x="11" y="217539"/>
                  </a:lnTo>
                  <a:lnTo>
                    <a:pt x="11" y="435079"/>
                  </a:lnTo>
                  <a:lnTo>
                    <a:pt x="217552" y="435079"/>
                  </a:lnTo>
                  <a:close/>
                </a:path>
              </a:pathLst>
            </a:custGeom>
            <a:grpFill/>
            <a:ln w="27192" cap="flat">
              <a:noFill/>
              <a:prstDash val="solid"/>
              <a:miter/>
            </a:ln>
          </p:spPr>
          <p:txBody>
            <a:bodyPr rtlCol="0" anchor="ctr"/>
            <a:lstStyle/>
            <a:p>
              <a:endParaRPr lang="uk-UA" sz="900"/>
            </a:p>
          </p:txBody>
        </p:sp>
        <p:sp>
          <p:nvSpPr>
            <p:cNvPr id="473" name="Freeform: Shape 472">
              <a:extLst>
                <a:ext uri="{FF2B5EF4-FFF2-40B4-BE49-F238E27FC236}">
                  <a16:creationId xmlns:a16="http://schemas.microsoft.com/office/drawing/2014/main" id="{FBA5935D-610A-4426-6A98-1DB37FDA9AE2}"/>
                </a:ext>
              </a:extLst>
            </p:cNvPr>
            <p:cNvSpPr/>
            <p:nvPr/>
          </p:nvSpPr>
          <p:spPr>
            <a:xfrm>
              <a:off x="1705924" y="228598"/>
              <a:ext cx="435077" cy="435075"/>
            </a:xfrm>
            <a:custGeom>
              <a:avLst/>
              <a:gdLst>
                <a:gd name="connsiteX0" fmla="*/ 217539 w 435077"/>
                <a:gd name="connsiteY0" fmla="*/ 217533 h 435075"/>
                <a:gd name="connsiteX1" fmla="*/ 217539 w 435077"/>
                <a:gd name="connsiteY1" fmla="*/ 0 h 435075"/>
                <a:gd name="connsiteX2" fmla="*/ 0 w 435077"/>
                <a:gd name="connsiteY2" fmla="*/ 0 h 435075"/>
                <a:gd name="connsiteX3" fmla="*/ 217539 w 435077"/>
                <a:gd name="connsiteY3" fmla="*/ 217538 h 435075"/>
                <a:gd name="connsiteX4" fmla="*/ 0 w 435077"/>
                <a:gd name="connsiteY4" fmla="*/ 435076 h 435075"/>
                <a:gd name="connsiteX5" fmla="*/ 217539 w 435077"/>
                <a:gd name="connsiteY5" fmla="*/ 435076 h 435075"/>
                <a:gd name="connsiteX6" fmla="*/ 217539 w 435077"/>
                <a:gd name="connsiteY6" fmla="*/ 435071 h 435075"/>
                <a:gd name="connsiteX7" fmla="*/ 435077 w 435077"/>
                <a:gd name="connsiteY7" fmla="*/ 217543 h 435075"/>
                <a:gd name="connsiteX8" fmla="*/ 435077 w 435077"/>
                <a:gd name="connsiteY8" fmla="*/ 217543 h 435075"/>
                <a:gd name="connsiteX9" fmla="*/ 435077 w 435077"/>
                <a:gd name="connsiteY9" fmla="*/ 217538 h 435075"/>
                <a:gd name="connsiteX10" fmla="*/ 435077 w 435077"/>
                <a:gd name="connsiteY10" fmla="*/ 217533 h 435075"/>
                <a:gd name="connsiteX11" fmla="*/ 435077 w 435077"/>
                <a:gd name="connsiteY11" fmla="*/ 217533 h 435075"/>
                <a:gd name="connsiteX12" fmla="*/ 217539 w 435077"/>
                <a:gd name="connsiteY12" fmla="*/ 5 h 435075"/>
                <a:gd name="connsiteX13" fmla="*/ 217539 w 435077"/>
                <a:gd name="connsiteY13" fmla="*/ 217533 h 435075"/>
                <a:gd name="connsiteX14" fmla="*/ 217539 w 435077"/>
                <a:gd name="connsiteY14" fmla="*/ 217533 h 43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5">
                  <a:moveTo>
                    <a:pt x="217539" y="217533"/>
                  </a:moveTo>
                  <a:lnTo>
                    <a:pt x="217539" y="0"/>
                  </a:lnTo>
                  <a:lnTo>
                    <a:pt x="0" y="0"/>
                  </a:lnTo>
                  <a:lnTo>
                    <a:pt x="217539" y="217538"/>
                  </a:lnTo>
                  <a:lnTo>
                    <a:pt x="0" y="435076"/>
                  </a:lnTo>
                  <a:lnTo>
                    <a:pt x="217539" y="435076"/>
                  </a:lnTo>
                  <a:lnTo>
                    <a:pt x="217539" y="435071"/>
                  </a:lnTo>
                  <a:lnTo>
                    <a:pt x="435077" y="217543"/>
                  </a:lnTo>
                  <a:lnTo>
                    <a:pt x="435077" y="217543"/>
                  </a:lnTo>
                  <a:lnTo>
                    <a:pt x="435077" y="217538"/>
                  </a:lnTo>
                  <a:lnTo>
                    <a:pt x="435077" y="217533"/>
                  </a:lnTo>
                  <a:lnTo>
                    <a:pt x="435077" y="217533"/>
                  </a:lnTo>
                  <a:lnTo>
                    <a:pt x="217539" y="5"/>
                  </a:lnTo>
                  <a:lnTo>
                    <a:pt x="217539" y="217533"/>
                  </a:lnTo>
                  <a:lnTo>
                    <a:pt x="217539" y="217533"/>
                  </a:lnTo>
                  <a:close/>
                </a:path>
              </a:pathLst>
            </a:custGeom>
            <a:grpFill/>
            <a:ln w="27192" cap="flat">
              <a:noFill/>
              <a:prstDash val="solid"/>
              <a:miter/>
            </a:ln>
          </p:spPr>
          <p:txBody>
            <a:bodyPr rtlCol="0" anchor="ctr"/>
            <a:lstStyle/>
            <a:p>
              <a:endParaRPr lang="uk-UA" sz="900"/>
            </a:p>
          </p:txBody>
        </p:sp>
        <p:sp>
          <p:nvSpPr>
            <p:cNvPr id="474" name="Freeform: Shape 473">
              <a:extLst>
                <a:ext uri="{FF2B5EF4-FFF2-40B4-BE49-F238E27FC236}">
                  <a16:creationId xmlns:a16="http://schemas.microsoft.com/office/drawing/2014/main" id="{AA16928D-A49D-892F-DDBE-296DEAC2DE9E}"/>
                </a:ext>
              </a:extLst>
            </p:cNvPr>
            <p:cNvSpPr/>
            <p:nvPr/>
          </p:nvSpPr>
          <p:spPr>
            <a:xfrm>
              <a:off x="2576106" y="228598"/>
              <a:ext cx="435077" cy="435078"/>
            </a:xfrm>
            <a:custGeom>
              <a:avLst/>
              <a:gdLst>
                <a:gd name="connsiteX0" fmla="*/ 0 w 435077"/>
                <a:gd name="connsiteY0" fmla="*/ 435079 h 435078"/>
                <a:gd name="connsiteX1" fmla="*/ 217512 w 435077"/>
                <a:gd name="connsiteY1" fmla="*/ 435079 h 435078"/>
                <a:gd name="connsiteX2" fmla="*/ 217512 w 435077"/>
                <a:gd name="connsiteY2" fmla="*/ 217546 h 435078"/>
                <a:gd name="connsiteX3" fmla="*/ 0 w 435077"/>
                <a:gd name="connsiteY3" fmla="*/ 435079 h 435078"/>
                <a:gd name="connsiteX4" fmla="*/ 217539 w 435077"/>
                <a:gd name="connsiteY4" fmla="*/ 0 h 435078"/>
                <a:gd name="connsiteX5" fmla="*/ 0 w 435077"/>
                <a:gd name="connsiteY5" fmla="*/ 0 h 435078"/>
                <a:gd name="connsiteX6" fmla="*/ 217539 w 435077"/>
                <a:gd name="connsiteY6" fmla="*/ 217532 h 435078"/>
                <a:gd name="connsiteX7" fmla="*/ 217539 w 435077"/>
                <a:gd name="connsiteY7" fmla="*/ 0 h 435078"/>
                <a:gd name="connsiteX8" fmla="*/ 435077 w 435077"/>
                <a:gd name="connsiteY8" fmla="*/ 435079 h 435078"/>
                <a:gd name="connsiteX9" fmla="*/ 217539 w 435077"/>
                <a:gd name="connsiteY9" fmla="*/ 435079 h 435078"/>
                <a:gd name="connsiteX10" fmla="*/ 435077 w 435077"/>
                <a:gd name="connsiteY10" fmla="*/ 217546 h 435078"/>
                <a:gd name="connsiteX11" fmla="*/ 435077 w 435077"/>
                <a:gd name="connsiteY11" fmla="*/ 435079 h 435078"/>
                <a:gd name="connsiteX12" fmla="*/ 435077 w 435077"/>
                <a:gd name="connsiteY12" fmla="*/ 0 h 435078"/>
                <a:gd name="connsiteX13" fmla="*/ 217539 w 435077"/>
                <a:gd name="connsiteY13" fmla="*/ 0 h 435078"/>
                <a:gd name="connsiteX14" fmla="*/ 435077 w 435077"/>
                <a:gd name="connsiteY14" fmla="*/ 217532 h 435078"/>
                <a:gd name="connsiteX15" fmla="*/ 435077 w 435077"/>
                <a:gd name="connsiteY15"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8">
                  <a:moveTo>
                    <a:pt x="0" y="435079"/>
                  </a:moveTo>
                  <a:lnTo>
                    <a:pt x="217512" y="435079"/>
                  </a:lnTo>
                  <a:lnTo>
                    <a:pt x="217512" y="217546"/>
                  </a:lnTo>
                  <a:lnTo>
                    <a:pt x="0" y="435079"/>
                  </a:lnTo>
                  <a:close/>
                  <a:moveTo>
                    <a:pt x="217539" y="0"/>
                  </a:moveTo>
                  <a:lnTo>
                    <a:pt x="0" y="0"/>
                  </a:lnTo>
                  <a:lnTo>
                    <a:pt x="217539" y="217532"/>
                  </a:lnTo>
                  <a:lnTo>
                    <a:pt x="217539" y="0"/>
                  </a:lnTo>
                  <a:close/>
                  <a:moveTo>
                    <a:pt x="435077" y="435079"/>
                  </a:moveTo>
                  <a:lnTo>
                    <a:pt x="217539" y="435079"/>
                  </a:lnTo>
                  <a:lnTo>
                    <a:pt x="435077" y="217546"/>
                  </a:lnTo>
                  <a:lnTo>
                    <a:pt x="435077" y="435079"/>
                  </a:lnTo>
                  <a:close/>
                  <a:moveTo>
                    <a:pt x="435077" y="0"/>
                  </a:moveTo>
                  <a:lnTo>
                    <a:pt x="217539" y="0"/>
                  </a:lnTo>
                  <a:lnTo>
                    <a:pt x="435077" y="217532"/>
                  </a:lnTo>
                  <a:lnTo>
                    <a:pt x="435077" y="0"/>
                  </a:lnTo>
                  <a:close/>
                </a:path>
              </a:pathLst>
            </a:custGeom>
            <a:grpFill/>
            <a:ln w="27192" cap="flat">
              <a:noFill/>
              <a:prstDash val="solid"/>
              <a:miter/>
            </a:ln>
          </p:spPr>
          <p:txBody>
            <a:bodyPr rtlCol="0" anchor="ctr"/>
            <a:lstStyle/>
            <a:p>
              <a:endParaRPr lang="uk-UA" sz="900"/>
            </a:p>
          </p:txBody>
        </p:sp>
        <p:sp>
          <p:nvSpPr>
            <p:cNvPr id="475" name="Freeform: Shape 474">
              <a:extLst>
                <a:ext uri="{FF2B5EF4-FFF2-40B4-BE49-F238E27FC236}">
                  <a16:creationId xmlns:a16="http://schemas.microsoft.com/office/drawing/2014/main" id="{BEA97A72-B412-EACF-F6BD-6E7894C4DB0A}"/>
                </a:ext>
              </a:extLst>
            </p:cNvPr>
            <p:cNvSpPr/>
            <p:nvPr/>
          </p:nvSpPr>
          <p:spPr>
            <a:xfrm>
              <a:off x="4316416" y="228598"/>
              <a:ext cx="435103" cy="435073"/>
            </a:xfrm>
            <a:custGeom>
              <a:avLst/>
              <a:gdLst>
                <a:gd name="connsiteX0" fmla="*/ 371365 w 435103"/>
                <a:gd name="connsiteY0" fmla="*/ 63716 h 435073"/>
                <a:gd name="connsiteX1" fmla="*/ 435077 w 435103"/>
                <a:gd name="connsiteY1" fmla="*/ 217539 h 435073"/>
                <a:gd name="connsiteX2" fmla="*/ 218952 w 435103"/>
                <a:gd name="connsiteY2" fmla="*/ 217539 h 435073"/>
                <a:gd name="connsiteX3" fmla="*/ 371365 w 435103"/>
                <a:gd name="connsiteY3" fmla="*/ 281249 h 435073"/>
                <a:gd name="connsiteX4" fmla="*/ 435104 w 435103"/>
                <a:gd name="connsiteY4" fmla="*/ 435073 h 435073"/>
                <a:gd name="connsiteX5" fmla="*/ 217565 w 435103"/>
                <a:gd name="connsiteY5" fmla="*/ 435073 h 435073"/>
                <a:gd name="connsiteX6" fmla="*/ 27 w 435103"/>
                <a:gd name="connsiteY6" fmla="*/ 435073 h 435073"/>
                <a:gd name="connsiteX7" fmla="*/ 63739 w 435103"/>
                <a:gd name="connsiteY7" fmla="*/ 281249 h 435073"/>
                <a:gd name="connsiteX8" fmla="*/ 216151 w 435103"/>
                <a:gd name="connsiteY8" fmla="*/ 217539 h 435073"/>
                <a:gd name="connsiteX9" fmla="*/ 0 w 435103"/>
                <a:gd name="connsiteY9" fmla="*/ 217539 h 435073"/>
                <a:gd name="connsiteX10" fmla="*/ 63739 w 435103"/>
                <a:gd name="connsiteY10" fmla="*/ 63716 h 435073"/>
                <a:gd name="connsiteX11" fmla="*/ 217539 w 435103"/>
                <a:gd name="connsiteY11" fmla="*/ 0 h 435073"/>
                <a:gd name="connsiteX12" fmla="*/ 371365 w 435103"/>
                <a:gd name="connsiteY12" fmla="*/ 63716 h 43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3" h="435073">
                  <a:moveTo>
                    <a:pt x="371365" y="63716"/>
                  </a:moveTo>
                  <a:cubicBezTo>
                    <a:pt x="412181" y="104512"/>
                    <a:pt x="435077" y="159844"/>
                    <a:pt x="435077" y="217539"/>
                  </a:cubicBezTo>
                  <a:lnTo>
                    <a:pt x="218952" y="217539"/>
                  </a:lnTo>
                  <a:cubicBezTo>
                    <a:pt x="276138" y="217907"/>
                    <a:pt x="330903" y="240784"/>
                    <a:pt x="371365" y="281249"/>
                  </a:cubicBezTo>
                  <a:cubicBezTo>
                    <a:pt x="412181" y="322046"/>
                    <a:pt x="435104" y="377379"/>
                    <a:pt x="435104" y="435073"/>
                  </a:cubicBezTo>
                  <a:lnTo>
                    <a:pt x="217565" y="435073"/>
                  </a:lnTo>
                  <a:lnTo>
                    <a:pt x="27" y="435073"/>
                  </a:lnTo>
                  <a:cubicBezTo>
                    <a:pt x="27" y="377379"/>
                    <a:pt x="22923" y="322046"/>
                    <a:pt x="63739" y="281249"/>
                  </a:cubicBezTo>
                  <a:cubicBezTo>
                    <a:pt x="104201" y="240784"/>
                    <a:pt x="158966" y="217907"/>
                    <a:pt x="216151" y="217539"/>
                  </a:cubicBezTo>
                  <a:lnTo>
                    <a:pt x="0" y="217539"/>
                  </a:lnTo>
                  <a:cubicBezTo>
                    <a:pt x="0" y="159844"/>
                    <a:pt x="22923" y="104512"/>
                    <a:pt x="63739" y="63716"/>
                  </a:cubicBezTo>
                  <a:cubicBezTo>
                    <a:pt x="104527" y="22919"/>
                    <a:pt x="159864" y="0"/>
                    <a:pt x="217539" y="0"/>
                  </a:cubicBezTo>
                  <a:cubicBezTo>
                    <a:pt x="275240" y="0"/>
                    <a:pt x="330577" y="22919"/>
                    <a:pt x="371365" y="63716"/>
                  </a:cubicBezTo>
                  <a:close/>
                </a:path>
              </a:pathLst>
            </a:custGeom>
            <a:grpFill/>
            <a:ln w="27192" cap="flat">
              <a:noFill/>
              <a:prstDash val="solid"/>
              <a:miter/>
            </a:ln>
          </p:spPr>
          <p:txBody>
            <a:bodyPr rtlCol="0" anchor="ctr"/>
            <a:lstStyle/>
            <a:p>
              <a:endParaRPr lang="uk-UA" sz="900"/>
            </a:p>
          </p:txBody>
        </p:sp>
        <p:sp>
          <p:nvSpPr>
            <p:cNvPr id="476" name="Freeform: Shape 475">
              <a:extLst>
                <a:ext uri="{FF2B5EF4-FFF2-40B4-BE49-F238E27FC236}">
                  <a16:creationId xmlns:a16="http://schemas.microsoft.com/office/drawing/2014/main" id="{CCEC01ED-BAD1-D0AA-E9D4-407E01E5FA3E}"/>
                </a:ext>
              </a:extLst>
            </p:cNvPr>
            <p:cNvSpPr/>
            <p:nvPr/>
          </p:nvSpPr>
          <p:spPr>
            <a:xfrm>
              <a:off x="3446261" y="228598"/>
              <a:ext cx="435077" cy="435078"/>
            </a:xfrm>
            <a:custGeom>
              <a:avLst/>
              <a:gdLst>
                <a:gd name="connsiteX0" fmla="*/ 217566 w 435077"/>
                <a:gd name="connsiteY0" fmla="*/ 0 h 435078"/>
                <a:gd name="connsiteX1" fmla="*/ 217539 w 435077"/>
                <a:gd name="connsiteY1" fmla="*/ 0 h 435078"/>
                <a:gd name="connsiteX2" fmla="*/ 27 w 435077"/>
                <a:gd name="connsiteY2" fmla="*/ 0 h 435078"/>
                <a:gd name="connsiteX3" fmla="*/ 27 w 435077"/>
                <a:gd name="connsiteY3" fmla="*/ 217539 h 435078"/>
                <a:gd name="connsiteX4" fmla="*/ 217539 w 435077"/>
                <a:gd name="connsiteY4" fmla="*/ 7 h 435078"/>
                <a:gd name="connsiteX5" fmla="*/ 435077 w 435077"/>
                <a:gd name="connsiteY5" fmla="*/ 217539 h 435078"/>
                <a:gd name="connsiteX6" fmla="*/ 217539 w 435077"/>
                <a:gd name="connsiteY6" fmla="*/ 435079 h 435078"/>
                <a:gd name="connsiteX7" fmla="*/ 0 w 435077"/>
                <a:gd name="connsiteY7" fmla="*/ 217539 h 435078"/>
                <a:gd name="connsiteX8" fmla="*/ 0 w 435077"/>
                <a:gd name="connsiteY8" fmla="*/ 435079 h 435078"/>
                <a:gd name="connsiteX9" fmla="*/ 217539 w 435077"/>
                <a:gd name="connsiteY9" fmla="*/ 435079 h 435078"/>
                <a:gd name="connsiteX10" fmla="*/ 435077 w 435077"/>
                <a:gd name="connsiteY10" fmla="*/ 435079 h 435078"/>
                <a:gd name="connsiteX11" fmla="*/ 435077 w 435077"/>
                <a:gd name="connsiteY11" fmla="*/ 217539 h 435078"/>
                <a:gd name="connsiteX12" fmla="*/ 435077 w 435077"/>
                <a:gd name="connsiteY12" fmla="*/ 0 h 435078"/>
                <a:gd name="connsiteX13" fmla="*/ 217566 w 435077"/>
                <a:gd name="connsiteY13"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8">
                  <a:moveTo>
                    <a:pt x="217566" y="0"/>
                  </a:moveTo>
                  <a:lnTo>
                    <a:pt x="217539" y="0"/>
                  </a:lnTo>
                  <a:lnTo>
                    <a:pt x="27" y="0"/>
                  </a:lnTo>
                  <a:lnTo>
                    <a:pt x="27" y="217539"/>
                  </a:lnTo>
                  <a:lnTo>
                    <a:pt x="217539" y="7"/>
                  </a:lnTo>
                  <a:lnTo>
                    <a:pt x="435077" y="217539"/>
                  </a:lnTo>
                  <a:lnTo>
                    <a:pt x="217539" y="435079"/>
                  </a:lnTo>
                  <a:lnTo>
                    <a:pt x="0" y="217539"/>
                  </a:lnTo>
                  <a:lnTo>
                    <a:pt x="0" y="435079"/>
                  </a:lnTo>
                  <a:lnTo>
                    <a:pt x="217539" y="435079"/>
                  </a:lnTo>
                  <a:lnTo>
                    <a:pt x="435077" y="435079"/>
                  </a:lnTo>
                  <a:lnTo>
                    <a:pt x="435077" y="217539"/>
                  </a:lnTo>
                  <a:lnTo>
                    <a:pt x="435077" y="0"/>
                  </a:lnTo>
                  <a:lnTo>
                    <a:pt x="217566" y="0"/>
                  </a:lnTo>
                  <a:close/>
                </a:path>
              </a:pathLst>
            </a:custGeom>
            <a:grpFill/>
            <a:ln w="27192" cap="flat">
              <a:noFill/>
              <a:prstDash val="solid"/>
              <a:miter/>
            </a:ln>
          </p:spPr>
          <p:txBody>
            <a:bodyPr rtlCol="0" anchor="ctr"/>
            <a:lstStyle/>
            <a:p>
              <a:endParaRPr lang="uk-UA" sz="900"/>
            </a:p>
          </p:txBody>
        </p:sp>
        <p:sp>
          <p:nvSpPr>
            <p:cNvPr id="477" name="Freeform: Shape 476">
              <a:extLst>
                <a:ext uri="{FF2B5EF4-FFF2-40B4-BE49-F238E27FC236}">
                  <a16:creationId xmlns:a16="http://schemas.microsoft.com/office/drawing/2014/main" id="{32EB5285-DD7E-F606-9D36-C95E194FD2BF}"/>
                </a:ext>
              </a:extLst>
            </p:cNvPr>
            <p:cNvSpPr/>
            <p:nvPr/>
          </p:nvSpPr>
          <p:spPr>
            <a:xfrm>
              <a:off x="5186597" y="228598"/>
              <a:ext cx="435077" cy="435075"/>
            </a:xfrm>
            <a:custGeom>
              <a:avLst/>
              <a:gdLst>
                <a:gd name="connsiteX0" fmla="*/ 217539 w 435077"/>
                <a:gd name="connsiteY0" fmla="*/ 217540 h 435075"/>
                <a:gd name="connsiteX1" fmla="*/ 217539 w 435077"/>
                <a:gd name="connsiteY1" fmla="*/ 217537 h 435075"/>
                <a:gd name="connsiteX2" fmla="*/ 0 w 435077"/>
                <a:gd name="connsiteY2" fmla="*/ 0 h 435075"/>
                <a:gd name="connsiteX3" fmla="*/ 217539 w 435077"/>
                <a:gd name="connsiteY3" fmla="*/ 0 h 435075"/>
                <a:gd name="connsiteX4" fmla="*/ 217539 w 435077"/>
                <a:gd name="connsiteY4" fmla="*/ 5 h 435075"/>
                <a:gd name="connsiteX5" fmla="*/ 435077 w 435077"/>
                <a:gd name="connsiteY5" fmla="*/ 217533 h 435075"/>
                <a:gd name="connsiteX6" fmla="*/ 435077 w 435077"/>
                <a:gd name="connsiteY6" fmla="*/ 217533 h 435075"/>
                <a:gd name="connsiteX7" fmla="*/ 435077 w 435077"/>
                <a:gd name="connsiteY7" fmla="*/ 217538 h 435075"/>
                <a:gd name="connsiteX8" fmla="*/ 435077 w 435077"/>
                <a:gd name="connsiteY8" fmla="*/ 217542 h 435075"/>
                <a:gd name="connsiteX9" fmla="*/ 435077 w 435077"/>
                <a:gd name="connsiteY9" fmla="*/ 217542 h 435075"/>
                <a:gd name="connsiteX10" fmla="*/ 217539 w 435077"/>
                <a:gd name="connsiteY10" fmla="*/ 435071 h 435075"/>
                <a:gd name="connsiteX11" fmla="*/ 217539 w 435077"/>
                <a:gd name="connsiteY11" fmla="*/ 435076 h 435075"/>
                <a:gd name="connsiteX12" fmla="*/ 0 w 435077"/>
                <a:gd name="connsiteY12" fmla="*/ 435076 h 435075"/>
                <a:gd name="connsiteX13" fmla="*/ 217539 w 435077"/>
                <a:gd name="connsiteY13" fmla="*/ 217540 h 43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5">
                  <a:moveTo>
                    <a:pt x="217539" y="217540"/>
                  </a:moveTo>
                  <a:lnTo>
                    <a:pt x="217539" y="217537"/>
                  </a:lnTo>
                  <a:lnTo>
                    <a:pt x="0" y="0"/>
                  </a:lnTo>
                  <a:lnTo>
                    <a:pt x="217539" y="0"/>
                  </a:lnTo>
                  <a:lnTo>
                    <a:pt x="217539" y="5"/>
                  </a:lnTo>
                  <a:lnTo>
                    <a:pt x="435077" y="217533"/>
                  </a:lnTo>
                  <a:lnTo>
                    <a:pt x="435077" y="217533"/>
                  </a:lnTo>
                  <a:lnTo>
                    <a:pt x="435077" y="217538"/>
                  </a:lnTo>
                  <a:lnTo>
                    <a:pt x="435077" y="217542"/>
                  </a:lnTo>
                  <a:lnTo>
                    <a:pt x="435077" y="217542"/>
                  </a:lnTo>
                  <a:lnTo>
                    <a:pt x="217539" y="435071"/>
                  </a:lnTo>
                  <a:lnTo>
                    <a:pt x="217539" y="435076"/>
                  </a:lnTo>
                  <a:lnTo>
                    <a:pt x="0" y="435076"/>
                  </a:lnTo>
                  <a:lnTo>
                    <a:pt x="217539" y="217540"/>
                  </a:lnTo>
                  <a:close/>
                </a:path>
              </a:pathLst>
            </a:custGeom>
            <a:grpFill/>
            <a:ln w="27192" cap="flat">
              <a:noFill/>
              <a:prstDash val="solid"/>
              <a:miter/>
            </a:ln>
          </p:spPr>
          <p:txBody>
            <a:bodyPr rtlCol="0" anchor="ctr"/>
            <a:lstStyle/>
            <a:p>
              <a:endParaRPr lang="uk-UA" sz="900"/>
            </a:p>
          </p:txBody>
        </p:sp>
        <p:sp>
          <p:nvSpPr>
            <p:cNvPr id="478" name="Freeform: Shape 477">
              <a:extLst>
                <a:ext uri="{FF2B5EF4-FFF2-40B4-BE49-F238E27FC236}">
                  <a16:creationId xmlns:a16="http://schemas.microsoft.com/office/drawing/2014/main" id="{7E283894-741C-582A-7ED8-FE80F0717969}"/>
                </a:ext>
              </a:extLst>
            </p:cNvPr>
            <p:cNvSpPr/>
            <p:nvPr/>
          </p:nvSpPr>
          <p:spPr>
            <a:xfrm>
              <a:off x="6056752" y="228598"/>
              <a:ext cx="435077" cy="435078"/>
            </a:xfrm>
            <a:custGeom>
              <a:avLst/>
              <a:gdLst>
                <a:gd name="connsiteX0" fmla="*/ 0 w 435077"/>
                <a:gd name="connsiteY0" fmla="*/ 435079 h 435078"/>
                <a:gd name="connsiteX1" fmla="*/ 217539 w 435077"/>
                <a:gd name="connsiteY1" fmla="*/ 435079 h 435078"/>
                <a:gd name="connsiteX2" fmla="*/ 217539 w 435077"/>
                <a:gd name="connsiteY2" fmla="*/ 217546 h 435078"/>
                <a:gd name="connsiteX3" fmla="*/ 0 w 435077"/>
                <a:gd name="connsiteY3" fmla="*/ 435079 h 435078"/>
                <a:gd name="connsiteX4" fmla="*/ 217539 w 435077"/>
                <a:gd name="connsiteY4" fmla="*/ 0 h 435078"/>
                <a:gd name="connsiteX5" fmla="*/ 0 w 435077"/>
                <a:gd name="connsiteY5" fmla="*/ 0 h 435078"/>
                <a:gd name="connsiteX6" fmla="*/ 217539 w 435077"/>
                <a:gd name="connsiteY6" fmla="*/ 217532 h 435078"/>
                <a:gd name="connsiteX7" fmla="*/ 217539 w 435077"/>
                <a:gd name="connsiteY7" fmla="*/ 0 h 435078"/>
                <a:gd name="connsiteX8" fmla="*/ 435077 w 435077"/>
                <a:gd name="connsiteY8" fmla="*/ 435079 h 435078"/>
                <a:gd name="connsiteX9" fmla="*/ 217539 w 435077"/>
                <a:gd name="connsiteY9" fmla="*/ 435079 h 435078"/>
                <a:gd name="connsiteX10" fmla="*/ 435077 w 435077"/>
                <a:gd name="connsiteY10" fmla="*/ 217546 h 435078"/>
                <a:gd name="connsiteX11" fmla="*/ 435077 w 435077"/>
                <a:gd name="connsiteY11" fmla="*/ 435079 h 435078"/>
                <a:gd name="connsiteX12" fmla="*/ 435077 w 435077"/>
                <a:gd name="connsiteY12" fmla="*/ 0 h 435078"/>
                <a:gd name="connsiteX13" fmla="*/ 217539 w 435077"/>
                <a:gd name="connsiteY13" fmla="*/ 0 h 435078"/>
                <a:gd name="connsiteX14" fmla="*/ 435077 w 435077"/>
                <a:gd name="connsiteY14" fmla="*/ 217532 h 435078"/>
                <a:gd name="connsiteX15" fmla="*/ 435077 w 435077"/>
                <a:gd name="connsiteY15"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8">
                  <a:moveTo>
                    <a:pt x="0" y="435079"/>
                  </a:moveTo>
                  <a:lnTo>
                    <a:pt x="217539" y="435079"/>
                  </a:lnTo>
                  <a:lnTo>
                    <a:pt x="217539" y="217546"/>
                  </a:lnTo>
                  <a:lnTo>
                    <a:pt x="0" y="435079"/>
                  </a:lnTo>
                  <a:close/>
                  <a:moveTo>
                    <a:pt x="217539" y="0"/>
                  </a:moveTo>
                  <a:lnTo>
                    <a:pt x="0" y="0"/>
                  </a:lnTo>
                  <a:lnTo>
                    <a:pt x="217539" y="217532"/>
                  </a:lnTo>
                  <a:lnTo>
                    <a:pt x="217539" y="0"/>
                  </a:lnTo>
                  <a:close/>
                  <a:moveTo>
                    <a:pt x="435077" y="435079"/>
                  </a:moveTo>
                  <a:lnTo>
                    <a:pt x="217539" y="435079"/>
                  </a:lnTo>
                  <a:lnTo>
                    <a:pt x="435077" y="217546"/>
                  </a:lnTo>
                  <a:lnTo>
                    <a:pt x="435077" y="435079"/>
                  </a:lnTo>
                  <a:close/>
                  <a:moveTo>
                    <a:pt x="435077" y="0"/>
                  </a:moveTo>
                  <a:lnTo>
                    <a:pt x="217539" y="0"/>
                  </a:lnTo>
                  <a:lnTo>
                    <a:pt x="435077" y="217532"/>
                  </a:lnTo>
                  <a:lnTo>
                    <a:pt x="435077" y="0"/>
                  </a:lnTo>
                  <a:close/>
                </a:path>
              </a:pathLst>
            </a:custGeom>
            <a:grpFill/>
            <a:ln w="27192" cap="flat">
              <a:noFill/>
              <a:prstDash val="solid"/>
              <a:miter/>
            </a:ln>
          </p:spPr>
          <p:txBody>
            <a:bodyPr rtlCol="0" anchor="ctr"/>
            <a:lstStyle/>
            <a:p>
              <a:endParaRPr lang="uk-UA" sz="900"/>
            </a:p>
          </p:txBody>
        </p:sp>
        <p:sp>
          <p:nvSpPr>
            <p:cNvPr id="479" name="Freeform: Shape 478">
              <a:extLst>
                <a:ext uri="{FF2B5EF4-FFF2-40B4-BE49-F238E27FC236}">
                  <a16:creationId xmlns:a16="http://schemas.microsoft.com/office/drawing/2014/main" id="{716A901D-C546-01BB-B00F-861D5688CF61}"/>
                </a:ext>
              </a:extLst>
            </p:cNvPr>
            <p:cNvSpPr/>
            <p:nvPr/>
          </p:nvSpPr>
          <p:spPr>
            <a:xfrm>
              <a:off x="7797062" y="228598"/>
              <a:ext cx="435104" cy="435073"/>
            </a:xfrm>
            <a:custGeom>
              <a:avLst/>
              <a:gdLst>
                <a:gd name="connsiteX0" fmla="*/ 371366 w 435104"/>
                <a:gd name="connsiteY0" fmla="*/ 63716 h 435073"/>
                <a:gd name="connsiteX1" fmla="*/ 435077 w 435104"/>
                <a:gd name="connsiteY1" fmla="*/ 217539 h 435073"/>
                <a:gd name="connsiteX2" fmla="*/ 218953 w 435104"/>
                <a:gd name="connsiteY2" fmla="*/ 217539 h 435073"/>
                <a:gd name="connsiteX3" fmla="*/ 371366 w 435104"/>
                <a:gd name="connsiteY3" fmla="*/ 281249 h 435073"/>
                <a:gd name="connsiteX4" fmla="*/ 435105 w 435104"/>
                <a:gd name="connsiteY4" fmla="*/ 435073 h 435073"/>
                <a:gd name="connsiteX5" fmla="*/ 217566 w 435104"/>
                <a:gd name="connsiteY5" fmla="*/ 435073 h 435073"/>
                <a:gd name="connsiteX6" fmla="*/ 27 w 435104"/>
                <a:gd name="connsiteY6" fmla="*/ 435073 h 435073"/>
                <a:gd name="connsiteX7" fmla="*/ 63739 w 435104"/>
                <a:gd name="connsiteY7" fmla="*/ 281249 h 435073"/>
                <a:gd name="connsiteX8" fmla="*/ 216152 w 435104"/>
                <a:gd name="connsiteY8" fmla="*/ 217539 h 435073"/>
                <a:gd name="connsiteX9" fmla="*/ 0 w 435104"/>
                <a:gd name="connsiteY9" fmla="*/ 217539 h 435073"/>
                <a:gd name="connsiteX10" fmla="*/ 63739 w 435104"/>
                <a:gd name="connsiteY10" fmla="*/ 63716 h 435073"/>
                <a:gd name="connsiteX11" fmla="*/ 217539 w 435104"/>
                <a:gd name="connsiteY11" fmla="*/ 0 h 435073"/>
                <a:gd name="connsiteX12" fmla="*/ 371366 w 435104"/>
                <a:gd name="connsiteY12" fmla="*/ 63716 h 43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4" h="435073">
                  <a:moveTo>
                    <a:pt x="371366" y="63716"/>
                  </a:moveTo>
                  <a:cubicBezTo>
                    <a:pt x="412182" y="104512"/>
                    <a:pt x="435077" y="159844"/>
                    <a:pt x="435077" y="217539"/>
                  </a:cubicBezTo>
                  <a:lnTo>
                    <a:pt x="218953" y="217539"/>
                  </a:lnTo>
                  <a:cubicBezTo>
                    <a:pt x="276138" y="217907"/>
                    <a:pt x="330904" y="240784"/>
                    <a:pt x="371366" y="281249"/>
                  </a:cubicBezTo>
                  <a:cubicBezTo>
                    <a:pt x="412182" y="322046"/>
                    <a:pt x="435105" y="377379"/>
                    <a:pt x="435105" y="435073"/>
                  </a:cubicBezTo>
                  <a:lnTo>
                    <a:pt x="217566" y="435073"/>
                  </a:lnTo>
                  <a:lnTo>
                    <a:pt x="27" y="435073"/>
                  </a:lnTo>
                  <a:cubicBezTo>
                    <a:pt x="27" y="377379"/>
                    <a:pt x="22924" y="322046"/>
                    <a:pt x="63739" y="281249"/>
                  </a:cubicBezTo>
                  <a:cubicBezTo>
                    <a:pt x="104201" y="240784"/>
                    <a:pt x="158967" y="217907"/>
                    <a:pt x="216152" y="217539"/>
                  </a:cubicBezTo>
                  <a:lnTo>
                    <a:pt x="0" y="217539"/>
                  </a:lnTo>
                  <a:cubicBezTo>
                    <a:pt x="0" y="159844"/>
                    <a:pt x="22924" y="104512"/>
                    <a:pt x="63739" y="63716"/>
                  </a:cubicBezTo>
                  <a:cubicBezTo>
                    <a:pt x="104527" y="22919"/>
                    <a:pt x="159864" y="0"/>
                    <a:pt x="217539" y="0"/>
                  </a:cubicBezTo>
                  <a:cubicBezTo>
                    <a:pt x="275241" y="0"/>
                    <a:pt x="330578" y="22919"/>
                    <a:pt x="371366" y="63716"/>
                  </a:cubicBezTo>
                  <a:close/>
                </a:path>
              </a:pathLst>
            </a:custGeom>
            <a:grpFill/>
            <a:ln w="27192" cap="flat">
              <a:noFill/>
              <a:prstDash val="solid"/>
              <a:miter/>
            </a:ln>
          </p:spPr>
          <p:txBody>
            <a:bodyPr rtlCol="0" anchor="ctr"/>
            <a:lstStyle/>
            <a:p>
              <a:endParaRPr lang="uk-UA" sz="900"/>
            </a:p>
          </p:txBody>
        </p:sp>
        <p:sp>
          <p:nvSpPr>
            <p:cNvPr id="480" name="Freeform: Shape 479">
              <a:extLst>
                <a:ext uri="{FF2B5EF4-FFF2-40B4-BE49-F238E27FC236}">
                  <a16:creationId xmlns:a16="http://schemas.microsoft.com/office/drawing/2014/main" id="{A063ACEC-45A9-3CE4-8737-DCD8E4F3B2F0}"/>
                </a:ext>
              </a:extLst>
            </p:cNvPr>
            <p:cNvSpPr/>
            <p:nvPr/>
          </p:nvSpPr>
          <p:spPr>
            <a:xfrm>
              <a:off x="6926907" y="228598"/>
              <a:ext cx="435077" cy="435078"/>
            </a:xfrm>
            <a:custGeom>
              <a:avLst/>
              <a:gdLst>
                <a:gd name="connsiteX0" fmla="*/ 217539 w 435077"/>
                <a:gd name="connsiteY0" fmla="*/ 0 h 435078"/>
                <a:gd name="connsiteX1" fmla="*/ 0 w 435077"/>
                <a:gd name="connsiteY1" fmla="*/ 0 h 435078"/>
                <a:gd name="connsiteX2" fmla="*/ 0 w 435077"/>
                <a:gd name="connsiteY2" fmla="*/ 217539 h 435078"/>
                <a:gd name="connsiteX3" fmla="*/ 0 w 435077"/>
                <a:gd name="connsiteY3" fmla="*/ 435079 h 435078"/>
                <a:gd name="connsiteX4" fmla="*/ 217539 w 435077"/>
                <a:gd name="connsiteY4" fmla="*/ 435079 h 435078"/>
                <a:gd name="connsiteX5" fmla="*/ 435077 w 435077"/>
                <a:gd name="connsiteY5" fmla="*/ 435079 h 435078"/>
                <a:gd name="connsiteX6" fmla="*/ 435077 w 435077"/>
                <a:gd name="connsiteY6" fmla="*/ 217539 h 435078"/>
                <a:gd name="connsiteX7" fmla="*/ 435077 w 435077"/>
                <a:gd name="connsiteY7" fmla="*/ 0 h 435078"/>
                <a:gd name="connsiteX8" fmla="*/ 217539 w 435077"/>
                <a:gd name="connsiteY8" fmla="*/ 0 h 435078"/>
                <a:gd name="connsiteX9" fmla="*/ 217539 w 435077"/>
                <a:gd name="connsiteY9" fmla="*/ 0 h 435078"/>
                <a:gd name="connsiteX10" fmla="*/ 435077 w 435077"/>
                <a:gd name="connsiteY10" fmla="*/ 217539 h 435078"/>
                <a:gd name="connsiteX11" fmla="*/ 217539 w 435077"/>
                <a:gd name="connsiteY11" fmla="*/ 435079 h 435078"/>
                <a:gd name="connsiteX12" fmla="*/ 0 w 435077"/>
                <a:gd name="connsiteY12" fmla="*/ 217539 h 435078"/>
                <a:gd name="connsiteX13" fmla="*/ 217539 w 435077"/>
                <a:gd name="connsiteY13"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8">
                  <a:moveTo>
                    <a:pt x="217539" y="0"/>
                  </a:moveTo>
                  <a:lnTo>
                    <a:pt x="0" y="0"/>
                  </a:lnTo>
                  <a:lnTo>
                    <a:pt x="0" y="217539"/>
                  </a:lnTo>
                  <a:lnTo>
                    <a:pt x="0" y="435079"/>
                  </a:lnTo>
                  <a:lnTo>
                    <a:pt x="217539" y="435079"/>
                  </a:lnTo>
                  <a:lnTo>
                    <a:pt x="435077" y="435079"/>
                  </a:lnTo>
                  <a:lnTo>
                    <a:pt x="435077" y="217539"/>
                  </a:lnTo>
                  <a:lnTo>
                    <a:pt x="435077" y="0"/>
                  </a:lnTo>
                  <a:lnTo>
                    <a:pt x="217539" y="0"/>
                  </a:lnTo>
                  <a:close/>
                  <a:moveTo>
                    <a:pt x="217539" y="0"/>
                  </a:moveTo>
                  <a:lnTo>
                    <a:pt x="435077" y="217539"/>
                  </a:lnTo>
                  <a:lnTo>
                    <a:pt x="217539" y="435079"/>
                  </a:lnTo>
                  <a:lnTo>
                    <a:pt x="0" y="217539"/>
                  </a:lnTo>
                  <a:lnTo>
                    <a:pt x="217539" y="0"/>
                  </a:lnTo>
                  <a:close/>
                </a:path>
              </a:pathLst>
            </a:custGeom>
            <a:grpFill/>
            <a:ln w="27192" cap="flat">
              <a:noFill/>
              <a:prstDash val="solid"/>
              <a:miter/>
            </a:ln>
          </p:spPr>
          <p:txBody>
            <a:bodyPr rtlCol="0" anchor="ctr"/>
            <a:lstStyle/>
            <a:p>
              <a:endParaRPr lang="uk-UA" sz="900"/>
            </a:p>
          </p:txBody>
        </p:sp>
        <p:sp>
          <p:nvSpPr>
            <p:cNvPr id="481" name="Freeform: Shape 480">
              <a:extLst>
                <a:ext uri="{FF2B5EF4-FFF2-40B4-BE49-F238E27FC236}">
                  <a16:creationId xmlns:a16="http://schemas.microsoft.com/office/drawing/2014/main" id="{2B6AB022-5D0E-977D-75F9-62740A31384C}"/>
                </a:ext>
              </a:extLst>
            </p:cNvPr>
            <p:cNvSpPr/>
            <p:nvPr/>
          </p:nvSpPr>
          <p:spPr>
            <a:xfrm>
              <a:off x="8667217" y="228598"/>
              <a:ext cx="435077" cy="435075"/>
            </a:xfrm>
            <a:custGeom>
              <a:avLst/>
              <a:gdLst>
                <a:gd name="connsiteX0" fmla="*/ 217539 w 435077"/>
                <a:gd name="connsiteY0" fmla="*/ 217540 h 435075"/>
                <a:gd name="connsiteX1" fmla="*/ 217539 w 435077"/>
                <a:gd name="connsiteY1" fmla="*/ 217537 h 435075"/>
                <a:gd name="connsiteX2" fmla="*/ 0 w 435077"/>
                <a:gd name="connsiteY2" fmla="*/ 0 h 435075"/>
                <a:gd name="connsiteX3" fmla="*/ 217539 w 435077"/>
                <a:gd name="connsiteY3" fmla="*/ 0 h 435075"/>
                <a:gd name="connsiteX4" fmla="*/ 217539 w 435077"/>
                <a:gd name="connsiteY4" fmla="*/ 5 h 435075"/>
                <a:gd name="connsiteX5" fmla="*/ 435077 w 435077"/>
                <a:gd name="connsiteY5" fmla="*/ 217533 h 435075"/>
                <a:gd name="connsiteX6" fmla="*/ 435077 w 435077"/>
                <a:gd name="connsiteY6" fmla="*/ 217533 h 435075"/>
                <a:gd name="connsiteX7" fmla="*/ 435077 w 435077"/>
                <a:gd name="connsiteY7" fmla="*/ 217538 h 435075"/>
                <a:gd name="connsiteX8" fmla="*/ 435077 w 435077"/>
                <a:gd name="connsiteY8" fmla="*/ 217542 h 435075"/>
                <a:gd name="connsiteX9" fmla="*/ 435077 w 435077"/>
                <a:gd name="connsiteY9" fmla="*/ 217542 h 435075"/>
                <a:gd name="connsiteX10" fmla="*/ 217539 w 435077"/>
                <a:gd name="connsiteY10" fmla="*/ 435071 h 435075"/>
                <a:gd name="connsiteX11" fmla="*/ 217539 w 435077"/>
                <a:gd name="connsiteY11" fmla="*/ 435076 h 435075"/>
                <a:gd name="connsiteX12" fmla="*/ 0 w 435077"/>
                <a:gd name="connsiteY12" fmla="*/ 435076 h 435075"/>
                <a:gd name="connsiteX13" fmla="*/ 217539 w 435077"/>
                <a:gd name="connsiteY13" fmla="*/ 217540 h 43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5">
                  <a:moveTo>
                    <a:pt x="217539" y="217540"/>
                  </a:moveTo>
                  <a:lnTo>
                    <a:pt x="217539" y="217537"/>
                  </a:lnTo>
                  <a:lnTo>
                    <a:pt x="0" y="0"/>
                  </a:lnTo>
                  <a:lnTo>
                    <a:pt x="217539" y="0"/>
                  </a:lnTo>
                  <a:lnTo>
                    <a:pt x="217539" y="5"/>
                  </a:lnTo>
                  <a:lnTo>
                    <a:pt x="435077" y="217533"/>
                  </a:lnTo>
                  <a:lnTo>
                    <a:pt x="435077" y="217533"/>
                  </a:lnTo>
                  <a:lnTo>
                    <a:pt x="435077" y="217538"/>
                  </a:lnTo>
                  <a:lnTo>
                    <a:pt x="435077" y="217542"/>
                  </a:lnTo>
                  <a:lnTo>
                    <a:pt x="435077" y="217542"/>
                  </a:lnTo>
                  <a:lnTo>
                    <a:pt x="217539" y="435071"/>
                  </a:lnTo>
                  <a:lnTo>
                    <a:pt x="217539" y="435076"/>
                  </a:lnTo>
                  <a:lnTo>
                    <a:pt x="0" y="435076"/>
                  </a:lnTo>
                  <a:lnTo>
                    <a:pt x="217539" y="217540"/>
                  </a:lnTo>
                  <a:close/>
                </a:path>
              </a:pathLst>
            </a:custGeom>
            <a:grpFill/>
            <a:ln w="27192" cap="flat">
              <a:noFill/>
              <a:prstDash val="solid"/>
              <a:miter/>
            </a:ln>
          </p:spPr>
          <p:txBody>
            <a:bodyPr rtlCol="0" anchor="ctr"/>
            <a:lstStyle/>
            <a:p>
              <a:endParaRPr lang="uk-UA" sz="900"/>
            </a:p>
          </p:txBody>
        </p:sp>
        <p:sp>
          <p:nvSpPr>
            <p:cNvPr id="482" name="Freeform: Shape 481">
              <a:extLst>
                <a:ext uri="{FF2B5EF4-FFF2-40B4-BE49-F238E27FC236}">
                  <a16:creationId xmlns:a16="http://schemas.microsoft.com/office/drawing/2014/main" id="{1672EB08-C639-7513-3FC3-388D42642FF8}"/>
                </a:ext>
              </a:extLst>
            </p:cNvPr>
            <p:cNvSpPr/>
            <p:nvPr/>
          </p:nvSpPr>
          <p:spPr>
            <a:xfrm>
              <a:off x="9537399" y="228598"/>
              <a:ext cx="435077" cy="435078"/>
            </a:xfrm>
            <a:custGeom>
              <a:avLst/>
              <a:gdLst>
                <a:gd name="connsiteX0" fmla="*/ 0 w 435077"/>
                <a:gd name="connsiteY0" fmla="*/ 435079 h 435078"/>
                <a:gd name="connsiteX1" fmla="*/ 217511 w 435077"/>
                <a:gd name="connsiteY1" fmla="*/ 435079 h 435078"/>
                <a:gd name="connsiteX2" fmla="*/ 217511 w 435077"/>
                <a:gd name="connsiteY2" fmla="*/ 217546 h 435078"/>
                <a:gd name="connsiteX3" fmla="*/ 0 w 435077"/>
                <a:gd name="connsiteY3" fmla="*/ 435079 h 435078"/>
                <a:gd name="connsiteX4" fmla="*/ 217511 w 435077"/>
                <a:gd name="connsiteY4" fmla="*/ 0 h 435078"/>
                <a:gd name="connsiteX5" fmla="*/ 0 w 435077"/>
                <a:gd name="connsiteY5" fmla="*/ 0 h 435078"/>
                <a:gd name="connsiteX6" fmla="*/ 217511 w 435077"/>
                <a:gd name="connsiteY6" fmla="*/ 217532 h 435078"/>
                <a:gd name="connsiteX7" fmla="*/ 217511 w 435077"/>
                <a:gd name="connsiteY7" fmla="*/ 0 h 435078"/>
                <a:gd name="connsiteX8" fmla="*/ 435077 w 435077"/>
                <a:gd name="connsiteY8" fmla="*/ 435079 h 435078"/>
                <a:gd name="connsiteX9" fmla="*/ 217539 w 435077"/>
                <a:gd name="connsiteY9" fmla="*/ 435079 h 435078"/>
                <a:gd name="connsiteX10" fmla="*/ 435077 w 435077"/>
                <a:gd name="connsiteY10" fmla="*/ 217546 h 435078"/>
                <a:gd name="connsiteX11" fmla="*/ 435077 w 435077"/>
                <a:gd name="connsiteY11" fmla="*/ 435079 h 435078"/>
                <a:gd name="connsiteX12" fmla="*/ 435077 w 435077"/>
                <a:gd name="connsiteY12" fmla="*/ 0 h 435078"/>
                <a:gd name="connsiteX13" fmla="*/ 217539 w 435077"/>
                <a:gd name="connsiteY13" fmla="*/ 0 h 435078"/>
                <a:gd name="connsiteX14" fmla="*/ 435077 w 435077"/>
                <a:gd name="connsiteY14" fmla="*/ 217532 h 435078"/>
                <a:gd name="connsiteX15" fmla="*/ 435077 w 435077"/>
                <a:gd name="connsiteY15"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8">
                  <a:moveTo>
                    <a:pt x="0" y="435079"/>
                  </a:moveTo>
                  <a:lnTo>
                    <a:pt x="217511" y="435079"/>
                  </a:lnTo>
                  <a:lnTo>
                    <a:pt x="217511" y="217546"/>
                  </a:lnTo>
                  <a:lnTo>
                    <a:pt x="0" y="435079"/>
                  </a:lnTo>
                  <a:close/>
                  <a:moveTo>
                    <a:pt x="217511" y="0"/>
                  </a:moveTo>
                  <a:lnTo>
                    <a:pt x="0" y="0"/>
                  </a:lnTo>
                  <a:lnTo>
                    <a:pt x="217511" y="217532"/>
                  </a:lnTo>
                  <a:lnTo>
                    <a:pt x="217511" y="0"/>
                  </a:lnTo>
                  <a:close/>
                  <a:moveTo>
                    <a:pt x="435077" y="435079"/>
                  </a:moveTo>
                  <a:lnTo>
                    <a:pt x="217539" y="435079"/>
                  </a:lnTo>
                  <a:lnTo>
                    <a:pt x="435077" y="217546"/>
                  </a:lnTo>
                  <a:lnTo>
                    <a:pt x="435077" y="435079"/>
                  </a:lnTo>
                  <a:close/>
                  <a:moveTo>
                    <a:pt x="435077" y="0"/>
                  </a:moveTo>
                  <a:lnTo>
                    <a:pt x="217539" y="0"/>
                  </a:lnTo>
                  <a:lnTo>
                    <a:pt x="435077" y="217532"/>
                  </a:lnTo>
                  <a:lnTo>
                    <a:pt x="435077" y="0"/>
                  </a:lnTo>
                  <a:close/>
                </a:path>
              </a:pathLst>
            </a:custGeom>
            <a:grpFill/>
            <a:ln w="27192" cap="flat">
              <a:noFill/>
              <a:prstDash val="solid"/>
              <a:miter/>
            </a:ln>
          </p:spPr>
          <p:txBody>
            <a:bodyPr rtlCol="0" anchor="ctr"/>
            <a:lstStyle/>
            <a:p>
              <a:endParaRPr lang="uk-UA" sz="900"/>
            </a:p>
          </p:txBody>
        </p:sp>
        <p:sp>
          <p:nvSpPr>
            <p:cNvPr id="483" name="Freeform: Shape 482">
              <a:extLst>
                <a:ext uri="{FF2B5EF4-FFF2-40B4-BE49-F238E27FC236}">
                  <a16:creationId xmlns:a16="http://schemas.microsoft.com/office/drawing/2014/main" id="{DB23C99E-A8C1-7329-881A-66B04598EC6E}"/>
                </a:ext>
              </a:extLst>
            </p:cNvPr>
            <p:cNvSpPr/>
            <p:nvPr/>
          </p:nvSpPr>
          <p:spPr>
            <a:xfrm>
              <a:off x="11277709" y="228598"/>
              <a:ext cx="435077" cy="435073"/>
            </a:xfrm>
            <a:custGeom>
              <a:avLst/>
              <a:gdLst>
                <a:gd name="connsiteX0" fmla="*/ 371365 w 435077"/>
                <a:gd name="connsiteY0" fmla="*/ 63716 h 435073"/>
                <a:gd name="connsiteX1" fmla="*/ 435077 w 435077"/>
                <a:gd name="connsiteY1" fmla="*/ 217539 h 435073"/>
                <a:gd name="connsiteX2" fmla="*/ 218953 w 435077"/>
                <a:gd name="connsiteY2" fmla="*/ 217539 h 435073"/>
                <a:gd name="connsiteX3" fmla="*/ 371365 w 435077"/>
                <a:gd name="connsiteY3" fmla="*/ 281249 h 435073"/>
                <a:gd name="connsiteX4" fmla="*/ 435077 w 435077"/>
                <a:gd name="connsiteY4" fmla="*/ 435073 h 435073"/>
                <a:gd name="connsiteX5" fmla="*/ 217539 w 435077"/>
                <a:gd name="connsiteY5" fmla="*/ 435073 h 435073"/>
                <a:gd name="connsiteX6" fmla="*/ 0 w 435077"/>
                <a:gd name="connsiteY6" fmla="*/ 435073 h 435073"/>
                <a:gd name="connsiteX7" fmla="*/ 63710 w 435077"/>
                <a:gd name="connsiteY7" fmla="*/ 281249 h 435073"/>
                <a:gd name="connsiteX8" fmla="*/ 216151 w 435077"/>
                <a:gd name="connsiteY8" fmla="*/ 217539 h 435073"/>
                <a:gd name="connsiteX9" fmla="*/ 0 w 435077"/>
                <a:gd name="connsiteY9" fmla="*/ 217539 h 435073"/>
                <a:gd name="connsiteX10" fmla="*/ 63710 w 435077"/>
                <a:gd name="connsiteY10" fmla="*/ 63716 h 435073"/>
                <a:gd name="connsiteX11" fmla="*/ 217539 w 435077"/>
                <a:gd name="connsiteY11" fmla="*/ 0 h 435073"/>
                <a:gd name="connsiteX12" fmla="*/ 371365 w 435077"/>
                <a:gd name="connsiteY12" fmla="*/ 63716 h 43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3">
                  <a:moveTo>
                    <a:pt x="371365" y="63716"/>
                  </a:moveTo>
                  <a:cubicBezTo>
                    <a:pt x="412154" y="104512"/>
                    <a:pt x="435077" y="159844"/>
                    <a:pt x="435077" y="217539"/>
                  </a:cubicBezTo>
                  <a:lnTo>
                    <a:pt x="218953" y="217539"/>
                  </a:lnTo>
                  <a:cubicBezTo>
                    <a:pt x="276137" y="217907"/>
                    <a:pt x="330902" y="240784"/>
                    <a:pt x="371365" y="281249"/>
                  </a:cubicBezTo>
                  <a:cubicBezTo>
                    <a:pt x="412154" y="322046"/>
                    <a:pt x="435077" y="377379"/>
                    <a:pt x="435077" y="435073"/>
                  </a:cubicBezTo>
                  <a:lnTo>
                    <a:pt x="217539" y="435073"/>
                  </a:lnTo>
                  <a:lnTo>
                    <a:pt x="0" y="435073"/>
                  </a:lnTo>
                  <a:cubicBezTo>
                    <a:pt x="0" y="377379"/>
                    <a:pt x="22922" y="322046"/>
                    <a:pt x="63710" y="281249"/>
                  </a:cubicBezTo>
                  <a:cubicBezTo>
                    <a:pt x="104174" y="240784"/>
                    <a:pt x="158938" y="217907"/>
                    <a:pt x="216151" y="217539"/>
                  </a:cubicBezTo>
                  <a:lnTo>
                    <a:pt x="0" y="217539"/>
                  </a:lnTo>
                  <a:cubicBezTo>
                    <a:pt x="0" y="159844"/>
                    <a:pt x="22922" y="104512"/>
                    <a:pt x="63710" y="63716"/>
                  </a:cubicBezTo>
                  <a:cubicBezTo>
                    <a:pt x="104499" y="22919"/>
                    <a:pt x="159836" y="0"/>
                    <a:pt x="217539" y="0"/>
                  </a:cubicBezTo>
                  <a:cubicBezTo>
                    <a:pt x="275239" y="0"/>
                    <a:pt x="330549" y="22919"/>
                    <a:pt x="371365" y="63716"/>
                  </a:cubicBezTo>
                  <a:close/>
                </a:path>
              </a:pathLst>
            </a:custGeom>
            <a:grpFill/>
            <a:ln w="27192" cap="flat">
              <a:noFill/>
              <a:prstDash val="solid"/>
              <a:miter/>
            </a:ln>
          </p:spPr>
          <p:txBody>
            <a:bodyPr rtlCol="0" anchor="ctr"/>
            <a:lstStyle/>
            <a:p>
              <a:endParaRPr lang="uk-UA" sz="900"/>
            </a:p>
          </p:txBody>
        </p:sp>
        <p:sp>
          <p:nvSpPr>
            <p:cNvPr id="484" name="Freeform: Shape 483">
              <a:extLst>
                <a:ext uri="{FF2B5EF4-FFF2-40B4-BE49-F238E27FC236}">
                  <a16:creationId xmlns:a16="http://schemas.microsoft.com/office/drawing/2014/main" id="{C891B117-E183-552B-5B8C-1ACF1479FAE3}"/>
                </a:ext>
              </a:extLst>
            </p:cNvPr>
            <p:cNvSpPr/>
            <p:nvPr/>
          </p:nvSpPr>
          <p:spPr>
            <a:xfrm>
              <a:off x="10407554" y="228598"/>
              <a:ext cx="435077" cy="435078"/>
            </a:xfrm>
            <a:custGeom>
              <a:avLst/>
              <a:gdLst>
                <a:gd name="connsiteX0" fmla="*/ 217539 w 435077"/>
                <a:gd name="connsiteY0" fmla="*/ 0 h 435078"/>
                <a:gd name="connsiteX1" fmla="*/ 0 w 435077"/>
                <a:gd name="connsiteY1" fmla="*/ 0 h 435078"/>
                <a:gd name="connsiteX2" fmla="*/ 0 w 435077"/>
                <a:gd name="connsiteY2" fmla="*/ 217539 h 435078"/>
                <a:gd name="connsiteX3" fmla="*/ 217539 w 435077"/>
                <a:gd name="connsiteY3" fmla="*/ 0 h 435078"/>
                <a:gd name="connsiteX4" fmla="*/ 435077 w 435077"/>
                <a:gd name="connsiteY4" fmla="*/ 0 h 435078"/>
                <a:gd name="connsiteX5" fmla="*/ 435077 w 435077"/>
                <a:gd name="connsiteY5" fmla="*/ 217539 h 435078"/>
                <a:gd name="connsiteX6" fmla="*/ 217539 w 435077"/>
                <a:gd name="connsiteY6" fmla="*/ 0 h 435078"/>
                <a:gd name="connsiteX7" fmla="*/ 435077 w 435077"/>
                <a:gd name="connsiteY7" fmla="*/ 0 h 435078"/>
                <a:gd name="connsiteX8" fmla="*/ 217539 w 435077"/>
                <a:gd name="connsiteY8" fmla="*/ 435079 h 435078"/>
                <a:gd name="connsiteX9" fmla="*/ 435077 w 435077"/>
                <a:gd name="connsiteY9" fmla="*/ 217539 h 435078"/>
                <a:gd name="connsiteX10" fmla="*/ 435077 w 435077"/>
                <a:gd name="connsiteY10" fmla="*/ 435079 h 435078"/>
                <a:gd name="connsiteX11" fmla="*/ 217539 w 435077"/>
                <a:gd name="connsiteY11" fmla="*/ 435079 h 435078"/>
                <a:gd name="connsiteX12" fmla="*/ 217539 w 435077"/>
                <a:gd name="connsiteY12" fmla="*/ 435079 h 435078"/>
                <a:gd name="connsiteX13" fmla="*/ 0 w 435077"/>
                <a:gd name="connsiteY13" fmla="*/ 217539 h 435078"/>
                <a:gd name="connsiteX14" fmla="*/ 0 w 435077"/>
                <a:gd name="connsiteY14" fmla="*/ 435079 h 435078"/>
                <a:gd name="connsiteX15" fmla="*/ 217539 w 435077"/>
                <a:gd name="connsiteY15" fmla="*/ 435079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8">
                  <a:moveTo>
                    <a:pt x="217539" y="0"/>
                  </a:moveTo>
                  <a:lnTo>
                    <a:pt x="0" y="0"/>
                  </a:lnTo>
                  <a:lnTo>
                    <a:pt x="0" y="217539"/>
                  </a:lnTo>
                  <a:lnTo>
                    <a:pt x="217539" y="0"/>
                  </a:lnTo>
                  <a:close/>
                  <a:moveTo>
                    <a:pt x="435077" y="0"/>
                  </a:moveTo>
                  <a:lnTo>
                    <a:pt x="435077" y="217539"/>
                  </a:lnTo>
                  <a:lnTo>
                    <a:pt x="217539" y="0"/>
                  </a:lnTo>
                  <a:lnTo>
                    <a:pt x="435077" y="0"/>
                  </a:lnTo>
                  <a:close/>
                  <a:moveTo>
                    <a:pt x="217539" y="435079"/>
                  </a:moveTo>
                  <a:lnTo>
                    <a:pt x="435077" y="217539"/>
                  </a:lnTo>
                  <a:lnTo>
                    <a:pt x="435077" y="435079"/>
                  </a:lnTo>
                  <a:lnTo>
                    <a:pt x="217539" y="435079"/>
                  </a:lnTo>
                  <a:close/>
                  <a:moveTo>
                    <a:pt x="217539" y="435079"/>
                  </a:moveTo>
                  <a:lnTo>
                    <a:pt x="0" y="217539"/>
                  </a:lnTo>
                  <a:lnTo>
                    <a:pt x="0" y="435079"/>
                  </a:lnTo>
                  <a:lnTo>
                    <a:pt x="217539" y="435079"/>
                  </a:lnTo>
                  <a:close/>
                </a:path>
              </a:pathLst>
            </a:custGeom>
            <a:grpFill/>
            <a:ln w="27192" cap="flat">
              <a:noFill/>
              <a:prstDash val="solid"/>
              <a:miter/>
            </a:ln>
          </p:spPr>
          <p:txBody>
            <a:bodyPr rtlCol="0" anchor="ctr"/>
            <a:lstStyle/>
            <a:p>
              <a:endParaRPr lang="uk-UA" sz="900"/>
            </a:p>
          </p:txBody>
        </p:sp>
        <p:sp>
          <p:nvSpPr>
            <p:cNvPr id="485" name="Freeform: Shape 484">
              <a:extLst>
                <a:ext uri="{FF2B5EF4-FFF2-40B4-BE49-F238E27FC236}">
                  <a16:creationId xmlns:a16="http://schemas.microsoft.com/office/drawing/2014/main" id="{DC84AB28-3539-005E-9DC2-C7BE5447525B}"/>
                </a:ext>
              </a:extLst>
            </p:cNvPr>
            <p:cNvSpPr/>
            <p:nvPr/>
          </p:nvSpPr>
          <p:spPr>
            <a:xfrm>
              <a:off x="12147836" y="228570"/>
              <a:ext cx="435077" cy="435076"/>
            </a:xfrm>
            <a:custGeom>
              <a:avLst/>
              <a:gdLst>
                <a:gd name="connsiteX0" fmla="*/ 217539 w 435077"/>
                <a:gd name="connsiteY0" fmla="*/ 217534 h 435076"/>
                <a:gd name="connsiteX1" fmla="*/ 217539 w 435077"/>
                <a:gd name="connsiteY1" fmla="*/ 0 h 435076"/>
                <a:gd name="connsiteX2" fmla="*/ 0 w 435077"/>
                <a:gd name="connsiteY2" fmla="*/ 0 h 435076"/>
                <a:gd name="connsiteX3" fmla="*/ 217539 w 435077"/>
                <a:gd name="connsiteY3" fmla="*/ 217538 h 435076"/>
                <a:gd name="connsiteX4" fmla="*/ 0 w 435077"/>
                <a:gd name="connsiteY4" fmla="*/ 435077 h 435076"/>
                <a:gd name="connsiteX5" fmla="*/ 217539 w 435077"/>
                <a:gd name="connsiteY5" fmla="*/ 435077 h 435076"/>
                <a:gd name="connsiteX6" fmla="*/ 217539 w 435077"/>
                <a:gd name="connsiteY6" fmla="*/ 435071 h 435076"/>
                <a:gd name="connsiteX7" fmla="*/ 435077 w 435077"/>
                <a:gd name="connsiteY7" fmla="*/ 217543 h 435076"/>
                <a:gd name="connsiteX8" fmla="*/ 435077 w 435077"/>
                <a:gd name="connsiteY8" fmla="*/ 217543 h 435076"/>
                <a:gd name="connsiteX9" fmla="*/ 435077 w 435077"/>
                <a:gd name="connsiteY9" fmla="*/ 217538 h 435076"/>
                <a:gd name="connsiteX10" fmla="*/ 435077 w 435077"/>
                <a:gd name="connsiteY10" fmla="*/ 217534 h 435076"/>
                <a:gd name="connsiteX11" fmla="*/ 435077 w 435077"/>
                <a:gd name="connsiteY11" fmla="*/ 217534 h 435076"/>
                <a:gd name="connsiteX12" fmla="*/ 217539 w 435077"/>
                <a:gd name="connsiteY12" fmla="*/ 5 h 435076"/>
                <a:gd name="connsiteX13" fmla="*/ 217539 w 435077"/>
                <a:gd name="connsiteY13" fmla="*/ 217534 h 435076"/>
                <a:gd name="connsiteX14" fmla="*/ 217539 w 435077"/>
                <a:gd name="connsiteY14" fmla="*/ 217534 h 435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6">
                  <a:moveTo>
                    <a:pt x="217539" y="217534"/>
                  </a:moveTo>
                  <a:lnTo>
                    <a:pt x="217539" y="0"/>
                  </a:lnTo>
                  <a:lnTo>
                    <a:pt x="0" y="0"/>
                  </a:lnTo>
                  <a:lnTo>
                    <a:pt x="217539" y="217538"/>
                  </a:lnTo>
                  <a:lnTo>
                    <a:pt x="0" y="435077"/>
                  </a:lnTo>
                  <a:lnTo>
                    <a:pt x="217539" y="435077"/>
                  </a:lnTo>
                  <a:lnTo>
                    <a:pt x="217539" y="435071"/>
                  </a:lnTo>
                  <a:lnTo>
                    <a:pt x="435077" y="217543"/>
                  </a:lnTo>
                  <a:lnTo>
                    <a:pt x="435077" y="217543"/>
                  </a:lnTo>
                  <a:lnTo>
                    <a:pt x="435077" y="217538"/>
                  </a:lnTo>
                  <a:lnTo>
                    <a:pt x="435077" y="217534"/>
                  </a:lnTo>
                  <a:lnTo>
                    <a:pt x="435077" y="217534"/>
                  </a:lnTo>
                  <a:lnTo>
                    <a:pt x="217539" y="5"/>
                  </a:lnTo>
                  <a:lnTo>
                    <a:pt x="217539" y="217534"/>
                  </a:lnTo>
                  <a:lnTo>
                    <a:pt x="217539" y="217534"/>
                  </a:lnTo>
                  <a:close/>
                </a:path>
              </a:pathLst>
            </a:custGeom>
            <a:grpFill/>
            <a:ln w="27192" cap="flat">
              <a:noFill/>
              <a:prstDash val="solid"/>
              <a:miter/>
            </a:ln>
          </p:spPr>
          <p:txBody>
            <a:bodyPr rtlCol="0" anchor="ctr"/>
            <a:lstStyle/>
            <a:p>
              <a:endParaRPr lang="uk-UA" sz="900"/>
            </a:p>
          </p:txBody>
        </p:sp>
        <p:sp>
          <p:nvSpPr>
            <p:cNvPr id="486" name="Freeform: Shape 485">
              <a:extLst>
                <a:ext uri="{FF2B5EF4-FFF2-40B4-BE49-F238E27FC236}">
                  <a16:creationId xmlns:a16="http://schemas.microsoft.com/office/drawing/2014/main" id="{86D90B4E-6DEE-CA1E-136B-E394C2CD9AF1}"/>
                </a:ext>
              </a:extLst>
            </p:cNvPr>
            <p:cNvSpPr/>
            <p:nvPr/>
          </p:nvSpPr>
          <p:spPr>
            <a:xfrm>
              <a:off x="13018045" y="228598"/>
              <a:ext cx="435077" cy="435078"/>
            </a:xfrm>
            <a:custGeom>
              <a:avLst/>
              <a:gdLst>
                <a:gd name="connsiteX0" fmla="*/ 0 w 435077"/>
                <a:gd name="connsiteY0" fmla="*/ 435079 h 435078"/>
                <a:gd name="connsiteX1" fmla="*/ 217539 w 435077"/>
                <a:gd name="connsiteY1" fmla="*/ 435079 h 435078"/>
                <a:gd name="connsiteX2" fmla="*/ 217539 w 435077"/>
                <a:gd name="connsiteY2" fmla="*/ 217546 h 435078"/>
                <a:gd name="connsiteX3" fmla="*/ 0 w 435077"/>
                <a:gd name="connsiteY3" fmla="*/ 435079 h 435078"/>
                <a:gd name="connsiteX4" fmla="*/ 217539 w 435077"/>
                <a:gd name="connsiteY4" fmla="*/ 0 h 435078"/>
                <a:gd name="connsiteX5" fmla="*/ 0 w 435077"/>
                <a:gd name="connsiteY5" fmla="*/ 0 h 435078"/>
                <a:gd name="connsiteX6" fmla="*/ 217539 w 435077"/>
                <a:gd name="connsiteY6" fmla="*/ 217532 h 435078"/>
                <a:gd name="connsiteX7" fmla="*/ 217539 w 435077"/>
                <a:gd name="connsiteY7" fmla="*/ 0 h 435078"/>
                <a:gd name="connsiteX8" fmla="*/ 435077 w 435077"/>
                <a:gd name="connsiteY8" fmla="*/ 435079 h 435078"/>
                <a:gd name="connsiteX9" fmla="*/ 217539 w 435077"/>
                <a:gd name="connsiteY9" fmla="*/ 435079 h 435078"/>
                <a:gd name="connsiteX10" fmla="*/ 435077 w 435077"/>
                <a:gd name="connsiteY10" fmla="*/ 217546 h 435078"/>
                <a:gd name="connsiteX11" fmla="*/ 435077 w 435077"/>
                <a:gd name="connsiteY11" fmla="*/ 435079 h 435078"/>
                <a:gd name="connsiteX12" fmla="*/ 435077 w 435077"/>
                <a:gd name="connsiteY12" fmla="*/ 0 h 435078"/>
                <a:gd name="connsiteX13" fmla="*/ 217539 w 435077"/>
                <a:gd name="connsiteY13" fmla="*/ 0 h 435078"/>
                <a:gd name="connsiteX14" fmla="*/ 435077 w 435077"/>
                <a:gd name="connsiteY14" fmla="*/ 217532 h 435078"/>
                <a:gd name="connsiteX15" fmla="*/ 435077 w 435077"/>
                <a:gd name="connsiteY15"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8">
                  <a:moveTo>
                    <a:pt x="0" y="435079"/>
                  </a:moveTo>
                  <a:lnTo>
                    <a:pt x="217539" y="435079"/>
                  </a:lnTo>
                  <a:lnTo>
                    <a:pt x="217539" y="217546"/>
                  </a:lnTo>
                  <a:lnTo>
                    <a:pt x="0" y="435079"/>
                  </a:lnTo>
                  <a:close/>
                  <a:moveTo>
                    <a:pt x="217539" y="0"/>
                  </a:moveTo>
                  <a:lnTo>
                    <a:pt x="0" y="0"/>
                  </a:lnTo>
                  <a:lnTo>
                    <a:pt x="217539" y="217532"/>
                  </a:lnTo>
                  <a:lnTo>
                    <a:pt x="217539" y="0"/>
                  </a:lnTo>
                  <a:close/>
                  <a:moveTo>
                    <a:pt x="435077" y="435079"/>
                  </a:moveTo>
                  <a:lnTo>
                    <a:pt x="217539" y="435079"/>
                  </a:lnTo>
                  <a:lnTo>
                    <a:pt x="435077" y="217546"/>
                  </a:lnTo>
                  <a:lnTo>
                    <a:pt x="435077" y="435079"/>
                  </a:lnTo>
                  <a:close/>
                  <a:moveTo>
                    <a:pt x="435077" y="0"/>
                  </a:moveTo>
                  <a:lnTo>
                    <a:pt x="217539" y="0"/>
                  </a:lnTo>
                  <a:lnTo>
                    <a:pt x="435077" y="217532"/>
                  </a:lnTo>
                  <a:lnTo>
                    <a:pt x="435077" y="0"/>
                  </a:lnTo>
                  <a:close/>
                </a:path>
              </a:pathLst>
            </a:custGeom>
            <a:grpFill/>
            <a:ln w="27192" cap="flat">
              <a:noFill/>
              <a:prstDash val="solid"/>
              <a:miter/>
            </a:ln>
          </p:spPr>
          <p:txBody>
            <a:bodyPr rtlCol="0" anchor="ctr"/>
            <a:lstStyle/>
            <a:p>
              <a:endParaRPr lang="uk-UA" sz="900"/>
            </a:p>
          </p:txBody>
        </p:sp>
        <p:sp>
          <p:nvSpPr>
            <p:cNvPr id="487" name="Freeform: Shape 486">
              <a:extLst>
                <a:ext uri="{FF2B5EF4-FFF2-40B4-BE49-F238E27FC236}">
                  <a16:creationId xmlns:a16="http://schemas.microsoft.com/office/drawing/2014/main" id="{E46F1A34-EB43-1500-24B7-7ECECB658909}"/>
                </a:ext>
              </a:extLst>
            </p:cNvPr>
            <p:cNvSpPr/>
            <p:nvPr/>
          </p:nvSpPr>
          <p:spPr>
            <a:xfrm>
              <a:off x="14758382" y="228598"/>
              <a:ext cx="435077" cy="435073"/>
            </a:xfrm>
            <a:custGeom>
              <a:avLst/>
              <a:gdLst>
                <a:gd name="connsiteX0" fmla="*/ 371367 w 435077"/>
                <a:gd name="connsiteY0" fmla="*/ 63716 h 435073"/>
                <a:gd name="connsiteX1" fmla="*/ 435077 w 435077"/>
                <a:gd name="connsiteY1" fmla="*/ 217539 h 435073"/>
                <a:gd name="connsiteX2" fmla="*/ 218953 w 435077"/>
                <a:gd name="connsiteY2" fmla="*/ 217539 h 435073"/>
                <a:gd name="connsiteX3" fmla="*/ 371367 w 435077"/>
                <a:gd name="connsiteY3" fmla="*/ 281249 h 435073"/>
                <a:gd name="connsiteX4" fmla="*/ 435077 w 435077"/>
                <a:gd name="connsiteY4" fmla="*/ 435073 h 435073"/>
                <a:gd name="connsiteX5" fmla="*/ 217539 w 435077"/>
                <a:gd name="connsiteY5" fmla="*/ 435073 h 435073"/>
                <a:gd name="connsiteX6" fmla="*/ 0 w 435077"/>
                <a:gd name="connsiteY6" fmla="*/ 435073 h 435073"/>
                <a:gd name="connsiteX7" fmla="*/ 63712 w 435077"/>
                <a:gd name="connsiteY7" fmla="*/ 281249 h 435073"/>
                <a:gd name="connsiteX8" fmla="*/ 216125 w 435077"/>
                <a:gd name="connsiteY8" fmla="*/ 217539 h 435073"/>
                <a:gd name="connsiteX9" fmla="*/ 0 w 435077"/>
                <a:gd name="connsiteY9" fmla="*/ 217539 h 435073"/>
                <a:gd name="connsiteX10" fmla="*/ 63712 w 435077"/>
                <a:gd name="connsiteY10" fmla="*/ 63716 h 435073"/>
                <a:gd name="connsiteX11" fmla="*/ 217539 w 435077"/>
                <a:gd name="connsiteY11" fmla="*/ 0 h 435073"/>
                <a:gd name="connsiteX12" fmla="*/ 371367 w 435077"/>
                <a:gd name="connsiteY12" fmla="*/ 63716 h 43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3">
                  <a:moveTo>
                    <a:pt x="371367" y="63716"/>
                  </a:moveTo>
                  <a:cubicBezTo>
                    <a:pt x="412155" y="104512"/>
                    <a:pt x="435077" y="159844"/>
                    <a:pt x="435077" y="217539"/>
                  </a:cubicBezTo>
                  <a:lnTo>
                    <a:pt x="218953" y="217539"/>
                  </a:lnTo>
                  <a:cubicBezTo>
                    <a:pt x="276139" y="217907"/>
                    <a:pt x="330904" y="240784"/>
                    <a:pt x="371367" y="281249"/>
                  </a:cubicBezTo>
                  <a:cubicBezTo>
                    <a:pt x="412155" y="322046"/>
                    <a:pt x="435077" y="377379"/>
                    <a:pt x="435077" y="435073"/>
                  </a:cubicBezTo>
                  <a:lnTo>
                    <a:pt x="217539" y="435073"/>
                  </a:lnTo>
                  <a:lnTo>
                    <a:pt x="0" y="435073"/>
                  </a:lnTo>
                  <a:cubicBezTo>
                    <a:pt x="0" y="377379"/>
                    <a:pt x="22924" y="322046"/>
                    <a:pt x="63712" y="281249"/>
                  </a:cubicBezTo>
                  <a:cubicBezTo>
                    <a:pt x="104174" y="240784"/>
                    <a:pt x="158940" y="217907"/>
                    <a:pt x="216125" y="217539"/>
                  </a:cubicBezTo>
                  <a:lnTo>
                    <a:pt x="0" y="217539"/>
                  </a:lnTo>
                  <a:cubicBezTo>
                    <a:pt x="0" y="159844"/>
                    <a:pt x="22924" y="104512"/>
                    <a:pt x="63712" y="63716"/>
                  </a:cubicBezTo>
                  <a:cubicBezTo>
                    <a:pt x="104501" y="22919"/>
                    <a:pt x="159836" y="0"/>
                    <a:pt x="217539" y="0"/>
                  </a:cubicBezTo>
                  <a:cubicBezTo>
                    <a:pt x="275241" y="0"/>
                    <a:pt x="330550" y="22919"/>
                    <a:pt x="371367" y="63716"/>
                  </a:cubicBezTo>
                  <a:close/>
                </a:path>
              </a:pathLst>
            </a:custGeom>
            <a:grpFill/>
            <a:ln w="27192" cap="flat">
              <a:noFill/>
              <a:prstDash val="solid"/>
              <a:miter/>
            </a:ln>
          </p:spPr>
          <p:txBody>
            <a:bodyPr rtlCol="0" anchor="ctr"/>
            <a:lstStyle/>
            <a:p>
              <a:endParaRPr lang="uk-UA" sz="900"/>
            </a:p>
          </p:txBody>
        </p:sp>
        <p:sp>
          <p:nvSpPr>
            <p:cNvPr id="488" name="Freeform: Shape 487">
              <a:extLst>
                <a:ext uri="{FF2B5EF4-FFF2-40B4-BE49-F238E27FC236}">
                  <a16:creationId xmlns:a16="http://schemas.microsoft.com/office/drawing/2014/main" id="{92C0726B-1B99-BB1A-4688-10F31BFB2E8A}"/>
                </a:ext>
              </a:extLst>
            </p:cNvPr>
            <p:cNvSpPr/>
            <p:nvPr/>
          </p:nvSpPr>
          <p:spPr>
            <a:xfrm>
              <a:off x="13888200" y="228598"/>
              <a:ext cx="435077" cy="435078"/>
            </a:xfrm>
            <a:custGeom>
              <a:avLst/>
              <a:gdLst>
                <a:gd name="connsiteX0" fmla="*/ 217565 w 435077"/>
                <a:gd name="connsiteY0" fmla="*/ 0 h 435078"/>
                <a:gd name="connsiteX1" fmla="*/ 217539 w 435077"/>
                <a:gd name="connsiteY1" fmla="*/ 0 h 435078"/>
                <a:gd name="connsiteX2" fmla="*/ 27 w 435077"/>
                <a:gd name="connsiteY2" fmla="*/ 0 h 435078"/>
                <a:gd name="connsiteX3" fmla="*/ 27 w 435077"/>
                <a:gd name="connsiteY3" fmla="*/ 217539 h 435078"/>
                <a:gd name="connsiteX4" fmla="*/ 217565 w 435077"/>
                <a:gd name="connsiteY4" fmla="*/ 7 h 435078"/>
                <a:gd name="connsiteX5" fmla="*/ 435077 w 435077"/>
                <a:gd name="connsiteY5" fmla="*/ 217539 h 435078"/>
                <a:gd name="connsiteX6" fmla="*/ 217539 w 435077"/>
                <a:gd name="connsiteY6" fmla="*/ 435079 h 435078"/>
                <a:gd name="connsiteX7" fmla="*/ 0 w 435077"/>
                <a:gd name="connsiteY7" fmla="*/ 217539 h 435078"/>
                <a:gd name="connsiteX8" fmla="*/ 0 w 435077"/>
                <a:gd name="connsiteY8" fmla="*/ 435079 h 435078"/>
                <a:gd name="connsiteX9" fmla="*/ 217539 w 435077"/>
                <a:gd name="connsiteY9" fmla="*/ 435079 h 435078"/>
                <a:gd name="connsiteX10" fmla="*/ 435077 w 435077"/>
                <a:gd name="connsiteY10" fmla="*/ 435079 h 435078"/>
                <a:gd name="connsiteX11" fmla="*/ 435077 w 435077"/>
                <a:gd name="connsiteY11" fmla="*/ 217539 h 435078"/>
                <a:gd name="connsiteX12" fmla="*/ 435077 w 435077"/>
                <a:gd name="connsiteY12" fmla="*/ 0 h 435078"/>
                <a:gd name="connsiteX13" fmla="*/ 217565 w 435077"/>
                <a:gd name="connsiteY13"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8">
                  <a:moveTo>
                    <a:pt x="217565" y="0"/>
                  </a:moveTo>
                  <a:lnTo>
                    <a:pt x="217539" y="0"/>
                  </a:lnTo>
                  <a:lnTo>
                    <a:pt x="27" y="0"/>
                  </a:lnTo>
                  <a:lnTo>
                    <a:pt x="27" y="217539"/>
                  </a:lnTo>
                  <a:lnTo>
                    <a:pt x="217565" y="7"/>
                  </a:lnTo>
                  <a:lnTo>
                    <a:pt x="435077" y="217539"/>
                  </a:lnTo>
                  <a:lnTo>
                    <a:pt x="217539" y="435079"/>
                  </a:lnTo>
                  <a:lnTo>
                    <a:pt x="0" y="217539"/>
                  </a:lnTo>
                  <a:lnTo>
                    <a:pt x="0" y="435079"/>
                  </a:lnTo>
                  <a:lnTo>
                    <a:pt x="217539" y="435079"/>
                  </a:lnTo>
                  <a:lnTo>
                    <a:pt x="435077" y="435079"/>
                  </a:lnTo>
                  <a:lnTo>
                    <a:pt x="435077" y="217539"/>
                  </a:lnTo>
                  <a:lnTo>
                    <a:pt x="435077" y="0"/>
                  </a:lnTo>
                  <a:lnTo>
                    <a:pt x="217565" y="0"/>
                  </a:lnTo>
                  <a:close/>
                </a:path>
              </a:pathLst>
            </a:custGeom>
            <a:grpFill/>
            <a:ln w="27192" cap="flat">
              <a:noFill/>
              <a:prstDash val="solid"/>
              <a:miter/>
            </a:ln>
          </p:spPr>
          <p:txBody>
            <a:bodyPr rtlCol="0" anchor="ctr"/>
            <a:lstStyle/>
            <a:p>
              <a:endParaRPr lang="uk-UA" sz="900"/>
            </a:p>
          </p:txBody>
        </p:sp>
        <p:sp>
          <p:nvSpPr>
            <p:cNvPr id="489" name="Freeform: Shape 488">
              <a:extLst>
                <a:ext uri="{FF2B5EF4-FFF2-40B4-BE49-F238E27FC236}">
                  <a16:creationId xmlns:a16="http://schemas.microsoft.com/office/drawing/2014/main" id="{209C3DAC-39E3-5C3C-37B7-6FF10DC19D62}"/>
                </a:ext>
              </a:extLst>
            </p:cNvPr>
            <p:cNvSpPr/>
            <p:nvPr/>
          </p:nvSpPr>
          <p:spPr>
            <a:xfrm>
              <a:off x="15628536" y="228598"/>
              <a:ext cx="435077" cy="435075"/>
            </a:xfrm>
            <a:custGeom>
              <a:avLst/>
              <a:gdLst>
                <a:gd name="connsiteX0" fmla="*/ 217539 w 435077"/>
                <a:gd name="connsiteY0" fmla="*/ 217540 h 435075"/>
                <a:gd name="connsiteX1" fmla="*/ 217539 w 435077"/>
                <a:gd name="connsiteY1" fmla="*/ 217537 h 435075"/>
                <a:gd name="connsiteX2" fmla="*/ 0 w 435077"/>
                <a:gd name="connsiteY2" fmla="*/ 0 h 435075"/>
                <a:gd name="connsiteX3" fmla="*/ 217539 w 435077"/>
                <a:gd name="connsiteY3" fmla="*/ 0 h 435075"/>
                <a:gd name="connsiteX4" fmla="*/ 217539 w 435077"/>
                <a:gd name="connsiteY4" fmla="*/ 5 h 435075"/>
                <a:gd name="connsiteX5" fmla="*/ 435077 w 435077"/>
                <a:gd name="connsiteY5" fmla="*/ 217533 h 435075"/>
                <a:gd name="connsiteX6" fmla="*/ 435077 w 435077"/>
                <a:gd name="connsiteY6" fmla="*/ 217533 h 435075"/>
                <a:gd name="connsiteX7" fmla="*/ 435077 w 435077"/>
                <a:gd name="connsiteY7" fmla="*/ 217538 h 435075"/>
                <a:gd name="connsiteX8" fmla="*/ 435077 w 435077"/>
                <a:gd name="connsiteY8" fmla="*/ 217542 h 435075"/>
                <a:gd name="connsiteX9" fmla="*/ 435077 w 435077"/>
                <a:gd name="connsiteY9" fmla="*/ 217542 h 435075"/>
                <a:gd name="connsiteX10" fmla="*/ 217539 w 435077"/>
                <a:gd name="connsiteY10" fmla="*/ 435071 h 435075"/>
                <a:gd name="connsiteX11" fmla="*/ 217539 w 435077"/>
                <a:gd name="connsiteY11" fmla="*/ 435076 h 435075"/>
                <a:gd name="connsiteX12" fmla="*/ 0 w 435077"/>
                <a:gd name="connsiteY12" fmla="*/ 435076 h 435075"/>
                <a:gd name="connsiteX13" fmla="*/ 217539 w 435077"/>
                <a:gd name="connsiteY13" fmla="*/ 217540 h 43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5">
                  <a:moveTo>
                    <a:pt x="217539" y="217540"/>
                  </a:moveTo>
                  <a:lnTo>
                    <a:pt x="217539" y="217537"/>
                  </a:lnTo>
                  <a:lnTo>
                    <a:pt x="0" y="0"/>
                  </a:lnTo>
                  <a:lnTo>
                    <a:pt x="217539" y="0"/>
                  </a:lnTo>
                  <a:lnTo>
                    <a:pt x="217539" y="5"/>
                  </a:lnTo>
                  <a:lnTo>
                    <a:pt x="435077" y="217533"/>
                  </a:lnTo>
                  <a:lnTo>
                    <a:pt x="435077" y="217533"/>
                  </a:lnTo>
                  <a:lnTo>
                    <a:pt x="435077" y="217538"/>
                  </a:lnTo>
                  <a:lnTo>
                    <a:pt x="435077" y="217542"/>
                  </a:lnTo>
                  <a:lnTo>
                    <a:pt x="435077" y="217542"/>
                  </a:lnTo>
                  <a:lnTo>
                    <a:pt x="217539" y="435071"/>
                  </a:lnTo>
                  <a:lnTo>
                    <a:pt x="217539" y="435076"/>
                  </a:lnTo>
                  <a:lnTo>
                    <a:pt x="0" y="435076"/>
                  </a:lnTo>
                  <a:lnTo>
                    <a:pt x="217539" y="217540"/>
                  </a:lnTo>
                  <a:close/>
                </a:path>
              </a:pathLst>
            </a:custGeom>
            <a:grpFill/>
            <a:ln w="27192" cap="flat">
              <a:noFill/>
              <a:prstDash val="solid"/>
              <a:miter/>
            </a:ln>
          </p:spPr>
          <p:txBody>
            <a:bodyPr rtlCol="0" anchor="ctr"/>
            <a:lstStyle/>
            <a:p>
              <a:endParaRPr lang="uk-UA" sz="900"/>
            </a:p>
          </p:txBody>
        </p:sp>
        <p:sp>
          <p:nvSpPr>
            <p:cNvPr id="490" name="Freeform: Shape 489">
              <a:extLst>
                <a:ext uri="{FF2B5EF4-FFF2-40B4-BE49-F238E27FC236}">
                  <a16:creationId xmlns:a16="http://schemas.microsoft.com/office/drawing/2014/main" id="{83CEA7E7-BEF6-FB8B-79D6-074E18FA7757}"/>
                </a:ext>
              </a:extLst>
            </p:cNvPr>
            <p:cNvSpPr/>
            <p:nvPr/>
          </p:nvSpPr>
          <p:spPr>
            <a:xfrm>
              <a:off x="16498719" y="228598"/>
              <a:ext cx="435077" cy="435078"/>
            </a:xfrm>
            <a:custGeom>
              <a:avLst/>
              <a:gdLst>
                <a:gd name="connsiteX0" fmla="*/ 0 w 435077"/>
                <a:gd name="connsiteY0" fmla="*/ 435079 h 435078"/>
                <a:gd name="connsiteX1" fmla="*/ 217510 w 435077"/>
                <a:gd name="connsiteY1" fmla="*/ 435079 h 435078"/>
                <a:gd name="connsiteX2" fmla="*/ 217510 w 435077"/>
                <a:gd name="connsiteY2" fmla="*/ 217546 h 435078"/>
                <a:gd name="connsiteX3" fmla="*/ 0 w 435077"/>
                <a:gd name="connsiteY3" fmla="*/ 435079 h 435078"/>
                <a:gd name="connsiteX4" fmla="*/ 217510 w 435077"/>
                <a:gd name="connsiteY4" fmla="*/ 0 h 435078"/>
                <a:gd name="connsiteX5" fmla="*/ 0 w 435077"/>
                <a:gd name="connsiteY5" fmla="*/ 0 h 435078"/>
                <a:gd name="connsiteX6" fmla="*/ 217510 w 435077"/>
                <a:gd name="connsiteY6" fmla="*/ 217532 h 435078"/>
                <a:gd name="connsiteX7" fmla="*/ 217510 w 435077"/>
                <a:gd name="connsiteY7" fmla="*/ 0 h 435078"/>
                <a:gd name="connsiteX8" fmla="*/ 435077 w 435077"/>
                <a:gd name="connsiteY8" fmla="*/ 435079 h 435078"/>
                <a:gd name="connsiteX9" fmla="*/ 217539 w 435077"/>
                <a:gd name="connsiteY9" fmla="*/ 435079 h 435078"/>
                <a:gd name="connsiteX10" fmla="*/ 435077 w 435077"/>
                <a:gd name="connsiteY10" fmla="*/ 217546 h 435078"/>
                <a:gd name="connsiteX11" fmla="*/ 435077 w 435077"/>
                <a:gd name="connsiteY11" fmla="*/ 435079 h 435078"/>
                <a:gd name="connsiteX12" fmla="*/ 435077 w 435077"/>
                <a:gd name="connsiteY12" fmla="*/ 0 h 435078"/>
                <a:gd name="connsiteX13" fmla="*/ 217539 w 435077"/>
                <a:gd name="connsiteY13" fmla="*/ 0 h 435078"/>
                <a:gd name="connsiteX14" fmla="*/ 435077 w 435077"/>
                <a:gd name="connsiteY14" fmla="*/ 217532 h 435078"/>
                <a:gd name="connsiteX15" fmla="*/ 435077 w 435077"/>
                <a:gd name="connsiteY15"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8">
                  <a:moveTo>
                    <a:pt x="0" y="435079"/>
                  </a:moveTo>
                  <a:lnTo>
                    <a:pt x="217510" y="435079"/>
                  </a:lnTo>
                  <a:lnTo>
                    <a:pt x="217510" y="217546"/>
                  </a:lnTo>
                  <a:lnTo>
                    <a:pt x="0" y="435079"/>
                  </a:lnTo>
                  <a:close/>
                  <a:moveTo>
                    <a:pt x="217510" y="0"/>
                  </a:moveTo>
                  <a:lnTo>
                    <a:pt x="0" y="0"/>
                  </a:lnTo>
                  <a:lnTo>
                    <a:pt x="217510" y="217532"/>
                  </a:lnTo>
                  <a:lnTo>
                    <a:pt x="217510" y="0"/>
                  </a:lnTo>
                  <a:close/>
                  <a:moveTo>
                    <a:pt x="435077" y="435079"/>
                  </a:moveTo>
                  <a:lnTo>
                    <a:pt x="217539" y="435079"/>
                  </a:lnTo>
                  <a:lnTo>
                    <a:pt x="435077" y="217546"/>
                  </a:lnTo>
                  <a:lnTo>
                    <a:pt x="435077" y="435079"/>
                  </a:lnTo>
                  <a:close/>
                  <a:moveTo>
                    <a:pt x="435077" y="0"/>
                  </a:moveTo>
                  <a:lnTo>
                    <a:pt x="217539" y="0"/>
                  </a:lnTo>
                  <a:lnTo>
                    <a:pt x="435077" y="217532"/>
                  </a:lnTo>
                  <a:lnTo>
                    <a:pt x="435077" y="0"/>
                  </a:lnTo>
                  <a:close/>
                </a:path>
              </a:pathLst>
            </a:custGeom>
            <a:grpFill/>
            <a:ln w="27192" cap="flat">
              <a:noFill/>
              <a:prstDash val="solid"/>
              <a:miter/>
            </a:ln>
          </p:spPr>
          <p:txBody>
            <a:bodyPr rtlCol="0" anchor="ctr"/>
            <a:lstStyle/>
            <a:p>
              <a:endParaRPr lang="uk-UA" sz="900"/>
            </a:p>
          </p:txBody>
        </p:sp>
        <p:sp>
          <p:nvSpPr>
            <p:cNvPr id="491" name="Freeform: Shape 490">
              <a:extLst>
                <a:ext uri="{FF2B5EF4-FFF2-40B4-BE49-F238E27FC236}">
                  <a16:creationId xmlns:a16="http://schemas.microsoft.com/office/drawing/2014/main" id="{B6C15501-A2DD-D6FD-594D-2993D0898DC7}"/>
                </a:ext>
              </a:extLst>
            </p:cNvPr>
            <p:cNvSpPr/>
            <p:nvPr/>
          </p:nvSpPr>
          <p:spPr>
            <a:xfrm>
              <a:off x="18239029" y="228598"/>
              <a:ext cx="435077" cy="435073"/>
            </a:xfrm>
            <a:custGeom>
              <a:avLst/>
              <a:gdLst>
                <a:gd name="connsiteX0" fmla="*/ 371365 w 435077"/>
                <a:gd name="connsiteY0" fmla="*/ 63716 h 435073"/>
                <a:gd name="connsiteX1" fmla="*/ 435077 w 435077"/>
                <a:gd name="connsiteY1" fmla="*/ 217539 h 435073"/>
                <a:gd name="connsiteX2" fmla="*/ 218953 w 435077"/>
                <a:gd name="connsiteY2" fmla="*/ 217539 h 435073"/>
                <a:gd name="connsiteX3" fmla="*/ 371365 w 435077"/>
                <a:gd name="connsiteY3" fmla="*/ 281249 h 435073"/>
                <a:gd name="connsiteX4" fmla="*/ 435077 w 435077"/>
                <a:gd name="connsiteY4" fmla="*/ 435073 h 435073"/>
                <a:gd name="connsiteX5" fmla="*/ 217539 w 435077"/>
                <a:gd name="connsiteY5" fmla="*/ 435073 h 435073"/>
                <a:gd name="connsiteX6" fmla="*/ 0 w 435077"/>
                <a:gd name="connsiteY6" fmla="*/ 435073 h 435073"/>
                <a:gd name="connsiteX7" fmla="*/ 63710 w 435077"/>
                <a:gd name="connsiteY7" fmla="*/ 281249 h 435073"/>
                <a:gd name="connsiteX8" fmla="*/ 216151 w 435077"/>
                <a:gd name="connsiteY8" fmla="*/ 217539 h 435073"/>
                <a:gd name="connsiteX9" fmla="*/ 0 w 435077"/>
                <a:gd name="connsiteY9" fmla="*/ 217539 h 435073"/>
                <a:gd name="connsiteX10" fmla="*/ 63710 w 435077"/>
                <a:gd name="connsiteY10" fmla="*/ 63716 h 435073"/>
                <a:gd name="connsiteX11" fmla="*/ 217539 w 435077"/>
                <a:gd name="connsiteY11" fmla="*/ 0 h 435073"/>
                <a:gd name="connsiteX12" fmla="*/ 371365 w 435077"/>
                <a:gd name="connsiteY12" fmla="*/ 63716 h 43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3">
                  <a:moveTo>
                    <a:pt x="371365" y="63716"/>
                  </a:moveTo>
                  <a:cubicBezTo>
                    <a:pt x="412154" y="104512"/>
                    <a:pt x="435077" y="159844"/>
                    <a:pt x="435077" y="217539"/>
                  </a:cubicBezTo>
                  <a:lnTo>
                    <a:pt x="218953" y="217539"/>
                  </a:lnTo>
                  <a:cubicBezTo>
                    <a:pt x="276137" y="217907"/>
                    <a:pt x="330904" y="240784"/>
                    <a:pt x="371365" y="281249"/>
                  </a:cubicBezTo>
                  <a:cubicBezTo>
                    <a:pt x="412154" y="322046"/>
                    <a:pt x="435077" y="377379"/>
                    <a:pt x="435077" y="435073"/>
                  </a:cubicBezTo>
                  <a:lnTo>
                    <a:pt x="217539" y="435073"/>
                  </a:lnTo>
                  <a:lnTo>
                    <a:pt x="0" y="435073"/>
                  </a:lnTo>
                  <a:cubicBezTo>
                    <a:pt x="0" y="377379"/>
                    <a:pt x="22922" y="322046"/>
                    <a:pt x="63710" y="281249"/>
                  </a:cubicBezTo>
                  <a:cubicBezTo>
                    <a:pt x="104200" y="240784"/>
                    <a:pt x="158967" y="217907"/>
                    <a:pt x="216151" y="217539"/>
                  </a:cubicBezTo>
                  <a:lnTo>
                    <a:pt x="0" y="217539"/>
                  </a:lnTo>
                  <a:cubicBezTo>
                    <a:pt x="0" y="159844"/>
                    <a:pt x="22922" y="104512"/>
                    <a:pt x="63710" y="63716"/>
                  </a:cubicBezTo>
                  <a:cubicBezTo>
                    <a:pt x="104527" y="22919"/>
                    <a:pt x="159836" y="0"/>
                    <a:pt x="217539" y="0"/>
                  </a:cubicBezTo>
                  <a:cubicBezTo>
                    <a:pt x="275241" y="0"/>
                    <a:pt x="330577" y="22919"/>
                    <a:pt x="371365" y="63716"/>
                  </a:cubicBezTo>
                  <a:close/>
                </a:path>
              </a:pathLst>
            </a:custGeom>
            <a:grpFill/>
            <a:ln w="27192" cap="flat">
              <a:noFill/>
              <a:prstDash val="solid"/>
              <a:miter/>
            </a:ln>
          </p:spPr>
          <p:txBody>
            <a:bodyPr rtlCol="0" anchor="ctr"/>
            <a:lstStyle/>
            <a:p>
              <a:endParaRPr lang="uk-UA" sz="900"/>
            </a:p>
          </p:txBody>
        </p:sp>
        <p:sp>
          <p:nvSpPr>
            <p:cNvPr id="492" name="Freeform: Shape 491">
              <a:extLst>
                <a:ext uri="{FF2B5EF4-FFF2-40B4-BE49-F238E27FC236}">
                  <a16:creationId xmlns:a16="http://schemas.microsoft.com/office/drawing/2014/main" id="{F7742D2C-9D4D-1949-EC2D-E20F85B98E08}"/>
                </a:ext>
              </a:extLst>
            </p:cNvPr>
            <p:cNvSpPr/>
            <p:nvPr/>
          </p:nvSpPr>
          <p:spPr>
            <a:xfrm>
              <a:off x="17368874" y="228598"/>
              <a:ext cx="435077" cy="435078"/>
            </a:xfrm>
            <a:custGeom>
              <a:avLst/>
              <a:gdLst>
                <a:gd name="connsiteX0" fmla="*/ 217539 w 435077"/>
                <a:gd name="connsiteY0" fmla="*/ 0 h 435078"/>
                <a:gd name="connsiteX1" fmla="*/ 0 w 435077"/>
                <a:gd name="connsiteY1" fmla="*/ 0 h 435078"/>
                <a:gd name="connsiteX2" fmla="*/ 0 w 435077"/>
                <a:gd name="connsiteY2" fmla="*/ 217539 h 435078"/>
                <a:gd name="connsiteX3" fmla="*/ 217539 w 435077"/>
                <a:gd name="connsiteY3" fmla="*/ 0 h 435078"/>
                <a:gd name="connsiteX4" fmla="*/ 435077 w 435077"/>
                <a:gd name="connsiteY4" fmla="*/ 0 h 435078"/>
                <a:gd name="connsiteX5" fmla="*/ 435077 w 435077"/>
                <a:gd name="connsiteY5" fmla="*/ 217539 h 435078"/>
                <a:gd name="connsiteX6" fmla="*/ 217539 w 435077"/>
                <a:gd name="connsiteY6" fmla="*/ 0 h 435078"/>
                <a:gd name="connsiteX7" fmla="*/ 435077 w 435077"/>
                <a:gd name="connsiteY7" fmla="*/ 0 h 435078"/>
                <a:gd name="connsiteX8" fmla="*/ 217539 w 435077"/>
                <a:gd name="connsiteY8" fmla="*/ 435079 h 435078"/>
                <a:gd name="connsiteX9" fmla="*/ 435077 w 435077"/>
                <a:gd name="connsiteY9" fmla="*/ 217539 h 435078"/>
                <a:gd name="connsiteX10" fmla="*/ 435077 w 435077"/>
                <a:gd name="connsiteY10" fmla="*/ 435079 h 435078"/>
                <a:gd name="connsiteX11" fmla="*/ 217539 w 435077"/>
                <a:gd name="connsiteY11" fmla="*/ 435079 h 435078"/>
                <a:gd name="connsiteX12" fmla="*/ 217539 w 435077"/>
                <a:gd name="connsiteY12" fmla="*/ 435079 h 435078"/>
                <a:gd name="connsiteX13" fmla="*/ 0 w 435077"/>
                <a:gd name="connsiteY13" fmla="*/ 217539 h 435078"/>
                <a:gd name="connsiteX14" fmla="*/ 0 w 435077"/>
                <a:gd name="connsiteY14" fmla="*/ 435079 h 435078"/>
                <a:gd name="connsiteX15" fmla="*/ 217539 w 435077"/>
                <a:gd name="connsiteY15" fmla="*/ 435079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8">
                  <a:moveTo>
                    <a:pt x="217539" y="0"/>
                  </a:moveTo>
                  <a:lnTo>
                    <a:pt x="0" y="0"/>
                  </a:lnTo>
                  <a:lnTo>
                    <a:pt x="0" y="217539"/>
                  </a:lnTo>
                  <a:lnTo>
                    <a:pt x="217539" y="0"/>
                  </a:lnTo>
                  <a:close/>
                  <a:moveTo>
                    <a:pt x="435077" y="0"/>
                  </a:moveTo>
                  <a:lnTo>
                    <a:pt x="435077" y="217539"/>
                  </a:lnTo>
                  <a:lnTo>
                    <a:pt x="217539" y="0"/>
                  </a:lnTo>
                  <a:lnTo>
                    <a:pt x="435077" y="0"/>
                  </a:lnTo>
                  <a:close/>
                  <a:moveTo>
                    <a:pt x="217539" y="435079"/>
                  </a:moveTo>
                  <a:lnTo>
                    <a:pt x="435077" y="217539"/>
                  </a:lnTo>
                  <a:lnTo>
                    <a:pt x="435077" y="435079"/>
                  </a:lnTo>
                  <a:lnTo>
                    <a:pt x="217539" y="435079"/>
                  </a:lnTo>
                  <a:close/>
                  <a:moveTo>
                    <a:pt x="217539" y="435079"/>
                  </a:moveTo>
                  <a:lnTo>
                    <a:pt x="0" y="217539"/>
                  </a:lnTo>
                  <a:lnTo>
                    <a:pt x="0" y="435079"/>
                  </a:lnTo>
                  <a:lnTo>
                    <a:pt x="217539" y="435079"/>
                  </a:lnTo>
                  <a:close/>
                </a:path>
              </a:pathLst>
            </a:custGeom>
            <a:grpFill/>
            <a:ln w="27192" cap="flat">
              <a:noFill/>
              <a:prstDash val="solid"/>
              <a:miter/>
            </a:ln>
          </p:spPr>
          <p:txBody>
            <a:bodyPr rtlCol="0" anchor="ctr"/>
            <a:lstStyle/>
            <a:p>
              <a:endParaRPr lang="uk-UA" sz="900"/>
            </a:p>
          </p:txBody>
        </p:sp>
        <p:sp>
          <p:nvSpPr>
            <p:cNvPr id="493" name="Freeform: Shape 492">
              <a:extLst>
                <a:ext uri="{FF2B5EF4-FFF2-40B4-BE49-F238E27FC236}">
                  <a16:creationId xmlns:a16="http://schemas.microsoft.com/office/drawing/2014/main" id="{03D3A3F3-C335-2A06-37E9-01E138883CB6}"/>
                </a:ext>
              </a:extLst>
            </p:cNvPr>
            <p:cNvSpPr/>
            <p:nvPr/>
          </p:nvSpPr>
          <p:spPr>
            <a:xfrm>
              <a:off x="19109210" y="228598"/>
              <a:ext cx="435077" cy="435075"/>
            </a:xfrm>
            <a:custGeom>
              <a:avLst/>
              <a:gdLst>
                <a:gd name="connsiteX0" fmla="*/ 217539 w 435077"/>
                <a:gd name="connsiteY0" fmla="*/ 217533 h 435075"/>
                <a:gd name="connsiteX1" fmla="*/ 217539 w 435077"/>
                <a:gd name="connsiteY1" fmla="*/ 0 h 435075"/>
                <a:gd name="connsiteX2" fmla="*/ 0 w 435077"/>
                <a:gd name="connsiteY2" fmla="*/ 0 h 435075"/>
                <a:gd name="connsiteX3" fmla="*/ 217539 w 435077"/>
                <a:gd name="connsiteY3" fmla="*/ 217538 h 435075"/>
                <a:gd name="connsiteX4" fmla="*/ 0 w 435077"/>
                <a:gd name="connsiteY4" fmla="*/ 435076 h 435075"/>
                <a:gd name="connsiteX5" fmla="*/ 217539 w 435077"/>
                <a:gd name="connsiteY5" fmla="*/ 435076 h 435075"/>
                <a:gd name="connsiteX6" fmla="*/ 217539 w 435077"/>
                <a:gd name="connsiteY6" fmla="*/ 435071 h 435075"/>
                <a:gd name="connsiteX7" fmla="*/ 435051 w 435077"/>
                <a:gd name="connsiteY7" fmla="*/ 217542 h 435075"/>
                <a:gd name="connsiteX8" fmla="*/ 435077 w 435077"/>
                <a:gd name="connsiteY8" fmla="*/ 217542 h 435075"/>
                <a:gd name="connsiteX9" fmla="*/ 435051 w 435077"/>
                <a:gd name="connsiteY9" fmla="*/ 217537 h 435075"/>
                <a:gd name="connsiteX10" fmla="*/ 435077 w 435077"/>
                <a:gd name="connsiteY10" fmla="*/ 217533 h 435075"/>
                <a:gd name="connsiteX11" fmla="*/ 435051 w 435077"/>
                <a:gd name="connsiteY11" fmla="*/ 217533 h 435075"/>
                <a:gd name="connsiteX12" fmla="*/ 217539 w 435077"/>
                <a:gd name="connsiteY12" fmla="*/ 4 h 435075"/>
                <a:gd name="connsiteX13" fmla="*/ 217539 w 435077"/>
                <a:gd name="connsiteY13" fmla="*/ 217533 h 435075"/>
                <a:gd name="connsiteX14" fmla="*/ 217539 w 435077"/>
                <a:gd name="connsiteY14" fmla="*/ 217533 h 43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5">
                  <a:moveTo>
                    <a:pt x="217539" y="217533"/>
                  </a:moveTo>
                  <a:lnTo>
                    <a:pt x="217539" y="0"/>
                  </a:lnTo>
                  <a:lnTo>
                    <a:pt x="0" y="0"/>
                  </a:lnTo>
                  <a:lnTo>
                    <a:pt x="217539" y="217538"/>
                  </a:lnTo>
                  <a:lnTo>
                    <a:pt x="0" y="435076"/>
                  </a:lnTo>
                  <a:lnTo>
                    <a:pt x="217539" y="435076"/>
                  </a:lnTo>
                  <a:lnTo>
                    <a:pt x="217539" y="435071"/>
                  </a:lnTo>
                  <a:lnTo>
                    <a:pt x="435051" y="217542"/>
                  </a:lnTo>
                  <a:lnTo>
                    <a:pt x="435077" y="217542"/>
                  </a:lnTo>
                  <a:lnTo>
                    <a:pt x="435051" y="217537"/>
                  </a:lnTo>
                  <a:lnTo>
                    <a:pt x="435077" y="217533"/>
                  </a:lnTo>
                  <a:lnTo>
                    <a:pt x="435051" y="217533"/>
                  </a:lnTo>
                  <a:lnTo>
                    <a:pt x="217539" y="4"/>
                  </a:lnTo>
                  <a:lnTo>
                    <a:pt x="217539" y="217533"/>
                  </a:lnTo>
                  <a:lnTo>
                    <a:pt x="217539" y="217533"/>
                  </a:lnTo>
                  <a:close/>
                </a:path>
              </a:pathLst>
            </a:custGeom>
            <a:grpFill/>
            <a:ln w="27192" cap="flat">
              <a:noFill/>
              <a:prstDash val="solid"/>
              <a:miter/>
            </a:ln>
          </p:spPr>
          <p:txBody>
            <a:bodyPr rtlCol="0" anchor="ctr"/>
            <a:lstStyle/>
            <a:p>
              <a:endParaRPr lang="uk-UA" sz="900"/>
            </a:p>
          </p:txBody>
        </p:sp>
        <p:sp>
          <p:nvSpPr>
            <p:cNvPr id="494" name="Freeform: Shape 493">
              <a:extLst>
                <a:ext uri="{FF2B5EF4-FFF2-40B4-BE49-F238E27FC236}">
                  <a16:creationId xmlns:a16="http://schemas.microsoft.com/office/drawing/2014/main" id="{BC9CD344-5E2D-89E7-C768-C36BC0B5116F}"/>
                </a:ext>
              </a:extLst>
            </p:cNvPr>
            <p:cNvSpPr/>
            <p:nvPr/>
          </p:nvSpPr>
          <p:spPr>
            <a:xfrm>
              <a:off x="19979365" y="228598"/>
              <a:ext cx="435077" cy="435067"/>
            </a:xfrm>
            <a:custGeom>
              <a:avLst/>
              <a:gdLst>
                <a:gd name="connsiteX0" fmla="*/ 0 w 435077"/>
                <a:gd name="connsiteY0" fmla="*/ 435068 h 435067"/>
                <a:gd name="connsiteX1" fmla="*/ 217539 w 435077"/>
                <a:gd name="connsiteY1" fmla="*/ 435068 h 435067"/>
                <a:gd name="connsiteX2" fmla="*/ 217539 w 435077"/>
                <a:gd name="connsiteY2" fmla="*/ 217535 h 435067"/>
                <a:gd name="connsiteX3" fmla="*/ 0 w 435077"/>
                <a:gd name="connsiteY3" fmla="*/ 435068 h 435067"/>
                <a:gd name="connsiteX4" fmla="*/ 217539 w 435077"/>
                <a:gd name="connsiteY4" fmla="*/ 0 h 435067"/>
                <a:gd name="connsiteX5" fmla="*/ 0 w 435077"/>
                <a:gd name="connsiteY5" fmla="*/ 0 h 435067"/>
                <a:gd name="connsiteX6" fmla="*/ 217539 w 435077"/>
                <a:gd name="connsiteY6" fmla="*/ 217532 h 435067"/>
                <a:gd name="connsiteX7" fmla="*/ 217539 w 435077"/>
                <a:gd name="connsiteY7" fmla="*/ 0 h 435067"/>
                <a:gd name="connsiteX8" fmla="*/ 435077 w 435077"/>
                <a:gd name="connsiteY8" fmla="*/ 435068 h 435067"/>
                <a:gd name="connsiteX9" fmla="*/ 217539 w 435077"/>
                <a:gd name="connsiteY9" fmla="*/ 435068 h 435067"/>
                <a:gd name="connsiteX10" fmla="*/ 435077 w 435077"/>
                <a:gd name="connsiteY10" fmla="*/ 217535 h 435067"/>
                <a:gd name="connsiteX11" fmla="*/ 435077 w 435077"/>
                <a:gd name="connsiteY11" fmla="*/ 435068 h 435067"/>
                <a:gd name="connsiteX12" fmla="*/ 435077 w 435077"/>
                <a:gd name="connsiteY12" fmla="*/ 0 h 435067"/>
                <a:gd name="connsiteX13" fmla="*/ 217539 w 435077"/>
                <a:gd name="connsiteY13" fmla="*/ 0 h 435067"/>
                <a:gd name="connsiteX14" fmla="*/ 435077 w 435077"/>
                <a:gd name="connsiteY14" fmla="*/ 217532 h 435067"/>
                <a:gd name="connsiteX15" fmla="*/ 435077 w 435077"/>
                <a:gd name="connsiteY15" fmla="*/ 0 h 435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67">
                  <a:moveTo>
                    <a:pt x="0" y="435068"/>
                  </a:moveTo>
                  <a:lnTo>
                    <a:pt x="217539" y="435068"/>
                  </a:lnTo>
                  <a:lnTo>
                    <a:pt x="217539" y="217535"/>
                  </a:lnTo>
                  <a:lnTo>
                    <a:pt x="0" y="435068"/>
                  </a:lnTo>
                  <a:close/>
                  <a:moveTo>
                    <a:pt x="217539" y="0"/>
                  </a:moveTo>
                  <a:lnTo>
                    <a:pt x="0" y="0"/>
                  </a:lnTo>
                  <a:lnTo>
                    <a:pt x="217539" y="217532"/>
                  </a:lnTo>
                  <a:lnTo>
                    <a:pt x="217539" y="0"/>
                  </a:lnTo>
                  <a:close/>
                  <a:moveTo>
                    <a:pt x="435077" y="435068"/>
                  </a:moveTo>
                  <a:lnTo>
                    <a:pt x="217539" y="435068"/>
                  </a:lnTo>
                  <a:lnTo>
                    <a:pt x="435077" y="217535"/>
                  </a:lnTo>
                  <a:lnTo>
                    <a:pt x="435077" y="435068"/>
                  </a:lnTo>
                  <a:close/>
                  <a:moveTo>
                    <a:pt x="435077" y="0"/>
                  </a:moveTo>
                  <a:lnTo>
                    <a:pt x="217539" y="0"/>
                  </a:lnTo>
                  <a:lnTo>
                    <a:pt x="435077" y="217532"/>
                  </a:lnTo>
                  <a:lnTo>
                    <a:pt x="435077" y="0"/>
                  </a:lnTo>
                  <a:close/>
                </a:path>
              </a:pathLst>
            </a:custGeom>
            <a:grpFill/>
            <a:ln w="27192" cap="flat">
              <a:noFill/>
              <a:prstDash val="solid"/>
              <a:miter/>
            </a:ln>
          </p:spPr>
          <p:txBody>
            <a:bodyPr rtlCol="0" anchor="ctr"/>
            <a:lstStyle/>
            <a:p>
              <a:endParaRPr lang="uk-UA" sz="900"/>
            </a:p>
          </p:txBody>
        </p:sp>
        <p:sp>
          <p:nvSpPr>
            <p:cNvPr id="495" name="Freeform: Shape 494">
              <a:extLst>
                <a:ext uri="{FF2B5EF4-FFF2-40B4-BE49-F238E27FC236}">
                  <a16:creationId xmlns:a16="http://schemas.microsoft.com/office/drawing/2014/main" id="{DD51F0E1-5267-ADC4-D404-5A4CF2BBFE42}"/>
                </a:ext>
              </a:extLst>
            </p:cNvPr>
            <p:cNvSpPr/>
            <p:nvPr/>
          </p:nvSpPr>
          <p:spPr>
            <a:xfrm>
              <a:off x="21719702" y="228598"/>
              <a:ext cx="435077" cy="435073"/>
            </a:xfrm>
            <a:custGeom>
              <a:avLst/>
              <a:gdLst>
                <a:gd name="connsiteX0" fmla="*/ 371339 w 435077"/>
                <a:gd name="connsiteY0" fmla="*/ 63716 h 435073"/>
                <a:gd name="connsiteX1" fmla="*/ 435077 w 435077"/>
                <a:gd name="connsiteY1" fmla="*/ 217539 h 435073"/>
                <a:gd name="connsiteX2" fmla="*/ 218926 w 435077"/>
                <a:gd name="connsiteY2" fmla="*/ 217539 h 435073"/>
                <a:gd name="connsiteX3" fmla="*/ 371367 w 435077"/>
                <a:gd name="connsiteY3" fmla="*/ 281249 h 435073"/>
                <a:gd name="connsiteX4" fmla="*/ 435077 w 435077"/>
                <a:gd name="connsiteY4" fmla="*/ 435073 h 435073"/>
                <a:gd name="connsiteX5" fmla="*/ 217539 w 435077"/>
                <a:gd name="connsiteY5" fmla="*/ 435073 h 435073"/>
                <a:gd name="connsiteX6" fmla="*/ 0 w 435077"/>
                <a:gd name="connsiteY6" fmla="*/ 435073 h 435073"/>
                <a:gd name="connsiteX7" fmla="*/ 63712 w 435077"/>
                <a:gd name="connsiteY7" fmla="*/ 281249 h 435073"/>
                <a:gd name="connsiteX8" fmla="*/ 216125 w 435077"/>
                <a:gd name="connsiteY8" fmla="*/ 217539 h 435073"/>
                <a:gd name="connsiteX9" fmla="*/ 0 w 435077"/>
                <a:gd name="connsiteY9" fmla="*/ 217539 h 435073"/>
                <a:gd name="connsiteX10" fmla="*/ 63712 w 435077"/>
                <a:gd name="connsiteY10" fmla="*/ 63716 h 435073"/>
                <a:gd name="connsiteX11" fmla="*/ 217539 w 435077"/>
                <a:gd name="connsiteY11" fmla="*/ 0 h 435073"/>
                <a:gd name="connsiteX12" fmla="*/ 371339 w 435077"/>
                <a:gd name="connsiteY12" fmla="*/ 63716 h 43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3">
                  <a:moveTo>
                    <a:pt x="371339" y="63716"/>
                  </a:moveTo>
                  <a:cubicBezTo>
                    <a:pt x="412155" y="104512"/>
                    <a:pt x="435077" y="159844"/>
                    <a:pt x="435077" y="217539"/>
                  </a:cubicBezTo>
                  <a:lnTo>
                    <a:pt x="218926" y="217539"/>
                  </a:lnTo>
                  <a:cubicBezTo>
                    <a:pt x="276112" y="217907"/>
                    <a:pt x="330877" y="240784"/>
                    <a:pt x="371367" y="281249"/>
                  </a:cubicBezTo>
                  <a:cubicBezTo>
                    <a:pt x="412155" y="322046"/>
                    <a:pt x="435077" y="377379"/>
                    <a:pt x="435077" y="435073"/>
                  </a:cubicBezTo>
                  <a:lnTo>
                    <a:pt x="217539" y="435073"/>
                  </a:lnTo>
                  <a:lnTo>
                    <a:pt x="0" y="435073"/>
                  </a:lnTo>
                  <a:cubicBezTo>
                    <a:pt x="0" y="377379"/>
                    <a:pt x="22924" y="322046"/>
                    <a:pt x="63712" y="281249"/>
                  </a:cubicBezTo>
                  <a:cubicBezTo>
                    <a:pt x="104175" y="240784"/>
                    <a:pt x="158940" y="217907"/>
                    <a:pt x="216125" y="217539"/>
                  </a:cubicBezTo>
                  <a:lnTo>
                    <a:pt x="0" y="217539"/>
                  </a:lnTo>
                  <a:cubicBezTo>
                    <a:pt x="0" y="159844"/>
                    <a:pt x="22897" y="104512"/>
                    <a:pt x="63712" y="63716"/>
                  </a:cubicBezTo>
                  <a:cubicBezTo>
                    <a:pt x="104501" y="22919"/>
                    <a:pt x="159838" y="0"/>
                    <a:pt x="217539" y="0"/>
                  </a:cubicBezTo>
                  <a:cubicBezTo>
                    <a:pt x="275215" y="0"/>
                    <a:pt x="330550" y="22919"/>
                    <a:pt x="371339" y="63716"/>
                  </a:cubicBezTo>
                  <a:close/>
                </a:path>
              </a:pathLst>
            </a:custGeom>
            <a:grpFill/>
            <a:ln w="27192" cap="flat">
              <a:noFill/>
              <a:prstDash val="solid"/>
              <a:miter/>
            </a:ln>
          </p:spPr>
          <p:txBody>
            <a:bodyPr rtlCol="0" anchor="ctr"/>
            <a:lstStyle/>
            <a:p>
              <a:endParaRPr lang="uk-UA" sz="900"/>
            </a:p>
          </p:txBody>
        </p:sp>
        <p:sp>
          <p:nvSpPr>
            <p:cNvPr id="496" name="Freeform: Shape 495">
              <a:extLst>
                <a:ext uri="{FF2B5EF4-FFF2-40B4-BE49-F238E27FC236}">
                  <a16:creationId xmlns:a16="http://schemas.microsoft.com/office/drawing/2014/main" id="{B3D8B661-04DC-44F6-C38F-309611F3BABB}"/>
                </a:ext>
              </a:extLst>
            </p:cNvPr>
            <p:cNvSpPr/>
            <p:nvPr/>
          </p:nvSpPr>
          <p:spPr>
            <a:xfrm>
              <a:off x="20849520" y="228598"/>
              <a:ext cx="435103" cy="435078"/>
            </a:xfrm>
            <a:custGeom>
              <a:avLst/>
              <a:gdLst>
                <a:gd name="connsiteX0" fmla="*/ 217539 w 435103"/>
                <a:gd name="connsiteY0" fmla="*/ 0 h 435078"/>
                <a:gd name="connsiteX1" fmla="*/ 0 w 435103"/>
                <a:gd name="connsiteY1" fmla="*/ 0 h 435078"/>
                <a:gd name="connsiteX2" fmla="*/ 0 w 435103"/>
                <a:gd name="connsiteY2" fmla="*/ 217539 h 435078"/>
                <a:gd name="connsiteX3" fmla="*/ 217539 w 435103"/>
                <a:gd name="connsiteY3" fmla="*/ 0 h 435078"/>
                <a:gd name="connsiteX4" fmla="*/ 435104 w 435103"/>
                <a:gd name="connsiteY4" fmla="*/ 0 h 435078"/>
                <a:gd name="connsiteX5" fmla="*/ 435104 w 435103"/>
                <a:gd name="connsiteY5" fmla="*/ 217539 h 435078"/>
                <a:gd name="connsiteX6" fmla="*/ 217565 w 435103"/>
                <a:gd name="connsiteY6" fmla="*/ 0 h 435078"/>
                <a:gd name="connsiteX7" fmla="*/ 435104 w 435103"/>
                <a:gd name="connsiteY7" fmla="*/ 0 h 435078"/>
                <a:gd name="connsiteX8" fmla="*/ 217565 w 435103"/>
                <a:gd name="connsiteY8" fmla="*/ 435079 h 435078"/>
                <a:gd name="connsiteX9" fmla="*/ 435104 w 435103"/>
                <a:gd name="connsiteY9" fmla="*/ 217539 h 435078"/>
                <a:gd name="connsiteX10" fmla="*/ 435104 w 435103"/>
                <a:gd name="connsiteY10" fmla="*/ 435079 h 435078"/>
                <a:gd name="connsiteX11" fmla="*/ 217565 w 435103"/>
                <a:gd name="connsiteY11" fmla="*/ 435079 h 435078"/>
                <a:gd name="connsiteX12" fmla="*/ 217565 w 435103"/>
                <a:gd name="connsiteY12" fmla="*/ 435079 h 435078"/>
                <a:gd name="connsiteX13" fmla="*/ 27 w 435103"/>
                <a:gd name="connsiteY13" fmla="*/ 217539 h 435078"/>
                <a:gd name="connsiteX14" fmla="*/ 27 w 435103"/>
                <a:gd name="connsiteY14" fmla="*/ 435079 h 435078"/>
                <a:gd name="connsiteX15" fmla="*/ 217565 w 435103"/>
                <a:gd name="connsiteY15" fmla="*/ 435079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3" h="435078">
                  <a:moveTo>
                    <a:pt x="217539" y="0"/>
                  </a:moveTo>
                  <a:lnTo>
                    <a:pt x="0" y="0"/>
                  </a:lnTo>
                  <a:lnTo>
                    <a:pt x="0" y="217539"/>
                  </a:lnTo>
                  <a:lnTo>
                    <a:pt x="217539" y="0"/>
                  </a:lnTo>
                  <a:close/>
                  <a:moveTo>
                    <a:pt x="435104" y="0"/>
                  </a:moveTo>
                  <a:lnTo>
                    <a:pt x="435104" y="217539"/>
                  </a:lnTo>
                  <a:lnTo>
                    <a:pt x="217565" y="0"/>
                  </a:lnTo>
                  <a:lnTo>
                    <a:pt x="435104" y="0"/>
                  </a:lnTo>
                  <a:close/>
                  <a:moveTo>
                    <a:pt x="217565" y="435079"/>
                  </a:moveTo>
                  <a:lnTo>
                    <a:pt x="435104" y="217539"/>
                  </a:lnTo>
                  <a:lnTo>
                    <a:pt x="435104" y="435079"/>
                  </a:lnTo>
                  <a:lnTo>
                    <a:pt x="217565" y="435079"/>
                  </a:lnTo>
                  <a:close/>
                  <a:moveTo>
                    <a:pt x="217565" y="435079"/>
                  </a:moveTo>
                  <a:lnTo>
                    <a:pt x="27" y="217539"/>
                  </a:lnTo>
                  <a:lnTo>
                    <a:pt x="27" y="435079"/>
                  </a:lnTo>
                  <a:lnTo>
                    <a:pt x="217565" y="435079"/>
                  </a:lnTo>
                  <a:close/>
                </a:path>
              </a:pathLst>
            </a:custGeom>
            <a:grpFill/>
            <a:ln w="27192" cap="flat">
              <a:noFill/>
              <a:prstDash val="solid"/>
              <a:miter/>
            </a:ln>
          </p:spPr>
          <p:txBody>
            <a:bodyPr rtlCol="0" anchor="ctr"/>
            <a:lstStyle/>
            <a:p>
              <a:endParaRPr lang="uk-UA" sz="900"/>
            </a:p>
          </p:txBody>
        </p:sp>
        <p:sp>
          <p:nvSpPr>
            <p:cNvPr id="497" name="Freeform: Shape 496">
              <a:extLst>
                <a:ext uri="{FF2B5EF4-FFF2-40B4-BE49-F238E27FC236}">
                  <a16:creationId xmlns:a16="http://schemas.microsoft.com/office/drawing/2014/main" id="{1E5CAA48-3A93-F987-7247-84A433689DB4}"/>
                </a:ext>
              </a:extLst>
            </p:cNvPr>
            <p:cNvSpPr/>
            <p:nvPr/>
          </p:nvSpPr>
          <p:spPr>
            <a:xfrm>
              <a:off x="22589856" y="228598"/>
              <a:ext cx="435077" cy="435075"/>
            </a:xfrm>
            <a:custGeom>
              <a:avLst/>
              <a:gdLst>
                <a:gd name="connsiteX0" fmla="*/ 217539 w 435077"/>
                <a:gd name="connsiteY0" fmla="*/ 217533 h 435075"/>
                <a:gd name="connsiteX1" fmla="*/ 217539 w 435077"/>
                <a:gd name="connsiteY1" fmla="*/ 0 h 435075"/>
                <a:gd name="connsiteX2" fmla="*/ 0 w 435077"/>
                <a:gd name="connsiteY2" fmla="*/ 0 h 435075"/>
                <a:gd name="connsiteX3" fmla="*/ 217539 w 435077"/>
                <a:gd name="connsiteY3" fmla="*/ 217538 h 435075"/>
                <a:gd name="connsiteX4" fmla="*/ 0 w 435077"/>
                <a:gd name="connsiteY4" fmla="*/ 435076 h 435075"/>
                <a:gd name="connsiteX5" fmla="*/ 217539 w 435077"/>
                <a:gd name="connsiteY5" fmla="*/ 435076 h 435075"/>
                <a:gd name="connsiteX6" fmla="*/ 217539 w 435077"/>
                <a:gd name="connsiteY6" fmla="*/ 435071 h 435075"/>
                <a:gd name="connsiteX7" fmla="*/ 435077 w 435077"/>
                <a:gd name="connsiteY7" fmla="*/ 217542 h 435075"/>
                <a:gd name="connsiteX8" fmla="*/ 435077 w 435077"/>
                <a:gd name="connsiteY8" fmla="*/ 217542 h 435075"/>
                <a:gd name="connsiteX9" fmla="*/ 435077 w 435077"/>
                <a:gd name="connsiteY9" fmla="*/ 217537 h 435075"/>
                <a:gd name="connsiteX10" fmla="*/ 435077 w 435077"/>
                <a:gd name="connsiteY10" fmla="*/ 217533 h 435075"/>
                <a:gd name="connsiteX11" fmla="*/ 435077 w 435077"/>
                <a:gd name="connsiteY11" fmla="*/ 217533 h 435075"/>
                <a:gd name="connsiteX12" fmla="*/ 217539 w 435077"/>
                <a:gd name="connsiteY12" fmla="*/ 4 h 435075"/>
                <a:gd name="connsiteX13" fmla="*/ 217539 w 435077"/>
                <a:gd name="connsiteY13" fmla="*/ 217533 h 435075"/>
                <a:gd name="connsiteX14" fmla="*/ 217539 w 435077"/>
                <a:gd name="connsiteY14" fmla="*/ 217533 h 43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5">
                  <a:moveTo>
                    <a:pt x="217539" y="217533"/>
                  </a:moveTo>
                  <a:lnTo>
                    <a:pt x="217539" y="0"/>
                  </a:lnTo>
                  <a:lnTo>
                    <a:pt x="0" y="0"/>
                  </a:lnTo>
                  <a:lnTo>
                    <a:pt x="217539" y="217538"/>
                  </a:lnTo>
                  <a:lnTo>
                    <a:pt x="0" y="435076"/>
                  </a:lnTo>
                  <a:lnTo>
                    <a:pt x="217539" y="435076"/>
                  </a:lnTo>
                  <a:lnTo>
                    <a:pt x="217539" y="435071"/>
                  </a:lnTo>
                  <a:lnTo>
                    <a:pt x="435077" y="217542"/>
                  </a:lnTo>
                  <a:lnTo>
                    <a:pt x="435077" y="217542"/>
                  </a:lnTo>
                  <a:lnTo>
                    <a:pt x="435077" y="217537"/>
                  </a:lnTo>
                  <a:lnTo>
                    <a:pt x="435077" y="217533"/>
                  </a:lnTo>
                  <a:lnTo>
                    <a:pt x="435077" y="217533"/>
                  </a:lnTo>
                  <a:lnTo>
                    <a:pt x="217539" y="4"/>
                  </a:lnTo>
                  <a:lnTo>
                    <a:pt x="217539" y="217533"/>
                  </a:lnTo>
                  <a:lnTo>
                    <a:pt x="217539" y="217533"/>
                  </a:lnTo>
                  <a:close/>
                </a:path>
              </a:pathLst>
            </a:custGeom>
            <a:grpFill/>
            <a:ln w="27192" cap="flat">
              <a:noFill/>
              <a:prstDash val="solid"/>
              <a:miter/>
            </a:ln>
          </p:spPr>
          <p:txBody>
            <a:bodyPr rtlCol="0" anchor="ctr"/>
            <a:lstStyle/>
            <a:p>
              <a:endParaRPr lang="uk-UA" sz="900"/>
            </a:p>
          </p:txBody>
        </p:sp>
        <p:sp>
          <p:nvSpPr>
            <p:cNvPr id="498" name="Freeform: Shape 497">
              <a:extLst>
                <a:ext uri="{FF2B5EF4-FFF2-40B4-BE49-F238E27FC236}">
                  <a16:creationId xmlns:a16="http://schemas.microsoft.com/office/drawing/2014/main" id="{9FDC5016-73AB-9AE1-3401-39A8381621DD}"/>
                </a:ext>
              </a:extLst>
            </p:cNvPr>
            <p:cNvSpPr/>
            <p:nvPr/>
          </p:nvSpPr>
          <p:spPr>
            <a:xfrm>
              <a:off x="23460039" y="228598"/>
              <a:ext cx="435077" cy="435067"/>
            </a:xfrm>
            <a:custGeom>
              <a:avLst/>
              <a:gdLst>
                <a:gd name="connsiteX0" fmla="*/ 0 w 435077"/>
                <a:gd name="connsiteY0" fmla="*/ 435065 h 435067"/>
                <a:gd name="connsiteX1" fmla="*/ 217510 w 435077"/>
                <a:gd name="connsiteY1" fmla="*/ 435068 h 435067"/>
                <a:gd name="connsiteX2" fmla="*/ 217510 w 435077"/>
                <a:gd name="connsiteY2" fmla="*/ 217535 h 435067"/>
                <a:gd name="connsiteX3" fmla="*/ 0 w 435077"/>
                <a:gd name="connsiteY3" fmla="*/ 435065 h 435067"/>
                <a:gd name="connsiteX4" fmla="*/ 217539 w 435077"/>
                <a:gd name="connsiteY4" fmla="*/ 0 h 435067"/>
                <a:gd name="connsiteX5" fmla="*/ 0 w 435077"/>
                <a:gd name="connsiteY5" fmla="*/ 0 h 435067"/>
                <a:gd name="connsiteX6" fmla="*/ 217539 w 435077"/>
                <a:gd name="connsiteY6" fmla="*/ 217532 h 435067"/>
                <a:gd name="connsiteX7" fmla="*/ 217539 w 435077"/>
                <a:gd name="connsiteY7" fmla="*/ 0 h 435067"/>
                <a:gd name="connsiteX8" fmla="*/ 435077 w 435077"/>
                <a:gd name="connsiteY8" fmla="*/ 435068 h 435067"/>
                <a:gd name="connsiteX9" fmla="*/ 217539 w 435077"/>
                <a:gd name="connsiteY9" fmla="*/ 435068 h 435067"/>
                <a:gd name="connsiteX10" fmla="*/ 435077 w 435077"/>
                <a:gd name="connsiteY10" fmla="*/ 217535 h 435067"/>
                <a:gd name="connsiteX11" fmla="*/ 435077 w 435077"/>
                <a:gd name="connsiteY11" fmla="*/ 435068 h 435067"/>
                <a:gd name="connsiteX12" fmla="*/ 435077 w 435077"/>
                <a:gd name="connsiteY12" fmla="*/ 0 h 435067"/>
                <a:gd name="connsiteX13" fmla="*/ 217539 w 435077"/>
                <a:gd name="connsiteY13" fmla="*/ 0 h 435067"/>
                <a:gd name="connsiteX14" fmla="*/ 435077 w 435077"/>
                <a:gd name="connsiteY14" fmla="*/ 217532 h 435067"/>
                <a:gd name="connsiteX15" fmla="*/ 435077 w 435077"/>
                <a:gd name="connsiteY15" fmla="*/ 0 h 435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67">
                  <a:moveTo>
                    <a:pt x="0" y="435065"/>
                  </a:moveTo>
                  <a:lnTo>
                    <a:pt x="217510" y="435068"/>
                  </a:lnTo>
                  <a:lnTo>
                    <a:pt x="217510" y="217535"/>
                  </a:lnTo>
                  <a:lnTo>
                    <a:pt x="0" y="435065"/>
                  </a:lnTo>
                  <a:close/>
                  <a:moveTo>
                    <a:pt x="217539" y="0"/>
                  </a:moveTo>
                  <a:lnTo>
                    <a:pt x="0" y="0"/>
                  </a:lnTo>
                  <a:lnTo>
                    <a:pt x="217539" y="217532"/>
                  </a:lnTo>
                  <a:lnTo>
                    <a:pt x="217539" y="0"/>
                  </a:lnTo>
                  <a:close/>
                  <a:moveTo>
                    <a:pt x="435077" y="435068"/>
                  </a:moveTo>
                  <a:lnTo>
                    <a:pt x="217539" y="435068"/>
                  </a:lnTo>
                  <a:lnTo>
                    <a:pt x="435077" y="217535"/>
                  </a:lnTo>
                  <a:lnTo>
                    <a:pt x="435077" y="435068"/>
                  </a:lnTo>
                  <a:close/>
                  <a:moveTo>
                    <a:pt x="435077" y="0"/>
                  </a:moveTo>
                  <a:lnTo>
                    <a:pt x="217539" y="0"/>
                  </a:lnTo>
                  <a:lnTo>
                    <a:pt x="435077" y="217532"/>
                  </a:lnTo>
                  <a:lnTo>
                    <a:pt x="435077" y="0"/>
                  </a:lnTo>
                  <a:close/>
                </a:path>
              </a:pathLst>
            </a:custGeom>
            <a:grpFill/>
            <a:ln w="27192" cap="flat">
              <a:noFill/>
              <a:prstDash val="solid"/>
              <a:miter/>
            </a:ln>
          </p:spPr>
          <p:txBody>
            <a:bodyPr rtlCol="0" anchor="ctr"/>
            <a:lstStyle/>
            <a:p>
              <a:endParaRPr lang="uk-UA" sz="900"/>
            </a:p>
          </p:txBody>
        </p:sp>
        <p:sp>
          <p:nvSpPr>
            <p:cNvPr id="499" name="Freeform: Shape 498">
              <a:extLst>
                <a:ext uri="{FF2B5EF4-FFF2-40B4-BE49-F238E27FC236}">
                  <a16:creationId xmlns:a16="http://schemas.microsoft.com/office/drawing/2014/main" id="{3E69F44C-FEE2-BB63-F7F6-FA8D5EA30886}"/>
                </a:ext>
              </a:extLst>
            </p:cNvPr>
            <p:cNvSpPr/>
            <p:nvPr/>
          </p:nvSpPr>
          <p:spPr>
            <a:xfrm>
              <a:off x="24330194" y="228598"/>
              <a:ext cx="435077" cy="435078"/>
            </a:xfrm>
            <a:custGeom>
              <a:avLst/>
              <a:gdLst>
                <a:gd name="connsiteX0" fmla="*/ 217539 w 435077"/>
                <a:gd name="connsiteY0" fmla="*/ 0 h 435078"/>
                <a:gd name="connsiteX1" fmla="*/ 0 w 435077"/>
                <a:gd name="connsiteY1" fmla="*/ 0 h 435078"/>
                <a:gd name="connsiteX2" fmla="*/ 0 w 435077"/>
                <a:gd name="connsiteY2" fmla="*/ 217539 h 435078"/>
                <a:gd name="connsiteX3" fmla="*/ 0 w 435077"/>
                <a:gd name="connsiteY3" fmla="*/ 435079 h 435078"/>
                <a:gd name="connsiteX4" fmla="*/ 217539 w 435077"/>
                <a:gd name="connsiteY4" fmla="*/ 435079 h 435078"/>
                <a:gd name="connsiteX5" fmla="*/ 435077 w 435077"/>
                <a:gd name="connsiteY5" fmla="*/ 435079 h 435078"/>
                <a:gd name="connsiteX6" fmla="*/ 435077 w 435077"/>
                <a:gd name="connsiteY6" fmla="*/ 217539 h 435078"/>
                <a:gd name="connsiteX7" fmla="*/ 435077 w 435077"/>
                <a:gd name="connsiteY7" fmla="*/ 0 h 435078"/>
                <a:gd name="connsiteX8" fmla="*/ 217539 w 435077"/>
                <a:gd name="connsiteY8" fmla="*/ 0 h 435078"/>
                <a:gd name="connsiteX9" fmla="*/ 217539 w 435077"/>
                <a:gd name="connsiteY9" fmla="*/ 0 h 435078"/>
                <a:gd name="connsiteX10" fmla="*/ 435077 w 435077"/>
                <a:gd name="connsiteY10" fmla="*/ 217539 h 435078"/>
                <a:gd name="connsiteX11" fmla="*/ 217539 w 435077"/>
                <a:gd name="connsiteY11" fmla="*/ 435079 h 435078"/>
                <a:gd name="connsiteX12" fmla="*/ 0 w 435077"/>
                <a:gd name="connsiteY12" fmla="*/ 217539 h 435078"/>
                <a:gd name="connsiteX13" fmla="*/ 217539 w 435077"/>
                <a:gd name="connsiteY13"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8">
                  <a:moveTo>
                    <a:pt x="217539" y="0"/>
                  </a:moveTo>
                  <a:lnTo>
                    <a:pt x="0" y="0"/>
                  </a:lnTo>
                  <a:lnTo>
                    <a:pt x="0" y="217539"/>
                  </a:lnTo>
                  <a:lnTo>
                    <a:pt x="0" y="435079"/>
                  </a:lnTo>
                  <a:lnTo>
                    <a:pt x="217539" y="435079"/>
                  </a:lnTo>
                  <a:lnTo>
                    <a:pt x="435077" y="435079"/>
                  </a:lnTo>
                  <a:lnTo>
                    <a:pt x="435077" y="217539"/>
                  </a:lnTo>
                  <a:lnTo>
                    <a:pt x="435077" y="0"/>
                  </a:lnTo>
                  <a:lnTo>
                    <a:pt x="217539" y="0"/>
                  </a:lnTo>
                  <a:close/>
                  <a:moveTo>
                    <a:pt x="217539" y="0"/>
                  </a:moveTo>
                  <a:lnTo>
                    <a:pt x="435077" y="217539"/>
                  </a:lnTo>
                  <a:lnTo>
                    <a:pt x="217539" y="435079"/>
                  </a:lnTo>
                  <a:lnTo>
                    <a:pt x="0" y="217539"/>
                  </a:lnTo>
                  <a:lnTo>
                    <a:pt x="217539" y="0"/>
                  </a:lnTo>
                  <a:close/>
                </a:path>
              </a:pathLst>
            </a:custGeom>
            <a:grpFill/>
            <a:ln w="27192" cap="flat">
              <a:noFill/>
              <a:prstDash val="solid"/>
              <a:miter/>
            </a:ln>
          </p:spPr>
          <p:txBody>
            <a:bodyPr rtlCol="0" anchor="ctr"/>
            <a:lstStyle/>
            <a:p>
              <a:endParaRPr lang="uk-UA" sz="900"/>
            </a:p>
          </p:txBody>
        </p:sp>
        <p:sp>
          <p:nvSpPr>
            <p:cNvPr id="500" name="Freeform: Shape 499">
              <a:extLst>
                <a:ext uri="{FF2B5EF4-FFF2-40B4-BE49-F238E27FC236}">
                  <a16:creationId xmlns:a16="http://schemas.microsoft.com/office/drawing/2014/main" id="{EB5E416E-EC8C-B047-4137-AD1AD0B19FEF}"/>
                </a:ext>
              </a:extLst>
            </p:cNvPr>
            <p:cNvSpPr/>
            <p:nvPr/>
          </p:nvSpPr>
          <p:spPr>
            <a:xfrm>
              <a:off x="835769" y="1098754"/>
              <a:ext cx="435077" cy="435077"/>
            </a:xfrm>
            <a:custGeom>
              <a:avLst/>
              <a:gdLst>
                <a:gd name="connsiteX0" fmla="*/ 63711 w 435077"/>
                <a:gd name="connsiteY0" fmla="*/ 153824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4 h 435077"/>
                <a:gd name="connsiteX5" fmla="*/ 217539 w 435077"/>
                <a:gd name="connsiteY5" fmla="*/ 217539 h 435077"/>
                <a:gd name="connsiteX6" fmla="*/ 63711 w 435077"/>
                <a:gd name="connsiteY6" fmla="*/ 153824 h 435077"/>
                <a:gd name="connsiteX7" fmla="*/ 63711 w 435077"/>
                <a:gd name="connsiteY7" fmla="*/ 281256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6 h 435077"/>
                <a:gd name="connsiteX12" fmla="*/ 217539 w 435077"/>
                <a:gd name="connsiteY12" fmla="*/ 217539 h 435077"/>
                <a:gd name="connsiteX13" fmla="*/ 63711 w 435077"/>
                <a:gd name="connsiteY13" fmla="*/ 281256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1" y="153824"/>
                  </a:moveTo>
                  <a:cubicBezTo>
                    <a:pt x="22923" y="113028"/>
                    <a:pt x="0" y="57697"/>
                    <a:pt x="0" y="0"/>
                  </a:cubicBezTo>
                  <a:lnTo>
                    <a:pt x="217539" y="0"/>
                  </a:lnTo>
                  <a:lnTo>
                    <a:pt x="435077" y="0"/>
                  </a:lnTo>
                  <a:cubicBezTo>
                    <a:pt x="435077" y="57697"/>
                    <a:pt x="412154" y="113028"/>
                    <a:pt x="371366" y="153824"/>
                  </a:cubicBezTo>
                  <a:cubicBezTo>
                    <a:pt x="330550" y="194621"/>
                    <a:pt x="275213" y="217539"/>
                    <a:pt x="217539" y="217539"/>
                  </a:cubicBezTo>
                  <a:cubicBezTo>
                    <a:pt x="159836" y="217539"/>
                    <a:pt x="104500" y="194621"/>
                    <a:pt x="63711" y="153824"/>
                  </a:cubicBezTo>
                  <a:close/>
                  <a:moveTo>
                    <a:pt x="63711" y="281256"/>
                  </a:moveTo>
                  <a:cubicBezTo>
                    <a:pt x="22923" y="322052"/>
                    <a:pt x="0" y="377383"/>
                    <a:pt x="0" y="435077"/>
                  </a:cubicBezTo>
                  <a:lnTo>
                    <a:pt x="217539" y="435077"/>
                  </a:lnTo>
                  <a:lnTo>
                    <a:pt x="435077" y="435077"/>
                  </a:lnTo>
                  <a:cubicBezTo>
                    <a:pt x="435077" y="377383"/>
                    <a:pt x="412154" y="322052"/>
                    <a:pt x="371366" y="281256"/>
                  </a:cubicBezTo>
                  <a:cubicBezTo>
                    <a:pt x="330550" y="240459"/>
                    <a:pt x="275213" y="217539"/>
                    <a:pt x="217539" y="217539"/>
                  </a:cubicBezTo>
                  <a:cubicBezTo>
                    <a:pt x="159836" y="217539"/>
                    <a:pt x="104500" y="240459"/>
                    <a:pt x="63711" y="281256"/>
                  </a:cubicBezTo>
                  <a:close/>
                </a:path>
              </a:pathLst>
            </a:custGeom>
            <a:grpFill/>
            <a:ln w="27192" cap="flat">
              <a:noFill/>
              <a:prstDash val="solid"/>
              <a:miter/>
            </a:ln>
          </p:spPr>
          <p:txBody>
            <a:bodyPr rtlCol="0" anchor="ctr"/>
            <a:lstStyle/>
            <a:p>
              <a:endParaRPr lang="uk-UA" sz="900"/>
            </a:p>
          </p:txBody>
        </p:sp>
        <p:sp>
          <p:nvSpPr>
            <p:cNvPr id="501" name="Freeform: Shape 500">
              <a:extLst>
                <a:ext uri="{FF2B5EF4-FFF2-40B4-BE49-F238E27FC236}">
                  <a16:creationId xmlns:a16="http://schemas.microsoft.com/office/drawing/2014/main" id="{0E16334E-E103-4800-8FEB-A4402044DCD0}"/>
                </a:ext>
              </a:extLst>
            </p:cNvPr>
            <p:cNvSpPr/>
            <p:nvPr/>
          </p:nvSpPr>
          <p:spPr>
            <a:xfrm>
              <a:off x="-34398" y="1098754"/>
              <a:ext cx="435063" cy="435077"/>
            </a:xfrm>
            <a:custGeom>
              <a:avLst/>
              <a:gdLst>
                <a:gd name="connsiteX0" fmla="*/ 435064 w 435063"/>
                <a:gd name="connsiteY0" fmla="*/ 435077 h 435077"/>
                <a:gd name="connsiteX1" fmla="*/ 435064 w 435063"/>
                <a:gd name="connsiteY1" fmla="*/ 0 h 435077"/>
                <a:gd name="connsiteX2" fmla="*/ 217552 w 435063"/>
                <a:gd name="connsiteY2" fmla="*/ 217544 h 435077"/>
                <a:gd name="connsiteX3" fmla="*/ 435064 w 435063"/>
                <a:gd name="connsiteY3" fmla="*/ 435077 h 435077"/>
                <a:gd name="connsiteX4" fmla="*/ 0 w 435063"/>
                <a:gd name="connsiteY4" fmla="*/ 435077 h 435077"/>
                <a:gd name="connsiteX5" fmla="*/ 0 w 435063"/>
                <a:gd name="connsiteY5" fmla="*/ 3 h 435077"/>
                <a:gd name="connsiteX6" fmla="*/ 217525 w 435063"/>
                <a:gd name="connsiteY6" fmla="*/ 217544 h 435077"/>
                <a:gd name="connsiteX7" fmla="*/ 0 w 435063"/>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63" h="435077">
                  <a:moveTo>
                    <a:pt x="435064" y="435077"/>
                  </a:moveTo>
                  <a:lnTo>
                    <a:pt x="435064" y="0"/>
                  </a:lnTo>
                  <a:lnTo>
                    <a:pt x="217552" y="217544"/>
                  </a:lnTo>
                  <a:lnTo>
                    <a:pt x="435064" y="435077"/>
                  </a:lnTo>
                  <a:close/>
                  <a:moveTo>
                    <a:pt x="0" y="435077"/>
                  </a:moveTo>
                  <a:lnTo>
                    <a:pt x="0" y="3"/>
                  </a:lnTo>
                  <a:lnTo>
                    <a:pt x="217525" y="217544"/>
                  </a:lnTo>
                  <a:lnTo>
                    <a:pt x="0" y="435077"/>
                  </a:lnTo>
                  <a:close/>
                </a:path>
              </a:pathLst>
            </a:custGeom>
            <a:grpFill/>
            <a:ln w="27192" cap="flat">
              <a:noFill/>
              <a:prstDash val="solid"/>
              <a:miter/>
            </a:ln>
          </p:spPr>
          <p:txBody>
            <a:bodyPr rtlCol="0" anchor="ctr"/>
            <a:lstStyle/>
            <a:p>
              <a:endParaRPr lang="uk-UA" sz="900"/>
            </a:p>
          </p:txBody>
        </p:sp>
        <p:sp>
          <p:nvSpPr>
            <p:cNvPr id="502" name="Freeform: Shape 501">
              <a:extLst>
                <a:ext uri="{FF2B5EF4-FFF2-40B4-BE49-F238E27FC236}">
                  <a16:creationId xmlns:a16="http://schemas.microsoft.com/office/drawing/2014/main" id="{A1BD153B-AF39-33CD-6AE5-A85D411C4354}"/>
                </a:ext>
              </a:extLst>
            </p:cNvPr>
            <p:cNvSpPr/>
            <p:nvPr/>
          </p:nvSpPr>
          <p:spPr>
            <a:xfrm>
              <a:off x="1705924" y="1098754"/>
              <a:ext cx="435077" cy="435077"/>
            </a:xfrm>
            <a:custGeom>
              <a:avLst/>
              <a:gdLst>
                <a:gd name="connsiteX0" fmla="*/ 435077 w 435077"/>
                <a:gd name="connsiteY0" fmla="*/ 435077 h 435077"/>
                <a:gd name="connsiteX1" fmla="*/ 435077 w 435077"/>
                <a:gd name="connsiteY1" fmla="*/ 217547 h 435077"/>
                <a:gd name="connsiteX2" fmla="*/ 435077 w 435077"/>
                <a:gd name="connsiteY2" fmla="*/ 16 h 435077"/>
                <a:gd name="connsiteX3" fmla="*/ 217566 w 435077"/>
                <a:gd name="connsiteY3" fmla="*/ 16 h 435077"/>
                <a:gd name="connsiteX4" fmla="*/ 435077 w 435077"/>
                <a:gd name="connsiteY4" fmla="*/ 217547 h 435077"/>
                <a:gd name="connsiteX5" fmla="*/ 217566 w 435077"/>
                <a:gd name="connsiteY5" fmla="*/ 435077 h 435077"/>
                <a:gd name="connsiteX6" fmla="*/ 435077 w 435077"/>
                <a:gd name="connsiteY6" fmla="*/ 435077 h 435077"/>
                <a:gd name="connsiteX7" fmla="*/ 0 w 435077"/>
                <a:gd name="connsiteY7" fmla="*/ 217531 h 435077"/>
                <a:gd name="connsiteX8" fmla="*/ 0 w 435077"/>
                <a:gd name="connsiteY8" fmla="*/ 0 h 435077"/>
                <a:gd name="connsiteX9" fmla="*/ 217539 w 435077"/>
                <a:gd name="connsiteY9" fmla="*/ 217531 h 435077"/>
                <a:gd name="connsiteX10" fmla="*/ 0 w 435077"/>
                <a:gd name="connsiteY10" fmla="*/ 217531 h 435077"/>
                <a:gd name="connsiteX11" fmla="*/ 0 w 435077"/>
                <a:gd name="connsiteY11" fmla="*/ 435072 h 435077"/>
                <a:gd name="connsiteX12" fmla="*/ 0 w 435077"/>
                <a:gd name="connsiteY12" fmla="*/ 217541 h 435077"/>
                <a:gd name="connsiteX13" fmla="*/ 217539 w 435077"/>
                <a:gd name="connsiteY13" fmla="*/ 217541 h 435077"/>
                <a:gd name="connsiteX14" fmla="*/ 0 w 435077"/>
                <a:gd name="connsiteY14" fmla="*/ 43507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47"/>
                  </a:lnTo>
                  <a:lnTo>
                    <a:pt x="435077" y="16"/>
                  </a:lnTo>
                  <a:lnTo>
                    <a:pt x="217566" y="16"/>
                  </a:lnTo>
                  <a:lnTo>
                    <a:pt x="435077" y="217547"/>
                  </a:lnTo>
                  <a:lnTo>
                    <a:pt x="217566" y="435077"/>
                  </a:lnTo>
                  <a:lnTo>
                    <a:pt x="435077" y="435077"/>
                  </a:lnTo>
                  <a:close/>
                  <a:moveTo>
                    <a:pt x="0" y="217531"/>
                  </a:moveTo>
                  <a:lnTo>
                    <a:pt x="0" y="0"/>
                  </a:lnTo>
                  <a:lnTo>
                    <a:pt x="217539" y="217531"/>
                  </a:lnTo>
                  <a:lnTo>
                    <a:pt x="0" y="217531"/>
                  </a:lnTo>
                  <a:close/>
                  <a:moveTo>
                    <a:pt x="0" y="435072"/>
                  </a:moveTo>
                  <a:lnTo>
                    <a:pt x="0" y="217541"/>
                  </a:lnTo>
                  <a:lnTo>
                    <a:pt x="217539" y="217541"/>
                  </a:lnTo>
                  <a:lnTo>
                    <a:pt x="0" y="435072"/>
                  </a:lnTo>
                  <a:close/>
                </a:path>
              </a:pathLst>
            </a:custGeom>
            <a:grpFill/>
            <a:ln w="27192" cap="flat">
              <a:noFill/>
              <a:prstDash val="solid"/>
              <a:miter/>
            </a:ln>
          </p:spPr>
          <p:txBody>
            <a:bodyPr rtlCol="0" anchor="ctr"/>
            <a:lstStyle/>
            <a:p>
              <a:endParaRPr lang="uk-UA" sz="900"/>
            </a:p>
          </p:txBody>
        </p:sp>
        <p:sp>
          <p:nvSpPr>
            <p:cNvPr id="503" name="Freeform: Shape 502">
              <a:extLst>
                <a:ext uri="{FF2B5EF4-FFF2-40B4-BE49-F238E27FC236}">
                  <a16:creationId xmlns:a16="http://schemas.microsoft.com/office/drawing/2014/main" id="{67CC1FB2-9598-B2D8-012F-CB27A74D0AF6}"/>
                </a:ext>
              </a:extLst>
            </p:cNvPr>
            <p:cNvSpPr/>
            <p:nvPr/>
          </p:nvSpPr>
          <p:spPr>
            <a:xfrm>
              <a:off x="2576106" y="1098754"/>
              <a:ext cx="435077" cy="435077"/>
            </a:xfrm>
            <a:custGeom>
              <a:avLst/>
              <a:gdLst>
                <a:gd name="connsiteX0" fmla="*/ 217539 w 435077"/>
                <a:gd name="connsiteY0" fmla="*/ 435069 h 435077"/>
                <a:gd name="connsiteX1" fmla="*/ 217539 w 435077"/>
                <a:gd name="connsiteY1" fmla="*/ 0 h 435077"/>
                <a:gd name="connsiteX2" fmla="*/ 435077 w 435077"/>
                <a:gd name="connsiteY2" fmla="*/ 217541 h 435077"/>
                <a:gd name="connsiteX3" fmla="*/ 217539 w 435077"/>
                <a:gd name="connsiteY3" fmla="*/ 435069 h 435077"/>
                <a:gd name="connsiteX4" fmla="*/ 0 w 435077"/>
                <a:gd name="connsiteY4" fmla="*/ 435077 h 435077"/>
                <a:gd name="connsiteX5" fmla="*/ 0 w 435077"/>
                <a:gd name="connsiteY5" fmla="*/ 8 h 435077"/>
                <a:gd name="connsiteX6" fmla="*/ 217512 w 435077"/>
                <a:gd name="connsiteY6" fmla="*/ 217547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69"/>
                  </a:moveTo>
                  <a:lnTo>
                    <a:pt x="217539" y="0"/>
                  </a:lnTo>
                  <a:lnTo>
                    <a:pt x="435077" y="217541"/>
                  </a:lnTo>
                  <a:lnTo>
                    <a:pt x="217539" y="435069"/>
                  </a:lnTo>
                  <a:close/>
                  <a:moveTo>
                    <a:pt x="0" y="435077"/>
                  </a:moveTo>
                  <a:lnTo>
                    <a:pt x="0" y="8"/>
                  </a:lnTo>
                  <a:lnTo>
                    <a:pt x="217512" y="217547"/>
                  </a:lnTo>
                  <a:lnTo>
                    <a:pt x="0" y="435077"/>
                  </a:lnTo>
                  <a:close/>
                </a:path>
              </a:pathLst>
            </a:custGeom>
            <a:grpFill/>
            <a:ln w="27192" cap="flat">
              <a:noFill/>
              <a:prstDash val="solid"/>
              <a:miter/>
            </a:ln>
          </p:spPr>
          <p:txBody>
            <a:bodyPr rtlCol="0" anchor="ctr"/>
            <a:lstStyle/>
            <a:p>
              <a:endParaRPr lang="uk-UA" sz="900"/>
            </a:p>
          </p:txBody>
        </p:sp>
        <p:sp>
          <p:nvSpPr>
            <p:cNvPr id="504" name="Freeform: Shape 503">
              <a:extLst>
                <a:ext uri="{FF2B5EF4-FFF2-40B4-BE49-F238E27FC236}">
                  <a16:creationId xmlns:a16="http://schemas.microsoft.com/office/drawing/2014/main" id="{261203A5-9A78-46AF-1766-358548BCBD46}"/>
                </a:ext>
              </a:extLst>
            </p:cNvPr>
            <p:cNvSpPr/>
            <p:nvPr/>
          </p:nvSpPr>
          <p:spPr>
            <a:xfrm>
              <a:off x="4316416" y="1098754"/>
              <a:ext cx="435077" cy="435077"/>
            </a:xfrm>
            <a:custGeom>
              <a:avLst/>
              <a:gdLst>
                <a:gd name="connsiteX0" fmla="*/ 63739 w 435077"/>
                <a:gd name="connsiteY0" fmla="*/ 153824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4 h 435077"/>
                <a:gd name="connsiteX5" fmla="*/ 217539 w 435077"/>
                <a:gd name="connsiteY5" fmla="*/ 217539 h 435077"/>
                <a:gd name="connsiteX6" fmla="*/ 63739 w 435077"/>
                <a:gd name="connsiteY6" fmla="*/ 153824 h 435077"/>
                <a:gd name="connsiteX7" fmla="*/ 63739 w 435077"/>
                <a:gd name="connsiteY7" fmla="*/ 281256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6 h 435077"/>
                <a:gd name="connsiteX12" fmla="*/ 217539 w 435077"/>
                <a:gd name="connsiteY12" fmla="*/ 217539 h 435077"/>
                <a:gd name="connsiteX13" fmla="*/ 63739 w 435077"/>
                <a:gd name="connsiteY13" fmla="*/ 281256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4"/>
                  </a:moveTo>
                  <a:cubicBezTo>
                    <a:pt x="22923" y="113028"/>
                    <a:pt x="0" y="57697"/>
                    <a:pt x="0" y="0"/>
                  </a:cubicBezTo>
                  <a:lnTo>
                    <a:pt x="217539" y="0"/>
                  </a:lnTo>
                  <a:lnTo>
                    <a:pt x="435077" y="0"/>
                  </a:lnTo>
                  <a:cubicBezTo>
                    <a:pt x="435077" y="57697"/>
                    <a:pt x="412181" y="113028"/>
                    <a:pt x="371365" y="153824"/>
                  </a:cubicBezTo>
                  <a:cubicBezTo>
                    <a:pt x="330577" y="194621"/>
                    <a:pt x="275240" y="217539"/>
                    <a:pt x="217539" y="217539"/>
                  </a:cubicBezTo>
                  <a:cubicBezTo>
                    <a:pt x="159864" y="217539"/>
                    <a:pt x="104527" y="194621"/>
                    <a:pt x="63739" y="153824"/>
                  </a:cubicBezTo>
                  <a:close/>
                  <a:moveTo>
                    <a:pt x="63739" y="281256"/>
                  </a:moveTo>
                  <a:cubicBezTo>
                    <a:pt x="22923" y="322052"/>
                    <a:pt x="0" y="377383"/>
                    <a:pt x="0" y="435077"/>
                  </a:cubicBezTo>
                  <a:lnTo>
                    <a:pt x="217539" y="435077"/>
                  </a:lnTo>
                  <a:lnTo>
                    <a:pt x="435077" y="435077"/>
                  </a:lnTo>
                  <a:cubicBezTo>
                    <a:pt x="435077" y="377383"/>
                    <a:pt x="412181" y="322052"/>
                    <a:pt x="371365" y="281256"/>
                  </a:cubicBezTo>
                  <a:cubicBezTo>
                    <a:pt x="330577" y="240459"/>
                    <a:pt x="275240" y="217539"/>
                    <a:pt x="217539" y="217539"/>
                  </a:cubicBezTo>
                  <a:cubicBezTo>
                    <a:pt x="159864" y="217539"/>
                    <a:pt x="104527" y="240459"/>
                    <a:pt x="63739" y="281256"/>
                  </a:cubicBezTo>
                  <a:close/>
                </a:path>
              </a:pathLst>
            </a:custGeom>
            <a:grpFill/>
            <a:ln w="27192" cap="flat">
              <a:noFill/>
              <a:prstDash val="solid"/>
              <a:miter/>
            </a:ln>
          </p:spPr>
          <p:txBody>
            <a:bodyPr rtlCol="0" anchor="ctr"/>
            <a:lstStyle/>
            <a:p>
              <a:endParaRPr lang="uk-UA" sz="900"/>
            </a:p>
          </p:txBody>
        </p:sp>
        <p:sp>
          <p:nvSpPr>
            <p:cNvPr id="505" name="Freeform: Shape 504">
              <a:extLst>
                <a:ext uri="{FF2B5EF4-FFF2-40B4-BE49-F238E27FC236}">
                  <a16:creationId xmlns:a16="http://schemas.microsoft.com/office/drawing/2014/main" id="{D95F8299-C7E8-E6EF-7CF8-6A598D0262B1}"/>
                </a:ext>
              </a:extLst>
            </p:cNvPr>
            <p:cNvSpPr/>
            <p:nvPr/>
          </p:nvSpPr>
          <p:spPr>
            <a:xfrm>
              <a:off x="3446261" y="1098754"/>
              <a:ext cx="435077" cy="435077"/>
            </a:xfrm>
            <a:custGeom>
              <a:avLst/>
              <a:gdLst>
                <a:gd name="connsiteX0" fmla="*/ 435077 w 435077"/>
                <a:gd name="connsiteY0" fmla="*/ 435077 h 435077"/>
                <a:gd name="connsiteX1" fmla="*/ 435077 w 435077"/>
                <a:gd name="connsiteY1" fmla="*/ 0 h 435077"/>
                <a:gd name="connsiteX2" fmla="*/ 217566 w 435077"/>
                <a:gd name="connsiteY2" fmla="*/ 217544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44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6" y="217544"/>
                  </a:lnTo>
                  <a:lnTo>
                    <a:pt x="435077" y="435077"/>
                  </a:lnTo>
                  <a:close/>
                  <a:moveTo>
                    <a:pt x="0" y="435077"/>
                  </a:moveTo>
                  <a:lnTo>
                    <a:pt x="0" y="3"/>
                  </a:lnTo>
                  <a:lnTo>
                    <a:pt x="217539" y="217544"/>
                  </a:lnTo>
                  <a:lnTo>
                    <a:pt x="0" y="435077"/>
                  </a:lnTo>
                  <a:close/>
                </a:path>
              </a:pathLst>
            </a:custGeom>
            <a:grpFill/>
            <a:ln w="27192" cap="flat">
              <a:noFill/>
              <a:prstDash val="solid"/>
              <a:miter/>
            </a:ln>
          </p:spPr>
          <p:txBody>
            <a:bodyPr rtlCol="0" anchor="ctr"/>
            <a:lstStyle/>
            <a:p>
              <a:endParaRPr lang="uk-UA" sz="900"/>
            </a:p>
          </p:txBody>
        </p:sp>
        <p:sp>
          <p:nvSpPr>
            <p:cNvPr id="506" name="Freeform: Shape 505">
              <a:extLst>
                <a:ext uri="{FF2B5EF4-FFF2-40B4-BE49-F238E27FC236}">
                  <a16:creationId xmlns:a16="http://schemas.microsoft.com/office/drawing/2014/main" id="{C39F323B-2923-58D0-B9B6-534633326738}"/>
                </a:ext>
              </a:extLst>
            </p:cNvPr>
            <p:cNvSpPr/>
            <p:nvPr/>
          </p:nvSpPr>
          <p:spPr>
            <a:xfrm>
              <a:off x="5186597" y="1098754"/>
              <a:ext cx="435077" cy="435077"/>
            </a:xfrm>
            <a:custGeom>
              <a:avLst/>
              <a:gdLst>
                <a:gd name="connsiteX0" fmla="*/ 435077 w 435077"/>
                <a:gd name="connsiteY0" fmla="*/ 435077 h 435077"/>
                <a:gd name="connsiteX1" fmla="*/ 435077 w 435077"/>
                <a:gd name="connsiteY1" fmla="*/ 217547 h 435077"/>
                <a:gd name="connsiteX2" fmla="*/ 435077 w 435077"/>
                <a:gd name="connsiteY2" fmla="*/ 16 h 435077"/>
                <a:gd name="connsiteX3" fmla="*/ 217539 w 435077"/>
                <a:gd name="connsiteY3" fmla="*/ 16 h 435077"/>
                <a:gd name="connsiteX4" fmla="*/ 435077 w 435077"/>
                <a:gd name="connsiteY4" fmla="*/ 217547 h 435077"/>
                <a:gd name="connsiteX5" fmla="*/ 217539 w 435077"/>
                <a:gd name="connsiteY5" fmla="*/ 435077 h 435077"/>
                <a:gd name="connsiteX6" fmla="*/ 435077 w 435077"/>
                <a:gd name="connsiteY6" fmla="*/ 435077 h 435077"/>
                <a:gd name="connsiteX7" fmla="*/ 0 w 435077"/>
                <a:gd name="connsiteY7" fmla="*/ 217531 h 435077"/>
                <a:gd name="connsiteX8" fmla="*/ 0 w 435077"/>
                <a:gd name="connsiteY8" fmla="*/ 0 h 435077"/>
                <a:gd name="connsiteX9" fmla="*/ 217512 w 435077"/>
                <a:gd name="connsiteY9" fmla="*/ 217531 h 435077"/>
                <a:gd name="connsiteX10" fmla="*/ 0 w 435077"/>
                <a:gd name="connsiteY10" fmla="*/ 217531 h 435077"/>
                <a:gd name="connsiteX11" fmla="*/ 0 w 435077"/>
                <a:gd name="connsiteY11" fmla="*/ 435072 h 435077"/>
                <a:gd name="connsiteX12" fmla="*/ 0 w 435077"/>
                <a:gd name="connsiteY12" fmla="*/ 217541 h 435077"/>
                <a:gd name="connsiteX13" fmla="*/ 217512 w 435077"/>
                <a:gd name="connsiteY13" fmla="*/ 217541 h 435077"/>
                <a:gd name="connsiteX14" fmla="*/ 0 w 435077"/>
                <a:gd name="connsiteY14" fmla="*/ 43507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47"/>
                  </a:lnTo>
                  <a:lnTo>
                    <a:pt x="435077" y="16"/>
                  </a:lnTo>
                  <a:lnTo>
                    <a:pt x="217539" y="16"/>
                  </a:lnTo>
                  <a:lnTo>
                    <a:pt x="435077" y="217547"/>
                  </a:lnTo>
                  <a:lnTo>
                    <a:pt x="217539" y="435077"/>
                  </a:lnTo>
                  <a:lnTo>
                    <a:pt x="435077" y="435077"/>
                  </a:lnTo>
                  <a:close/>
                  <a:moveTo>
                    <a:pt x="0" y="217531"/>
                  </a:moveTo>
                  <a:lnTo>
                    <a:pt x="0" y="0"/>
                  </a:lnTo>
                  <a:lnTo>
                    <a:pt x="217512" y="217531"/>
                  </a:lnTo>
                  <a:lnTo>
                    <a:pt x="0" y="217531"/>
                  </a:lnTo>
                  <a:close/>
                  <a:moveTo>
                    <a:pt x="0" y="435072"/>
                  </a:moveTo>
                  <a:lnTo>
                    <a:pt x="0" y="217541"/>
                  </a:lnTo>
                  <a:lnTo>
                    <a:pt x="217512" y="217541"/>
                  </a:lnTo>
                  <a:lnTo>
                    <a:pt x="0" y="435072"/>
                  </a:lnTo>
                  <a:close/>
                </a:path>
              </a:pathLst>
            </a:custGeom>
            <a:grpFill/>
            <a:ln w="27192" cap="flat">
              <a:noFill/>
              <a:prstDash val="solid"/>
              <a:miter/>
            </a:ln>
          </p:spPr>
          <p:txBody>
            <a:bodyPr rtlCol="0" anchor="ctr"/>
            <a:lstStyle/>
            <a:p>
              <a:endParaRPr lang="uk-UA" sz="900"/>
            </a:p>
          </p:txBody>
        </p:sp>
        <p:sp>
          <p:nvSpPr>
            <p:cNvPr id="507" name="Freeform: Shape 506">
              <a:extLst>
                <a:ext uri="{FF2B5EF4-FFF2-40B4-BE49-F238E27FC236}">
                  <a16:creationId xmlns:a16="http://schemas.microsoft.com/office/drawing/2014/main" id="{DF74C273-5A93-FBFA-2D2F-EF8F7D3A2C2F}"/>
                </a:ext>
              </a:extLst>
            </p:cNvPr>
            <p:cNvSpPr/>
            <p:nvPr/>
          </p:nvSpPr>
          <p:spPr>
            <a:xfrm>
              <a:off x="6056752" y="1098754"/>
              <a:ext cx="435077" cy="435077"/>
            </a:xfrm>
            <a:custGeom>
              <a:avLst/>
              <a:gdLst>
                <a:gd name="connsiteX0" fmla="*/ 217539 w 435077"/>
                <a:gd name="connsiteY0" fmla="*/ 435069 h 435077"/>
                <a:gd name="connsiteX1" fmla="*/ 217539 w 435077"/>
                <a:gd name="connsiteY1" fmla="*/ 0 h 435077"/>
                <a:gd name="connsiteX2" fmla="*/ 435077 w 435077"/>
                <a:gd name="connsiteY2" fmla="*/ 217541 h 435077"/>
                <a:gd name="connsiteX3" fmla="*/ 217539 w 435077"/>
                <a:gd name="connsiteY3" fmla="*/ 435069 h 435077"/>
                <a:gd name="connsiteX4" fmla="*/ 0 w 435077"/>
                <a:gd name="connsiteY4" fmla="*/ 435077 h 435077"/>
                <a:gd name="connsiteX5" fmla="*/ 0 w 435077"/>
                <a:gd name="connsiteY5" fmla="*/ 8 h 435077"/>
                <a:gd name="connsiteX6" fmla="*/ 217539 w 435077"/>
                <a:gd name="connsiteY6" fmla="*/ 217547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69"/>
                  </a:moveTo>
                  <a:lnTo>
                    <a:pt x="217539" y="0"/>
                  </a:lnTo>
                  <a:lnTo>
                    <a:pt x="435077" y="217541"/>
                  </a:lnTo>
                  <a:lnTo>
                    <a:pt x="217539" y="435069"/>
                  </a:lnTo>
                  <a:close/>
                  <a:moveTo>
                    <a:pt x="0" y="435077"/>
                  </a:moveTo>
                  <a:lnTo>
                    <a:pt x="0" y="8"/>
                  </a:lnTo>
                  <a:lnTo>
                    <a:pt x="217539" y="217547"/>
                  </a:lnTo>
                  <a:lnTo>
                    <a:pt x="0" y="435077"/>
                  </a:lnTo>
                  <a:close/>
                </a:path>
              </a:pathLst>
            </a:custGeom>
            <a:grpFill/>
            <a:ln w="27192" cap="flat">
              <a:noFill/>
              <a:prstDash val="solid"/>
              <a:miter/>
            </a:ln>
          </p:spPr>
          <p:txBody>
            <a:bodyPr rtlCol="0" anchor="ctr"/>
            <a:lstStyle/>
            <a:p>
              <a:endParaRPr lang="uk-UA" sz="900"/>
            </a:p>
          </p:txBody>
        </p:sp>
        <p:sp>
          <p:nvSpPr>
            <p:cNvPr id="508" name="Freeform: Shape 507">
              <a:extLst>
                <a:ext uri="{FF2B5EF4-FFF2-40B4-BE49-F238E27FC236}">
                  <a16:creationId xmlns:a16="http://schemas.microsoft.com/office/drawing/2014/main" id="{D2A740CE-AC57-92E3-6BD5-2CA355739CF1}"/>
                </a:ext>
              </a:extLst>
            </p:cNvPr>
            <p:cNvSpPr/>
            <p:nvPr/>
          </p:nvSpPr>
          <p:spPr>
            <a:xfrm>
              <a:off x="7797062" y="1098754"/>
              <a:ext cx="435077" cy="435077"/>
            </a:xfrm>
            <a:custGeom>
              <a:avLst/>
              <a:gdLst>
                <a:gd name="connsiteX0" fmla="*/ 63739 w 435077"/>
                <a:gd name="connsiteY0" fmla="*/ 153824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4 h 435077"/>
                <a:gd name="connsiteX5" fmla="*/ 217539 w 435077"/>
                <a:gd name="connsiteY5" fmla="*/ 217539 h 435077"/>
                <a:gd name="connsiteX6" fmla="*/ 63739 w 435077"/>
                <a:gd name="connsiteY6" fmla="*/ 153824 h 435077"/>
                <a:gd name="connsiteX7" fmla="*/ 63739 w 435077"/>
                <a:gd name="connsiteY7" fmla="*/ 281256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6 h 435077"/>
                <a:gd name="connsiteX12" fmla="*/ 217539 w 435077"/>
                <a:gd name="connsiteY12" fmla="*/ 217539 h 435077"/>
                <a:gd name="connsiteX13" fmla="*/ 63739 w 435077"/>
                <a:gd name="connsiteY13" fmla="*/ 281256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4"/>
                  </a:moveTo>
                  <a:cubicBezTo>
                    <a:pt x="22924" y="113028"/>
                    <a:pt x="0" y="57697"/>
                    <a:pt x="0" y="0"/>
                  </a:cubicBezTo>
                  <a:lnTo>
                    <a:pt x="217539" y="0"/>
                  </a:lnTo>
                  <a:lnTo>
                    <a:pt x="435077" y="0"/>
                  </a:lnTo>
                  <a:cubicBezTo>
                    <a:pt x="435077" y="57697"/>
                    <a:pt x="412182" y="113028"/>
                    <a:pt x="371366" y="153824"/>
                  </a:cubicBezTo>
                  <a:cubicBezTo>
                    <a:pt x="330578" y="194621"/>
                    <a:pt x="275241" y="217539"/>
                    <a:pt x="217539" y="217539"/>
                  </a:cubicBezTo>
                  <a:cubicBezTo>
                    <a:pt x="159864" y="217539"/>
                    <a:pt x="104527" y="194621"/>
                    <a:pt x="63739" y="153824"/>
                  </a:cubicBezTo>
                  <a:close/>
                  <a:moveTo>
                    <a:pt x="63739" y="281256"/>
                  </a:moveTo>
                  <a:cubicBezTo>
                    <a:pt x="22924" y="322052"/>
                    <a:pt x="0" y="377383"/>
                    <a:pt x="0" y="435077"/>
                  </a:cubicBezTo>
                  <a:lnTo>
                    <a:pt x="217539" y="435077"/>
                  </a:lnTo>
                  <a:lnTo>
                    <a:pt x="435077" y="435077"/>
                  </a:lnTo>
                  <a:cubicBezTo>
                    <a:pt x="435077" y="377383"/>
                    <a:pt x="412182" y="322052"/>
                    <a:pt x="371366" y="281256"/>
                  </a:cubicBezTo>
                  <a:cubicBezTo>
                    <a:pt x="330578" y="240459"/>
                    <a:pt x="275241" y="217539"/>
                    <a:pt x="217539" y="217539"/>
                  </a:cubicBezTo>
                  <a:cubicBezTo>
                    <a:pt x="159864" y="217539"/>
                    <a:pt x="104527" y="240459"/>
                    <a:pt x="63739" y="281256"/>
                  </a:cubicBezTo>
                  <a:close/>
                </a:path>
              </a:pathLst>
            </a:custGeom>
            <a:grpFill/>
            <a:ln w="27192" cap="flat">
              <a:noFill/>
              <a:prstDash val="solid"/>
              <a:miter/>
            </a:ln>
          </p:spPr>
          <p:txBody>
            <a:bodyPr rtlCol="0" anchor="ctr"/>
            <a:lstStyle/>
            <a:p>
              <a:endParaRPr lang="uk-UA" sz="900"/>
            </a:p>
          </p:txBody>
        </p:sp>
        <p:sp>
          <p:nvSpPr>
            <p:cNvPr id="509" name="Freeform: Shape 508">
              <a:extLst>
                <a:ext uri="{FF2B5EF4-FFF2-40B4-BE49-F238E27FC236}">
                  <a16:creationId xmlns:a16="http://schemas.microsoft.com/office/drawing/2014/main" id="{07D62913-B011-4A06-436F-698E3A6D3076}"/>
                </a:ext>
              </a:extLst>
            </p:cNvPr>
            <p:cNvSpPr/>
            <p:nvPr/>
          </p:nvSpPr>
          <p:spPr>
            <a:xfrm>
              <a:off x="6926907" y="1098754"/>
              <a:ext cx="435077" cy="435077"/>
            </a:xfrm>
            <a:custGeom>
              <a:avLst/>
              <a:gdLst>
                <a:gd name="connsiteX0" fmla="*/ 435077 w 435077"/>
                <a:gd name="connsiteY0" fmla="*/ 435077 h 435077"/>
                <a:gd name="connsiteX1" fmla="*/ 435077 w 435077"/>
                <a:gd name="connsiteY1" fmla="*/ 0 h 435077"/>
                <a:gd name="connsiteX2" fmla="*/ 217566 w 435077"/>
                <a:gd name="connsiteY2" fmla="*/ 217544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44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6" y="217544"/>
                  </a:lnTo>
                  <a:lnTo>
                    <a:pt x="435077" y="435077"/>
                  </a:lnTo>
                  <a:close/>
                  <a:moveTo>
                    <a:pt x="0" y="435077"/>
                  </a:moveTo>
                  <a:lnTo>
                    <a:pt x="0" y="3"/>
                  </a:lnTo>
                  <a:lnTo>
                    <a:pt x="217539" y="217544"/>
                  </a:lnTo>
                  <a:lnTo>
                    <a:pt x="0" y="435077"/>
                  </a:lnTo>
                  <a:close/>
                </a:path>
              </a:pathLst>
            </a:custGeom>
            <a:grpFill/>
            <a:ln w="27192" cap="flat">
              <a:noFill/>
              <a:prstDash val="solid"/>
              <a:miter/>
            </a:ln>
          </p:spPr>
          <p:txBody>
            <a:bodyPr rtlCol="0" anchor="ctr"/>
            <a:lstStyle/>
            <a:p>
              <a:endParaRPr lang="uk-UA" sz="900"/>
            </a:p>
          </p:txBody>
        </p:sp>
        <p:sp>
          <p:nvSpPr>
            <p:cNvPr id="510" name="Freeform: Shape 509">
              <a:extLst>
                <a:ext uri="{FF2B5EF4-FFF2-40B4-BE49-F238E27FC236}">
                  <a16:creationId xmlns:a16="http://schemas.microsoft.com/office/drawing/2014/main" id="{017D64C4-49B4-27FD-50BC-A375E3FC8EA6}"/>
                </a:ext>
              </a:extLst>
            </p:cNvPr>
            <p:cNvSpPr/>
            <p:nvPr/>
          </p:nvSpPr>
          <p:spPr>
            <a:xfrm>
              <a:off x="8667217" y="1098754"/>
              <a:ext cx="435077" cy="435077"/>
            </a:xfrm>
            <a:custGeom>
              <a:avLst/>
              <a:gdLst>
                <a:gd name="connsiteX0" fmla="*/ 435077 w 435077"/>
                <a:gd name="connsiteY0" fmla="*/ 435077 h 435077"/>
                <a:gd name="connsiteX1" fmla="*/ 435077 w 435077"/>
                <a:gd name="connsiteY1" fmla="*/ 217547 h 435077"/>
                <a:gd name="connsiteX2" fmla="*/ 435077 w 435077"/>
                <a:gd name="connsiteY2" fmla="*/ 16 h 435077"/>
                <a:gd name="connsiteX3" fmla="*/ 217566 w 435077"/>
                <a:gd name="connsiteY3" fmla="*/ 16 h 435077"/>
                <a:gd name="connsiteX4" fmla="*/ 435077 w 435077"/>
                <a:gd name="connsiteY4" fmla="*/ 217547 h 435077"/>
                <a:gd name="connsiteX5" fmla="*/ 217566 w 435077"/>
                <a:gd name="connsiteY5" fmla="*/ 435077 h 435077"/>
                <a:gd name="connsiteX6" fmla="*/ 435077 w 435077"/>
                <a:gd name="connsiteY6" fmla="*/ 435077 h 435077"/>
                <a:gd name="connsiteX7" fmla="*/ 0 w 435077"/>
                <a:gd name="connsiteY7" fmla="*/ 217531 h 435077"/>
                <a:gd name="connsiteX8" fmla="*/ 0 w 435077"/>
                <a:gd name="connsiteY8" fmla="*/ 0 h 435077"/>
                <a:gd name="connsiteX9" fmla="*/ 217539 w 435077"/>
                <a:gd name="connsiteY9" fmla="*/ 217531 h 435077"/>
                <a:gd name="connsiteX10" fmla="*/ 0 w 435077"/>
                <a:gd name="connsiteY10" fmla="*/ 217531 h 435077"/>
                <a:gd name="connsiteX11" fmla="*/ 0 w 435077"/>
                <a:gd name="connsiteY11" fmla="*/ 435072 h 435077"/>
                <a:gd name="connsiteX12" fmla="*/ 0 w 435077"/>
                <a:gd name="connsiteY12" fmla="*/ 217541 h 435077"/>
                <a:gd name="connsiteX13" fmla="*/ 217539 w 435077"/>
                <a:gd name="connsiteY13" fmla="*/ 217541 h 435077"/>
                <a:gd name="connsiteX14" fmla="*/ 0 w 435077"/>
                <a:gd name="connsiteY14" fmla="*/ 43507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47"/>
                  </a:lnTo>
                  <a:lnTo>
                    <a:pt x="435077" y="16"/>
                  </a:lnTo>
                  <a:lnTo>
                    <a:pt x="217566" y="16"/>
                  </a:lnTo>
                  <a:lnTo>
                    <a:pt x="435077" y="217547"/>
                  </a:lnTo>
                  <a:lnTo>
                    <a:pt x="217566" y="435077"/>
                  </a:lnTo>
                  <a:lnTo>
                    <a:pt x="435077" y="435077"/>
                  </a:lnTo>
                  <a:close/>
                  <a:moveTo>
                    <a:pt x="0" y="217531"/>
                  </a:moveTo>
                  <a:lnTo>
                    <a:pt x="0" y="0"/>
                  </a:lnTo>
                  <a:lnTo>
                    <a:pt x="217539" y="217531"/>
                  </a:lnTo>
                  <a:lnTo>
                    <a:pt x="0" y="217531"/>
                  </a:lnTo>
                  <a:close/>
                  <a:moveTo>
                    <a:pt x="0" y="435072"/>
                  </a:moveTo>
                  <a:lnTo>
                    <a:pt x="0" y="217541"/>
                  </a:lnTo>
                  <a:lnTo>
                    <a:pt x="217539" y="217541"/>
                  </a:lnTo>
                  <a:lnTo>
                    <a:pt x="0" y="435072"/>
                  </a:lnTo>
                  <a:close/>
                </a:path>
              </a:pathLst>
            </a:custGeom>
            <a:grpFill/>
            <a:ln w="27192" cap="flat">
              <a:noFill/>
              <a:prstDash val="solid"/>
              <a:miter/>
            </a:ln>
          </p:spPr>
          <p:txBody>
            <a:bodyPr rtlCol="0" anchor="ctr"/>
            <a:lstStyle/>
            <a:p>
              <a:endParaRPr lang="uk-UA" sz="900"/>
            </a:p>
          </p:txBody>
        </p:sp>
        <p:sp>
          <p:nvSpPr>
            <p:cNvPr id="511" name="Freeform: Shape 510">
              <a:extLst>
                <a:ext uri="{FF2B5EF4-FFF2-40B4-BE49-F238E27FC236}">
                  <a16:creationId xmlns:a16="http://schemas.microsoft.com/office/drawing/2014/main" id="{A9E47EE9-11DC-63D4-5B11-DC832CCCF9D1}"/>
                </a:ext>
              </a:extLst>
            </p:cNvPr>
            <p:cNvSpPr/>
            <p:nvPr/>
          </p:nvSpPr>
          <p:spPr>
            <a:xfrm>
              <a:off x="9537399" y="1098754"/>
              <a:ext cx="435077" cy="435077"/>
            </a:xfrm>
            <a:custGeom>
              <a:avLst/>
              <a:gdLst>
                <a:gd name="connsiteX0" fmla="*/ 217539 w 435077"/>
                <a:gd name="connsiteY0" fmla="*/ 435069 h 435077"/>
                <a:gd name="connsiteX1" fmla="*/ 217539 w 435077"/>
                <a:gd name="connsiteY1" fmla="*/ 0 h 435077"/>
                <a:gd name="connsiteX2" fmla="*/ 435077 w 435077"/>
                <a:gd name="connsiteY2" fmla="*/ 217541 h 435077"/>
                <a:gd name="connsiteX3" fmla="*/ 217539 w 435077"/>
                <a:gd name="connsiteY3" fmla="*/ 435069 h 435077"/>
                <a:gd name="connsiteX4" fmla="*/ 0 w 435077"/>
                <a:gd name="connsiteY4" fmla="*/ 435077 h 435077"/>
                <a:gd name="connsiteX5" fmla="*/ 0 w 435077"/>
                <a:gd name="connsiteY5" fmla="*/ 8 h 435077"/>
                <a:gd name="connsiteX6" fmla="*/ 217539 w 435077"/>
                <a:gd name="connsiteY6" fmla="*/ 217547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69"/>
                  </a:moveTo>
                  <a:lnTo>
                    <a:pt x="217539" y="0"/>
                  </a:lnTo>
                  <a:lnTo>
                    <a:pt x="435077" y="217541"/>
                  </a:lnTo>
                  <a:lnTo>
                    <a:pt x="217539" y="435069"/>
                  </a:lnTo>
                  <a:close/>
                  <a:moveTo>
                    <a:pt x="0" y="435077"/>
                  </a:moveTo>
                  <a:lnTo>
                    <a:pt x="0" y="8"/>
                  </a:lnTo>
                  <a:lnTo>
                    <a:pt x="217539" y="217547"/>
                  </a:lnTo>
                  <a:lnTo>
                    <a:pt x="0" y="435077"/>
                  </a:lnTo>
                  <a:close/>
                </a:path>
              </a:pathLst>
            </a:custGeom>
            <a:grpFill/>
            <a:ln w="27192" cap="flat">
              <a:noFill/>
              <a:prstDash val="solid"/>
              <a:miter/>
            </a:ln>
          </p:spPr>
          <p:txBody>
            <a:bodyPr rtlCol="0" anchor="ctr"/>
            <a:lstStyle/>
            <a:p>
              <a:endParaRPr lang="uk-UA" sz="900"/>
            </a:p>
          </p:txBody>
        </p:sp>
        <p:sp>
          <p:nvSpPr>
            <p:cNvPr id="512" name="Freeform: Shape 511">
              <a:extLst>
                <a:ext uri="{FF2B5EF4-FFF2-40B4-BE49-F238E27FC236}">
                  <a16:creationId xmlns:a16="http://schemas.microsoft.com/office/drawing/2014/main" id="{B4C0A413-6DF4-3C6E-326C-95420F9B1B5C}"/>
                </a:ext>
              </a:extLst>
            </p:cNvPr>
            <p:cNvSpPr/>
            <p:nvPr/>
          </p:nvSpPr>
          <p:spPr>
            <a:xfrm>
              <a:off x="11277709" y="1098754"/>
              <a:ext cx="435077" cy="435077"/>
            </a:xfrm>
            <a:custGeom>
              <a:avLst/>
              <a:gdLst>
                <a:gd name="connsiteX0" fmla="*/ 63710 w 435077"/>
                <a:gd name="connsiteY0" fmla="*/ 153824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4 h 435077"/>
                <a:gd name="connsiteX5" fmla="*/ 217539 w 435077"/>
                <a:gd name="connsiteY5" fmla="*/ 217539 h 435077"/>
                <a:gd name="connsiteX6" fmla="*/ 63710 w 435077"/>
                <a:gd name="connsiteY6" fmla="*/ 153824 h 435077"/>
                <a:gd name="connsiteX7" fmla="*/ 63710 w 435077"/>
                <a:gd name="connsiteY7" fmla="*/ 281256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6 h 435077"/>
                <a:gd name="connsiteX12" fmla="*/ 217539 w 435077"/>
                <a:gd name="connsiteY12" fmla="*/ 217539 h 435077"/>
                <a:gd name="connsiteX13" fmla="*/ 63710 w 435077"/>
                <a:gd name="connsiteY13" fmla="*/ 281256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4"/>
                  </a:moveTo>
                  <a:cubicBezTo>
                    <a:pt x="22922" y="113028"/>
                    <a:pt x="0" y="57697"/>
                    <a:pt x="0" y="0"/>
                  </a:cubicBezTo>
                  <a:lnTo>
                    <a:pt x="217539" y="0"/>
                  </a:lnTo>
                  <a:lnTo>
                    <a:pt x="435077" y="0"/>
                  </a:lnTo>
                  <a:cubicBezTo>
                    <a:pt x="435077" y="57697"/>
                    <a:pt x="412154" y="113028"/>
                    <a:pt x="371365" y="153824"/>
                  </a:cubicBezTo>
                  <a:cubicBezTo>
                    <a:pt x="330549" y="194621"/>
                    <a:pt x="275239" y="217539"/>
                    <a:pt x="217539" y="217539"/>
                  </a:cubicBezTo>
                  <a:cubicBezTo>
                    <a:pt x="159836" y="217539"/>
                    <a:pt x="104499" y="194621"/>
                    <a:pt x="63710" y="153824"/>
                  </a:cubicBezTo>
                  <a:close/>
                  <a:moveTo>
                    <a:pt x="63710" y="281256"/>
                  </a:moveTo>
                  <a:cubicBezTo>
                    <a:pt x="22922" y="322052"/>
                    <a:pt x="0" y="377383"/>
                    <a:pt x="0" y="435077"/>
                  </a:cubicBezTo>
                  <a:lnTo>
                    <a:pt x="217539" y="435077"/>
                  </a:lnTo>
                  <a:lnTo>
                    <a:pt x="435077" y="435077"/>
                  </a:lnTo>
                  <a:cubicBezTo>
                    <a:pt x="435077" y="377383"/>
                    <a:pt x="412154" y="322052"/>
                    <a:pt x="371365" y="281256"/>
                  </a:cubicBezTo>
                  <a:cubicBezTo>
                    <a:pt x="330549" y="240459"/>
                    <a:pt x="275239" y="217539"/>
                    <a:pt x="217539" y="217539"/>
                  </a:cubicBezTo>
                  <a:cubicBezTo>
                    <a:pt x="159836" y="217539"/>
                    <a:pt x="104499" y="240459"/>
                    <a:pt x="63710" y="281256"/>
                  </a:cubicBezTo>
                  <a:close/>
                </a:path>
              </a:pathLst>
            </a:custGeom>
            <a:grpFill/>
            <a:ln w="27192" cap="flat">
              <a:noFill/>
              <a:prstDash val="solid"/>
              <a:miter/>
            </a:ln>
          </p:spPr>
          <p:txBody>
            <a:bodyPr rtlCol="0" anchor="ctr"/>
            <a:lstStyle/>
            <a:p>
              <a:endParaRPr lang="uk-UA" sz="900"/>
            </a:p>
          </p:txBody>
        </p:sp>
        <p:sp>
          <p:nvSpPr>
            <p:cNvPr id="513" name="Freeform: Shape 512">
              <a:extLst>
                <a:ext uri="{FF2B5EF4-FFF2-40B4-BE49-F238E27FC236}">
                  <a16:creationId xmlns:a16="http://schemas.microsoft.com/office/drawing/2014/main" id="{1578C613-DF92-39C3-B2BE-9F7DED971CBD}"/>
                </a:ext>
              </a:extLst>
            </p:cNvPr>
            <p:cNvSpPr/>
            <p:nvPr/>
          </p:nvSpPr>
          <p:spPr>
            <a:xfrm>
              <a:off x="10407554" y="1098754"/>
              <a:ext cx="435077" cy="435077"/>
            </a:xfrm>
            <a:custGeom>
              <a:avLst/>
              <a:gdLst>
                <a:gd name="connsiteX0" fmla="*/ 435077 w 435077"/>
                <a:gd name="connsiteY0" fmla="*/ 435077 h 435077"/>
                <a:gd name="connsiteX1" fmla="*/ 435077 w 435077"/>
                <a:gd name="connsiteY1" fmla="*/ 0 h 435077"/>
                <a:gd name="connsiteX2" fmla="*/ 217539 w 435077"/>
                <a:gd name="connsiteY2" fmla="*/ 217544 h 435077"/>
                <a:gd name="connsiteX3" fmla="*/ 435077 w 435077"/>
                <a:gd name="connsiteY3" fmla="*/ 435077 h 435077"/>
                <a:gd name="connsiteX4" fmla="*/ 0 w 435077"/>
                <a:gd name="connsiteY4" fmla="*/ 435077 h 435077"/>
                <a:gd name="connsiteX5" fmla="*/ 0 w 435077"/>
                <a:gd name="connsiteY5" fmla="*/ 3 h 435077"/>
                <a:gd name="connsiteX6" fmla="*/ 217511 w 435077"/>
                <a:gd name="connsiteY6" fmla="*/ 217544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44"/>
                  </a:lnTo>
                  <a:lnTo>
                    <a:pt x="435077" y="435077"/>
                  </a:lnTo>
                  <a:close/>
                  <a:moveTo>
                    <a:pt x="0" y="435077"/>
                  </a:moveTo>
                  <a:lnTo>
                    <a:pt x="0" y="3"/>
                  </a:lnTo>
                  <a:lnTo>
                    <a:pt x="217511" y="217544"/>
                  </a:lnTo>
                  <a:lnTo>
                    <a:pt x="0" y="435077"/>
                  </a:lnTo>
                  <a:close/>
                </a:path>
              </a:pathLst>
            </a:custGeom>
            <a:grpFill/>
            <a:ln w="27192" cap="flat">
              <a:noFill/>
              <a:prstDash val="solid"/>
              <a:miter/>
            </a:ln>
          </p:spPr>
          <p:txBody>
            <a:bodyPr rtlCol="0" anchor="ctr"/>
            <a:lstStyle/>
            <a:p>
              <a:endParaRPr lang="uk-UA" sz="900"/>
            </a:p>
          </p:txBody>
        </p:sp>
        <p:sp>
          <p:nvSpPr>
            <p:cNvPr id="514" name="Freeform: Shape 513">
              <a:extLst>
                <a:ext uri="{FF2B5EF4-FFF2-40B4-BE49-F238E27FC236}">
                  <a16:creationId xmlns:a16="http://schemas.microsoft.com/office/drawing/2014/main" id="{63D25B03-3D1A-161A-97B5-7E94079FB94D}"/>
                </a:ext>
              </a:extLst>
            </p:cNvPr>
            <p:cNvSpPr/>
            <p:nvPr/>
          </p:nvSpPr>
          <p:spPr>
            <a:xfrm>
              <a:off x="12147864" y="1098754"/>
              <a:ext cx="435077" cy="435077"/>
            </a:xfrm>
            <a:custGeom>
              <a:avLst/>
              <a:gdLst>
                <a:gd name="connsiteX0" fmla="*/ 435077 w 435077"/>
                <a:gd name="connsiteY0" fmla="*/ 435077 h 435077"/>
                <a:gd name="connsiteX1" fmla="*/ 435077 w 435077"/>
                <a:gd name="connsiteY1" fmla="*/ 217547 h 435077"/>
                <a:gd name="connsiteX2" fmla="*/ 435077 w 435077"/>
                <a:gd name="connsiteY2" fmla="*/ 16 h 435077"/>
                <a:gd name="connsiteX3" fmla="*/ 217565 w 435077"/>
                <a:gd name="connsiteY3" fmla="*/ 16 h 435077"/>
                <a:gd name="connsiteX4" fmla="*/ 435077 w 435077"/>
                <a:gd name="connsiteY4" fmla="*/ 217547 h 435077"/>
                <a:gd name="connsiteX5" fmla="*/ 217565 w 435077"/>
                <a:gd name="connsiteY5" fmla="*/ 435077 h 435077"/>
                <a:gd name="connsiteX6" fmla="*/ 435077 w 435077"/>
                <a:gd name="connsiteY6" fmla="*/ 435077 h 435077"/>
                <a:gd name="connsiteX7" fmla="*/ 0 w 435077"/>
                <a:gd name="connsiteY7" fmla="*/ 217531 h 435077"/>
                <a:gd name="connsiteX8" fmla="*/ 0 w 435077"/>
                <a:gd name="connsiteY8" fmla="*/ 0 h 435077"/>
                <a:gd name="connsiteX9" fmla="*/ 217539 w 435077"/>
                <a:gd name="connsiteY9" fmla="*/ 217531 h 435077"/>
                <a:gd name="connsiteX10" fmla="*/ 0 w 435077"/>
                <a:gd name="connsiteY10" fmla="*/ 217531 h 435077"/>
                <a:gd name="connsiteX11" fmla="*/ 0 w 435077"/>
                <a:gd name="connsiteY11" fmla="*/ 435072 h 435077"/>
                <a:gd name="connsiteX12" fmla="*/ 0 w 435077"/>
                <a:gd name="connsiteY12" fmla="*/ 217541 h 435077"/>
                <a:gd name="connsiteX13" fmla="*/ 217539 w 435077"/>
                <a:gd name="connsiteY13" fmla="*/ 217541 h 435077"/>
                <a:gd name="connsiteX14" fmla="*/ 0 w 435077"/>
                <a:gd name="connsiteY14" fmla="*/ 43507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47"/>
                  </a:lnTo>
                  <a:lnTo>
                    <a:pt x="435077" y="16"/>
                  </a:lnTo>
                  <a:lnTo>
                    <a:pt x="217565" y="16"/>
                  </a:lnTo>
                  <a:lnTo>
                    <a:pt x="435077" y="217547"/>
                  </a:lnTo>
                  <a:lnTo>
                    <a:pt x="217565" y="435077"/>
                  </a:lnTo>
                  <a:lnTo>
                    <a:pt x="435077" y="435077"/>
                  </a:lnTo>
                  <a:close/>
                  <a:moveTo>
                    <a:pt x="0" y="217531"/>
                  </a:moveTo>
                  <a:lnTo>
                    <a:pt x="0" y="0"/>
                  </a:lnTo>
                  <a:lnTo>
                    <a:pt x="217539" y="217531"/>
                  </a:lnTo>
                  <a:lnTo>
                    <a:pt x="0" y="217531"/>
                  </a:lnTo>
                  <a:close/>
                  <a:moveTo>
                    <a:pt x="0" y="435072"/>
                  </a:moveTo>
                  <a:lnTo>
                    <a:pt x="0" y="217541"/>
                  </a:lnTo>
                  <a:lnTo>
                    <a:pt x="217539" y="217541"/>
                  </a:lnTo>
                  <a:lnTo>
                    <a:pt x="0" y="435072"/>
                  </a:lnTo>
                  <a:close/>
                </a:path>
              </a:pathLst>
            </a:custGeom>
            <a:grpFill/>
            <a:ln w="27192" cap="flat">
              <a:noFill/>
              <a:prstDash val="solid"/>
              <a:miter/>
            </a:ln>
          </p:spPr>
          <p:txBody>
            <a:bodyPr rtlCol="0" anchor="ctr"/>
            <a:lstStyle/>
            <a:p>
              <a:endParaRPr lang="uk-UA" sz="900"/>
            </a:p>
          </p:txBody>
        </p:sp>
        <p:sp>
          <p:nvSpPr>
            <p:cNvPr id="515" name="Freeform: Shape 514">
              <a:extLst>
                <a:ext uri="{FF2B5EF4-FFF2-40B4-BE49-F238E27FC236}">
                  <a16:creationId xmlns:a16="http://schemas.microsoft.com/office/drawing/2014/main" id="{522CF534-588A-8D22-7179-C2EE720CAAE6}"/>
                </a:ext>
              </a:extLst>
            </p:cNvPr>
            <p:cNvSpPr/>
            <p:nvPr/>
          </p:nvSpPr>
          <p:spPr>
            <a:xfrm>
              <a:off x="13018045" y="1098754"/>
              <a:ext cx="435077" cy="435077"/>
            </a:xfrm>
            <a:custGeom>
              <a:avLst/>
              <a:gdLst>
                <a:gd name="connsiteX0" fmla="*/ 217539 w 435077"/>
                <a:gd name="connsiteY0" fmla="*/ 435069 h 435077"/>
                <a:gd name="connsiteX1" fmla="*/ 217539 w 435077"/>
                <a:gd name="connsiteY1" fmla="*/ 0 h 435077"/>
                <a:gd name="connsiteX2" fmla="*/ 435077 w 435077"/>
                <a:gd name="connsiteY2" fmla="*/ 217541 h 435077"/>
                <a:gd name="connsiteX3" fmla="*/ 217539 w 435077"/>
                <a:gd name="connsiteY3" fmla="*/ 435069 h 435077"/>
                <a:gd name="connsiteX4" fmla="*/ 0 w 435077"/>
                <a:gd name="connsiteY4" fmla="*/ 435077 h 435077"/>
                <a:gd name="connsiteX5" fmla="*/ 0 w 435077"/>
                <a:gd name="connsiteY5" fmla="*/ 8 h 435077"/>
                <a:gd name="connsiteX6" fmla="*/ 217539 w 435077"/>
                <a:gd name="connsiteY6" fmla="*/ 217547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69"/>
                  </a:moveTo>
                  <a:lnTo>
                    <a:pt x="217539" y="0"/>
                  </a:lnTo>
                  <a:lnTo>
                    <a:pt x="435077" y="217541"/>
                  </a:lnTo>
                  <a:lnTo>
                    <a:pt x="217539" y="435069"/>
                  </a:lnTo>
                  <a:close/>
                  <a:moveTo>
                    <a:pt x="0" y="435077"/>
                  </a:moveTo>
                  <a:lnTo>
                    <a:pt x="0" y="8"/>
                  </a:lnTo>
                  <a:lnTo>
                    <a:pt x="217539" y="217547"/>
                  </a:lnTo>
                  <a:lnTo>
                    <a:pt x="0" y="435077"/>
                  </a:lnTo>
                  <a:close/>
                </a:path>
              </a:pathLst>
            </a:custGeom>
            <a:grpFill/>
            <a:ln w="27192" cap="flat">
              <a:noFill/>
              <a:prstDash val="solid"/>
              <a:miter/>
            </a:ln>
          </p:spPr>
          <p:txBody>
            <a:bodyPr rtlCol="0" anchor="ctr"/>
            <a:lstStyle/>
            <a:p>
              <a:endParaRPr lang="uk-UA" sz="900"/>
            </a:p>
          </p:txBody>
        </p:sp>
        <p:sp>
          <p:nvSpPr>
            <p:cNvPr id="516" name="Freeform: Shape 515">
              <a:extLst>
                <a:ext uri="{FF2B5EF4-FFF2-40B4-BE49-F238E27FC236}">
                  <a16:creationId xmlns:a16="http://schemas.microsoft.com/office/drawing/2014/main" id="{AA54DE48-FAF1-EB5C-AD75-6CB5512AA541}"/>
                </a:ext>
              </a:extLst>
            </p:cNvPr>
            <p:cNvSpPr/>
            <p:nvPr/>
          </p:nvSpPr>
          <p:spPr>
            <a:xfrm>
              <a:off x="14758382" y="1098754"/>
              <a:ext cx="435077" cy="435077"/>
            </a:xfrm>
            <a:custGeom>
              <a:avLst/>
              <a:gdLst>
                <a:gd name="connsiteX0" fmla="*/ 63712 w 435077"/>
                <a:gd name="connsiteY0" fmla="*/ 153824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4 h 435077"/>
                <a:gd name="connsiteX5" fmla="*/ 217539 w 435077"/>
                <a:gd name="connsiteY5" fmla="*/ 217539 h 435077"/>
                <a:gd name="connsiteX6" fmla="*/ 63712 w 435077"/>
                <a:gd name="connsiteY6" fmla="*/ 153824 h 435077"/>
                <a:gd name="connsiteX7" fmla="*/ 63712 w 435077"/>
                <a:gd name="connsiteY7" fmla="*/ 281256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56 h 435077"/>
                <a:gd name="connsiteX12" fmla="*/ 217539 w 435077"/>
                <a:gd name="connsiteY12" fmla="*/ 217539 h 435077"/>
                <a:gd name="connsiteX13" fmla="*/ 63712 w 435077"/>
                <a:gd name="connsiteY13" fmla="*/ 281256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4"/>
                  </a:moveTo>
                  <a:cubicBezTo>
                    <a:pt x="22924" y="113028"/>
                    <a:pt x="0" y="57697"/>
                    <a:pt x="0" y="0"/>
                  </a:cubicBezTo>
                  <a:lnTo>
                    <a:pt x="217539" y="0"/>
                  </a:lnTo>
                  <a:lnTo>
                    <a:pt x="435077" y="0"/>
                  </a:lnTo>
                  <a:cubicBezTo>
                    <a:pt x="435077" y="57697"/>
                    <a:pt x="412155" y="113028"/>
                    <a:pt x="371367" y="153824"/>
                  </a:cubicBezTo>
                  <a:cubicBezTo>
                    <a:pt x="330550" y="194621"/>
                    <a:pt x="275241" y="217539"/>
                    <a:pt x="217539" y="217539"/>
                  </a:cubicBezTo>
                  <a:cubicBezTo>
                    <a:pt x="159836" y="217539"/>
                    <a:pt x="104501" y="194621"/>
                    <a:pt x="63712" y="153824"/>
                  </a:cubicBezTo>
                  <a:close/>
                  <a:moveTo>
                    <a:pt x="63712" y="281256"/>
                  </a:moveTo>
                  <a:cubicBezTo>
                    <a:pt x="22924" y="322052"/>
                    <a:pt x="0" y="377383"/>
                    <a:pt x="0" y="435077"/>
                  </a:cubicBezTo>
                  <a:lnTo>
                    <a:pt x="217539" y="435077"/>
                  </a:lnTo>
                  <a:lnTo>
                    <a:pt x="435077" y="435077"/>
                  </a:lnTo>
                  <a:cubicBezTo>
                    <a:pt x="435077" y="377383"/>
                    <a:pt x="412155" y="322052"/>
                    <a:pt x="371367" y="281256"/>
                  </a:cubicBezTo>
                  <a:cubicBezTo>
                    <a:pt x="330550" y="240459"/>
                    <a:pt x="275241" y="217539"/>
                    <a:pt x="217539" y="217539"/>
                  </a:cubicBezTo>
                  <a:cubicBezTo>
                    <a:pt x="159836" y="217539"/>
                    <a:pt x="104501" y="240459"/>
                    <a:pt x="63712" y="281256"/>
                  </a:cubicBezTo>
                  <a:close/>
                </a:path>
              </a:pathLst>
            </a:custGeom>
            <a:grpFill/>
            <a:ln w="27192" cap="flat">
              <a:noFill/>
              <a:prstDash val="solid"/>
              <a:miter/>
            </a:ln>
          </p:spPr>
          <p:txBody>
            <a:bodyPr rtlCol="0" anchor="ctr"/>
            <a:lstStyle/>
            <a:p>
              <a:endParaRPr lang="uk-UA" sz="900"/>
            </a:p>
          </p:txBody>
        </p:sp>
        <p:sp>
          <p:nvSpPr>
            <p:cNvPr id="517" name="Freeform: Shape 516">
              <a:extLst>
                <a:ext uri="{FF2B5EF4-FFF2-40B4-BE49-F238E27FC236}">
                  <a16:creationId xmlns:a16="http://schemas.microsoft.com/office/drawing/2014/main" id="{06D1108D-9DCB-4D85-7F86-5210B092AF87}"/>
                </a:ext>
              </a:extLst>
            </p:cNvPr>
            <p:cNvSpPr/>
            <p:nvPr/>
          </p:nvSpPr>
          <p:spPr>
            <a:xfrm>
              <a:off x="13888200" y="1098754"/>
              <a:ext cx="435077" cy="435077"/>
            </a:xfrm>
            <a:custGeom>
              <a:avLst/>
              <a:gdLst>
                <a:gd name="connsiteX0" fmla="*/ 435077 w 435077"/>
                <a:gd name="connsiteY0" fmla="*/ 435077 h 435077"/>
                <a:gd name="connsiteX1" fmla="*/ 435077 w 435077"/>
                <a:gd name="connsiteY1" fmla="*/ 0 h 435077"/>
                <a:gd name="connsiteX2" fmla="*/ 217565 w 435077"/>
                <a:gd name="connsiteY2" fmla="*/ 217544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44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44"/>
                  </a:lnTo>
                  <a:lnTo>
                    <a:pt x="435077" y="435077"/>
                  </a:lnTo>
                  <a:close/>
                  <a:moveTo>
                    <a:pt x="0" y="435077"/>
                  </a:moveTo>
                  <a:lnTo>
                    <a:pt x="0" y="3"/>
                  </a:lnTo>
                  <a:lnTo>
                    <a:pt x="217539" y="217544"/>
                  </a:lnTo>
                  <a:lnTo>
                    <a:pt x="0" y="435077"/>
                  </a:lnTo>
                  <a:close/>
                </a:path>
              </a:pathLst>
            </a:custGeom>
            <a:grpFill/>
            <a:ln w="27192" cap="flat">
              <a:noFill/>
              <a:prstDash val="solid"/>
              <a:miter/>
            </a:ln>
          </p:spPr>
          <p:txBody>
            <a:bodyPr rtlCol="0" anchor="ctr"/>
            <a:lstStyle/>
            <a:p>
              <a:endParaRPr lang="uk-UA" sz="900"/>
            </a:p>
          </p:txBody>
        </p:sp>
        <p:sp>
          <p:nvSpPr>
            <p:cNvPr id="518" name="Freeform: Shape 517">
              <a:extLst>
                <a:ext uri="{FF2B5EF4-FFF2-40B4-BE49-F238E27FC236}">
                  <a16:creationId xmlns:a16="http://schemas.microsoft.com/office/drawing/2014/main" id="{A06C25BB-3F5E-3D42-40CA-533827F90C71}"/>
                </a:ext>
              </a:extLst>
            </p:cNvPr>
            <p:cNvSpPr/>
            <p:nvPr/>
          </p:nvSpPr>
          <p:spPr>
            <a:xfrm>
              <a:off x="15628536" y="1098754"/>
              <a:ext cx="435077" cy="435077"/>
            </a:xfrm>
            <a:custGeom>
              <a:avLst/>
              <a:gdLst>
                <a:gd name="connsiteX0" fmla="*/ 435077 w 435077"/>
                <a:gd name="connsiteY0" fmla="*/ 435077 h 435077"/>
                <a:gd name="connsiteX1" fmla="*/ 435077 w 435077"/>
                <a:gd name="connsiteY1" fmla="*/ 217547 h 435077"/>
                <a:gd name="connsiteX2" fmla="*/ 435077 w 435077"/>
                <a:gd name="connsiteY2" fmla="*/ 16 h 435077"/>
                <a:gd name="connsiteX3" fmla="*/ 217567 w 435077"/>
                <a:gd name="connsiteY3" fmla="*/ 16 h 435077"/>
                <a:gd name="connsiteX4" fmla="*/ 435077 w 435077"/>
                <a:gd name="connsiteY4" fmla="*/ 217547 h 435077"/>
                <a:gd name="connsiteX5" fmla="*/ 217567 w 435077"/>
                <a:gd name="connsiteY5" fmla="*/ 435077 h 435077"/>
                <a:gd name="connsiteX6" fmla="*/ 435077 w 435077"/>
                <a:gd name="connsiteY6" fmla="*/ 435077 h 435077"/>
                <a:gd name="connsiteX7" fmla="*/ 0 w 435077"/>
                <a:gd name="connsiteY7" fmla="*/ 217531 h 435077"/>
                <a:gd name="connsiteX8" fmla="*/ 0 w 435077"/>
                <a:gd name="connsiteY8" fmla="*/ 0 h 435077"/>
                <a:gd name="connsiteX9" fmla="*/ 217539 w 435077"/>
                <a:gd name="connsiteY9" fmla="*/ 217531 h 435077"/>
                <a:gd name="connsiteX10" fmla="*/ 0 w 435077"/>
                <a:gd name="connsiteY10" fmla="*/ 217531 h 435077"/>
                <a:gd name="connsiteX11" fmla="*/ 0 w 435077"/>
                <a:gd name="connsiteY11" fmla="*/ 435072 h 435077"/>
                <a:gd name="connsiteX12" fmla="*/ 0 w 435077"/>
                <a:gd name="connsiteY12" fmla="*/ 217541 h 435077"/>
                <a:gd name="connsiteX13" fmla="*/ 217539 w 435077"/>
                <a:gd name="connsiteY13" fmla="*/ 217541 h 435077"/>
                <a:gd name="connsiteX14" fmla="*/ 0 w 435077"/>
                <a:gd name="connsiteY14" fmla="*/ 43507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47"/>
                  </a:lnTo>
                  <a:lnTo>
                    <a:pt x="435077" y="16"/>
                  </a:lnTo>
                  <a:lnTo>
                    <a:pt x="217567" y="16"/>
                  </a:lnTo>
                  <a:lnTo>
                    <a:pt x="435077" y="217547"/>
                  </a:lnTo>
                  <a:lnTo>
                    <a:pt x="217567" y="435077"/>
                  </a:lnTo>
                  <a:lnTo>
                    <a:pt x="435077" y="435077"/>
                  </a:lnTo>
                  <a:close/>
                  <a:moveTo>
                    <a:pt x="0" y="217531"/>
                  </a:moveTo>
                  <a:lnTo>
                    <a:pt x="0" y="0"/>
                  </a:lnTo>
                  <a:lnTo>
                    <a:pt x="217539" y="217531"/>
                  </a:lnTo>
                  <a:lnTo>
                    <a:pt x="0" y="217531"/>
                  </a:lnTo>
                  <a:close/>
                  <a:moveTo>
                    <a:pt x="0" y="435072"/>
                  </a:moveTo>
                  <a:lnTo>
                    <a:pt x="0" y="217541"/>
                  </a:lnTo>
                  <a:lnTo>
                    <a:pt x="217539" y="217541"/>
                  </a:lnTo>
                  <a:lnTo>
                    <a:pt x="0" y="435072"/>
                  </a:lnTo>
                  <a:close/>
                </a:path>
              </a:pathLst>
            </a:custGeom>
            <a:grpFill/>
            <a:ln w="27192" cap="flat">
              <a:noFill/>
              <a:prstDash val="solid"/>
              <a:miter/>
            </a:ln>
          </p:spPr>
          <p:txBody>
            <a:bodyPr rtlCol="0" anchor="ctr"/>
            <a:lstStyle/>
            <a:p>
              <a:endParaRPr lang="uk-UA" sz="900"/>
            </a:p>
          </p:txBody>
        </p:sp>
        <p:sp>
          <p:nvSpPr>
            <p:cNvPr id="519" name="Freeform: Shape 518">
              <a:extLst>
                <a:ext uri="{FF2B5EF4-FFF2-40B4-BE49-F238E27FC236}">
                  <a16:creationId xmlns:a16="http://schemas.microsoft.com/office/drawing/2014/main" id="{4E1B15F9-E97A-20E6-2150-6EF23F273C67}"/>
                </a:ext>
              </a:extLst>
            </p:cNvPr>
            <p:cNvSpPr/>
            <p:nvPr/>
          </p:nvSpPr>
          <p:spPr>
            <a:xfrm>
              <a:off x="16498719" y="1098754"/>
              <a:ext cx="435077" cy="435077"/>
            </a:xfrm>
            <a:custGeom>
              <a:avLst/>
              <a:gdLst>
                <a:gd name="connsiteX0" fmla="*/ 217539 w 435077"/>
                <a:gd name="connsiteY0" fmla="*/ 435069 h 435077"/>
                <a:gd name="connsiteX1" fmla="*/ 217539 w 435077"/>
                <a:gd name="connsiteY1" fmla="*/ 0 h 435077"/>
                <a:gd name="connsiteX2" fmla="*/ 435077 w 435077"/>
                <a:gd name="connsiteY2" fmla="*/ 217541 h 435077"/>
                <a:gd name="connsiteX3" fmla="*/ 217539 w 435077"/>
                <a:gd name="connsiteY3" fmla="*/ 435069 h 435077"/>
                <a:gd name="connsiteX4" fmla="*/ 0 w 435077"/>
                <a:gd name="connsiteY4" fmla="*/ 435077 h 435077"/>
                <a:gd name="connsiteX5" fmla="*/ 0 w 435077"/>
                <a:gd name="connsiteY5" fmla="*/ 8 h 435077"/>
                <a:gd name="connsiteX6" fmla="*/ 217539 w 435077"/>
                <a:gd name="connsiteY6" fmla="*/ 217547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69"/>
                  </a:moveTo>
                  <a:lnTo>
                    <a:pt x="217539" y="0"/>
                  </a:lnTo>
                  <a:lnTo>
                    <a:pt x="435077" y="217541"/>
                  </a:lnTo>
                  <a:lnTo>
                    <a:pt x="217539" y="435069"/>
                  </a:lnTo>
                  <a:close/>
                  <a:moveTo>
                    <a:pt x="0" y="435077"/>
                  </a:moveTo>
                  <a:lnTo>
                    <a:pt x="0" y="8"/>
                  </a:lnTo>
                  <a:lnTo>
                    <a:pt x="217539" y="217547"/>
                  </a:lnTo>
                  <a:lnTo>
                    <a:pt x="0" y="435077"/>
                  </a:lnTo>
                  <a:close/>
                </a:path>
              </a:pathLst>
            </a:custGeom>
            <a:grpFill/>
            <a:ln w="27192" cap="flat">
              <a:noFill/>
              <a:prstDash val="solid"/>
              <a:miter/>
            </a:ln>
          </p:spPr>
          <p:txBody>
            <a:bodyPr rtlCol="0" anchor="ctr"/>
            <a:lstStyle/>
            <a:p>
              <a:endParaRPr lang="uk-UA" sz="900"/>
            </a:p>
          </p:txBody>
        </p:sp>
        <p:sp>
          <p:nvSpPr>
            <p:cNvPr id="520" name="Freeform: Shape 519">
              <a:extLst>
                <a:ext uri="{FF2B5EF4-FFF2-40B4-BE49-F238E27FC236}">
                  <a16:creationId xmlns:a16="http://schemas.microsoft.com/office/drawing/2014/main" id="{B60E7F1D-43D1-FE2C-1F22-203121B1D81B}"/>
                </a:ext>
              </a:extLst>
            </p:cNvPr>
            <p:cNvSpPr/>
            <p:nvPr/>
          </p:nvSpPr>
          <p:spPr>
            <a:xfrm>
              <a:off x="18239029" y="1098754"/>
              <a:ext cx="435077" cy="435077"/>
            </a:xfrm>
            <a:custGeom>
              <a:avLst/>
              <a:gdLst>
                <a:gd name="connsiteX0" fmla="*/ 63710 w 435077"/>
                <a:gd name="connsiteY0" fmla="*/ 153824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4 h 435077"/>
                <a:gd name="connsiteX5" fmla="*/ 217539 w 435077"/>
                <a:gd name="connsiteY5" fmla="*/ 217539 h 435077"/>
                <a:gd name="connsiteX6" fmla="*/ 63710 w 435077"/>
                <a:gd name="connsiteY6" fmla="*/ 153824 h 435077"/>
                <a:gd name="connsiteX7" fmla="*/ 63710 w 435077"/>
                <a:gd name="connsiteY7" fmla="*/ 281256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6 h 435077"/>
                <a:gd name="connsiteX12" fmla="*/ 217539 w 435077"/>
                <a:gd name="connsiteY12" fmla="*/ 217539 h 435077"/>
                <a:gd name="connsiteX13" fmla="*/ 63710 w 435077"/>
                <a:gd name="connsiteY13" fmla="*/ 281256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4"/>
                  </a:moveTo>
                  <a:cubicBezTo>
                    <a:pt x="22922" y="113028"/>
                    <a:pt x="0" y="57697"/>
                    <a:pt x="0" y="0"/>
                  </a:cubicBezTo>
                  <a:lnTo>
                    <a:pt x="217539" y="0"/>
                  </a:lnTo>
                  <a:lnTo>
                    <a:pt x="435077" y="0"/>
                  </a:lnTo>
                  <a:cubicBezTo>
                    <a:pt x="435077" y="57697"/>
                    <a:pt x="412154" y="113028"/>
                    <a:pt x="371365" y="153824"/>
                  </a:cubicBezTo>
                  <a:cubicBezTo>
                    <a:pt x="330577" y="194621"/>
                    <a:pt x="275241" y="217539"/>
                    <a:pt x="217539" y="217539"/>
                  </a:cubicBezTo>
                  <a:cubicBezTo>
                    <a:pt x="159836" y="217539"/>
                    <a:pt x="104527" y="194621"/>
                    <a:pt x="63710" y="153824"/>
                  </a:cubicBezTo>
                  <a:close/>
                  <a:moveTo>
                    <a:pt x="63710" y="281256"/>
                  </a:moveTo>
                  <a:cubicBezTo>
                    <a:pt x="22922" y="322052"/>
                    <a:pt x="0" y="377383"/>
                    <a:pt x="0" y="435077"/>
                  </a:cubicBezTo>
                  <a:lnTo>
                    <a:pt x="217539" y="435077"/>
                  </a:lnTo>
                  <a:lnTo>
                    <a:pt x="435077" y="435077"/>
                  </a:lnTo>
                  <a:cubicBezTo>
                    <a:pt x="435077" y="377383"/>
                    <a:pt x="412154" y="322052"/>
                    <a:pt x="371365" y="281256"/>
                  </a:cubicBezTo>
                  <a:cubicBezTo>
                    <a:pt x="330577" y="240459"/>
                    <a:pt x="275241" y="217539"/>
                    <a:pt x="217539" y="217539"/>
                  </a:cubicBezTo>
                  <a:cubicBezTo>
                    <a:pt x="159836" y="217539"/>
                    <a:pt x="104527" y="240459"/>
                    <a:pt x="63710" y="281256"/>
                  </a:cubicBezTo>
                  <a:close/>
                </a:path>
              </a:pathLst>
            </a:custGeom>
            <a:grpFill/>
            <a:ln w="27192" cap="flat">
              <a:noFill/>
              <a:prstDash val="solid"/>
              <a:miter/>
            </a:ln>
          </p:spPr>
          <p:txBody>
            <a:bodyPr rtlCol="0" anchor="ctr"/>
            <a:lstStyle/>
            <a:p>
              <a:endParaRPr lang="uk-UA" sz="900"/>
            </a:p>
          </p:txBody>
        </p:sp>
        <p:sp>
          <p:nvSpPr>
            <p:cNvPr id="521" name="Freeform: Shape 520">
              <a:extLst>
                <a:ext uri="{FF2B5EF4-FFF2-40B4-BE49-F238E27FC236}">
                  <a16:creationId xmlns:a16="http://schemas.microsoft.com/office/drawing/2014/main" id="{3D873586-51B3-2C95-84F5-41B3D1F4DA48}"/>
                </a:ext>
              </a:extLst>
            </p:cNvPr>
            <p:cNvSpPr/>
            <p:nvPr/>
          </p:nvSpPr>
          <p:spPr>
            <a:xfrm>
              <a:off x="17368874" y="1098754"/>
              <a:ext cx="435077" cy="435077"/>
            </a:xfrm>
            <a:custGeom>
              <a:avLst/>
              <a:gdLst>
                <a:gd name="connsiteX0" fmla="*/ 435077 w 435077"/>
                <a:gd name="connsiteY0" fmla="*/ 435077 h 435077"/>
                <a:gd name="connsiteX1" fmla="*/ 435077 w 435077"/>
                <a:gd name="connsiteY1" fmla="*/ 0 h 435077"/>
                <a:gd name="connsiteX2" fmla="*/ 217539 w 435077"/>
                <a:gd name="connsiteY2" fmla="*/ 217544 h 435077"/>
                <a:gd name="connsiteX3" fmla="*/ 435077 w 435077"/>
                <a:gd name="connsiteY3" fmla="*/ 435077 h 435077"/>
                <a:gd name="connsiteX4" fmla="*/ 0 w 435077"/>
                <a:gd name="connsiteY4" fmla="*/ 435077 h 435077"/>
                <a:gd name="connsiteX5" fmla="*/ 0 w 435077"/>
                <a:gd name="connsiteY5" fmla="*/ 3 h 435077"/>
                <a:gd name="connsiteX6" fmla="*/ 217510 w 435077"/>
                <a:gd name="connsiteY6" fmla="*/ 217544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44"/>
                  </a:lnTo>
                  <a:lnTo>
                    <a:pt x="435077" y="435077"/>
                  </a:lnTo>
                  <a:close/>
                  <a:moveTo>
                    <a:pt x="0" y="435077"/>
                  </a:moveTo>
                  <a:lnTo>
                    <a:pt x="0" y="3"/>
                  </a:lnTo>
                  <a:lnTo>
                    <a:pt x="217510" y="217544"/>
                  </a:lnTo>
                  <a:lnTo>
                    <a:pt x="0" y="435077"/>
                  </a:lnTo>
                  <a:close/>
                </a:path>
              </a:pathLst>
            </a:custGeom>
            <a:grpFill/>
            <a:ln w="27192" cap="flat">
              <a:noFill/>
              <a:prstDash val="solid"/>
              <a:miter/>
            </a:ln>
          </p:spPr>
          <p:txBody>
            <a:bodyPr rtlCol="0" anchor="ctr"/>
            <a:lstStyle/>
            <a:p>
              <a:endParaRPr lang="uk-UA" sz="900"/>
            </a:p>
          </p:txBody>
        </p:sp>
        <p:sp>
          <p:nvSpPr>
            <p:cNvPr id="522" name="Freeform: Shape 521">
              <a:extLst>
                <a:ext uri="{FF2B5EF4-FFF2-40B4-BE49-F238E27FC236}">
                  <a16:creationId xmlns:a16="http://schemas.microsoft.com/office/drawing/2014/main" id="{95417B23-A58C-764C-B85F-A273AA9BCFD5}"/>
                </a:ext>
              </a:extLst>
            </p:cNvPr>
            <p:cNvSpPr/>
            <p:nvPr/>
          </p:nvSpPr>
          <p:spPr>
            <a:xfrm>
              <a:off x="19109210" y="1098754"/>
              <a:ext cx="435077" cy="435077"/>
            </a:xfrm>
            <a:custGeom>
              <a:avLst/>
              <a:gdLst>
                <a:gd name="connsiteX0" fmla="*/ 435077 w 435077"/>
                <a:gd name="connsiteY0" fmla="*/ 435077 h 435077"/>
                <a:gd name="connsiteX1" fmla="*/ 435077 w 435077"/>
                <a:gd name="connsiteY1" fmla="*/ 217547 h 435077"/>
                <a:gd name="connsiteX2" fmla="*/ 435077 w 435077"/>
                <a:gd name="connsiteY2" fmla="*/ 16 h 435077"/>
                <a:gd name="connsiteX3" fmla="*/ 217539 w 435077"/>
                <a:gd name="connsiteY3" fmla="*/ 16 h 435077"/>
                <a:gd name="connsiteX4" fmla="*/ 435077 w 435077"/>
                <a:gd name="connsiteY4" fmla="*/ 217547 h 435077"/>
                <a:gd name="connsiteX5" fmla="*/ 217539 w 435077"/>
                <a:gd name="connsiteY5" fmla="*/ 435077 h 435077"/>
                <a:gd name="connsiteX6" fmla="*/ 435077 w 435077"/>
                <a:gd name="connsiteY6" fmla="*/ 435077 h 435077"/>
                <a:gd name="connsiteX7" fmla="*/ 0 w 435077"/>
                <a:gd name="connsiteY7" fmla="*/ 217531 h 435077"/>
                <a:gd name="connsiteX8" fmla="*/ 0 w 435077"/>
                <a:gd name="connsiteY8" fmla="*/ 0 h 435077"/>
                <a:gd name="connsiteX9" fmla="*/ 217512 w 435077"/>
                <a:gd name="connsiteY9" fmla="*/ 217531 h 435077"/>
                <a:gd name="connsiteX10" fmla="*/ 0 w 435077"/>
                <a:gd name="connsiteY10" fmla="*/ 217531 h 435077"/>
                <a:gd name="connsiteX11" fmla="*/ 0 w 435077"/>
                <a:gd name="connsiteY11" fmla="*/ 435072 h 435077"/>
                <a:gd name="connsiteX12" fmla="*/ 0 w 435077"/>
                <a:gd name="connsiteY12" fmla="*/ 217541 h 435077"/>
                <a:gd name="connsiteX13" fmla="*/ 217512 w 435077"/>
                <a:gd name="connsiteY13" fmla="*/ 217541 h 435077"/>
                <a:gd name="connsiteX14" fmla="*/ 0 w 435077"/>
                <a:gd name="connsiteY14" fmla="*/ 43507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47"/>
                  </a:lnTo>
                  <a:lnTo>
                    <a:pt x="435077" y="16"/>
                  </a:lnTo>
                  <a:lnTo>
                    <a:pt x="217539" y="16"/>
                  </a:lnTo>
                  <a:lnTo>
                    <a:pt x="435077" y="217547"/>
                  </a:lnTo>
                  <a:lnTo>
                    <a:pt x="217539" y="435077"/>
                  </a:lnTo>
                  <a:lnTo>
                    <a:pt x="435077" y="435077"/>
                  </a:lnTo>
                  <a:close/>
                  <a:moveTo>
                    <a:pt x="0" y="217531"/>
                  </a:moveTo>
                  <a:lnTo>
                    <a:pt x="0" y="0"/>
                  </a:lnTo>
                  <a:lnTo>
                    <a:pt x="217512" y="217531"/>
                  </a:lnTo>
                  <a:lnTo>
                    <a:pt x="0" y="217531"/>
                  </a:lnTo>
                  <a:close/>
                  <a:moveTo>
                    <a:pt x="0" y="435072"/>
                  </a:moveTo>
                  <a:lnTo>
                    <a:pt x="0" y="217541"/>
                  </a:lnTo>
                  <a:lnTo>
                    <a:pt x="217512" y="217541"/>
                  </a:lnTo>
                  <a:lnTo>
                    <a:pt x="0" y="435072"/>
                  </a:lnTo>
                  <a:close/>
                </a:path>
              </a:pathLst>
            </a:custGeom>
            <a:grpFill/>
            <a:ln w="27192" cap="flat">
              <a:noFill/>
              <a:prstDash val="solid"/>
              <a:miter/>
            </a:ln>
          </p:spPr>
          <p:txBody>
            <a:bodyPr rtlCol="0" anchor="ctr"/>
            <a:lstStyle/>
            <a:p>
              <a:endParaRPr lang="uk-UA" sz="900"/>
            </a:p>
          </p:txBody>
        </p:sp>
        <p:sp>
          <p:nvSpPr>
            <p:cNvPr id="523" name="Freeform: Shape 522">
              <a:extLst>
                <a:ext uri="{FF2B5EF4-FFF2-40B4-BE49-F238E27FC236}">
                  <a16:creationId xmlns:a16="http://schemas.microsoft.com/office/drawing/2014/main" id="{FC506718-A23C-BB33-CA7D-370FBD13F058}"/>
                </a:ext>
              </a:extLst>
            </p:cNvPr>
            <p:cNvSpPr/>
            <p:nvPr/>
          </p:nvSpPr>
          <p:spPr>
            <a:xfrm>
              <a:off x="19979365" y="1098754"/>
              <a:ext cx="435077" cy="435077"/>
            </a:xfrm>
            <a:custGeom>
              <a:avLst/>
              <a:gdLst>
                <a:gd name="connsiteX0" fmla="*/ 217539 w 435077"/>
                <a:gd name="connsiteY0" fmla="*/ 435069 h 435077"/>
                <a:gd name="connsiteX1" fmla="*/ 217539 w 435077"/>
                <a:gd name="connsiteY1" fmla="*/ 0 h 435077"/>
                <a:gd name="connsiteX2" fmla="*/ 435077 w 435077"/>
                <a:gd name="connsiteY2" fmla="*/ 217541 h 435077"/>
                <a:gd name="connsiteX3" fmla="*/ 217539 w 435077"/>
                <a:gd name="connsiteY3" fmla="*/ 435069 h 435077"/>
                <a:gd name="connsiteX4" fmla="*/ 0 w 435077"/>
                <a:gd name="connsiteY4" fmla="*/ 435077 h 435077"/>
                <a:gd name="connsiteX5" fmla="*/ 0 w 435077"/>
                <a:gd name="connsiteY5" fmla="*/ 8 h 435077"/>
                <a:gd name="connsiteX6" fmla="*/ 217539 w 435077"/>
                <a:gd name="connsiteY6" fmla="*/ 217547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69"/>
                  </a:moveTo>
                  <a:lnTo>
                    <a:pt x="217539" y="0"/>
                  </a:lnTo>
                  <a:lnTo>
                    <a:pt x="435077" y="217541"/>
                  </a:lnTo>
                  <a:lnTo>
                    <a:pt x="217539" y="435069"/>
                  </a:lnTo>
                  <a:close/>
                  <a:moveTo>
                    <a:pt x="0" y="435077"/>
                  </a:moveTo>
                  <a:lnTo>
                    <a:pt x="0" y="8"/>
                  </a:lnTo>
                  <a:lnTo>
                    <a:pt x="217539" y="217547"/>
                  </a:lnTo>
                  <a:lnTo>
                    <a:pt x="0" y="435077"/>
                  </a:lnTo>
                  <a:close/>
                </a:path>
              </a:pathLst>
            </a:custGeom>
            <a:grpFill/>
            <a:ln w="27192" cap="flat">
              <a:noFill/>
              <a:prstDash val="solid"/>
              <a:miter/>
            </a:ln>
          </p:spPr>
          <p:txBody>
            <a:bodyPr rtlCol="0" anchor="ctr"/>
            <a:lstStyle/>
            <a:p>
              <a:endParaRPr lang="uk-UA" sz="900"/>
            </a:p>
          </p:txBody>
        </p:sp>
        <p:sp>
          <p:nvSpPr>
            <p:cNvPr id="524" name="Freeform: Shape 523">
              <a:extLst>
                <a:ext uri="{FF2B5EF4-FFF2-40B4-BE49-F238E27FC236}">
                  <a16:creationId xmlns:a16="http://schemas.microsoft.com/office/drawing/2014/main" id="{D14C327B-94C9-FEA8-236A-1CD0866ABA06}"/>
                </a:ext>
              </a:extLst>
            </p:cNvPr>
            <p:cNvSpPr/>
            <p:nvPr/>
          </p:nvSpPr>
          <p:spPr>
            <a:xfrm>
              <a:off x="21719702" y="1098754"/>
              <a:ext cx="435077" cy="435077"/>
            </a:xfrm>
            <a:custGeom>
              <a:avLst/>
              <a:gdLst>
                <a:gd name="connsiteX0" fmla="*/ 63712 w 435077"/>
                <a:gd name="connsiteY0" fmla="*/ 153824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4 h 435077"/>
                <a:gd name="connsiteX5" fmla="*/ 217539 w 435077"/>
                <a:gd name="connsiteY5" fmla="*/ 217539 h 435077"/>
                <a:gd name="connsiteX6" fmla="*/ 63712 w 435077"/>
                <a:gd name="connsiteY6" fmla="*/ 153824 h 435077"/>
                <a:gd name="connsiteX7" fmla="*/ 63712 w 435077"/>
                <a:gd name="connsiteY7" fmla="*/ 281256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56 h 435077"/>
                <a:gd name="connsiteX12" fmla="*/ 217539 w 435077"/>
                <a:gd name="connsiteY12" fmla="*/ 217539 h 435077"/>
                <a:gd name="connsiteX13" fmla="*/ 63712 w 435077"/>
                <a:gd name="connsiteY13" fmla="*/ 281256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4"/>
                  </a:moveTo>
                  <a:cubicBezTo>
                    <a:pt x="22897" y="113028"/>
                    <a:pt x="0" y="57697"/>
                    <a:pt x="0" y="0"/>
                  </a:cubicBezTo>
                  <a:lnTo>
                    <a:pt x="217539" y="0"/>
                  </a:lnTo>
                  <a:lnTo>
                    <a:pt x="435077" y="0"/>
                  </a:lnTo>
                  <a:cubicBezTo>
                    <a:pt x="435077" y="57697"/>
                    <a:pt x="412155" y="113028"/>
                    <a:pt x="371339" y="153824"/>
                  </a:cubicBezTo>
                  <a:cubicBezTo>
                    <a:pt x="330550" y="194621"/>
                    <a:pt x="275215" y="217539"/>
                    <a:pt x="217539" y="217539"/>
                  </a:cubicBezTo>
                  <a:cubicBezTo>
                    <a:pt x="159838" y="217539"/>
                    <a:pt x="104501" y="194621"/>
                    <a:pt x="63712" y="153824"/>
                  </a:cubicBezTo>
                  <a:close/>
                  <a:moveTo>
                    <a:pt x="63712" y="281256"/>
                  </a:moveTo>
                  <a:cubicBezTo>
                    <a:pt x="22897" y="322052"/>
                    <a:pt x="0" y="377383"/>
                    <a:pt x="0" y="435077"/>
                  </a:cubicBezTo>
                  <a:lnTo>
                    <a:pt x="217539" y="435077"/>
                  </a:lnTo>
                  <a:lnTo>
                    <a:pt x="435077" y="435077"/>
                  </a:lnTo>
                  <a:cubicBezTo>
                    <a:pt x="435077" y="377383"/>
                    <a:pt x="412155" y="322052"/>
                    <a:pt x="371339" y="281256"/>
                  </a:cubicBezTo>
                  <a:cubicBezTo>
                    <a:pt x="330550" y="240459"/>
                    <a:pt x="275215" y="217539"/>
                    <a:pt x="217539" y="217539"/>
                  </a:cubicBezTo>
                  <a:cubicBezTo>
                    <a:pt x="159838" y="217539"/>
                    <a:pt x="104501" y="240459"/>
                    <a:pt x="63712" y="281256"/>
                  </a:cubicBezTo>
                  <a:close/>
                </a:path>
              </a:pathLst>
            </a:custGeom>
            <a:grpFill/>
            <a:ln w="27192" cap="flat">
              <a:noFill/>
              <a:prstDash val="solid"/>
              <a:miter/>
            </a:ln>
          </p:spPr>
          <p:txBody>
            <a:bodyPr rtlCol="0" anchor="ctr"/>
            <a:lstStyle/>
            <a:p>
              <a:endParaRPr lang="uk-UA" sz="900"/>
            </a:p>
          </p:txBody>
        </p:sp>
        <p:sp>
          <p:nvSpPr>
            <p:cNvPr id="525" name="Freeform: Shape 524">
              <a:extLst>
                <a:ext uri="{FF2B5EF4-FFF2-40B4-BE49-F238E27FC236}">
                  <a16:creationId xmlns:a16="http://schemas.microsoft.com/office/drawing/2014/main" id="{56910BFD-FD30-6086-C732-36DF7C3A5786}"/>
                </a:ext>
              </a:extLst>
            </p:cNvPr>
            <p:cNvSpPr/>
            <p:nvPr/>
          </p:nvSpPr>
          <p:spPr>
            <a:xfrm>
              <a:off x="20849520" y="1098754"/>
              <a:ext cx="435077" cy="435077"/>
            </a:xfrm>
            <a:custGeom>
              <a:avLst/>
              <a:gdLst>
                <a:gd name="connsiteX0" fmla="*/ 435077 w 435077"/>
                <a:gd name="connsiteY0" fmla="*/ 435077 h 435077"/>
                <a:gd name="connsiteX1" fmla="*/ 435077 w 435077"/>
                <a:gd name="connsiteY1" fmla="*/ 0 h 435077"/>
                <a:gd name="connsiteX2" fmla="*/ 217565 w 435077"/>
                <a:gd name="connsiteY2" fmla="*/ 217544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44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44"/>
                  </a:lnTo>
                  <a:lnTo>
                    <a:pt x="435077" y="435077"/>
                  </a:lnTo>
                  <a:close/>
                  <a:moveTo>
                    <a:pt x="0" y="435077"/>
                  </a:moveTo>
                  <a:lnTo>
                    <a:pt x="0" y="3"/>
                  </a:lnTo>
                  <a:lnTo>
                    <a:pt x="217539" y="217544"/>
                  </a:lnTo>
                  <a:lnTo>
                    <a:pt x="0" y="435077"/>
                  </a:lnTo>
                  <a:close/>
                </a:path>
              </a:pathLst>
            </a:custGeom>
            <a:grpFill/>
            <a:ln w="27192" cap="flat">
              <a:noFill/>
              <a:prstDash val="solid"/>
              <a:miter/>
            </a:ln>
          </p:spPr>
          <p:txBody>
            <a:bodyPr rtlCol="0" anchor="ctr"/>
            <a:lstStyle/>
            <a:p>
              <a:endParaRPr lang="uk-UA" sz="900"/>
            </a:p>
          </p:txBody>
        </p:sp>
        <p:sp>
          <p:nvSpPr>
            <p:cNvPr id="526" name="Freeform: Shape 525">
              <a:extLst>
                <a:ext uri="{FF2B5EF4-FFF2-40B4-BE49-F238E27FC236}">
                  <a16:creationId xmlns:a16="http://schemas.microsoft.com/office/drawing/2014/main" id="{1F784630-6259-2BF6-48D5-F20163430E93}"/>
                </a:ext>
              </a:extLst>
            </p:cNvPr>
            <p:cNvSpPr/>
            <p:nvPr/>
          </p:nvSpPr>
          <p:spPr>
            <a:xfrm>
              <a:off x="22589856" y="1098754"/>
              <a:ext cx="435077" cy="435077"/>
            </a:xfrm>
            <a:custGeom>
              <a:avLst/>
              <a:gdLst>
                <a:gd name="connsiteX0" fmla="*/ 435077 w 435077"/>
                <a:gd name="connsiteY0" fmla="*/ 435077 h 435077"/>
                <a:gd name="connsiteX1" fmla="*/ 435077 w 435077"/>
                <a:gd name="connsiteY1" fmla="*/ 217547 h 435077"/>
                <a:gd name="connsiteX2" fmla="*/ 435077 w 435077"/>
                <a:gd name="connsiteY2" fmla="*/ 16 h 435077"/>
                <a:gd name="connsiteX3" fmla="*/ 217567 w 435077"/>
                <a:gd name="connsiteY3" fmla="*/ 16 h 435077"/>
                <a:gd name="connsiteX4" fmla="*/ 435077 w 435077"/>
                <a:gd name="connsiteY4" fmla="*/ 217547 h 435077"/>
                <a:gd name="connsiteX5" fmla="*/ 217567 w 435077"/>
                <a:gd name="connsiteY5" fmla="*/ 435077 h 435077"/>
                <a:gd name="connsiteX6" fmla="*/ 435077 w 435077"/>
                <a:gd name="connsiteY6" fmla="*/ 435077 h 435077"/>
                <a:gd name="connsiteX7" fmla="*/ 0 w 435077"/>
                <a:gd name="connsiteY7" fmla="*/ 217531 h 435077"/>
                <a:gd name="connsiteX8" fmla="*/ 0 w 435077"/>
                <a:gd name="connsiteY8" fmla="*/ 0 h 435077"/>
                <a:gd name="connsiteX9" fmla="*/ 217539 w 435077"/>
                <a:gd name="connsiteY9" fmla="*/ 217531 h 435077"/>
                <a:gd name="connsiteX10" fmla="*/ 0 w 435077"/>
                <a:gd name="connsiteY10" fmla="*/ 217531 h 435077"/>
                <a:gd name="connsiteX11" fmla="*/ 0 w 435077"/>
                <a:gd name="connsiteY11" fmla="*/ 435072 h 435077"/>
                <a:gd name="connsiteX12" fmla="*/ 0 w 435077"/>
                <a:gd name="connsiteY12" fmla="*/ 217541 h 435077"/>
                <a:gd name="connsiteX13" fmla="*/ 217539 w 435077"/>
                <a:gd name="connsiteY13" fmla="*/ 217541 h 435077"/>
                <a:gd name="connsiteX14" fmla="*/ 0 w 435077"/>
                <a:gd name="connsiteY14" fmla="*/ 43507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47"/>
                  </a:lnTo>
                  <a:lnTo>
                    <a:pt x="435077" y="16"/>
                  </a:lnTo>
                  <a:lnTo>
                    <a:pt x="217567" y="16"/>
                  </a:lnTo>
                  <a:lnTo>
                    <a:pt x="435077" y="217547"/>
                  </a:lnTo>
                  <a:lnTo>
                    <a:pt x="217567" y="435077"/>
                  </a:lnTo>
                  <a:lnTo>
                    <a:pt x="435077" y="435077"/>
                  </a:lnTo>
                  <a:close/>
                  <a:moveTo>
                    <a:pt x="0" y="217531"/>
                  </a:moveTo>
                  <a:lnTo>
                    <a:pt x="0" y="0"/>
                  </a:lnTo>
                  <a:lnTo>
                    <a:pt x="217539" y="217531"/>
                  </a:lnTo>
                  <a:lnTo>
                    <a:pt x="0" y="217531"/>
                  </a:lnTo>
                  <a:close/>
                  <a:moveTo>
                    <a:pt x="0" y="435072"/>
                  </a:moveTo>
                  <a:lnTo>
                    <a:pt x="0" y="217541"/>
                  </a:lnTo>
                  <a:lnTo>
                    <a:pt x="217539" y="217541"/>
                  </a:lnTo>
                  <a:lnTo>
                    <a:pt x="0" y="435072"/>
                  </a:lnTo>
                  <a:close/>
                </a:path>
              </a:pathLst>
            </a:custGeom>
            <a:grpFill/>
            <a:ln w="27192" cap="flat">
              <a:noFill/>
              <a:prstDash val="solid"/>
              <a:miter/>
            </a:ln>
          </p:spPr>
          <p:txBody>
            <a:bodyPr rtlCol="0" anchor="ctr"/>
            <a:lstStyle/>
            <a:p>
              <a:endParaRPr lang="uk-UA" sz="900"/>
            </a:p>
          </p:txBody>
        </p:sp>
        <p:sp>
          <p:nvSpPr>
            <p:cNvPr id="527" name="Freeform: Shape 526">
              <a:extLst>
                <a:ext uri="{FF2B5EF4-FFF2-40B4-BE49-F238E27FC236}">
                  <a16:creationId xmlns:a16="http://schemas.microsoft.com/office/drawing/2014/main" id="{1A24BBAA-0FC4-6D17-E2B9-3F947CA123A7}"/>
                </a:ext>
              </a:extLst>
            </p:cNvPr>
            <p:cNvSpPr/>
            <p:nvPr/>
          </p:nvSpPr>
          <p:spPr>
            <a:xfrm>
              <a:off x="23460039" y="1098754"/>
              <a:ext cx="435077" cy="435077"/>
            </a:xfrm>
            <a:custGeom>
              <a:avLst/>
              <a:gdLst>
                <a:gd name="connsiteX0" fmla="*/ 217539 w 435077"/>
                <a:gd name="connsiteY0" fmla="*/ 435069 h 435077"/>
                <a:gd name="connsiteX1" fmla="*/ 217539 w 435077"/>
                <a:gd name="connsiteY1" fmla="*/ 0 h 435077"/>
                <a:gd name="connsiteX2" fmla="*/ 435077 w 435077"/>
                <a:gd name="connsiteY2" fmla="*/ 217541 h 435077"/>
                <a:gd name="connsiteX3" fmla="*/ 217539 w 435077"/>
                <a:gd name="connsiteY3" fmla="*/ 435069 h 435077"/>
                <a:gd name="connsiteX4" fmla="*/ 0 w 435077"/>
                <a:gd name="connsiteY4" fmla="*/ 435077 h 435077"/>
                <a:gd name="connsiteX5" fmla="*/ 0 w 435077"/>
                <a:gd name="connsiteY5" fmla="*/ 8 h 435077"/>
                <a:gd name="connsiteX6" fmla="*/ 217539 w 435077"/>
                <a:gd name="connsiteY6" fmla="*/ 217547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69"/>
                  </a:moveTo>
                  <a:lnTo>
                    <a:pt x="217539" y="0"/>
                  </a:lnTo>
                  <a:lnTo>
                    <a:pt x="435077" y="217541"/>
                  </a:lnTo>
                  <a:lnTo>
                    <a:pt x="217539" y="435069"/>
                  </a:lnTo>
                  <a:close/>
                  <a:moveTo>
                    <a:pt x="0" y="435077"/>
                  </a:moveTo>
                  <a:lnTo>
                    <a:pt x="0" y="8"/>
                  </a:lnTo>
                  <a:lnTo>
                    <a:pt x="217539" y="217547"/>
                  </a:lnTo>
                  <a:lnTo>
                    <a:pt x="0" y="435077"/>
                  </a:lnTo>
                  <a:close/>
                </a:path>
              </a:pathLst>
            </a:custGeom>
            <a:grpFill/>
            <a:ln w="27192" cap="flat">
              <a:noFill/>
              <a:prstDash val="solid"/>
              <a:miter/>
            </a:ln>
          </p:spPr>
          <p:txBody>
            <a:bodyPr rtlCol="0" anchor="ctr"/>
            <a:lstStyle/>
            <a:p>
              <a:endParaRPr lang="uk-UA" sz="900"/>
            </a:p>
          </p:txBody>
        </p:sp>
        <p:sp>
          <p:nvSpPr>
            <p:cNvPr id="528" name="Freeform: Shape 527">
              <a:extLst>
                <a:ext uri="{FF2B5EF4-FFF2-40B4-BE49-F238E27FC236}">
                  <a16:creationId xmlns:a16="http://schemas.microsoft.com/office/drawing/2014/main" id="{03BE9659-270F-A6D1-BF75-678F8794D63A}"/>
                </a:ext>
              </a:extLst>
            </p:cNvPr>
            <p:cNvSpPr/>
            <p:nvPr/>
          </p:nvSpPr>
          <p:spPr>
            <a:xfrm>
              <a:off x="24330194" y="1098754"/>
              <a:ext cx="435077" cy="435077"/>
            </a:xfrm>
            <a:custGeom>
              <a:avLst/>
              <a:gdLst>
                <a:gd name="connsiteX0" fmla="*/ 435077 w 435077"/>
                <a:gd name="connsiteY0" fmla="*/ 435077 h 435077"/>
                <a:gd name="connsiteX1" fmla="*/ 435077 w 435077"/>
                <a:gd name="connsiteY1" fmla="*/ 0 h 435077"/>
                <a:gd name="connsiteX2" fmla="*/ 217539 w 435077"/>
                <a:gd name="connsiteY2" fmla="*/ 217544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44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44"/>
                  </a:lnTo>
                  <a:lnTo>
                    <a:pt x="435077" y="435077"/>
                  </a:lnTo>
                  <a:close/>
                  <a:moveTo>
                    <a:pt x="0" y="435077"/>
                  </a:moveTo>
                  <a:lnTo>
                    <a:pt x="0" y="3"/>
                  </a:lnTo>
                  <a:lnTo>
                    <a:pt x="217539" y="217544"/>
                  </a:lnTo>
                  <a:lnTo>
                    <a:pt x="0" y="435077"/>
                  </a:lnTo>
                  <a:close/>
                </a:path>
              </a:pathLst>
            </a:custGeom>
            <a:grpFill/>
            <a:ln w="27192" cap="flat">
              <a:noFill/>
              <a:prstDash val="solid"/>
              <a:miter/>
            </a:ln>
          </p:spPr>
          <p:txBody>
            <a:bodyPr rtlCol="0" anchor="ctr"/>
            <a:lstStyle/>
            <a:p>
              <a:endParaRPr lang="uk-UA" sz="900"/>
            </a:p>
          </p:txBody>
        </p:sp>
        <p:sp>
          <p:nvSpPr>
            <p:cNvPr id="529" name="Freeform: Shape 528">
              <a:extLst>
                <a:ext uri="{FF2B5EF4-FFF2-40B4-BE49-F238E27FC236}">
                  <a16:creationId xmlns:a16="http://schemas.microsoft.com/office/drawing/2014/main" id="{1A0C5BC8-3743-AD73-0485-BF3B12AA0E27}"/>
                </a:ext>
              </a:extLst>
            </p:cNvPr>
            <p:cNvSpPr/>
            <p:nvPr/>
          </p:nvSpPr>
          <p:spPr>
            <a:xfrm>
              <a:off x="835769" y="5449529"/>
              <a:ext cx="435077" cy="435077"/>
            </a:xfrm>
            <a:custGeom>
              <a:avLst/>
              <a:gdLst>
                <a:gd name="connsiteX0" fmla="*/ 371366 w 435077"/>
                <a:gd name="connsiteY0" fmla="*/ 63712 h 435077"/>
                <a:gd name="connsiteX1" fmla="*/ 435077 w 435077"/>
                <a:gd name="connsiteY1" fmla="*/ 217539 h 435077"/>
                <a:gd name="connsiteX2" fmla="*/ 217702 w 435077"/>
                <a:gd name="connsiteY2" fmla="*/ 217539 h 435077"/>
                <a:gd name="connsiteX3" fmla="*/ 371366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1 w 435077"/>
                <a:gd name="connsiteY7" fmla="*/ 281250 h 435077"/>
                <a:gd name="connsiteX8" fmla="*/ 217375 w 435077"/>
                <a:gd name="connsiteY8" fmla="*/ 217539 h 435077"/>
                <a:gd name="connsiteX9" fmla="*/ 0 w 435077"/>
                <a:gd name="connsiteY9" fmla="*/ 217539 h 435077"/>
                <a:gd name="connsiteX10" fmla="*/ 63711 w 435077"/>
                <a:gd name="connsiteY10" fmla="*/ 63712 h 435077"/>
                <a:gd name="connsiteX11" fmla="*/ 217539 w 435077"/>
                <a:gd name="connsiteY11" fmla="*/ 0 h 435077"/>
                <a:gd name="connsiteX12" fmla="*/ 371366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2"/>
                  </a:moveTo>
                  <a:cubicBezTo>
                    <a:pt x="412154" y="104527"/>
                    <a:pt x="435077" y="159837"/>
                    <a:pt x="435077" y="217539"/>
                  </a:cubicBezTo>
                  <a:lnTo>
                    <a:pt x="217702" y="217539"/>
                  </a:lnTo>
                  <a:cubicBezTo>
                    <a:pt x="275349" y="217593"/>
                    <a:pt x="330604" y="240489"/>
                    <a:pt x="371366" y="281250"/>
                  </a:cubicBezTo>
                  <a:cubicBezTo>
                    <a:pt x="412154" y="322066"/>
                    <a:pt x="435077" y="377375"/>
                    <a:pt x="435077" y="435077"/>
                  </a:cubicBezTo>
                  <a:lnTo>
                    <a:pt x="217539" y="435077"/>
                  </a:lnTo>
                  <a:lnTo>
                    <a:pt x="0" y="435077"/>
                  </a:lnTo>
                  <a:cubicBezTo>
                    <a:pt x="0" y="377375"/>
                    <a:pt x="22923" y="322066"/>
                    <a:pt x="63711" y="281250"/>
                  </a:cubicBezTo>
                  <a:cubicBezTo>
                    <a:pt x="104473" y="240489"/>
                    <a:pt x="159728" y="217593"/>
                    <a:pt x="217375" y="217539"/>
                  </a:cubicBezTo>
                  <a:lnTo>
                    <a:pt x="0" y="217539"/>
                  </a:lnTo>
                  <a:cubicBezTo>
                    <a:pt x="0" y="159837"/>
                    <a:pt x="22923" y="104527"/>
                    <a:pt x="63711" y="63712"/>
                  </a:cubicBezTo>
                  <a:cubicBezTo>
                    <a:pt x="104500" y="22923"/>
                    <a:pt x="159836" y="0"/>
                    <a:pt x="217539" y="0"/>
                  </a:cubicBezTo>
                  <a:cubicBezTo>
                    <a:pt x="275213" y="0"/>
                    <a:pt x="330550" y="22923"/>
                    <a:pt x="371366" y="63712"/>
                  </a:cubicBezTo>
                  <a:close/>
                </a:path>
              </a:pathLst>
            </a:custGeom>
            <a:grpFill/>
            <a:ln w="27192" cap="flat">
              <a:noFill/>
              <a:prstDash val="solid"/>
              <a:miter/>
            </a:ln>
          </p:spPr>
          <p:txBody>
            <a:bodyPr rtlCol="0" anchor="ctr"/>
            <a:lstStyle/>
            <a:p>
              <a:endParaRPr lang="uk-UA" sz="900"/>
            </a:p>
          </p:txBody>
        </p:sp>
        <p:sp>
          <p:nvSpPr>
            <p:cNvPr id="530" name="Freeform: Shape 529">
              <a:extLst>
                <a:ext uri="{FF2B5EF4-FFF2-40B4-BE49-F238E27FC236}">
                  <a16:creationId xmlns:a16="http://schemas.microsoft.com/office/drawing/2014/main" id="{16FCED13-A54D-8138-A70D-CA5A09435C2E}"/>
                </a:ext>
              </a:extLst>
            </p:cNvPr>
            <p:cNvSpPr/>
            <p:nvPr/>
          </p:nvSpPr>
          <p:spPr>
            <a:xfrm>
              <a:off x="-34398" y="5449529"/>
              <a:ext cx="435090" cy="435077"/>
            </a:xfrm>
            <a:custGeom>
              <a:avLst/>
              <a:gdLst>
                <a:gd name="connsiteX0" fmla="*/ 217525 w 435090"/>
                <a:gd name="connsiteY0" fmla="*/ 0 h 435077"/>
                <a:gd name="connsiteX1" fmla="*/ 0 w 435090"/>
                <a:gd name="connsiteY1" fmla="*/ 0 h 435077"/>
                <a:gd name="connsiteX2" fmla="*/ 0 w 435090"/>
                <a:gd name="connsiteY2" fmla="*/ 217539 h 435077"/>
                <a:gd name="connsiteX3" fmla="*/ 217525 w 435090"/>
                <a:gd name="connsiteY3" fmla="*/ 0 h 435077"/>
                <a:gd name="connsiteX4" fmla="*/ 435091 w 435090"/>
                <a:gd name="connsiteY4" fmla="*/ 0 h 435077"/>
                <a:gd name="connsiteX5" fmla="*/ 435091 w 435090"/>
                <a:gd name="connsiteY5" fmla="*/ 217539 h 435077"/>
                <a:gd name="connsiteX6" fmla="*/ 217552 w 435090"/>
                <a:gd name="connsiteY6" fmla="*/ 0 h 435077"/>
                <a:gd name="connsiteX7" fmla="*/ 435091 w 435090"/>
                <a:gd name="connsiteY7" fmla="*/ 0 h 435077"/>
                <a:gd name="connsiteX8" fmla="*/ 217552 w 435090"/>
                <a:gd name="connsiteY8" fmla="*/ 435077 h 435077"/>
                <a:gd name="connsiteX9" fmla="*/ 435091 w 435090"/>
                <a:gd name="connsiteY9" fmla="*/ 217539 h 435077"/>
                <a:gd name="connsiteX10" fmla="*/ 435091 w 435090"/>
                <a:gd name="connsiteY10" fmla="*/ 435077 h 435077"/>
                <a:gd name="connsiteX11" fmla="*/ 217552 w 435090"/>
                <a:gd name="connsiteY11" fmla="*/ 435077 h 435077"/>
                <a:gd name="connsiteX12" fmla="*/ 217552 w 435090"/>
                <a:gd name="connsiteY12" fmla="*/ 435077 h 435077"/>
                <a:gd name="connsiteX13" fmla="*/ 11 w 435090"/>
                <a:gd name="connsiteY13" fmla="*/ 217539 h 435077"/>
                <a:gd name="connsiteX14" fmla="*/ 11 w 435090"/>
                <a:gd name="connsiteY14" fmla="*/ 435077 h 435077"/>
                <a:gd name="connsiteX15" fmla="*/ 217552 w 435090"/>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90" h="435077">
                  <a:moveTo>
                    <a:pt x="217525" y="0"/>
                  </a:moveTo>
                  <a:lnTo>
                    <a:pt x="0" y="0"/>
                  </a:lnTo>
                  <a:lnTo>
                    <a:pt x="0" y="217539"/>
                  </a:lnTo>
                  <a:lnTo>
                    <a:pt x="217525" y="0"/>
                  </a:lnTo>
                  <a:close/>
                  <a:moveTo>
                    <a:pt x="435091" y="0"/>
                  </a:moveTo>
                  <a:lnTo>
                    <a:pt x="435091" y="217539"/>
                  </a:lnTo>
                  <a:lnTo>
                    <a:pt x="217552" y="0"/>
                  </a:lnTo>
                  <a:lnTo>
                    <a:pt x="435091" y="0"/>
                  </a:lnTo>
                  <a:close/>
                  <a:moveTo>
                    <a:pt x="217552" y="435077"/>
                  </a:moveTo>
                  <a:lnTo>
                    <a:pt x="435091" y="217539"/>
                  </a:lnTo>
                  <a:lnTo>
                    <a:pt x="435091" y="435077"/>
                  </a:lnTo>
                  <a:lnTo>
                    <a:pt x="217552" y="435077"/>
                  </a:lnTo>
                  <a:close/>
                  <a:moveTo>
                    <a:pt x="217552" y="435077"/>
                  </a:moveTo>
                  <a:lnTo>
                    <a:pt x="11" y="217539"/>
                  </a:lnTo>
                  <a:lnTo>
                    <a:pt x="11" y="435077"/>
                  </a:lnTo>
                  <a:lnTo>
                    <a:pt x="217552" y="435077"/>
                  </a:lnTo>
                  <a:close/>
                </a:path>
              </a:pathLst>
            </a:custGeom>
            <a:grpFill/>
            <a:ln w="27192" cap="flat">
              <a:noFill/>
              <a:prstDash val="solid"/>
              <a:miter/>
            </a:ln>
          </p:spPr>
          <p:txBody>
            <a:bodyPr rtlCol="0" anchor="ctr"/>
            <a:lstStyle/>
            <a:p>
              <a:endParaRPr lang="uk-UA" sz="900"/>
            </a:p>
          </p:txBody>
        </p:sp>
        <p:sp>
          <p:nvSpPr>
            <p:cNvPr id="531" name="Freeform: Shape 530">
              <a:extLst>
                <a:ext uri="{FF2B5EF4-FFF2-40B4-BE49-F238E27FC236}">
                  <a16:creationId xmlns:a16="http://schemas.microsoft.com/office/drawing/2014/main" id="{9FC35F60-D800-891E-C9D0-6FAE09C3C014}"/>
                </a:ext>
              </a:extLst>
            </p:cNvPr>
            <p:cNvSpPr/>
            <p:nvPr/>
          </p:nvSpPr>
          <p:spPr>
            <a:xfrm>
              <a:off x="1705924" y="544952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532" name="Freeform: Shape 531">
              <a:extLst>
                <a:ext uri="{FF2B5EF4-FFF2-40B4-BE49-F238E27FC236}">
                  <a16:creationId xmlns:a16="http://schemas.microsoft.com/office/drawing/2014/main" id="{621B3299-1DB3-C590-5602-CACBD0256334}"/>
                </a:ext>
              </a:extLst>
            </p:cNvPr>
            <p:cNvSpPr/>
            <p:nvPr/>
          </p:nvSpPr>
          <p:spPr>
            <a:xfrm>
              <a:off x="2576106" y="5449529"/>
              <a:ext cx="435077" cy="435077"/>
            </a:xfrm>
            <a:custGeom>
              <a:avLst/>
              <a:gdLst>
                <a:gd name="connsiteX0" fmla="*/ 0 w 435077"/>
                <a:gd name="connsiteY0" fmla="*/ 435077 h 435077"/>
                <a:gd name="connsiteX1" fmla="*/ 217512 w 435077"/>
                <a:gd name="connsiteY1" fmla="*/ 435077 h 435077"/>
                <a:gd name="connsiteX2" fmla="*/ 217512 w 435077"/>
                <a:gd name="connsiteY2" fmla="*/ 217566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66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12" y="435077"/>
                  </a:lnTo>
                  <a:lnTo>
                    <a:pt x="217512" y="217566"/>
                  </a:lnTo>
                  <a:lnTo>
                    <a:pt x="0" y="435077"/>
                  </a:lnTo>
                  <a:close/>
                  <a:moveTo>
                    <a:pt x="217539" y="0"/>
                  </a:moveTo>
                  <a:lnTo>
                    <a:pt x="0" y="0"/>
                  </a:lnTo>
                  <a:lnTo>
                    <a:pt x="217539" y="217539"/>
                  </a:lnTo>
                  <a:lnTo>
                    <a:pt x="217539" y="0"/>
                  </a:lnTo>
                  <a:close/>
                  <a:moveTo>
                    <a:pt x="435077" y="435077"/>
                  </a:moveTo>
                  <a:lnTo>
                    <a:pt x="217539" y="435077"/>
                  </a:lnTo>
                  <a:lnTo>
                    <a:pt x="435077" y="217566"/>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533" name="Freeform: Shape 532">
              <a:extLst>
                <a:ext uri="{FF2B5EF4-FFF2-40B4-BE49-F238E27FC236}">
                  <a16:creationId xmlns:a16="http://schemas.microsoft.com/office/drawing/2014/main" id="{735A62E1-4F1E-0C35-5CCC-D91E83092B5A}"/>
                </a:ext>
              </a:extLst>
            </p:cNvPr>
            <p:cNvSpPr/>
            <p:nvPr/>
          </p:nvSpPr>
          <p:spPr>
            <a:xfrm>
              <a:off x="4316416" y="5449529"/>
              <a:ext cx="435103" cy="435077"/>
            </a:xfrm>
            <a:custGeom>
              <a:avLst/>
              <a:gdLst>
                <a:gd name="connsiteX0" fmla="*/ 371365 w 435103"/>
                <a:gd name="connsiteY0" fmla="*/ 63712 h 435077"/>
                <a:gd name="connsiteX1" fmla="*/ 435077 w 435103"/>
                <a:gd name="connsiteY1" fmla="*/ 217539 h 435077"/>
                <a:gd name="connsiteX2" fmla="*/ 217729 w 435103"/>
                <a:gd name="connsiteY2" fmla="*/ 217539 h 435077"/>
                <a:gd name="connsiteX3" fmla="*/ 371365 w 435103"/>
                <a:gd name="connsiteY3" fmla="*/ 281250 h 435077"/>
                <a:gd name="connsiteX4" fmla="*/ 435104 w 435103"/>
                <a:gd name="connsiteY4" fmla="*/ 435077 h 435077"/>
                <a:gd name="connsiteX5" fmla="*/ 217565 w 435103"/>
                <a:gd name="connsiteY5" fmla="*/ 435077 h 435077"/>
                <a:gd name="connsiteX6" fmla="*/ 27 w 435103"/>
                <a:gd name="connsiteY6" fmla="*/ 435077 h 435077"/>
                <a:gd name="connsiteX7" fmla="*/ 63739 w 435103"/>
                <a:gd name="connsiteY7" fmla="*/ 281250 h 435077"/>
                <a:gd name="connsiteX8" fmla="*/ 217375 w 435103"/>
                <a:gd name="connsiteY8" fmla="*/ 217539 h 435077"/>
                <a:gd name="connsiteX9" fmla="*/ 0 w 435103"/>
                <a:gd name="connsiteY9" fmla="*/ 217539 h 435077"/>
                <a:gd name="connsiteX10" fmla="*/ 63739 w 435103"/>
                <a:gd name="connsiteY10" fmla="*/ 63712 h 435077"/>
                <a:gd name="connsiteX11" fmla="*/ 217539 w 435103"/>
                <a:gd name="connsiteY11" fmla="*/ 0 h 435077"/>
                <a:gd name="connsiteX12" fmla="*/ 371365 w 435103"/>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3" h="435077">
                  <a:moveTo>
                    <a:pt x="371365" y="63712"/>
                  </a:moveTo>
                  <a:cubicBezTo>
                    <a:pt x="412181" y="104527"/>
                    <a:pt x="435077" y="159837"/>
                    <a:pt x="435077" y="217539"/>
                  </a:cubicBezTo>
                  <a:lnTo>
                    <a:pt x="217729" y="217539"/>
                  </a:lnTo>
                  <a:cubicBezTo>
                    <a:pt x="275349" y="217593"/>
                    <a:pt x="330632" y="240489"/>
                    <a:pt x="371365" y="281250"/>
                  </a:cubicBezTo>
                  <a:cubicBezTo>
                    <a:pt x="412181" y="322066"/>
                    <a:pt x="435104" y="377375"/>
                    <a:pt x="435104" y="435077"/>
                  </a:cubicBezTo>
                  <a:lnTo>
                    <a:pt x="217565" y="435077"/>
                  </a:lnTo>
                  <a:lnTo>
                    <a:pt x="27" y="435077"/>
                  </a:lnTo>
                  <a:cubicBezTo>
                    <a:pt x="27" y="377375"/>
                    <a:pt x="22923" y="322066"/>
                    <a:pt x="63739" y="281250"/>
                  </a:cubicBezTo>
                  <a:cubicBezTo>
                    <a:pt x="104500" y="240489"/>
                    <a:pt x="159755" y="217593"/>
                    <a:pt x="217375" y="217539"/>
                  </a:cubicBezTo>
                  <a:lnTo>
                    <a:pt x="0" y="217539"/>
                  </a:lnTo>
                  <a:cubicBezTo>
                    <a:pt x="0" y="159837"/>
                    <a:pt x="22923" y="104527"/>
                    <a:pt x="63739" y="63712"/>
                  </a:cubicBezTo>
                  <a:cubicBezTo>
                    <a:pt x="104527" y="22923"/>
                    <a:pt x="159864" y="0"/>
                    <a:pt x="217539" y="0"/>
                  </a:cubicBezTo>
                  <a:cubicBezTo>
                    <a:pt x="275240" y="0"/>
                    <a:pt x="330577" y="22923"/>
                    <a:pt x="371365" y="63712"/>
                  </a:cubicBezTo>
                  <a:close/>
                </a:path>
              </a:pathLst>
            </a:custGeom>
            <a:grpFill/>
            <a:ln w="27192" cap="flat">
              <a:noFill/>
              <a:prstDash val="solid"/>
              <a:miter/>
            </a:ln>
          </p:spPr>
          <p:txBody>
            <a:bodyPr rtlCol="0" anchor="ctr"/>
            <a:lstStyle/>
            <a:p>
              <a:endParaRPr lang="uk-UA" sz="900"/>
            </a:p>
          </p:txBody>
        </p:sp>
        <p:sp>
          <p:nvSpPr>
            <p:cNvPr id="534" name="Freeform: Shape 533">
              <a:extLst>
                <a:ext uri="{FF2B5EF4-FFF2-40B4-BE49-F238E27FC236}">
                  <a16:creationId xmlns:a16="http://schemas.microsoft.com/office/drawing/2014/main" id="{BF3E0F49-7CE0-2B05-1C39-C8D5728F07F4}"/>
                </a:ext>
              </a:extLst>
            </p:cNvPr>
            <p:cNvSpPr/>
            <p:nvPr/>
          </p:nvSpPr>
          <p:spPr>
            <a:xfrm>
              <a:off x="3446261" y="5449529"/>
              <a:ext cx="435077" cy="435077"/>
            </a:xfrm>
            <a:custGeom>
              <a:avLst/>
              <a:gdLst>
                <a:gd name="connsiteX0" fmla="*/ 217566 w 435077"/>
                <a:gd name="connsiteY0" fmla="*/ 0 h 435077"/>
                <a:gd name="connsiteX1" fmla="*/ 217539 w 435077"/>
                <a:gd name="connsiteY1" fmla="*/ 0 h 435077"/>
                <a:gd name="connsiteX2" fmla="*/ 27 w 435077"/>
                <a:gd name="connsiteY2" fmla="*/ 0 h 435077"/>
                <a:gd name="connsiteX3" fmla="*/ 27 w 435077"/>
                <a:gd name="connsiteY3" fmla="*/ 217539 h 435077"/>
                <a:gd name="connsiteX4" fmla="*/ 217539 w 435077"/>
                <a:gd name="connsiteY4" fmla="*/ 0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66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66" y="0"/>
                  </a:moveTo>
                  <a:lnTo>
                    <a:pt x="217539" y="0"/>
                  </a:lnTo>
                  <a:lnTo>
                    <a:pt x="27" y="0"/>
                  </a:lnTo>
                  <a:lnTo>
                    <a:pt x="27" y="217539"/>
                  </a:lnTo>
                  <a:lnTo>
                    <a:pt x="217539" y="0"/>
                  </a:lnTo>
                  <a:lnTo>
                    <a:pt x="435077" y="217539"/>
                  </a:lnTo>
                  <a:lnTo>
                    <a:pt x="217539" y="435077"/>
                  </a:lnTo>
                  <a:lnTo>
                    <a:pt x="0" y="217539"/>
                  </a:lnTo>
                  <a:lnTo>
                    <a:pt x="0" y="435077"/>
                  </a:lnTo>
                  <a:lnTo>
                    <a:pt x="217539" y="435077"/>
                  </a:lnTo>
                  <a:lnTo>
                    <a:pt x="435077" y="435077"/>
                  </a:lnTo>
                  <a:lnTo>
                    <a:pt x="435077" y="217539"/>
                  </a:lnTo>
                  <a:lnTo>
                    <a:pt x="435077" y="0"/>
                  </a:lnTo>
                  <a:lnTo>
                    <a:pt x="217566" y="0"/>
                  </a:lnTo>
                  <a:close/>
                </a:path>
              </a:pathLst>
            </a:custGeom>
            <a:grpFill/>
            <a:ln w="27192" cap="flat">
              <a:noFill/>
              <a:prstDash val="solid"/>
              <a:miter/>
            </a:ln>
          </p:spPr>
          <p:txBody>
            <a:bodyPr rtlCol="0" anchor="ctr"/>
            <a:lstStyle/>
            <a:p>
              <a:endParaRPr lang="uk-UA" sz="900"/>
            </a:p>
          </p:txBody>
        </p:sp>
        <p:sp>
          <p:nvSpPr>
            <p:cNvPr id="535" name="Freeform: Shape 534">
              <a:extLst>
                <a:ext uri="{FF2B5EF4-FFF2-40B4-BE49-F238E27FC236}">
                  <a16:creationId xmlns:a16="http://schemas.microsoft.com/office/drawing/2014/main" id="{756D8E05-2411-D892-CB06-F9430FCD0042}"/>
                </a:ext>
              </a:extLst>
            </p:cNvPr>
            <p:cNvSpPr/>
            <p:nvPr/>
          </p:nvSpPr>
          <p:spPr>
            <a:xfrm>
              <a:off x="5186597" y="5449529"/>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0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39 h 435077"/>
                <a:gd name="connsiteX9" fmla="*/ 435077 w 435077"/>
                <a:gd name="connsiteY9" fmla="*/ 217539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0"/>
                  </a:lnTo>
                  <a:lnTo>
                    <a:pt x="435077" y="217539"/>
                  </a:lnTo>
                  <a:lnTo>
                    <a:pt x="435077" y="217539"/>
                  </a:lnTo>
                  <a:lnTo>
                    <a:pt x="435077" y="217539"/>
                  </a:lnTo>
                  <a:lnTo>
                    <a:pt x="435077" y="217539"/>
                  </a:lnTo>
                  <a:lnTo>
                    <a:pt x="435077" y="217539"/>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536" name="Freeform: Shape 535">
              <a:extLst>
                <a:ext uri="{FF2B5EF4-FFF2-40B4-BE49-F238E27FC236}">
                  <a16:creationId xmlns:a16="http://schemas.microsoft.com/office/drawing/2014/main" id="{A80A16FA-F525-95B6-42FC-BBB52E268BCD}"/>
                </a:ext>
              </a:extLst>
            </p:cNvPr>
            <p:cNvSpPr/>
            <p:nvPr/>
          </p:nvSpPr>
          <p:spPr>
            <a:xfrm>
              <a:off x="6056752" y="5449529"/>
              <a:ext cx="435077" cy="435077"/>
            </a:xfrm>
            <a:custGeom>
              <a:avLst/>
              <a:gdLst>
                <a:gd name="connsiteX0" fmla="*/ 0 w 435077"/>
                <a:gd name="connsiteY0" fmla="*/ 435077 h 435077"/>
                <a:gd name="connsiteX1" fmla="*/ 217539 w 435077"/>
                <a:gd name="connsiteY1" fmla="*/ 435077 h 435077"/>
                <a:gd name="connsiteX2" fmla="*/ 217539 w 435077"/>
                <a:gd name="connsiteY2" fmla="*/ 217566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66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66"/>
                  </a:lnTo>
                  <a:lnTo>
                    <a:pt x="0" y="435077"/>
                  </a:lnTo>
                  <a:close/>
                  <a:moveTo>
                    <a:pt x="217539" y="0"/>
                  </a:moveTo>
                  <a:lnTo>
                    <a:pt x="0" y="0"/>
                  </a:lnTo>
                  <a:lnTo>
                    <a:pt x="217539" y="217539"/>
                  </a:lnTo>
                  <a:lnTo>
                    <a:pt x="217539" y="0"/>
                  </a:lnTo>
                  <a:close/>
                  <a:moveTo>
                    <a:pt x="435077" y="435077"/>
                  </a:moveTo>
                  <a:lnTo>
                    <a:pt x="217539" y="435077"/>
                  </a:lnTo>
                  <a:lnTo>
                    <a:pt x="435077" y="217566"/>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537" name="Freeform: Shape 536">
              <a:extLst>
                <a:ext uri="{FF2B5EF4-FFF2-40B4-BE49-F238E27FC236}">
                  <a16:creationId xmlns:a16="http://schemas.microsoft.com/office/drawing/2014/main" id="{97E657CE-76E1-6C1B-92AE-16A7D2F75082}"/>
                </a:ext>
              </a:extLst>
            </p:cNvPr>
            <p:cNvSpPr/>
            <p:nvPr/>
          </p:nvSpPr>
          <p:spPr>
            <a:xfrm>
              <a:off x="7797062" y="5449529"/>
              <a:ext cx="435104" cy="435077"/>
            </a:xfrm>
            <a:custGeom>
              <a:avLst/>
              <a:gdLst>
                <a:gd name="connsiteX0" fmla="*/ 371366 w 435104"/>
                <a:gd name="connsiteY0" fmla="*/ 63712 h 435077"/>
                <a:gd name="connsiteX1" fmla="*/ 435077 w 435104"/>
                <a:gd name="connsiteY1" fmla="*/ 217539 h 435077"/>
                <a:gd name="connsiteX2" fmla="*/ 217730 w 435104"/>
                <a:gd name="connsiteY2" fmla="*/ 217539 h 435077"/>
                <a:gd name="connsiteX3" fmla="*/ 371366 w 435104"/>
                <a:gd name="connsiteY3" fmla="*/ 281250 h 435077"/>
                <a:gd name="connsiteX4" fmla="*/ 435105 w 435104"/>
                <a:gd name="connsiteY4" fmla="*/ 435077 h 435077"/>
                <a:gd name="connsiteX5" fmla="*/ 217566 w 435104"/>
                <a:gd name="connsiteY5" fmla="*/ 435077 h 435077"/>
                <a:gd name="connsiteX6" fmla="*/ 27 w 435104"/>
                <a:gd name="connsiteY6" fmla="*/ 435077 h 435077"/>
                <a:gd name="connsiteX7" fmla="*/ 63739 w 435104"/>
                <a:gd name="connsiteY7" fmla="*/ 281250 h 435077"/>
                <a:gd name="connsiteX8" fmla="*/ 217376 w 435104"/>
                <a:gd name="connsiteY8" fmla="*/ 217539 h 435077"/>
                <a:gd name="connsiteX9" fmla="*/ 0 w 435104"/>
                <a:gd name="connsiteY9" fmla="*/ 217539 h 435077"/>
                <a:gd name="connsiteX10" fmla="*/ 63739 w 435104"/>
                <a:gd name="connsiteY10" fmla="*/ 63712 h 435077"/>
                <a:gd name="connsiteX11" fmla="*/ 217539 w 435104"/>
                <a:gd name="connsiteY11" fmla="*/ 0 h 435077"/>
                <a:gd name="connsiteX12" fmla="*/ 371366 w 435104"/>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4" h="435077">
                  <a:moveTo>
                    <a:pt x="371366" y="63712"/>
                  </a:moveTo>
                  <a:cubicBezTo>
                    <a:pt x="412182" y="104527"/>
                    <a:pt x="435077" y="159837"/>
                    <a:pt x="435077" y="217539"/>
                  </a:cubicBezTo>
                  <a:lnTo>
                    <a:pt x="217730" y="217539"/>
                  </a:lnTo>
                  <a:cubicBezTo>
                    <a:pt x="275350" y="217593"/>
                    <a:pt x="330632" y="240489"/>
                    <a:pt x="371366" y="281250"/>
                  </a:cubicBezTo>
                  <a:cubicBezTo>
                    <a:pt x="412182" y="322066"/>
                    <a:pt x="435105" y="377375"/>
                    <a:pt x="435105" y="435077"/>
                  </a:cubicBezTo>
                  <a:lnTo>
                    <a:pt x="217566" y="435077"/>
                  </a:lnTo>
                  <a:lnTo>
                    <a:pt x="27" y="435077"/>
                  </a:lnTo>
                  <a:cubicBezTo>
                    <a:pt x="27" y="377375"/>
                    <a:pt x="22924" y="322066"/>
                    <a:pt x="63739" y="281250"/>
                  </a:cubicBezTo>
                  <a:cubicBezTo>
                    <a:pt x="104501" y="240489"/>
                    <a:pt x="159755" y="217593"/>
                    <a:pt x="217376" y="217539"/>
                  </a:cubicBezTo>
                  <a:lnTo>
                    <a:pt x="0" y="217539"/>
                  </a:lnTo>
                  <a:cubicBezTo>
                    <a:pt x="0" y="159837"/>
                    <a:pt x="22924" y="104527"/>
                    <a:pt x="63739" y="63712"/>
                  </a:cubicBezTo>
                  <a:cubicBezTo>
                    <a:pt x="104527" y="22923"/>
                    <a:pt x="159864" y="0"/>
                    <a:pt x="217539" y="0"/>
                  </a:cubicBezTo>
                  <a:cubicBezTo>
                    <a:pt x="275241" y="0"/>
                    <a:pt x="330578" y="22923"/>
                    <a:pt x="371366" y="63712"/>
                  </a:cubicBezTo>
                  <a:close/>
                </a:path>
              </a:pathLst>
            </a:custGeom>
            <a:grpFill/>
            <a:ln w="27192" cap="flat">
              <a:noFill/>
              <a:prstDash val="solid"/>
              <a:miter/>
            </a:ln>
          </p:spPr>
          <p:txBody>
            <a:bodyPr rtlCol="0" anchor="ctr"/>
            <a:lstStyle/>
            <a:p>
              <a:endParaRPr lang="uk-UA" sz="900"/>
            </a:p>
          </p:txBody>
        </p:sp>
        <p:sp>
          <p:nvSpPr>
            <p:cNvPr id="538" name="Freeform: Shape 537">
              <a:extLst>
                <a:ext uri="{FF2B5EF4-FFF2-40B4-BE49-F238E27FC236}">
                  <a16:creationId xmlns:a16="http://schemas.microsoft.com/office/drawing/2014/main" id="{B960BC0C-A758-36A4-5E14-A26FB5BED052}"/>
                </a:ext>
              </a:extLst>
            </p:cNvPr>
            <p:cNvSpPr/>
            <p:nvPr/>
          </p:nvSpPr>
          <p:spPr>
            <a:xfrm>
              <a:off x="6926907" y="544952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p>
          </p:txBody>
        </p:sp>
        <p:sp>
          <p:nvSpPr>
            <p:cNvPr id="539" name="Freeform: Shape 538">
              <a:extLst>
                <a:ext uri="{FF2B5EF4-FFF2-40B4-BE49-F238E27FC236}">
                  <a16:creationId xmlns:a16="http://schemas.microsoft.com/office/drawing/2014/main" id="{FA16D04C-3191-BCE5-F131-075BFCC649EA}"/>
                </a:ext>
              </a:extLst>
            </p:cNvPr>
            <p:cNvSpPr/>
            <p:nvPr/>
          </p:nvSpPr>
          <p:spPr>
            <a:xfrm>
              <a:off x="8667217" y="5449529"/>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0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39 h 435077"/>
                <a:gd name="connsiteX9" fmla="*/ 435077 w 435077"/>
                <a:gd name="connsiteY9" fmla="*/ 217539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0"/>
                  </a:lnTo>
                  <a:lnTo>
                    <a:pt x="435077" y="217539"/>
                  </a:lnTo>
                  <a:lnTo>
                    <a:pt x="435077" y="217539"/>
                  </a:lnTo>
                  <a:lnTo>
                    <a:pt x="435077" y="217539"/>
                  </a:lnTo>
                  <a:lnTo>
                    <a:pt x="435077" y="217539"/>
                  </a:lnTo>
                  <a:lnTo>
                    <a:pt x="435077" y="217539"/>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540" name="Freeform: Shape 539">
              <a:extLst>
                <a:ext uri="{FF2B5EF4-FFF2-40B4-BE49-F238E27FC236}">
                  <a16:creationId xmlns:a16="http://schemas.microsoft.com/office/drawing/2014/main" id="{408218D5-0862-2707-5CAC-22E05D13EC80}"/>
                </a:ext>
              </a:extLst>
            </p:cNvPr>
            <p:cNvSpPr/>
            <p:nvPr/>
          </p:nvSpPr>
          <p:spPr>
            <a:xfrm>
              <a:off x="9537399" y="5449529"/>
              <a:ext cx="435077" cy="435077"/>
            </a:xfrm>
            <a:custGeom>
              <a:avLst/>
              <a:gdLst>
                <a:gd name="connsiteX0" fmla="*/ 0 w 435077"/>
                <a:gd name="connsiteY0" fmla="*/ 435077 h 435077"/>
                <a:gd name="connsiteX1" fmla="*/ 217511 w 435077"/>
                <a:gd name="connsiteY1" fmla="*/ 435077 h 435077"/>
                <a:gd name="connsiteX2" fmla="*/ 217511 w 435077"/>
                <a:gd name="connsiteY2" fmla="*/ 217539 h 435077"/>
                <a:gd name="connsiteX3" fmla="*/ 0 w 435077"/>
                <a:gd name="connsiteY3" fmla="*/ 435077 h 435077"/>
                <a:gd name="connsiteX4" fmla="*/ 217511 w 435077"/>
                <a:gd name="connsiteY4" fmla="*/ 0 h 435077"/>
                <a:gd name="connsiteX5" fmla="*/ 0 w 435077"/>
                <a:gd name="connsiteY5" fmla="*/ 0 h 435077"/>
                <a:gd name="connsiteX6" fmla="*/ 217511 w 435077"/>
                <a:gd name="connsiteY6" fmla="*/ 217539 h 435077"/>
                <a:gd name="connsiteX7" fmla="*/ 217511 w 435077"/>
                <a:gd name="connsiteY7" fmla="*/ 0 h 435077"/>
                <a:gd name="connsiteX8" fmla="*/ 435077 w 435077"/>
                <a:gd name="connsiteY8" fmla="*/ 435077 h 435077"/>
                <a:gd name="connsiteX9" fmla="*/ 217539 w 435077"/>
                <a:gd name="connsiteY9" fmla="*/ 435077 h 435077"/>
                <a:gd name="connsiteX10" fmla="*/ 435077 w 435077"/>
                <a:gd name="connsiteY10" fmla="*/ 217566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11" y="435077"/>
                  </a:lnTo>
                  <a:lnTo>
                    <a:pt x="217511" y="217539"/>
                  </a:lnTo>
                  <a:lnTo>
                    <a:pt x="0" y="435077"/>
                  </a:lnTo>
                  <a:close/>
                  <a:moveTo>
                    <a:pt x="217511" y="0"/>
                  </a:moveTo>
                  <a:lnTo>
                    <a:pt x="0" y="0"/>
                  </a:lnTo>
                  <a:lnTo>
                    <a:pt x="217511" y="217539"/>
                  </a:lnTo>
                  <a:lnTo>
                    <a:pt x="217511" y="0"/>
                  </a:lnTo>
                  <a:close/>
                  <a:moveTo>
                    <a:pt x="435077" y="435077"/>
                  </a:moveTo>
                  <a:lnTo>
                    <a:pt x="217539" y="435077"/>
                  </a:lnTo>
                  <a:lnTo>
                    <a:pt x="435077" y="217566"/>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541" name="Freeform: Shape 540">
              <a:extLst>
                <a:ext uri="{FF2B5EF4-FFF2-40B4-BE49-F238E27FC236}">
                  <a16:creationId xmlns:a16="http://schemas.microsoft.com/office/drawing/2014/main" id="{6DD4460D-4C9B-5573-F184-EF0EFEBAED59}"/>
                </a:ext>
              </a:extLst>
            </p:cNvPr>
            <p:cNvSpPr/>
            <p:nvPr/>
          </p:nvSpPr>
          <p:spPr>
            <a:xfrm>
              <a:off x="11277709" y="5449529"/>
              <a:ext cx="435077" cy="435077"/>
            </a:xfrm>
            <a:custGeom>
              <a:avLst/>
              <a:gdLst>
                <a:gd name="connsiteX0" fmla="*/ 371365 w 435077"/>
                <a:gd name="connsiteY0" fmla="*/ 63712 h 435077"/>
                <a:gd name="connsiteX1" fmla="*/ 435077 w 435077"/>
                <a:gd name="connsiteY1" fmla="*/ 217539 h 435077"/>
                <a:gd name="connsiteX2" fmla="*/ 217701 w 435077"/>
                <a:gd name="connsiteY2" fmla="*/ 217539 h 435077"/>
                <a:gd name="connsiteX3" fmla="*/ 371365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0 w 435077"/>
                <a:gd name="connsiteY7" fmla="*/ 281250 h 435077"/>
                <a:gd name="connsiteX8" fmla="*/ 217374 w 435077"/>
                <a:gd name="connsiteY8" fmla="*/ 217539 h 435077"/>
                <a:gd name="connsiteX9" fmla="*/ 0 w 435077"/>
                <a:gd name="connsiteY9" fmla="*/ 217539 h 435077"/>
                <a:gd name="connsiteX10" fmla="*/ 63710 w 435077"/>
                <a:gd name="connsiteY10" fmla="*/ 63712 h 435077"/>
                <a:gd name="connsiteX11" fmla="*/ 217539 w 435077"/>
                <a:gd name="connsiteY11" fmla="*/ 0 h 435077"/>
                <a:gd name="connsiteX12" fmla="*/ 371365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12"/>
                  </a:moveTo>
                  <a:cubicBezTo>
                    <a:pt x="412154" y="104527"/>
                    <a:pt x="435077" y="159837"/>
                    <a:pt x="435077" y="217539"/>
                  </a:cubicBezTo>
                  <a:lnTo>
                    <a:pt x="217701" y="217539"/>
                  </a:lnTo>
                  <a:cubicBezTo>
                    <a:pt x="275349" y="217593"/>
                    <a:pt x="330603" y="240489"/>
                    <a:pt x="371365" y="281250"/>
                  </a:cubicBezTo>
                  <a:cubicBezTo>
                    <a:pt x="412154" y="322066"/>
                    <a:pt x="435077" y="377375"/>
                    <a:pt x="435077" y="435077"/>
                  </a:cubicBezTo>
                  <a:lnTo>
                    <a:pt x="217539" y="435077"/>
                  </a:lnTo>
                  <a:lnTo>
                    <a:pt x="0" y="435077"/>
                  </a:lnTo>
                  <a:cubicBezTo>
                    <a:pt x="0" y="377375"/>
                    <a:pt x="22922" y="322066"/>
                    <a:pt x="63710" y="281250"/>
                  </a:cubicBezTo>
                  <a:cubicBezTo>
                    <a:pt x="104472" y="240489"/>
                    <a:pt x="159727" y="217593"/>
                    <a:pt x="217374" y="217539"/>
                  </a:cubicBezTo>
                  <a:lnTo>
                    <a:pt x="0" y="217539"/>
                  </a:lnTo>
                  <a:cubicBezTo>
                    <a:pt x="0" y="159837"/>
                    <a:pt x="22922" y="104527"/>
                    <a:pt x="63710" y="63712"/>
                  </a:cubicBezTo>
                  <a:cubicBezTo>
                    <a:pt x="104499" y="22923"/>
                    <a:pt x="159836" y="0"/>
                    <a:pt x="217539" y="0"/>
                  </a:cubicBezTo>
                  <a:cubicBezTo>
                    <a:pt x="275239" y="0"/>
                    <a:pt x="330549" y="22923"/>
                    <a:pt x="371365" y="63712"/>
                  </a:cubicBezTo>
                  <a:close/>
                </a:path>
              </a:pathLst>
            </a:custGeom>
            <a:grpFill/>
            <a:ln w="27192" cap="flat">
              <a:noFill/>
              <a:prstDash val="solid"/>
              <a:miter/>
            </a:ln>
          </p:spPr>
          <p:txBody>
            <a:bodyPr rtlCol="0" anchor="ctr"/>
            <a:lstStyle/>
            <a:p>
              <a:endParaRPr lang="uk-UA" sz="900"/>
            </a:p>
          </p:txBody>
        </p:sp>
        <p:sp>
          <p:nvSpPr>
            <p:cNvPr id="542" name="Freeform: Shape 541">
              <a:extLst>
                <a:ext uri="{FF2B5EF4-FFF2-40B4-BE49-F238E27FC236}">
                  <a16:creationId xmlns:a16="http://schemas.microsoft.com/office/drawing/2014/main" id="{32886169-662D-51DB-CF86-4DDB8B18889E}"/>
                </a:ext>
              </a:extLst>
            </p:cNvPr>
            <p:cNvSpPr/>
            <p:nvPr/>
          </p:nvSpPr>
          <p:spPr>
            <a:xfrm>
              <a:off x="10407554" y="544952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543" name="Freeform: Shape 542">
              <a:extLst>
                <a:ext uri="{FF2B5EF4-FFF2-40B4-BE49-F238E27FC236}">
                  <a16:creationId xmlns:a16="http://schemas.microsoft.com/office/drawing/2014/main" id="{B96E6C34-0B1D-0592-66BE-FA6C79B642B2}"/>
                </a:ext>
              </a:extLst>
            </p:cNvPr>
            <p:cNvSpPr/>
            <p:nvPr/>
          </p:nvSpPr>
          <p:spPr>
            <a:xfrm>
              <a:off x="12147836" y="544952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544" name="Freeform: Shape 543">
              <a:extLst>
                <a:ext uri="{FF2B5EF4-FFF2-40B4-BE49-F238E27FC236}">
                  <a16:creationId xmlns:a16="http://schemas.microsoft.com/office/drawing/2014/main" id="{1C7D337C-EC46-B2DF-8082-C9A2883D9B9F}"/>
                </a:ext>
              </a:extLst>
            </p:cNvPr>
            <p:cNvSpPr/>
            <p:nvPr/>
          </p:nvSpPr>
          <p:spPr>
            <a:xfrm>
              <a:off x="13018045" y="5449529"/>
              <a:ext cx="435077" cy="435077"/>
            </a:xfrm>
            <a:custGeom>
              <a:avLst/>
              <a:gdLst>
                <a:gd name="connsiteX0" fmla="*/ 0 w 435077"/>
                <a:gd name="connsiteY0" fmla="*/ 435077 h 435077"/>
                <a:gd name="connsiteX1" fmla="*/ 217539 w 435077"/>
                <a:gd name="connsiteY1" fmla="*/ 435077 h 435077"/>
                <a:gd name="connsiteX2" fmla="*/ 217539 w 435077"/>
                <a:gd name="connsiteY2" fmla="*/ 217566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66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66"/>
                  </a:lnTo>
                  <a:lnTo>
                    <a:pt x="0" y="435077"/>
                  </a:lnTo>
                  <a:close/>
                  <a:moveTo>
                    <a:pt x="217539" y="0"/>
                  </a:moveTo>
                  <a:lnTo>
                    <a:pt x="0" y="0"/>
                  </a:lnTo>
                  <a:lnTo>
                    <a:pt x="217539" y="217539"/>
                  </a:lnTo>
                  <a:lnTo>
                    <a:pt x="217539" y="0"/>
                  </a:lnTo>
                  <a:close/>
                  <a:moveTo>
                    <a:pt x="435077" y="435077"/>
                  </a:moveTo>
                  <a:lnTo>
                    <a:pt x="217539" y="435077"/>
                  </a:lnTo>
                  <a:lnTo>
                    <a:pt x="435077" y="217566"/>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545" name="Freeform: Shape 544">
              <a:extLst>
                <a:ext uri="{FF2B5EF4-FFF2-40B4-BE49-F238E27FC236}">
                  <a16:creationId xmlns:a16="http://schemas.microsoft.com/office/drawing/2014/main" id="{FDEC55D7-CD34-2726-D13D-4A3DD92A1FE2}"/>
                </a:ext>
              </a:extLst>
            </p:cNvPr>
            <p:cNvSpPr/>
            <p:nvPr/>
          </p:nvSpPr>
          <p:spPr>
            <a:xfrm>
              <a:off x="14758382" y="5449529"/>
              <a:ext cx="435077" cy="435077"/>
            </a:xfrm>
            <a:custGeom>
              <a:avLst/>
              <a:gdLst>
                <a:gd name="connsiteX0" fmla="*/ 371367 w 435077"/>
                <a:gd name="connsiteY0" fmla="*/ 63712 h 435077"/>
                <a:gd name="connsiteX1" fmla="*/ 435077 w 435077"/>
                <a:gd name="connsiteY1" fmla="*/ 217539 h 435077"/>
                <a:gd name="connsiteX2" fmla="*/ 217703 w 435077"/>
                <a:gd name="connsiteY2" fmla="*/ 217539 h 435077"/>
                <a:gd name="connsiteX3" fmla="*/ 371367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7376 w 435077"/>
                <a:gd name="connsiteY8" fmla="*/ 217539 h 435077"/>
                <a:gd name="connsiteX9" fmla="*/ 0 w 435077"/>
                <a:gd name="connsiteY9" fmla="*/ 217539 h 435077"/>
                <a:gd name="connsiteX10" fmla="*/ 63712 w 435077"/>
                <a:gd name="connsiteY10" fmla="*/ 63712 h 435077"/>
                <a:gd name="connsiteX11" fmla="*/ 217539 w 435077"/>
                <a:gd name="connsiteY11" fmla="*/ 0 h 435077"/>
                <a:gd name="connsiteX12" fmla="*/ 371367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7" y="63712"/>
                  </a:moveTo>
                  <a:cubicBezTo>
                    <a:pt x="412155" y="104527"/>
                    <a:pt x="435077" y="159837"/>
                    <a:pt x="435077" y="217539"/>
                  </a:cubicBezTo>
                  <a:lnTo>
                    <a:pt x="217703" y="217539"/>
                  </a:lnTo>
                  <a:cubicBezTo>
                    <a:pt x="275351" y="217593"/>
                    <a:pt x="330605" y="240489"/>
                    <a:pt x="371367" y="281250"/>
                  </a:cubicBezTo>
                  <a:cubicBezTo>
                    <a:pt x="412155" y="322066"/>
                    <a:pt x="435077" y="377375"/>
                    <a:pt x="435077" y="435077"/>
                  </a:cubicBezTo>
                  <a:lnTo>
                    <a:pt x="217539" y="435077"/>
                  </a:lnTo>
                  <a:lnTo>
                    <a:pt x="0" y="435077"/>
                  </a:lnTo>
                  <a:cubicBezTo>
                    <a:pt x="0" y="377375"/>
                    <a:pt x="22924" y="322066"/>
                    <a:pt x="63712" y="281250"/>
                  </a:cubicBezTo>
                  <a:cubicBezTo>
                    <a:pt x="104474" y="240489"/>
                    <a:pt x="159728" y="217593"/>
                    <a:pt x="217376" y="217539"/>
                  </a:cubicBezTo>
                  <a:lnTo>
                    <a:pt x="0" y="217539"/>
                  </a:lnTo>
                  <a:cubicBezTo>
                    <a:pt x="0" y="159837"/>
                    <a:pt x="22924" y="104527"/>
                    <a:pt x="63712" y="63712"/>
                  </a:cubicBezTo>
                  <a:cubicBezTo>
                    <a:pt x="104501" y="22923"/>
                    <a:pt x="159836" y="0"/>
                    <a:pt x="217539" y="0"/>
                  </a:cubicBezTo>
                  <a:cubicBezTo>
                    <a:pt x="275241" y="0"/>
                    <a:pt x="330550" y="22923"/>
                    <a:pt x="371367" y="63712"/>
                  </a:cubicBezTo>
                  <a:close/>
                </a:path>
              </a:pathLst>
            </a:custGeom>
            <a:grpFill/>
            <a:ln w="27192" cap="flat">
              <a:noFill/>
              <a:prstDash val="solid"/>
              <a:miter/>
            </a:ln>
          </p:spPr>
          <p:txBody>
            <a:bodyPr rtlCol="0" anchor="ctr"/>
            <a:lstStyle/>
            <a:p>
              <a:endParaRPr lang="uk-UA" sz="900"/>
            </a:p>
          </p:txBody>
        </p:sp>
        <p:sp>
          <p:nvSpPr>
            <p:cNvPr id="546" name="Freeform: Shape 545">
              <a:extLst>
                <a:ext uri="{FF2B5EF4-FFF2-40B4-BE49-F238E27FC236}">
                  <a16:creationId xmlns:a16="http://schemas.microsoft.com/office/drawing/2014/main" id="{DCC1B709-294A-01DD-6667-9E92963C5EA1}"/>
                </a:ext>
              </a:extLst>
            </p:cNvPr>
            <p:cNvSpPr/>
            <p:nvPr/>
          </p:nvSpPr>
          <p:spPr>
            <a:xfrm>
              <a:off x="13888200" y="5449529"/>
              <a:ext cx="435077" cy="435077"/>
            </a:xfrm>
            <a:custGeom>
              <a:avLst/>
              <a:gdLst>
                <a:gd name="connsiteX0" fmla="*/ 217565 w 435077"/>
                <a:gd name="connsiteY0" fmla="*/ 0 h 435077"/>
                <a:gd name="connsiteX1" fmla="*/ 217539 w 435077"/>
                <a:gd name="connsiteY1" fmla="*/ 0 h 435077"/>
                <a:gd name="connsiteX2" fmla="*/ 27 w 435077"/>
                <a:gd name="connsiteY2" fmla="*/ 0 h 435077"/>
                <a:gd name="connsiteX3" fmla="*/ 27 w 435077"/>
                <a:gd name="connsiteY3" fmla="*/ 217539 h 435077"/>
                <a:gd name="connsiteX4" fmla="*/ 217565 w 435077"/>
                <a:gd name="connsiteY4" fmla="*/ 0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65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65" y="0"/>
                  </a:moveTo>
                  <a:lnTo>
                    <a:pt x="217539" y="0"/>
                  </a:lnTo>
                  <a:lnTo>
                    <a:pt x="27" y="0"/>
                  </a:lnTo>
                  <a:lnTo>
                    <a:pt x="27" y="217539"/>
                  </a:lnTo>
                  <a:lnTo>
                    <a:pt x="217565" y="0"/>
                  </a:lnTo>
                  <a:lnTo>
                    <a:pt x="435077" y="217539"/>
                  </a:lnTo>
                  <a:lnTo>
                    <a:pt x="217539" y="435077"/>
                  </a:lnTo>
                  <a:lnTo>
                    <a:pt x="0" y="217539"/>
                  </a:lnTo>
                  <a:lnTo>
                    <a:pt x="0" y="435077"/>
                  </a:lnTo>
                  <a:lnTo>
                    <a:pt x="217539" y="435077"/>
                  </a:lnTo>
                  <a:lnTo>
                    <a:pt x="435077" y="435077"/>
                  </a:lnTo>
                  <a:lnTo>
                    <a:pt x="435077" y="217539"/>
                  </a:lnTo>
                  <a:lnTo>
                    <a:pt x="435077" y="0"/>
                  </a:lnTo>
                  <a:lnTo>
                    <a:pt x="217565" y="0"/>
                  </a:lnTo>
                  <a:close/>
                </a:path>
              </a:pathLst>
            </a:custGeom>
            <a:grpFill/>
            <a:ln w="27192" cap="flat">
              <a:noFill/>
              <a:prstDash val="solid"/>
              <a:miter/>
            </a:ln>
          </p:spPr>
          <p:txBody>
            <a:bodyPr rtlCol="0" anchor="ctr"/>
            <a:lstStyle/>
            <a:p>
              <a:endParaRPr lang="uk-UA" sz="900"/>
            </a:p>
          </p:txBody>
        </p:sp>
        <p:sp>
          <p:nvSpPr>
            <p:cNvPr id="547" name="Freeform: Shape 546">
              <a:extLst>
                <a:ext uri="{FF2B5EF4-FFF2-40B4-BE49-F238E27FC236}">
                  <a16:creationId xmlns:a16="http://schemas.microsoft.com/office/drawing/2014/main" id="{8875E503-D9F5-096B-3E8A-61E8B47AAC77}"/>
                </a:ext>
              </a:extLst>
            </p:cNvPr>
            <p:cNvSpPr/>
            <p:nvPr/>
          </p:nvSpPr>
          <p:spPr>
            <a:xfrm>
              <a:off x="15628536" y="5449529"/>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0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39 h 435077"/>
                <a:gd name="connsiteX9" fmla="*/ 435077 w 435077"/>
                <a:gd name="connsiteY9" fmla="*/ 217539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0"/>
                  </a:lnTo>
                  <a:lnTo>
                    <a:pt x="435077" y="217539"/>
                  </a:lnTo>
                  <a:lnTo>
                    <a:pt x="435077" y="217539"/>
                  </a:lnTo>
                  <a:lnTo>
                    <a:pt x="435077" y="217539"/>
                  </a:lnTo>
                  <a:lnTo>
                    <a:pt x="435077" y="217539"/>
                  </a:lnTo>
                  <a:lnTo>
                    <a:pt x="435077" y="217539"/>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548" name="Freeform: Shape 547">
              <a:extLst>
                <a:ext uri="{FF2B5EF4-FFF2-40B4-BE49-F238E27FC236}">
                  <a16:creationId xmlns:a16="http://schemas.microsoft.com/office/drawing/2014/main" id="{078747FC-123A-04F9-A9C7-325137629010}"/>
                </a:ext>
              </a:extLst>
            </p:cNvPr>
            <p:cNvSpPr/>
            <p:nvPr/>
          </p:nvSpPr>
          <p:spPr>
            <a:xfrm>
              <a:off x="16498719" y="5449529"/>
              <a:ext cx="435077" cy="435077"/>
            </a:xfrm>
            <a:custGeom>
              <a:avLst/>
              <a:gdLst>
                <a:gd name="connsiteX0" fmla="*/ 0 w 435077"/>
                <a:gd name="connsiteY0" fmla="*/ 435077 h 435077"/>
                <a:gd name="connsiteX1" fmla="*/ 217510 w 435077"/>
                <a:gd name="connsiteY1" fmla="*/ 435077 h 435077"/>
                <a:gd name="connsiteX2" fmla="*/ 217510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66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10" y="435077"/>
                  </a:lnTo>
                  <a:lnTo>
                    <a:pt x="217510" y="217539"/>
                  </a:lnTo>
                  <a:lnTo>
                    <a:pt x="0" y="435077"/>
                  </a:lnTo>
                  <a:close/>
                  <a:moveTo>
                    <a:pt x="217539" y="0"/>
                  </a:moveTo>
                  <a:lnTo>
                    <a:pt x="0" y="0"/>
                  </a:lnTo>
                  <a:lnTo>
                    <a:pt x="217539" y="217539"/>
                  </a:lnTo>
                  <a:lnTo>
                    <a:pt x="217539" y="0"/>
                  </a:lnTo>
                  <a:close/>
                  <a:moveTo>
                    <a:pt x="435077" y="435077"/>
                  </a:moveTo>
                  <a:lnTo>
                    <a:pt x="217539" y="435077"/>
                  </a:lnTo>
                  <a:lnTo>
                    <a:pt x="435077" y="217566"/>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549" name="Freeform: Shape 548">
              <a:extLst>
                <a:ext uri="{FF2B5EF4-FFF2-40B4-BE49-F238E27FC236}">
                  <a16:creationId xmlns:a16="http://schemas.microsoft.com/office/drawing/2014/main" id="{FA4A0CB4-4913-E278-C282-77015DA68845}"/>
                </a:ext>
              </a:extLst>
            </p:cNvPr>
            <p:cNvSpPr/>
            <p:nvPr/>
          </p:nvSpPr>
          <p:spPr>
            <a:xfrm>
              <a:off x="18239029" y="5449529"/>
              <a:ext cx="435077" cy="435077"/>
            </a:xfrm>
            <a:custGeom>
              <a:avLst/>
              <a:gdLst>
                <a:gd name="connsiteX0" fmla="*/ 371365 w 435077"/>
                <a:gd name="connsiteY0" fmla="*/ 63712 h 435077"/>
                <a:gd name="connsiteX1" fmla="*/ 435077 w 435077"/>
                <a:gd name="connsiteY1" fmla="*/ 217539 h 435077"/>
                <a:gd name="connsiteX2" fmla="*/ 217701 w 435077"/>
                <a:gd name="connsiteY2" fmla="*/ 217539 h 435077"/>
                <a:gd name="connsiteX3" fmla="*/ 371365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0 w 435077"/>
                <a:gd name="connsiteY7" fmla="*/ 281250 h 435077"/>
                <a:gd name="connsiteX8" fmla="*/ 217374 w 435077"/>
                <a:gd name="connsiteY8" fmla="*/ 217539 h 435077"/>
                <a:gd name="connsiteX9" fmla="*/ 0 w 435077"/>
                <a:gd name="connsiteY9" fmla="*/ 217539 h 435077"/>
                <a:gd name="connsiteX10" fmla="*/ 63710 w 435077"/>
                <a:gd name="connsiteY10" fmla="*/ 63712 h 435077"/>
                <a:gd name="connsiteX11" fmla="*/ 217539 w 435077"/>
                <a:gd name="connsiteY11" fmla="*/ 0 h 435077"/>
                <a:gd name="connsiteX12" fmla="*/ 371365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12"/>
                  </a:moveTo>
                  <a:cubicBezTo>
                    <a:pt x="412154" y="104527"/>
                    <a:pt x="435077" y="159837"/>
                    <a:pt x="435077" y="217539"/>
                  </a:cubicBezTo>
                  <a:lnTo>
                    <a:pt x="217701" y="217539"/>
                  </a:lnTo>
                  <a:cubicBezTo>
                    <a:pt x="275349" y="217593"/>
                    <a:pt x="330603" y="240489"/>
                    <a:pt x="371365" y="281250"/>
                  </a:cubicBezTo>
                  <a:cubicBezTo>
                    <a:pt x="412154" y="322066"/>
                    <a:pt x="435077" y="377375"/>
                    <a:pt x="435077" y="435077"/>
                  </a:cubicBezTo>
                  <a:lnTo>
                    <a:pt x="217539" y="435077"/>
                  </a:lnTo>
                  <a:lnTo>
                    <a:pt x="0" y="435077"/>
                  </a:lnTo>
                  <a:cubicBezTo>
                    <a:pt x="0" y="377375"/>
                    <a:pt x="22922" y="322066"/>
                    <a:pt x="63710" y="281250"/>
                  </a:cubicBezTo>
                  <a:cubicBezTo>
                    <a:pt x="104472" y="240489"/>
                    <a:pt x="159755" y="217593"/>
                    <a:pt x="217374" y="217539"/>
                  </a:cubicBezTo>
                  <a:lnTo>
                    <a:pt x="0" y="217539"/>
                  </a:lnTo>
                  <a:cubicBezTo>
                    <a:pt x="0" y="159837"/>
                    <a:pt x="22922" y="104527"/>
                    <a:pt x="63710" y="63712"/>
                  </a:cubicBezTo>
                  <a:cubicBezTo>
                    <a:pt x="104527" y="22923"/>
                    <a:pt x="159836" y="0"/>
                    <a:pt x="217539" y="0"/>
                  </a:cubicBezTo>
                  <a:cubicBezTo>
                    <a:pt x="275241" y="0"/>
                    <a:pt x="330577" y="22923"/>
                    <a:pt x="371365" y="63712"/>
                  </a:cubicBezTo>
                  <a:close/>
                </a:path>
              </a:pathLst>
            </a:custGeom>
            <a:grpFill/>
            <a:ln w="27192" cap="flat">
              <a:noFill/>
              <a:prstDash val="solid"/>
              <a:miter/>
            </a:ln>
          </p:spPr>
          <p:txBody>
            <a:bodyPr rtlCol="0" anchor="ctr"/>
            <a:lstStyle/>
            <a:p>
              <a:endParaRPr lang="uk-UA" sz="900"/>
            </a:p>
          </p:txBody>
        </p:sp>
        <p:sp>
          <p:nvSpPr>
            <p:cNvPr id="550" name="Freeform: Shape 549">
              <a:extLst>
                <a:ext uri="{FF2B5EF4-FFF2-40B4-BE49-F238E27FC236}">
                  <a16:creationId xmlns:a16="http://schemas.microsoft.com/office/drawing/2014/main" id="{DBA1F04D-CCA3-0AE1-5FDA-871D3A13C633}"/>
                </a:ext>
              </a:extLst>
            </p:cNvPr>
            <p:cNvSpPr/>
            <p:nvPr/>
          </p:nvSpPr>
          <p:spPr>
            <a:xfrm>
              <a:off x="17368874" y="544952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551" name="Freeform: Shape 550">
              <a:extLst>
                <a:ext uri="{FF2B5EF4-FFF2-40B4-BE49-F238E27FC236}">
                  <a16:creationId xmlns:a16="http://schemas.microsoft.com/office/drawing/2014/main" id="{4D1E4E31-0BAC-A718-AB65-C0BF3A646084}"/>
                </a:ext>
              </a:extLst>
            </p:cNvPr>
            <p:cNvSpPr/>
            <p:nvPr/>
          </p:nvSpPr>
          <p:spPr>
            <a:xfrm>
              <a:off x="19109210" y="544952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51 w 435077"/>
                <a:gd name="connsiteY7" fmla="*/ 217539 h 435077"/>
                <a:gd name="connsiteX8" fmla="*/ 435077 w 435077"/>
                <a:gd name="connsiteY8" fmla="*/ 217539 h 435077"/>
                <a:gd name="connsiteX9" fmla="*/ 435051 w 435077"/>
                <a:gd name="connsiteY9" fmla="*/ 217539 h 435077"/>
                <a:gd name="connsiteX10" fmla="*/ 435077 w 435077"/>
                <a:gd name="connsiteY10" fmla="*/ 217539 h 435077"/>
                <a:gd name="connsiteX11" fmla="*/ 435051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51" y="217539"/>
                  </a:lnTo>
                  <a:lnTo>
                    <a:pt x="435077" y="217539"/>
                  </a:lnTo>
                  <a:lnTo>
                    <a:pt x="435051" y="217539"/>
                  </a:lnTo>
                  <a:lnTo>
                    <a:pt x="435077" y="217539"/>
                  </a:lnTo>
                  <a:lnTo>
                    <a:pt x="435051"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552" name="Freeform: Shape 551">
              <a:extLst>
                <a:ext uri="{FF2B5EF4-FFF2-40B4-BE49-F238E27FC236}">
                  <a16:creationId xmlns:a16="http://schemas.microsoft.com/office/drawing/2014/main" id="{3AF12688-C9C1-05D9-8756-217608CD3AE1}"/>
                </a:ext>
              </a:extLst>
            </p:cNvPr>
            <p:cNvSpPr/>
            <p:nvPr/>
          </p:nvSpPr>
          <p:spPr>
            <a:xfrm>
              <a:off x="19979365" y="5449529"/>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66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39" y="435077"/>
                  </a:lnTo>
                  <a:lnTo>
                    <a:pt x="435077" y="217566"/>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553" name="Freeform: Shape 552">
              <a:extLst>
                <a:ext uri="{FF2B5EF4-FFF2-40B4-BE49-F238E27FC236}">
                  <a16:creationId xmlns:a16="http://schemas.microsoft.com/office/drawing/2014/main" id="{9769292A-557C-EF03-3338-227DB1437D8F}"/>
                </a:ext>
              </a:extLst>
            </p:cNvPr>
            <p:cNvSpPr/>
            <p:nvPr/>
          </p:nvSpPr>
          <p:spPr>
            <a:xfrm>
              <a:off x="21719702" y="5449529"/>
              <a:ext cx="435077" cy="435077"/>
            </a:xfrm>
            <a:custGeom>
              <a:avLst/>
              <a:gdLst>
                <a:gd name="connsiteX0" fmla="*/ 371339 w 435077"/>
                <a:gd name="connsiteY0" fmla="*/ 63712 h 435077"/>
                <a:gd name="connsiteX1" fmla="*/ 435077 w 435077"/>
                <a:gd name="connsiteY1" fmla="*/ 217539 h 435077"/>
                <a:gd name="connsiteX2" fmla="*/ 217703 w 435077"/>
                <a:gd name="connsiteY2" fmla="*/ 217539 h 435077"/>
                <a:gd name="connsiteX3" fmla="*/ 371367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7350 w 435077"/>
                <a:gd name="connsiteY8" fmla="*/ 217539 h 435077"/>
                <a:gd name="connsiteX9" fmla="*/ 0 w 435077"/>
                <a:gd name="connsiteY9" fmla="*/ 217539 h 435077"/>
                <a:gd name="connsiteX10" fmla="*/ 63712 w 435077"/>
                <a:gd name="connsiteY10" fmla="*/ 63712 h 435077"/>
                <a:gd name="connsiteX11" fmla="*/ 217539 w 435077"/>
                <a:gd name="connsiteY11" fmla="*/ 0 h 435077"/>
                <a:gd name="connsiteX12" fmla="*/ 371339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12"/>
                  </a:moveTo>
                  <a:cubicBezTo>
                    <a:pt x="412155" y="104527"/>
                    <a:pt x="435077" y="159837"/>
                    <a:pt x="435077" y="217539"/>
                  </a:cubicBezTo>
                  <a:lnTo>
                    <a:pt x="217703" y="217539"/>
                  </a:lnTo>
                  <a:cubicBezTo>
                    <a:pt x="275322" y="217593"/>
                    <a:pt x="330605" y="240489"/>
                    <a:pt x="371367" y="281250"/>
                  </a:cubicBezTo>
                  <a:cubicBezTo>
                    <a:pt x="412155" y="322066"/>
                    <a:pt x="435077" y="377375"/>
                    <a:pt x="435077" y="435077"/>
                  </a:cubicBezTo>
                  <a:lnTo>
                    <a:pt x="217539" y="435077"/>
                  </a:lnTo>
                  <a:lnTo>
                    <a:pt x="0" y="435077"/>
                  </a:lnTo>
                  <a:cubicBezTo>
                    <a:pt x="0" y="377375"/>
                    <a:pt x="22924" y="322066"/>
                    <a:pt x="63712" y="281250"/>
                  </a:cubicBezTo>
                  <a:cubicBezTo>
                    <a:pt x="104474" y="240489"/>
                    <a:pt x="159728" y="217593"/>
                    <a:pt x="217350" y="217539"/>
                  </a:cubicBezTo>
                  <a:lnTo>
                    <a:pt x="0" y="217539"/>
                  </a:lnTo>
                  <a:cubicBezTo>
                    <a:pt x="0" y="159837"/>
                    <a:pt x="22897" y="104527"/>
                    <a:pt x="63712" y="63712"/>
                  </a:cubicBezTo>
                  <a:cubicBezTo>
                    <a:pt x="104501" y="22923"/>
                    <a:pt x="159838" y="0"/>
                    <a:pt x="217539" y="0"/>
                  </a:cubicBezTo>
                  <a:cubicBezTo>
                    <a:pt x="275215" y="0"/>
                    <a:pt x="330550" y="22923"/>
                    <a:pt x="371339" y="63712"/>
                  </a:cubicBezTo>
                  <a:close/>
                </a:path>
              </a:pathLst>
            </a:custGeom>
            <a:grpFill/>
            <a:ln w="27192" cap="flat">
              <a:noFill/>
              <a:prstDash val="solid"/>
              <a:miter/>
            </a:ln>
          </p:spPr>
          <p:txBody>
            <a:bodyPr rtlCol="0" anchor="ctr"/>
            <a:lstStyle/>
            <a:p>
              <a:endParaRPr lang="uk-UA" sz="900"/>
            </a:p>
          </p:txBody>
        </p:sp>
        <p:sp>
          <p:nvSpPr>
            <p:cNvPr id="554" name="Freeform: Shape 553">
              <a:extLst>
                <a:ext uri="{FF2B5EF4-FFF2-40B4-BE49-F238E27FC236}">
                  <a16:creationId xmlns:a16="http://schemas.microsoft.com/office/drawing/2014/main" id="{A057F449-459A-0004-4483-22E12F81B4E9}"/>
                </a:ext>
              </a:extLst>
            </p:cNvPr>
            <p:cNvSpPr/>
            <p:nvPr/>
          </p:nvSpPr>
          <p:spPr>
            <a:xfrm>
              <a:off x="20849520" y="5449529"/>
              <a:ext cx="435103" cy="435077"/>
            </a:xfrm>
            <a:custGeom>
              <a:avLst/>
              <a:gdLst>
                <a:gd name="connsiteX0" fmla="*/ 217539 w 435103"/>
                <a:gd name="connsiteY0" fmla="*/ 0 h 435077"/>
                <a:gd name="connsiteX1" fmla="*/ 0 w 435103"/>
                <a:gd name="connsiteY1" fmla="*/ 0 h 435077"/>
                <a:gd name="connsiteX2" fmla="*/ 0 w 435103"/>
                <a:gd name="connsiteY2" fmla="*/ 217539 h 435077"/>
                <a:gd name="connsiteX3" fmla="*/ 217539 w 435103"/>
                <a:gd name="connsiteY3" fmla="*/ 0 h 435077"/>
                <a:gd name="connsiteX4" fmla="*/ 435104 w 435103"/>
                <a:gd name="connsiteY4" fmla="*/ 0 h 435077"/>
                <a:gd name="connsiteX5" fmla="*/ 435104 w 435103"/>
                <a:gd name="connsiteY5" fmla="*/ 217539 h 435077"/>
                <a:gd name="connsiteX6" fmla="*/ 217565 w 435103"/>
                <a:gd name="connsiteY6" fmla="*/ 0 h 435077"/>
                <a:gd name="connsiteX7" fmla="*/ 435104 w 435103"/>
                <a:gd name="connsiteY7" fmla="*/ 0 h 435077"/>
                <a:gd name="connsiteX8" fmla="*/ 217565 w 435103"/>
                <a:gd name="connsiteY8" fmla="*/ 435077 h 435077"/>
                <a:gd name="connsiteX9" fmla="*/ 435104 w 435103"/>
                <a:gd name="connsiteY9" fmla="*/ 217539 h 435077"/>
                <a:gd name="connsiteX10" fmla="*/ 435104 w 435103"/>
                <a:gd name="connsiteY10" fmla="*/ 435077 h 435077"/>
                <a:gd name="connsiteX11" fmla="*/ 217565 w 435103"/>
                <a:gd name="connsiteY11" fmla="*/ 435077 h 435077"/>
                <a:gd name="connsiteX12" fmla="*/ 217565 w 435103"/>
                <a:gd name="connsiteY12" fmla="*/ 435077 h 435077"/>
                <a:gd name="connsiteX13" fmla="*/ 27 w 435103"/>
                <a:gd name="connsiteY13" fmla="*/ 217539 h 435077"/>
                <a:gd name="connsiteX14" fmla="*/ 27 w 435103"/>
                <a:gd name="connsiteY14" fmla="*/ 435077 h 435077"/>
                <a:gd name="connsiteX15" fmla="*/ 217565 w 435103"/>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3" h="435077">
                  <a:moveTo>
                    <a:pt x="217539" y="0"/>
                  </a:moveTo>
                  <a:lnTo>
                    <a:pt x="0" y="0"/>
                  </a:lnTo>
                  <a:lnTo>
                    <a:pt x="0" y="217539"/>
                  </a:lnTo>
                  <a:lnTo>
                    <a:pt x="217539" y="0"/>
                  </a:lnTo>
                  <a:close/>
                  <a:moveTo>
                    <a:pt x="435104" y="0"/>
                  </a:moveTo>
                  <a:lnTo>
                    <a:pt x="435104" y="217539"/>
                  </a:lnTo>
                  <a:lnTo>
                    <a:pt x="217565" y="0"/>
                  </a:lnTo>
                  <a:lnTo>
                    <a:pt x="435104" y="0"/>
                  </a:lnTo>
                  <a:close/>
                  <a:moveTo>
                    <a:pt x="217565" y="435077"/>
                  </a:moveTo>
                  <a:lnTo>
                    <a:pt x="435104" y="217539"/>
                  </a:lnTo>
                  <a:lnTo>
                    <a:pt x="435104" y="435077"/>
                  </a:lnTo>
                  <a:lnTo>
                    <a:pt x="217565" y="435077"/>
                  </a:lnTo>
                  <a:close/>
                  <a:moveTo>
                    <a:pt x="217565" y="435077"/>
                  </a:moveTo>
                  <a:lnTo>
                    <a:pt x="27" y="217539"/>
                  </a:lnTo>
                  <a:lnTo>
                    <a:pt x="27" y="435077"/>
                  </a:lnTo>
                  <a:lnTo>
                    <a:pt x="217565" y="435077"/>
                  </a:lnTo>
                  <a:close/>
                </a:path>
              </a:pathLst>
            </a:custGeom>
            <a:grpFill/>
            <a:ln w="27192" cap="flat">
              <a:noFill/>
              <a:prstDash val="solid"/>
              <a:miter/>
            </a:ln>
          </p:spPr>
          <p:txBody>
            <a:bodyPr rtlCol="0" anchor="ctr"/>
            <a:lstStyle/>
            <a:p>
              <a:endParaRPr lang="uk-UA" sz="900"/>
            </a:p>
          </p:txBody>
        </p:sp>
        <p:sp>
          <p:nvSpPr>
            <p:cNvPr id="555" name="Freeform: Shape 554">
              <a:extLst>
                <a:ext uri="{FF2B5EF4-FFF2-40B4-BE49-F238E27FC236}">
                  <a16:creationId xmlns:a16="http://schemas.microsoft.com/office/drawing/2014/main" id="{62AFC1A1-B76F-E19E-494B-74E6FAE8FEA7}"/>
                </a:ext>
              </a:extLst>
            </p:cNvPr>
            <p:cNvSpPr/>
            <p:nvPr/>
          </p:nvSpPr>
          <p:spPr>
            <a:xfrm>
              <a:off x="22589856" y="544952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556" name="Freeform: Shape 555">
              <a:extLst>
                <a:ext uri="{FF2B5EF4-FFF2-40B4-BE49-F238E27FC236}">
                  <a16:creationId xmlns:a16="http://schemas.microsoft.com/office/drawing/2014/main" id="{EBB0BCF8-58B8-DE3B-B6E9-2B7BF5538EA6}"/>
                </a:ext>
              </a:extLst>
            </p:cNvPr>
            <p:cNvSpPr/>
            <p:nvPr/>
          </p:nvSpPr>
          <p:spPr>
            <a:xfrm>
              <a:off x="23460039" y="5449529"/>
              <a:ext cx="435077" cy="435077"/>
            </a:xfrm>
            <a:custGeom>
              <a:avLst/>
              <a:gdLst>
                <a:gd name="connsiteX0" fmla="*/ 0 w 435077"/>
                <a:gd name="connsiteY0" fmla="*/ 435077 h 435077"/>
                <a:gd name="connsiteX1" fmla="*/ 217510 w 435077"/>
                <a:gd name="connsiteY1" fmla="*/ 435077 h 435077"/>
                <a:gd name="connsiteX2" fmla="*/ 217510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66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10" y="435077"/>
                  </a:lnTo>
                  <a:lnTo>
                    <a:pt x="217510" y="217539"/>
                  </a:lnTo>
                  <a:lnTo>
                    <a:pt x="0" y="435077"/>
                  </a:lnTo>
                  <a:close/>
                  <a:moveTo>
                    <a:pt x="217539" y="0"/>
                  </a:moveTo>
                  <a:lnTo>
                    <a:pt x="0" y="0"/>
                  </a:lnTo>
                  <a:lnTo>
                    <a:pt x="217539" y="217539"/>
                  </a:lnTo>
                  <a:lnTo>
                    <a:pt x="217539" y="0"/>
                  </a:lnTo>
                  <a:close/>
                  <a:moveTo>
                    <a:pt x="435077" y="435077"/>
                  </a:moveTo>
                  <a:lnTo>
                    <a:pt x="217539" y="435077"/>
                  </a:lnTo>
                  <a:lnTo>
                    <a:pt x="435077" y="217566"/>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557" name="Freeform: Shape 556">
              <a:extLst>
                <a:ext uri="{FF2B5EF4-FFF2-40B4-BE49-F238E27FC236}">
                  <a16:creationId xmlns:a16="http://schemas.microsoft.com/office/drawing/2014/main" id="{6CB34D5F-A449-10B3-5809-CAD199B7E4E0}"/>
                </a:ext>
              </a:extLst>
            </p:cNvPr>
            <p:cNvSpPr/>
            <p:nvPr/>
          </p:nvSpPr>
          <p:spPr>
            <a:xfrm>
              <a:off x="24330194" y="544952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p>
          </p:txBody>
        </p:sp>
        <p:sp>
          <p:nvSpPr>
            <p:cNvPr id="558" name="Freeform: Shape 557">
              <a:extLst>
                <a:ext uri="{FF2B5EF4-FFF2-40B4-BE49-F238E27FC236}">
                  <a16:creationId xmlns:a16="http://schemas.microsoft.com/office/drawing/2014/main" id="{56B088AE-77B0-0621-9051-E10B2BB24B81}"/>
                </a:ext>
              </a:extLst>
            </p:cNvPr>
            <p:cNvSpPr/>
            <p:nvPr/>
          </p:nvSpPr>
          <p:spPr>
            <a:xfrm>
              <a:off x="835769" y="6319683"/>
              <a:ext cx="435077" cy="435077"/>
            </a:xfrm>
            <a:custGeom>
              <a:avLst/>
              <a:gdLst>
                <a:gd name="connsiteX0" fmla="*/ 63711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1 w 435077"/>
                <a:gd name="connsiteY6" fmla="*/ 153827 h 435077"/>
                <a:gd name="connsiteX7" fmla="*/ 63711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1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1" y="153827"/>
                  </a:moveTo>
                  <a:cubicBezTo>
                    <a:pt x="22923" y="113038"/>
                    <a:pt x="0" y="57702"/>
                    <a:pt x="0" y="0"/>
                  </a:cubicBezTo>
                  <a:lnTo>
                    <a:pt x="217539" y="0"/>
                  </a:lnTo>
                  <a:lnTo>
                    <a:pt x="435077" y="0"/>
                  </a:lnTo>
                  <a:cubicBezTo>
                    <a:pt x="435077" y="57702"/>
                    <a:pt x="412154" y="113038"/>
                    <a:pt x="371366" y="153827"/>
                  </a:cubicBezTo>
                  <a:cubicBezTo>
                    <a:pt x="330550" y="194616"/>
                    <a:pt x="275213" y="217539"/>
                    <a:pt x="217539" y="217539"/>
                  </a:cubicBezTo>
                  <a:cubicBezTo>
                    <a:pt x="159836" y="217539"/>
                    <a:pt x="104500" y="194616"/>
                    <a:pt x="63711" y="153827"/>
                  </a:cubicBezTo>
                  <a:close/>
                  <a:moveTo>
                    <a:pt x="63711" y="281250"/>
                  </a:moveTo>
                  <a:cubicBezTo>
                    <a:pt x="22923" y="322066"/>
                    <a:pt x="0" y="377375"/>
                    <a:pt x="0" y="435077"/>
                  </a:cubicBezTo>
                  <a:lnTo>
                    <a:pt x="217539" y="435077"/>
                  </a:lnTo>
                  <a:lnTo>
                    <a:pt x="435077" y="435077"/>
                  </a:lnTo>
                  <a:cubicBezTo>
                    <a:pt x="435077" y="377375"/>
                    <a:pt x="412154" y="322066"/>
                    <a:pt x="371366" y="281250"/>
                  </a:cubicBezTo>
                  <a:cubicBezTo>
                    <a:pt x="330550" y="240462"/>
                    <a:pt x="275213" y="217539"/>
                    <a:pt x="217539" y="217539"/>
                  </a:cubicBezTo>
                  <a:cubicBezTo>
                    <a:pt x="159836" y="217539"/>
                    <a:pt x="104500" y="240462"/>
                    <a:pt x="63711" y="281250"/>
                  </a:cubicBezTo>
                  <a:close/>
                </a:path>
              </a:pathLst>
            </a:custGeom>
            <a:grpFill/>
            <a:ln w="27192" cap="flat">
              <a:noFill/>
              <a:prstDash val="solid"/>
              <a:miter/>
            </a:ln>
          </p:spPr>
          <p:txBody>
            <a:bodyPr rtlCol="0" anchor="ctr"/>
            <a:lstStyle/>
            <a:p>
              <a:endParaRPr lang="uk-UA" sz="900"/>
            </a:p>
          </p:txBody>
        </p:sp>
        <p:sp>
          <p:nvSpPr>
            <p:cNvPr id="559" name="Freeform: Shape 558">
              <a:extLst>
                <a:ext uri="{FF2B5EF4-FFF2-40B4-BE49-F238E27FC236}">
                  <a16:creationId xmlns:a16="http://schemas.microsoft.com/office/drawing/2014/main" id="{D6C8424A-7D8C-C9B9-F261-0A565B9C778C}"/>
                </a:ext>
              </a:extLst>
            </p:cNvPr>
            <p:cNvSpPr/>
            <p:nvPr/>
          </p:nvSpPr>
          <p:spPr>
            <a:xfrm>
              <a:off x="-34393" y="6319683"/>
              <a:ext cx="435085" cy="435077"/>
            </a:xfrm>
            <a:custGeom>
              <a:avLst/>
              <a:gdLst>
                <a:gd name="connsiteX0" fmla="*/ 435086 w 435085"/>
                <a:gd name="connsiteY0" fmla="*/ 435077 h 435077"/>
                <a:gd name="connsiteX1" fmla="*/ 435086 w 435085"/>
                <a:gd name="connsiteY1" fmla="*/ 0 h 435077"/>
                <a:gd name="connsiteX2" fmla="*/ 217547 w 435085"/>
                <a:gd name="connsiteY2" fmla="*/ 217539 h 435077"/>
                <a:gd name="connsiteX3" fmla="*/ 435086 w 435085"/>
                <a:gd name="connsiteY3" fmla="*/ 435077 h 435077"/>
                <a:gd name="connsiteX4" fmla="*/ 0 w 435085"/>
                <a:gd name="connsiteY4" fmla="*/ 435077 h 435077"/>
                <a:gd name="connsiteX5" fmla="*/ 0 w 435085"/>
                <a:gd name="connsiteY5" fmla="*/ 0 h 435077"/>
                <a:gd name="connsiteX6" fmla="*/ 217520 w 435085"/>
                <a:gd name="connsiteY6" fmla="*/ 217539 h 435077"/>
                <a:gd name="connsiteX7" fmla="*/ 0 w 435085"/>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85" h="435077">
                  <a:moveTo>
                    <a:pt x="435086" y="435077"/>
                  </a:moveTo>
                  <a:lnTo>
                    <a:pt x="435086" y="0"/>
                  </a:lnTo>
                  <a:lnTo>
                    <a:pt x="217547" y="217539"/>
                  </a:lnTo>
                  <a:lnTo>
                    <a:pt x="435086" y="435077"/>
                  </a:lnTo>
                  <a:close/>
                  <a:moveTo>
                    <a:pt x="0" y="435077"/>
                  </a:moveTo>
                  <a:lnTo>
                    <a:pt x="0" y="0"/>
                  </a:lnTo>
                  <a:lnTo>
                    <a:pt x="217520" y="217539"/>
                  </a:lnTo>
                  <a:lnTo>
                    <a:pt x="0" y="435077"/>
                  </a:lnTo>
                  <a:close/>
                </a:path>
              </a:pathLst>
            </a:custGeom>
            <a:grpFill/>
            <a:ln w="27192" cap="flat">
              <a:noFill/>
              <a:prstDash val="solid"/>
              <a:miter/>
            </a:ln>
          </p:spPr>
          <p:txBody>
            <a:bodyPr rtlCol="0" anchor="ctr"/>
            <a:lstStyle/>
            <a:p>
              <a:endParaRPr lang="uk-UA" sz="900"/>
            </a:p>
          </p:txBody>
        </p:sp>
        <p:sp>
          <p:nvSpPr>
            <p:cNvPr id="560" name="Freeform: Shape 559">
              <a:extLst>
                <a:ext uri="{FF2B5EF4-FFF2-40B4-BE49-F238E27FC236}">
                  <a16:creationId xmlns:a16="http://schemas.microsoft.com/office/drawing/2014/main" id="{DE780D16-CAF9-1296-E2C0-3830480B1CD7}"/>
                </a:ext>
              </a:extLst>
            </p:cNvPr>
            <p:cNvSpPr/>
            <p:nvPr/>
          </p:nvSpPr>
          <p:spPr>
            <a:xfrm>
              <a:off x="1705924" y="6319683"/>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6 w 435077"/>
                <a:gd name="connsiteY3" fmla="*/ 27 h 435077"/>
                <a:gd name="connsiteX4" fmla="*/ 435077 w 435077"/>
                <a:gd name="connsiteY4" fmla="*/ 217539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6" y="27"/>
                  </a:lnTo>
                  <a:lnTo>
                    <a:pt x="435077" y="217539"/>
                  </a:lnTo>
                  <a:lnTo>
                    <a:pt x="217566"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561" name="Freeform: Shape 560">
              <a:extLst>
                <a:ext uri="{FF2B5EF4-FFF2-40B4-BE49-F238E27FC236}">
                  <a16:creationId xmlns:a16="http://schemas.microsoft.com/office/drawing/2014/main" id="{D4E1894D-29EF-4A07-6A1C-A80F070DB9F2}"/>
                </a:ext>
              </a:extLst>
            </p:cNvPr>
            <p:cNvSpPr/>
            <p:nvPr/>
          </p:nvSpPr>
          <p:spPr>
            <a:xfrm>
              <a:off x="2576106" y="6319683"/>
              <a:ext cx="435077" cy="435077"/>
            </a:xfrm>
            <a:custGeom>
              <a:avLst/>
              <a:gdLst>
                <a:gd name="connsiteX0" fmla="*/ 0 w 435077"/>
                <a:gd name="connsiteY0" fmla="*/ 435077 h 435077"/>
                <a:gd name="connsiteX1" fmla="*/ 0 w 435077"/>
                <a:gd name="connsiteY1" fmla="*/ 0 h 435077"/>
                <a:gd name="connsiteX2" fmla="*/ 217512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12"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562" name="Freeform: Shape 561">
              <a:extLst>
                <a:ext uri="{FF2B5EF4-FFF2-40B4-BE49-F238E27FC236}">
                  <a16:creationId xmlns:a16="http://schemas.microsoft.com/office/drawing/2014/main" id="{E8872A5E-5753-D743-8AA4-7954907D93F4}"/>
                </a:ext>
              </a:extLst>
            </p:cNvPr>
            <p:cNvSpPr/>
            <p:nvPr/>
          </p:nvSpPr>
          <p:spPr>
            <a:xfrm>
              <a:off x="4316416" y="6319683"/>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39 w 435077"/>
                <a:gd name="connsiteY6" fmla="*/ 153827 h 435077"/>
                <a:gd name="connsiteX7" fmla="*/ 63739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0 h 435077"/>
                <a:gd name="connsiteX12" fmla="*/ 217539 w 435077"/>
                <a:gd name="connsiteY12" fmla="*/ 217539 h 435077"/>
                <a:gd name="connsiteX13" fmla="*/ 63739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3" y="113038"/>
                    <a:pt x="0" y="57702"/>
                    <a:pt x="0" y="0"/>
                  </a:cubicBezTo>
                  <a:lnTo>
                    <a:pt x="217539" y="0"/>
                  </a:lnTo>
                  <a:lnTo>
                    <a:pt x="435077" y="0"/>
                  </a:lnTo>
                  <a:cubicBezTo>
                    <a:pt x="435077" y="57702"/>
                    <a:pt x="412181" y="113038"/>
                    <a:pt x="371365" y="153827"/>
                  </a:cubicBezTo>
                  <a:cubicBezTo>
                    <a:pt x="330577" y="194616"/>
                    <a:pt x="275240" y="217539"/>
                    <a:pt x="217539" y="217539"/>
                  </a:cubicBezTo>
                  <a:cubicBezTo>
                    <a:pt x="159864" y="217539"/>
                    <a:pt x="104527" y="194616"/>
                    <a:pt x="63739" y="153827"/>
                  </a:cubicBezTo>
                  <a:close/>
                  <a:moveTo>
                    <a:pt x="63739" y="281250"/>
                  </a:moveTo>
                  <a:cubicBezTo>
                    <a:pt x="22923" y="322066"/>
                    <a:pt x="0" y="377375"/>
                    <a:pt x="0" y="435077"/>
                  </a:cubicBezTo>
                  <a:lnTo>
                    <a:pt x="217539" y="435077"/>
                  </a:lnTo>
                  <a:lnTo>
                    <a:pt x="435077" y="435077"/>
                  </a:lnTo>
                  <a:cubicBezTo>
                    <a:pt x="435077" y="377375"/>
                    <a:pt x="412181" y="322066"/>
                    <a:pt x="371365" y="281250"/>
                  </a:cubicBezTo>
                  <a:cubicBezTo>
                    <a:pt x="330577" y="240462"/>
                    <a:pt x="275240" y="217539"/>
                    <a:pt x="217539" y="217539"/>
                  </a:cubicBezTo>
                  <a:cubicBezTo>
                    <a:pt x="159864" y="217539"/>
                    <a:pt x="104527" y="240462"/>
                    <a:pt x="63739" y="281250"/>
                  </a:cubicBezTo>
                  <a:close/>
                </a:path>
              </a:pathLst>
            </a:custGeom>
            <a:grpFill/>
            <a:ln w="27192" cap="flat">
              <a:noFill/>
              <a:prstDash val="solid"/>
              <a:miter/>
            </a:ln>
          </p:spPr>
          <p:txBody>
            <a:bodyPr rtlCol="0" anchor="ctr"/>
            <a:lstStyle/>
            <a:p>
              <a:endParaRPr lang="uk-UA" sz="900"/>
            </a:p>
          </p:txBody>
        </p:sp>
        <p:sp>
          <p:nvSpPr>
            <p:cNvPr id="563" name="Freeform: Shape 562">
              <a:extLst>
                <a:ext uri="{FF2B5EF4-FFF2-40B4-BE49-F238E27FC236}">
                  <a16:creationId xmlns:a16="http://schemas.microsoft.com/office/drawing/2014/main" id="{EA548D06-ACBC-A503-A5D4-7665A55C9F16}"/>
                </a:ext>
              </a:extLst>
            </p:cNvPr>
            <p:cNvSpPr/>
            <p:nvPr/>
          </p:nvSpPr>
          <p:spPr>
            <a:xfrm>
              <a:off x="3446261" y="6319683"/>
              <a:ext cx="435077" cy="435077"/>
            </a:xfrm>
            <a:custGeom>
              <a:avLst/>
              <a:gdLst>
                <a:gd name="connsiteX0" fmla="*/ 435077 w 435077"/>
                <a:gd name="connsiteY0" fmla="*/ 435077 h 435077"/>
                <a:gd name="connsiteX1" fmla="*/ 435077 w 435077"/>
                <a:gd name="connsiteY1" fmla="*/ 0 h 435077"/>
                <a:gd name="connsiteX2" fmla="*/ 217566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6"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564" name="Freeform: Shape 563">
              <a:extLst>
                <a:ext uri="{FF2B5EF4-FFF2-40B4-BE49-F238E27FC236}">
                  <a16:creationId xmlns:a16="http://schemas.microsoft.com/office/drawing/2014/main" id="{BA97D7B3-467E-CC85-975C-53880808BC50}"/>
                </a:ext>
              </a:extLst>
            </p:cNvPr>
            <p:cNvSpPr/>
            <p:nvPr/>
          </p:nvSpPr>
          <p:spPr>
            <a:xfrm>
              <a:off x="5186597" y="6319683"/>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39 w 435077"/>
                <a:gd name="connsiteY3" fmla="*/ 27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39" y="27"/>
                  </a:lnTo>
                  <a:lnTo>
                    <a:pt x="435077" y="217539"/>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565" name="Freeform: Shape 564">
              <a:extLst>
                <a:ext uri="{FF2B5EF4-FFF2-40B4-BE49-F238E27FC236}">
                  <a16:creationId xmlns:a16="http://schemas.microsoft.com/office/drawing/2014/main" id="{BA64E9A5-A689-84FE-9248-93868904829D}"/>
                </a:ext>
              </a:extLst>
            </p:cNvPr>
            <p:cNvSpPr/>
            <p:nvPr/>
          </p:nvSpPr>
          <p:spPr>
            <a:xfrm>
              <a:off x="6056752" y="6319683"/>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566" name="Freeform: Shape 565">
              <a:extLst>
                <a:ext uri="{FF2B5EF4-FFF2-40B4-BE49-F238E27FC236}">
                  <a16:creationId xmlns:a16="http://schemas.microsoft.com/office/drawing/2014/main" id="{8C3EA9C0-B172-59C9-C93B-56B25FF2B7C7}"/>
                </a:ext>
              </a:extLst>
            </p:cNvPr>
            <p:cNvSpPr/>
            <p:nvPr/>
          </p:nvSpPr>
          <p:spPr>
            <a:xfrm>
              <a:off x="7797062" y="6319683"/>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39 w 435077"/>
                <a:gd name="connsiteY6" fmla="*/ 153827 h 435077"/>
                <a:gd name="connsiteX7" fmla="*/ 63739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39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4" y="113038"/>
                    <a:pt x="0" y="57702"/>
                    <a:pt x="0" y="0"/>
                  </a:cubicBezTo>
                  <a:lnTo>
                    <a:pt x="217539" y="0"/>
                  </a:lnTo>
                  <a:lnTo>
                    <a:pt x="435077" y="0"/>
                  </a:lnTo>
                  <a:cubicBezTo>
                    <a:pt x="435077" y="57702"/>
                    <a:pt x="412182" y="113038"/>
                    <a:pt x="371366" y="153827"/>
                  </a:cubicBezTo>
                  <a:cubicBezTo>
                    <a:pt x="330578" y="194616"/>
                    <a:pt x="275241" y="217539"/>
                    <a:pt x="217539" y="217539"/>
                  </a:cubicBezTo>
                  <a:cubicBezTo>
                    <a:pt x="159864" y="217539"/>
                    <a:pt x="104527" y="194616"/>
                    <a:pt x="63739" y="153827"/>
                  </a:cubicBezTo>
                  <a:close/>
                  <a:moveTo>
                    <a:pt x="63739" y="281250"/>
                  </a:moveTo>
                  <a:cubicBezTo>
                    <a:pt x="22924" y="322066"/>
                    <a:pt x="0" y="377375"/>
                    <a:pt x="0" y="435077"/>
                  </a:cubicBezTo>
                  <a:lnTo>
                    <a:pt x="217539" y="435077"/>
                  </a:lnTo>
                  <a:lnTo>
                    <a:pt x="435077" y="435077"/>
                  </a:lnTo>
                  <a:cubicBezTo>
                    <a:pt x="435077" y="377375"/>
                    <a:pt x="412182" y="322066"/>
                    <a:pt x="371366" y="281250"/>
                  </a:cubicBezTo>
                  <a:cubicBezTo>
                    <a:pt x="330578" y="240462"/>
                    <a:pt x="275241" y="217539"/>
                    <a:pt x="217539" y="217539"/>
                  </a:cubicBezTo>
                  <a:cubicBezTo>
                    <a:pt x="159864" y="217539"/>
                    <a:pt x="104527" y="240462"/>
                    <a:pt x="63739" y="281250"/>
                  </a:cubicBezTo>
                  <a:close/>
                </a:path>
              </a:pathLst>
            </a:custGeom>
            <a:grpFill/>
            <a:ln w="27192" cap="flat">
              <a:noFill/>
              <a:prstDash val="solid"/>
              <a:miter/>
            </a:ln>
          </p:spPr>
          <p:txBody>
            <a:bodyPr rtlCol="0" anchor="ctr"/>
            <a:lstStyle/>
            <a:p>
              <a:endParaRPr lang="uk-UA" sz="900"/>
            </a:p>
          </p:txBody>
        </p:sp>
        <p:sp>
          <p:nvSpPr>
            <p:cNvPr id="567" name="Freeform: Shape 566">
              <a:extLst>
                <a:ext uri="{FF2B5EF4-FFF2-40B4-BE49-F238E27FC236}">
                  <a16:creationId xmlns:a16="http://schemas.microsoft.com/office/drawing/2014/main" id="{CE098EE0-02C9-B443-3761-DFAEC72DEAA5}"/>
                </a:ext>
              </a:extLst>
            </p:cNvPr>
            <p:cNvSpPr/>
            <p:nvPr/>
          </p:nvSpPr>
          <p:spPr>
            <a:xfrm>
              <a:off x="6926907" y="6319683"/>
              <a:ext cx="435077" cy="435077"/>
            </a:xfrm>
            <a:custGeom>
              <a:avLst/>
              <a:gdLst>
                <a:gd name="connsiteX0" fmla="*/ 435077 w 435077"/>
                <a:gd name="connsiteY0" fmla="*/ 435077 h 435077"/>
                <a:gd name="connsiteX1" fmla="*/ 435077 w 435077"/>
                <a:gd name="connsiteY1" fmla="*/ 0 h 435077"/>
                <a:gd name="connsiteX2" fmla="*/ 217566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6"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568" name="Freeform: Shape 567">
              <a:extLst>
                <a:ext uri="{FF2B5EF4-FFF2-40B4-BE49-F238E27FC236}">
                  <a16:creationId xmlns:a16="http://schemas.microsoft.com/office/drawing/2014/main" id="{66D2C5F9-4EB4-1C51-B64D-0C613728C0D7}"/>
                </a:ext>
              </a:extLst>
            </p:cNvPr>
            <p:cNvSpPr/>
            <p:nvPr/>
          </p:nvSpPr>
          <p:spPr>
            <a:xfrm>
              <a:off x="8667217" y="6319683"/>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6 w 435077"/>
                <a:gd name="connsiteY3" fmla="*/ 27 h 435077"/>
                <a:gd name="connsiteX4" fmla="*/ 435077 w 435077"/>
                <a:gd name="connsiteY4" fmla="*/ 217539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6" y="27"/>
                  </a:lnTo>
                  <a:lnTo>
                    <a:pt x="435077" y="217539"/>
                  </a:lnTo>
                  <a:lnTo>
                    <a:pt x="217566"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569" name="Freeform: Shape 568">
              <a:extLst>
                <a:ext uri="{FF2B5EF4-FFF2-40B4-BE49-F238E27FC236}">
                  <a16:creationId xmlns:a16="http://schemas.microsoft.com/office/drawing/2014/main" id="{224B0A5F-BBA7-E9DD-5539-870A48558E98}"/>
                </a:ext>
              </a:extLst>
            </p:cNvPr>
            <p:cNvSpPr/>
            <p:nvPr/>
          </p:nvSpPr>
          <p:spPr>
            <a:xfrm>
              <a:off x="9537399" y="6319683"/>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570" name="Freeform: Shape 569">
              <a:extLst>
                <a:ext uri="{FF2B5EF4-FFF2-40B4-BE49-F238E27FC236}">
                  <a16:creationId xmlns:a16="http://schemas.microsoft.com/office/drawing/2014/main" id="{DA5B768F-795C-BB69-C2DD-014CFA0DAB3E}"/>
                </a:ext>
              </a:extLst>
            </p:cNvPr>
            <p:cNvSpPr/>
            <p:nvPr/>
          </p:nvSpPr>
          <p:spPr>
            <a:xfrm>
              <a:off x="11277709" y="6319683"/>
              <a:ext cx="435077" cy="435077"/>
            </a:xfrm>
            <a:custGeom>
              <a:avLst/>
              <a:gdLst>
                <a:gd name="connsiteX0" fmla="*/ 63710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0 w 435077"/>
                <a:gd name="connsiteY6" fmla="*/ 153827 h 435077"/>
                <a:gd name="connsiteX7" fmla="*/ 63710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0 h 435077"/>
                <a:gd name="connsiteX12" fmla="*/ 217539 w 435077"/>
                <a:gd name="connsiteY12" fmla="*/ 217539 h 435077"/>
                <a:gd name="connsiteX13" fmla="*/ 63710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7"/>
                  </a:moveTo>
                  <a:cubicBezTo>
                    <a:pt x="22922" y="113038"/>
                    <a:pt x="0" y="57702"/>
                    <a:pt x="0" y="0"/>
                  </a:cubicBezTo>
                  <a:lnTo>
                    <a:pt x="217539" y="0"/>
                  </a:lnTo>
                  <a:lnTo>
                    <a:pt x="435077" y="0"/>
                  </a:lnTo>
                  <a:cubicBezTo>
                    <a:pt x="435077" y="57702"/>
                    <a:pt x="412154" y="113038"/>
                    <a:pt x="371365" y="153827"/>
                  </a:cubicBezTo>
                  <a:cubicBezTo>
                    <a:pt x="330549" y="194616"/>
                    <a:pt x="275239" y="217539"/>
                    <a:pt x="217539" y="217539"/>
                  </a:cubicBezTo>
                  <a:cubicBezTo>
                    <a:pt x="159836" y="217539"/>
                    <a:pt x="104499" y="194616"/>
                    <a:pt x="63710" y="153827"/>
                  </a:cubicBezTo>
                  <a:close/>
                  <a:moveTo>
                    <a:pt x="63710" y="281250"/>
                  </a:moveTo>
                  <a:cubicBezTo>
                    <a:pt x="22922" y="322066"/>
                    <a:pt x="0" y="377375"/>
                    <a:pt x="0" y="435077"/>
                  </a:cubicBezTo>
                  <a:lnTo>
                    <a:pt x="217539" y="435077"/>
                  </a:lnTo>
                  <a:lnTo>
                    <a:pt x="435077" y="435077"/>
                  </a:lnTo>
                  <a:cubicBezTo>
                    <a:pt x="435077" y="377375"/>
                    <a:pt x="412154" y="322066"/>
                    <a:pt x="371365" y="281250"/>
                  </a:cubicBezTo>
                  <a:cubicBezTo>
                    <a:pt x="330549" y="240462"/>
                    <a:pt x="275239" y="217539"/>
                    <a:pt x="217539" y="217539"/>
                  </a:cubicBezTo>
                  <a:cubicBezTo>
                    <a:pt x="159836" y="217539"/>
                    <a:pt x="104499" y="240462"/>
                    <a:pt x="63710" y="281250"/>
                  </a:cubicBezTo>
                  <a:close/>
                </a:path>
              </a:pathLst>
            </a:custGeom>
            <a:grpFill/>
            <a:ln w="27192" cap="flat">
              <a:noFill/>
              <a:prstDash val="solid"/>
              <a:miter/>
            </a:ln>
          </p:spPr>
          <p:txBody>
            <a:bodyPr rtlCol="0" anchor="ctr"/>
            <a:lstStyle/>
            <a:p>
              <a:endParaRPr lang="uk-UA" sz="900"/>
            </a:p>
          </p:txBody>
        </p:sp>
        <p:sp>
          <p:nvSpPr>
            <p:cNvPr id="571" name="Freeform: Shape 570">
              <a:extLst>
                <a:ext uri="{FF2B5EF4-FFF2-40B4-BE49-F238E27FC236}">
                  <a16:creationId xmlns:a16="http://schemas.microsoft.com/office/drawing/2014/main" id="{DE13E892-8D6E-936F-6370-85ED71FB0A66}"/>
                </a:ext>
              </a:extLst>
            </p:cNvPr>
            <p:cNvSpPr/>
            <p:nvPr/>
          </p:nvSpPr>
          <p:spPr>
            <a:xfrm>
              <a:off x="10407554" y="631968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1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1" y="217539"/>
                  </a:lnTo>
                  <a:lnTo>
                    <a:pt x="0" y="435077"/>
                  </a:lnTo>
                  <a:close/>
                </a:path>
              </a:pathLst>
            </a:custGeom>
            <a:grpFill/>
            <a:ln w="27192" cap="flat">
              <a:noFill/>
              <a:prstDash val="solid"/>
              <a:miter/>
            </a:ln>
          </p:spPr>
          <p:txBody>
            <a:bodyPr rtlCol="0" anchor="ctr"/>
            <a:lstStyle/>
            <a:p>
              <a:endParaRPr lang="uk-UA" sz="900"/>
            </a:p>
          </p:txBody>
        </p:sp>
        <p:sp>
          <p:nvSpPr>
            <p:cNvPr id="572" name="Freeform: Shape 571">
              <a:extLst>
                <a:ext uri="{FF2B5EF4-FFF2-40B4-BE49-F238E27FC236}">
                  <a16:creationId xmlns:a16="http://schemas.microsoft.com/office/drawing/2014/main" id="{A9337616-36F8-37D7-AB71-8C8A72A8B83A}"/>
                </a:ext>
              </a:extLst>
            </p:cNvPr>
            <p:cNvSpPr/>
            <p:nvPr/>
          </p:nvSpPr>
          <p:spPr>
            <a:xfrm>
              <a:off x="12147864" y="6319683"/>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5 w 435077"/>
                <a:gd name="connsiteY3" fmla="*/ 27 h 435077"/>
                <a:gd name="connsiteX4" fmla="*/ 435077 w 435077"/>
                <a:gd name="connsiteY4" fmla="*/ 217539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5" y="27"/>
                  </a:lnTo>
                  <a:lnTo>
                    <a:pt x="435077" y="217539"/>
                  </a:lnTo>
                  <a:lnTo>
                    <a:pt x="217565"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573" name="Freeform: Shape 572">
              <a:extLst>
                <a:ext uri="{FF2B5EF4-FFF2-40B4-BE49-F238E27FC236}">
                  <a16:creationId xmlns:a16="http://schemas.microsoft.com/office/drawing/2014/main" id="{DC3BB092-BAC0-3346-22C0-8A8719C961AE}"/>
                </a:ext>
              </a:extLst>
            </p:cNvPr>
            <p:cNvSpPr/>
            <p:nvPr/>
          </p:nvSpPr>
          <p:spPr>
            <a:xfrm>
              <a:off x="13018045" y="6319683"/>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574" name="Freeform: Shape 573">
              <a:extLst>
                <a:ext uri="{FF2B5EF4-FFF2-40B4-BE49-F238E27FC236}">
                  <a16:creationId xmlns:a16="http://schemas.microsoft.com/office/drawing/2014/main" id="{F5A2398A-F772-000F-8CA2-5780578E24B9}"/>
                </a:ext>
              </a:extLst>
            </p:cNvPr>
            <p:cNvSpPr/>
            <p:nvPr/>
          </p:nvSpPr>
          <p:spPr>
            <a:xfrm>
              <a:off x="14758382" y="631968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8"/>
                    <a:pt x="0" y="57702"/>
                    <a:pt x="0" y="0"/>
                  </a:cubicBezTo>
                  <a:lnTo>
                    <a:pt x="217539" y="0"/>
                  </a:lnTo>
                  <a:lnTo>
                    <a:pt x="435077" y="0"/>
                  </a:lnTo>
                  <a:cubicBezTo>
                    <a:pt x="435077" y="57702"/>
                    <a:pt x="412155" y="113038"/>
                    <a:pt x="371367" y="153827"/>
                  </a:cubicBezTo>
                  <a:cubicBezTo>
                    <a:pt x="330550" y="194616"/>
                    <a:pt x="275241" y="217539"/>
                    <a:pt x="217539" y="217539"/>
                  </a:cubicBezTo>
                  <a:cubicBezTo>
                    <a:pt x="159836" y="217539"/>
                    <a:pt x="104501" y="194616"/>
                    <a:pt x="63712" y="153827"/>
                  </a:cubicBezTo>
                  <a:close/>
                  <a:moveTo>
                    <a:pt x="63712" y="281250"/>
                  </a:moveTo>
                  <a:cubicBezTo>
                    <a:pt x="22924" y="322066"/>
                    <a:pt x="0" y="377375"/>
                    <a:pt x="0" y="435077"/>
                  </a:cubicBezTo>
                  <a:lnTo>
                    <a:pt x="217539" y="435077"/>
                  </a:lnTo>
                  <a:lnTo>
                    <a:pt x="435077" y="435077"/>
                  </a:lnTo>
                  <a:cubicBezTo>
                    <a:pt x="435077" y="377375"/>
                    <a:pt x="412155" y="322066"/>
                    <a:pt x="371367" y="281250"/>
                  </a:cubicBezTo>
                  <a:cubicBezTo>
                    <a:pt x="330550" y="240462"/>
                    <a:pt x="275241" y="217539"/>
                    <a:pt x="217539" y="217539"/>
                  </a:cubicBezTo>
                  <a:cubicBezTo>
                    <a:pt x="159836" y="217539"/>
                    <a:pt x="104501" y="240462"/>
                    <a:pt x="63712" y="281250"/>
                  </a:cubicBezTo>
                  <a:close/>
                </a:path>
              </a:pathLst>
            </a:custGeom>
            <a:grpFill/>
            <a:ln w="27192" cap="flat">
              <a:noFill/>
              <a:prstDash val="solid"/>
              <a:miter/>
            </a:ln>
          </p:spPr>
          <p:txBody>
            <a:bodyPr rtlCol="0" anchor="ctr"/>
            <a:lstStyle/>
            <a:p>
              <a:endParaRPr lang="uk-UA" sz="900"/>
            </a:p>
          </p:txBody>
        </p:sp>
        <p:sp>
          <p:nvSpPr>
            <p:cNvPr id="575" name="Freeform: Shape 574">
              <a:extLst>
                <a:ext uri="{FF2B5EF4-FFF2-40B4-BE49-F238E27FC236}">
                  <a16:creationId xmlns:a16="http://schemas.microsoft.com/office/drawing/2014/main" id="{0AFFE39F-0F28-31FE-61A8-61EAB9731CC8}"/>
                </a:ext>
              </a:extLst>
            </p:cNvPr>
            <p:cNvSpPr/>
            <p:nvPr/>
          </p:nvSpPr>
          <p:spPr>
            <a:xfrm>
              <a:off x="13888227" y="631968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576" name="Freeform: Shape 575">
              <a:extLst>
                <a:ext uri="{FF2B5EF4-FFF2-40B4-BE49-F238E27FC236}">
                  <a16:creationId xmlns:a16="http://schemas.microsoft.com/office/drawing/2014/main" id="{EA1A7DE6-41B0-7027-E9EE-1E2F5E2F8F9A}"/>
                </a:ext>
              </a:extLst>
            </p:cNvPr>
            <p:cNvSpPr/>
            <p:nvPr/>
          </p:nvSpPr>
          <p:spPr>
            <a:xfrm>
              <a:off x="15628536" y="6319683"/>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7 w 435077"/>
                <a:gd name="connsiteY3" fmla="*/ 27 h 435077"/>
                <a:gd name="connsiteX4" fmla="*/ 435077 w 435077"/>
                <a:gd name="connsiteY4" fmla="*/ 217539 h 435077"/>
                <a:gd name="connsiteX5" fmla="*/ 217567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7" y="27"/>
                  </a:lnTo>
                  <a:lnTo>
                    <a:pt x="435077" y="217539"/>
                  </a:lnTo>
                  <a:lnTo>
                    <a:pt x="217567"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577" name="Freeform: Shape 576">
              <a:extLst>
                <a:ext uri="{FF2B5EF4-FFF2-40B4-BE49-F238E27FC236}">
                  <a16:creationId xmlns:a16="http://schemas.microsoft.com/office/drawing/2014/main" id="{B37BCFE3-B095-5573-C481-2580E4B5B124}"/>
                </a:ext>
              </a:extLst>
            </p:cNvPr>
            <p:cNvSpPr/>
            <p:nvPr/>
          </p:nvSpPr>
          <p:spPr>
            <a:xfrm>
              <a:off x="16498719" y="6319683"/>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578" name="Freeform: Shape 577">
              <a:extLst>
                <a:ext uri="{FF2B5EF4-FFF2-40B4-BE49-F238E27FC236}">
                  <a16:creationId xmlns:a16="http://schemas.microsoft.com/office/drawing/2014/main" id="{84B4ABEE-4B22-CA90-10D0-99708CD681AA}"/>
                </a:ext>
              </a:extLst>
            </p:cNvPr>
            <p:cNvSpPr/>
            <p:nvPr/>
          </p:nvSpPr>
          <p:spPr>
            <a:xfrm>
              <a:off x="18239029" y="6319683"/>
              <a:ext cx="435077" cy="435077"/>
            </a:xfrm>
            <a:custGeom>
              <a:avLst/>
              <a:gdLst>
                <a:gd name="connsiteX0" fmla="*/ 63710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0 w 435077"/>
                <a:gd name="connsiteY6" fmla="*/ 153827 h 435077"/>
                <a:gd name="connsiteX7" fmla="*/ 63710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0 h 435077"/>
                <a:gd name="connsiteX12" fmla="*/ 217539 w 435077"/>
                <a:gd name="connsiteY12" fmla="*/ 217539 h 435077"/>
                <a:gd name="connsiteX13" fmla="*/ 63710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7"/>
                  </a:moveTo>
                  <a:cubicBezTo>
                    <a:pt x="22922" y="113038"/>
                    <a:pt x="0" y="57702"/>
                    <a:pt x="0" y="0"/>
                  </a:cubicBezTo>
                  <a:lnTo>
                    <a:pt x="217539" y="0"/>
                  </a:lnTo>
                  <a:lnTo>
                    <a:pt x="435077" y="0"/>
                  </a:lnTo>
                  <a:cubicBezTo>
                    <a:pt x="435077" y="57702"/>
                    <a:pt x="412154" y="113038"/>
                    <a:pt x="371365" y="153827"/>
                  </a:cubicBezTo>
                  <a:cubicBezTo>
                    <a:pt x="330577" y="194616"/>
                    <a:pt x="275241" y="217539"/>
                    <a:pt x="217539" y="217539"/>
                  </a:cubicBezTo>
                  <a:cubicBezTo>
                    <a:pt x="159836" y="217539"/>
                    <a:pt x="104527" y="194616"/>
                    <a:pt x="63710" y="153827"/>
                  </a:cubicBezTo>
                  <a:close/>
                  <a:moveTo>
                    <a:pt x="63710" y="281250"/>
                  </a:moveTo>
                  <a:cubicBezTo>
                    <a:pt x="22922" y="322066"/>
                    <a:pt x="0" y="377375"/>
                    <a:pt x="0" y="435077"/>
                  </a:cubicBezTo>
                  <a:lnTo>
                    <a:pt x="217539" y="435077"/>
                  </a:lnTo>
                  <a:lnTo>
                    <a:pt x="435077" y="435077"/>
                  </a:lnTo>
                  <a:cubicBezTo>
                    <a:pt x="435077" y="377375"/>
                    <a:pt x="412154" y="322066"/>
                    <a:pt x="371365" y="281250"/>
                  </a:cubicBezTo>
                  <a:cubicBezTo>
                    <a:pt x="330577" y="240462"/>
                    <a:pt x="275241" y="217539"/>
                    <a:pt x="217539" y="217539"/>
                  </a:cubicBezTo>
                  <a:cubicBezTo>
                    <a:pt x="159836" y="217539"/>
                    <a:pt x="104527" y="240462"/>
                    <a:pt x="63710" y="281250"/>
                  </a:cubicBezTo>
                  <a:close/>
                </a:path>
              </a:pathLst>
            </a:custGeom>
            <a:grpFill/>
            <a:ln w="27192" cap="flat">
              <a:noFill/>
              <a:prstDash val="solid"/>
              <a:miter/>
            </a:ln>
          </p:spPr>
          <p:txBody>
            <a:bodyPr rtlCol="0" anchor="ctr"/>
            <a:lstStyle/>
            <a:p>
              <a:endParaRPr lang="uk-UA" sz="900"/>
            </a:p>
          </p:txBody>
        </p:sp>
        <p:sp>
          <p:nvSpPr>
            <p:cNvPr id="579" name="Freeform: Shape 578">
              <a:extLst>
                <a:ext uri="{FF2B5EF4-FFF2-40B4-BE49-F238E27FC236}">
                  <a16:creationId xmlns:a16="http://schemas.microsoft.com/office/drawing/2014/main" id="{3B05F35B-5359-0A39-24D9-47CAE1950704}"/>
                </a:ext>
              </a:extLst>
            </p:cNvPr>
            <p:cNvSpPr/>
            <p:nvPr/>
          </p:nvSpPr>
          <p:spPr>
            <a:xfrm>
              <a:off x="17368874" y="631968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0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0" y="217539"/>
                  </a:lnTo>
                  <a:lnTo>
                    <a:pt x="0" y="435077"/>
                  </a:lnTo>
                  <a:close/>
                </a:path>
              </a:pathLst>
            </a:custGeom>
            <a:grpFill/>
            <a:ln w="27192" cap="flat">
              <a:noFill/>
              <a:prstDash val="solid"/>
              <a:miter/>
            </a:ln>
          </p:spPr>
          <p:txBody>
            <a:bodyPr rtlCol="0" anchor="ctr"/>
            <a:lstStyle/>
            <a:p>
              <a:endParaRPr lang="uk-UA" sz="900"/>
            </a:p>
          </p:txBody>
        </p:sp>
        <p:sp>
          <p:nvSpPr>
            <p:cNvPr id="580" name="Freeform: Shape 579">
              <a:extLst>
                <a:ext uri="{FF2B5EF4-FFF2-40B4-BE49-F238E27FC236}">
                  <a16:creationId xmlns:a16="http://schemas.microsoft.com/office/drawing/2014/main" id="{62469147-94C7-1DB8-302E-C5717ABF9947}"/>
                </a:ext>
              </a:extLst>
            </p:cNvPr>
            <p:cNvSpPr/>
            <p:nvPr/>
          </p:nvSpPr>
          <p:spPr>
            <a:xfrm>
              <a:off x="19109210" y="6319683"/>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39 w 435077"/>
                <a:gd name="connsiteY3" fmla="*/ 27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39" y="27"/>
                  </a:lnTo>
                  <a:lnTo>
                    <a:pt x="435077" y="217539"/>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581" name="Freeform: Shape 580">
              <a:extLst>
                <a:ext uri="{FF2B5EF4-FFF2-40B4-BE49-F238E27FC236}">
                  <a16:creationId xmlns:a16="http://schemas.microsoft.com/office/drawing/2014/main" id="{747C1BF2-24AB-D88D-1A26-B9BAB517F2FD}"/>
                </a:ext>
              </a:extLst>
            </p:cNvPr>
            <p:cNvSpPr/>
            <p:nvPr/>
          </p:nvSpPr>
          <p:spPr>
            <a:xfrm>
              <a:off x="19979365" y="6319683"/>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582" name="Freeform: Shape 581">
              <a:extLst>
                <a:ext uri="{FF2B5EF4-FFF2-40B4-BE49-F238E27FC236}">
                  <a16:creationId xmlns:a16="http://schemas.microsoft.com/office/drawing/2014/main" id="{EC23B9DF-3FE4-94A3-81E9-B574516FA62D}"/>
                </a:ext>
              </a:extLst>
            </p:cNvPr>
            <p:cNvSpPr/>
            <p:nvPr/>
          </p:nvSpPr>
          <p:spPr>
            <a:xfrm>
              <a:off x="21719702" y="631968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897" y="113038"/>
                    <a:pt x="0" y="57702"/>
                    <a:pt x="0" y="0"/>
                  </a:cubicBezTo>
                  <a:lnTo>
                    <a:pt x="217539" y="0"/>
                  </a:lnTo>
                  <a:lnTo>
                    <a:pt x="435077" y="0"/>
                  </a:lnTo>
                  <a:cubicBezTo>
                    <a:pt x="435077" y="57702"/>
                    <a:pt x="412155" y="113038"/>
                    <a:pt x="371339" y="153827"/>
                  </a:cubicBezTo>
                  <a:cubicBezTo>
                    <a:pt x="330550" y="194616"/>
                    <a:pt x="275215" y="217539"/>
                    <a:pt x="217539" y="217539"/>
                  </a:cubicBezTo>
                  <a:cubicBezTo>
                    <a:pt x="159838" y="217539"/>
                    <a:pt x="104501" y="194616"/>
                    <a:pt x="63712" y="153827"/>
                  </a:cubicBezTo>
                  <a:close/>
                  <a:moveTo>
                    <a:pt x="63712" y="281250"/>
                  </a:moveTo>
                  <a:cubicBezTo>
                    <a:pt x="22897" y="322066"/>
                    <a:pt x="0" y="377375"/>
                    <a:pt x="0" y="435077"/>
                  </a:cubicBezTo>
                  <a:lnTo>
                    <a:pt x="217539" y="435077"/>
                  </a:lnTo>
                  <a:lnTo>
                    <a:pt x="435077" y="435077"/>
                  </a:lnTo>
                  <a:cubicBezTo>
                    <a:pt x="435077" y="377375"/>
                    <a:pt x="412155" y="322066"/>
                    <a:pt x="371339" y="281250"/>
                  </a:cubicBezTo>
                  <a:cubicBezTo>
                    <a:pt x="330550" y="240462"/>
                    <a:pt x="275215" y="217539"/>
                    <a:pt x="217539" y="217539"/>
                  </a:cubicBezTo>
                  <a:cubicBezTo>
                    <a:pt x="159838" y="217539"/>
                    <a:pt x="104501" y="240462"/>
                    <a:pt x="63712" y="281250"/>
                  </a:cubicBezTo>
                  <a:close/>
                </a:path>
              </a:pathLst>
            </a:custGeom>
            <a:grpFill/>
            <a:ln w="27192" cap="flat">
              <a:noFill/>
              <a:prstDash val="solid"/>
              <a:miter/>
            </a:ln>
          </p:spPr>
          <p:txBody>
            <a:bodyPr rtlCol="0" anchor="ctr"/>
            <a:lstStyle/>
            <a:p>
              <a:endParaRPr lang="uk-UA" sz="900"/>
            </a:p>
          </p:txBody>
        </p:sp>
        <p:sp>
          <p:nvSpPr>
            <p:cNvPr id="583" name="Freeform: Shape 582">
              <a:extLst>
                <a:ext uri="{FF2B5EF4-FFF2-40B4-BE49-F238E27FC236}">
                  <a16:creationId xmlns:a16="http://schemas.microsoft.com/office/drawing/2014/main" id="{EF5C5589-EBE1-4D83-3F73-A08A9076BFEC}"/>
                </a:ext>
              </a:extLst>
            </p:cNvPr>
            <p:cNvSpPr/>
            <p:nvPr/>
          </p:nvSpPr>
          <p:spPr>
            <a:xfrm>
              <a:off x="20849520" y="6319683"/>
              <a:ext cx="435077" cy="435077"/>
            </a:xfrm>
            <a:custGeom>
              <a:avLst/>
              <a:gdLst>
                <a:gd name="connsiteX0" fmla="*/ 435077 w 435077"/>
                <a:gd name="connsiteY0" fmla="*/ 435077 h 435077"/>
                <a:gd name="connsiteX1" fmla="*/ 435077 w 435077"/>
                <a:gd name="connsiteY1" fmla="*/ 0 h 435077"/>
                <a:gd name="connsiteX2" fmla="*/ 217565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584" name="Freeform: Shape 583">
              <a:extLst>
                <a:ext uri="{FF2B5EF4-FFF2-40B4-BE49-F238E27FC236}">
                  <a16:creationId xmlns:a16="http://schemas.microsoft.com/office/drawing/2014/main" id="{4049B1FD-7041-88F7-793F-A49892D64A67}"/>
                </a:ext>
              </a:extLst>
            </p:cNvPr>
            <p:cNvSpPr/>
            <p:nvPr/>
          </p:nvSpPr>
          <p:spPr>
            <a:xfrm>
              <a:off x="22589856" y="6319683"/>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7 w 435077"/>
                <a:gd name="connsiteY3" fmla="*/ 27 h 435077"/>
                <a:gd name="connsiteX4" fmla="*/ 435077 w 435077"/>
                <a:gd name="connsiteY4" fmla="*/ 217539 h 435077"/>
                <a:gd name="connsiteX5" fmla="*/ 217567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7" y="27"/>
                  </a:lnTo>
                  <a:lnTo>
                    <a:pt x="435077" y="217539"/>
                  </a:lnTo>
                  <a:lnTo>
                    <a:pt x="217567"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585" name="Freeform: Shape 584">
              <a:extLst>
                <a:ext uri="{FF2B5EF4-FFF2-40B4-BE49-F238E27FC236}">
                  <a16:creationId xmlns:a16="http://schemas.microsoft.com/office/drawing/2014/main" id="{89083359-B57B-CF9C-ED05-1EBD475F725E}"/>
                </a:ext>
              </a:extLst>
            </p:cNvPr>
            <p:cNvSpPr/>
            <p:nvPr/>
          </p:nvSpPr>
          <p:spPr>
            <a:xfrm>
              <a:off x="23460039" y="6319683"/>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586" name="Freeform: Shape 585">
              <a:extLst>
                <a:ext uri="{FF2B5EF4-FFF2-40B4-BE49-F238E27FC236}">
                  <a16:creationId xmlns:a16="http://schemas.microsoft.com/office/drawing/2014/main" id="{26AEA455-288C-E855-5B11-62CEA30F5977}"/>
                </a:ext>
              </a:extLst>
            </p:cNvPr>
            <p:cNvSpPr/>
            <p:nvPr/>
          </p:nvSpPr>
          <p:spPr>
            <a:xfrm>
              <a:off x="24330194" y="631968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587" name="Freeform: Shape 586">
              <a:extLst>
                <a:ext uri="{FF2B5EF4-FFF2-40B4-BE49-F238E27FC236}">
                  <a16:creationId xmlns:a16="http://schemas.microsoft.com/office/drawing/2014/main" id="{2A5C4725-8EAB-2744-3846-3D7EE39DCA00}"/>
                </a:ext>
              </a:extLst>
            </p:cNvPr>
            <p:cNvSpPr/>
            <p:nvPr/>
          </p:nvSpPr>
          <p:spPr>
            <a:xfrm>
              <a:off x="835769" y="196890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588" name="Freeform: Shape 587">
              <a:extLst>
                <a:ext uri="{FF2B5EF4-FFF2-40B4-BE49-F238E27FC236}">
                  <a16:creationId xmlns:a16="http://schemas.microsoft.com/office/drawing/2014/main" id="{A26F120D-71FA-9F09-574A-0085301AD6BD}"/>
                </a:ext>
              </a:extLst>
            </p:cNvPr>
            <p:cNvSpPr/>
            <p:nvPr/>
          </p:nvSpPr>
          <p:spPr>
            <a:xfrm>
              <a:off x="-34398" y="1968909"/>
              <a:ext cx="435063" cy="435077"/>
            </a:xfrm>
            <a:custGeom>
              <a:avLst/>
              <a:gdLst>
                <a:gd name="connsiteX0" fmla="*/ 0 w 435063"/>
                <a:gd name="connsiteY0" fmla="*/ 435075 h 435077"/>
                <a:gd name="connsiteX1" fmla="*/ 217525 w 435063"/>
                <a:gd name="connsiteY1" fmla="*/ 435075 h 435077"/>
                <a:gd name="connsiteX2" fmla="*/ 217525 w 435063"/>
                <a:gd name="connsiteY2" fmla="*/ 217547 h 435077"/>
                <a:gd name="connsiteX3" fmla="*/ 0 w 435063"/>
                <a:gd name="connsiteY3" fmla="*/ 435075 h 435077"/>
                <a:gd name="connsiteX4" fmla="*/ 217525 w 435063"/>
                <a:gd name="connsiteY4" fmla="*/ 0 h 435077"/>
                <a:gd name="connsiteX5" fmla="*/ 3 w 435063"/>
                <a:gd name="connsiteY5" fmla="*/ 0 h 435077"/>
                <a:gd name="connsiteX6" fmla="*/ 217525 w 435063"/>
                <a:gd name="connsiteY6" fmla="*/ 217528 h 435077"/>
                <a:gd name="connsiteX7" fmla="*/ 217525 w 435063"/>
                <a:gd name="connsiteY7" fmla="*/ 0 h 435077"/>
                <a:gd name="connsiteX8" fmla="*/ 435064 w 435063"/>
                <a:gd name="connsiteY8" fmla="*/ 435077 h 435077"/>
                <a:gd name="connsiteX9" fmla="*/ 217552 w 435063"/>
                <a:gd name="connsiteY9" fmla="*/ 435077 h 435077"/>
                <a:gd name="connsiteX10" fmla="*/ 435064 w 435063"/>
                <a:gd name="connsiteY10" fmla="*/ 217547 h 435077"/>
                <a:gd name="connsiteX11" fmla="*/ 435064 w 435063"/>
                <a:gd name="connsiteY11" fmla="*/ 435077 h 435077"/>
                <a:gd name="connsiteX12" fmla="*/ 435064 w 435063"/>
                <a:gd name="connsiteY12" fmla="*/ 3 h 435077"/>
                <a:gd name="connsiteX13" fmla="*/ 217552 w 435063"/>
                <a:gd name="connsiteY13" fmla="*/ 3 h 435077"/>
                <a:gd name="connsiteX14" fmla="*/ 435064 w 435063"/>
                <a:gd name="connsiteY14" fmla="*/ 217531 h 435077"/>
                <a:gd name="connsiteX15" fmla="*/ 435064 w 435063"/>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63" h="435077">
                  <a:moveTo>
                    <a:pt x="0" y="435075"/>
                  </a:moveTo>
                  <a:lnTo>
                    <a:pt x="217525" y="435075"/>
                  </a:lnTo>
                  <a:lnTo>
                    <a:pt x="217525" y="217547"/>
                  </a:lnTo>
                  <a:lnTo>
                    <a:pt x="0" y="435075"/>
                  </a:lnTo>
                  <a:close/>
                  <a:moveTo>
                    <a:pt x="217525" y="0"/>
                  </a:moveTo>
                  <a:lnTo>
                    <a:pt x="3" y="0"/>
                  </a:lnTo>
                  <a:lnTo>
                    <a:pt x="217525" y="217528"/>
                  </a:lnTo>
                  <a:lnTo>
                    <a:pt x="217525" y="0"/>
                  </a:lnTo>
                  <a:close/>
                  <a:moveTo>
                    <a:pt x="435064" y="435077"/>
                  </a:moveTo>
                  <a:lnTo>
                    <a:pt x="217552" y="435077"/>
                  </a:lnTo>
                  <a:lnTo>
                    <a:pt x="435064" y="217547"/>
                  </a:lnTo>
                  <a:lnTo>
                    <a:pt x="435064" y="435077"/>
                  </a:lnTo>
                  <a:close/>
                  <a:moveTo>
                    <a:pt x="435064" y="3"/>
                  </a:moveTo>
                  <a:lnTo>
                    <a:pt x="217552" y="3"/>
                  </a:lnTo>
                  <a:lnTo>
                    <a:pt x="435064" y="217531"/>
                  </a:lnTo>
                  <a:lnTo>
                    <a:pt x="435064" y="3"/>
                  </a:lnTo>
                  <a:close/>
                </a:path>
              </a:pathLst>
            </a:custGeom>
            <a:grpFill/>
            <a:ln w="27192" cap="flat">
              <a:noFill/>
              <a:prstDash val="solid"/>
              <a:miter/>
            </a:ln>
          </p:spPr>
          <p:txBody>
            <a:bodyPr rtlCol="0" anchor="ctr"/>
            <a:lstStyle/>
            <a:p>
              <a:endParaRPr lang="uk-UA" sz="900"/>
            </a:p>
          </p:txBody>
        </p:sp>
        <p:sp>
          <p:nvSpPr>
            <p:cNvPr id="589" name="Freeform: Shape 588">
              <a:extLst>
                <a:ext uri="{FF2B5EF4-FFF2-40B4-BE49-F238E27FC236}">
                  <a16:creationId xmlns:a16="http://schemas.microsoft.com/office/drawing/2014/main" id="{BB6279EB-A766-DB42-809C-4EAF13C89394}"/>
                </a:ext>
              </a:extLst>
            </p:cNvPr>
            <p:cNvSpPr/>
            <p:nvPr/>
          </p:nvSpPr>
          <p:spPr>
            <a:xfrm>
              <a:off x="1705924" y="1968909"/>
              <a:ext cx="435077" cy="435077"/>
            </a:xfrm>
            <a:custGeom>
              <a:avLst/>
              <a:gdLst>
                <a:gd name="connsiteX0" fmla="*/ 371366 w 435077"/>
                <a:gd name="connsiteY0" fmla="*/ 63714 h 435077"/>
                <a:gd name="connsiteX1" fmla="*/ 435077 w 435077"/>
                <a:gd name="connsiteY1" fmla="*/ 217539 h 435077"/>
                <a:gd name="connsiteX2" fmla="*/ 217729 w 435077"/>
                <a:gd name="connsiteY2" fmla="*/ 217539 h 435077"/>
                <a:gd name="connsiteX3" fmla="*/ 371366 w 435077"/>
                <a:gd name="connsiteY3" fmla="*/ 281253 h 435077"/>
                <a:gd name="connsiteX4" fmla="*/ 435077 w 435077"/>
                <a:gd name="connsiteY4" fmla="*/ 435077 h 435077"/>
                <a:gd name="connsiteX5" fmla="*/ 217539 w 435077"/>
                <a:gd name="connsiteY5" fmla="*/ 435077 h 435077"/>
                <a:gd name="connsiteX6" fmla="*/ 0 w 435077"/>
                <a:gd name="connsiteY6" fmla="*/ 435077 h 435077"/>
                <a:gd name="connsiteX7" fmla="*/ 63711 w 435077"/>
                <a:gd name="connsiteY7" fmla="*/ 281253 h 435077"/>
                <a:gd name="connsiteX8" fmla="*/ 217375 w 435077"/>
                <a:gd name="connsiteY8" fmla="*/ 217539 h 435077"/>
                <a:gd name="connsiteX9" fmla="*/ 0 w 435077"/>
                <a:gd name="connsiteY9" fmla="*/ 217539 h 435077"/>
                <a:gd name="connsiteX10" fmla="*/ 63711 w 435077"/>
                <a:gd name="connsiteY10" fmla="*/ 63714 h 435077"/>
                <a:gd name="connsiteX11" fmla="*/ 217539 w 435077"/>
                <a:gd name="connsiteY11" fmla="*/ 0 h 435077"/>
                <a:gd name="connsiteX12" fmla="*/ 371366 w 435077"/>
                <a:gd name="connsiteY12" fmla="*/ 63714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4"/>
                  </a:moveTo>
                  <a:cubicBezTo>
                    <a:pt x="412154" y="104511"/>
                    <a:pt x="435077" y="159842"/>
                    <a:pt x="435077" y="217539"/>
                  </a:cubicBezTo>
                  <a:lnTo>
                    <a:pt x="217729" y="217539"/>
                  </a:lnTo>
                  <a:cubicBezTo>
                    <a:pt x="275349" y="217582"/>
                    <a:pt x="330604" y="240497"/>
                    <a:pt x="371366" y="281253"/>
                  </a:cubicBezTo>
                  <a:cubicBezTo>
                    <a:pt x="412154" y="322050"/>
                    <a:pt x="435077" y="377381"/>
                    <a:pt x="435077" y="435077"/>
                  </a:cubicBezTo>
                  <a:lnTo>
                    <a:pt x="217539" y="435077"/>
                  </a:lnTo>
                  <a:lnTo>
                    <a:pt x="0" y="435077"/>
                  </a:lnTo>
                  <a:cubicBezTo>
                    <a:pt x="0" y="377381"/>
                    <a:pt x="22923" y="322050"/>
                    <a:pt x="63711" y="281253"/>
                  </a:cubicBezTo>
                  <a:cubicBezTo>
                    <a:pt x="104473" y="240497"/>
                    <a:pt x="159755" y="217582"/>
                    <a:pt x="217375" y="217539"/>
                  </a:cubicBezTo>
                  <a:lnTo>
                    <a:pt x="0" y="217539"/>
                  </a:lnTo>
                  <a:cubicBezTo>
                    <a:pt x="0" y="159842"/>
                    <a:pt x="22923" y="104511"/>
                    <a:pt x="63711" y="63714"/>
                  </a:cubicBezTo>
                  <a:cubicBezTo>
                    <a:pt x="104527" y="22918"/>
                    <a:pt x="159836" y="0"/>
                    <a:pt x="217539" y="0"/>
                  </a:cubicBezTo>
                  <a:cubicBezTo>
                    <a:pt x="275241" y="0"/>
                    <a:pt x="330577" y="22918"/>
                    <a:pt x="371366" y="63714"/>
                  </a:cubicBezTo>
                  <a:close/>
                </a:path>
              </a:pathLst>
            </a:custGeom>
            <a:grpFill/>
            <a:ln w="27192" cap="flat">
              <a:noFill/>
              <a:prstDash val="solid"/>
              <a:miter/>
            </a:ln>
          </p:spPr>
          <p:txBody>
            <a:bodyPr rtlCol="0" anchor="ctr"/>
            <a:lstStyle/>
            <a:p>
              <a:endParaRPr lang="uk-UA" sz="900"/>
            </a:p>
          </p:txBody>
        </p:sp>
        <p:sp>
          <p:nvSpPr>
            <p:cNvPr id="590" name="Freeform: Shape 589">
              <a:extLst>
                <a:ext uri="{FF2B5EF4-FFF2-40B4-BE49-F238E27FC236}">
                  <a16:creationId xmlns:a16="http://schemas.microsoft.com/office/drawing/2014/main" id="{D9793E90-D2E9-7CC8-D71E-7036FE5AF88B}"/>
                </a:ext>
              </a:extLst>
            </p:cNvPr>
            <p:cNvSpPr/>
            <p:nvPr/>
          </p:nvSpPr>
          <p:spPr>
            <a:xfrm>
              <a:off x="2576106" y="1968909"/>
              <a:ext cx="435077" cy="435074"/>
            </a:xfrm>
            <a:custGeom>
              <a:avLst/>
              <a:gdLst>
                <a:gd name="connsiteX0" fmla="*/ 217539 w 435077"/>
                <a:gd name="connsiteY0" fmla="*/ 217533 h 435074"/>
                <a:gd name="connsiteX1" fmla="*/ 217539 w 435077"/>
                <a:gd name="connsiteY1" fmla="*/ 0 h 435074"/>
                <a:gd name="connsiteX2" fmla="*/ 0 w 435077"/>
                <a:gd name="connsiteY2" fmla="*/ 0 h 435074"/>
                <a:gd name="connsiteX3" fmla="*/ 217539 w 435077"/>
                <a:gd name="connsiteY3" fmla="*/ 217539 h 435074"/>
                <a:gd name="connsiteX4" fmla="*/ 0 w 435077"/>
                <a:gd name="connsiteY4" fmla="*/ 435075 h 435074"/>
                <a:gd name="connsiteX5" fmla="*/ 217539 w 435077"/>
                <a:gd name="connsiteY5" fmla="*/ 435075 h 435074"/>
                <a:gd name="connsiteX6" fmla="*/ 217539 w 435077"/>
                <a:gd name="connsiteY6" fmla="*/ 435072 h 435074"/>
                <a:gd name="connsiteX7" fmla="*/ 435050 w 435077"/>
                <a:gd name="connsiteY7" fmla="*/ 217541 h 435074"/>
                <a:gd name="connsiteX8" fmla="*/ 435077 w 435077"/>
                <a:gd name="connsiteY8" fmla="*/ 217541 h 435074"/>
                <a:gd name="connsiteX9" fmla="*/ 435077 w 435077"/>
                <a:gd name="connsiteY9" fmla="*/ 217536 h 435074"/>
                <a:gd name="connsiteX10" fmla="*/ 435077 w 435077"/>
                <a:gd name="connsiteY10" fmla="*/ 217533 h 435074"/>
                <a:gd name="connsiteX11" fmla="*/ 435050 w 435077"/>
                <a:gd name="connsiteY11" fmla="*/ 217533 h 435074"/>
                <a:gd name="connsiteX12" fmla="*/ 217539 w 435077"/>
                <a:gd name="connsiteY12" fmla="*/ 3 h 435074"/>
                <a:gd name="connsiteX13" fmla="*/ 217539 w 435077"/>
                <a:gd name="connsiteY13" fmla="*/ 217533 h 435074"/>
                <a:gd name="connsiteX14" fmla="*/ 217539 w 435077"/>
                <a:gd name="connsiteY14" fmla="*/ 217533 h 43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4">
                  <a:moveTo>
                    <a:pt x="217539" y="217533"/>
                  </a:moveTo>
                  <a:lnTo>
                    <a:pt x="217539" y="0"/>
                  </a:lnTo>
                  <a:lnTo>
                    <a:pt x="0" y="0"/>
                  </a:lnTo>
                  <a:lnTo>
                    <a:pt x="217539" y="217539"/>
                  </a:lnTo>
                  <a:lnTo>
                    <a:pt x="0" y="435075"/>
                  </a:lnTo>
                  <a:lnTo>
                    <a:pt x="217539" y="435075"/>
                  </a:lnTo>
                  <a:lnTo>
                    <a:pt x="217539" y="435072"/>
                  </a:lnTo>
                  <a:lnTo>
                    <a:pt x="435050" y="217541"/>
                  </a:lnTo>
                  <a:lnTo>
                    <a:pt x="435077" y="217541"/>
                  </a:lnTo>
                  <a:lnTo>
                    <a:pt x="435077" y="217536"/>
                  </a:lnTo>
                  <a:lnTo>
                    <a:pt x="435077" y="217533"/>
                  </a:lnTo>
                  <a:lnTo>
                    <a:pt x="435050" y="217533"/>
                  </a:lnTo>
                  <a:lnTo>
                    <a:pt x="217539" y="3"/>
                  </a:lnTo>
                  <a:lnTo>
                    <a:pt x="217539" y="217533"/>
                  </a:lnTo>
                  <a:lnTo>
                    <a:pt x="217539" y="217533"/>
                  </a:lnTo>
                  <a:close/>
                </a:path>
              </a:pathLst>
            </a:custGeom>
            <a:grpFill/>
            <a:ln w="27192" cap="flat">
              <a:noFill/>
              <a:prstDash val="solid"/>
              <a:miter/>
            </a:ln>
          </p:spPr>
          <p:txBody>
            <a:bodyPr rtlCol="0" anchor="ctr"/>
            <a:lstStyle/>
            <a:p>
              <a:endParaRPr lang="uk-UA" sz="900"/>
            </a:p>
          </p:txBody>
        </p:sp>
        <p:sp>
          <p:nvSpPr>
            <p:cNvPr id="591" name="Freeform: Shape 590">
              <a:extLst>
                <a:ext uri="{FF2B5EF4-FFF2-40B4-BE49-F238E27FC236}">
                  <a16:creationId xmlns:a16="http://schemas.microsoft.com/office/drawing/2014/main" id="{28B65969-941F-E95F-706E-365769D9EB62}"/>
                </a:ext>
              </a:extLst>
            </p:cNvPr>
            <p:cNvSpPr/>
            <p:nvPr/>
          </p:nvSpPr>
          <p:spPr>
            <a:xfrm>
              <a:off x="4316416" y="1968909"/>
              <a:ext cx="435077" cy="435077"/>
            </a:xfrm>
            <a:custGeom>
              <a:avLst/>
              <a:gdLst>
                <a:gd name="connsiteX0" fmla="*/ 217565 w 435077"/>
                <a:gd name="connsiteY0" fmla="*/ 0 h 435077"/>
                <a:gd name="connsiteX1" fmla="*/ 217539 w 435077"/>
                <a:gd name="connsiteY1" fmla="*/ 0 h 435077"/>
                <a:gd name="connsiteX2" fmla="*/ 27 w 435077"/>
                <a:gd name="connsiteY2" fmla="*/ 0 h 435077"/>
                <a:gd name="connsiteX3" fmla="*/ 27 w 435077"/>
                <a:gd name="connsiteY3" fmla="*/ 217539 h 435077"/>
                <a:gd name="connsiteX4" fmla="*/ 217565 w 435077"/>
                <a:gd name="connsiteY4" fmla="*/ 5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65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65" y="0"/>
                  </a:moveTo>
                  <a:lnTo>
                    <a:pt x="217539" y="0"/>
                  </a:lnTo>
                  <a:lnTo>
                    <a:pt x="27" y="0"/>
                  </a:lnTo>
                  <a:lnTo>
                    <a:pt x="27" y="217539"/>
                  </a:lnTo>
                  <a:lnTo>
                    <a:pt x="217565" y="5"/>
                  </a:lnTo>
                  <a:lnTo>
                    <a:pt x="435077" y="217539"/>
                  </a:lnTo>
                  <a:lnTo>
                    <a:pt x="217539" y="435077"/>
                  </a:lnTo>
                  <a:lnTo>
                    <a:pt x="0" y="217539"/>
                  </a:lnTo>
                  <a:lnTo>
                    <a:pt x="0" y="435077"/>
                  </a:lnTo>
                  <a:lnTo>
                    <a:pt x="217539" y="435077"/>
                  </a:lnTo>
                  <a:lnTo>
                    <a:pt x="435077" y="435077"/>
                  </a:lnTo>
                  <a:lnTo>
                    <a:pt x="435077" y="217539"/>
                  </a:lnTo>
                  <a:lnTo>
                    <a:pt x="435077" y="0"/>
                  </a:lnTo>
                  <a:lnTo>
                    <a:pt x="217565" y="0"/>
                  </a:lnTo>
                  <a:close/>
                </a:path>
              </a:pathLst>
            </a:custGeom>
            <a:grpFill/>
            <a:ln w="27192" cap="flat">
              <a:noFill/>
              <a:prstDash val="solid"/>
              <a:miter/>
            </a:ln>
          </p:spPr>
          <p:txBody>
            <a:bodyPr rtlCol="0" anchor="ctr"/>
            <a:lstStyle/>
            <a:p>
              <a:endParaRPr lang="uk-UA" sz="900"/>
            </a:p>
          </p:txBody>
        </p:sp>
        <p:sp>
          <p:nvSpPr>
            <p:cNvPr id="592" name="Freeform: Shape 591">
              <a:extLst>
                <a:ext uri="{FF2B5EF4-FFF2-40B4-BE49-F238E27FC236}">
                  <a16:creationId xmlns:a16="http://schemas.microsoft.com/office/drawing/2014/main" id="{E8097A05-BE03-1400-D8FE-7DD2780B6C2F}"/>
                </a:ext>
              </a:extLst>
            </p:cNvPr>
            <p:cNvSpPr/>
            <p:nvPr/>
          </p:nvSpPr>
          <p:spPr>
            <a:xfrm>
              <a:off x="3446261" y="1968909"/>
              <a:ext cx="435077" cy="435077"/>
            </a:xfrm>
            <a:custGeom>
              <a:avLst/>
              <a:gdLst>
                <a:gd name="connsiteX0" fmla="*/ 0 w 435077"/>
                <a:gd name="connsiteY0" fmla="*/ 435077 h 435077"/>
                <a:gd name="connsiteX1" fmla="*/ 217539 w 435077"/>
                <a:gd name="connsiteY1" fmla="*/ 435077 h 435077"/>
                <a:gd name="connsiteX2" fmla="*/ 217539 w 435077"/>
                <a:gd name="connsiteY2" fmla="*/ 217547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28 h 435077"/>
                <a:gd name="connsiteX7" fmla="*/ 217539 w 435077"/>
                <a:gd name="connsiteY7" fmla="*/ 0 h 435077"/>
                <a:gd name="connsiteX8" fmla="*/ 435077 w 435077"/>
                <a:gd name="connsiteY8" fmla="*/ 435077 h 435077"/>
                <a:gd name="connsiteX9" fmla="*/ 217566 w 435077"/>
                <a:gd name="connsiteY9" fmla="*/ 435077 h 435077"/>
                <a:gd name="connsiteX10" fmla="*/ 435077 w 435077"/>
                <a:gd name="connsiteY10" fmla="*/ 217547 h 435077"/>
                <a:gd name="connsiteX11" fmla="*/ 435077 w 435077"/>
                <a:gd name="connsiteY11" fmla="*/ 435077 h 435077"/>
                <a:gd name="connsiteX12" fmla="*/ 435077 w 435077"/>
                <a:gd name="connsiteY12" fmla="*/ 3 h 435077"/>
                <a:gd name="connsiteX13" fmla="*/ 217566 w 435077"/>
                <a:gd name="connsiteY13" fmla="*/ 3 h 435077"/>
                <a:gd name="connsiteX14" fmla="*/ 435077 w 435077"/>
                <a:gd name="connsiteY14" fmla="*/ 217531 h 435077"/>
                <a:gd name="connsiteX15" fmla="*/ 435077 w 435077"/>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47"/>
                  </a:lnTo>
                  <a:lnTo>
                    <a:pt x="0" y="435077"/>
                  </a:lnTo>
                  <a:close/>
                  <a:moveTo>
                    <a:pt x="217539" y="0"/>
                  </a:moveTo>
                  <a:lnTo>
                    <a:pt x="0" y="0"/>
                  </a:lnTo>
                  <a:lnTo>
                    <a:pt x="217539" y="217528"/>
                  </a:lnTo>
                  <a:lnTo>
                    <a:pt x="217539" y="0"/>
                  </a:lnTo>
                  <a:close/>
                  <a:moveTo>
                    <a:pt x="435077" y="435077"/>
                  </a:moveTo>
                  <a:lnTo>
                    <a:pt x="217566" y="435077"/>
                  </a:lnTo>
                  <a:lnTo>
                    <a:pt x="435077" y="217547"/>
                  </a:lnTo>
                  <a:lnTo>
                    <a:pt x="435077" y="435077"/>
                  </a:lnTo>
                  <a:close/>
                  <a:moveTo>
                    <a:pt x="435077" y="3"/>
                  </a:moveTo>
                  <a:lnTo>
                    <a:pt x="217566" y="3"/>
                  </a:lnTo>
                  <a:lnTo>
                    <a:pt x="435077" y="217531"/>
                  </a:lnTo>
                  <a:lnTo>
                    <a:pt x="435077" y="3"/>
                  </a:lnTo>
                  <a:close/>
                </a:path>
              </a:pathLst>
            </a:custGeom>
            <a:grpFill/>
            <a:ln w="27192" cap="flat">
              <a:noFill/>
              <a:prstDash val="solid"/>
              <a:miter/>
            </a:ln>
          </p:spPr>
          <p:txBody>
            <a:bodyPr rtlCol="0" anchor="ctr"/>
            <a:lstStyle/>
            <a:p>
              <a:endParaRPr lang="uk-UA" sz="900"/>
            </a:p>
          </p:txBody>
        </p:sp>
        <p:sp>
          <p:nvSpPr>
            <p:cNvPr id="593" name="Freeform: Shape 592">
              <a:extLst>
                <a:ext uri="{FF2B5EF4-FFF2-40B4-BE49-F238E27FC236}">
                  <a16:creationId xmlns:a16="http://schemas.microsoft.com/office/drawing/2014/main" id="{D7363F12-3BA4-9FB7-2AF5-6B3B36E5C80D}"/>
                </a:ext>
              </a:extLst>
            </p:cNvPr>
            <p:cNvSpPr/>
            <p:nvPr/>
          </p:nvSpPr>
          <p:spPr>
            <a:xfrm>
              <a:off x="5186597" y="1968909"/>
              <a:ext cx="435077" cy="435077"/>
            </a:xfrm>
            <a:custGeom>
              <a:avLst/>
              <a:gdLst>
                <a:gd name="connsiteX0" fmla="*/ 371366 w 435077"/>
                <a:gd name="connsiteY0" fmla="*/ 63714 h 435077"/>
                <a:gd name="connsiteX1" fmla="*/ 435077 w 435077"/>
                <a:gd name="connsiteY1" fmla="*/ 217539 h 435077"/>
                <a:gd name="connsiteX2" fmla="*/ 217702 w 435077"/>
                <a:gd name="connsiteY2" fmla="*/ 217539 h 435077"/>
                <a:gd name="connsiteX3" fmla="*/ 371366 w 435077"/>
                <a:gd name="connsiteY3" fmla="*/ 281253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3 h 435077"/>
                <a:gd name="connsiteX8" fmla="*/ 217376 w 435077"/>
                <a:gd name="connsiteY8" fmla="*/ 217539 h 435077"/>
                <a:gd name="connsiteX9" fmla="*/ 0 w 435077"/>
                <a:gd name="connsiteY9" fmla="*/ 217539 h 435077"/>
                <a:gd name="connsiteX10" fmla="*/ 63712 w 435077"/>
                <a:gd name="connsiteY10" fmla="*/ 63714 h 435077"/>
                <a:gd name="connsiteX11" fmla="*/ 217539 w 435077"/>
                <a:gd name="connsiteY11" fmla="*/ 0 h 435077"/>
                <a:gd name="connsiteX12" fmla="*/ 371366 w 435077"/>
                <a:gd name="connsiteY12" fmla="*/ 63714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4"/>
                  </a:moveTo>
                  <a:cubicBezTo>
                    <a:pt x="412155" y="104511"/>
                    <a:pt x="435077" y="159842"/>
                    <a:pt x="435077" y="217539"/>
                  </a:cubicBezTo>
                  <a:lnTo>
                    <a:pt x="217702" y="217539"/>
                  </a:lnTo>
                  <a:cubicBezTo>
                    <a:pt x="275350" y="217582"/>
                    <a:pt x="330605" y="240497"/>
                    <a:pt x="371366" y="281253"/>
                  </a:cubicBezTo>
                  <a:cubicBezTo>
                    <a:pt x="412155" y="322050"/>
                    <a:pt x="435077" y="377381"/>
                    <a:pt x="435077" y="435077"/>
                  </a:cubicBezTo>
                  <a:lnTo>
                    <a:pt x="217539" y="435077"/>
                  </a:lnTo>
                  <a:lnTo>
                    <a:pt x="0" y="435077"/>
                  </a:lnTo>
                  <a:cubicBezTo>
                    <a:pt x="0" y="377381"/>
                    <a:pt x="22924" y="322050"/>
                    <a:pt x="63712" y="281253"/>
                  </a:cubicBezTo>
                  <a:cubicBezTo>
                    <a:pt x="104473" y="240497"/>
                    <a:pt x="159728" y="217582"/>
                    <a:pt x="217376" y="217539"/>
                  </a:cubicBezTo>
                  <a:lnTo>
                    <a:pt x="0" y="217539"/>
                  </a:lnTo>
                  <a:cubicBezTo>
                    <a:pt x="0" y="159842"/>
                    <a:pt x="22924" y="104511"/>
                    <a:pt x="63712" y="63714"/>
                  </a:cubicBezTo>
                  <a:cubicBezTo>
                    <a:pt x="104501" y="22918"/>
                    <a:pt x="159837" y="0"/>
                    <a:pt x="217539" y="0"/>
                  </a:cubicBezTo>
                  <a:cubicBezTo>
                    <a:pt x="275241" y="0"/>
                    <a:pt x="330550" y="22918"/>
                    <a:pt x="371366" y="63714"/>
                  </a:cubicBezTo>
                  <a:close/>
                </a:path>
              </a:pathLst>
            </a:custGeom>
            <a:grpFill/>
            <a:ln w="27192" cap="flat">
              <a:noFill/>
              <a:prstDash val="solid"/>
              <a:miter/>
            </a:ln>
          </p:spPr>
          <p:txBody>
            <a:bodyPr rtlCol="0" anchor="ctr"/>
            <a:lstStyle/>
            <a:p>
              <a:endParaRPr lang="uk-UA" sz="900"/>
            </a:p>
          </p:txBody>
        </p:sp>
        <p:sp>
          <p:nvSpPr>
            <p:cNvPr id="594" name="Freeform: Shape 593">
              <a:extLst>
                <a:ext uri="{FF2B5EF4-FFF2-40B4-BE49-F238E27FC236}">
                  <a16:creationId xmlns:a16="http://schemas.microsoft.com/office/drawing/2014/main" id="{62057885-4B99-9CDB-4560-6B7B2221436A}"/>
                </a:ext>
              </a:extLst>
            </p:cNvPr>
            <p:cNvSpPr/>
            <p:nvPr/>
          </p:nvSpPr>
          <p:spPr>
            <a:xfrm>
              <a:off x="6056752" y="1968909"/>
              <a:ext cx="435077" cy="435074"/>
            </a:xfrm>
            <a:custGeom>
              <a:avLst/>
              <a:gdLst>
                <a:gd name="connsiteX0" fmla="*/ 217539 w 435077"/>
                <a:gd name="connsiteY0" fmla="*/ 217539 h 435074"/>
                <a:gd name="connsiteX1" fmla="*/ 217539 w 435077"/>
                <a:gd name="connsiteY1" fmla="*/ 217536 h 435074"/>
                <a:gd name="connsiteX2" fmla="*/ 0 w 435077"/>
                <a:gd name="connsiteY2" fmla="*/ 0 h 435074"/>
                <a:gd name="connsiteX3" fmla="*/ 217539 w 435077"/>
                <a:gd name="connsiteY3" fmla="*/ 0 h 435074"/>
                <a:gd name="connsiteX4" fmla="*/ 217539 w 435077"/>
                <a:gd name="connsiteY4" fmla="*/ 5 h 435074"/>
                <a:gd name="connsiteX5" fmla="*/ 435077 w 435077"/>
                <a:gd name="connsiteY5" fmla="*/ 217533 h 435074"/>
                <a:gd name="connsiteX6" fmla="*/ 435077 w 435077"/>
                <a:gd name="connsiteY6" fmla="*/ 217533 h 435074"/>
                <a:gd name="connsiteX7" fmla="*/ 435077 w 435077"/>
                <a:gd name="connsiteY7" fmla="*/ 217539 h 435074"/>
                <a:gd name="connsiteX8" fmla="*/ 435077 w 435077"/>
                <a:gd name="connsiteY8" fmla="*/ 217541 h 435074"/>
                <a:gd name="connsiteX9" fmla="*/ 435077 w 435077"/>
                <a:gd name="connsiteY9" fmla="*/ 217541 h 435074"/>
                <a:gd name="connsiteX10" fmla="*/ 217539 w 435077"/>
                <a:gd name="connsiteY10" fmla="*/ 435072 h 435074"/>
                <a:gd name="connsiteX11" fmla="*/ 217539 w 435077"/>
                <a:gd name="connsiteY11" fmla="*/ 435075 h 435074"/>
                <a:gd name="connsiteX12" fmla="*/ 0 w 435077"/>
                <a:gd name="connsiteY12" fmla="*/ 435075 h 435074"/>
                <a:gd name="connsiteX13" fmla="*/ 217539 w 435077"/>
                <a:gd name="connsiteY13" fmla="*/ 217539 h 43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4">
                  <a:moveTo>
                    <a:pt x="217539" y="217539"/>
                  </a:moveTo>
                  <a:lnTo>
                    <a:pt x="217539" y="217536"/>
                  </a:lnTo>
                  <a:lnTo>
                    <a:pt x="0" y="0"/>
                  </a:lnTo>
                  <a:lnTo>
                    <a:pt x="217539" y="0"/>
                  </a:lnTo>
                  <a:lnTo>
                    <a:pt x="217539" y="5"/>
                  </a:lnTo>
                  <a:lnTo>
                    <a:pt x="435077" y="217533"/>
                  </a:lnTo>
                  <a:lnTo>
                    <a:pt x="435077" y="217533"/>
                  </a:lnTo>
                  <a:lnTo>
                    <a:pt x="435077" y="217539"/>
                  </a:lnTo>
                  <a:lnTo>
                    <a:pt x="435077" y="217541"/>
                  </a:lnTo>
                  <a:lnTo>
                    <a:pt x="435077" y="217541"/>
                  </a:lnTo>
                  <a:lnTo>
                    <a:pt x="217539" y="435072"/>
                  </a:lnTo>
                  <a:lnTo>
                    <a:pt x="217539" y="435075"/>
                  </a:lnTo>
                  <a:lnTo>
                    <a:pt x="0" y="435075"/>
                  </a:lnTo>
                  <a:lnTo>
                    <a:pt x="217539" y="217539"/>
                  </a:lnTo>
                  <a:close/>
                </a:path>
              </a:pathLst>
            </a:custGeom>
            <a:grpFill/>
            <a:ln w="27192" cap="flat">
              <a:noFill/>
              <a:prstDash val="solid"/>
              <a:miter/>
            </a:ln>
          </p:spPr>
          <p:txBody>
            <a:bodyPr rtlCol="0" anchor="ctr"/>
            <a:lstStyle/>
            <a:p>
              <a:endParaRPr lang="uk-UA" sz="900"/>
            </a:p>
          </p:txBody>
        </p:sp>
        <p:sp>
          <p:nvSpPr>
            <p:cNvPr id="595" name="Freeform: Shape 594">
              <a:extLst>
                <a:ext uri="{FF2B5EF4-FFF2-40B4-BE49-F238E27FC236}">
                  <a16:creationId xmlns:a16="http://schemas.microsoft.com/office/drawing/2014/main" id="{1ACF9880-C9EB-C239-AE49-50522B9CE53D}"/>
                </a:ext>
              </a:extLst>
            </p:cNvPr>
            <p:cNvSpPr/>
            <p:nvPr/>
          </p:nvSpPr>
          <p:spPr>
            <a:xfrm>
              <a:off x="7797062" y="196890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p>
          </p:txBody>
        </p:sp>
        <p:sp>
          <p:nvSpPr>
            <p:cNvPr id="596" name="Freeform: Shape 595">
              <a:extLst>
                <a:ext uri="{FF2B5EF4-FFF2-40B4-BE49-F238E27FC236}">
                  <a16:creationId xmlns:a16="http://schemas.microsoft.com/office/drawing/2014/main" id="{33FCC14F-3D2F-7DF3-7AF5-174255338883}"/>
                </a:ext>
              </a:extLst>
            </p:cNvPr>
            <p:cNvSpPr/>
            <p:nvPr/>
          </p:nvSpPr>
          <p:spPr>
            <a:xfrm>
              <a:off x="6926907" y="1968909"/>
              <a:ext cx="435077" cy="435077"/>
            </a:xfrm>
            <a:custGeom>
              <a:avLst/>
              <a:gdLst>
                <a:gd name="connsiteX0" fmla="*/ 0 w 435077"/>
                <a:gd name="connsiteY0" fmla="*/ 435077 h 435077"/>
                <a:gd name="connsiteX1" fmla="*/ 217539 w 435077"/>
                <a:gd name="connsiteY1" fmla="*/ 435077 h 435077"/>
                <a:gd name="connsiteX2" fmla="*/ 217539 w 435077"/>
                <a:gd name="connsiteY2" fmla="*/ 217547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28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47 h 435077"/>
                <a:gd name="connsiteX11" fmla="*/ 435077 w 435077"/>
                <a:gd name="connsiteY11" fmla="*/ 435077 h 435077"/>
                <a:gd name="connsiteX12" fmla="*/ 435077 w 435077"/>
                <a:gd name="connsiteY12" fmla="*/ 3 h 435077"/>
                <a:gd name="connsiteX13" fmla="*/ 217539 w 435077"/>
                <a:gd name="connsiteY13" fmla="*/ 3 h 435077"/>
                <a:gd name="connsiteX14" fmla="*/ 435077 w 435077"/>
                <a:gd name="connsiteY14" fmla="*/ 217531 h 435077"/>
                <a:gd name="connsiteX15" fmla="*/ 435077 w 435077"/>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47"/>
                  </a:lnTo>
                  <a:lnTo>
                    <a:pt x="0" y="435077"/>
                  </a:lnTo>
                  <a:close/>
                  <a:moveTo>
                    <a:pt x="217539" y="0"/>
                  </a:moveTo>
                  <a:lnTo>
                    <a:pt x="0" y="0"/>
                  </a:lnTo>
                  <a:lnTo>
                    <a:pt x="217539" y="217528"/>
                  </a:lnTo>
                  <a:lnTo>
                    <a:pt x="217539" y="0"/>
                  </a:lnTo>
                  <a:close/>
                  <a:moveTo>
                    <a:pt x="435077" y="435077"/>
                  </a:moveTo>
                  <a:lnTo>
                    <a:pt x="217539" y="435077"/>
                  </a:lnTo>
                  <a:lnTo>
                    <a:pt x="435077" y="217547"/>
                  </a:lnTo>
                  <a:lnTo>
                    <a:pt x="435077" y="435077"/>
                  </a:lnTo>
                  <a:close/>
                  <a:moveTo>
                    <a:pt x="435077" y="3"/>
                  </a:moveTo>
                  <a:lnTo>
                    <a:pt x="217539" y="3"/>
                  </a:lnTo>
                  <a:lnTo>
                    <a:pt x="435077" y="217531"/>
                  </a:lnTo>
                  <a:lnTo>
                    <a:pt x="435077" y="3"/>
                  </a:lnTo>
                  <a:close/>
                </a:path>
              </a:pathLst>
            </a:custGeom>
            <a:grpFill/>
            <a:ln w="27192" cap="flat">
              <a:noFill/>
              <a:prstDash val="solid"/>
              <a:miter/>
            </a:ln>
          </p:spPr>
          <p:txBody>
            <a:bodyPr rtlCol="0" anchor="ctr"/>
            <a:lstStyle/>
            <a:p>
              <a:endParaRPr lang="uk-UA" sz="900"/>
            </a:p>
          </p:txBody>
        </p:sp>
        <p:sp>
          <p:nvSpPr>
            <p:cNvPr id="597" name="Freeform: Shape 596">
              <a:extLst>
                <a:ext uri="{FF2B5EF4-FFF2-40B4-BE49-F238E27FC236}">
                  <a16:creationId xmlns:a16="http://schemas.microsoft.com/office/drawing/2014/main" id="{283DB402-E18B-72CF-A1E7-697A21E99894}"/>
                </a:ext>
              </a:extLst>
            </p:cNvPr>
            <p:cNvSpPr/>
            <p:nvPr/>
          </p:nvSpPr>
          <p:spPr>
            <a:xfrm>
              <a:off x="8667217" y="1968909"/>
              <a:ext cx="435104" cy="435077"/>
            </a:xfrm>
            <a:custGeom>
              <a:avLst/>
              <a:gdLst>
                <a:gd name="connsiteX0" fmla="*/ 371366 w 435104"/>
                <a:gd name="connsiteY0" fmla="*/ 63714 h 435077"/>
                <a:gd name="connsiteX1" fmla="*/ 435077 w 435104"/>
                <a:gd name="connsiteY1" fmla="*/ 217539 h 435077"/>
                <a:gd name="connsiteX2" fmla="*/ 217730 w 435104"/>
                <a:gd name="connsiteY2" fmla="*/ 217539 h 435077"/>
                <a:gd name="connsiteX3" fmla="*/ 371366 w 435104"/>
                <a:gd name="connsiteY3" fmla="*/ 281253 h 435077"/>
                <a:gd name="connsiteX4" fmla="*/ 435105 w 435104"/>
                <a:gd name="connsiteY4" fmla="*/ 435077 h 435077"/>
                <a:gd name="connsiteX5" fmla="*/ 217566 w 435104"/>
                <a:gd name="connsiteY5" fmla="*/ 435077 h 435077"/>
                <a:gd name="connsiteX6" fmla="*/ 27 w 435104"/>
                <a:gd name="connsiteY6" fmla="*/ 435077 h 435077"/>
                <a:gd name="connsiteX7" fmla="*/ 63739 w 435104"/>
                <a:gd name="connsiteY7" fmla="*/ 281253 h 435077"/>
                <a:gd name="connsiteX8" fmla="*/ 217376 w 435104"/>
                <a:gd name="connsiteY8" fmla="*/ 217539 h 435077"/>
                <a:gd name="connsiteX9" fmla="*/ 0 w 435104"/>
                <a:gd name="connsiteY9" fmla="*/ 217539 h 435077"/>
                <a:gd name="connsiteX10" fmla="*/ 63739 w 435104"/>
                <a:gd name="connsiteY10" fmla="*/ 63714 h 435077"/>
                <a:gd name="connsiteX11" fmla="*/ 217539 w 435104"/>
                <a:gd name="connsiteY11" fmla="*/ 0 h 435077"/>
                <a:gd name="connsiteX12" fmla="*/ 371366 w 435104"/>
                <a:gd name="connsiteY12" fmla="*/ 63714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4" h="435077">
                  <a:moveTo>
                    <a:pt x="371366" y="63714"/>
                  </a:moveTo>
                  <a:cubicBezTo>
                    <a:pt x="412182" y="104511"/>
                    <a:pt x="435077" y="159842"/>
                    <a:pt x="435077" y="217539"/>
                  </a:cubicBezTo>
                  <a:lnTo>
                    <a:pt x="217730" y="217539"/>
                  </a:lnTo>
                  <a:cubicBezTo>
                    <a:pt x="275350" y="217582"/>
                    <a:pt x="330632" y="240497"/>
                    <a:pt x="371366" y="281253"/>
                  </a:cubicBezTo>
                  <a:cubicBezTo>
                    <a:pt x="412182" y="322050"/>
                    <a:pt x="435105" y="377381"/>
                    <a:pt x="435105" y="435077"/>
                  </a:cubicBezTo>
                  <a:lnTo>
                    <a:pt x="217566" y="435077"/>
                  </a:lnTo>
                  <a:lnTo>
                    <a:pt x="27" y="435077"/>
                  </a:lnTo>
                  <a:cubicBezTo>
                    <a:pt x="27" y="377381"/>
                    <a:pt x="22924" y="322050"/>
                    <a:pt x="63739" y="281253"/>
                  </a:cubicBezTo>
                  <a:cubicBezTo>
                    <a:pt x="104501" y="240497"/>
                    <a:pt x="159755" y="217582"/>
                    <a:pt x="217376" y="217539"/>
                  </a:cubicBezTo>
                  <a:lnTo>
                    <a:pt x="0" y="217539"/>
                  </a:lnTo>
                  <a:cubicBezTo>
                    <a:pt x="0" y="159842"/>
                    <a:pt x="22924" y="104511"/>
                    <a:pt x="63739" y="63714"/>
                  </a:cubicBezTo>
                  <a:cubicBezTo>
                    <a:pt x="104527" y="22918"/>
                    <a:pt x="159864" y="0"/>
                    <a:pt x="217539" y="0"/>
                  </a:cubicBezTo>
                  <a:cubicBezTo>
                    <a:pt x="275241" y="0"/>
                    <a:pt x="330578" y="22918"/>
                    <a:pt x="371366" y="63714"/>
                  </a:cubicBezTo>
                  <a:close/>
                </a:path>
              </a:pathLst>
            </a:custGeom>
            <a:grpFill/>
            <a:ln w="27192" cap="flat">
              <a:noFill/>
              <a:prstDash val="solid"/>
              <a:miter/>
            </a:ln>
          </p:spPr>
          <p:txBody>
            <a:bodyPr rtlCol="0" anchor="ctr"/>
            <a:lstStyle/>
            <a:p>
              <a:endParaRPr lang="uk-UA" sz="900"/>
            </a:p>
          </p:txBody>
        </p:sp>
        <p:sp>
          <p:nvSpPr>
            <p:cNvPr id="598" name="Freeform: Shape 597">
              <a:extLst>
                <a:ext uri="{FF2B5EF4-FFF2-40B4-BE49-F238E27FC236}">
                  <a16:creationId xmlns:a16="http://schemas.microsoft.com/office/drawing/2014/main" id="{B5279061-CAA5-3868-113E-53D2B3E8EDFF}"/>
                </a:ext>
              </a:extLst>
            </p:cNvPr>
            <p:cNvSpPr/>
            <p:nvPr/>
          </p:nvSpPr>
          <p:spPr>
            <a:xfrm>
              <a:off x="9537399" y="1968909"/>
              <a:ext cx="435077" cy="435074"/>
            </a:xfrm>
            <a:custGeom>
              <a:avLst/>
              <a:gdLst>
                <a:gd name="connsiteX0" fmla="*/ 217539 w 435077"/>
                <a:gd name="connsiteY0" fmla="*/ 217539 h 435074"/>
                <a:gd name="connsiteX1" fmla="*/ 217539 w 435077"/>
                <a:gd name="connsiteY1" fmla="*/ 217536 h 435074"/>
                <a:gd name="connsiteX2" fmla="*/ 0 w 435077"/>
                <a:gd name="connsiteY2" fmla="*/ 0 h 435074"/>
                <a:gd name="connsiteX3" fmla="*/ 217539 w 435077"/>
                <a:gd name="connsiteY3" fmla="*/ 0 h 435074"/>
                <a:gd name="connsiteX4" fmla="*/ 217539 w 435077"/>
                <a:gd name="connsiteY4" fmla="*/ 5 h 435074"/>
                <a:gd name="connsiteX5" fmla="*/ 435050 w 435077"/>
                <a:gd name="connsiteY5" fmla="*/ 217533 h 435074"/>
                <a:gd name="connsiteX6" fmla="*/ 435077 w 435077"/>
                <a:gd name="connsiteY6" fmla="*/ 217533 h 435074"/>
                <a:gd name="connsiteX7" fmla="*/ 435050 w 435077"/>
                <a:gd name="connsiteY7" fmla="*/ 217539 h 435074"/>
                <a:gd name="connsiteX8" fmla="*/ 435077 w 435077"/>
                <a:gd name="connsiteY8" fmla="*/ 217541 h 435074"/>
                <a:gd name="connsiteX9" fmla="*/ 435050 w 435077"/>
                <a:gd name="connsiteY9" fmla="*/ 217541 h 435074"/>
                <a:gd name="connsiteX10" fmla="*/ 217539 w 435077"/>
                <a:gd name="connsiteY10" fmla="*/ 435072 h 435074"/>
                <a:gd name="connsiteX11" fmla="*/ 217539 w 435077"/>
                <a:gd name="connsiteY11" fmla="*/ 435075 h 435074"/>
                <a:gd name="connsiteX12" fmla="*/ 0 w 435077"/>
                <a:gd name="connsiteY12" fmla="*/ 435075 h 435074"/>
                <a:gd name="connsiteX13" fmla="*/ 217539 w 435077"/>
                <a:gd name="connsiteY13" fmla="*/ 217539 h 43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4">
                  <a:moveTo>
                    <a:pt x="217539" y="217539"/>
                  </a:moveTo>
                  <a:lnTo>
                    <a:pt x="217539" y="217536"/>
                  </a:lnTo>
                  <a:lnTo>
                    <a:pt x="0" y="0"/>
                  </a:lnTo>
                  <a:lnTo>
                    <a:pt x="217539" y="0"/>
                  </a:lnTo>
                  <a:lnTo>
                    <a:pt x="217539" y="5"/>
                  </a:lnTo>
                  <a:lnTo>
                    <a:pt x="435050" y="217533"/>
                  </a:lnTo>
                  <a:lnTo>
                    <a:pt x="435077" y="217533"/>
                  </a:lnTo>
                  <a:lnTo>
                    <a:pt x="435050" y="217539"/>
                  </a:lnTo>
                  <a:lnTo>
                    <a:pt x="435077" y="217541"/>
                  </a:lnTo>
                  <a:lnTo>
                    <a:pt x="435050" y="217541"/>
                  </a:lnTo>
                  <a:lnTo>
                    <a:pt x="217539" y="435072"/>
                  </a:lnTo>
                  <a:lnTo>
                    <a:pt x="217539" y="435075"/>
                  </a:lnTo>
                  <a:lnTo>
                    <a:pt x="0" y="435075"/>
                  </a:lnTo>
                  <a:lnTo>
                    <a:pt x="217539" y="217539"/>
                  </a:lnTo>
                  <a:close/>
                </a:path>
              </a:pathLst>
            </a:custGeom>
            <a:grpFill/>
            <a:ln w="27192" cap="flat">
              <a:noFill/>
              <a:prstDash val="solid"/>
              <a:miter/>
            </a:ln>
          </p:spPr>
          <p:txBody>
            <a:bodyPr rtlCol="0" anchor="ctr"/>
            <a:lstStyle/>
            <a:p>
              <a:endParaRPr lang="uk-UA" sz="900"/>
            </a:p>
          </p:txBody>
        </p:sp>
        <p:sp>
          <p:nvSpPr>
            <p:cNvPr id="599" name="Freeform: Shape 598">
              <a:extLst>
                <a:ext uri="{FF2B5EF4-FFF2-40B4-BE49-F238E27FC236}">
                  <a16:creationId xmlns:a16="http://schemas.microsoft.com/office/drawing/2014/main" id="{0B41F9FE-E1A9-8A8A-3B3C-86B9FF5F28E3}"/>
                </a:ext>
              </a:extLst>
            </p:cNvPr>
            <p:cNvSpPr/>
            <p:nvPr/>
          </p:nvSpPr>
          <p:spPr>
            <a:xfrm>
              <a:off x="11277709" y="196890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600" name="Freeform: Shape 599">
              <a:extLst>
                <a:ext uri="{FF2B5EF4-FFF2-40B4-BE49-F238E27FC236}">
                  <a16:creationId xmlns:a16="http://schemas.microsoft.com/office/drawing/2014/main" id="{C092F179-20EC-6542-2EAD-F2C879747FBB}"/>
                </a:ext>
              </a:extLst>
            </p:cNvPr>
            <p:cNvSpPr/>
            <p:nvPr/>
          </p:nvSpPr>
          <p:spPr>
            <a:xfrm>
              <a:off x="10407554" y="1968909"/>
              <a:ext cx="435077" cy="435077"/>
            </a:xfrm>
            <a:custGeom>
              <a:avLst/>
              <a:gdLst>
                <a:gd name="connsiteX0" fmla="*/ 0 w 435077"/>
                <a:gd name="connsiteY0" fmla="*/ 435075 h 435077"/>
                <a:gd name="connsiteX1" fmla="*/ 217511 w 435077"/>
                <a:gd name="connsiteY1" fmla="*/ 435075 h 435077"/>
                <a:gd name="connsiteX2" fmla="*/ 217511 w 435077"/>
                <a:gd name="connsiteY2" fmla="*/ 217547 h 435077"/>
                <a:gd name="connsiteX3" fmla="*/ 0 w 435077"/>
                <a:gd name="connsiteY3" fmla="*/ 435075 h 435077"/>
                <a:gd name="connsiteX4" fmla="*/ 217511 w 435077"/>
                <a:gd name="connsiteY4" fmla="*/ 0 h 435077"/>
                <a:gd name="connsiteX5" fmla="*/ 0 w 435077"/>
                <a:gd name="connsiteY5" fmla="*/ 0 h 435077"/>
                <a:gd name="connsiteX6" fmla="*/ 217511 w 435077"/>
                <a:gd name="connsiteY6" fmla="*/ 217528 h 435077"/>
                <a:gd name="connsiteX7" fmla="*/ 217511 w 435077"/>
                <a:gd name="connsiteY7" fmla="*/ 0 h 435077"/>
                <a:gd name="connsiteX8" fmla="*/ 435077 w 435077"/>
                <a:gd name="connsiteY8" fmla="*/ 435077 h 435077"/>
                <a:gd name="connsiteX9" fmla="*/ 217539 w 435077"/>
                <a:gd name="connsiteY9" fmla="*/ 435077 h 435077"/>
                <a:gd name="connsiteX10" fmla="*/ 435077 w 435077"/>
                <a:gd name="connsiteY10" fmla="*/ 217547 h 435077"/>
                <a:gd name="connsiteX11" fmla="*/ 435077 w 435077"/>
                <a:gd name="connsiteY11" fmla="*/ 435077 h 435077"/>
                <a:gd name="connsiteX12" fmla="*/ 435077 w 435077"/>
                <a:gd name="connsiteY12" fmla="*/ 3 h 435077"/>
                <a:gd name="connsiteX13" fmla="*/ 217539 w 435077"/>
                <a:gd name="connsiteY13" fmla="*/ 3 h 435077"/>
                <a:gd name="connsiteX14" fmla="*/ 435077 w 435077"/>
                <a:gd name="connsiteY14" fmla="*/ 217531 h 435077"/>
                <a:gd name="connsiteX15" fmla="*/ 435077 w 435077"/>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5"/>
                  </a:moveTo>
                  <a:lnTo>
                    <a:pt x="217511" y="435075"/>
                  </a:lnTo>
                  <a:lnTo>
                    <a:pt x="217511" y="217547"/>
                  </a:lnTo>
                  <a:lnTo>
                    <a:pt x="0" y="435075"/>
                  </a:lnTo>
                  <a:close/>
                  <a:moveTo>
                    <a:pt x="217511" y="0"/>
                  </a:moveTo>
                  <a:lnTo>
                    <a:pt x="0" y="0"/>
                  </a:lnTo>
                  <a:lnTo>
                    <a:pt x="217511" y="217528"/>
                  </a:lnTo>
                  <a:lnTo>
                    <a:pt x="217511" y="0"/>
                  </a:lnTo>
                  <a:close/>
                  <a:moveTo>
                    <a:pt x="435077" y="435077"/>
                  </a:moveTo>
                  <a:lnTo>
                    <a:pt x="217539" y="435077"/>
                  </a:lnTo>
                  <a:lnTo>
                    <a:pt x="435077" y="217547"/>
                  </a:lnTo>
                  <a:lnTo>
                    <a:pt x="435077" y="435077"/>
                  </a:lnTo>
                  <a:close/>
                  <a:moveTo>
                    <a:pt x="435077" y="3"/>
                  </a:moveTo>
                  <a:lnTo>
                    <a:pt x="217539" y="3"/>
                  </a:lnTo>
                  <a:lnTo>
                    <a:pt x="435077" y="217531"/>
                  </a:lnTo>
                  <a:lnTo>
                    <a:pt x="435077" y="3"/>
                  </a:lnTo>
                  <a:close/>
                </a:path>
              </a:pathLst>
            </a:custGeom>
            <a:grpFill/>
            <a:ln w="27192" cap="flat">
              <a:noFill/>
              <a:prstDash val="solid"/>
              <a:miter/>
            </a:ln>
          </p:spPr>
          <p:txBody>
            <a:bodyPr rtlCol="0" anchor="ctr"/>
            <a:lstStyle/>
            <a:p>
              <a:endParaRPr lang="uk-UA" sz="900"/>
            </a:p>
          </p:txBody>
        </p:sp>
        <p:sp>
          <p:nvSpPr>
            <p:cNvPr id="601" name="Freeform: Shape 600">
              <a:extLst>
                <a:ext uri="{FF2B5EF4-FFF2-40B4-BE49-F238E27FC236}">
                  <a16:creationId xmlns:a16="http://schemas.microsoft.com/office/drawing/2014/main" id="{6178D465-9BFB-6EC4-CB7B-DD02825A9FFC}"/>
                </a:ext>
              </a:extLst>
            </p:cNvPr>
            <p:cNvSpPr/>
            <p:nvPr/>
          </p:nvSpPr>
          <p:spPr>
            <a:xfrm>
              <a:off x="12147864" y="1968909"/>
              <a:ext cx="435103" cy="435077"/>
            </a:xfrm>
            <a:custGeom>
              <a:avLst/>
              <a:gdLst>
                <a:gd name="connsiteX0" fmla="*/ 371365 w 435103"/>
                <a:gd name="connsiteY0" fmla="*/ 63714 h 435077"/>
                <a:gd name="connsiteX1" fmla="*/ 435077 w 435103"/>
                <a:gd name="connsiteY1" fmla="*/ 217539 h 435077"/>
                <a:gd name="connsiteX2" fmla="*/ 217728 w 435103"/>
                <a:gd name="connsiteY2" fmla="*/ 217539 h 435077"/>
                <a:gd name="connsiteX3" fmla="*/ 371365 w 435103"/>
                <a:gd name="connsiteY3" fmla="*/ 281253 h 435077"/>
                <a:gd name="connsiteX4" fmla="*/ 435104 w 435103"/>
                <a:gd name="connsiteY4" fmla="*/ 435077 h 435077"/>
                <a:gd name="connsiteX5" fmla="*/ 217565 w 435103"/>
                <a:gd name="connsiteY5" fmla="*/ 435077 h 435077"/>
                <a:gd name="connsiteX6" fmla="*/ 27 w 435103"/>
                <a:gd name="connsiteY6" fmla="*/ 435077 h 435077"/>
                <a:gd name="connsiteX7" fmla="*/ 63739 w 435103"/>
                <a:gd name="connsiteY7" fmla="*/ 281253 h 435077"/>
                <a:gd name="connsiteX8" fmla="*/ 217374 w 435103"/>
                <a:gd name="connsiteY8" fmla="*/ 217539 h 435077"/>
                <a:gd name="connsiteX9" fmla="*/ 0 w 435103"/>
                <a:gd name="connsiteY9" fmla="*/ 217539 h 435077"/>
                <a:gd name="connsiteX10" fmla="*/ 63739 w 435103"/>
                <a:gd name="connsiteY10" fmla="*/ 63714 h 435077"/>
                <a:gd name="connsiteX11" fmla="*/ 217539 w 435103"/>
                <a:gd name="connsiteY11" fmla="*/ 0 h 435077"/>
                <a:gd name="connsiteX12" fmla="*/ 371365 w 435103"/>
                <a:gd name="connsiteY12" fmla="*/ 63714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3" h="435077">
                  <a:moveTo>
                    <a:pt x="371365" y="63714"/>
                  </a:moveTo>
                  <a:cubicBezTo>
                    <a:pt x="412180" y="104511"/>
                    <a:pt x="435077" y="159842"/>
                    <a:pt x="435077" y="217539"/>
                  </a:cubicBezTo>
                  <a:lnTo>
                    <a:pt x="217728" y="217539"/>
                  </a:lnTo>
                  <a:cubicBezTo>
                    <a:pt x="275349" y="217582"/>
                    <a:pt x="330632" y="240497"/>
                    <a:pt x="371365" y="281253"/>
                  </a:cubicBezTo>
                  <a:cubicBezTo>
                    <a:pt x="412180" y="322050"/>
                    <a:pt x="435104" y="377381"/>
                    <a:pt x="435104" y="435077"/>
                  </a:cubicBezTo>
                  <a:lnTo>
                    <a:pt x="217565" y="435077"/>
                  </a:lnTo>
                  <a:lnTo>
                    <a:pt x="27" y="435077"/>
                  </a:lnTo>
                  <a:cubicBezTo>
                    <a:pt x="27" y="377381"/>
                    <a:pt x="22922" y="322050"/>
                    <a:pt x="63739" y="281253"/>
                  </a:cubicBezTo>
                  <a:cubicBezTo>
                    <a:pt x="104499" y="240497"/>
                    <a:pt x="159755" y="217582"/>
                    <a:pt x="217374" y="217539"/>
                  </a:cubicBezTo>
                  <a:lnTo>
                    <a:pt x="0" y="217539"/>
                  </a:lnTo>
                  <a:cubicBezTo>
                    <a:pt x="0" y="159842"/>
                    <a:pt x="22922" y="104511"/>
                    <a:pt x="63739" y="63714"/>
                  </a:cubicBezTo>
                  <a:cubicBezTo>
                    <a:pt x="104527" y="22918"/>
                    <a:pt x="159863" y="0"/>
                    <a:pt x="217539" y="0"/>
                  </a:cubicBezTo>
                  <a:cubicBezTo>
                    <a:pt x="275239" y="0"/>
                    <a:pt x="330577" y="22918"/>
                    <a:pt x="371365" y="63714"/>
                  </a:cubicBezTo>
                  <a:close/>
                </a:path>
              </a:pathLst>
            </a:custGeom>
            <a:grpFill/>
            <a:ln w="27192" cap="flat">
              <a:noFill/>
              <a:prstDash val="solid"/>
              <a:miter/>
            </a:ln>
          </p:spPr>
          <p:txBody>
            <a:bodyPr rtlCol="0" anchor="ctr"/>
            <a:lstStyle/>
            <a:p>
              <a:endParaRPr lang="uk-UA" sz="900"/>
            </a:p>
          </p:txBody>
        </p:sp>
        <p:sp>
          <p:nvSpPr>
            <p:cNvPr id="602" name="Freeform: Shape 601">
              <a:extLst>
                <a:ext uri="{FF2B5EF4-FFF2-40B4-BE49-F238E27FC236}">
                  <a16:creationId xmlns:a16="http://schemas.microsoft.com/office/drawing/2014/main" id="{04D71500-512E-6906-E4E0-621BB5591572}"/>
                </a:ext>
              </a:extLst>
            </p:cNvPr>
            <p:cNvSpPr/>
            <p:nvPr/>
          </p:nvSpPr>
          <p:spPr>
            <a:xfrm>
              <a:off x="13017991" y="1968906"/>
              <a:ext cx="435077" cy="435077"/>
            </a:xfrm>
            <a:custGeom>
              <a:avLst/>
              <a:gdLst>
                <a:gd name="connsiteX0" fmla="*/ 217539 w 435077"/>
                <a:gd name="connsiteY0" fmla="*/ 217533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2 h 435077"/>
                <a:gd name="connsiteX7" fmla="*/ 435077 w 435077"/>
                <a:gd name="connsiteY7" fmla="*/ 217541 h 435077"/>
                <a:gd name="connsiteX8" fmla="*/ 435077 w 435077"/>
                <a:gd name="connsiteY8" fmla="*/ 217541 h 435077"/>
                <a:gd name="connsiteX9" fmla="*/ 435077 w 435077"/>
                <a:gd name="connsiteY9" fmla="*/ 217539 h 435077"/>
                <a:gd name="connsiteX10" fmla="*/ 435077 w 435077"/>
                <a:gd name="connsiteY10" fmla="*/ 217533 h 435077"/>
                <a:gd name="connsiteX11" fmla="*/ 435077 w 435077"/>
                <a:gd name="connsiteY11" fmla="*/ 217533 h 435077"/>
                <a:gd name="connsiteX12" fmla="*/ 217539 w 435077"/>
                <a:gd name="connsiteY12" fmla="*/ 5 h 435077"/>
                <a:gd name="connsiteX13" fmla="*/ 217539 w 435077"/>
                <a:gd name="connsiteY13" fmla="*/ 217533 h 435077"/>
                <a:gd name="connsiteX14" fmla="*/ 217539 w 435077"/>
                <a:gd name="connsiteY14" fmla="*/ 21753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3"/>
                  </a:moveTo>
                  <a:lnTo>
                    <a:pt x="217539" y="0"/>
                  </a:lnTo>
                  <a:lnTo>
                    <a:pt x="0" y="0"/>
                  </a:lnTo>
                  <a:lnTo>
                    <a:pt x="217539" y="217539"/>
                  </a:lnTo>
                  <a:lnTo>
                    <a:pt x="0" y="435077"/>
                  </a:lnTo>
                  <a:lnTo>
                    <a:pt x="217539" y="435077"/>
                  </a:lnTo>
                  <a:lnTo>
                    <a:pt x="217539" y="435072"/>
                  </a:lnTo>
                  <a:lnTo>
                    <a:pt x="435077" y="217541"/>
                  </a:lnTo>
                  <a:lnTo>
                    <a:pt x="435077" y="217541"/>
                  </a:lnTo>
                  <a:lnTo>
                    <a:pt x="435077" y="217539"/>
                  </a:lnTo>
                  <a:lnTo>
                    <a:pt x="435077" y="217533"/>
                  </a:lnTo>
                  <a:lnTo>
                    <a:pt x="435077" y="217533"/>
                  </a:lnTo>
                  <a:lnTo>
                    <a:pt x="217539" y="5"/>
                  </a:lnTo>
                  <a:lnTo>
                    <a:pt x="217539" y="217533"/>
                  </a:lnTo>
                  <a:lnTo>
                    <a:pt x="217539" y="217533"/>
                  </a:lnTo>
                  <a:close/>
                </a:path>
              </a:pathLst>
            </a:custGeom>
            <a:grpFill/>
            <a:ln w="27192" cap="flat">
              <a:noFill/>
              <a:prstDash val="solid"/>
              <a:miter/>
            </a:ln>
          </p:spPr>
          <p:txBody>
            <a:bodyPr rtlCol="0" anchor="ctr"/>
            <a:lstStyle/>
            <a:p>
              <a:endParaRPr lang="uk-UA" sz="900"/>
            </a:p>
          </p:txBody>
        </p:sp>
        <p:sp>
          <p:nvSpPr>
            <p:cNvPr id="603" name="Freeform: Shape 602">
              <a:extLst>
                <a:ext uri="{FF2B5EF4-FFF2-40B4-BE49-F238E27FC236}">
                  <a16:creationId xmlns:a16="http://schemas.microsoft.com/office/drawing/2014/main" id="{0E685AE3-8EA1-0871-3D35-F76D596FD186}"/>
                </a:ext>
              </a:extLst>
            </p:cNvPr>
            <p:cNvSpPr/>
            <p:nvPr/>
          </p:nvSpPr>
          <p:spPr>
            <a:xfrm>
              <a:off x="14758382" y="1968909"/>
              <a:ext cx="435077" cy="435077"/>
            </a:xfrm>
            <a:custGeom>
              <a:avLst/>
              <a:gdLst>
                <a:gd name="connsiteX0" fmla="*/ 217539 w 435077"/>
                <a:gd name="connsiteY0" fmla="*/ 0 h 435077"/>
                <a:gd name="connsiteX1" fmla="*/ 217539 w 435077"/>
                <a:gd name="connsiteY1" fmla="*/ 0 h 435077"/>
                <a:gd name="connsiteX2" fmla="*/ 0 w 435077"/>
                <a:gd name="connsiteY2" fmla="*/ 0 h 435077"/>
                <a:gd name="connsiteX3" fmla="*/ 0 w 435077"/>
                <a:gd name="connsiteY3" fmla="*/ 217539 h 435077"/>
                <a:gd name="connsiteX4" fmla="*/ 217539 w 435077"/>
                <a:gd name="connsiteY4" fmla="*/ 5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217539" y="0"/>
                  </a:lnTo>
                  <a:lnTo>
                    <a:pt x="0" y="0"/>
                  </a:lnTo>
                  <a:lnTo>
                    <a:pt x="0" y="217539"/>
                  </a:lnTo>
                  <a:lnTo>
                    <a:pt x="217539" y="5"/>
                  </a:lnTo>
                  <a:lnTo>
                    <a:pt x="435077" y="217539"/>
                  </a:lnTo>
                  <a:lnTo>
                    <a:pt x="217539" y="435077"/>
                  </a:lnTo>
                  <a:lnTo>
                    <a:pt x="0" y="217539"/>
                  </a:lnTo>
                  <a:lnTo>
                    <a:pt x="0" y="435077"/>
                  </a:lnTo>
                  <a:lnTo>
                    <a:pt x="217539" y="435077"/>
                  </a:lnTo>
                  <a:lnTo>
                    <a:pt x="435077" y="435077"/>
                  </a:lnTo>
                  <a:lnTo>
                    <a:pt x="435077" y="217539"/>
                  </a:lnTo>
                  <a:lnTo>
                    <a:pt x="435077" y="0"/>
                  </a:lnTo>
                  <a:lnTo>
                    <a:pt x="217539" y="0"/>
                  </a:lnTo>
                  <a:close/>
                </a:path>
              </a:pathLst>
            </a:custGeom>
            <a:grpFill/>
            <a:ln w="27192" cap="flat">
              <a:noFill/>
              <a:prstDash val="solid"/>
              <a:miter/>
            </a:ln>
          </p:spPr>
          <p:txBody>
            <a:bodyPr rtlCol="0" anchor="ctr"/>
            <a:lstStyle/>
            <a:p>
              <a:endParaRPr lang="uk-UA" sz="900"/>
            </a:p>
          </p:txBody>
        </p:sp>
        <p:sp>
          <p:nvSpPr>
            <p:cNvPr id="604" name="Freeform: Shape 603">
              <a:extLst>
                <a:ext uri="{FF2B5EF4-FFF2-40B4-BE49-F238E27FC236}">
                  <a16:creationId xmlns:a16="http://schemas.microsoft.com/office/drawing/2014/main" id="{F223A14F-61E4-86C3-EC91-6873468AFE5B}"/>
                </a:ext>
              </a:extLst>
            </p:cNvPr>
            <p:cNvSpPr/>
            <p:nvPr/>
          </p:nvSpPr>
          <p:spPr>
            <a:xfrm>
              <a:off x="13888200" y="1968909"/>
              <a:ext cx="435077" cy="435077"/>
            </a:xfrm>
            <a:custGeom>
              <a:avLst/>
              <a:gdLst>
                <a:gd name="connsiteX0" fmla="*/ 0 w 435077"/>
                <a:gd name="connsiteY0" fmla="*/ 435077 h 435077"/>
                <a:gd name="connsiteX1" fmla="*/ 217539 w 435077"/>
                <a:gd name="connsiteY1" fmla="*/ 435077 h 435077"/>
                <a:gd name="connsiteX2" fmla="*/ 217539 w 435077"/>
                <a:gd name="connsiteY2" fmla="*/ 217547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28 h 435077"/>
                <a:gd name="connsiteX7" fmla="*/ 217539 w 435077"/>
                <a:gd name="connsiteY7" fmla="*/ 0 h 435077"/>
                <a:gd name="connsiteX8" fmla="*/ 435077 w 435077"/>
                <a:gd name="connsiteY8" fmla="*/ 435077 h 435077"/>
                <a:gd name="connsiteX9" fmla="*/ 217565 w 435077"/>
                <a:gd name="connsiteY9" fmla="*/ 435077 h 435077"/>
                <a:gd name="connsiteX10" fmla="*/ 435077 w 435077"/>
                <a:gd name="connsiteY10" fmla="*/ 217547 h 435077"/>
                <a:gd name="connsiteX11" fmla="*/ 435077 w 435077"/>
                <a:gd name="connsiteY11" fmla="*/ 435077 h 435077"/>
                <a:gd name="connsiteX12" fmla="*/ 435077 w 435077"/>
                <a:gd name="connsiteY12" fmla="*/ 3 h 435077"/>
                <a:gd name="connsiteX13" fmla="*/ 217565 w 435077"/>
                <a:gd name="connsiteY13" fmla="*/ 3 h 435077"/>
                <a:gd name="connsiteX14" fmla="*/ 435077 w 435077"/>
                <a:gd name="connsiteY14" fmla="*/ 217531 h 435077"/>
                <a:gd name="connsiteX15" fmla="*/ 435077 w 435077"/>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47"/>
                  </a:lnTo>
                  <a:lnTo>
                    <a:pt x="0" y="435077"/>
                  </a:lnTo>
                  <a:close/>
                  <a:moveTo>
                    <a:pt x="217539" y="0"/>
                  </a:moveTo>
                  <a:lnTo>
                    <a:pt x="0" y="0"/>
                  </a:lnTo>
                  <a:lnTo>
                    <a:pt x="217539" y="217528"/>
                  </a:lnTo>
                  <a:lnTo>
                    <a:pt x="217539" y="0"/>
                  </a:lnTo>
                  <a:close/>
                  <a:moveTo>
                    <a:pt x="435077" y="435077"/>
                  </a:moveTo>
                  <a:lnTo>
                    <a:pt x="217565" y="435077"/>
                  </a:lnTo>
                  <a:lnTo>
                    <a:pt x="435077" y="217547"/>
                  </a:lnTo>
                  <a:lnTo>
                    <a:pt x="435077" y="435077"/>
                  </a:lnTo>
                  <a:close/>
                  <a:moveTo>
                    <a:pt x="435077" y="3"/>
                  </a:moveTo>
                  <a:lnTo>
                    <a:pt x="217565" y="3"/>
                  </a:lnTo>
                  <a:lnTo>
                    <a:pt x="435077" y="217531"/>
                  </a:lnTo>
                  <a:lnTo>
                    <a:pt x="435077" y="3"/>
                  </a:lnTo>
                  <a:close/>
                </a:path>
              </a:pathLst>
            </a:custGeom>
            <a:grpFill/>
            <a:ln w="27192" cap="flat">
              <a:noFill/>
              <a:prstDash val="solid"/>
              <a:miter/>
            </a:ln>
          </p:spPr>
          <p:txBody>
            <a:bodyPr rtlCol="0" anchor="ctr"/>
            <a:lstStyle/>
            <a:p>
              <a:endParaRPr lang="uk-UA" sz="900"/>
            </a:p>
          </p:txBody>
        </p:sp>
        <p:sp>
          <p:nvSpPr>
            <p:cNvPr id="605" name="Freeform: Shape 604">
              <a:extLst>
                <a:ext uri="{FF2B5EF4-FFF2-40B4-BE49-F238E27FC236}">
                  <a16:creationId xmlns:a16="http://schemas.microsoft.com/office/drawing/2014/main" id="{6505BD05-6C2B-A528-E8F8-224DA1BB06C9}"/>
                </a:ext>
              </a:extLst>
            </p:cNvPr>
            <p:cNvSpPr/>
            <p:nvPr/>
          </p:nvSpPr>
          <p:spPr>
            <a:xfrm>
              <a:off x="15628536" y="1968909"/>
              <a:ext cx="435077" cy="435077"/>
            </a:xfrm>
            <a:custGeom>
              <a:avLst/>
              <a:gdLst>
                <a:gd name="connsiteX0" fmla="*/ 371367 w 435077"/>
                <a:gd name="connsiteY0" fmla="*/ 63714 h 435077"/>
                <a:gd name="connsiteX1" fmla="*/ 435077 w 435077"/>
                <a:gd name="connsiteY1" fmla="*/ 217539 h 435077"/>
                <a:gd name="connsiteX2" fmla="*/ 217730 w 435077"/>
                <a:gd name="connsiteY2" fmla="*/ 217539 h 435077"/>
                <a:gd name="connsiteX3" fmla="*/ 371367 w 435077"/>
                <a:gd name="connsiteY3" fmla="*/ 281253 h 435077"/>
                <a:gd name="connsiteX4" fmla="*/ 435077 w 435077"/>
                <a:gd name="connsiteY4" fmla="*/ 435077 h 435077"/>
                <a:gd name="connsiteX5" fmla="*/ 217539 w 435077"/>
                <a:gd name="connsiteY5" fmla="*/ 435077 h 435077"/>
                <a:gd name="connsiteX6" fmla="*/ 0 w 435077"/>
                <a:gd name="connsiteY6" fmla="*/ 435077 h 435077"/>
                <a:gd name="connsiteX7" fmla="*/ 63739 w 435077"/>
                <a:gd name="connsiteY7" fmla="*/ 281253 h 435077"/>
                <a:gd name="connsiteX8" fmla="*/ 217376 w 435077"/>
                <a:gd name="connsiteY8" fmla="*/ 217539 h 435077"/>
                <a:gd name="connsiteX9" fmla="*/ 0 w 435077"/>
                <a:gd name="connsiteY9" fmla="*/ 217539 h 435077"/>
                <a:gd name="connsiteX10" fmla="*/ 63712 w 435077"/>
                <a:gd name="connsiteY10" fmla="*/ 63714 h 435077"/>
                <a:gd name="connsiteX11" fmla="*/ 217539 w 435077"/>
                <a:gd name="connsiteY11" fmla="*/ 0 h 435077"/>
                <a:gd name="connsiteX12" fmla="*/ 371367 w 435077"/>
                <a:gd name="connsiteY12" fmla="*/ 63714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7" y="63714"/>
                  </a:moveTo>
                  <a:cubicBezTo>
                    <a:pt x="412155" y="104511"/>
                    <a:pt x="435077" y="159842"/>
                    <a:pt x="435077" y="217539"/>
                  </a:cubicBezTo>
                  <a:lnTo>
                    <a:pt x="217730" y="217539"/>
                  </a:lnTo>
                  <a:cubicBezTo>
                    <a:pt x="275351" y="217582"/>
                    <a:pt x="330605" y="240497"/>
                    <a:pt x="371367" y="281253"/>
                  </a:cubicBezTo>
                  <a:cubicBezTo>
                    <a:pt x="412182" y="322050"/>
                    <a:pt x="435077" y="377381"/>
                    <a:pt x="435077" y="435077"/>
                  </a:cubicBezTo>
                  <a:lnTo>
                    <a:pt x="217539" y="435077"/>
                  </a:lnTo>
                  <a:lnTo>
                    <a:pt x="0" y="435077"/>
                  </a:lnTo>
                  <a:cubicBezTo>
                    <a:pt x="0" y="377381"/>
                    <a:pt x="22924" y="322050"/>
                    <a:pt x="63739" y="281253"/>
                  </a:cubicBezTo>
                  <a:cubicBezTo>
                    <a:pt x="104474" y="240497"/>
                    <a:pt x="159755" y="217582"/>
                    <a:pt x="217376" y="217539"/>
                  </a:cubicBezTo>
                  <a:lnTo>
                    <a:pt x="0" y="217539"/>
                  </a:lnTo>
                  <a:cubicBezTo>
                    <a:pt x="0" y="159842"/>
                    <a:pt x="22924" y="104511"/>
                    <a:pt x="63712" y="63714"/>
                  </a:cubicBezTo>
                  <a:cubicBezTo>
                    <a:pt x="104527" y="22918"/>
                    <a:pt x="159865" y="0"/>
                    <a:pt x="217539" y="0"/>
                  </a:cubicBezTo>
                  <a:cubicBezTo>
                    <a:pt x="275241" y="0"/>
                    <a:pt x="330578" y="22918"/>
                    <a:pt x="371367" y="63714"/>
                  </a:cubicBezTo>
                  <a:close/>
                </a:path>
              </a:pathLst>
            </a:custGeom>
            <a:grpFill/>
            <a:ln w="27192" cap="flat">
              <a:noFill/>
              <a:prstDash val="solid"/>
              <a:miter/>
            </a:ln>
          </p:spPr>
          <p:txBody>
            <a:bodyPr rtlCol="0" anchor="ctr"/>
            <a:lstStyle/>
            <a:p>
              <a:endParaRPr lang="uk-UA" sz="900"/>
            </a:p>
          </p:txBody>
        </p:sp>
        <p:sp>
          <p:nvSpPr>
            <p:cNvPr id="606" name="Freeform: Shape 605">
              <a:extLst>
                <a:ext uri="{FF2B5EF4-FFF2-40B4-BE49-F238E27FC236}">
                  <a16:creationId xmlns:a16="http://schemas.microsoft.com/office/drawing/2014/main" id="{7CD4DF6B-2DFE-680E-E8F4-F177EB7D72F7}"/>
                </a:ext>
              </a:extLst>
            </p:cNvPr>
            <p:cNvSpPr/>
            <p:nvPr/>
          </p:nvSpPr>
          <p:spPr>
            <a:xfrm>
              <a:off x="16498719" y="1968909"/>
              <a:ext cx="435077" cy="435074"/>
            </a:xfrm>
            <a:custGeom>
              <a:avLst/>
              <a:gdLst>
                <a:gd name="connsiteX0" fmla="*/ 217539 w 435077"/>
                <a:gd name="connsiteY0" fmla="*/ 217533 h 435074"/>
                <a:gd name="connsiteX1" fmla="*/ 217539 w 435077"/>
                <a:gd name="connsiteY1" fmla="*/ 0 h 435074"/>
                <a:gd name="connsiteX2" fmla="*/ 0 w 435077"/>
                <a:gd name="connsiteY2" fmla="*/ 0 h 435074"/>
                <a:gd name="connsiteX3" fmla="*/ 217539 w 435077"/>
                <a:gd name="connsiteY3" fmla="*/ 217539 h 435074"/>
                <a:gd name="connsiteX4" fmla="*/ 0 w 435077"/>
                <a:gd name="connsiteY4" fmla="*/ 435075 h 435074"/>
                <a:gd name="connsiteX5" fmla="*/ 217539 w 435077"/>
                <a:gd name="connsiteY5" fmla="*/ 435075 h 435074"/>
                <a:gd name="connsiteX6" fmla="*/ 217539 w 435077"/>
                <a:gd name="connsiteY6" fmla="*/ 435072 h 435074"/>
                <a:gd name="connsiteX7" fmla="*/ 435049 w 435077"/>
                <a:gd name="connsiteY7" fmla="*/ 217541 h 435074"/>
                <a:gd name="connsiteX8" fmla="*/ 435077 w 435077"/>
                <a:gd name="connsiteY8" fmla="*/ 217541 h 435074"/>
                <a:gd name="connsiteX9" fmla="*/ 435049 w 435077"/>
                <a:gd name="connsiteY9" fmla="*/ 217536 h 435074"/>
                <a:gd name="connsiteX10" fmla="*/ 435077 w 435077"/>
                <a:gd name="connsiteY10" fmla="*/ 217533 h 435074"/>
                <a:gd name="connsiteX11" fmla="*/ 435049 w 435077"/>
                <a:gd name="connsiteY11" fmla="*/ 217533 h 435074"/>
                <a:gd name="connsiteX12" fmla="*/ 217539 w 435077"/>
                <a:gd name="connsiteY12" fmla="*/ 3 h 435074"/>
                <a:gd name="connsiteX13" fmla="*/ 217539 w 435077"/>
                <a:gd name="connsiteY13" fmla="*/ 217533 h 435074"/>
                <a:gd name="connsiteX14" fmla="*/ 217539 w 435077"/>
                <a:gd name="connsiteY14" fmla="*/ 217533 h 43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4">
                  <a:moveTo>
                    <a:pt x="217539" y="217533"/>
                  </a:moveTo>
                  <a:lnTo>
                    <a:pt x="217539" y="0"/>
                  </a:lnTo>
                  <a:lnTo>
                    <a:pt x="0" y="0"/>
                  </a:lnTo>
                  <a:lnTo>
                    <a:pt x="217539" y="217539"/>
                  </a:lnTo>
                  <a:lnTo>
                    <a:pt x="0" y="435075"/>
                  </a:lnTo>
                  <a:lnTo>
                    <a:pt x="217539" y="435075"/>
                  </a:lnTo>
                  <a:lnTo>
                    <a:pt x="217539" y="435072"/>
                  </a:lnTo>
                  <a:lnTo>
                    <a:pt x="435049" y="217541"/>
                  </a:lnTo>
                  <a:lnTo>
                    <a:pt x="435077" y="217541"/>
                  </a:lnTo>
                  <a:lnTo>
                    <a:pt x="435049" y="217536"/>
                  </a:lnTo>
                  <a:lnTo>
                    <a:pt x="435077" y="217533"/>
                  </a:lnTo>
                  <a:lnTo>
                    <a:pt x="435049" y="217533"/>
                  </a:lnTo>
                  <a:lnTo>
                    <a:pt x="217539" y="3"/>
                  </a:lnTo>
                  <a:lnTo>
                    <a:pt x="217539" y="217533"/>
                  </a:lnTo>
                  <a:lnTo>
                    <a:pt x="217539" y="217533"/>
                  </a:lnTo>
                  <a:close/>
                </a:path>
              </a:pathLst>
            </a:custGeom>
            <a:grpFill/>
            <a:ln w="27192" cap="flat">
              <a:noFill/>
              <a:prstDash val="solid"/>
              <a:miter/>
            </a:ln>
          </p:spPr>
          <p:txBody>
            <a:bodyPr rtlCol="0" anchor="ctr"/>
            <a:lstStyle/>
            <a:p>
              <a:endParaRPr lang="uk-UA" sz="900"/>
            </a:p>
          </p:txBody>
        </p:sp>
        <p:sp>
          <p:nvSpPr>
            <p:cNvPr id="607" name="Freeform: Shape 606">
              <a:extLst>
                <a:ext uri="{FF2B5EF4-FFF2-40B4-BE49-F238E27FC236}">
                  <a16:creationId xmlns:a16="http://schemas.microsoft.com/office/drawing/2014/main" id="{625D50B8-E16B-C433-5C7E-16F02E036582}"/>
                </a:ext>
              </a:extLst>
            </p:cNvPr>
            <p:cNvSpPr/>
            <p:nvPr/>
          </p:nvSpPr>
          <p:spPr>
            <a:xfrm>
              <a:off x="18239029" y="196890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608" name="Freeform: Shape 607">
              <a:extLst>
                <a:ext uri="{FF2B5EF4-FFF2-40B4-BE49-F238E27FC236}">
                  <a16:creationId xmlns:a16="http://schemas.microsoft.com/office/drawing/2014/main" id="{1434A9D8-25A0-DFD0-9CCC-3BD4884555EC}"/>
                </a:ext>
              </a:extLst>
            </p:cNvPr>
            <p:cNvSpPr/>
            <p:nvPr/>
          </p:nvSpPr>
          <p:spPr>
            <a:xfrm>
              <a:off x="17368874" y="1968909"/>
              <a:ext cx="435077" cy="435077"/>
            </a:xfrm>
            <a:custGeom>
              <a:avLst/>
              <a:gdLst>
                <a:gd name="connsiteX0" fmla="*/ 0 w 435077"/>
                <a:gd name="connsiteY0" fmla="*/ 435077 h 435077"/>
                <a:gd name="connsiteX1" fmla="*/ 217539 w 435077"/>
                <a:gd name="connsiteY1" fmla="*/ 435077 h 435077"/>
                <a:gd name="connsiteX2" fmla="*/ 217539 w 435077"/>
                <a:gd name="connsiteY2" fmla="*/ 217547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28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47 h 435077"/>
                <a:gd name="connsiteX11" fmla="*/ 435077 w 435077"/>
                <a:gd name="connsiteY11" fmla="*/ 435077 h 435077"/>
                <a:gd name="connsiteX12" fmla="*/ 435077 w 435077"/>
                <a:gd name="connsiteY12" fmla="*/ 3 h 435077"/>
                <a:gd name="connsiteX13" fmla="*/ 217539 w 435077"/>
                <a:gd name="connsiteY13" fmla="*/ 3 h 435077"/>
                <a:gd name="connsiteX14" fmla="*/ 435077 w 435077"/>
                <a:gd name="connsiteY14" fmla="*/ 217531 h 435077"/>
                <a:gd name="connsiteX15" fmla="*/ 435077 w 435077"/>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47"/>
                  </a:lnTo>
                  <a:lnTo>
                    <a:pt x="0" y="435077"/>
                  </a:lnTo>
                  <a:close/>
                  <a:moveTo>
                    <a:pt x="217539" y="0"/>
                  </a:moveTo>
                  <a:lnTo>
                    <a:pt x="0" y="0"/>
                  </a:lnTo>
                  <a:lnTo>
                    <a:pt x="217539" y="217528"/>
                  </a:lnTo>
                  <a:lnTo>
                    <a:pt x="217539" y="0"/>
                  </a:lnTo>
                  <a:close/>
                  <a:moveTo>
                    <a:pt x="435077" y="435077"/>
                  </a:moveTo>
                  <a:lnTo>
                    <a:pt x="217539" y="435077"/>
                  </a:lnTo>
                  <a:lnTo>
                    <a:pt x="435077" y="217547"/>
                  </a:lnTo>
                  <a:lnTo>
                    <a:pt x="435077" y="435077"/>
                  </a:lnTo>
                  <a:close/>
                  <a:moveTo>
                    <a:pt x="435077" y="3"/>
                  </a:moveTo>
                  <a:lnTo>
                    <a:pt x="217539" y="3"/>
                  </a:lnTo>
                  <a:lnTo>
                    <a:pt x="435077" y="217531"/>
                  </a:lnTo>
                  <a:lnTo>
                    <a:pt x="435077" y="3"/>
                  </a:lnTo>
                  <a:close/>
                </a:path>
              </a:pathLst>
            </a:custGeom>
            <a:grpFill/>
            <a:ln w="27192" cap="flat">
              <a:noFill/>
              <a:prstDash val="solid"/>
              <a:miter/>
            </a:ln>
          </p:spPr>
          <p:txBody>
            <a:bodyPr rtlCol="0" anchor="ctr"/>
            <a:lstStyle/>
            <a:p>
              <a:endParaRPr lang="uk-UA" sz="900"/>
            </a:p>
          </p:txBody>
        </p:sp>
        <p:sp>
          <p:nvSpPr>
            <p:cNvPr id="609" name="Freeform: Shape 608">
              <a:extLst>
                <a:ext uri="{FF2B5EF4-FFF2-40B4-BE49-F238E27FC236}">
                  <a16:creationId xmlns:a16="http://schemas.microsoft.com/office/drawing/2014/main" id="{2F6A0501-8128-7857-B699-7AD83340FD31}"/>
                </a:ext>
              </a:extLst>
            </p:cNvPr>
            <p:cNvSpPr/>
            <p:nvPr/>
          </p:nvSpPr>
          <p:spPr>
            <a:xfrm>
              <a:off x="19109210" y="1968909"/>
              <a:ext cx="435077" cy="435077"/>
            </a:xfrm>
            <a:custGeom>
              <a:avLst/>
              <a:gdLst>
                <a:gd name="connsiteX0" fmla="*/ 371339 w 435077"/>
                <a:gd name="connsiteY0" fmla="*/ 63714 h 435077"/>
                <a:gd name="connsiteX1" fmla="*/ 435077 w 435077"/>
                <a:gd name="connsiteY1" fmla="*/ 217539 h 435077"/>
                <a:gd name="connsiteX2" fmla="*/ 217701 w 435077"/>
                <a:gd name="connsiteY2" fmla="*/ 217539 h 435077"/>
                <a:gd name="connsiteX3" fmla="*/ 371365 w 435077"/>
                <a:gd name="connsiteY3" fmla="*/ 281253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3 h 435077"/>
                <a:gd name="connsiteX8" fmla="*/ 217376 w 435077"/>
                <a:gd name="connsiteY8" fmla="*/ 217539 h 435077"/>
                <a:gd name="connsiteX9" fmla="*/ 0 w 435077"/>
                <a:gd name="connsiteY9" fmla="*/ 217539 h 435077"/>
                <a:gd name="connsiteX10" fmla="*/ 63712 w 435077"/>
                <a:gd name="connsiteY10" fmla="*/ 63714 h 435077"/>
                <a:gd name="connsiteX11" fmla="*/ 217539 w 435077"/>
                <a:gd name="connsiteY11" fmla="*/ 0 h 435077"/>
                <a:gd name="connsiteX12" fmla="*/ 371339 w 435077"/>
                <a:gd name="connsiteY12" fmla="*/ 63714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14"/>
                  </a:moveTo>
                  <a:cubicBezTo>
                    <a:pt x="412154" y="104511"/>
                    <a:pt x="435077" y="159842"/>
                    <a:pt x="435077" y="217539"/>
                  </a:cubicBezTo>
                  <a:lnTo>
                    <a:pt x="217701" y="217539"/>
                  </a:lnTo>
                  <a:cubicBezTo>
                    <a:pt x="275322" y="217582"/>
                    <a:pt x="330605" y="240497"/>
                    <a:pt x="371365" y="281253"/>
                  </a:cubicBezTo>
                  <a:cubicBezTo>
                    <a:pt x="412154" y="322050"/>
                    <a:pt x="435077" y="377381"/>
                    <a:pt x="435077" y="435077"/>
                  </a:cubicBezTo>
                  <a:lnTo>
                    <a:pt x="217539" y="435077"/>
                  </a:lnTo>
                  <a:lnTo>
                    <a:pt x="0" y="435077"/>
                  </a:lnTo>
                  <a:cubicBezTo>
                    <a:pt x="0" y="377381"/>
                    <a:pt x="22924" y="322050"/>
                    <a:pt x="63712" y="281253"/>
                  </a:cubicBezTo>
                  <a:cubicBezTo>
                    <a:pt x="104472" y="240497"/>
                    <a:pt x="159728" y="217582"/>
                    <a:pt x="217376" y="217539"/>
                  </a:cubicBezTo>
                  <a:lnTo>
                    <a:pt x="0" y="217539"/>
                  </a:lnTo>
                  <a:cubicBezTo>
                    <a:pt x="0" y="159842"/>
                    <a:pt x="22895" y="104511"/>
                    <a:pt x="63712" y="63714"/>
                  </a:cubicBezTo>
                  <a:cubicBezTo>
                    <a:pt x="104501" y="22918"/>
                    <a:pt x="159836" y="0"/>
                    <a:pt x="217539" y="0"/>
                  </a:cubicBezTo>
                  <a:cubicBezTo>
                    <a:pt x="275215" y="0"/>
                    <a:pt x="330550" y="22918"/>
                    <a:pt x="371339" y="63714"/>
                  </a:cubicBezTo>
                  <a:close/>
                </a:path>
              </a:pathLst>
            </a:custGeom>
            <a:grpFill/>
            <a:ln w="27192" cap="flat">
              <a:noFill/>
              <a:prstDash val="solid"/>
              <a:miter/>
            </a:ln>
          </p:spPr>
          <p:txBody>
            <a:bodyPr rtlCol="0" anchor="ctr"/>
            <a:lstStyle/>
            <a:p>
              <a:endParaRPr lang="uk-UA" sz="900"/>
            </a:p>
          </p:txBody>
        </p:sp>
        <p:sp>
          <p:nvSpPr>
            <p:cNvPr id="610" name="Freeform: Shape 609">
              <a:extLst>
                <a:ext uri="{FF2B5EF4-FFF2-40B4-BE49-F238E27FC236}">
                  <a16:creationId xmlns:a16="http://schemas.microsoft.com/office/drawing/2014/main" id="{61975D37-335A-A1F0-5E1C-3424F4C54DD5}"/>
                </a:ext>
              </a:extLst>
            </p:cNvPr>
            <p:cNvSpPr/>
            <p:nvPr/>
          </p:nvSpPr>
          <p:spPr>
            <a:xfrm>
              <a:off x="19979365" y="1968909"/>
              <a:ext cx="435077" cy="435074"/>
            </a:xfrm>
            <a:custGeom>
              <a:avLst/>
              <a:gdLst>
                <a:gd name="connsiteX0" fmla="*/ 217539 w 435077"/>
                <a:gd name="connsiteY0" fmla="*/ 217533 h 435074"/>
                <a:gd name="connsiteX1" fmla="*/ 217539 w 435077"/>
                <a:gd name="connsiteY1" fmla="*/ 0 h 435074"/>
                <a:gd name="connsiteX2" fmla="*/ 0 w 435077"/>
                <a:gd name="connsiteY2" fmla="*/ 0 h 435074"/>
                <a:gd name="connsiteX3" fmla="*/ 217539 w 435077"/>
                <a:gd name="connsiteY3" fmla="*/ 217539 h 435074"/>
                <a:gd name="connsiteX4" fmla="*/ 0 w 435077"/>
                <a:gd name="connsiteY4" fmla="*/ 435075 h 435074"/>
                <a:gd name="connsiteX5" fmla="*/ 217539 w 435077"/>
                <a:gd name="connsiteY5" fmla="*/ 435075 h 435074"/>
                <a:gd name="connsiteX6" fmla="*/ 217539 w 435077"/>
                <a:gd name="connsiteY6" fmla="*/ 435072 h 435074"/>
                <a:gd name="connsiteX7" fmla="*/ 435051 w 435077"/>
                <a:gd name="connsiteY7" fmla="*/ 217541 h 435074"/>
                <a:gd name="connsiteX8" fmla="*/ 435077 w 435077"/>
                <a:gd name="connsiteY8" fmla="*/ 217541 h 435074"/>
                <a:gd name="connsiteX9" fmla="*/ 435077 w 435077"/>
                <a:gd name="connsiteY9" fmla="*/ 217536 h 435074"/>
                <a:gd name="connsiteX10" fmla="*/ 435077 w 435077"/>
                <a:gd name="connsiteY10" fmla="*/ 217533 h 435074"/>
                <a:gd name="connsiteX11" fmla="*/ 435077 w 435077"/>
                <a:gd name="connsiteY11" fmla="*/ 217533 h 435074"/>
                <a:gd name="connsiteX12" fmla="*/ 217539 w 435077"/>
                <a:gd name="connsiteY12" fmla="*/ 3 h 435074"/>
                <a:gd name="connsiteX13" fmla="*/ 217539 w 435077"/>
                <a:gd name="connsiteY13" fmla="*/ 217533 h 435074"/>
                <a:gd name="connsiteX14" fmla="*/ 217539 w 435077"/>
                <a:gd name="connsiteY14" fmla="*/ 217533 h 43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4">
                  <a:moveTo>
                    <a:pt x="217539" y="217533"/>
                  </a:moveTo>
                  <a:lnTo>
                    <a:pt x="217539" y="0"/>
                  </a:lnTo>
                  <a:lnTo>
                    <a:pt x="0" y="0"/>
                  </a:lnTo>
                  <a:lnTo>
                    <a:pt x="217539" y="217539"/>
                  </a:lnTo>
                  <a:lnTo>
                    <a:pt x="0" y="435075"/>
                  </a:lnTo>
                  <a:lnTo>
                    <a:pt x="217539" y="435075"/>
                  </a:lnTo>
                  <a:lnTo>
                    <a:pt x="217539" y="435072"/>
                  </a:lnTo>
                  <a:lnTo>
                    <a:pt x="435051" y="217541"/>
                  </a:lnTo>
                  <a:lnTo>
                    <a:pt x="435077" y="217541"/>
                  </a:lnTo>
                  <a:lnTo>
                    <a:pt x="435077" y="217536"/>
                  </a:lnTo>
                  <a:lnTo>
                    <a:pt x="435077" y="217533"/>
                  </a:lnTo>
                  <a:lnTo>
                    <a:pt x="435077" y="217533"/>
                  </a:lnTo>
                  <a:lnTo>
                    <a:pt x="217539" y="3"/>
                  </a:lnTo>
                  <a:lnTo>
                    <a:pt x="217539" y="217533"/>
                  </a:lnTo>
                  <a:lnTo>
                    <a:pt x="217539" y="217533"/>
                  </a:lnTo>
                  <a:close/>
                </a:path>
              </a:pathLst>
            </a:custGeom>
            <a:grpFill/>
            <a:ln w="27192" cap="flat">
              <a:noFill/>
              <a:prstDash val="solid"/>
              <a:miter/>
            </a:ln>
          </p:spPr>
          <p:txBody>
            <a:bodyPr rtlCol="0" anchor="ctr"/>
            <a:lstStyle/>
            <a:p>
              <a:endParaRPr lang="uk-UA" sz="900"/>
            </a:p>
          </p:txBody>
        </p:sp>
        <p:sp>
          <p:nvSpPr>
            <p:cNvPr id="611" name="Freeform: Shape 610">
              <a:extLst>
                <a:ext uri="{FF2B5EF4-FFF2-40B4-BE49-F238E27FC236}">
                  <a16:creationId xmlns:a16="http://schemas.microsoft.com/office/drawing/2014/main" id="{ECC02CFD-5C5A-2CEF-2B65-811AD956E681}"/>
                </a:ext>
              </a:extLst>
            </p:cNvPr>
            <p:cNvSpPr/>
            <p:nvPr/>
          </p:nvSpPr>
          <p:spPr>
            <a:xfrm>
              <a:off x="21719702" y="196890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612" name="Freeform: Shape 611">
              <a:extLst>
                <a:ext uri="{FF2B5EF4-FFF2-40B4-BE49-F238E27FC236}">
                  <a16:creationId xmlns:a16="http://schemas.microsoft.com/office/drawing/2014/main" id="{574060E0-0A70-E6CE-22D1-A5644875EE3D}"/>
                </a:ext>
              </a:extLst>
            </p:cNvPr>
            <p:cNvSpPr/>
            <p:nvPr/>
          </p:nvSpPr>
          <p:spPr>
            <a:xfrm>
              <a:off x="20849520" y="1968909"/>
              <a:ext cx="435077" cy="435077"/>
            </a:xfrm>
            <a:custGeom>
              <a:avLst/>
              <a:gdLst>
                <a:gd name="connsiteX0" fmla="*/ 0 w 435077"/>
                <a:gd name="connsiteY0" fmla="*/ 435077 h 435077"/>
                <a:gd name="connsiteX1" fmla="*/ 217539 w 435077"/>
                <a:gd name="connsiteY1" fmla="*/ 435077 h 435077"/>
                <a:gd name="connsiteX2" fmla="*/ 217539 w 435077"/>
                <a:gd name="connsiteY2" fmla="*/ 217547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28 h 435077"/>
                <a:gd name="connsiteX7" fmla="*/ 217539 w 435077"/>
                <a:gd name="connsiteY7" fmla="*/ 0 h 435077"/>
                <a:gd name="connsiteX8" fmla="*/ 435077 w 435077"/>
                <a:gd name="connsiteY8" fmla="*/ 435077 h 435077"/>
                <a:gd name="connsiteX9" fmla="*/ 217565 w 435077"/>
                <a:gd name="connsiteY9" fmla="*/ 435077 h 435077"/>
                <a:gd name="connsiteX10" fmla="*/ 435077 w 435077"/>
                <a:gd name="connsiteY10" fmla="*/ 217547 h 435077"/>
                <a:gd name="connsiteX11" fmla="*/ 435077 w 435077"/>
                <a:gd name="connsiteY11" fmla="*/ 435077 h 435077"/>
                <a:gd name="connsiteX12" fmla="*/ 435077 w 435077"/>
                <a:gd name="connsiteY12" fmla="*/ 3 h 435077"/>
                <a:gd name="connsiteX13" fmla="*/ 217565 w 435077"/>
                <a:gd name="connsiteY13" fmla="*/ 3 h 435077"/>
                <a:gd name="connsiteX14" fmla="*/ 435077 w 435077"/>
                <a:gd name="connsiteY14" fmla="*/ 217531 h 435077"/>
                <a:gd name="connsiteX15" fmla="*/ 435077 w 435077"/>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47"/>
                  </a:lnTo>
                  <a:lnTo>
                    <a:pt x="0" y="435077"/>
                  </a:lnTo>
                  <a:close/>
                  <a:moveTo>
                    <a:pt x="217539" y="0"/>
                  </a:moveTo>
                  <a:lnTo>
                    <a:pt x="0" y="0"/>
                  </a:lnTo>
                  <a:lnTo>
                    <a:pt x="217539" y="217528"/>
                  </a:lnTo>
                  <a:lnTo>
                    <a:pt x="217539" y="0"/>
                  </a:lnTo>
                  <a:close/>
                  <a:moveTo>
                    <a:pt x="435077" y="435077"/>
                  </a:moveTo>
                  <a:lnTo>
                    <a:pt x="217565" y="435077"/>
                  </a:lnTo>
                  <a:lnTo>
                    <a:pt x="435077" y="217547"/>
                  </a:lnTo>
                  <a:lnTo>
                    <a:pt x="435077" y="435077"/>
                  </a:lnTo>
                  <a:close/>
                  <a:moveTo>
                    <a:pt x="435077" y="3"/>
                  </a:moveTo>
                  <a:lnTo>
                    <a:pt x="217565" y="3"/>
                  </a:lnTo>
                  <a:lnTo>
                    <a:pt x="435077" y="217531"/>
                  </a:lnTo>
                  <a:lnTo>
                    <a:pt x="435077" y="3"/>
                  </a:lnTo>
                  <a:close/>
                </a:path>
              </a:pathLst>
            </a:custGeom>
            <a:grpFill/>
            <a:ln w="27192" cap="flat">
              <a:noFill/>
              <a:prstDash val="solid"/>
              <a:miter/>
            </a:ln>
          </p:spPr>
          <p:txBody>
            <a:bodyPr rtlCol="0" anchor="ctr"/>
            <a:lstStyle/>
            <a:p>
              <a:endParaRPr lang="uk-UA" sz="900"/>
            </a:p>
          </p:txBody>
        </p:sp>
        <p:sp>
          <p:nvSpPr>
            <p:cNvPr id="613" name="Freeform: Shape 612">
              <a:extLst>
                <a:ext uri="{FF2B5EF4-FFF2-40B4-BE49-F238E27FC236}">
                  <a16:creationId xmlns:a16="http://schemas.microsoft.com/office/drawing/2014/main" id="{8CF62A33-33EF-4248-F76A-C9A5CEE808CA}"/>
                </a:ext>
              </a:extLst>
            </p:cNvPr>
            <p:cNvSpPr/>
            <p:nvPr/>
          </p:nvSpPr>
          <p:spPr>
            <a:xfrm>
              <a:off x="22589856" y="1968909"/>
              <a:ext cx="435077" cy="435077"/>
            </a:xfrm>
            <a:custGeom>
              <a:avLst/>
              <a:gdLst>
                <a:gd name="connsiteX0" fmla="*/ 371367 w 435077"/>
                <a:gd name="connsiteY0" fmla="*/ 63714 h 435077"/>
                <a:gd name="connsiteX1" fmla="*/ 435077 w 435077"/>
                <a:gd name="connsiteY1" fmla="*/ 217539 h 435077"/>
                <a:gd name="connsiteX2" fmla="*/ 217703 w 435077"/>
                <a:gd name="connsiteY2" fmla="*/ 217539 h 435077"/>
                <a:gd name="connsiteX3" fmla="*/ 371367 w 435077"/>
                <a:gd name="connsiteY3" fmla="*/ 281253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3 h 435077"/>
                <a:gd name="connsiteX8" fmla="*/ 217376 w 435077"/>
                <a:gd name="connsiteY8" fmla="*/ 217539 h 435077"/>
                <a:gd name="connsiteX9" fmla="*/ 0 w 435077"/>
                <a:gd name="connsiteY9" fmla="*/ 217539 h 435077"/>
                <a:gd name="connsiteX10" fmla="*/ 63712 w 435077"/>
                <a:gd name="connsiteY10" fmla="*/ 63714 h 435077"/>
                <a:gd name="connsiteX11" fmla="*/ 217539 w 435077"/>
                <a:gd name="connsiteY11" fmla="*/ 0 h 435077"/>
                <a:gd name="connsiteX12" fmla="*/ 371367 w 435077"/>
                <a:gd name="connsiteY12" fmla="*/ 63714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7" y="63714"/>
                  </a:moveTo>
                  <a:cubicBezTo>
                    <a:pt x="412155" y="104511"/>
                    <a:pt x="435077" y="159842"/>
                    <a:pt x="435077" y="217539"/>
                  </a:cubicBezTo>
                  <a:lnTo>
                    <a:pt x="217703" y="217539"/>
                  </a:lnTo>
                  <a:cubicBezTo>
                    <a:pt x="275351" y="217582"/>
                    <a:pt x="330605" y="240497"/>
                    <a:pt x="371367" y="281253"/>
                  </a:cubicBezTo>
                  <a:cubicBezTo>
                    <a:pt x="412155" y="322050"/>
                    <a:pt x="435077" y="377381"/>
                    <a:pt x="435077" y="435077"/>
                  </a:cubicBezTo>
                  <a:lnTo>
                    <a:pt x="217539" y="435077"/>
                  </a:lnTo>
                  <a:lnTo>
                    <a:pt x="0" y="435077"/>
                  </a:lnTo>
                  <a:cubicBezTo>
                    <a:pt x="0" y="377381"/>
                    <a:pt x="22924" y="322050"/>
                    <a:pt x="63712" y="281253"/>
                  </a:cubicBezTo>
                  <a:cubicBezTo>
                    <a:pt x="104474" y="240497"/>
                    <a:pt x="159755" y="217582"/>
                    <a:pt x="217376" y="217539"/>
                  </a:cubicBezTo>
                  <a:lnTo>
                    <a:pt x="0" y="217539"/>
                  </a:lnTo>
                  <a:cubicBezTo>
                    <a:pt x="0" y="159842"/>
                    <a:pt x="22924" y="104511"/>
                    <a:pt x="63712" y="63714"/>
                  </a:cubicBezTo>
                  <a:cubicBezTo>
                    <a:pt x="104529" y="22918"/>
                    <a:pt x="159838" y="0"/>
                    <a:pt x="217539" y="0"/>
                  </a:cubicBezTo>
                  <a:cubicBezTo>
                    <a:pt x="275241" y="0"/>
                    <a:pt x="330578" y="22918"/>
                    <a:pt x="371367" y="63714"/>
                  </a:cubicBezTo>
                  <a:close/>
                </a:path>
              </a:pathLst>
            </a:custGeom>
            <a:grpFill/>
            <a:ln w="27192" cap="flat">
              <a:noFill/>
              <a:prstDash val="solid"/>
              <a:miter/>
            </a:ln>
          </p:spPr>
          <p:txBody>
            <a:bodyPr rtlCol="0" anchor="ctr"/>
            <a:lstStyle/>
            <a:p>
              <a:endParaRPr lang="uk-UA" sz="900"/>
            </a:p>
          </p:txBody>
        </p:sp>
        <p:sp>
          <p:nvSpPr>
            <p:cNvPr id="614" name="Freeform: Shape 613">
              <a:extLst>
                <a:ext uri="{FF2B5EF4-FFF2-40B4-BE49-F238E27FC236}">
                  <a16:creationId xmlns:a16="http://schemas.microsoft.com/office/drawing/2014/main" id="{FADEAB07-560D-28C5-195D-FD932435C82A}"/>
                </a:ext>
              </a:extLst>
            </p:cNvPr>
            <p:cNvSpPr/>
            <p:nvPr/>
          </p:nvSpPr>
          <p:spPr>
            <a:xfrm>
              <a:off x="23460039" y="1968909"/>
              <a:ext cx="435077" cy="435074"/>
            </a:xfrm>
            <a:custGeom>
              <a:avLst/>
              <a:gdLst>
                <a:gd name="connsiteX0" fmla="*/ 217539 w 435077"/>
                <a:gd name="connsiteY0" fmla="*/ 217533 h 435074"/>
                <a:gd name="connsiteX1" fmla="*/ 217539 w 435077"/>
                <a:gd name="connsiteY1" fmla="*/ 0 h 435074"/>
                <a:gd name="connsiteX2" fmla="*/ 0 w 435077"/>
                <a:gd name="connsiteY2" fmla="*/ 0 h 435074"/>
                <a:gd name="connsiteX3" fmla="*/ 217539 w 435077"/>
                <a:gd name="connsiteY3" fmla="*/ 217539 h 435074"/>
                <a:gd name="connsiteX4" fmla="*/ 0 w 435077"/>
                <a:gd name="connsiteY4" fmla="*/ 435075 h 435074"/>
                <a:gd name="connsiteX5" fmla="*/ 217510 w 435077"/>
                <a:gd name="connsiteY5" fmla="*/ 435075 h 435074"/>
                <a:gd name="connsiteX6" fmla="*/ 217510 w 435077"/>
                <a:gd name="connsiteY6" fmla="*/ 435072 h 435074"/>
                <a:gd name="connsiteX7" fmla="*/ 435049 w 435077"/>
                <a:gd name="connsiteY7" fmla="*/ 217541 h 435074"/>
                <a:gd name="connsiteX8" fmla="*/ 435077 w 435077"/>
                <a:gd name="connsiteY8" fmla="*/ 217541 h 435074"/>
                <a:gd name="connsiteX9" fmla="*/ 435049 w 435077"/>
                <a:gd name="connsiteY9" fmla="*/ 217536 h 435074"/>
                <a:gd name="connsiteX10" fmla="*/ 435049 w 435077"/>
                <a:gd name="connsiteY10" fmla="*/ 217533 h 435074"/>
                <a:gd name="connsiteX11" fmla="*/ 435049 w 435077"/>
                <a:gd name="connsiteY11" fmla="*/ 217533 h 435074"/>
                <a:gd name="connsiteX12" fmla="*/ 217539 w 435077"/>
                <a:gd name="connsiteY12" fmla="*/ 3 h 435074"/>
                <a:gd name="connsiteX13" fmla="*/ 217539 w 435077"/>
                <a:gd name="connsiteY13" fmla="*/ 217533 h 435074"/>
                <a:gd name="connsiteX14" fmla="*/ 217539 w 435077"/>
                <a:gd name="connsiteY14" fmla="*/ 217533 h 43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4">
                  <a:moveTo>
                    <a:pt x="217539" y="217533"/>
                  </a:moveTo>
                  <a:lnTo>
                    <a:pt x="217539" y="0"/>
                  </a:lnTo>
                  <a:lnTo>
                    <a:pt x="0" y="0"/>
                  </a:lnTo>
                  <a:lnTo>
                    <a:pt x="217539" y="217539"/>
                  </a:lnTo>
                  <a:lnTo>
                    <a:pt x="0" y="435075"/>
                  </a:lnTo>
                  <a:lnTo>
                    <a:pt x="217510" y="435075"/>
                  </a:lnTo>
                  <a:lnTo>
                    <a:pt x="217510" y="435072"/>
                  </a:lnTo>
                  <a:lnTo>
                    <a:pt x="435049" y="217541"/>
                  </a:lnTo>
                  <a:lnTo>
                    <a:pt x="435077" y="217541"/>
                  </a:lnTo>
                  <a:lnTo>
                    <a:pt x="435049" y="217536"/>
                  </a:lnTo>
                  <a:lnTo>
                    <a:pt x="435049" y="217533"/>
                  </a:lnTo>
                  <a:lnTo>
                    <a:pt x="435049" y="217533"/>
                  </a:lnTo>
                  <a:lnTo>
                    <a:pt x="217539" y="3"/>
                  </a:lnTo>
                  <a:lnTo>
                    <a:pt x="217539" y="217533"/>
                  </a:lnTo>
                  <a:lnTo>
                    <a:pt x="217539" y="217533"/>
                  </a:lnTo>
                  <a:close/>
                </a:path>
              </a:pathLst>
            </a:custGeom>
            <a:grpFill/>
            <a:ln w="27192" cap="flat">
              <a:noFill/>
              <a:prstDash val="solid"/>
              <a:miter/>
            </a:ln>
          </p:spPr>
          <p:txBody>
            <a:bodyPr rtlCol="0" anchor="ctr"/>
            <a:lstStyle/>
            <a:p>
              <a:endParaRPr lang="uk-UA" sz="900"/>
            </a:p>
          </p:txBody>
        </p:sp>
        <p:sp>
          <p:nvSpPr>
            <p:cNvPr id="615" name="Freeform: Shape 614">
              <a:extLst>
                <a:ext uri="{FF2B5EF4-FFF2-40B4-BE49-F238E27FC236}">
                  <a16:creationId xmlns:a16="http://schemas.microsoft.com/office/drawing/2014/main" id="{2D608A7D-B4F0-ED5A-33AB-AC8888F70B24}"/>
                </a:ext>
              </a:extLst>
            </p:cNvPr>
            <p:cNvSpPr/>
            <p:nvPr/>
          </p:nvSpPr>
          <p:spPr>
            <a:xfrm>
              <a:off x="24330194" y="1968909"/>
              <a:ext cx="435077" cy="435077"/>
            </a:xfrm>
            <a:custGeom>
              <a:avLst/>
              <a:gdLst>
                <a:gd name="connsiteX0" fmla="*/ 0 w 435077"/>
                <a:gd name="connsiteY0" fmla="*/ 435077 h 435077"/>
                <a:gd name="connsiteX1" fmla="*/ 217539 w 435077"/>
                <a:gd name="connsiteY1" fmla="*/ 435077 h 435077"/>
                <a:gd name="connsiteX2" fmla="*/ 217539 w 435077"/>
                <a:gd name="connsiteY2" fmla="*/ 217547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28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47 h 435077"/>
                <a:gd name="connsiteX11" fmla="*/ 435077 w 435077"/>
                <a:gd name="connsiteY11" fmla="*/ 435077 h 435077"/>
                <a:gd name="connsiteX12" fmla="*/ 435077 w 435077"/>
                <a:gd name="connsiteY12" fmla="*/ 3 h 435077"/>
                <a:gd name="connsiteX13" fmla="*/ 217539 w 435077"/>
                <a:gd name="connsiteY13" fmla="*/ 3 h 435077"/>
                <a:gd name="connsiteX14" fmla="*/ 435077 w 435077"/>
                <a:gd name="connsiteY14" fmla="*/ 217531 h 435077"/>
                <a:gd name="connsiteX15" fmla="*/ 435077 w 435077"/>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47"/>
                  </a:lnTo>
                  <a:lnTo>
                    <a:pt x="0" y="435077"/>
                  </a:lnTo>
                  <a:close/>
                  <a:moveTo>
                    <a:pt x="217539" y="0"/>
                  </a:moveTo>
                  <a:lnTo>
                    <a:pt x="0" y="0"/>
                  </a:lnTo>
                  <a:lnTo>
                    <a:pt x="217539" y="217528"/>
                  </a:lnTo>
                  <a:lnTo>
                    <a:pt x="217539" y="0"/>
                  </a:lnTo>
                  <a:close/>
                  <a:moveTo>
                    <a:pt x="435077" y="435077"/>
                  </a:moveTo>
                  <a:lnTo>
                    <a:pt x="217539" y="435077"/>
                  </a:lnTo>
                  <a:lnTo>
                    <a:pt x="435077" y="217547"/>
                  </a:lnTo>
                  <a:lnTo>
                    <a:pt x="435077" y="435077"/>
                  </a:lnTo>
                  <a:close/>
                  <a:moveTo>
                    <a:pt x="435077" y="3"/>
                  </a:moveTo>
                  <a:lnTo>
                    <a:pt x="217539" y="3"/>
                  </a:lnTo>
                  <a:lnTo>
                    <a:pt x="435077" y="217531"/>
                  </a:lnTo>
                  <a:lnTo>
                    <a:pt x="435077" y="3"/>
                  </a:lnTo>
                  <a:close/>
                </a:path>
              </a:pathLst>
            </a:custGeom>
            <a:grpFill/>
            <a:ln w="27192" cap="flat">
              <a:noFill/>
              <a:prstDash val="solid"/>
              <a:miter/>
            </a:ln>
          </p:spPr>
          <p:txBody>
            <a:bodyPr rtlCol="0" anchor="ctr"/>
            <a:lstStyle/>
            <a:p>
              <a:endParaRPr lang="uk-UA" sz="900"/>
            </a:p>
          </p:txBody>
        </p:sp>
        <p:sp>
          <p:nvSpPr>
            <p:cNvPr id="616" name="Freeform: Shape 615">
              <a:extLst>
                <a:ext uri="{FF2B5EF4-FFF2-40B4-BE49-F238E27FC236}">
                  <a16:creationId xmlns:a16="http://schemas.microsoft.com/office/drawing/2014/main" id="{27FC2AD1-3357-BC4D-9411-CB362ACD6F72}"/>
                </a:ext>
              </a:extLst>
            </p:cNvPr>
            <p:cNvSpPr/>
            <p:nvPr/>
          </p:nvSpPr>
          <p:spPr>
            <a:xfrm>
              <a:off x="835769" y="2839064"/>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3 h 435077"/>
                <a:gd name="connsiteX6" fmla="*/ 217511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3"/>
                  </a:lnTo>
                  <a:lnTo>
                    <a:pt x="217511" y="217539"/>
                  </a:lnTo>
                  <a:lnTo>
                    <a:pt x="0" y="435077"/>
                  </a:lnTo>
                  <a:close/>
                </a:path>
              </a:pathLst>
            </a:custGeom>
            <a:grpFill/>
            <a:ln w="27192" cap="flat">
              <a:noFill/>
              <a:prstDash val="solid"/>
              <a:miter/>
            </a:ln>
          </p:spPr>
          <p:txBody>
            <a:bodyPr rtlCol="0" anchor="ctr"/>
            <a:lstStyle/>
            <a:p>
              <a:endParaRPr lang="uk-UA" sz="900"/>
            </a:p>
          </p:txBody>
        </p:sp>
        <p:sp>
          <p:nvSpPr>
            <p:cNvPr id="617" name="Freeform: Shape 616">
              <a:extLst>
                <a:ext uri="{FF2B5EF4-FFF2-40B4-BE49-F238E27FC236}">
                  <a16:creationId xmlns:a16="http://schemas.microsoft.com/office/drawing/2014/main" id="{80C52DC7-E2BA-BEDF-A1E3-471275E787E9}"/>
                </a:ext>
              </a:extLst>
            </p:cNvPr>
            <p:cNvSpPr/>
            <p:nvPr/>
          </p:nvSpPr>
          <p:spPr>
            <a:xfrm>
              <a:off x="-34398" y="2839064"/>
              <a:ext cx="435090" cy="435077"/>
            </a:xfrm>
            <a:custGeom>
              <a:avLst/>
              <a:gdLst>
                <a:gd name="connsiteX0" fmla="*/ 0 w 435090"/>
                <a:gd name="connsiteY0" fmla="*/ 435077 h 435077"/>
                <a:gd name="connsiteX1" fmla="*/ 0 w 435090"/>
                <a:gd name="connsiteY1" fmla="*/ 0 h 435077"/>
                <a:gd name="connsiteX2" fmla="*/ 217525 w 435090"/>
                <a:gd name="connsiteY2" fmla="*/ 217539 h 435077"/>
                <a:gd name="connsiteX3" fmla="*/ 0 w 435090"/>
                <a:gd name="connsiteY3" fmla="*/ 435077 h 435077"/>
                <a:gd name="connsiteX4" fmla="*/ 217552 w 435090"/>
                <a:gd name="connsiteY4" fmla="*/ 435077 h 435077"/>
                <a:gd name="connsiteX5" fmla="*/ 217552 w 435090"/>
                <a:gd name="connsiteY5" fmla="*/ 0 h 435077"/>
                <a:gd name="connsiteX6" fmla="*/ 435091 w 435090"/>
                <a:gd name="connsiteY6" fmla="*/ 217539 h 435077"/>
                <a:gd name="connsiteX7" fmla="*/ 217552 w 435090"/>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90" h="435077">
                  <a:moveTo>
                    <a:pt x="0" y="435077"/>
                  </a:moveTo>
                  <a:lnTo>
                    <a:pt x="0" y="0"/>
                  </a:lnTo>
                  <a:lnTo>
                    <a:pt x="217525" y="217539"/>
                  </a:lnTo>
                  <a:lnTo>
                    <a:pt x="0" y="435077"/>
                  </a:lnTo>
                  <a:close/>
                  <a:moveTo>
                    <a:pt x="217552" y="435077"/>
                  </a:moveTo>
                  <a:lnTo>
                    <a:pt x="217552" y="0"/>
                  </a:lnTo>
                  <a:lnTo>
                    <a:pt x="435091" y="217539"/>
                  </a:lnTo>
                  <a:lnTo>
                    <a:pt x="217552" y="435077"/>
                  </a:lnTo>
                  <a:close/>
                </a:path>
              </a:pathLst>
            </a:custGeom>
            <a:grpFill/>
            <a:ln w="27192" cap="flat">
              <a:noFill/>
              <a:prstDash val="solid"/>
              <a:miter/>
            </a:ln>
          </p:spPr>
          <p:txBody>
            <a:bodyPr rtlCol="0" anchor="ctr"/>
            <a:lstStyle/>
            <a:p>
              <a:endParaRPr lang="uk-UA" sz="900"/>
            </a:p>
          </p:txBody>
        </p:sp>
        <p:sp>
          <p:nvSpPr>
            <p:cNvPr id="618" name="Freeform: Shape 617">
              <a:extLst>
                <a:ext uri="{FF2B5EF4-FFF2-40B4-BE49-F238E27FC236}">
                  <a16:creationId xmlns:a16="http://schemas.microsoft.com/office/drawing/2014/main" id="{D2DFAC8A-35E6-A698-DB14-165F6F5288B6}"/>
                </a:ext>
              </a:extLst>
            </p:cNvPr>
            <p:cNvSpPr/>
            <p:nvPr/>
          </p:nvSpPr>
          <p:spPr>
            <a:xfrm>
              <a:off x="1705924" y="2839064"/>
              <a:ext cx="435077" cy="435077"/>
            </a:xfrm>
            <a:custGeom>
              <a:avLst/>
              <a:gdLst>
                <a:gd name="connsiteX0" fmla="*/ 63711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1 w 435077"/>
                <a:gd name="connsiteY6" fmla="*/ 153827 h 435077"/>
                <a:gd name="connsiteX7" fmla="*/ 63711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1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1" y="153827"/>
                  </a:moveTo>
                  <a:cubicBezTo>
                    <a:pt x="22923" y="113038"/>
                    <a:pt x="0" y="57694"/>
                    <a:pt x="0" y="0"/>
                  </a:cubicBezTo>
                  <a:lnTo>
                    <a:pt x="217539" y="0"/>
                  </a:lnTo>
                  <a:lnTo>
                    <a:pt x="435077" y="0"/>
                  </a:lnTo>
                  <a:cubicBezTo>
                    <a:pt x="435077" y="57694"/>
                    <a:pt x="412154" y="113038"/>
                    <a:pt x="371366" y="153827"/>
                  </a:cubicBezTo>
                  <a:cubicBezTo>
                    <a:pt x="330577" y="194616"/>
                    <a:pt x="275241" y="217539"/>
                    <a:pt x="217539" y="217539"/>
                  </a:cubicBezTo>
                  <a:cubicBezTo>
                    <a:pt x="159836" y="217539"/>
                    <a:pt x="104527" y="194616"/>
                    <a:pt x="63711" y="153827"/>
                  </a:cubicBezTo>
                  <a:close/>
                  <a:moveTo>
                    <a:pt x="63711" y="281250"/>
                  </a:moveTo>
                  <a:cubicBezTo>
                    <a:pt x="22923" y="322039"/>
                    <a:pt x="0" y="377375"/>
                    <a:pt x="0" y="435077"/>
                  </a:cubicBezTo>
                  <a:lnTo>
                    <a:pt x="217539" y="435077"/>
                  </a:lnTo>
                  <a:lnTo>
                    <a:pt x="435077" y="435077"/>
                  </a:lnTo>
                  <a:cubicBezTo>
                    <a:pt x="435077" y="377375"/>
                    <a:pt x="412154" y="322039"/>
                    <a:pt x="371366" y="281250"/>
                  </a:cubicBezTo>
                  <a:cubicBezTo>
                    <a:pt x="330577" y="240462"/>
                    <a:pt x="275241" y="217539"/>
                    <a:pt x="217539" y="217539"/>
                  </a:cubicBezTo>
                  <a:cubicBezTo>
                    <a:pt x="159836" y="217539"/>
                    <a:pt x="104527" y="240462"/>
                    <a:pt x="63711" y="281250"/>
                  </a:cubicBezTo>
                  <a:close/>
                </a:path>
              </a:pathLst>
            </a:custGeom>
            <a:grpFill/>
            <a:ln w="27192" cap="flat">
              <a:noFill/>
              <a:prstDash val="solid"/>
              <a:miter/>
            </a:ln>
          </p:spPr>
          <p:txBody>
            <a:bodyPr rtlCol="0" anchor="ctr"/>
            <a:lstStyle/>
            <a:p>
              <a:endParaRPr lang="uk-UA" sz="900"/>
            </a:p>
          </p:txBody>
        </p:sp>
        <p:sp>
          <p:nvSpPr>
            <p:cNvPr id="619" name="Freeform: Shape 618">
              <a:extLst>
                <a:ext uri="{FF2B5EF4-FFF2-40B4-BE49-F238E27FC236}">
                  <a16:creationId xmlns:a16="http://schemas.microsoft.com/office/drawing/2014/main" id="{A62F9D5F-6595-02DE-83EB-5430F8A931EA}"/>
                </a:ext>
              </a:extLst>
            </p:cNvPr>
            <p:cNvSpPr/>
            <p:nvPr/>
          </p:nvSpPr>
          <p:spPr>
            <a:xfrm>
              <a:off x="2576106" y="2839064"/>
              <a:ext cx="435077" cy="435077"/>
            </a:xfrm>
            <a:custGeom>
              <a:avLst/>
              <a:gdLst>
                <a:gd name="connsiteX0" fmla="*/ 435077 w 435077"/>
                <a:gd name="connsiteY0" fmla="*/ 435077 h 435077"/>
                <a:gd name="connsiteX1" fmla="*/ 435077 w 435077"/>
                <a:gd name="connsiteY1" fmla="*/ 217539 h 435077"/>
                <a:gd name="connsiteX2" fmla="*/ 435077 w 435077"/>
                <a:gd name="connsiteY2" fmla="*/ 14 h 435077"/>
                <a:gd name="connsiteX3" fmla="*/ 217539 w 435077"/>
                <a:gd name="connsiteY3" fmla="*/ 14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14"/>
                  </a:lnTo>
                  <a:lnTo>
                    <a:pt x="217539" y="14"/>
                  </a:lnTo>
                  <a:lnTo>
                    <a:pt x="435077" y="217539"/>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620" name="Freeform: Shape 619">
              <a:extLst>
                <a:ext uri="{FF2B5EF4-FFF2-40B4-BE49-F238E27FC236}">
                  <a16:creationId xmlns:a16="http://schemas.microsoft.com/office/drawing/2014/main" id="{901DCABD-319D-A226-B92E-4CC73C0C4729}"/>
                </a:ext>
              </a:extLst>
            </p:cNvPr>
            <p:cNvSpPr/>
            <p:nvPr/>
          </p:nvSpPr>
          <p:spPr>
            <a:xfrm>
              <a:off x="4316442" y="2839064"/>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3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3"/>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621" name="Freeform: Shape 620">
              <a:extLst>
                <a:ext uri="{FF2B5EF4-FFF2-40B4-BE49-F238E27FC236}">
                  <a16:creationId xmlns:a16="http://schemas.microsoft.com/office/drawing/2014/main" id="{BFCFFB58-349F-2CCC-6DA7-02C1BC21EDE1}"/>
                </a:ext>
              </a:extLst>
            </p:cNvPr>
            <p:cNvSpPr/>
            <p:nvPr/>
          </p:nvSpPr>
          <p:spPr>
            <a:xfrm>
              <a:off x="3446261" y="2839064"/>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622" name="Freeform: Shape 621">
              <a:extLst>
                <a:ext uri="{FF2B5EF4-FFF2-40B4-BE49-F238E27FC236}">
                  <a16:creationId xmlns:a16="http://schemas.microsoft.com/office/drawing/2014/main" id="{14942195-8566-0430-22BC-A2BB1D6B96A5}"/>
                </a:ext>
              </a:extLst>
            </p:cNvPr>
            <p:cNvSpPr/>
            <p:nvPr/>
          </p:nvSpPr>
          <p:spPr>
            <a:xfrm>
              <a:off x="5186597" y="283906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8"/>
                    <a:pt x="0" y="57694"/>
                    <a:pt x="0" y="0"/>
                  </a:cubicBezTo>
                  <a:lnTo>
                    <a:pt x="217539" y="0"/>
                  </a:lnTo>
                  <a:lnTo>
                    <a:pt x="435077" y="0"/>
                  </a:lnTo>
                  <a:cubicBezTo>
                    <a:pt x="435077" y="57694"/>
                    <a:pt x="412155" y="113038"/>
                    <a:pt x="371366" y="153827"/>
                  </a:cubicBezTo>
                  <a:cubicBezTo>
                    <a:pt x="330550" y="194616"/>
                    <a:pt x="275241" y="217539"/>
                    <a:pt x="217539" y="217539"/>
                  </a:cubicBezTo>
                  <a:cubicBezTo>
                    <a:pt x="159837" y="217539"/>
                    <a:pt x="104501" y="194616"/>
                    <a:pt x="63712" y="153827"/>
                  </a:cubicBezTo>
                  <a:close/>
                  <a:moveTo>
                    <a:pt x="63712" y="281250"/>
                  </a:moveTo>
                  <a:cubicBezTo>
                    <a:pt x="22924" y="322039"/>
                    <a:pt x="0" y="377375"/>
                    <a:pt x="0" y="435077"/>
                  </a:cubicBezTo>
                  <a:lnTo>
                    <a:pt x="217539" y="435077"/>
                  </a:lnTo>
                  <a:lnTo>
                    <a:pt x="435077" y="435077"/>
                  </a:lnTo>
                  <a:cubicBezTo>
                    <a:pt x="435077" y="377375"/>
                    <a:pt x="412155" y="322039"/>
                    <a:pt x="371366" y="281250"/>
                  </a:cubicBezTo>
                  <a:cubicBezTo>
                    <a:pt x="330550" y="240462"/>
                    <a:pt x="275241" y="217539"/>
                    <a:pt x="217539" y="217539"/>
                  </a:cubicBezTo>
                  <a:cubicBezTo>
                    <a:pt x="159837" y="217539"/>
                    <a:pt x="104501" y="240462"/>
                    <a:pt x="63712" y="281250"/>
                  </a:cubicBezTo>
                  <a:close/>
                </a:path>
              </a:pathLst>
            </a:custGeom>
            <a:grpFill/>
            <a:ln w="27192" cap="flat">
              <a:noFill/>
              <a:prstDash val="solid"/>
              <a:miter/>
            </a:ln>
          </p:spPr>
          <p:txBody>
            <a:bodyPr rtlCol="0" anchor="ctr"/>
            <a:lstStyle/>
            <a:p>
              <a:endParaRPr lang="uk-UA" sz="900"/>
            </a:p>
          </p:txBody>
        </p:sp>
        <p:sp>
          <p:nvSpPr>
            <p:cNvPr id="623" name="Freeform: Shape 622">
              <a:extLst>
                <a:ext uri="{FF2B5EF4-FFF2-40B4-BE49-F238E27FC236}">
                  <a16:creationId xmlns:a16="http://schemas.microsoft.com/office/drawing/2014/main" id="{6ABC68CC-D917-CF96-8440-E74CCAD6E270}"/>
                </a:ext>
              </a:extLst>
            </p:cNvPr>
            <p:cNvSpPr/>
            <p:nvPr/>
          </p:nvSpPr>
          <p:spPr>
            <a:xfrm>
              <a:off x="6056752" y="2839064"/>
              <a:ext cx="435077" cy="435077"/>
            </a:xfrm>
            <a:custGeom>
              <a:avLst/>
              <a:gdLst>
                <a:gd name="connsiteX0" fmla="*/ 435077 w 435077"/>
                <a:gd name="connsiteY0" fmla="*/ 435077 h 435077"/>
                <a:gd name="connsiteX1" fmla="*/ 435077 w 435077"/>
                <a:gd name="connsiteY1" fmla="*/ 217539 h 435077"/>
                <a:gd name="connsiteX2" fmla="*/ 435077 w 435077"/>
                <a:gd name="connsiteY2" fmla="*/ 14 h 435077"/>
                <a:gd name="connsiteX3" fmla="*/ 217539 w 435077"/>
                <a:gd name="connsiteY3" fmla="*/ 14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14"/>
                  </a:lnTo>
                  <a:lnTo>
                    <a:pt x="217539" y="14"/>
                  </a:lnTo>
                  <a:lnTo>
                    <a:pt x="435077" y="217539"/>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624" name="Freeform: Shape 623">
              <a:extLst>
                <a:ext uri="{FF2B5EF4-FFF2-40B4-BE49-F238E27FC236}">
                  <a16:creationId xmlns:a16="http://schemas.microsoft.com/office/drawing/2014/main" id="{71FE1F97-B46B-2621-AB22-F13F4154D377}"/>
                </a:ext>
              </a:extLst>
            </p:cNvPr>
            <p:cNvSpPr/>
            <p:nvPr/>
          </p:nvSpPr>
          <p:spPr>
            <a:xfrm>
              <a:off x="7797089" y="2839064"/>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3 h 435077"/>
                <a:gd name="connsiteX6" fmla="*/ 217511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3"/>
                  </a:lnTo>
                  <a:lnTo>
                    <a:pt x="217511" y="217539"/>
                  </a:lnTo>
                  <a:lnTo>
                    <a:pt x="0" y="435077"/>
                  </a:lnTo>
                  <a:close/>
                </a:path>
              </a:pathLst>
            </a:custGeom>
            <a:grpFill/>
            <a:ln w="27192" cap="flat">
              <a:noFill/>
              <a:prstDash val="solid"/>
              <a:miter/>
            </a:ln>
          </p:spPr>
          <p:txBody>
            <a:bodyPr rtlCol="0" anchor="ctr"/>
            <a:lstStyle/>
            <a:p>
              <a:endParaRPr lang="uk-UA" sz="900"/>
            </a:p>
          </p:txBody>
        </p:sp>
        <p:sp>
          <p:nvSpPr>
            <p:cNvPr id="625" name="Freeform: Shape 624">
              <a:extLst>
                <a:ext uri="{FF2B5EF4-FFF2-40B4-BE49-F238E27FC236}">
                  <a16:creationId xmlns:a16="http://schemas.microsoft.com/office/drawing/2014/main" id="{5E4FD793-FB49-3570-8BB8-1B70E98A1F5A}"/>
                </a:ext>
              </a:extLst>
            </p:cNvPr>
            <p:cNvSpPr/>
            <p:nvPr/>
          </p:nvSpPr>
          <p:spPr>
            <a:xfrm>
              <a:off x="6926907" y="2839064"/>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626" name="Freeform: Shape 625">
              <a:extLst>
                <a:ext uri="{FF2B5EF4-FFF2-40B4-BE49-F238E27FC236}">
                  <a16:creationId xmlns:a16="http://schemas.microsoft.com/office/drawing/2014/main" id="{0D01165E-2C4C-FC33-7D47-FC3114C51BBE}"/>
                </a:ext>
              </a:extLst>
            </p:cNvPr>
            <p:cNvSpPr/>
            <p:nvPr/>
          </p:nvSpPr>
          <p:spPr>
            <a:xfrm>
              <a:off x="8667217" y="2839064"/>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39 w 435077"/>
                <a:gd name="connsiteY6" fmla="*/ 153827 h 435077"/>
                <a:gd name="connsiteX7" fmla="*/ 63739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39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4" y="113038"/>
                    <a:pt x="0" y="57694"/>
                    <a:pt x="0" y="0"/>
                  </a:cubicBezTo>
                  <a:lnTo>
                    <a:pt x="217539" y="0"/>
                  </a:lnTo>
                  <a:lnTo>
                    <a:pt x="435077" y="0"/>
                  </a:lnTo>
                  <a:cubicBezTo>
                    <a:pt x="435077" y="57694"/>
                    <a:pt x="412182" y="113038"/>
                    <a:pt x="371366" y="153827"/>
                  </a:cubicBezTo>
                  <a:cubicBezTo>
                    <a:pt x="330578" y="194616"/>
                    <a:pt x="275241" y="217539"/>
                    <a:pt x="217539" y="217539"/>
                  </a:cubicBezTo>
                  <a:cubicBezTo>
                    <a:pt x="159864" y="217539"/>
                    <a:pt x="104527" y="194616"/>
                    <a:pt x="63739" y="153827"/>
                  </a:cubicBezTo>
                  <a:close/>
                  <a:moveTo>
                    <a:pt x="63739" y="281250"/>
                  </a:moveTo>
                  <a:cubicBezTo>
                    <a:pt x="22924" y="322039"/>
                    <a:pt x="0" y="377375"/>
                    <a:pt x="0" y="435077"/>
                  </a:cubicBezTo>
                  <a:lnTo>
                    <a:pt x="217539" y="435077"/>
                  </a:lnTo>
                  <a:lnTo>
                    <a:pt x="435077" y="435077"/>
                  </a:lnTo>
                  <a:cubicBezTo>
                    <a:pt x="435077" y="377375"/>
                    <a:pt x="412182" y="322039"/>
                    <a:pt x="371366" y="281250"/>
                  </a:cubicBezTo>
                  <a:cubicBezTo>
                    <a:pt x="330578" y="240462"/>
                    <a:pt x="275241" y="217539"/>
                    <a:pt x="217539" y="217539"/>
                  </a:cubicBezTo>
                  <a:cubicBezTo>
                    <a:pt x="159864" y="217539"/>
                    <a:pt x="104527" y="240462"/>
                    <a:pt x="63739" y="281250"/>
                  </a:cubicBezTo>
                  <a:close/>
                </a:path>
              </a:pathLst>
            </a:custGeom>
            <a:grpFill/>
            <a:ln w="27192" cap="flat">
              <a:noFill/>
              <a:prstDash val="solid"/>
              <a:miter/>
            </a:ln>
          </p:spPr>
          <p:txBody>
            <a:bodyPr rtlCol="0" anchor="ctr"/>
            <a:lstStyle/>
            <a:p>
              <a:endParaRPr lang="uk-UA" sz="900"/>
            </a:p>
          </p:txBody>
        </p:sp>
        <p:sp>
          <p:nvSpPr>
            <p:cNvPr id="627" name="Freeform: Shape 626">
              <a:extLst>
                <a:ext uri="{FF2B5EF4-FFF2-40B4-BE49-F238E27FC236}">
                  <a16:creationId xmlns:a16="http://schemas.microsoft.com/office/drawing/2014/main" id="{02C5E79B-1953-918D-90D4-FC16199DAB04}"/>
                </a:ext>
              </a:extLst>
            </p:cNvPr>
            <p:cNvSpPr/>
            <p:nvPr/>
          </p:nvSpPr>
          <p:spPr>
            <a:xfrm>
              <a:off x="9537399" y="2839064"/>
              <a:ext cx="435077" cy="435077"/>
            </a:xfrm>
            <a:custGeom>
              <a:avLst/>
              <a:gdLst>
                <a:gd name="connsiteX0" fmla="*/ 435077 w 435077"/>
                <a:gd name="connsiteY0" fmla="*/ 435077 h 435077"/>
                <a:gd name="connsiteX1" fmla="*/ 435077 w 435077"/>
                <a:gd name="connsiteY1" fmla="*/ 217539 h 435077"/>
                <a:gd name="connsiteX2" fmla="*/ 435077 w 435077"/>
                <a:gd name="connsiteY2" fmla="*/ 14 h 435077"/>
                <a:gd name="connsiteX3" fmla="*/ 217539 w 435077"/>
                <a:gd name="connsiteY3" fmla="*/ 14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1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1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14"/>
                  </a:lnTo>
                  <a:lnTo>
                    <a:pt x="217539" y="14"/>
                  </a:lnTo>
                  <a:lnTo>
                    <a:pt x="435077" y="217539"/>
                  </a:lnTo>
                  <a:lnTo>
                    <a:pt x="217539" y="435077"/>
                  </a:lnTo>
                  <a:lnTo>
                    <a:pt x="435077" y="435077"/>
                  </a:lnTo>
                  <a:close/>
                  <a:moveTo>
                    <a:pt x="0" y="217539"/>
                  </a:moveTo>
                  <a:lnTo>
                    <a:pt x="0" y="0"/>
                  </a:lnTo>
                  <a:lnTo>
                    <a:pt x="217511" y="217539"/>
                  </a:lnTo>
                  <a:lnTo>
                    <a:pt x="0" y="217539"/>
                  </a:lnTo>
                  <a:close/>
                  <a:moveTo>
                    <a:pt x="0" y="435077"/>
                  </a:moveTo>
                  <a:lnTo>
                    <a:pt x="0" y="217539"/>
                  </a:lnTo>
                  <a:lnTo>
                    <a:pt x="217511" y="217539"/>
                  </a:lnTo>
                  <a:lnTo>
                    <a:pt x="0" y="435077"/>
                  </a:lnTo>
                  <a:close/>
                </a:path>
              </a:pathLst>
            </a:custGeom>
            <a:grpFill/>
            <a:ln w="27192" cap="flat">
              <a:noFill/>
              <a:prstDash val="solid"/>
              <a:miter/>
            </a:ln>
          </p:spPr>
          <p:txBody>
            <a:bodyPr rtlCol="0" anchor="ctr"/>
            <a:lstStyle/>
            <a:p>
              <a:endParaRPr lang="uk-UA" sz="900"/>
            </a:p>
          </p:txBody>
        </p:sp>
        <p:sp>
          <p:nvSpPr>
            <p:cNvPr id="628" name="Freeform: Shape 627">
              <a:extLst>
                <a:ext uri="{FF2B5EF4-FFF2-40B4-BE49-F238E27FC236}">
                  <a16:creationId xmlns:a16="http://schemas.microsoft.com/office/drawing/2014/main" id="{5D674C10-D820-BCAD-B45A-8ACF04E01732}"/>
                </a:ext>
              </a:extLst>
            </p:cNvPr>
            <p:cNvSpPr/>
            <p:nvPr/>
          </p:nvSpPr>
          <p:spPr>
            <a:xfrm>
              <a:off x="11277709" y="2839064"/>
              <a:ext cx="435077" cy="435077"/>
            </a:xfrm>
            <a:custGeom>
              <a:avLst/>
              <a:gdLst>
                <a:gd name="connsiteX0" fmla="*/ 435077 w 435077"/>
                <a:gd name="connsiteY0" fmla="*/ 435077 h 435077"/>
                <a:gd name="connsiteX1" fmla="*/ 435077 w 435077"/>
                <a:gd name="connsiteY1" fmla="*/ 0 h 435077"/>
                <a:gd name="connsiteX2" fmla="*/ 217565 w 435077"/>
                <a:gd name="connsiteY2" fmla="*/ 217539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39"/>
                  </a:lnTo>
                  <a:lnTo>
                    <a:pt x="435077" y="435077"/>
                  </a:lnTo>
                  <a:close/>
                  <a:moveTo>
                    <a:pt x="0" y="435077"/>
                  </a:moveTo>
                  <a:lnTo>
                    <a:pt x="0" y="3"/>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629" name="Freeform: Shape 628">
              <a:extLst>
                <a:ext uri="{FF2B5EF4-FFF2-40B4-BE49-F238E27FC236}">
                  <a16:creationId xmlns:a16="http://schemas.microsoft.com/office/drawing/2014/main" id="{8E5E00A3-3202-0FE6-5FD1-98BAB8CAA443}"/>
                </a:ext>
              </a:extLst>
            </p:cNvPr>
            <p:cNvSpPr/>
            <p:nvPr/>
          </p:nvSpPr>
          <p:spPr>
            <a:xfrm>
              <a:off x="10407554" y="2839064"/>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630" name="Freeform: Shape 629">
              <a:extLst>
                <a:ext uri="{FF2B5EF4-FFF2-40B4-BE49-F238E27FC236}">
                  <a16:creationId xmlns:a16="http://schemas.microsoft.com/office/drawing/2014/main" id="{2CB10AF1-E671-2076-70D9-E19C416B611D}"/>
                </a:ext>
              </a:extLst>
            </p:cNvPr>
            <p:cNvSpPr/>
            <p:nvPr/>
          </p:nvSpPr>
          <p:spPr>
            <a:xfrm>
              <a:off x="12147864" y="2839064"/>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39 w 435077"/>
                <a:gd name="connsiteY6" fmla="*/ 153827 h 435077"/>
                <a:gd name="connsiteX7" fmla="*/ 63739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0 h 435077"/>
                <a:gd name="connsiteX12" fmla="*/ 217539 w 435077"/>
                <a:gd name="connsiteY12" fmla="*/ 217539 h 435077"/>
                <a:gd name="connsiteX13" fmla="*/ 63739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2" y="113038"/>
                    <a:pt x="0" y="57694"/>
                    <a:pt x="0" y="0"/>
                  </a:cubicBezTo>
                  <a:lnTo>
                    <a:pt x="217539" y="0"/>
                  </a:lnTo>
                  <a:lnTo>
                    <a:pt x="435077" y="0"/>
                  </a:lnTo>
                  <a:cubicBezTo>
                    <a:pt x="435077" y="57694"/>
                    <a:pt x="412180" y="113038"/>
                    <a:pt x="371365" y="153827"/>
                  </a:cubicBezTo>
                  <a:cubicBezTo>
                    <a:pt x="330577" y="194616"/>
                    <a:pt x="275239" y="217539"/>
                    <a:pt x="217539" y="217539"/>
                  </a:cubicBezTo>
                  <a:cubicBezTo>
                    <a:pt x="159863" y="217539"/>
                    <a:pt x="104527" y="194616"/>
                    <a:pt x="63739" y="153827"/>
                  </a:cubicBezTo>
                  <a:close/>
                  <a:moveTo>
                    <a:pt x="63739" y="281250"/>
                  </a:moveTo>
                  <a:cubicBezTo>
                    <a:pt x="22922" y="322039"/>
                    <a:pt x="0" y="377375"/>
                    <a:pt x="0" y="435077"/>
                  </a:cubicBezTo>
                  <a:lnTo>
                    <a:pt x="217539" y="435077"/>
                  </a:lnTo>
                  <a:lnTo>
                    <a:pt x="435077" y="435077"/>
                  </a:lnTo>
                  <a:cubicBezTo>
                    <a:pt x="435077" y="377375"/>
                    <a:pt x="412180" y="322039"/>
                    <a:pt x="371365" y="281250"/>
                  </a:cubicBezTo>
                  <a:cubicBezTo>
                    <a:pt x="330577" y="240462"/>
                    <a:pt x="275239" y="217539"/>
                    <a:pt x="217539" y="217539"/>
                  </a:cubicBezTo>
                  <a:cubicBezTo>
                    <a:pt x="159863" y="217539"/>
                    <a:pt x="104527" y="240462"/>
                    <a:pt x="63739" y="281250"/>
                  </a:cubicBezTo>
                  <a:close/>
                </a:path>
              </a:pathLst>
            </a:custGeom>
            <a:grpFill/>
            <a:ln w="27192" cap="flat">
              <a:noFill/>
              <a:prstDash val="solid"/>
              <a:miter/>
            </a:ln>
          </p:spPr>
          <p:txBody>
            <a:bodyPr rtlCol="0" anchor="ctr"/>
            <a:lstStyle/>
            <a:p>
              <a:endParaRPr lang="uk-UA" sz="900"/>
            </a:p>
          </p:txBody>
        </p:sp>
        <p:sp>
          <p:nvSpPr>
            <p:cNvPr id="631" name="Freeform: Shape 630">
              <a:extLst>
                <a:ext uri="{FF2B5EF4-FFF2-40B4-BE49-F238E27FC236}">
                  <a16:creationId xmlns:a16="http://schemas.microsoft.com/office/drawing/2014/main" id="{E839A21C-ED41-7F88-27BA-4FBE066A3481}"/>
                </a:ext>
              </a:extLst>
            </p:cNvPr>
            <p:cNvSpPr/>
            <p:nvPr/>
          </p:nvSpPr>
          <p:spPr>
            <a:xfrm>
              <a:off x="13018045" y="2839064"/>
              <a:ext cx="435077" cy="435077"/>
            </a:xfrm>
            <a:custGeom>
              <a:avLst/>
              <a:gdLst>
                <a:gd name="connsiteX0" fmla="*/ 435077 w 435077"/>
                <a:gd name="connsiteY0" fmla="*/ 435077 h 435077"/>
                <a:gd name="connsiteX1" fmla="*/ 435077 w 435077"/>
                <a:gd name="connsiteY1" fmla="*/ 217539 h 435077"/>
                <a:gd name="connsiteX2" fmla="*/ 435077 w 435077"/>
                <a:gd name="connsiteY2" fmla="*/ 14 h 435077"/>
                <a:gd name="connsiteX3" fmla="*/ 217539 w 435077"/>
                <a:gd name="connsiteY3" fmla="*/ 14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14"/>
                  </a:lnTo>
                  <a:lnTo>
                    <a:pt x="217539" y="14"/>
                  </a:lnTo>
                  <a:lnTo>
                    <a:pt x="435077" y="217539"/>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632" name="Freeform: Shape 631">
              <a:extLst>
                <a:ext uri="{FF2B5EF4-FFF2-40B4-BE49-F238E27FC236}">
                  <a16:creationId xmlns:a16="http://schemas.microsoft.com/office/drawing/2014/main" id="{DD1B7FA0-3749-7953-F2B2-35567C83A651}"/>
                </a:ext>
              </a:extLst>
            </p:cNvPr>
            <p:cNvSpPr/>
            <p:nvPr/>
          </p:nvSpPr>
          <p:spPr>
            <a:xfrm>
              <a:off x="14758382" y="2839064"/>
              <a:ext cx="435077" cy="435077"/>
            </a:xfrm>
            <a:custGeom>
              <a:avLst/>
              <a:gdLst>
                <a:gd name="connsiteX0" fmla="*/ 435077 w 435077"/>
                <a:gd name="connsiteY0" fmla="*/ 435077 h 435077"/>
                <a:gd name="connsiteX1" fmla="*/ 435077 w 435077"/>
                <a:gd name="connsiteY1" fmla="*/ 0 h 435077"/>
                <a:gd name="connsiteX2" fmla="*/ 217567 w 435077"/>
                <a:gd name="connsiteY2" fmla="*/ 217539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7" y="217539"/>
                  </a:lnTo>
                  <a:lnTo>
                    <a:pt x="435077" y="435077"/>
                  </a:lnTo>
                  <a:close/>
                  <a:moveTo>
                    <a:pt x="0" y="435077"/>
                  </a:moveTo>
                  <a:lnTo>
                    <a:pt x="0" y="3"/>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633" name="Freeform: Shape 632">
              <a:extLst>
                <a:ext uri="{FF2B5EF4-FFF2-40B4-BE49-F238E27FC236}">
                  <a16:creationId xmlns:a16="http://schemas.microsoft.com/office/drawing/2014/main" id="{D9E50AF1-259B-9541-6658-B277D782145D}"/>
                </a:ext>
              </a:extLst>
            </p:cNvPr>
            <p:cNvSpPr/>
            <p:nvPr/>
          </p:nvSpPr>
          <p:spPr>
            <a:xfrm>
              <a:off x="13888200" y="2839064"/>
              <a:ext cx="435103" cy="435077"/>
            </a:xfrm>
            <a:custGeom>
              <a:avLst/>
              <a:gdLst>
                <a:gd name="connsiteX0" fmla="*/ 0 w 435103"/>
                <a:gd name="connsiteY0" fmla="*/ 435077 h 435077"/>
                <a:gd name="connsiteX1" fmla="*/ 0 w 435103"/>
                <a:gd name="connsiteY1" fmla="*/ 0 h 435077"/>
                <a:gd name="connsiteX2" fmla="*/ 217539 w 435103"/>
                <a:gd name="connsiteY2" fmla="*/ 217539 h 435077"/>
                <a:gd name="connsiteX3" fmla="*/ 0 w 435103"/>
                <a:gd name="connsiteY3" fmla="*/ 435077 h 435077"/>
                <a:gd name="connsiteX4" fmla="*/ 217565 w 435103"/>
                <a:gd name="connsiteY4" fmla="*/ 435077 h 435077"/>
                <a:gd name="connsiteX5" fmla="*/ 217565 w 435103"/>
                <a:gd name="connsiteY5" fmla="*/ 0 h 435077"/>
                <a:gd name="connsiteX6" fmla="*/ 435104 w 435103"/>
                <a:gd name="connsiteY6" fmla="*/ 217539 h 435077"/>
                <a:gd name="connsiteX7" fmla="*/ 217565 w 435103"/>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103" h="435077">
                  <a:moveTo>
                    <a:pt x="0" y="435077"/>
                  </a:moveTo>
                  <a:lnTo>
                    <a:pt x="0" y="0"/>
                  </a:lnTo>
                  <a:lnTo>
                    <a:pt x="217539" y="217539"/>
                  </a:lnTo>
                  <a:lnTo>
                    <a:pt x="0" y="435077"/>
                  </a:lnTo>
                  <a:close/>
                  <a:moveTo>
                    <a:pt x="217565" y="435077"/>
                  </a:moveTo>
                  <a:lnTo>
                    <a:pt x="217565" y="0"/>
                  </a:lnTo>
                  <a:lnTo>
                    <a:pt x="435104" y="217539"/>
                  </a:lnTo>
                  <a:lnTo>
                    <a:pt x="217565" y="435077"/>
                  </a:lnTo>
                  <a:close/>
                </a:path>
              </a:pathLst>
            </a:custGeom>
            <a:grpFill/>
            <a:ln w="27192" cap="flat">
              <a:noFill/>
              <a:prstDash val="solid"/>
              <a:miter/>
            </a:ln>
          </p:spPr>
          <p:txBody>
            <a:bodyPr rtlCol="0" anchor="ctr"/>
            <a:lstStyle/>
            <a:p>
              <a:endParaRPr lang="uk-UA" sz="900"/>
            </a:p>
          </p:txBody>
        </p:sp>
        <p:sp>
          <p:nvSpPr>
            <p:cNvPr id="634" name="Freeform: Shape 633">
              <a:extLst>
                <a:ext uri="{FF2B5EF4-FFF2-40B4-BE49-F238E27FC236}">
                  <a16:creationId xmlns:a16="http://schemas.microsoft.com/office/drawing/2014/main" id="{862AF28F-1907-6191-326F-5A416C791892}"/>
                </a:ext>
              </a:extLst>
            </p:cNvPr>
            <p:cNvSpPr/>
            <p:nvPr/>
          </p:nvSpPr>
          <p:spPr>
            <a:xfrm>
              <a:off x="15628536" y="283906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8"/>
                    <a:pt x="0" y="57694"/>
                    <a:pt x="0" y="0"/>
                  </a:cubicBezTo>
                  <a:lnTo>
                    <a:pt x="217539" y="0"/>
                  </a:lnTo>
                  <a:lnTo>
                    <a:pt x="435077" y="0"/>
                  </a:lnTo>
                  <a:cubicBezTo>
                    <a:pt x="435077" y="57694"/>
                    <a:pt x="412155" y="113038"/>
                    <a:pt x="371367" y="153827"/>
                  </a:cubicBezTo>
                  <a:cubicBezTo>
                    <a:pt x="330578" y="194616"/>
                    <a:pt x="275241" y="217539"/>
                    <a:pt x="217539" y="217539"/>
                  </a:cubicBezTo>
                  <a:cubicBezTo>
                    <a:pt x="159865" y="217539"/>
                    <a:pt x="104527" y="194616"/>
                    <a:pt x="63712" y="153827"/>
                  </a:cubicBezTo>
                  <a:close/>
                  <a:moveTo>
                    <a:pt x="63712" y="281250"/>
                  </a:moveTo>
                  <a:cubicBezTo>
                    <a:pt x="22924" y="322039"/>
                    <a:pt x="0" y="377375"/>
                    <a:pt x="0" y="435077"/>
                  </a:cubicBezTo>
                  <a:lnTo>
                    <a:pt x="217539" y="435077"/>
                  </a:lnTo>
                  <a:lnTo>
                    <a:pt x="435077" y="435077"/>
                  </a:lnTo>
                  <a:cubicBezTo>
                    <a:pt x="435077" y="377375"/>
                    <a:pt x="412155" y="322039"/>
                    <a:pt x="371367" y="281250"/>
                  </a:cubicBezTo>
                  <a:cubicBezTo>
                    <a:pt x="330578" y="240462"/>
                    <a:pt x="275241" y="217539"/>
                    <a:pt x="217539" y="217539"/>
                  </a:cubicBezTo>
                  <a:cubicBezTo>
                    <a:pt x="159865" y="217539"/>
                    <a:pt x="104527" y="240462"/>
                    <a:pt x="63712" y="281250"/>
                  </a:cubicBezTo>
                  <a:close/>
                </a:path>
              </a:pathLst>
            </a:custGeom>
            <a:grpFill/>
            <a:ln w="27192" cap="flat">
              <a:noFill/>
              <a:prstDash val="solid"/>
              <a:miter/>
            </a:ln>
          </p:spPr>
          <p:txBody>
            <a:bodyPr rtlCol="0" anchor="ctr"/>
            <a:lstStyle/>
            <a:p>
              <a:endParaRPr lang="uk-UA" sz="900"/>
            </a:p>
          </p:txBody>
        </p:sp>
        <p:sp>
          <p:nvSpPr>
            <p:cNvPr id="635" name="Freeform: Shape 634">
              <a:extLst>
                <a:ext uri="{FF2B5EF4-FFF2-40B4-BE49-F238E27FC236}">
                  <a16:creationId xmlns:a16="http://schemas.microsoft.com/office/drawing/2014/main" id="{503DCA9D-4B2E-E8D3-3638-D57B85EAE0D0}"/>
                </a:ext>
              </a:extLst>
            </p:cNvPr>
            <p:cNvSpPr/>
            <p:nvPr/>
          </p:nvSpPr>
          <p:spPr>
            <a:xfrm>
              <a:off x="16498719" y="2839064"/>
              <a:ext cx="435077" cy="435077"/>
            </a:xfrm>
            <a:custGeom>
              <a:avLst/>
              <a:gdLst>
                <a:gd name="connsiteX0" fmla="*/ 435077 w 435077"/>
                <a:gd name="connsiteY0" fmla="*/ 435077 h 435077"/>
                <a:gd name="connsiteX1" fmla="*/ 435077 w 435077"/>
                <a:gd name="connsiteY1" fmla="*/ 217539 h 435077"/>
                <a:gd name="connsiteX2" fmla="*/ 435077 w 435077"/>
                <a:gd name="connsiteY2" fmla="*/ 14 h 435077"/>
                <a:gd name="connsiteX3" fmla="*/ 217539 w 435077"/>
                <a:gd name="connsiteY3" fmla="*/ 14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0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0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14"/>
                  </a:lnTo>
                  <a:lnTo>
                    <a:pt x="217539" y="14"/>
                  </a:lnTo>
                  <a:lnTo>
                    <a:pt x="435077" y="217539"/>
                  </a:lnTo>
                  <a:lnTo>
                    <a:pt x="217539" y="435077"/>
                  </a:lnTo>
                  <a:lnTo>
                    <a:pt x="435077" y="435077"/>
                  </a:lnTo>
                  <a:close/>
                  <a:moveTo>
                    <a:pt x="0" y="217539"/>
                  </a:moveTo>
                  <a:lnTo>
                    <a:pt x="0" y="0"/>
                  </a:lnTo>
                  <a:lnTo>
                    <a:pt x="217510" y="217539"/>
                  </a:lnTo>
                  <a:lnTo>
                    <a:pt x="0" y="217539"/>
                  </a:lnTo>
                  <a:close/>
                  <a:moveTo>
                    <a:pt x="0" y="435077"/>
                  </a:moveTo>
                  <a:lnTo>
                    <a:pt x="0" y="217539"/>
                  </a:lnTo>
                  <a:lnTo>
                    <a:pt x="217510" y="217539"/>
                  </a:lnTo>
                  <a:lnTo>
                    <a:pt x="0" y="435077"/>
                  </a:lnTo>
                  <a:close/>
                </a:path>
              </a:pathLst>
            </a:custGeom>
            <a:grpFill/>
            <a:ln w="27192" cap="flat">
              <a:noFill/>
              <a:prstDash val="solid"/>
              <a:miter/>
            </a:ln>
          </p:spPr>
          <p:txBody>
            <a:bodyPr rtlCol="0" anchor="ctr"/>
            <a:lstStyle/>
            <a:p>
              <a:endParaRPr lang="uk-UA" sz="900"/>
            </a:p>
          </p:txBody>
        </p:sp>
        <p:sp>
          <p:nvSpPr>
            <p:cNvPr id="636" name="Freeform: Shape 635">
              <a:extLst>
                <a:ext uri="{FF2B5EF4-FFF2-40B4-BE49-F238E27FC236}">
                  <a16:creationId xmlns:a16="http://schemas.microsoft.com/office/drawing/2014/main" id="{11E54C70-F269-1327-82E6-C8E7610DE9B6}"/>
                </a:ext>
              </a:extLst>
            </p:cNvPr>
            <p:cNvSpPr/>
            <p:nvPr/>
          </p:nvSpPr>
          <p:spPr>
            <a:xfrm>
              <a:off x="18239029" y="2839064"/>
              <a:ext cx="435077" cy="435077"/>
            </a:xfrm>
            <a:custGeom>
              <a:avLst/>
              <a:gdLst>
                <a:gd name="connsiteX0" fmla="*/ 435077 w 435077"/>
                <a:gd name="connsiteY0" fmla="*/ 435077 h 435077"/>
                <a:gd name="connsiteX1" fmla="*/ 435077 w 435077"/>
                <a:gd name="connsiteY1" fmla="*/ 0 h 435077"/>
                <a:gd name="connsiteX2" fmla="*/ 217565 w 435077"/>
                <a:gd name="connsiteY2" fmla="*/ 217539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39"/>
                  </a:lnTo>
                  <a:lnTo>
                    <a:pt x="435077" y="435077"/>
                  </a:lnTo>
                  <a:close/>
                  <a:moveTo>
                    <a:pt x="0" y="435077"/>
                  </a:moveTo>
                  <a:lnTo>
                    <a:pt x="0" y="3"/>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637" name="Freeform: Shape 636">
              <a:extLst>
                <a:ext uri="{FF2B5EF4-FFF2-40B4-BE49-F238E27FC236}">
                  <a16:creationId xmlns:a16="http://schemas.microsoft.com/office/drawing/2014/main" id="{C705BA17-BA9B-1E74-CEEC-C00A1E2C6FD5}"/>
                </a:ext>
              </a:extLst>
            </p:cNvPr>
            <p:cNvSpPr/>
            <p:nvPr/>
          </p:nvSpPr>
          <p:spPr>
            <a:xfrm>
              <a:off x="17368874" y="2839064"/>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638" name="Freeform: Shape 637">
              <a:extLst>
                <a:ext uri="{FF2B5EF4-FFF2-40B4-BE49-F238E27FC236}">
                  <a16:creationId xmlns:a16="http://schemas.microsoft.com/office/drawing/2014/main" id="{ECFC1DB1-5F0E-A01F-F96F-1DCB7B0F61C1}"/>
                </a:ext>
              </a:extLst>
            </p:cNvPr>
            <p:cNvSpPr/>
            <p:nvPr/>
          </p:nvSpPr>
          <p:spPr>
            <a:xfrm>
              <a:off x="19109210" y="283906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895" y="113038"/>
                    <a:pt x="0" y="57694"/>
                    <a:pt x="0" y="0"/>
                  </a:cubicBezTo>
                  <a:lnTo>
                    <a:pt x="217539" y="0"/>
                  </a:lnTo>
                  <a:lnTo>
                    <a:pt x="435077" y="0"/>
                  </a:lnTo>
                  <a:cubicBezTo>
                    <a:pt x="435077" y="57694"/>
                    <a:pt x="412154" y="113038"/>
                    <a:pt x="371339" y="153827"/>
                  </a:cubicBezTo>
                  <a:cubicBezTo>
                    <a:pt x="330550" y="194616"/>
                    <a:pt x="275215" y="217539"/>
                    <a:pt x="217539" y="217539"/>
                  </a:cubicBezTo>
                  <a:cubicBezTo>
                    <a:pt x="159836" y="217539"/>
                    <a:pt x="104501" y="194616"/>
                    <a:pt x="63712" y="153827"/>
                  </a:cubicBezTo>
                  <a:close/>
                  <a:moveTo>
                    <a:pt x="63712" y="281250"/>
                  </a:moveTo>
                  <a:cubicBezTo>
                    <a:pt x="22895" y="322039"/>
                    <a:pt x="0" y="377375"/>
                    <a:pt x="0" y="435077"/>
                  </a:cubicBezTo>
                  <a:lnTo>
                    <a:pt x="217539" y="435077"/>
                  </a:lnTo>
                  <a:lnTo>
                    <a:pt x="435077" y="435077"/>
                  </a:lnTo>
                  <a:cubicBezTo>
                    <a:pt x="435077" y="377375"/>
                    <a:pt x="412154" y="322039"/>
                    <a:pt x="371339" y="281250"/>
                  </a:cubicBezTo>
                  <a:cubicBezTo>
                    <a:pt x="330550" y="240462"/>
                    <a:pt x="275215" y="217539"/>
                    <a:pt x="217539" y="217539"/>
                  </a:cubicBezTo>
                  <a:cubicBezTo>
                    <a:pt x="159836" y="217539"/>
                    <a:pt x="104501" y="240462"/>
                    <a:pt x="63712" y="281250"/>
                  </a:cubicBezTo>
                  <a:close/>
                </a:path>
              </a:pathLst>
            </a:custGeom>
            <a:grpFill/>
            <a:ln w="27192" cap="flat">
              <a:noFill/>
              <a:prstDash val="solid"/>
              <a:miter/>
            </a:ln>
          </p:spPr>
          <p:txBody>
            <a:bodyPr rtlCol="0" anchor="ctr"/>
            <a:lstStyle/>
            <a:p>
              <a:endParaRPr lang="uk-UA" sz="900"/>
            </a:p>
          </p:txBody>
        </p:sp>
        <p:sp>
          <p:nvSpPr>
            <p:cNvPr id="639" name="Freeform: Shape 638">
              <a:extLst>
                <a:ext uri="{FF2B5EF4-FFF2-40B4-BE49-F238E27FC236}">
                  <a16:creationId xmlns:a16="http://schemas.microsoft.com/office/drawing/2014/main" id="{562BE938-E8EE-69C1-E413-60544AACE964}"/>
                </a:ext>
              </a:extLst>
            </p:cNvPr>
            <p:cNvSpPr/>
            <p:nvPr/>
          </p:nvSpPr>
          <p:spPr>
            <a:xfrm>
              <a:off x="19979365" y="2839064"/>
              <a:ext cx="435077" cy="435077"/>
            </a:xfrm>
            <a:custGeom>
              <a:avLst/>
              <a:gdLst>
                <a:gd name="connsiteX0" fmla="*/ 435077 w 435077"/>
                <a:gd name="connsiteY0" fmla="*/ 435077 h 435077"/>
                <a:gd name="connsiteX1" fmla="*/ 435077 w 435077"/>
                <a:gd name="connsiteY1" fmla="*/ 217539 h 435077"/>
                <a:gd name="connsiteX2" fmla="*/ 435077 w 435077"/>
                <a:gd name="connsiteY2" fmla="*/ 14 h 435077"/>
                <a:gd name="connsiteX3" fmla="*/ 217539 w 435077"/>
                <a:gd name="connsiteY3" fmla="*/ 14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14"/>
                  </a:lnTo>
                  <a:lnTo>
                    <a:pt x="217539" y="14"/>
                  </a:lnTo>
                  <a:lnTo>
                    <a:pt x="435077" y="217539"/>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640" name="Freeform: Shape 639">
              <a:extLst>
                <a:ext uri="{FF2B5EF4-FFF2-40B4-BE49-F238E27FC236}">
                  <a16:creationId xmlns:a16="http://schemas.microsoft.com/office/drawing/2014/main" id="{63E5E84A-5F84-A6A3-B0B8-3B161E1B0825}"/>
                </a:ext>
              </a:extLst>
            </p:cNvPr>
            <p:cNvSpPr/>
            <p:nvPr/>
          </p:nvSpPr>
          <p:spPr>
            <a:xfrm>
              <a:off x="21719702" y="2839064"/>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3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3"/>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641" name="Freeform: Shape 640">
              <a:extLst>
                <a:ext uri="{FF2B5EF4-FFF2-40B4-BE49-F238E27FC236}">
                  <a16:creationId xmlns:a16="http://schemas.microsoft.com/office/drawing/2014/main" id="{568E5BE3-6C07-F156-E2D0-DEA00629BDC0}"/>
                </a:ext>
              </a:extLst>
            </p:cNvPr>
            <p:cNvSpPr/>
            <p:nvPr/>
          </p:nvSpPr>
          <p:spPr>
            <a:xfrm>
              <a:off x="20849520" y="2839064"/>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65 w 435077"/>
                <a:gd name="connsiteY4" fmla="*/ 435077 h 435077"/>
                <a:gd name="connsiteX5" fmla="*/ 217565 w 435077"/>
                <a:gd name="connsiteY5" fmla="*/ 0 h 435077"/>
                <a:gd name="connsiteX6" fmla="*/ 435077 w 435077"/>
                <a:gd name="connsiteY6" fmla="*/ 217539 h 435077"/>
                <a:gd name="connsiteX7" fmla="*/ 217565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65" y="435077"/>
                  </a:moveTo>
                  <a:lnTo>
                    <a:pt x="217565" y="0"/>
                  </a:lnTo>
                  <a:lnTo>
                    <a:pt x="435077" y="217539"/>
                  </a:lnTo>
                  <a:lnTo>
                    <a:pt x="217565" y="435077"/>
                  </a:lnTo>
                  <a:close/>
                </a:path>
              </a:pathLst>
            </a:custGeom>
            <a:grpFill/>
            <a:ln w="27192" cap="flat">
              <a:noFill/>
              <a:prstDash val="solid"/>
              <a:miter/>
            </a:ln>
          </p:spPr>
          <p:txBody>
            <a:bodyPr rtlCol="0" anchor="ctr"/>
            <a:lstStyle/>
            <a:p>
              <a:endParaRPr lang="uk-UA" sz="900"/>
            </a:p>
          </p:txBody>
        </p:sp>
        <p:sp>
          <p:nvSpPr>
            <p:cNvPr id="642" name="Freeform: Shape 641">
              <a:extLst>
                <a:ext uri="{FF2B5EF4-FFF2-40B4-BE49-F238E27FC236}">
                  <a16:creationId xmlns:a16="http://schemas.microsoft.com/office/drawing/2014/main" id="{D857006F-CF85-8B0F-60C2-DABCBCC3BF30}"/>
                </a:ext>
              </a:extLst>
            </p:cNvPr>
            <p:cNvSpPr/>
            <p:nvPr/>
          </p:nvSpPr>
          <p:spPr>
            <a:xfrm>
              <a:off x="22589856" y="283906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8"/>
                    <a:pt x="0" y="57694"/>
                    <a:pt x="0" y="0"/>
                  </a:cubicBezTo>
                  <a:lnTo>
                    <a:pt x="217539" y="0"/>
                  </a:lnTo>
                  <a:lnTo>
                    <a:pt x="435077" y="0"/>
                  </a:lnTo>
                  <a:cubicBezTo>
                    <a:pt x="435077" y="57694"/>
                    <a:pt x="412155" y="113038"/>
                    <a:pt x="371367" y="153827"/>
                  </a:cubicBezTo>
                  <a:cubicBezTo>
                    <a:pt x="330578" y="194616"/>
                    <a:pt x="275241" y="217539"/>
                    <a:pt x="217539" y="217539"/>
                  </a:cubicBezTo>
                  <a:cubicBezTo>
                    <a:pt x="159838" y="217539"/>
                    <a:pt x="104529" y="194616"/>
                    <a:pt x="63712" y="153827"/>
                  </a:cubicBezTo>
                  <a:close/>
                  <a:moveTo>
                    <a:pt x="63712" y="281250"/>
                  </a:moveTo>
                  <a:cubicBezTo>
                    <a:pt x="22924" y="322039"/>
                    <a:pt x="0" y="377375"/>
                    <a:pt x="0" y="435077"/>
                  </a:cubicBezTo>
                  <a:lnTo>
                    <a:pt x="217539" y="435077"/>
                  </a:lnTo>
                  <a:lnTo>
                    <a:pt x="435077" y="435077"/>
                  </a:lnTo>
                  <a:cubicBezTo>
                    <a:pt x="435077" y="377375"/>
                    <a:pt x="412155" y="322039"/>
                    <a:pt x="371367" y="281250"/>
                  </a:cubicBezTo>
                  <a:cubicBezTo>
                    <a:pt x="330578" y="240462"/>
                    <a:pt x="275241" y="217539"/>
                    <a:pt x="217539" y="217539"/>
                  </a:cubicBezTo>
                  <a:cubicBezTo>
                    <a:pt x="159838" y="217539"/>
                    <a:pt x="104529" y="240462"/>
                    <a:pt x="63712" y="281250"/>
                  </a:cubicBezTo>
                  <a:close/>
                </a:path>
              </a:pathLst>
            </a:custGeom>
            <a:grpFill/>
            <a:ln w="27192" cap="flat">
              <a:noFill/>
              <a:prstDash val="solid"/>
              <a:miter/>
            </a:ln>
          </p:spPr>
          <p:txBody>
            <a:bodyPr rtlCol="0" anchor="ctr"/>
            <a:lstStyle/>
            <a:p>
              <a:endParaRPr lang="uk-UA" sz="900"/>
            </a:p>
          </p:txBody>
        </p:sp>
        <p:sp>
          <p:nvSpPr>
            <p:cNvPr id="643" name="Freeform: Shape 642">
              <a:extLst>
                <a:ext uri="{FF2B5EF4-FFF2-40B4-BE49-F238E27FC236}">
                  <a16:creationId xmlns:a16="http://schemas.microsoft.com/office/drawing/2014/main" id="{77922B51-42E6-272D-2E86-CAD7B98D7C4F}"/>
                </a:ext>
              </a:extLst>
            </p:cNvPr>
            <p:cNvSpPr/>
            <p:nvPr/>
          </p:nvSpPr>
          <p:spPr>
            <a:xfrm>
              <a:off x="23460011" y="2839064"/>
              <a:ext cx="435105" cy="435077"/>
            </a:xfrm>
            <a:custGeom>
              <a:avLst/>
              <a:gdLst>
                <a:gd name="connsiteX0" fmla="*/ 435106 w 435105"/>
                <a:gd name="connsiteY0" fmla="*/ 435077 h 435077"/>
                <a:gd name="connsiteX1" fmla="*/ 435106 w 435105"/>
                <a:gd name="connsiteY1" fmla="*/ 217539 h 435077"/>
                <a:gd name="connsiteX2" fmla="*/ 435106 w 435105"/>
                <a:gd name="connsiteY2" fmla="*/ 14 h 435077"/>
                <a:gd name="connsiteX3" fmla="*/ 217567 w 435105"/>
                <a:gd name="connsiteY3" fmla="*/ 14 h 435077"/>
                <a:gd name="connsiteX4" fmla="*/ 435106 w 435105"/>
                <a:gd name="connsiteY4" fmla="*/ 217539 h 435077"/>
                <a:gd name="connsiteX5" fmla="*/ 217567 w 435105"/>
                <a:gd name="connsiteY5" fmla="*/ 435077 h 435077"/>
                <a:gd name="connsiteX6" fmla="*/ 435106 w 435105"/>
                <a:gd name="connsiteY6" fmla="*/ 435077 h 435077"/>
                <a:gd name="connsiteX7" fmla="*/ 0 w 435105"/>
                <a:gd name="connsiteY7" fmla="*/ 217539 h 435077"/>
                <a:gd name="connsiteX8" fmla="*/ 0 w 435105"/>
                <a:gd name="connsiteY8" fmla="*/ 0 h 435077"/>
                <a:gd name="connsiteX9" fmla="*/ 217539 w 435105"/>
                <a:gd name="connsiteY9" fmla="*/ 217539 h 435077"/>
                <a:gd name="connsiteX10" fmla="*/ 0 w 435105"/>
                <a:gd name="connsiteY10" fmla="*/ 217539 h 435077"/>
                <a:gd name="connsiteX11" fmla="*/ 0 w 435105"/>
                <a:gd name="connsiteY11" fmla="*/ 435077 h 435077"/>
                <a:gd name="connsiteX12" fmla="*/ 0 w 435105"/>
                <a:gd name="connsiteY12" fmla="*/ 217539 h 435077"/>
                <a:gd name="connsiteX13" fmla="*/ 217539 w 435105"/>
                <a:gd name="connsiteY13" fmla="*/ 217539 h 435077"/>
                <a:gd name="connsiteX14" fmla="*/ 0 w 435105"/>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105" h="435077">
                  <a:moveTo>
                    <a:pt x="435106" y="435077"/>
                  </a:moveTo>
                  <a:lnTo>
                    <a:pt x="435106" y="217539"/>
                  </a:lnTo>
                  <a:lnTo>
                    <a:pt x="435106" y="14"/>
                  </a:lnTo>
                  <a:lnTo>
                    <a:pt x="217567" y="14"/>
                  </a:lnTo>
                  <a:lnTo>
                    <a:pt x="435106" y="217539"/>
                  </a:lnTo>
                  <a:lnTo>
                    <a:pt x="217567" y="435077"/>
                  </a:lnTo>
                  <a:lnTo>
                    <a:pt x="435106"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644" name="Freeform: Shape 643">
              <a:extLst>
                <a:ext uri="{FF2B5EF4-FFF2-40B4-BE49-F238E27FC236}">
                  <a16:creationId xmlns:a16="http://schemas.microsoft.com/office/drawing/2014/main" id="{0936B598-E4F5-E701-FD38-F718027553BD}"/>
                </a:ext>
              </a:extLst>
            </p:cNvPr>
            <p:cNvSpPr/>
            <p:nvPr/>
          </p:nvSpPr>
          <p:spPr>
            <a:xfrm>
              <a:off x="24330194" y="2839064"/>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645" name="Freeform: Shape 644">
              <a:extLst>
                <a:ext uri="{FF2B5EF4-FFF2-40B4-BE49-F238E27FC236}">
                  <a16:creationId xmlns:a16="http://schemas.microsoft.com/office/drawing/2014/main" id="{0225C001-A143-AF2B-BC95-516FE2935A3E}"/>
                </a:ext>
              </a:extLst>
            </p:cNvPr>
            <p:cNvSpPr/>
            <p:nvPr/>
          </p:nvSpPr>
          <p:spPr>
            <a:xfrm>
              <a:off x="835769" y="3709219"/>
              <a:ext cx="435077" cy="435077"/>
            </a:xfrm>
            <a:custGeom>
              <a:avLst/>
              <a:gdLst>
                <a:gd name="connsiteX0" fmla="*/ 0 w 435077"/>
                <a:gd name="connsiteY0" fmla="*/ 435077 h 435077"/>
                <a:gd name="connsiteX1" fmla="*/ 217511 w 435077"/>
                <a:gd name="connsiteY1" fmla="*/ 435077 h 435077"/>
                <a:gd name="connsiteX2" fmla="*/ 217511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11" y="435077"/>
                  </a:lnTo>
                  <a:lnTo>
                    <a:pt x="217511"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646" name="Freeform: Shape 645">
              <a:extLst>
                <a:ext uri="{FF2B5EF4-FFF2-40B4-BE49-F238E27FC236}">
                  <a16:creationId xmlns:a16="http://schemas.microsoft.com/office/drawing/2014/main" id="{732B3898-D3A1-1D16-ACA4-8A205BB4EA4B}"/>
                </a:ext>
              </a:extLst>
            </p:cNvPr>
            <p:cNvSpPr/>
            <p:nvPr/>
          </p:nvSpPr>
          <p:spPr>
            <a:xfrm>
              <a:off x="-34398" y="3709219"/>
              <a:ext cx="435063" cy="435077"/>
            </a:xfrm>
            <a:custGeom>
              <a:avLst/>
              <a:gdLst>
                <a:gd name="connsiteX0" fmla="*/ 217525 w 435063"/>
                <a:gd name="connsiteY0" fmla="*/ 217539 h 435077"/>
                <a:gd name="connsiteX1" fmla="*/ 217525 w 435063"/>
                <a:gd name="connsiteY1" fmla="*/ 0 h 435077"/>
                <a:gd name="connsiteX2" fmla="*/ 0 w 435063"/>
                <a:gd name="connsiteY2" fmla="*/ 0 h 435077"/>
                <a:gd name="connsiteX3" fmla="*/ 217525 w 435063"/>
                <a:gd name="connsiteY3" fmla="*/ 217539 h 435077"/>
                <a:gd name="connsiteX4" fmla="*/ 0 w 435063"/>
                <a:gd name="connsiteY4" fmla="*/ 435077 h 435077"/>
                <a:gd name="connsiteX5" fmla="*/ 217525 w 435063"/>
                <a:gd name="connsiteY5" fmla="*/ 435077 h 435077"/>
                <a:gd name="connsiteX6" fmla="*/ 217525 w 435063"/>
                <a:gd name="connsiteY6" fmla="*/ 435077 h 435077"/>
                <a:gd name="connsiteX7" fmla="*/ 435064 w 435063"/>
                <a:gd name="connsiteY7" fmla="*/ 217539 h 435077"/>
                <a:gd name="connsiteX8" fmla="*/ 435064 w 435063"/>
                <a:gd name="connsiteY8" fmla="*/ 217539 h 435077"/>
                <a:gd name="connsiteX9" fmla="*/ 435064 w 435063"/>
                <a:gd name="connsiteY9" fmla="*/ 217539 h 435077"/>
                <a:gd name="connsiteX10" fmla="*/ 435064 w 435063"/>
                <a:gd name="connsiteY10" fmla="*/ 217539 h 435077"/>
                <a:gd name="connsiteX11" fmla="*/ 435064 w 435063"/>
                <a:gd name="connsiteY11" fmla="*/ 217539 h 435077"/>
                <a:gd name="connsiteX12" fmla="*/ 217525 w 435063"/>
                <a:gd name="connsiteY12" fmla="*/ 0 h 435077"/>
                <a:gd name="connsiteX13" fmla="*/ 217525 w 435063"/>
                <a:gd name="connsiteY13" fmla="*/ 217539 h 435077"/>
                <a:gd name="connsiteX14" fmla="*/ 217525 w 435063"/>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63" h="435077">
                  <a:moveTo>
                    <a:pt x="217525" y="217539"/>
                  </a:moveTo>
                  <a:lnTo>
                    <a:pt x="217525" y="0"/>
                  </a:lnTo>
                  <a:lnTo>
                    <a:pt x="0" y="0"/>
                  </a:lnTo>
                  <a:lnTo>
                    <a:pt x="217525" y="217539"/>
                  </a:lnTo>
                  <a:lnTo>
                    <a:pt x="0" y="435077"/>
                  </a:lnTo>
                  <a:lnTo>
                    <a:pt x="217525" y="435077"/>
                  </a:lnTo>
                  <a:lnTo>
                    <a:pt x="217525" y="435077"/>
                  </a:lnTo>
                  <a:lnTo>
                    <a:pt x="435064" y="217539"/>
                  </a:lnTo>
                  <a:lnTo>
                    <a:pt x="435064" y="217539"/>
                  </a:lnTo>
                  <a:lnTo>
                    <a:pt x="435064" y="217539"/>
                  </a:lnTo>
                  <a:lnTo>
                    <a:pt x="435064" y="217539"/>
                  </a:lnTo>
                  <a:lnTo>
                    <a:pt x="435064" y="217539"/>
                  </a:lnTo>
                  <a:lnTo>
                    <a:pt x="217525" y="0"/>
                  </a:lnTo>
                  <a:lnTo>
                    <a:pt x="217525" y="217539"/>
                  </a:lnTo>
                  <a:lnTo>
                    <a:pt x="217525" y="217539"/>
                  </a:lnTo>
                  <a:close/>
                </a:path>
              </a:pathLst>
            </a:custGeom>
            <a:grpFill/>
            <a:ln w="27192" cap="flat">
              <a:noFill/>
              <a:prstDash val="solid"/>
              <a:miter/>
            </a:ln>
          </p:spPr>
          <p:txBody>
            <a:bodyPr rtlCol="0" anchor="ctr"/>
            <a:lstStyle/>
            <a:p>
              <a:endParaRPr lang="uk-UA" sz="900"/>
            </a:p>
          </p:txBody>
        </p:sp>
        <p:sp>
          <p:nvSpPr>
            <p:cNvPr id="647" name="Freeform: Shape 646">
              <a:extLst>
                <a:ext uri="{FF2B5EF4-FFF2-40B4-BE49-F238E27FC236}">
                  <a16:creationId xmlns:a16="http://schemas.microsoft.com/office/drawing/2014/main" id="{5A6F9E6D-BB85-174D-F6A3-38627FA948EB}"/>
                </a:ext>
              </a:extLst>
            </p:cNvPr>
            <p:cNvSpPr/>
            <p:nvPr/>
          </p:nvSpPr>
          <p:spPr>
            <a:xfrm>
              <a:off x="1705924" y="3709219"/>
              <a:ext cx="435104" cy="435077"/>
            </a:xfrm>
            <a:custGeom>
              <a:avLst/>
              <a:gdLst>
                <a:gd name="connsiteX0" fmla="*/ 217539 w 435104"/>
                <a:gd name="connsiteY0" fmla="*/ 0 h 435077"/>
                <a:gd name="connsiteX1" fmla="*/ 0 w 435104"/>
                <a:gd name="connsiteY1" fmla="*/ 0 h 435077"/>
                <a:gd name="connsiteX2" fmla="*/ 0 w 435104"/>
                <a:gd name="connsiteY2" fmla="*/ 217539 h 435077"/>
                <a:gd name="connsiteX3" fmla="*/ 217539 w 435104"/>
                <a:gd name="connsiteY3" fmla="*/ 0 h 435077"/>
                <a:gd name="connsiteX4" fmla="*/ 435104 w 435104"/>
                <a:gd name="connsiteY4" fmla="*/ 0 h 435077"/>
                <a:gd name="connsiteX5" fmla="*/ 435104 w 435104"/>
                <a:gd name="connsiteY5" fmla="*/ 217539 h 435077"/>
                <a:gd name="connsiteX6" fmla="*/ 217566 w 435104"/>
                <a:gd name="connsiteY6" fmla="*/ 0 h 435077"/>
                <a:gd name="connsiteX7" fmla="*/ 435104 w 435104"/>
                <a:gd name="connsiteY7" fmla="*/ 0 h 435077"/>
                <a:gd name="connsiteX8" fmla="*/ 217566 w 435104"/>
                <a:gd name="connsiteY8" fmla="*/ 435077 h 435077"/>
                <a:gd name="connsiteX9" fmla="*/ 435104 w 435104"/>
                <a:gd name="connsiteY9" fmla="*/ 217539 h 435077"/>
                <a:gd name="connsiteX10" fmla="*/ 435104 w 435104"/>
                <a:gd name="connsiteY10" fmla="*/ 435077 h 435077"/>
                <a:gd name="connsiteX11" fmla="*/ 217566 w 435104"/>
                <a:gd name="connsiteY11" fmla="*/ 435077 h 435077"/>
                <a:gd name="connsiteX12" fmla="*/ 217566 w 435104"/>
                <a:gd name="connsiteY12" fmla="*/ 435077 h 435077"/>
                <a:gd name="connsiteX13" fmla="*/ 27 w 435104"/>
                <a:gd name="connsiteY13" fmla="*/ 217539 h 435077"/>
                <a:gd name="connsiteX14" fmla="*/ 27 w 435104"/>
                <a:gd name="connsiteY14" fmla="*/ 435077 h 435077"/>
                <a:gd name="connsiteX15" fmla="*/ 217566 w 435104"/>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4" h="435077">
                  <a:moveTo>
                    <a:pt x="217539" y="0"/>
                  </a:moveTo>
                  <a:lnTo>
                    <a:pt x="0" y="0"/>
                  </a:lnTo>
                  <a:lnTo>
                    <a:pt x="0" y="217539"/>
                  </a:lnTo>
                  <a:lnTo>
                    <a:pt x="217539" y="0"/>
                  </a:lnTo>
                  <a:close/>
                  <a:moveTo>
                    <a:pt x="435104" y="0"/>
                  </a:moveTo>
                  <a:lnTo>
                    <a:pt x="435104" y="217539"/>
                  </a:lnTo>
                  <a:lnTo>
                    <a:pt x="217566" y="0"/>
                  </a:lnTo>
                  <a:lnTo>
                    <a:pt x="435104" y="0"/>
                  </a:lnTo>
                  <a:close/>
                  <a:moveTo>
                    <a:pt x="217566" y="435077"/>
                  </a:moveTo>
                  <a:lnTo>
                    <a:pt x="435104" y="217539"/>
                  </a:lnTo>
                  <a:lnTo>
                    <a:pt x="435104" y="435077"/>
                  </a:lnTo>
                  <a:lnTo>
                    <a:pt x="217566" y="435077"/>
                  </a:lnTo>
                  <a:close/>
                  <a:moveTo>
                    <a:pt x="217566" y="435077"/>
                  </a:moveTo>
                  <a:lnTo>
                    <a:pt x="27" y="217539"/>
                  </a:lnTo>
                  <a:lnTo>
                    <a:pt x="27" y="435077"/>
                  </a:lnTo>
                  <a:lnTo>
                    <a:pt x="217566" y="435077"/>
                  </a:lnTo>
                  <a:close/>
                </a:path>
              </a:pathLst>
            </a:custGeom>
            <a:grpFill/>
            <a:ln w="27192" cap="flat">
              <a:noFill/>
              <a:prstDash val="solid"/>
              <a:miter/>
            </a:ln>
          </p:spPr>
          <p:txBody>
            <a:bodyPr rtlCol="0" anchor="ctr"/>
            <a:lstStyle/>
            <a:p>
              <a:endParaRPr lang="uk-UA" sz="900"/>
            </a:p>
          </p:txBody>
        </p:sp>
        <p:sp>
          <p:nvSpPr>
            <p:cNvPr id="648" name="Freeform: Shape 647">
              <a:extLst>
                <a:ext uri="{FF2B5EF4-FFF2-40B4-BE49-F238E27FC236}">
                  <a16:creationId xmlns:a16="http://schemas.microsoft.com/office/drawing/2014/main" id="{A85ADE95-8E91-8CC2-DE2D-21DF455BE919}"/>
                </a:ext>
              </a:extLst>
            </p:cNvPr>
            <p:cNvSpPr/>
            <p:nvPr/>
          </p:nvSpPr>
          <p:spPr>
            <a:xfrm>
              <a:off x="2576106" y="3709219"/>
              <a:ext cx="435077" cy="435077"/>
            </a:xfrm>
            <a:custGeom>
              <a:avLst/>
              <a:gdLst>
                <a:gd name="connsiteX0" fmla="*/ 371366 w 435077"/>
                <a:gd name="connsiteY0" fmla="*/ 63712 h 435077"/>
                <a:gd name="connsiteX1" fmla="*/ 435077 w 435077"/>
                <a:gd name="connsiteY1" fmla="*/ 217539 h 435077"/>
                <a:gd name="connsiteX2" fmla="*/ 218925 w 435077"/>
                <a:gd name="connsiteY2" fmla="*/ 217539 h 435077"/>
                <a:gd name="connsiteX3" fmla="*/ 371366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25 w 435077"/>
                <a:gd name="connsiteY8" fmla="*/ 217539 h 435077"/>
                <a:gd name="connsiteX9" fmla="*/ 0 w 435077"/>
                <a:gd name="connsiteY9" fmla="*/ 217539 h 435077"/>
                <a:gd name="connsiteX10" fmla="*/ 63712 w 435077"/>
                <a:gd name="connsiteY10" fmla="*/ 63712 h 435077"/>
                <a:gd name="connsiteX11" fmla="*/ 217539 w 435077"/>
                <a:gd name="connsiteY11" fmla="*/ 0 h 435077"/>
                <a:gd name="connsiteX12" fmla="*/ 371366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2"/>
                  </a:moveTo>
                  <a:cubicBezTo>
                    <a:pt x="412154" y="104500"/>
                    <a:pt x="435077" y="159837"/>
                    <a:pt x="435077" y="217539"/>
                  </a:cubicBezTo>
                  <a:lnTo>
                    <a:pt x="218925" y="217539"/>
                  </a:lnTo>
                  <a:cubicBezTo>
                    <a:pt x="276138" y="217892"/>
                    <a:pt x="330904" y="240788"/>
                    <a:pt x="371366" y="281250"/>
                  </a:cubicBezTo>
                  <a:cubicBezTo>
                    <a:pt x="412154" y="322039"/>
                    <a:pt x="435077" y="377375"/>
                    <a:pt x="435077" y="435077"/>
                  </a:cubicBezTo>
                  <a:lnTo>
                    <a:pt x="217539" y="435077"/>
                  </a:lnTo>
                  <a:lnTo>
                    <a:pt x="0" y="435077"/>
                  </a:lnTo>
                  <a:cubicBezTo>
                    <a:pt x="0" y="377375"/>
                    <a:pt x="22923" y="322039"/>
                    <a:pt x="63712" y="281250"/>
                  </a:cubicBezTo>
                  <a:cubicBezTo>
                    <a:pt x="104174" y="240788"/>
                    <a:pt x="158939" y="217892"/>
                    <a:pt x="216125" y="217539"/>
                  </a:cubicBezTo>
                  <a:lnTo>
                    <a:pt x="0" y="217539"/>
                  </a:lnTo>
                  <a:cubicBezTo>
                    <a:pt x="0" y="159837"/>
                    <a:pt x="22923" y="104500"/>
                    <a:pt x="63712" y="63712"/>
                  </a:cubicBezTo>
                  <a:cubicBezTo>
                    <a:pt x="104500" y="22923"/>
                    <a:pt x="159837" y="0"/>
                    <a:pt x="217539" y="0"/>
                  </a:cubicBezTo>
                  <a:cubicBezTo>
                    <a:pt x="275214" y="0"/>
                    <a:pt x="330550" y="22923"/>
                    <a:pt x="371366" y="63712"/>
                  </a:cubicBezTo>
                  <a:close/>
                </a:path>
              </a:pathLst>
            </a:custGeom>
            <a:grpFill/>
            <a:ln w="27192" cap="flat">
              <a:noFill/>
              <a:prstDash val="solid"/>
              <a:miter/>
            </a:ln>
          </p:spPr>
          <p:txBody>
            <a:bodyPr rtlCol="0" anchor="ctr"/>
            <a:lstStyle/>
            <a:p>
              <a:endParaRPr lang="uk-UA" sz="900"/>
            </a:p>
          </p:txBody>
        </p:sp>
        <p:sp>
          <p:nvSpPr>
            <p:cNvPr id="649" name="Freeform: Shape 648">
              <a:extLst>
                <a:ext uri="{FF2B5EF4-FFF2-40B4-BE49-F238E27FC236}">
                  <a16:creationId xmlns:a16="http://schemas.microsoft.com/office/drawing/2014/main" id="{639C6C8D-82DA-D307-650B-956B18A7DEA5}"/>
                </a:ext>
              </a:extLst>
            </p:cNvPr>
            <p:cNvSpPr/>
            <p:nvPr/>
          </p:nvSpPr>
          <p:spPr>
            <a:xfrm>
              <a:off x="4316442" y="3709219"/>
              <a:ext cx="435050" cy="435077"/>
            </a:xfrm>
            <a:custGeom>
              <a:avLst/>
              <a:gdLst>
                <a:gd name="connsiteX0" fmla="*/ 0 w 435050"/>
                <a:gd name="connsiteY0" fmla="*/ 435077 h 435077"/>
                <a:gd name="connsiteX1" fmla="*/ 217512 w 435050"/>
                <a:gd name="connsiteY1" fmla="*/ 435077 h 435077"/>
                <a:gd name="connsiteX2" fmla="*/ 217512 w 435050"/>
                <a:gd name="connsiteY2" fmla="*/ 217539 h 435077"/>
                <a:gd name="connsiteX3" fmla="*/ 0 w 435050"/>
                <a:gd name="connsiteY3" fmla="*/ 435077 h 435077"/>
                <a:gd name="connsiteX4" fmla="*/ 217512 w 435050"/>
                <a:gd name="connsiteY4" fmla="*/ 0 h 435077"/>
                <a:gd name="connsiteX5" fmla="*/ 0 w 435050"/>
                <a:gd name="connsiteY5" fmla="*/ 0 h 435077"/>
                <a:gd name="connsiteX6" fmla="*/ 217512 w 435050"/>
                <a:gd name="connsiteY6" fmla="*/ 217539 h 435077"/>
                <a:gd name="connsiteX7" fmla="*/ 217512 w 435050"/>
                <a:gd name="connsiteY7" fmla="*/ 0 h 435077"/>
                <a:gd name="connsiteX8" fmla="*/ 435051 w 435050"/>
                <a:gd name="connsiteY8" fmla="*/ 435077 h 435077"/>
                <a:gd name="connsiteX9" fmla="*/ 217539 w 435050"/>
                <a:gd name="connsiteY9" fmla="*/ 435077 h 435077"/>
                <a:gd name="connsiteX10" fmla="*/ 435051 w 435050"/>
                <a:gd name="connsiteY10" fmla="*/ 217539 h 435077"/>
                <a:gd name="connsiteX11" fmla="*/ 435051 w 435050"/>
                <a:gd name="connsiteY11" fmla="*/ 435077 h 435077"/>
                <a:gd name="connsiteX12" fmla="*/ 435051 w 435050"/>
                <a:gd name="connsiteY12" fmla="*/ 0 h 435077"/>
                <a:gd name="connsiteX13" fmla="*/ 217539 w 435050"/>
                <a:gd name="connsiteY13" fmla="*/ 0 h 435077"/>
                <a:gd name="connsiteX14" fmla="*/ 435051 w 435050"/>
                <a:gd name="connsiteY14" fmla="*/ 217539 h 435077"/>
                <a:gd name="connsiteX15" fmla="*/ 435051 w 435050"/>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50" h="435077">
                  <a:moveTo>
                    <a:pt x="0" y="435077"/>
                  </a:moveTo>
                  <a:lnTo>
                    <a:pt x="217512" y="435077"/>
                  </a:lnTo>
                  <a:lnTo>
                    <a:pt x="217512" y="217539"/>
                  </a:lnTo>
                  <a:lnTo>
                    <a:pt x="0" y="435077"/>
                  </a:lnTo>
                  <a:close/>
                  <a:moveTo>
                    <a:pt x="217512" y="0"/>
                  </a:moveTo>
                  <a:lnTo>
                    <a:pt x="0" y="0"/>
                  </a:lnTo>
                  <a:lnTo>
                    <a:pt x="217512" y="217539"/>
                  </a:lnTo>
                  <a:lnTo>
                    <a:pt x="217512" y="0"/>
                  </a:lnTo>
                  <a:close/>
                  <a:moveTo>
                    <a:pt x="435051" y="435077"/>
                  </a:moveTo>
                  <a:lnTo>
                    <a:pt x="217539" y="435077"/>
                  </a:lnTo>
                  <a:lnTo>
                    <a:pt x="435051" y="217539"/>
                  </a:lnTo>
                  <a:lnTo>
                    <a:pt x="435051" y="435077"/>
                  </a:lnTo>
                  <a:close/>
                  <a:moveTo>
                    <a:pt x="435051" y="0"/>
                  </a:moveTo>
                  <a:lnTo>
                    <a:pt x="217539" y="0"/>
                  </a:lnTo>
                  <a:lnTo>
                    <a:pt x="435051" y="217539"/>
                  </a:lnTo>
                  <a:lnTo>
                    <a:pt x="435051" y="0"/>
                  </a:lnTo>
                  <a:close/>
                </a:path>
              </a:pathLst>
            </a:custGeom>
            <a:grpFill/>
            <a:ln w="27192" cap="flat">
              <a:noFill/>
              <a:prstDash val="solid"/>
              <a:miter/>
            </a:ln>
          </p:spPr>
          <p:txBody>
            <a:bodyPr rtlCol="0" anchor="ctr"/>
            <a:lstStyle/>
            <a:p>
              <a:endParaRPr lang="uk-UA" sz="900"/>
            </a:p>
          </p:txBody>
        </p:sp>
        <p:sp>
          <p:nvSpPr>
            <p:cNvPr id="650" name="Freeform: Shape 649">
              <a:extLst>
                <a:ext uri="{FF2B5EF4-FFF2-40B4-BE49-F238E27FC236}">
                  <a16:creationId xmlns:a16="http://schemas.microsoft.com/office/drawing/2014/main" id="{7B53CE89-1413-61F4-5B1A-10CA51483A26}"/>
                </a:ext>
              </a:extLst>
            </p:cNvPr>
            <p:cNvSpPr/>
            <p:nvPr/>
          </p:nvSpPr>
          <p:spPr>
            <a:xfrm>
              <a:off x="3446261" y="370921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651" name="Freeform: Shape 650">
              <a:extLst>
                <a:ext uri="{FF2B5EF4-FFF2-40B4-BE49-F238E27FC236}">
                  <a16:creationId xmlns:a16="http://schemas.microsoft.com/office/drawing/2014/main" id="{A8B93350-B8FD-BFEA-BDD4-AD1F78CE28AF}"/>
                </a:ext>
              </a:extLst>
            </p:cNvPr>
            <p:cNvSpPr/>
            <p:nvPr/>
          </p:nvSpPr>
          <p:spPr>
            <a:xfrm>
              <a:off x="5186597" y="3709219"/>
              <a:ext cx="435077" cy="435077"/>
            </a:xfrm>
            <a:custGeom>
              <a:avLst/>
              <a:gdLst>
                <a:gd name="connsiteX0" fmla="*/ 217539 w 435077"/>
                <a:gd name="connsiteY0" fmla="*/ 0 h 435077"/>
                <a:gd name="connsiteX1" fmla="*/ 217539 w 435077"/>
                <a:gd name="connsiteY1" fmla="*/ 0 h 435077"/>
                <a:gd name="connsiteX2" fmla="*/ 0 w 435077"/>
                <a:gd name="connsiteY2" fmla="*/ 0 h 435077"/>
                <a:gd name="connsiteX3" fmla="*/ 0 w 435077"/>
                <a:gd name="connsiteY3" fmla="*/ 217539 h 435077"/>
                <a:gd name="connsiteX4" fmla="*/ 217539 w 435077"/>
                <a:gd name="connsiteY4" fmla="*/ 0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217539" y="0"/>
                  </a:lnTo>
                  <a:lnTo>
                    <a:pt x="0" y="0"/>
                  </a:lnTo>
                  <a:lnTo>
                    <a:pt x="0" y="217539"/>
                  </a:lnTo>
                  <a:lnTo>
                    <a:pt x="217539" y="0"/>
                  </a:lnTo>
                  <a:lnTo>
                    <a:pt x="435077" y="217539"/>
                  </a:lnTo>
                  <a:lnTo>
                    <a:pt x="217539" y="435077"/>
                  </a:lnTo>
                  <a:lnTo>
                    <a:pt x="0" y="217539"/>
                  </a:lnTo>
                  <a:lnTo>
                    <a:pt x="0" y="435077"/>
                  </a:lnTo>
                  <a:lnTo>
                    <a:pt x="217539" y="435077"/>
                  </a:lnTo>
                  <a:lnTo>
                    <a:pt x="435077" y="435077"/>
                  </a:lnTo>
                  <a:lnTo>
                    <a:pt x="435077" y="217539"/>
                  </a:lnTo>
                  <a:lnTo>
                    <a:pt x="435077" y="0"/>
                  </a:lnTo>
                  <a:lnTo>
                    <a:pt x="217539" y="0"/>
                  </a:lnTo>
                  <a:close/>
                </a:path>
              </a:pathLst>
            </a:custGeom>
            <a:grpFill/>
            <a:ln w="27192" cap="flat">
              <a:noFill/>
              <a:prstDash val="solid"/>
              <a:miter/>
            </a:ln>
          </p:spPr>
          <p:txBody>
            <a:bodyPr rtlCol="0" anchor="ctr"/>
            <a:lstStyle/>
            <a:p>
              <a:endParaRPr lang="uk-UA" sz="900"/>
            </a:p>
          </p:txBody>
        </p:sp>
        <p:sp>
          <p:nvSpPr>
            <p:cNvPr id="652" name="Freeform: Shape 651">
              <a:extLst>
                <a:ext uri="{FF2B5EF4-FFF2-40B4-BE49-F238E27FC236}">
                  <a16:creationId xmlns:a16="http://schemas.microsoft.com/office/drawing/2014/main" id="{5DB266F8-AD9D-CA44-76F9-F69DC8366FC3}"/>
                </a:ext>
              </a:extLst>
            </p:cNvPr>
            <p:cNvSpPr/>
            <p:nvPr/>
          </p:nvSpPr>
          <p:spPr>
            <a:xfrm>
              <a:off x="6056752" y="3709219"/>
              <a:ext cx="435077" cy="435077"/>
            </a:xfrm>
            <a:custGeom>
              <a:avLst/>
              <a:gdLst>
                <a:gd name="connsiteX0" fmla="*/ 371366 w 435077"/>
                <a:gd name="connsiteY0" fmla="*/ 63712 h 435077"/>
                <a:gd name="connsiteX1" fmla="*/ 435077 w 435077"/>
                <a:gd name="connsiteY1" fmla="*/ 217539 h 435077"/>
                <a:gd name="connsiteX2" fmla="*/ 218953 w 435077"/>
                <a:gd name="connsiteY2" fmla="*/ 217539 h 435077"/>
                <a:gd name="connsiteX3" fmla="*/ 371366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25 w 435077"/>
                <a:gd name="connsiteY8" fmla="*/ 217539 h 435077"/>
                <a:gd name="connsiteX9" fmla="*/ 0 w 435077"/>
                <a:gd name="connsiteY9" fmla="*/ 217539 h 435077"/>
                <a:gd name="connsiteX10" fmla="*/ 63712 w 435077"/>
                <a:gd name="connsiteY10" fmla="*/ 63712 h 435077"/>
                <a:gd name="connsiteX11" fmla="*/ 217539 w 435077"/>
                <a:gd name="connsiteY11" fmla="*/ 0 h 435077"/>
                <a:gd name="connsiteX12" fmla="*/ 371366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2"/>
                  </a:moveTo>
                  <a:cubicBezTo>
                    <a:pt x="412155" y="104500"/>
                    <a:pt x="435077" y="159837"/>
                    <a:pt x="435077" y="217539"/>
                  </a:cubicBezTo>
                  <a:lnTo>
                    <a:pt x="218953" y="217539"/>
                  </a:lnTo>
                  <a:cubicBezTo>
                    <a:pt x="276138" y="217892"/>
                    <a:pt x="330904" y="240788"/>
                    <a:pt x="371366" y="281250"/>
                  </a:cubicBezTo>
                  <a:cubicBezTo>
                    <a:pt x="412155" y="322039"/>
                    <a:pt x="435077" y="377375"/>
                    <a:pt x="435077" y="435077"/>
                  </a:cubicBezTo>
                  <a:lnTo>
                    <a:pt x="217539" y="435077"/>
                  </a:lnTo>
                  <a:lnTo>
                    <a:pt x="0" y="435077"/>
                  </a:lnTo>
                  <a:cubicBezTo>
                    <a:pt x="0" y="377375"/>
                    <a:pt x="22924" y="322039"/>
                    <a:pt x="63712" y="281250"/>
                  </a:cubicBezTo>
                  <a:cubicBezTo>
                    <a:pt x="104175" y="240788"/>
                    <a:pt x="158939" y="217892"/>
                    <a:pt x="216125" y="217539"/>
                  </a:cubicBezTo>
                  <a:lnTo>
                    <a:pt x="0" y="217539"/>
                  </a:lnTo>
                  <a:cubicBezTo>
                    <a:pt x="0" y="159837"/>
                    <a:pt x="22924" y="104500"/>
                    <a:pt x="63712" y="63712"/>
                  </a:cubicBezTo>
                  <a:cubicBezTo>
                    <a:pt x="104501" y="22923"/>
                    <a:pt x="159837" y="0"/>
                    <a:pt x="217539" y="0"/>
                  </a:cubicBezTo>
                  <a:cubicBezTo>
                    <a:pt x="275241" y="0"/>
                    <a:pt x="330550" y="22923"/>
                    <a:pt x="371366" y="63712"/>
                  </a:cubicBezTo>
                  <a:close/>
                </a:path>
              </a:pathLst>
            </a:custGeom>
            <a:grpFill/>
            <a:ln w="27192" cap="flat">
              <a:noFill/>
              <a:prstDash val="solid"/>
              <a:miter/>
            </a:ln>
          </p:spPr>
          <p:txBody>
            <a:bodyPr rtlCol="0" anchor="ctr"/>
            <a:lstStyle/>
            <a:p>
              <a:endParaRPr lang="uk-UA" sz="900"/>
            </a:p>
          </p:txBody>
        </p:sp>
        <p:sp>
          <p:nvSpPr>
            <p:cNvPr id="653" name="Freeform: Shape 652">
              <a:extLst>
                <a:ext uri="{FF2B5EF4-FFF2-40B4-BE49-F238E27FC236}">
                  <a16:creationId xmlns:a16="http://schemas.microsoft.com/office/drawing/2014/main" id="{033D2841-6823-74E9-F514-47C64E6C7DBC}"/>
                </a:ext>
              </a:extLst>
            </p:cNvPr>
            <p:cNvSpPr/>
            <p:nvPr/>
          </p:nvSpPr>
          <p:spPr>
            <a:xfrm>
              <a:off x="7797089" y="3709219"/>
              <a:ext cx="435050" cy="435077"/>
            </a:xfrm>
            <a:custGeom>
              <a:avLst/>
              <a:gdLst>
                <a:gd name="connsiteX0" fmla="*/ 0 w 435050"/>
                <a:gd name="connsiteY0" fmla="*/ 435077 h 435077"/>
                <a:gd name="connsiteX1" fmla="*/ 217511 w 435050"/>
                <a:gd name="connsiteY1" fmla="*/ 435077 h 435077"/>
                <a:gd name="connsiteX2" fmla="*/ 217511 w 435050"/>
                <a:gd name="connsiteY2" fmla="*/ 217539 h 435077"/>
                <a:gd name="connsiteX3" fmla="*/ 0 w 435050"/>
                <a:gd name="connsiteY3" fmla="*/ 435077 h 435077"/>
                <a:gd name="connsiteX4" fmla="*/ 217511 w 435050"/>
                <a:gd name="connsiteY4" fmla="*/ 0 h 435077"/>
                <a:gd name="connsiteX5" fmla="*/ 0 w 435050"/>
                <a:gd name="connsiteY5" fmla="*/ 0 h 435077"/>
                <a:gd name="connsiteX6" fmla="*/ 217511 w 435050"/>
                <a:gd name="connsiteY6" fmla="*/ 217539 h 435077"/>
                <a:gd name="connsiteX7" fmla="*/ 217511 w 435050"/>
                <a:gd name="connsiteY7" fmla="*/ 0 h 435077"/>
                <a:gd name="connsiteX8" fmla="*/ 435050 w 435050"/>
                <a:gd name="connsiteY8" fmla="*/ 435077 h 435077"/>
                <a:gd name="connsiteX9" fmla="*/ 217539 w 435050"/>
                <a:gd name="connsiteY9" fmla="*/ 435077 h 435077"/>
                <a:gd name="connsiteX10" fmla="*/ 435050 w 435050"/>
                <a:gd name="connsiteY10" fmla="*/ 217539 h 435077"/>
                <a:gd name="connsiteX11" fmla="*/ 435050 w 435050"/>
                <a:gd name="connsiteY11" fmla="*/ 435077 h 435077"/>
                <a:gd name="connsiteX12" fmla="*/ 435050 w 435050"/>
                <a:gd name="connsiteY12" fmla="*/ 0 h 435077"/>
                <a:gd name="connsiteX13" fmla="*/ 217539 w 435050"/>
                <a:gd name="connsiteY13" fmla="*/ 0 h 435077"/>
                <a:gd name="connsiteX14" fmla="*/ 435050 w 435050"/>
                <a:gd name="connsiteY14" fmla="*/ 217539 h 435077"/>
                <a:gd name="connsiteX15" fmla="*/ 435050 w 435050"/>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50" h="435077">
                  <a:moveTo>
                    <a:pt x="0" y="435077"/>
                  </a:moveTo>
                  <a:lnTo>
                    <a:pt x="217511" y="435077"/>
                  </a:lnTo>
                  <a:lnTo>
                    <a:pt x="217511" y="217539"/>
                  </a:lnTo>
                  <a:lnTo>
                    <a:pt x="0" y="435077"/>
                  </a:lnTo>
                  <a:close/>
                  <a:moveTo>
                    <a:pt x="217511" y="0"/>
                  </a:moveTo>
                  <a:lnTo>
                    <a:pt x="0" y="0"/>
                  </a:lnTo>
                  <a:lnTo>
                    <a:pt x="217511" y="217539"/>
                  </a:lnTo>
                  <a:lnTo>
                    <a:pt x="217511" y="0"/>
                  </a:lnTo>
                  <a:close/>
                  <a:moveTo>
                    <a:pt x="435050" y="435077"/>
                  </a:moveTo>
                  <a:lnTo>
                    <a:pt x="217539" y="435077"/>
                  </a:lnTo>
                  <a:lnTo>
                    <a:pt x="435050" y="217539"/>
                  </a:lnTo>
                  <a:lnTo>
                    <a:pt x="435050" y="435077"/>
                  </a:lnTo>
                  <a:close/>
                  <a:moveTo>
                    <a:pt x="435050" y="0"/>
                  </a:moveTo>
                  <a:lnTo>
                    <a:pt x="217539" y="0"/>
                  </a:lnTo>
                  <a:lnTo>
                    <a:pt x="435050" y="217539"/>
                  </a:lnTo>
                  <a:lnTo>
                    <a:pt x="435050" y="0"/>
                  </a:lnTo>
                  <a:close/>
                </a:path>
              </a:pathLst>
            </a:custGeom>
            <a:grpFill/>
            <a:ln w="27192" cap="flat">
              <a:noFill/>
              <a:prstDash val="solid"/>
              <a:miter/>
            </a:ln>
          </p:spPr>
          <p:txBody>
            <a:bodyPr rtlCol="0" anchor="ctr"/>
            <a:lstStyle/>
            <a:p>
              <a:endParaRPr lang="uk-UA" sz="900"/>
            </a:p>
          </p:txBody>
        </p:sp>
        <p:sp>
          <p:nvSpPr>
            <p:cNvPr id="654" name="Freeform: Shape 653">
              <a:extLst>
                <a:ext uri="{FF2B5EF4-FFF2-40B4-BE49-F238E27FC236}">
                  <a16:creationId xmlns:a16="http://schemas.microsoft.com/office/drawing/2014/main" id="{A0B7D7A0-CBC0-86A1-E468-B45333970824}"/>
                </a:ext>
              </a:extLst>
            </p:cNvPr>
            <p:cNvSpPr/>
            <p:nvPr/>
          </p:nvSpPr>
          <p:spPr>
            <a:xfrm>
              <a:off x="6926907" y="3709219"/>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0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39 h 435077"/>
                <a:gd name="connsiteX9" fmla="*/ 435077 w 435077"/>
                <a:gd name="connsiteY9" fmla="*/ 217539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0"/>
                  </a:lnTo>
                  <a:lnTo>
                    <a:pt x="435077" y="217539"/>
                  </a:lnTo>
                  <a:lnTo>
                    <a:pt x="435077" y="217539"/>
                  </a:lnTo>
                  <a:lnTo>
                    <a:pt x="435077" y="217539"/>
                  </a:lnTo>
                  <a:lnTo>
                    <a:pt x="435077" y="217539"/>
                  </a:lnTo>
                  <a:lnTo>
                    <a:pt x="435077" y="217539"/>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655" name="Freeform: Shape 654">
              <a:extLst>
                <a:ext uri="{FF2B5EF4-FFF2-40B4-BE49-F238E27FC236}">
                  <a16:creationId xmlns:a16="http://schemas.microsoft.com/office/drawing/2014/main" id="{82C9497B-32F2-9BBB-11AA-4663A4CC4B2B}"/>
                </a:ext>
              </a:extLst>
            </p:cNvPr>
            <p:cNvSpPr/>
            <p:nvPr/>
          </p:nvSpPr>
          <p:spPr>
            <a:xfrm>
              <a:off x="8667217" y="370921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p>
          </p:txBody>
        </p:sp>
        <p:sp>
          <p:nvSpPr>
            <p:cNvPr id="656" name="Freeform: Shape 655">
              <a:extLst>
                <a:ext uri="{FF2B5EF4-FFF2-40B4-BE49-F238E27FC236}">
                  <a16:creationId xmlns:a16="http://schemas.microsoft.com/office/drawing/2014/main" id="{751B6995-E31C-B1AD-3ED3-246D14EFD385}"/>
                </a:ext>
              </a:extLst>
            </p:cNvPr>
            <p:cNvSpPr/>
            <p:nvPr/>
          </p:nvSpPr>
          <p:spPr>
            <a:xfrm>
              <a:off x="9537399" y="3709219"/>
              <a:ext cx="435077" cy="435077"/>
            </a:xfrm>
            <a:custGeom>
              <a:avLst/>
              <a:gdLst>
                <a:gd name="connsiteX0" fmla="*/ 371366 w 435077"/>
                <a:gd name="connsiteY0" fmla="*/ 63712 h 435077"/>
                <a:gd name="connsiteX1" fmla="*/ 435077 w 435077"/>
                <a:gd name="connsiteY1" fmla="*/ 217539 h 435077"/>
                <a:gd name="connsiteX2" fmla="*/ 218925 w 435077"/>
                <a:gd name="connsiteY2" fmla="*/ 217539 h 435077"/>
                <a:gd name="connsiteX3" fmla="*/ 371366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1 w 435077"/>
                <a:gd name="connsiteY7" fmla="*/ 281250 h 435077"/>
                <a:gd name="connsiteX8" fmla="*/ 216125 w 435077"/>
                <a:gd name="connsiteY8" fmla="*/ 217539 h 435077"/>
                <a:gd name="connsiteX9" fmla="*/ 0 w 435077"/>
                <a:gd name="connsiteY9" fmla="*/ 217539 h 435077"/>
                <a:gd name="connsiteX10" fmla="*/ 63711 w 435077"/>
                <a:gd name="connsiteY10" fmla="*/ 63712 h 435077"/>
                <a:gd name="connsiteX11" fmla="*/ 217539 w 435077"/>
                <a:gd name="connsiteY11" fmla="*/ 0 h 435077"/>
                <a:gd name="connsiteX12" fmla="*/ 371366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2"/>
                  </a:moveTo>
                  <a:cubicBezTo>
                    <a:pt x="412155" y="104500"/>
                    <a:pt x="435077" y="159837"/>
                    <a:pt x="435077" y="217539"/>
                  </a:cubicBezTo>
                  <a:lnTo>
                    <a:pt x="218925" y="217539"/>
                  </a:lnTo>
                  <a:cubicBezTo>
                    <a:pt x="276111" y="217892"/>
                    <a:pt x="330904" y="240788"/>
                    <a:pt x="371366" y="281250"/>
                  </a:cubicBezTo>
                  <a:cubicBezTo>
                    <a:pt x="412155" y="322039"/>
                    <a:pt x="435077" y="377375"/>
                    <a:pt x="435077" y="435077"/>
                  </a:cubicBezTo>
                  <a:lnTo>
                    <a:pt x="217539" y="435077"/>
                  </a:lnTo>
                  <a:lnTo>
                    <a:pt x="0" y="435077"/>
                  </a:lnTo>
                  <a:cubicBezTo>
                    <a:pt x="0" y="377375"/>
                    <a:pt x="22923" y="322039"/>
                    <a:pt x="63711" y="281250"/>
                  </a:cubicBezTo>
                  <a:cubicBezTo>
                    <a:pt x="104174" y="240788"/>
                    <a:pt x="158939" y="217892"/>
                    <a:pt x="216125" y="217539"/>
                  </a:cubicBezTo>
                  <a:lnTo>
                    <a:pt x="0" y="217539"/>
                  </a:lnTo>
                  <a:cubicBezTo>
                    <a:pt x="0" y="159837"/>
                    <a:pt x="22923" y="104500"/>
                    <a:pt x="63711" y="63712"/>
                  </a:cubicBezTo>
                  <a:cubicBezTo>
                    <a:pt x="104500" y="22923"/>
                    <a:pt x="159836" y="0"/>
                    <a:pt x="217539" y="0"/>
                  </a:cubicBezTo>
                  <a:cubicBezTo>
                    <a:pt x="275214" y="0"/>
                    <a:pt x="330550" y="22923"/>
                    <a:pt x="371366" y="63712"/>
                  </a:cubicBezTo>
                  <a:close/>
                </a:path>
              </a:pathLst>
            </a:custGeom>
            <a:grpFill/>
            <a:ln w="27192" cap="flat">
              <a:noFill/>
              <a:prstDash val="solid"/>
              <a:miter/>
            </a:ln>
          </p:spPr>
          <p:txBody>
            <a:bodyPr rtlCol="0" anchor="ctr"/>
            <a:lstStyle/>
            <a:p>
              <a:endParaRPr lang="uk-UA" sz="900"/>
            </a:p>
          </p:txBody>
        </p:sp>
        <p:sp>
          <p:nvSpPr>
            <p:cNvPr id="657" name="Freeform: Shape 656">
              <a:extLst>
                <a:ext uri="{FF2B5EF4-FFF2-40B4-BE49-F238E27FC236}">
                  <a16:creationId xmlns:a16="http://schemas.microsoft.com/office/drawing/2014/main" id="{9A304235-BC7A-75A5-E571-1B2CD9E928B6}"/>
                </a:ext>
              </a:extLst>
            </p:cNvPr>
            <p:cNvSpPr/>
            <p:nvPr/>
          </p:nvSpPr>
          <p:spPr>
            <a:xfrm>
              <a:off x="11277709" y="3709219"/>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658" name="Freeform: Shape 657">
              <a:extLst>
                <a:ext uri="{FF2B5EF4-FFF2-40B4-BE49-F238E27FC236}">
                  <a16:creationId xmlns:a16="http://schemas.microsoft.com/office/drawing/2014/main" id="{1A8CA6B9-2760-CAF3-13D5-96680F9E80AB}"/>
                </a:ext>
              </a:extLst>
            </p:cNvPr>
            <p:cNvSpPr/>
            <p:nvPr/>
          </p:nvSpPr>
          <p:spPr>
            <a:xfrm>
              <a:off x="10407554" y="3709219"/>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0 h 435077"/>
                <a:gd name="connsiteX5" fmla="*/ 435050 w 435077"/>
                <a:gd name="connsiteY5" fmla="*/ 217539 h 435077"/>
                <a:gd name="connsiteX6" fmla="*/ 435077 w 435077"/>
                <a:gd name="connsiteY6" fmla="*/ 217539 h 435077"/>
                <a:gd name="connsiteX7" fmla="*/ 435050 w 435077"/>
                <a:gd name="connsiteY7" fmla="*/ 217539 h 435077"/>
                <a:gd name="connsiteX8" fmla="*/ 435077 w 435077"/>
                <a:gd name="connsiteY8" fmla="*/ 217539 h 435077"/>
                <a:gd name="connsiteX9" fmla="*/ 435050 w 435077"/>
                <a:gd name="connsiteY9" fmla="*/ 217539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0"/>
                  </a:lnTo>
                  <a:lnTo>
                    <a:pt x="435050" y="217539"/>
                  </a:lnTo>
                  <a:lnTo>
                    <a:pt x="435077" y="217539"/>
                  </a:lnTo>
                  <a:lnTo>
                    <a:pt x="435050" y="217539"/>
                  </a:lnTo>
                  <a:lnTo>
                    <a:pt x="435077" y="217539"/>
                  </a:lnTo>
                  <a:lnTo>
                    <a:pt x="435050" y="217539"/>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659" name="Freeform: Shape 658">
              <a:extLst>
                <a:ext uri="{FF2B5EF4-FFF2-40B4-BE49-F238E27FC236}">
                  <a16:creationId xmlns:a16="http://schemas.microsoft.com/office/drawing/2014/main" id="{C53DDB7B-CB31-E583-7618-3E16E286AE19}"/>
                </a:ext>
              </a:extLst>
            </p:cNvPr>
            <p:cNvSpPr/>
            <p:nvPr/>
          </p:nvSpPr>
          <p:spPr>
            <a:xfrm>
              <a:off x="12147864" y="3709219"/>
              <a:ext cx="435103" cy="435077"/>
            </a:xfrm>
            <a:custGeom>
              <a:avLst/>
              <a:gdLst>
                <a:gd name="connsiteX0" fmla="*/ 217539 w 435103"/>
                <a:gd name="connsiteY0" fmla="*/ 0 h 435077"/>
                <a:gd name="connsiteX1" fmla="*/ 0 w 435103"/>
                <a:gd name="connsiteY1" fmla="*/ 0 h 435077"/>
                <a:gd name="connsiteX2" fmla="*/ 0 w 435103"/>
                <a:gd name="connsiteY2" fmla="*/ 217539 h 435077"/>
                <a:gd name="connsiteX3" fmla="*/ 217539 w 435103"/>
                <a:gd name="connsiteY3" fmla="*/ 0 h 435077"/>
                <a:gd name="connsiteX4" fmla="*/ 435104 w 435103"/>
                <a:gd name="connsiteY4" fmla="*/ 0 h 435077"/>
                <a:gd name="connsiteX5" fmla="*/ 435104 w 435103"/>
                <a:gd name="connsiteY5" fmla="*/ 217539 h 435077"/>
                <a:gd name="connsiteX6" fmla="*/ 217565 w 435103"/>
                <a:gd name="connsiteY6" fmla="*/ 0 h 435077"/>
                <a:gd name="connsiteX7" fmla="*/ 435104 w 435103"/>
                <a:gd name="connsiteY7" fmla="*/ 0 h 435077"/>
                <a:gd name="connsiteX8" fmla="*/ 217565 w 435103"/>
                <a:gd name="connsiteY8" fmla="*/ 435077 h 435077"/>
                <a:gd name="connsiteX9" fmla="*/ 435104 w 435103"/>
                <a:gd name="connsiteY9" fmla="*/ 217539 h 435077"/>
                <a:gd name="connsiteX10" fmla="*/ 435104 w 435103"/>
                <a:gd name="connsiteY10" fmla="*/ 435077 h 435077"/>
                <a:gd name="connsiteX11" fmla="*/ 217565 w 435103"/>
                <a:gd name="connsiteY11" fmla="*/ 435077 h 435077"/>
                <a:gd name="connsiteX12" fmla="*/ 217565 w 435103"/>
                <a:gd name="connsiteY12" fmla="*/ 435077 h 435077"/>
                <a:gd name="connsiteX13" fmla="*/ 27 w 435103"/>
                <a:gd name="connsiteY13" fmla="*/ 217539 h 435077"/>
                <a:gd name="connsiteX14" fmla="*/ 27 w 435103"/>
                <a:gd name="connsiteY14" fmla="*/ 435077 h 435077"/>
                <a:gd name="connsiteX15" fmla="*/ 217565 w 435103"/>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3" h="435077">
                  <a:moveTo>
                    <a:pt x="217539" y="0"/>
                  </a:moveTo>
                  <a:lnTo>
                    <a:pt x="0" y="0"/>
                  </a:lnTo>
                  <a:lnTo>
                    <a:pt x="0" y="217539"/>
                  </a:lnTo>
                  <a:lnTo>
                    <a:pt x="217539" y="0"/>
                  </a:lnTo>
                  <a:close/>
                  <a:moveTo>
                    <a:pt x="435104" y="0"/>
                  </a:moveTo>
                  <a:lnTo>
                    <a:pt x="435104" y="217539"/>
                  </a:lnTo>
                  <a:lnTo>
                    <a:pt x="217565" y="0"/>
                  </a:lnTo>
                  <a:lnTo>
                    <a:pt x="435104" y="0"/>
                  </a:lnTo>
                  <a:close/>
                  <a:moveTo>
                    <a:pt x="217565" y="435077"/>
                  </a:moveTo>
                  <a:lnTo>
                    <a:pt x="435104" y="217539"/>
                  </a:lnTo>
                  <a:lnTo>
                    <a:pt x="435104" y="435077"/>
                  </a:lnTo>
                  <a:lnTo>
                    <a:pt x="217565" y="435077"/>
                  </a:lnTo>
                  <a:close/>
                  <a:moveTo>
                    <a:pt x="217565" y="435077"/>
                  </a:moveTo>
                  <a:lnTo>
                    <a:pt x="27" y="217539"/>
                  </a:lnTo>
                  <a:lnTo>
                    <a:pt x="27" y="435077"/>
                  </a:lnTo>
                  <a:lnTo>
                    <a:pt x="217565" y="435077"/>
                  </a:lnTo>
                  <a:close/>
                </a:path>
              </a:pathLst>
            </a:custGeom>
            <a:grpFill/>
            <a:ln w="27192" cap="flat">
              <a:noFill/>
              <a:prstDash val="solid"/>
              <a:miter/>
            </a:ln>
          </p:spPr>
          <p:txBody>
            <a:bodyPr rtlCol="0" anchor="ctr"/>
            <a:lstStyle/>
            <a:p>
              <a:endParaRPr lang="uk-UA" sz="900"/>
            </a:p>
          </p:txBody>
        </p:sp>
        <p:sp>
          <p:nvSpPr>
            <p:cNvPr id="660" name="Freeform: Shape 659">
              <a:extLst>
                <a:ext uri="{FF2B5EF4-FFF2-40B4-BE49-F238E27FC236}">
                  <a16:creationId xmlns:a16="http://schemas.microsoft.com/office/drawing/2014/main" id="{4ADEECB1-BEA4-D53D-E1C9-13B389E69ABC}"/>
                </a:ext>
              </a:extLst>
            </p:cNvPr>
            <p:cNvSpPr/>
            <p:nvPr/>
          </p:nvSpPr>
          <p:spPr>
            <a:xfrm>
              <a:off x="13018045" y="3709219"/>
              <a:ext cx="435077" cy="435077"/>
            </a:xfrm>
            <a:custGeom>
              <a:avLst/>
              <a:gdLst>
                <a:gd name="connsiteX0" fmla="*/ 371365 w 435077"/>
                <a:gd name="connsiteY0" fmla="*/ 63712 h 435077"/>
                <a:gd name="connsiteX1" fmla="*/ 435077 w 435077"/>
                <a:gd name="connsiteY1" fmla="*/ 217539 h 435077"/>
                <a:gd name="connsiteX2" fmla="*/ 218953 w 435077"/>
                <a:gd name="connsiteY2" fmla="*/ 217539 h 435077"/>
                <a:gd name="connsiteX3" fmla="*/ 371365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51 w 435077"/>
                <a:gd name="connsiteY8" fmla="*/ 217539 h 435077"/>
                <a:gd name="connsiteX9" fmla="*/ 0 w 435077"/>
                <a:gd name="connsiteY9" fmla="*/ 217539 h 435077"/>
                <a:gd name="connsiteX10" fmla="*/ 63712 w 435077"/>
                <a:gd name="connsiteY10" fmla="*/ 63712 h 435077"/>
                <a:gd name="connsiteX11" fmla="*/ 217539 w 435077"/>
                <a:gd name="connsiteY11" fmla="*/ 0 h 435077"/>
                <a:gd name="connsiteX12" fmla="*/ 371365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12"/>
                  </a:moveTo>
                  <a:cubicBezTo>
                    <a:pt x="412154" y="104500"/>
                    <a:pt x="435077" y="159837"/>
                    <a:pt x="435077" y="217539"/>
                  </a:cubicBezTo>
                  <a:lnTo>
                    <a:pt x="218953" y="217539"/>
                  </a:lnTo>
                  <a:cubicBezTo>
                    <a:pt x="276137" y="217892"/>
                    <a:pt x="330904" y="240788"/>
                    <a:pt x="371365" y="281250"/>
                  </a:cubicBezTo>
                  <a:cubicBezTo>
                    <a:pt x="412154" y="322039"/>
                    <a:pt x="435077" y="377375"/>
                    <a:pt x="435077" y="435077"/>
                  </a:cubicBezTo>
                  <a:lnTo>
                    <a:pt x="217539" y="435077"/>
                  </a:lnTo>
                  <a:lnTo>
                    <a:pt x="0" y="435077"/>
                  </a:lnTo>
                  <a:cubicBezTo>
                    <a:pt x="0" y="377375"/>
                    <a:pt x="22924" y="322039"/>
                    <a:pt x="63712" y="281250"/>
                  </a:cubicBezTo>
                  <a:cubicBezTo>
                    <a:pt x="104174" y="240788"/>
                    <a:pt x="158938" y="217892"/>
                    <a:pt x="216151" y="217539"/>
                  </a:cubicBezTo>
                  <a:lnTo>
                    <a:pt x="0" y="217539"/>
                  </a:lnTo>
                  <a:cubicBezTo>
                    <a:pt x="0" y="159837"/>
                    <a:pt x="22924" y="104500"/>
                    <a:pt x="63712" y="63712"/>
                  </a:cubicBezTo>
                  <a:cubicBezTo>
                    <a:pt x="104501" y="22923"/>
                    <a:pt x="159836" y="0"/>
                    <a:pt x="217539" y="0"/>
                  </a:cubicBezTo>
                  <a:cubicBezTo>
                    <a:pt x="275241" y="0"/>
                    <a:pt x="330550" y="22923"/>
                    <a:pt x="371365" y="63712"/>
                  </a:cubicBezTo>
                  <a:close/>
                </a:path>
              </a:pathLst>
            </a:custGeom>
            <a:grpFill/>
            <a:ln w="27192" cap="flat">
              <a:noFill/>
              <a:prstDash val="solid"/>
              <a:miter/>
            </a:ln>
          </p:spPr>
          <p:txBody>
            <a:bodyPr rtlCol="0" anchor="ctr"/>
            <a:lstStyle/>
            <a:p>
              <a:endParaRPr lang="uk-UA" sz="900"/>
            </a:p>
          </p:txBody>
        </p:sp>
        <p:sp>
          <p:nvSpPr>
            <p:cNvPr id="661" name="Freeform: Shape 660">
              <a:extLst>
                <a:ext uri="{FF2B5EF4-FFF2-40B4-BE49-F238E27FC236}">
                  <a16:creationId xmlns:a16="http://schemas.microsoft.com/office/drawing/2014/main" id="{E1677A19-296E-235F-9DD1-4A80BA936CB0}"/>
                </a:ext>
              </a:extLst>
            </p:cNvPr>
            <p:cNvSpPr/>
            <p:nvPr/>
          </p:nvSpPr>
          <p:spPr>
            <a:xfrm>
              <a:off x="14758382" y="3709219"/>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662" name="Freeform: Shape 661">
              <a:extLst>
                <a:ext uri="{FF2B5EF4-FFF2-40B4-BE49-F238E27FC236}">
                  <a16:creationId xmlns:a16="http://schemas.microsoft.com/office/drawing/2014/main" id="{E00FA776-EF80-32A0-D9C8-8B67E1782904}"/>
                </a:ext>
              </a:extLst>
            </p:cNvPr>
            <p:cNvSpPr/>
            <p:nvPr/>
          </p:nvSpPr>
          <p:spPr>
            <a:xfrm>
              <a:off x="13888174" y="3709192"/>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663" name="Freeform: Shape 662">
              <a:extLst>
                <a:ext uri="{FF2B5EF4-FFF2-40B4-BE49-F238E27FC236}">
                  <a16:creationId xmlns:a16="http://schemas.microsoft.com/office/drawing/2014/main" id="{FB0DFEA2-54A5-7E64-9EB8-A107D7D13410}"/>
                </a:ext>
              </a:extLst>
            </p:cNvPr>
            <p:cNvSpPr/>
            <p:nvPr/>
          </p:nvSpPr>
          <p:spPr>
            <a:xfrm>
              <a:off x="15628536" y="3709219"/>
              <a:ext cx="435077" cy="435077"/>
            </a:xfrm>
            <a:custGeom>
              <a:avLst/>
              <a:gdLst>
                <a:gd name="connsiteX0" fmla="*/ 217567 w 435077"/>
                <a:gd name="connsiteY0" fmla="*/ 0 h 435077"/>
                <a:gd name="connsiteX1" fmla="*/ 217539 w 435077"/>
                <a:gd name="connsiteY1" fmla="*/ 0 h 435077"/>
                <a:gd name="connsiteX2" fmla="*/ 28 w 435077"/>
                <a:gd name="connsiteY2" fmla="*/ 0 h 435077"/>
                <a:gd name="connsiteX3" fmla="*/ 28 w 435077"/>
                <a:gd name="connsiteY3" fmla="*/ 217539 h 435077"/>
                <a:gd name="connsiteX4" fmla="*/ 217567 w 435077"/>
                <a:gd name="connsiteY4" fmla="*/ 0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67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67" y="0"/>
                  </a:moveTo>
                  <a:lnTo>
                    <a:pt x="217539" y="0"/>
                  </a:lnTo>
                  <a:lnTo>
                    <a:pt x="28" y="0"/>
                  </a:lnTo>
                  <a:lnTo>
                    <a:pt x="28" y="217539"/>
                  </a:lnTo>
                  <a:lnTo>
                    <a:pt x="217567" y="0"/>
                  </a:lnTo>
                  <a:lnTo>
                    <a:pt x="435077" y="217539"/>
                  </a:lnTo>
                  <a:lnTo>
                    <a:pt x="217539" y="435077"/>
                  </a:lnTo>
                  <a:lnTo>
                    <a:pt x="0" y="217539"/>
                  </a:lnTo>
                  <a:lnTo>
                    <a:pt x="0" y="435077"/>
                  </a:lnTo>
                  <a:lnTo>
                    <a:pt x="217539" y="435077"/>
                  </a:lnTo>
                  <a:lnTo>
                    <a:pt x="435077" y="435077"/>
                  </a:lnTo>
                  <a:lnTo>
                    <a:pt x="435077" y="217539"/>
                  </a:lnTo>
                  <a:lnTo>
                    <a:pt x="435077" y="0"/>
                  </a:lnTo>
                  <a:lnTo>
                    <a:pt x="217567" y="0"/>
                  </a:lnTo>
                  <a:close/>
                </a:path>
              </a:pathLst>
            </a:custGeom>
            <a:grpFill/>
            <a:ln w="27192" cap="flat">
              <a:noFill/>
              <a:prstDash val="solid"/>
              <a:miter/>
            </a:ln>
          </p:spPr>
          <p:txBody>
            <a:bodyPr rtlCol="0" anchor="ctr"/>
            <a:lstStyle/>
            <a:p>
              <a:endParaRPr lang="uk-UA" sz="900"/>
            </a:p>
          </p:txBody>
        </p:sp>
        <p:sp>
          <p:nvSpPr>
            <p:cNvPr id="664" name="Freeform: Shape 663">
              <a:extLst>
                <a:ext uri="{FF2B5EF4-FFF2-40B4-BE49-F238E27FC236}">
                  <a16:creationId xmlns:a16="http://schemas.microsoft.com/office/drawing/2014/main" id="{E2FCE37D-5115-B48E-0E48-DF796B42F214}"/>
                </a:ext>
              </a:extLst>
            </p:cNvPr>
            <p:cNvSpPr/>
            <p:nvPr/>
          </p:nvSpPr>
          <p:spPr>
            <a:xfrm>
              <a:off x="16498719" y="3709219"/>
              <a:ext cx="435077" cy="435077"/>
            </a:xfrm>
            <a:custGeom>
              <a:avLst/>
              <a:gdLst>
                <a:gd name="connsiteX0" fmla="*/ 371339 w 435077"/>
                <a:gd name="connsiteY0" fmla="*/ 63712 h 435077"/>
                <a:gd name="connsiteX1" fmla="*/ 435077 w 435077"/>
                <a:gd name="connsiteY1" fmla="*/ 217539 h 435077"/>
                <a:gd name="connsiteX2" fmla="*/ 218925 w 435077"/>
                <a:gd name="connsiteY2" fmla="*/ 217539 h 435077"/>
                <a:gd name="connsiteX3" fmla="*/ 371365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0 w 435077"/>
                <a:gd name="connsiteY7" fmla="*/ 281250 h 435077"/>
                <a:gd name="connsiteX8" fmla="*/ 216125 w 435077"/>
                <a:gd name="connsiteY8" fmla="*/ 217539 h 435077"/>
                <a:gd name="connsiteX9" fmla="*/ 0 w 435077"/>
                <a:gd name="connsiteY9" fmla="*/ 217539 h 435077"/>
                <a:gd name="connsiteX10" fmla="*/ 63710 w 435077"/>
                <a:gd name="connsiteY10" fmla="*/ 63712 h 435077"/>
                <a:gd name="connsiteX11" fmla="*/ 217539 w 435077"/>
                <a:gd name="connsiteY11" fmla="*/ 0 h 435077"/>
                <a:gd name="connsiteX12" fmla="*/ 371339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12"/>
                  </a:moveTo>
                  <a:cubicBezTo>
                    <a:pt x="412154" y="104500"/>
                    <a:pt x="435077" y="159837"/>
                    <a:pt x="435077" y="217539"/>
                  </a:cubicBezTo>
                  <a:lnTo>
                    <a:pt x="218925" y="217539"/>
                  </a:lnTo>
                  <a:cubicBezTo>
                    <a:pt x="276111" y="217892"/>
                    <a:pt x="330876" y="240788"/>
                    <a:pt x="371365" y="281250"/>
                  </a:cubicBezTo>
                  <a:cubicBezTo>
                    <a:pt x="412154" y="322039"/>
                    <a:pt x="435077" y="377375"/>
                    <a:pt x="435077" y="435077"/>
                  </a:cubicBezTo>
                  <a:lnTo>
                    <a:pt x="217539" y="435077"/>
                  </a:lnTo>
                  <a:lnTo>
                    <a:pt x="0" y="435077"/>
                  </a:lnTo>
                  <a:cubicBezTo>
                    <a:pt x="0" y="377375"/>
                    <a:pt x="22922" y="322039"/>
                    <a:pt x="63710" y="281250"/>
                  </a:cubicBezTo>
                  <a:cubicBezTo>
                    <a:pt x="104174" y="240788"/>
                    <a:pt x="158938" y="217892"/>
                    <a:pt x="216125" y="217539"/>
                  </a:cubicBezTo>
                  <a:lnTo>
                    <a:pt x="0" y="217539"/>
                  </a:lnTo>
                  <a:cubicBezTo>
                    <a:pt x="0" y="159837"/>
                    <a:pt x="22895" y="104500"/>
                    <a:pt x="63710" y="63712"/>
                  </a:cubicBezTo>
                  <a:cubicBezTo>
                    <a:pt x="104499" y="22923"/>
                    <a:pt x="159836" y="0"/>
                    <a:pt x="217539" y="0"/>
                  </a:cubicBezTo>
                  <a:cubicBezTo>
                    <a:pt x="275213" y="0"/>
                    <a:pt x="330550" y="22923"/>
                    <a:pt x="371339" y="63712"/>
                  </a:cubicBezTo>
                  <a:close/>
                </a:path>
              </a:pathLst>
            </a:custGeom>
            <a:grpFill/>
            <a:ln w="27192" cap="flat">
              <a:noFill/>
              <a:prstDash val="solid"/>
              <a:miter/>
            </a:ln>
          </p:spPr>
          <p:txBody>
            <a:bodyPr rtlCol="0" anchor="ctr"/>
            <a:lstStyle/>
            <a:p>
              <a:endParaRPr lang="uk-UA" sz="900"/>
            </a:p>
          </p:txBody>
        </p:sp>
        <p:sp>
          <p:nvSpPr>
            <p:cNvPr id="665" name="Freeform: Shape 664">
              <a:extLst>
                <a:ext uri="{FF2B5EF4-FFF2-40B4-BE49-F238E27FC236}">
                  <a16:creationId xmlns:a16="http://schemas.microsoft.com/office/drawing/2014/main" id="{CEBB2411-48C6-27BE-6F04-7F72A93ABDC9}"/>
                </a:ext>
              </a:extLst>
            </p:cNvPr>
            <p:cNvSpPr/>
            <p:nvPr/>
          </p:nvSpPr>
          <p:spPr>
            <a:xfrm>
              <a:off x="18239029" y="3709219"/>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65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65"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666" name="Freeform: Shape 665">
              <a:extLst>
                <a:ext uri="{FF2B5EF4-FFF2-40B4-BE49-F238E27FC236}">
                  <a16:creationId xmlns:a16="http://schemas.microsoft.com/office/drawing/2014/main" id="{2FA1E8C8-655A-2E6D-3EA3-1C9075570D81}"/>
                </a:ext>
              </a:extLst>
            </p:cNvPr>
            <p:cNvSpPr/>
            <p:nvPr/>
          </p:nvSpPr>
          <p:spPr>
            <a:xfrm>
              <a:off x="17368874" y="370921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667" name="Freeform: Shape 666">
              <a:extLst>
                <a:ext uri="{FF2B5EF4-FFF2-40B4-BE49-F238E27FC236}">
                  <a16:creationId xmlns:a16="http://schemas.microsoft.com/office/drawing/2014/main" id="{E6F7EF1B-D85F-7EDC-2161-F3E9D47586DF}"/>
                </a:ext>
              </a:extLst>
            </p:cNvPr>
            <p:cNvSpPr/>
            <p:nvPr/>
          </p:nvSpPr>
          <p:spPr>
            <a:xfrm>
              <a:off x="19109210" y="370921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668" name="Freeform: Shape 667">
              <a:extLst>
                <a:ext uri="{FF2B5EF4-FFF2-40B4-BE49-F238E27FC236}">
                  <a16:creationId xmlns:a16="http://schemas.microsoft.com/office/drawing/2014/main" id="{AD958CA6-5DD3-8461-F2AB-0E5161A1F673}"/>
                </a:ext>
              </a:extLst>
            </p:cNvPr>
            <p:cNvSpPr/>
            <p:nvPr/>
          </p:nvSpPr>
          <p:spPr>
            <a:xfrm>
              <a:off x="19979365" y="3709219"/>
              <a:ext cx="435077" cy="435077"/>
            </a:xfrm>
            <a:custGeom>
              <a:avLst/>
              <a:gdLst>
                <a:gd name="connsiteX0" fmla="*/ 371365 w 435077"/>
                <a:gd name="connsiteY0" fmla="*/ 63712 h 435077"/>
                <a:gd name="connsiteX1" fmla="*/ 435077 w 435077"/>
                <a:gd name="connsiteY1" fmla="*/ 217539 h 435077"/>
                <a:gd name="connsiteX2" fmla="*/ 218953 w 435077"/>
                <a:gd name="connsiteY2" fmla="*/ 217539 h 435077"/>
                <a:gd name="connsiteX3" fmla="*/ 371365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25 w 435077"/>
                <a:gd name="connsiteY8" fmla="*/ 217539 h 435077"/>
                <a:gd name="connsiteX9" fmla="*/ 0 w 435077"/>
                <a:gd name="connsiteY9" fmla="*/ 217539 h 435077"/>
                <a:gd name="connsiteX10" fmla="*/ 63712 w 435077"/>
                <a:gd name="connsiteY10" fmla="*/ 63712 h 435077"/>
                <a:gd name="connsiteX11" fmla="*/ 217539 w 435077"/>
                <a:gd name="connsiteY11" fmla="*/ 0 h 435077"/>
                <a:gd name="connsiteX12" fmla="*/ 371365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12"/>
                  </a:moveTo>
                  <a:cubicBezTo>
                    <a:pt x="412154" y="104500"/>
                    <a:pt x="435077" y="159837"/>
                    <a:pt x="435077" y="217539"/>
                  </a:cubicBezTo>
                  <a:lnTo>
                    <a:pt x="218953" y="217539"/>
                  </a:lnTo>
                  <a:cubicBezTo>
                    <a:pt x="276139" y="217892"/>
                    <a:pt x="330904" y="240788"/>
                    <a:pt x="371365" y="281250"/>
                  </a:cubicBezTo>
                  <a:cubicBezTo>
                    <a:pt x="412154" y="322039"/>
                    <a:pt x="435077" y="377375"/>
                    <a:pt x="435077" y="435077"/>
                  </a:cubicBezTo>
                  <a:lnTo>
                    <a:pt x="217539" y="435077"/>
                  </a:lnTo>
                  <a:lnTo>
                    <a:pt x="0" y="435077"/>
                  </a:lnTo>
                  <a:cubicBezTo>
                    <a:pt x="0" y="377375"/>
                    <a:pt x="22924" y="322039"/>
                    <a:pt x="63712" y="281250"/>
                  </a:cubicBezTo>
                  <a:cubicBezTo>
                    <a:pt x="104174" y="240788"/>
                    <a:pt x="158940" y="217892"/>
                    <a:pt x="216125" y="217539"/>
                  </a:cubicBezTo>
                  <a:lnTo>
                    <a:pt x="0" y="217539"/>
                  </a:lnTo>
                  <a:cubicBezTo>
                    <a:pt x="0" y="159837"/>
                    <a:pt x="22924" y="104500"/>
                    <a:pt x="63712" y="63712"/>
                  </a:cubicBezTo>
                  <a:cubicBezTo>
                    <a:pt x="104501" y="22923"/>
                    <a:pt x="159836" y="0"/>
                    <a:pt x="217539" y="0"/>
                  </a:cubicBezTo>
                  <a:cubicBezTo>
                    <a:pt x="275241" y="0"/>
                    <a:pt x="330550" y="22923"/>
                    <a:pt x="371365" y="63712"/>
                  </a:cubicBezTo>
                  <a:close/>
                </a:path>
              </a:pathLst>
            </a:custGeom>
            <a:grpFill/>
            <a:ln w="27192" cap="flat">
              <a:noFill/>
              <a:prstDash val="solid"/>
              <a:miter/>
            </a:ln>
          </p:spPr>
          <p:txBody>
            <a:bodyPr rtlCol="0" anchor="ctr"/>
            <a:lstStyle/>
            <a:p>
              <a:endParaRPr lang="uk-UA" sz="900"/>
            </a:p>
          </p:txBody>
        </p:sp>
        <p:sp>
          <p:nvSpPr>
            <p:cNvPr id="669" name="Freeform: Shape 668">
              <a:extLst>
                <a:ext uri="{FF2B5EF4-FFF2-40B4-BE49-F238E27FC236}">
                  <a16:creationId xmlns:a16="http://schemas.microsoft.com/office/drawing/2014/main" id="{5E2C5A1C-D1D4-8A2B-0D67-3B84F9FD5A4C}"/>
                </a:ext>
              </a:extLst>
            </p:cNvPr>
            <p:cNvSpPr/>
            <p:nvPr/>
          </p:nvSpPr>
          <p:spPr>
            <a:xfrm>
              <a:off x="21719702" y="3709219"/>
              <a:ext cx="435077" cy="435077"/>
            </a:xfrm>
            <a:custGeom>
              <a:avLst/>
              <a:gdLst>
                <a:gd name="connsiteX0" fmla="*/ 0 w 435077"/>
                <a:gd name="connsiteY0" fmla="*/ 435077 h 435077"/>
                <a:gd name="connsiteX1" fmla="*/ 217512 w 435077"/>
                <a:gd name="connsiteY1" fmla="*/ 435077 h 435077"/>
                <a:gd name="connsiteX2" fmla="*/ 217512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12" y="435077"/>
                  </a:lnTo>
                  <a:lnTo>
                    <a:pt x="217512"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670" name="Freeform: Shape 669">
              <a:extLst>
                <a:ext uri="{FF2B5EF4-FFF2-40B4-BE49-F238E27FC236}">
                  <a16:creationId xmlns:a16="http://schemas.microsoft.com/office/drawing/2014/main" id="{F6475B96-3A80-6063-E647-16CBB213E238}"/>
                </a:ext>
              </a:extLst>
            </p:cNvPr>
            <p:cNvSpPr/>
            <p:nvPr/>
          </p:nvSpPr>
          <p:spPr>
            <a:xfrm>
              <a:off x="20849520" y="370921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671" name="Freeform: Shape 670">
              <a:extLst>
                <a:ext uri="{FF2B5EF4-FFF2-40B4-BE49-F238E27FC236}">
                  <a16:creationId xmlns:a16="http://schemas.microsoft.com/office/drawing/2014/main" id="{D732FF60-E47A-4B5F-738F-311386C6E4E9}"/>
                </a:ext>
              </a:extLst>
            </p:cNvPr>
            <p:cNvSpPr/>
            <p:nvPr/>
          </p:nvSpPr>
          <p:spPr>
            <a:xfrm>
              <a:off x="22589856" y="370921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672" name="Freeform: Shape 671">
              <a:extLst>
                <a:ext uri="{FF2B5EF4-FFF2-40B4-BE49-F238E27FC236}">
                  <a16:creationId xmlns:a16="http://schemas.microsoft.com/office/drawing/2014/main" id="{4C5301DE-F007-DB70-D8C5-C932AEE35FD1}"/>
                </a:ext>
              </a:extLst>
            </p:cNvPr>
            <p:cNvSpPr/>
            <p:nvPr/>
          </p:nvSpPr>
          <p:spPr>
            <a:xfrm>
              <a:off x="23460039" y="3709219"/>
              <a:ext cx="435077" cy="435077"/>
            </a:xfrm>
            <a:custGeom>
              <a:avLst/>
              <a:gdLst>
                <a:gd name="connsiteX0" fmla="*/ 371339 w 435077"/>
                <a:gd name="connsiteY0" fmla="*/ 63712 h 435077"/>
                <a:gd name="connsiteX1" fmla="*/ 435077 w 435077"/>
                <a:gd name="connsiteY1" fmla="*/ 217539 h 435077"/>
                <a:gd name="connsiteX2" fmla="*/ 218925 w 435077"/>
                <a:gd name="connsiteY2" fmla="*/ 217539 h 435077"/>
                <a:gd name="connsiteX3" fmla="*/ 371339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25 w 435077"/>
                <a:gd name="connsiteY8" fmla="*/ 217539 h 435077"/>
                <a:gd name="connsiteX9" fmla="*/ 0 w 435077"/>
                <a:gd name="connsiteY9" fmla="*/ 217539 h 435077"/>
                <a:gd name="connsiteX10" fmla="*/ 63712 w 435077"/>
                <a:gd name="connsiteY10" fmla="*/ 63712 h 435077"/>
                <a:gd name="connsiteX11" fmla="*/ 217539 w 435077"/>
                <a:gd name="connsiteY11" fmla="*/ 0 h 435077"/>
                <a:gd name="connsiteX12" fmla="*/ 371339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12"/>
                  </a:moveTo>
                  <a:cubicBezTo>
                    <a:pt x="412154" y="104500"/>
                    <a:pt x="435077" y="159837"/>
                    <a:pt x="435077" y="217539"/>
                  </a:cubicBezTo>
                  <a:lnTo>
                    <a:pt x="218925" y="217539"/>
                  </a:lnTo>
                  <a:cubicBezTo>
                    <a:pt x="276111" y="217892"/>
                    <a:pt x="330876" y="240788"/>
                    <a:pt x="371339" y="281250"/>
                  </a:cubicBezTo>
                  <a:cubicBezTo>
                    <a:pt x="412154" y="322039"/>
                    <a:pt x="435077" y="377375"/>
                    <a:pt x="435077" y="435077"/>
                  </a:cubicBezTo>
                  <a:lnTo>
                    <a:pt x="217539" y="435077"/>
                  </a:lnTo>
                  <a:lnTo>
                    <a:pt x="0" y="435077"/>
                  </a:lnTo>
                  <a:cubicBezTo>
                    <a:pt x="0" y="377375"/>
                    <a:pt x="22895" y="322039"/>
                    <a:pt x="63712" y="281250"/>
                  </a:cubicBezTo>
                  <a:cubicBezTo>
                    <a:pt x="104174" y="240788"/>
                    <a:pt x="158938" y="217892"/>
                    <a:pt x="216125" y="217539"/>
                  </a:cubicBezTo>
                  <a:lnTo>
                    <a:pt x="0" y="217539"/>
                  </a:lnTo>
                  <a:cubicBezTo>
                    <a:pt x="0" y="159837"/>
                    <a:pt x="22895" y="104500"/>
                    <a:pt x="63712" y="63712"/>
                  </a:cubicBezTo>
                  <a:cubicBezTo>
                    <a:pt x="104501" y="22923"/>
                    <a:pt x="159836" y="0"/>
                    <a:pt x="217539" y="0"/>
                  </a:cubicBezTo>
                  <a:cubicBezTo>
                    <a:pt x="275213" y="0"/>
                    <a:pt x="330550" y="22923"/>
                    <a:pt x="371339" y="63712"/>
                  </a:cubicBezTo>
                  <a:close/>
                </a:path>
              </a:pathLst>
            </a:custGeom>
            <a:grpFill/>
            <a:ln w="27192" cap="flat">
              <a:noFill/>
              <a:prstDash val="solid"/>
              <a:miter/>
            </a:ln>
          </p:spPr>
          <p:txBody>
            <a:bodyPr rtlCol="0" anchor="ctr"/>
            <a:lstStyle/>
            <a:p>
              <a:endParaRPr lang="uk-UA" sz="900"/>
            </a:p>
          </p:txBody>
        </p:sp>
        <p:sp>
          <p:nvSpPr>
            <p:cNvPr id="673" name="Freeform: Shape 672">
              <a:extLst>
                <a:ext uri="{FF2B5EF4-FFF2-40B4-BE49-F238E27FC236}">
                  <a16:creationId xmlns:a16="http://schemas.microsoft.com/office/drawing/2014/main" id="{ED6C71BF-EC9A-884A-A826-714A0988E981}"/>
                </a:ext>
              </a:extLst>
            </p:cNvPr>
            <p:cNvSpPr/>
            <p:nvPr/>
          </p:nvSpPr>
          <p:spPr>
            <a:xfrm>
              <a:off x="24330194" y="370921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674" name="Freeform: Shape 673">
              <a:extLst>
                <a:ext uri="{FF2B5EF4-FFF2-40B4-BE49-F238E27FC236}">
                  <a16:creationId xmlns:a16="http://schemas.microsoft.com/office/drawing/2014/main" id="{B84933E6-0B80-6C93-E0CE-EB5DE55720F4}"/>
                </a:ext>
              </a:extLst>
            </p:cNvPr>
            <p:cNvSpPr/>
            <p:nvPr/>
          </p:nvSpPr>
          <p:spPr>
            <a:xfrm>
              <a:off x="835769" y="4579374"/>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675" name="Freeform: Shape 674">
              <a:extLst>
                <a:ext uri="{FF2B5EF4-FFF2-40B4-BE49-F238E27FC236}">
                  <a16:creationId xmlns:a16="http://schemas.microsoft.com/office/drawing/2014/main" id="{D9A897A4-B3DA-832F-8847-5178131CDA9D}"/>
                </a:ext>
              </a:extLst>
            </p:cNvPr>
            <p:cNvSpPr/>
            <p:nvPr/>
          </p:nvSpPr>
          <p:spPr>
            <a:xfrm>
              <a:off x="-34398" y="4579374"/>
              <a:ext cx="435063" cy="435077"/>
            </a:xfrm>
            <a:custGeom>
              <a:avLst/>
              <a:gdLst>
                <a:gd name="connsiteX0" fmla="*/ 435064 w 435063"/>
                <a:gd name="connsiteY0" fmla="*/ 435077 h 435077"/>
                <a:gd name="connsiteX1" fmla="*/ 435064 w 435063"/>
                <a:gd name="connsiteY1" fmla="*/ 217539 h 435077"/>
                <a:gd name="connsiteX2" fmla="*/ 435064 w 435063"/>
                <a:gd name="connsiteY2" fmla="*/ 27 h 435077"/>
                <a:gd name="connsiteX3" fmla="*/ 217552 w 435063"/>
                <a:gd name="connsiteY3" fmla="*/ 27 h 435077"/>
                <a:gd name="connsiteX4" fmla="*/ 435064 w 435063"/>
                <a:gd name="connsiteY4" fmla="*/ 217539 h 435077"/>
                <a:gd name="connsiteX5" fmla="*/ 217552 w 435063"/>
                <a:gd name="connsiteY5" fmla="*/ 435077 h 435077"/>
                <a:gd name="connsiteX6" fmla="*/ 435064 w 435063"/>
                <a:gd name="connsiteY6" fmla="*/ 435077 h 435077"/>
                <a:gd name="connsiteX7" fmla="*/ 0 w 435063"/>
                <a:gd name="connsiteY7" fmla="*/ 217539 h 435077"/>
                <a:gd name="connsiteX8" fmla="*/ 0 w 435063"/>
                <a:gd name="connsiteY8" fmla="*/ 0 h 435077"/>
                <a:gd name="connsiteX9" fmla="*/ 217525 w 435063"/>
                <a:gd name="connsiteY9" fmla="*/ 217539 h 435077"/>
                <a:gd name="connsiteX10" fmla="*/ 0 w 435063"/>
                <a:gd name="connsiteY10" fmla="*/ 217539 h 435077"/>
                <a:gd name="connsiteX11" fmla="*/ 0 w 435063"/>
                <a:gd name="connsiteY11" fmla="*/ 435077 h 435077"/>
                <a:gd name="connsiteX12" fmla="*/ 0 w 435063"/>
                <a:gd name="connsiteY12" fmla="*/ 217539 h 435077"/>
                <a:gd name="connsiteX13" fmla="*/ 217525 w 435063"/>
                <a:gd name="connsiteY13" fmla="*/ 217539 h 435077"/>
                <a:gd name="connsiteX14" fmla="*/ 0 w 435063"/>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63" h="435077">
                  <a:moveTo>
                    <a:pt x="435064" y="435077"/>
                  </a:moveTo>
                  <a:lnTo>
                    <a:pt x="435064" y="217539"/>
                  </a:lnTo>
                  <a:lnTo>
                    <a:pt x="435064" y="27"/>
                  </a:lnTo>
                  <a:lnTo>
                    <a:pt x="217552" y="27"/>
                  </a:lnTo>
                  <a:lnTo>
                    <a:pt x="435064" y="217539"/>
                  </a:lnTo>
                  <a:lnTo>
                    <a:pt x="217552" y="435077"/>
                  </a:lnTo>
                  <a:lnTo>
                    <a:pt x="435064" y="435077"/>
                  </a:lnTo>
                  <a:close/>
                  <a:moveTo>
                    <a:pt x="0" y="217539"/>
                  </a:moveTo>
                  <a:lnTo>
                    <a:pt x="0" y="0"/>
                  </a:lnTo>
                  <a:lnTo>
                    <a:pt x="217525" y="217539"/>
                  </a:lnTo>
                  <a:lnTo>
                    <a:pt x="0" y="217539"/>
                  </a:lnTo>
                  <a:close/>
                  <a:moveTo>
                    <a:pt x="0" y="435077"/>
                  </a:moveTo>
                  <a:lnTo>
                    <a:pt x="0" y="217539"/>
                  </a:lnTo>
                  <a:lnTo>
                    <a:pt x="217525" y="217539"/>
                  </a:lnTo>
                  <a:lnTo>
                    <a:pt x="0" y="435077"/>
                  </a:lnTo>
                  <a:close/>
                </a:path>
              </a:pathLst>
            </a:custGeom>
            <a:grpFill/>
            <a:ln w="27192" cap="flat">
              <a:noFill/>
              <a:prstDash val="solid"/>
              <a:miter/>
            </a:ln>
          </p:spPr>
          <p:txBody>
            <a:bodyPr rtlCol="0" anchor="ctr"/>
            <a:lstStyle/>
            <a:p>
              <a:endParaRPr lang="uk-UA" sz="900"/>
            </a:p>
          </p:txBody>
        </p:sp>
        <p:sp>
          <p:nvSpPr>
            <p:cNvPr id="676" name="Freeform: Shape 675">
              <a:extLst>
                <a:ext uri="{FF2B5EF4-FFF2-40B4-BE49-F238E27FC236}">
                  <a16:creationId xmlns:a16="http://schemas.microsoft.com/office/drawing/2014/main" id="{7CDDD3CA-0E81-8F3E-884F-75CC5D1F2193}"/>
                </a:ext>
              </a:extLst>
            </p:cNvPr>
            <p:cNvSpPr/>
            <p:nvPr/>
          </p:nvSpPr>
          <p:spPr>
            <a:xfrm>
              <a:off x="1705924" y="4579374"/>
              <a:ext cx="435077" cy="435077"/>
            </a:xfrm>
            <a:custGeom>
              <a:avLst/>
              <a:gdLst>
                <a:gd name="connsiteX0" fmla="*/ 435077 w 435077"/>
                <a:gd name="connsiteY0" fmla="*/ 435077 h 435077"/>
                <a:gd name="connsiteX1" fmla="*/ 435077 w 435077"/>
                <a:gd name="connsiteY1" fmla="*/ 0 h 435077"/>
                <a:gd name="connsiteX2" fmla="*/ 217566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6"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677" name="Freeform: Shape 676">
              <a:extLst>
                <a:ext uri="{FF2B5EF4-FFF2-40B4-BE49-F238E27FC236}">
                  <a16:creationId xmlns:a16="http://schemas.microsoft.com/office/drawing/2014/main" id="{2C60ADB5-9EA5-F03E-6EB4-C973A313A551}"/>
                </a:ext>
              </a:extLst>
            </p:cNvPr>
            <p:cNvSpPr/>
            <p:nvPr/>
          </p:nvSpPr>
          <p:spPr>
            <a:xfrm>
              <a:off x="2576106" y="457937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3" y="113038"/>
                    <a:pt x="0" y="57702"/>
                    <a:pt x="0" y="0"/>
                  </a:cubicBezTo>
                  <a:lnTo>
                    <a:pt x="217539" y="0"/>
                  </a:lnTo>
                  <a:lnTo>
                    <a:pt x="435077" y="0"/>
                  </a:lnTo>
                  <a:cubicBezTo>
                    <a:pt x="435077" y="57702"/>
                    <a:pt x="412154" y="113038"/>
                    <a:pt x="371366" y="153827"/>
                  </a:cubicBezTo>
                  <a:cubicBezTo>
                    <a:pt x="330550" y="194616"/>
                    <a:pt x="275214" y="217539"/>
                    <a:pt x="217539" y="217539"/>
                  </a:cubicBezTo>
                  <a:cubicBezTo>
                    <a:pt x="159837" y="217539"/>
                    <a:pt x="104500" y="194616"/>
                    <a:pt x="63712" y="153827"/>
                  </a:cubicBezTo>
                  <a:close/>
                  <a:moveTo>
                    <a:pt x="63712" y="281250"/>
                  </a:moveTo>
                  <a:cubicBezTo>
                    <a:pt x="22923" y="322066"/>
                    <a:pt x="0" y="377375"/>
                    <a:pt x="0" y="435077"/>
                  </a:cubicBezTo>
                  <a:lnTo>
                    <a:pt x="217539" y="435077"/>
                  </a:lnTo>
                  <a:lnTo>
                    <a:pt x="435077" y="435077"/>
                  </a:lnTo>
                  <a:cubicBezTo>
                    <a:pt x="435077" y="377375"/>
                    <a:pt x="412154" y="322066"/>
                    <a:pt x="371366" y="281250"/>
                  </a:cubicBezTo>
                  <a:cubicBezTo>
                    <a:pt x="330550" y="240462"/>
                    <a:pt x="275214" y="217539"/>
                    <a:pt x="217539" y="217539"/>
                  </a:cubicBezTo>
                  <a:cubicBezTo>
                    <a:pt x="159837" y="217539"/>
                    <a:pt x="104500" y="240462"/>
                    <a:pt x="63712" y="281250"/>
                  </a:cubicBezTo>
                  <a:close/>
                </a:path>
              </a:pathLst>
            </a:custGeom>
            <a:grpFill/>
            <a:ln w="27192" cap="flat">
              <a:noFill/>
              <a:prstDash val="solid"/>
              <a:miter/>
            </a:ln>
          </p:spPr>
          <p:txBody>
            <a:bodyPr rtlCol="0" anchor="ctr"/>
            <a:lstStyle/>
            <a:p>
              <a:endParaRPr lang="uk-UA" sz="900"/>
            </a:p>
          </p:txBody>
        </p:sp>
        <p:sp>
          <p:nvSpPr>
            <p:cNvPr id="678" name="Freeform: Shape 677">
              <a:extLst>
                <a:ext uri="{FF2B5EF4-FFF2-40B4-BE49-F238E27FC236}">
                  <a16:creationId xmlns:a16="http://schemas.microsoft.com/office/drawing/2014/main" id="{A164E6F2-B4B3-EA62-BB85-55A40E1373F1}"/>
                </a:ext>
              </a:extLst>
            </p:cNvPr>
            <p:cNvSpPr/>
            <p:nvPr/>
          </p:nvSpPr>
          <p:spPr>
            <a:xfrm>
              <a:off x="4316416" y="4579374"/>
              <a:ext cx="435077" cy="435077"/>
            </a:xfrm>
            <a:custGeom>
              <a:avLst/>
              <a:gdLst>
                <a:gd name="connsiteX0" fmla="*/ 217565 w 435077"/>
                <a:gd name="connsiteY0" fmla="*/ 435077 h 435077"/>
                <a:gd name="connsiteX1" fmla="*/ 217565 w 435077"/>
                <a:gd name="connsiteY1" fmla="*/ 0 h 435077"/>
                <a:gd name="connsiteX2" fmla="*/ 435077 w 435077"/>
                <a:gd name="connsiteY2" fmla="*/ 217539 h 435077"/>
                <a:gd name="connsiteX3" fmla="*/ 217565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65" y="435077"/>
                  </a:moveTo>
                  <a:lnTo>
                    <a:pt x="217565" y="0"/>
                  </a:lnTo>
                  <a:lnTo>
                    <a:pt x="435077" y="217539"/>
                  </a:lnTo>
                  <a:lnTo>
                    <a:pt x="217565"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679" name="Freeform: Shape 678">
              <a:extLst>
                <a:ext uri="{FF2B5EF4-FFF2-40B4-BE49-F238E27FC236}">
                  <a16:creationId xmlns:a16="http://schemas.microsoft.com/office/drawing/2014/main" id="{74D2C706-32AE-0F44-55EB-71A0F2E2C23D}"/>
                </a:ext>
              </a:extLst>
            </p:cNvPr>
            <p:cNvSpPr/>
            <p:nvPr/>
          </p:nvSpPr>
          <p:spPr>
            <a:xfrm>
              <a:off x="3446261" y="4579374"/>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6 w 435077"/>
                <a:gd name="connsiteY3" fmla="*/ 27 h 435077"/>
                <a:gd name="connsiteX4" fmla="*/ 435077 w 435077"/>
                <a:gd name="connsiteY4" fmla="*/ 217539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6" y="27"/>
                  </a:lnTo>
                  <a:lnTo>
                    <a:pt x="435077" y="217539"/>
                  </a:lnTo>
                  <a:lnTo>
                    <a:pt x="217566"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680" name="Freeform: Shape 679">
              <a:extLst>
                <a:ext uri="{FF2B5EF4-FFF2-40B4-BE49-F238E27FC236}">
                  <a16:creationId xmlns:a16="http://schemas.microsoft.com/office/drawing/2014/main" id="{2A6C1491-E350-2BCF-2D0F-F795E773DFA0}"/>
                </a:ext>
              </a:extLst>
            </p:cNvPr>
            <p:cNvSpPr/>
            <p:nvPr/>
          </p:nvSpPr>
          <p:spPr>
            <a:xfrm>
              <a:off x="5186597" y="4579374"/>
              <a:ext cx="435077" cy="435077"/>
            </a:xfrm>
            <a:custGeom>
              <a:avLst/>
              <a:gdLst>
                <a:gd name="connsiteX0" fmla="*/ 435077 w 435077"/>
                <a:gd name="connsiteY0" fmla="*/ 435077 h 435077"/>
                <a:gd name="connsiteX1" fmla="*/ 435077 w 435077"/>
                <a:gd name="connsiteY1" fmla="*/ 0 h 435077"/>
                <a:gd name="connsiteX2" fmla="*/ 217566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6"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681" name="Freeform: Shape 680">
              <a:extLst>
                <a:ext uri="{FF2B5EF4-FFF2-40B4-BE49-F238E27FC236}">
                  <a16:creationId xmlns:a16="http://schemas.microsoft.com/office/drawing/2014/main" id="{2E3130EB-4451-D107-FA76-B67CE1C26B3F}"/>
                </a:ext>
              </a:extLst>
            </p:cNvPr>
            <p:cNvSpPr/>
            <p:nvPr/>
          </p:nvSpPr>
          <p:spPr>
            <a:xfrm>
              <a:off x="6056752" y="457937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8"/>
                    <a:pt x="0" y="57702"/>
                    <a:pt x="0" y="0"/>
                  </a:cubicBezTo>
                  <a:lnTo>
                    <a:pt x="217539" y="0"/>
                  </a:lnTo>
                  <a:lnTo>
                    <a:pt x="435077" y="0"/>
                  </a:lnTo>
                  <a:cubicBezTo>
                    <a:pt x="435077" y="57702"/>
                    <a:pt x="412155" y="113038"/>
                    <a:pt x="371366" y="153827"/>
                  </a:cubicBezTo>
                  <a:cubicBezTo>
                    <a:pt x="330550" y="194616"/>
                    <a:pt x="275241" y="217539"/>
                    <a:pt x="217539" y="217539"/>
                  </a:cubicBezTo>
                  <a:cubicBezTo>
                    <a:pt x="159837" y="217539"/>
                    <a:pt x="104501" y="194616"/>
                    <a:pt x="63712" y="153827"/>
                  </a:cubicBezTo>
                  <a:close/>
                  <a:moveTo>
                    <a:pt x="63712" y="281250"/>
                  </a:moveTo>
                  <a:cubicBezTo>
                    <a:pt x="22924" y="322066"/>
                    <a:pt x="0" y="377375"/>
                    <a:pt x="0" y="435077"/>
                  </a:cubicBezTo>
                  <a:lnTo>
                    <a:pt x="217539" y="435077"/>
                  </a:lnTo>
                  <a:lnTo>
                    <a:pt x="435077" y="435077"/>
                  </a:lnTo>
                  <a:cubicBezTo>
                    <a:pt x="435077" y="377375"/>
                    <a:pt x="412155" y="322066"/>
                    <a:pt x="371366" y="281250"/>
                  </a:cubicBezTo>
                  <a:cubicBezTo>
                    <a:pt x="330550" y="240462"/>
                    <a:pt x="275241" y="217539"/>
                    <a:pt x="217539" y="217539"/>
                  </a:cubicBezTo>
                  <a:cubicBezTo>
                    <a:pt x="159837" y="217539"/>
                    <a:pt x="104501" y="240462"/>
                    <a:pt x="63712" y="281250"/>
                  </a:cubicBezTo>
                  <a:close/>
                </a:path>
              </a:pathLst>
            </a:custGeom>
            <a:grpFill/>
            <a:ln w="27192" cap="flat">
              <a:noFill/>
              <a:prstDash val="solid"/>
              <a:miter/>
            </a:ln>
          </p:spPr>
          <p:txBody>
            <a:bodyPr rtlCol="0" anchor="ctr"/>
            <a:lstStyle/>
            <a:p>
              <a:endParaRPr lang="uk-UA" sz="900"/>
            </a:p>
          </p:txBody>
        </p:sp>
        <p:sp>
          <p:nvSpPr>
            <p:cNvPr id="682" name="Freeform: Shape 681">
              <a:extLst>
                <a:ext uri="{FF2B5EF4-FFF2-40B4-BE49-F238E27FC236}">
                  <a16:creationId xmlns:a16="http://schemas.microsoft.com/office/drawing/2014/main" id="{B5E2F6A9-BD27-618E-2206-B3BCD5EA8300}"/>
                </a:ext>
              </a:extLst>
            </p:cNvPr>
            <p:cNvSpPr/>
            <p:nvPr/>
          </p:nvSpPr>
          <p:spPr>
            <a:xfrm>
              <a:off x="7797062" y="4579374"/>
              <a:ext cx="435077" cy="435077"/>
            </a:xfrm>
            <a:custGeom>
              <a:avLst/>
              <a:gdLst>
                <a:gd name="connsiteX0" fmla="*/ 217566 w 435077"/>
                <a:gd name="connsiteY0" fmla="*/ 435077 h 435077"/>
                <a:gd name="connsiteX1" fmla="*/ 217566 w 435077"/>
                <a:gd name="connsiteY1" fmla="*/ 0 h 435077"/>
                <a:gd name="connsiteX2" fmla="*/ 435077 w 435077"/>
                <a:gd name="connsiteY2" fmla="*/ 217539 h 435077"/>
                <a:gd name="connsiteX3" fmla="*/ 217566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66" y="435077"/>
                  </a:moveTo>
                  <a:lnTo>
                    <a:pt x="217566" y="0"/>
                  </a:lnTo>
                  <a:lnTo>
                    <a:pt x="435077" y="217539"/>
                  </a:lnTo>
                  <a:lnTo>
                    <a:pt x="217566"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683" name="Freeform: Shape 682">
              <a:extLst>
                <a:ext uri="{FF2B5EF4-FFF2-40B4-BE49-F238E27FC236}">
                  <a16:creationId xmlns:a16="http://schemas.microsoft.com/office/drawing/2014/main" id="{C8E96748-7994-5BB3-3974-69AC87FD5C74}"/>
                </a:ext>
              </a:extLst>
            </p:cNvPr>
            <p:cNvSpPr/>
            <p:nvPr/>
          </p:nvSpPr>
          <p:spPr>
            <a:xfrm>
              <a:off x="6926907" y="4579374"/>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6 w 435077"/>
                <a:gd name="connsiteY3" fmla="*/ 27 h 435077"/>
                <a:gd name="connsiteX4" fmla="*/ 435077 w 435077"/>
                <a:gd name="connsiteY4" fmla="*/ 217539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6" y="27"/>
                  </a:lnTo>
                  <a:lnTo>
                    <a:pt x="435077" y="217539"/>
                  </a:lnTo>
                  <a:lnTo>
                    <a:pt x="217566"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684" name="Freeform: Shape 683">
              <a:extLst>
                <a:ext uri="{FF2B5EF4-FFF2-40B4-BE49-F238E27FC236}">
                  <a16:creationId xmlns:a16="http://schemas.microsoft.com/office/drawing/2014/main" id="{E85C483F-A279-BBF6-57E9-877F53901245}"/>
                </a:ext>
              </a:extLst>
            </p:cNvPr>
            <p:cNvSpPr/>
            <p:nvPr/>
          </p:nvSpPr>
          <p:spPr>
            <a:xfrm>
              <a:off x="8667217" y="4579374"/>
              <a:ext cx="435104" cy="435077"/>
            </a:xfrm>
            <a:custGeom>
              <a:avLst/>
              <a:gdLst>
                <a:gd name="connsiteX0" fmla="*/ 435105 w 435104"/>
                <a:gd name="connsiteY0" fmla="*/ 435077 h 435077"/>
                <a:gd name="connsiteX1" fmla="*/ 435105 w 435104"/>
                <a:gd name="connsiteY1" fmla="*/ 0 h 435077"/>
                <a:gd name="connsiteX2" fmla="*/ 217566 w 435104"/>
                <a:gd name="connsiteY2" fmla="*/ 217539 h 435077"/>
                <a:gd name="connsiteX3" fmla="*/ 435105 w 435104"/>
                <a:gd name="connsiteY3" fmla="*/ 435077 h 435077"/>
                <a:gd name="connsiteX4" fmla="*/ 0 w 435104"/>
                <a:gd name="connsiteY4" fmla="*/ 435077 h 435077"/>
                <a:gd name="connsiteX5" fmla="*/ 0 w 435104"/>
                <a:gd name="connsiteY5" fmla="*/ 0 h 435077"/>
                <a:gd name="connsiteX6" fmla="*/ 217539 w 435104"/>
                <a:gd name="connsiteY6" fmla="*/ 217539 h 435077"/>
                <a:gd name="connsiteX7" fmla="*/ 0 w 435104"/>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104" h="435077">
                  <a:moveTo>
                    <a:pt x="435105" y="435077"/>
                  </a:moveTo>
                  <a:lnTo>
                    <a:pt x="435105" y="0"/>
                  </a:lnTo>
                  <a:lnTo>
                    <a:pt x="217566" y="217539"/>
                  </a:lnTo>
                  <a:lnTo>
                    <a:pt x="435105"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685" name="Freeform: Shape 684">
              <a:extLst>
                <a:ext uri="{FF2B5EF4-FFF2-40B4-BE49-F238E27FC236}">
                  <a16:creationId xmlns:a16="http://schemas.microsoft.com/office/drawing/2014/main" id="{27A956AB-DB8C-F953-6486-E14868E716A2}"/>
                </a:ext>
              </a:extLst>
            </p:cNvPr>
            <p:cNvSpPr/>
            <p:nvPr/>
          </p:nvSpPr>
          <p:spPr>
            <a:xfrm>
              <a:off x="9537399" y="4579374"/>
              <a:ext cx="435077" cy="435077"/>
            </a:xfrm>
            <a:custGeom>
              <a:avLst/>
              <a:gdLst>
                <a:gd name="connsiteX0" fmla="*/ 63711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1 w 435077"/>
                <a:gd name="connsiteY6" fmla="*/ 153827 h 435077"/>
                <a:gd name="connsiteX7" fmla="*/ 63711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1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1" y="153827"/>
                  </a:moveTo>
                  <a:cubicBezTo>
                    <a:pt x="22923" y="113038"/>
                    <a:pt x="0" y="57702"/>
                    <a:pt x="0" y="0"/>
                  </a:cubicBezTo>
                  <a:lnTo>
                    <a:pt x="217539" y="0"/>
                  </a:lnTo>
                  <a:lnTo>
                    <a:pt x="435077" y="0"/>
                  </a:lnTo>
                  <a:cubicBezTo>
                    <a:pt x="435077" y="57702"/>
                    <a:pt x="412155" y="113038"/>
                    <a:pt x="371366" y="153827"/>
                  </a:cubicBezTo>
                  <a:cubicBezTo>
                    <a:pt x="330550" y="194616"/>
                    <a:pt x="275214" y="217539"/>
                    <a:pt x="217539" y="217539"/>
                  </a:cubicBezTo>
                  <a:cubicBezTo>
                    <a:pt x="159836" y="217539"/>
                    <a:pt x="104500" y="194616"/>
                    <a:pt x="63711" y="153827"/>
                  </a:cubicBezTo>
                  <a:close/>
                  <a:moveTo>
                    <a:pt x="63711" y="281250"/>
                  </a:moveTo>
                  <a:cubicBezTo>
                    <a:pt x="22923" y="322066"/>
                    <a:pt x="0" y="377375"/>
                    <a:pt x="0" y="435077"/>
                  </a:cubicBezTo>
                  <a:lnTo>
                    <a:pt x="217539" y="435077"/>
                  </a:lnTo>
                  <a:lnTo>
                    <a:pt x="435077" y="435077"/>
                  </a:lnTo>
                  <a:cubicBezTo>
                    <a:pt x="435077" y="377375"/>
                    <a:pt x="412155" y="322066"/>
                    <a:pt x="371366" y="281250"/>
                  </a:cubicBezTo>
                  <a:cubicBezTo>
                    <a:pt x="330550" y="240462"/>
                    <a:pt x="275214" y="217539"/>
                    <a:pt x="217539" y="217539"/>
                  </a:cubicBezTo>
                  <a:cubicBezTo>
                    <a:pt x="159836" y="217539"/>
                    <a:pt x="104500" y="240462"/>
                    <a:pt x="63711" y="281250"/>
                  </a:cubicBezTo>
                  <a:close/>
                </a:path>
              </a:pathLst>
            </a:custGeom>
            <a:grpFill/>
            <a:ln w="27192" cap="flat">
              <a:noFill/>
              <a:prstDash val="solid"/>
              <a:miter/>
            </a:ln>
          </p:spPr>
          <p:txBody>
            <a:bodyPr rtlCol="0" anchor="ctr"/>
            <a:lstStyle/>
            <a:p>
              <a:endParaRPr lang="uk-UA" sz="900"/>
            </a:p>
          </p:txBody>
        </p:sp>
        <p:sp>
          <p:nvSpPr>
            <p:cNvPr id="686" name="Freeform: Shape 685">
              <a:extLst>
                <a:ext uri="{FF2B5EF4-FFF2-40B4-BE49-F238E27FC236}">
                  <a16:creationId xmlns:a16="http://schemas.microsoft.com/office/drawing/2014/main" id="{D8231C71-28E7-E372-6164-58121F788EFC}"/>
                </a:ext>
              </a:extLst>
            </p:cNvPr>
            <p:cNvSpPr/>
            <p:nvPr/>
          </p:nvSpPr>
          <p:spPr>
            <a:xfrm>
              <a:off x="11277709" y="4579374"/>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687" name="Freeform: Shape 686">
              <a:extLst>
                <a:ext uri="{FF2B5EF4-FFF2-40B4-BE49-F238E27FC236}">
                  <a16:creationId xmlns:a16="http://schemas.microsoft.com/office/drawing/2014/main" id="{54EE6123-4B35-0834-B47F-FC079F75964C}"/>
                </a:ext>
              </a:extLst>
            </p:cNvPr>
            <p:cNvSpPr/>
            <p:nvPr/>
          </p:nvSpPr>
          <p:spPr>
            <a:xfrm>
              <a:off x="10407554" y="4579374"/>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39 w 435077"/>
                <a:gd name="connsiteY3" fmla="*/ 27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1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1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39" y="27"/>
                  </a:lnTo>
                  <a:lnTo>
                    <a:pt x="435077" y="217539"/>
                  </a:lnTo>
                  <a:lnTo>
                    <a:pt x="217539" y="435077"/>
                  </a:lnTo>
                  <a:lnTo>
                    <a:pt x="435077" y="435077"/>
                  </a:lnTo>
                  <a:close/>
                  <a:moveTo>
                    <a:pt x="0" y="217539"/>
                  </a:moveTo>
                  <a:lnTo>
                    <a:pt x="0" y="0"/>
                  </a:lnTo>
                  <a:lnTo>
                    <a:pt x="217511" y="217539"/>
                  </a:lnTo>
                  <a:lnTo>
                    <a:pt x="0" y="217539"/>
                  </a:lnTo>
                  <a:close/>
                  <a:moveTo>
                    <a:pt x="0" y="435077"/>
                  </a:moveTo>
                  <a:lnTo>
                    <a:pt x="0" y="217539"/>
                  </a:lnTo>
                  <a:lnTo>
                    <a:pt x="217511" y="217539"/>
                  </a:lnTo>
                  <a:lnTo>
                    <a:pt x="0" y="435077"/>
                  </a:lnTo>
                  <a:close/>
                </a:path>
              </a:pathLst>
            </a:custGeom>
            <a:grpFill/>
            <a:ln w="27192" cap="flat">
              <a:noFill/>
              <a:prstDash val="solid"/>
              <a:miter/>
            </a:ln>
          </p:spPr>
          <p:txBody>
            <a:bodyPr rtlCol="0" anchor="ctr"/>
            <a:lstStyle/>
            <a:p>
              <a:endParaRPr lang="uk-UA" sz="900"/>
            </a:p>
          </p:txBody>
        </p:sp>
        <p:sp>
          <p:nvSpPr>
            <p:cNvPr id="688" name="Freeform: Shape 687">
              <a:extLst>
                <a:ext uri="{FF2B5EF4-FFF2-40B4-BE49-F238E27FC236}">
                  <a16:creationId xmlns:a16="http://schemas.microsoft.com/office/drawing/2014/main" id="{F41DF6D6-0E8A-1223-0B2E-4FEDFFDDCBB7}"/>
                </a:ext>
              </a:extLst>
            </p:cNvPr>
            <p:cNvSpPr/>
            <p:nvPr/>
          </p:nvSpPr>
          <p:spPr>
            <a:xfrm>
              <a:off x="12147891" y="4579374"/>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689" name="Freeform: Shape 688">
              <a:extLst>
                <a:ext uri="{FF2B5EF4-FFF2-40B4-BE49-F238E27FC236}">
                  <a16:creationId xmlns:a16="http://schemas.microsoft.com/office/drawing/2014/main" id="{C450B14F-614C-A3B4-F61E-B15BD4BD087D}"/>
                </a:ext>
              </a:extLst>
            </p:cNvPr>
            <p:cNvSpPr/>
            <p:nvPr/>
          </p:nvSpPr>
          <p:spPr>
            <a:xfrm>
              <a:off x="13018045" y="457937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8"/>
                    <a:pt x="0" y="57702"/>
                    <a:pt x="0" y="0"/>
                  </a:cubicBezTo>
                  <a:lnTo>
                    <a:pt x="217539" y="0"/>
                  </a:lnTo>
                  <a:lnTo>
                    <a:pt x="435077" y="0"/>
                  </a:lnTo>
                  <a:cubicBezTo>
                    <a:pt x="435077" y="57702"/>
                    <a:pt x="412154" y="113038"/>
                    <a:pt x="371365" y="153827"/>
                  </a:cubicBezTo>
                  <a:cubicBezTo>
                    <a:pt x="330550" y="194616"/>
                    <a:pt x="275241" y="217539"/>
                    <a:pt x="217539" y="217539"/>
                  </a:cubicBezTo>
                  <a:cubicBezTo>
                    <a:pt x="159836" y="217539"/>
                    <a:pt x="104501" y="194616"/>
                    <a:pt x="63712" y="153827"/>
                  </a:cubicBezTo>
                  <a:close/>
                  <a:moveTo>
                    <a:pt x="63712" y="281250"/>
                  </a:moveTo>
                  <a:cubicBezTo>
                    <a:pt x="22924" y="322066"/>
                    <a:pt x="0" y="377375"/>
                    <a:pt x="0" y="435077"/>
                  </a:cubicBezTo>
                  <a:lnTo>
                    <a:pt x="217539" y="435077"/>
                  </a:lnTo>
                  <a:lnTo>
                    <a:pt x="435077" y="435077"/>
                  </a:lnTo>
                  <a:cubicBezTo>
                    <a:pt x="435077" y="377375"/>
                    <a:pt x="412154" y="322066"/>
                    <a:pt x="371365" y="281250"/>
                  </a:cubicBezTo>
                  <a:cubicBezTo>
                    <a:pt x="330550" y="240462"/>
                    <a:pt x="275241" y="217539"/>
                    <a:pt x="217539" y="217539"/>
                  </a:cubicBezTo>
                  <a:cubicBezTo>
                    <a:pt x="159836" y="217539"/>
                    <a:pt x="104501" y="240462"/>
                    <a:pt x="63712" y="281250"/>
                  </a:cubicBezTo>
                  <a:close/>
                </a:path>
              </a:pathLst>
            </a:custGeom>
            <a:grpFill/>
            <a:ln w="27192" cap="flat">
              <a:noFill/>
              <a:prstDash val="solid"/>
              <a:miter/>
            </a:ln>
          </p:spPr>
          <p:txBody>
            <a:bodyPr rtlCol="0" anchor="ctr"/>
            <a:lstStyle/>
            <a:p>
              <a:endParaRPr lang="uk-UA" sz="900"/>
            </a:p>
          </p:txBody>
        </p:sp>
        <p:sp>
          <p:nvSpPr>
            <p:cNvPr id="690" name="Freeform: Shape 689">
              <a:extLst>
                <a:ext uri="{FF2B5EF4-FFF2-40B4-BE49-F238E27FC236}">
                  <a16:creationId xmlns:a16="http://schemas.microsoft.com/office/drawing/2014/main" id="{D81C1BA3-B99E-A8AE-98F5-EF84AA204CD8}"/>
                </a:ext>
              </a:extLst>
            </p:cNvPr>
            <p:cNvSpPr/>
            <p:nvPr/>
          </p:nvSpPr>
          <p:spPr>
            <a:xfrm>
              <a:off x="14758382" y="4579374"/>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691" name="Freeform: Shape 690">
              <a:extLst>
                <a:ext uri="{FF2B5EF4-FFF2-40B4-BE49-F238E27FC236}">
                  <a16:creationId xmlns:a16="http://schemas.microsoft.com/office/drawing/2014/main" id="{518CD23B-795E-C1B6-F488-E6143F64A02F}"/>
                </a:ext>
              </a:extLst>
            </p:cNvPr>
            <p:cNvSpPr/>
            <p:nvPr/>
          </p:nvSpPr>
          <p:spPr>
            <a:xfrm>
              <a:off x="13888200" y="4579374"/>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5 w 435077"/>
                <a:gd name="connsiteY3" fmla="*/ 27 h 435077"/>
                <a:gd name="connsiteX4" fmla="*/ 435077 w 435077"/>
                <a:gd name="connsiteY4" fmla="*/ 217539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5" y="27"/>
                  </a:lnTo>
                  <a:lnTo>
                    <a:pt x="435077" y="217539"/>
                  </a:lnTo>
                  <a:lnTo>
                    <a:pt x="217565"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692" name="Freeform: Shape 691">
              <a:extLst>
                <a:ext uri="{FF2B5EF4-FFF2-40B4-BE49-F238E27FC236}">
                  <a16:creationId xmlns:a16="http://schemas.microsoft.com/office/drawing/2014/main" id="{49E96335-465A-0BA4-92B5-DC320D85842D}"/>
                </a:ext>
              </a:extLst>
            </p:cNvPr>
            <p:cNvSpPr/>
            <p:nvPr/>
          </p:nvSpPr>
          <p:spPr>
            <a:xfrm>
              <a:off x="15628565" y="4579374"/>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0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0" y="217539"/>
                  </a:lnTo>
                  <a:lnTo>
                    <a:pt x="0" y="435077"/>
                  </a:lnTo>
                  <a:close/>
                </a:path>
              </a:pathLst>
            </a:custGeom>
            <a:grpFill/>
            <a:ln w="27192" cap="flat">
              <a:noFill/>
              <a:prstDash val="solid"/>
              <a:miter/>
            </a:ln>
          </p:spPr>
          <p:txBody>
            <a:bodyPr rtlCol="0" anchor="ctr"/>
            <a:lstStyle/>
            <a:p>
              <a:endParaRPr lang="uk-UA" sz="900"/>
            </a:p>
          </p:txBody>
        </p:sp>
        <p:sp>
          <p:nvSpPr>
            <p:cNvPr id="693" name="Freeform: Shape 692">
              <a:extLst>
                <a:ext uri="{FF2B5EF4-FFF2-40B4-BE49-F238E27FC236}">
                  <a16:creationId xmlns:a16="http://schemas.microsoft.com/office/drawing/2014/main" id="{F34E3DE5-CDAA-45C9-0E5E-916BB61957E2}"/>
                </a:ext>
              </a:extLst>
            </p:cNvPr>
            <p:cNvSpPr/>
            <p:nvPr/>
          </p:nvSpPr>
          <p:spPr>
            <a:xfrm>
              <a:off x="16498719" y="4579374"/>
              <a:ext cx="435077" cy="435077"/>
            </a:xfrm>
            <a:custGeom>
              <a:avLst/>
              <a:gdLst>
                <a:gd name="connsiteX0" fmla="*/ 63710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0 w 435077"/>
                <a:gd name="connsiteY6" fmla="*/ 153827 h 435077"/>
                <a:gd name="connsiteX7" fmla="*/ 63710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50 h 435077"/>
                <a:gd name="connsiteX12" fmla="*/ 217539 w 435077"/>
                <a:gd name="connsiteY12" fmla="*/ 217539 h 435077"/>
                <a:gd name="connsiteX13" fmla="*/ 63710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7"/>
                  </a:moveTo>
                  <a:cubicBezTo>
                    <a:pt x="22895" y="113038"/>
                    <a:pt x="0" y="57702"/>
                    <a:pt x="0" y="0"/>
                  </a:cubicBezTo>
                  <a:lnTo>
                    <a:pt x="217539" y="0"/>
                  </a:lnTo>
                  <a:lnTo>
                    <a:pt x="435077" y="0"/>
                  </a:lnTo>
                  <a:cubicBezTo>
                    <a:pt x="435077" y="57702"/>
                    <a:pt x="412154" y="113038"/>
                    <a:pt x="371339" y="153827"/>
                  </a:cubicBezTo>
                  <a:cubicBezTo>
                    <a:pt x="330550" y="194616"/>
                    <a:pt x="275213" y="217539"/>
                    <a:pt x="217539" y="217539"/>
                  </a:cubicBezTo>
                  <a:cubicBezTo>
                    <a:pt x="159836" y="217539"/>
                    <a:pt x="104499" y="194616"/>
                    <a:pt x="63710" y="153827"/>
                  </a:cubicBezTo>
                  <a:close/>
                  <a:moveTo>
                    <a:pt x="63710" y="281250"/>
                  </a:moveTo>
                  <a:cubicBezTo>
                    <a:pt x="22895" y="322066"/>
                    <a:pt x="0" y="377375"/>
                    <a:pt x="0" y="435077"/>
                  </a:cubicBezTo>
                  <a:lnTo>
                    <a:pt x="217539" y="435077"/>
                  </a:lnTo>
                  <a:lnTo>
                    <a:pt x="435077" y="435077"/>
                  </a:lnTo>
                  <a:cubicBezTo>
                    <a:pt x="435077" y="377375"/>
                    <a:pt x="412154" y="322066"/>
                    <a:pt x="371339" y="281250"/>
                  </a:cubicBezTo>
                  <a:cubicBezTo>
                    <a:pt x="330550" y="240462"/>
                    <a:pt x="275213" y="217539"/>
                    <a:pt x="217539" y="217539"/>
                  </a:cubicBezTo>
                  <a:cubicBezTo>
                    <a:pt x="159836" y="217539"/>
                    <a:pt x="104499" y="240462"/>
                    <a:pt x="63710" y="281250"/>
                  </a:cubicBezTo>
                  <a:close/>
                </a:path>
              </a:pathLst>
            </a:custGeom>
            <a:grpFill/>
            <a:ln w="27192" cap="flat">
              <a:noFill/>
              <a:prstDash val="solid"/>
              <a:miter/>
            </a:ln>
          </p:spPr>
          <p:txBody>
            <a:bodyPr rtlCol="0" anchor="ctr"/>
            <a:lstStyle/>
            <a:p>
              <a:endParaRPr lang="uk-UA" sz="900"/>
            </a:p>
          </p:txBody>
        </p:sp>
        <p:sp>
          <p:nvSpPr>
            <p:cNvPr id="694" name="Freeform: Shape 693">
              <a:extLst>
                <a:ext uri="{FF2B5EF4-FFF2-40B4-BE49-F238E27FC236}">
                  <a16:creationId xmlns:a16="http://schemas.microsoft.com/office/drawing/2014/main" id="{7ABB5F5E-86D6-3784-EF36-650586C7D055}"/>
                </a:ext>
              </a:extLst>
            </p:cNvPr>
            <p:cNvSpPr/>
            <p:nvPr/>
          </p:nvSpPr>
          <p:spPr>
            <a:xfrm>
              <a:off x="18239029" y="4579374"/>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695" name="Freeform: Shape 694">
              <a:extLst>
                <a:ext uri="{FF2B5EF4-FFF2-40B4-BE49-F238E27FC236}">
                  <a16:creationId xmlns:a16="http://schemas.microsoft.com/office/drawing/2014/main" id="{75866F90-4E77-8C25-1980-0FC931CFB898}"/>
                </a:ext>
              </a:extLst>
            </p:cNvPr>
            <p:cNvSpPr/>
            <p:nvPr/>
          </p:nvSpPr>
          <p:spPr>
            <a:xfrm>
              <a:off x="17368874" y="4579374"/>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39 w 435077"/>
                <a:gd name="connsiteY3" fmla="*/ 27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0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0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39" y="27"/>
                  </a:lnTo>
                  <a:lnTo>
                    <a:pt x="435077" y="217539"/>
                  </a:lnTo>
                  <a:lnTo>
                    <a:pt x="217539" y="435077"/>
                  </a:lnTo>
                  <a:lnTo>
                    <a:pt x="435077" y="435077"/>
                  </a:lnTo>
                  <a:close/>
                  <a:moveTo>
                    <a:pt x="0" y="217539"/>
                  </a:moveTo>
                  <a:lnTo>
                    <a:pt x="0" y="0"/>
                  </a:lnTo>
                  <a:lnTo>
                    <a:pt x="217510" y="217539"/>
                  </a:lnTo>
                  <a:lnTo>
                    <a:pt x="0" y="217539"/>
                  </a:lnTo>
                  <a:close/>
                  <a:moveTo>
                    <a:pt x="0" y="435077"/>
                  </a:moveTo>
                  <a:lnTo>
                    <a:pt x="0" y="217539"/>
                  </a:lnTo>
                  <a:lnTo>
                    <a:pt x="217510" y="217539"/>
                  </a:lnTo>
                  <a:lnTo>
                    <a:pt x="0" y="435077"/>
                  </a:lnTo>
                  <a:close/>
                </a:path>
              </a:pathLst>
            </a:custGeom>
            <a:grpFill/>
            <a:ln w="27192" cap="flat">
              <a:noFill/>
              <a:prstDash val="solid"/>
              <a:miter/>
            </a:ln>
          </p:spPr>
          <p:txBody>
            <a:bodyPr rtlCol="0" anchor="ctr"/>
            <a:lstStyle/>
            <a:p>
              <a:endParaRPr lang="uk-UA" sz="900"/>
            </a:p>
          </p:txBody>
        </p:sp>
        <p:sp>
          <p:nvSpPr>
            <p:cNvPr id="696" name="Freeform: Shape 695">
              <a:extLst>
                <a:ext uri="{FF2B5EF4-FFF2-40B4-BE49-F238E27FC236}">
                  <a16:creationId xmlns:a16="http://schemas.microsoft.com/office/drawing/2014/main" id="{70F224A9-FF5B-6D17-9CC0-C84A4D0DAC0C}"/>
                </a:ext>
              </a:extLst>
            </p:cNvPr>
            <p:cNvSpPr/>
            <p:nvPr/>
          </p:nvSpPr>
          <p:spPr>
            <a:xfrm>
              <a:off x="19109210" y="4579374"/>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697" name="Freeform: Shape 696">
              <a:extLst>
                <a:ext uri="{FF2B5EF4-FFF2-40B4-BE49-F238E27FC236}">
                  <a16:creationId xmlns:a16="http://schemas.microsoft.com/office/drawing/2014/main" id="{6377FC01-701E-9A8A-3285-8645BE8D8522}"/>
                </a:ext>
              </a:extLst>
            </p:cNvPr>
            <p:cNvSpPr/>
            <p:nvPr/>
          </p:nvSpPr>
          <p:spPr>
            <a:xfrm>
              <a:off x="19979365" y="457937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8"/>
                    <a:pt x="0" y="57702"/>
                    <a:pt x="0" y="0"/>
                  </a:cubicBezTo>
                  <a:lnTo>
                    <a:pt x="217539" y="0"/>
                  </a:lnTo>
                  <a:lnTo>
                    <a:pt x="435077" y="0"/>
                  </a:lnTo>
                  <a:cubicBezTo>
                    <a:pt x="435077" y="57702"/>
                    <a:pt x="412154" y="113038"/>
                    <a:pt x="371365" y="153827"/>
                  </a:cubicBezTo>
                  <a:cubicBezTo>
                    <a:pt x="330550" y="194616"/>
                    <a:pt x="275241" y="217539"/>
                    <a:pt x="217539" y="217539"/>
                  </a:cubicBezTo>
                  <a:cubicBezTo>
                    <a:pt x="159836" y="217539"/>
                    <a:pt x="104501" y="194616"/>
                    <a:pt x="63712" y="153827"/>
                  </a:cubicBezTo>
                  <a:close/>
                  <a:moveTo>
                    <a:pt x="63712" y="281250"/>
                  </a:moveTo>
                  <a:cubicBezTo>
                    <a:pt x="22924" y="322066"/>
                    <a:pt x="0" y="377375"/>
                    <a:pt x="0" y="435077"/>
                  </a:cubicBezTo>
                  <a:lnTo>
                    <a:pt x="217539" y="435077"/>
                  </a:lnTo>
                  <a:lnTo>
                    <a:pt x="435077" y="435077"/>
                  </a:lnTo>
                  <a:cubicBezTo>
                    <a:pt x="435077" y="377375"/>
                    <a:pt x="412154" y="322066"/>
                    <a:pt x="371365" y="281250"/>
                  </a:cubicBezTo>
                  <a:cubicBezTo>
                    <a:pt x="330550" y="240462"/>
                    <a:pt x="275241" y="217539"/>
                    <a:pt x="217539" y="217539"/>
                  </a:cubicBezTo>
                  <a:cubicBezTo>
                    <a:pt x="159836" y="217539"/>
                    <a:pt x="104501" y="240462"/>
                    <a:pt x="63712" y="281250"/>
                  </a:cubicBezTo>
                  <a:close/>
                </a:path>
              </a:pathLst>
            </a:custGeom>
            <a:grpFill/>
            <a:ln w="27192" cap="flat">
              <a:noFill/>
              <a:prstDash val="solid"/>
              <a:miter/>
            </a:ln>
          </p:spPr>
          <p:txBody>
            <a:bodyPr rtlCol="0" anchor="ctr"/>
            <a:lstStyle/>
            <a:p>
              <a:endParaRPr lang="uk-UA" sz="900"/>
            </a:p>
          </p:txBody>
        </p:sp>
        <p:sp>
          <p:nvSpPr>
            <p:cNvPr id="698" name="Freeform: Shape 697">
              <a:extLst>
                <a:ext uri="{FF2B5EF4-FFF2-40B4-BE49-F238E27FC236}">
                  <a16:creationId xmlns:a16="http://schemas.microsoft.com/office/drawing/2014/main" id="{DDFC51BC-F427-5475-831D-271439C7B0A1}"/>
                </a:ext>
              </a:extLst>
            </p:cNvPr>
            <p:cNvSpPr/>
            <p:nvPr/>
          </p:nvSpPr>
          <p:spPr>
            <a:xfrm>
              <a:off x="21719702" y="4579374"/>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0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0"/>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699" name="Freeform: Shape 698">
              <a:extLst>
                <a:ext uri="{FF2B5EF4-FFF2-40B4-BE49-F238E27FC236}">
                  <a16:creationId xmlns:a16="http://schemas.microsoft.com/office/drawing/2014/main" id="{B9E21A26-B36B-F659-7E98-EA34B2707EAF}"/>
                </a:ext>
              </a:extLst>
            </p:cNvPr>
            <p:cNvSpPr/>
            <p:nvPr/>
          </p:nvSpPr>
          <p:spPr>
            <a:xfrm>
              <a:off x="20849520" y="4579374"/>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5 w 435077"/>
                <a:gd name="connsiteY3" fmla="*/ 27 h 435077"/>
                <a:gd name="connsiteX4" fmla="*/ 435077 w 435077"/>
                <a:gd name="connsiteY4" fmla="*/ 217539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5" y="27"/>
                  </a:lnTo>
                  <a:lnTo>
                    <a:pt x="435077" y="217539"/>
                  </a:lnTo>
                  <a:lnTo>
                    <a:pt x="217565"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700" name="Freeform: Shape 699">
              <a:extLst>
                <a:ext uri="{FF2B5EF4-FFF2-40B4-BE49-F238E27FC236}">
                  <a16:creationId xmlns:a16="http://schemas.microsoft.com/office/drawing/2014/main" id="{F08B52D7-AF9E-1592-9971-12395ADA4C4E}"/>
                </a:ext>
              </a:extLst>
            </p:cNvPr>
            <p:cNvSpPr/>
            <p:nvPr/>
          </p:nvSpPr>
          <p:spPr>
            <a:xfrm>
              <a:off x="22589856" y="4579374"/>
              <a:ext cx="435077" cy="435077"/>
            </a:xfrm>
            <a:custGeom>
              <a:avLst/>
              <a:gdLst>
                <a:gd name="connsiteX0" fmla="*/ 435077 w 435077"/>
                <a:gd name="connsiteY0" fmla="*/ 435077 h 435077"/>
                <a:gd name="connsiteX1" fmla="*/ 435077 w 435077"/>
                <a:gd name="connsiteY1" fmla="*/ 0 h 435077"/>
                <a:gd name="connsiteX2" fmla="*/ 217567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7"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701" name="Freeform: Shape 700">
              <a:extLst>
                <a:ext uri="{FF2B5EF4-FFF2-40B4-BE49-F238E27FC236}">
                  <a16:creationId xmlns:a16="http://schemas.microsoft.com/office/drawing/2014/main" id="{111AD23C-7B1E-CBFD-1183-98981F0311F3}"/>
                </a:ext>
              </a:extLst>
            </p:cNvPr>
            <p:cNvSpPr/>
            <p:nvPr/>
          </p:nvSpPr>
          <p:spPr>
            <a:xfrm>
              <a:off x="23460039" y="457937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895" y="113038"/>
                    <a:pt x="0" y="57702"/>
                    <a:pt x="0" y="0"/>
                  </a:cubicBezTo>
                  <a:lnTo>
                    <a:pt x="217539" y="0"/>
                  </a:lnTo>
                  <a:lnTo>
                    <a:pt x="435077" y="0"/>
                  </a:lnTo>
                  <a:cubicBezTo>
                    <a:pt x="435077" y="57702"/>
                    <a:pt x="412154" y="113038"/>
                    <a:pt x="371339" y="153827"/>
                  </a:cubicBezTo>
                  <a:cubicBezTo>
                    <a:pt x="330550" y="194616"/>
                    <a:pt x="275213" y="217539"/>
                    <a:pt x="217539" y="217539"/>
                  </a:cubicBezTo>
                  <a:cubicBezTo>
                    <a:pt x="159836" y="217539"/>
                    <a:pt x="104501" y="194616"/>
                    <a:pt x="63712" y="153827"/>
                  </a:cubicBezTo>
                  <a:close/>
                  <a:moveTo>
                    <a:pt x="63712" y="281250"/>
                  </a:moveTo>
                  <a:cubicBezTo>
                    <a:pt x="22895" y="322066"/>
                    <a:pt x="0" y="377375"/>
                    <a:pt x="0" y="435077"/>
                  </a:cubicBezTo>
                  <a:lnTo>
                    <a:pt x="217539" y="435077"/>
                  </a:lnTo>
                  <a:lnTo>
                    <a:pt x="435077" y="435077"/>
                  </a:lnTo>
                  <a:cubicBezTo>
                    <a:pt x="435077" y="377375"/>
                    <a:pt x="412154" y="322066"/>
                    <a:pt x="371339" y="281250"/>
                  </a:cubicBezTo>
                  <a:cubicBezTo>
                    <a:pt x="330550" y="240462"/>
                    <a:pt x="275213" y="217539"/>
                    <a:pt x="217539" y="217539"/>
                  </a:cubicBezTo>
                  <a:cubicBezTo>
                    <a:pt x="159836" y="217539"/>
                    <a:pt x="104501" y="240462"/>
                    <a:pt x="63712" y="281250"/>
                  </a:cubicBezTo>
                  <a:close/>
                </a:path>
              </a:pathLst>
            </a:custGeom>
            <a:grpFill/>
            <a:ln w="27192" cap="flat">
              <a:noFill/>
              <a:prstDash val="solid"/>
              <a:miter/>
            </a:ln>
          </p:spPr>
          <p:txBody>
            <a:bodyPr rtlCol="0" anchor="ctr"/>
            <a:lstStyle/>
            <a:p>
              <a:endParaRPr lang="uk-UA" sz="900"/>
            </a:p>
          </p:txBody>
        </p:sp>
        <p:sp>
          <p:nvSpPr>
            <p:cNvPr id="702" name="Freeform: Shape 701">
              <a:extLst>
                <a:ext uri="{FF2B5EF4-FFF2-40B4-BE49-F238E27FC236}">
                  <a16:creationId xmlns:a16="http://schemas.microsoft.com/office/drawing/2014/main" id="{75BFE939-9348-8C41-D3B9-D03CBD5636AA}"/>
                </a:ext>
              </a:extLst>
            </p:cNvPr>
            <p:cNvSpPr/>
            <p:nvPr/>
          </p:nvSpPr>
          <p:spPr>
            <a:xfrm>
              <a:off x="24330194" y="4579374"/>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39 w 435077"/>
                <a:gd name="connsiteY3" fmla="*/ 27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39" y="27"/>
                  </a:lnTo>
                  <a:lnTo>
                    <a:pt x="435077" y="217539"/>
                  </a:lnTo>
                  <a:lnTo>
                    <a:pt x="217539"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703" name="Freeform: Shape 702">
              <a:extLst>
                <a:ext uri="{FF2B5EF4-FFF2-40B4-BE49-F238E27FC236}">
                  <a16:creationId xmlns:a16="http://schemas.microsoft.com/office/drawing/2014/main" id="{2DA7A3F9-DA00-E116-8880-CDBE3FD8694A}"/>
                </a:ext>
              </a:extLst>
            </p:cNvPr>
            <p:cNvSpPr/>
            <p:nvPr/>
          </p:nvSpPr>
          <p:spPr>
            <a:xfrm>
              <a:off x="835769" y="718983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704" name="Freeform: Shape 703">
              <a:extLst>
                <a:ext uri="{FF2B5EF4-FFF2-40B4-BE49-F238E27FC236}">
                  <a16:creationId xmlns:a16="http://schemas.microsoft.com/office/drawing/2014/main" id="{86D06A88-6BE7-9A39-DF90-EA998EA6812F}"/>
                </a:ext>
              </a:extLst>
            </p:cNvPr>
            <p:cNvSpPr/>
            <p:nvPr/>
          </p:nvSpPr>
          <p:spPr>
            <a:xfrm>
              <a:off x="-34398" y="7189838"/>
              <a:ext cx="435090" cy="435077"/>
            </a:xfrm>
            <a:custGeom>
              <a:avLst/>
              <a:gdLst>
                <a:gd name="connsiteX0" fmla="*/ 0 w 435090"/>
                <a:gd name="connsiteY0" fmla="*/ 435077 h 435077"/>
                <a:gd name="connsiteX1" fmla="*/ 217525 w 435090"/>
                <a:gd name="connsiteY1" fmla="*/ 435077 h 435077"/>
                <a:gd name="connsiteX2" fmla="*/ 217525 w 435090"/>
                <a:gd name="connsiteY2" fmla="*/ 217539 h 435077"/>
                <a:gd name="connsiteX3" fmla="*/ 0 w 435090"/>
                <a:gd name="connsiteY3" fmla="*/ 435077 h 435077"/>
                <a:gd name="connsiteX4" fmla="*/ 217525 w 435090"/>
                <a:gd name="connsiteY4" fmla="*/ 0 h 435077"/>
                <a:gd name="connsiteX5" fmla="*/ 3 w 435090"/>
                <a:gd name="connsiteY5" fmla="*/ 0 h 435077"/>
                <a:gd name="connsiteX6" fmla="*/ 217525 w 435090"/>
                <a:gd name="connsiteY6" fmla="*/ 217539 h 435077"/>
                <a:gd name="connsiteX7" fmla="*/ 217525 w 435090"/>
                <a:gd name="connsiteY7" fmla="*/ 0 h 435077"/>
                <a:gd name="connsiteX8" fmla="*/ 435091 w 435090"/>
                <a:gd name="connsiteY8" fmla="*/ 435077 h 435077"/>
                <a:gd name="connsiteX9" fmla="*/ 217552 w 435090"/>
                <a:gd name="connsiteY9" fmla="*/ 435077 h 435077"/>
                <a:gd name="connsiteX10" fmla="*/ 435091 w 435090"/>
                <a:gd name="connsiteY10" fmla="*/ 217539 h 435077"/>
                <a:gd name="connsiteX11" fmla="*/ 435091 w 435090"/>
                <a:gd name="connsiteY11" fmla="*/ 435077 h 435077"/>
                <a:gd name="connsiteX12" fmla="*/ 435091 w 435090"/>
                <a:gd name="connsiteY12" fmla="*/ 0 h 435077"/>
                <a:gd name="connsiteX13" fmla="*/ 217552 w 435090"/>
                <a:gd name="connsiteY13" fmla="*/ 0 h 435077"/>
                <a:gd name="connsiteX14" fmla="*/ 435091 w 435090"/>
                <a:gd name="connsiteY14" fmla="*/ 217539 h 435077"/>
                <a:gd name="connsiteX15" fmla="*/ 435091 w 435090"/>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90" h="435077">
                  <a:moveTo>
                    <a:pt x="0" y="435077"/>
                  </a:moveTo>
                  <a:lnTo>
                    <a:pt x="217525" y="435077"/>
                  </a:lnTo>
                  <a:lnTo>
                    <a:pt x="217525" y="217539"/>
                  </a:lnTo>
                  <a:lnTo>
                    <a:pt x="0" y="435077"/>
                  </a:lnTo>
                  <a:close/>
                  <a:moveTo>
                    <a:pt x="217525" y="0"/>
                  </a:moveTo>
                  <a:lnTo>
                    <a:pt x="3" y="0"/>
                  </a:lnTo>
                  <a:lnTo>
                    <a:pt x="217525" y="217539"/>
                  </a:lnTo>
                  <a:lnTo>
                    <a:pt x="217525" y="0"/>
                  </a:lnTo>
                  <a:close/>
                  <a:moveTo>
                    <a:pt x="435091" y="435077"/>
                  </a:moveTo>
                  <a:lnTo>
                    <a:pt x="217552" y="435077"/>
                  </a:lnTo>
                  <a:lnTo>
                    <a:pt x="435091" y="217539"/>
                  </a:lnTo>
                  <a:lnTo>
                    <a:pt x="435091" y="435077"/>
                  </a:lnTo>
                  <a:close/>
                  <a:moveTo>
                    <a:pt x="435091" y="0"/>
                  </a:moveTo>
                  <a:lnTo>
                    <a:pt x="217552" y="0"/>
                  </a:lnTo>
                  <a:lnTo>
                    <a:pt x="435091" y="217539"/>
                  </a:lnTo>
                  <a:lnTo>
                    <a:pt x="435091" y="0"/>
                  </a:lnTo>
                  <a:close/>
                </a:path>
              </a:pathLst>
            </a:custGeom>
            <a:grpFill/>
            <a:ln w="27192" cap="flat">
              <a:noFill/>
              <a:prstDash val="solid"/>
              <a:miter/>
            </a:ln>
          </p:spPr>
          <p:txBody>
            <a:bodyPr rtlCol="0" anchor="ctr"/>
            <a:lstStyle/>
            <a:p>
              <a:endParaRPr lang="uk-UA" sz="900"/>
            </a:p>
          </p:txBody>
        </p:sp>
        <p:sp>
          <p:nvSpPr>
            <p:cNvPr id="705" name="Freeform: Shape 704">
              <a:extLst>
                <a:ext uri="{FF2B5EF4-FFF2-40B4-BE49-F238E27FC236}">
                  <a16:creationId xmlns:a16="http://schemas.microsoft.com/office/drawing/2014/main" id="{5ACF2B58-244E-0DF2-3BEE-80A25677B23B}"/>
                </a:ext>
              </a:extLst>
            </p:cNvPr>
            <p:cNvSpPr/>
            <p:nvPr/>
          </p:nvSpPr>
          <p:spPr>
            <a:xfrm>
              <a:off x="1705924" y="7189838"/>
              <a:ext cx="435077" cy="435077"/>
            </a:xfrm>
            <a:custGeom>
              <a:avLst/>
              <a:gdLst>
                <a:gd name="connsiteX0" fmla="*/ 371366 w 435077"/>
                <a:gd name="connsiteY0" fmla="*/ 63711 h 435077"/>
                <a:gd name="connsiteX1" fmla="*/ 435077 w 435077"/>
                <a:gd name="connsiteY1" fmla="*/ 217539 h 435077"/>
                <a:gd name="connsiteX2" fmla="*/ 218952 w 435077"/>
                <a:gd name="connsiteY2" fmla="*/ 217539 h 435077"/>
                <a:gd name="connsiteX3" fmla="*/ 371366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1 w 435077"/>
                <a:gd name="connsiteY7" fmla="*/ 281250 h 435077"/>
                <a:gd name="connsiteX8" fmla="*/ 216152 w 435077"/>
                <a:gd name="connsiteY8" fmla="*/ 217539 h 435077"/>
                <a:gd name="connsiteX9" fmla="*/ 0 w 435077"/>
                <a:gd name="connsiteY9" fmla="*/ 217539 h 435077"/>
                <a:gd name="connsiteX10" fmla="*/ 63711 w 435077"/>
                <a:gd name="connsiteY10" fmla="*/ 63711 h 435077"/>
                <a:gd name="connsiteX11" fmla="*/ 217539 w 435077"/>
                <a:gd name="connsiteY11" fmla="*/ 0 h 435077"/>
                <a:gd name="connsiteX12" fmla="*/ 371366 w 435077"/>
                <a:gd name="connsiteY12" fmla="*/ 63711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1"/>
                  </a:moveTo>
                  <a:cubicBezTo>
                    <a:pt x="412154" y="104527"/>
                    <a:pt x="435077" y="159836"/>
                    <a:pt x="435077" y="217539"/>
                  </a:cubicBezTo>
                  <a:lnTo>
                    <a:pt x="218952" y="217539"/>
                  </a:lnTo>
                  <a:cubicBezTo>
                    <a:pt x="276138" y="217920"/>
                    <a:pt x="330903" y="240788"/>
                    <a:pt x="371366" y="281250"/>
                  </a:cubicBezTo>
                  <a:cubicBezTo>
                    <a:pt x="412154" y="322039"/>
                    <a:pt x="435077" y="377375"/>
                    <a:pt x="435077" y="435077"/>
                  </a:cubicBezTo>
                  <a:lnTo>
                    <a:pt x="217539" y="435077"/>
                  </a:lnTo>
                  <a:lnTo>
                    <a:pt x="0" y="435077"/>
                  </a:lnTo>
                  <a:cubicBezTo>
                    <a:pt x="0" y="377375"/>
                    <a:pt x="22923" y="322039"/>
                    <a:pt x="63711" y="281250"/>
                  </a:cubicBezTo>
                  <a:cubicBezTo>
                    <a:pt x="104201" y="240788"/>
                    <a:pt x="158966" y="217920"/>
                    <a:pt x="216152" y="217539"/>
                  </a:cubicBezTo>
                  <a:lnTo>
                    <a:pt x="0" y="217539"/>
                  </a:lnTo>
                  <a:cubicBezTo>
                    <a:pt x="0" y="159836"/>
                    <a:pt x="22923" y="104527"/>
                    <a:pt x="63711" y="63711"/>
                  </a:cubicBezTo>
                  <a:cubicBezTo>
                    <a:pt x="104527" y="22923"/>
                    <a:pt x="159836" y="0"/>
                    <a:pt x="217539" y="0"/>
                  </a:cubicBezTo>
                  <a:cubicBezTo>
                    <a:pt x="275241" y="0"/>
                    <a:pt x="330577" y="22923"/>
                    <a:pt x="371366" y="63711"/>
                  </a:cubicBezTo>
                  <a:close/>
                </a:path>
              </a:pathLst>
            </a:custGeom>
            <a:grpFill/>
            <a:ln w="27192" cap="flat">
              <a:noFill/>
              <a:prstDash val="solid"/>
              <a:miter/>
            </a:ln>
          </p:spPr>
          <p:txBody>
            <a:bodyPr rtlCol="0" anchor="ctr"/>
            <a:lstStyle/>
            <a:p>
              <a:endParaRPr lang="uk-UA" sz="900"/>
            </a:p>
          </p:txBody>
        </p:sp>
        <p:sp>
          <p:nvSpPr>
            <p:cNvPr id="706" name="Freeform: Shape 705">
              <a:extLst>
                <a:ext uri="{FF2B5EF4-FFF2-40B4-BE49-F238E27FC236}">
                  <a16:creationId xmlns:a16="http://schemas.microsoft.com/office/drawing/2014/main" id="{8839454A-44BB-EDAD-1980-78774856B83E}"/>
                </a:ext>
              </a:extLst>
            </p:cNvPr>
            <p:cNvSpPr/>
            <p:nvPr/>
          </p:nvSpPr>
          <p:spPr>
            <a:xfrm>
              <a:off x="2576106" y="718983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50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50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50" y="217539"/>
                  </a:lnTo>
                  <a:lnTo>
                    <a:pt x="435077" y="217539"/>
                  </a:lnTo>
                  <a:lnTo>
                    <a:pt x="435077" y="217539"/>
                  </a:lnTo>
                  <a:lnTo>
                    <a:pt x="435077" y="217539"/>
                  </a:lnTo>
                  <a:lnTo>
                    <a:pt x="435050"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707" name="Freeform: Shape 706">
              <a:extLst>
                <a:ext uri="{FF2B5EF4-FFF2-40B4-BE49-F238E27FC236}">
                  <a16:creationId xmlns:a16="http://schemas.microsoft.com/office/drawing/2014/main" id="{75327455-C60F-3638-C8A4-AF8988E96AA3}"/>
                </a:ext>
              </a:extLst>
            </p:cNvPr>
            <p:cNvSpPr/>
            <p:nvPr/>
          </p:nvSpPr>
          <p:spPr>
            <a:xfrm>
              <a:off x="4316416" y="7189838"/>
              <a:ext cx="435077" cy="435077"/>
            </a:xfrm>
            <a:custGeom>
              <a:avLst/>
              <a:gdLst>
                <a:gd name="connsiteX0" fmla="*/ 217565 w 435077"/>
                <a:gd name="connsiteY0" fmla="*/ 0 h 435077"/>
                <a:gd name="connsiteX1" fmla="*/ 217539 w 435077"/>
                <a:gd name="connsiteY1" fmla="*/ 0 h 435077"/>
                <a:gd name="connsiteX2" fmla="*/ 27 w 435077"/>
                <a:gd name="connsiteY2" fmla="*/ 0 h 435077"/>
                <a:gd name="connsiteX3" fmla="*/ 27 w 435077"/>
                <a:gd name="connsiteY3" fmla="*/ 217539 h 435077"/>
                <a:gd name="connsiteX4" fmla="*/ 217565 w 435077"/>
                <a:gd name="connsiteY4" fmla="*/ 0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65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65" y="0"/>
                  </a:moveTo>
                  <a:lnTo>
                    <a:pt x="217539" y="0"/>
                  </a:lnTo>
                  <a:lnTo>
                    <a:pt x="27" y="0"/>
                  </a:lnTo>
                  <a:lnTo>
                    <a:pt x="27" y="217539"/>
                  </a:lnTo>
                  <a:lnTo>
                    <a:pt x="217565" y="0"/>
                  </a:lnTo>
                  <a:lnTo>
                    <a:pt x="435077" y="217539"/>
                  </a:lnTo>
                  <a:lnTo>
                    <a:pt x="217539" y="435077"/>
                  </a:lnTo>
                  <a:lnTo>
                    <a:pt x="0" y="217539"/>
                  </a:lnTo>
                  <a:lnTo>
                    <a:pt x="0" y="435077"/>
                  </a:lnTo>
                  <a:lnTo>
                    <a:pt x="217539" y="435077"/>
                  </a:lnTo>
                  <a:lnTo>
                    <a:pt x="435077" y="435077"/>
                  </a:lnTo>
                  <a:lnTo>
                    <a:pt x="435077" y="217539"/>
                  </a:lnTo>
                  <a:lnTo>
                    <a:pt x="435077" y="0"/>
                  </a:lnTo>
                  <a:lnTo>
                    <a:pt x="217565" y="0"/>
                  </a:lnTo>
                  <a:close/>
                </a:path>
              </a:pathLst>
            </a:custGeom>
            <a:grpFill/>
            <a:ln w="27192" cap="flat">
              <a:noFill/>
              <a:prstDash val="solid"/>
              <a:miter/>
            </a:ln>
          </p:spPr>
          <p:txBody>
            <a:bodyPr rtlCol="0" anchor="ctr"/>
            <a:lstStyle/>
            <a:p>
              <a:endParaRPr lang="uk-UA" sz="900"/>
            </a:p>
          </p:txBody>
        </p:sp>
        <p:sp>
          <p:nvSpPr>
            <p:cNvPr id="708" name="Freeform: Shape 707">
              <a:extLst>
                <a:ext uri="{FF2B5EF4-FFF2-40B4-BE49-F238E27FC236}">
                  <a16:creationId xmlns:a16="http://schemas.microsoft.com/office/drawing/2014/main" id="{5151C5E0-1E69-478A-FF45-17891F085C73}"/>
                </a:ext>
              </a:extLst>
            </p:cNvPr>
            <p:cNvSpPr/>
            <p:nvPr/>
          </p:nvSpPr>
          <p:spPr>
            <a:xfrm>
              <a:off x="3446261" y="7189838"/>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66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66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66" y="435077"/>
                  </a:lnTo>
                  <a:lnTo>
                    <a:pt x="435077" y="217539"/>
                  </a:lnTo>
                  <a:lnTo>
                    <a:pt x="435077" y="435077"/>
                  </a:lnTo>
                  <a:close/>
                  <a:moveTo>
                    <a:pt x="435077" y="0"/>
                  </a:moveTo>
                  <a:lnTo>
                    <a:pt x="217566"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709" name="Freeform: Shape 708">
              <a:extLst>
                <a:ext uri="{FF2B5EF4-FFF2-40B4-BE49-F238E27FC236}">
                  <a16:creationId xmlns:a16="http://schemas.microsoft.com/office/drawing/2014/main" id="{4B331597-5811-A700-70BB-B3819BEF610F}"/>
                </a:ext>
              </a:extLst>
            </p:cNvPr>
            <p:cNvSpPr/>
            <p:nvPr/>
          </p:nvSpPr>
          <p:spPr>
            <a:xfrm>
              <a:off x="5186597" y="7189838"/>
              <a:ext cx="435077" cy="435077"/>
            </a:xfrm>
            <a:custGeom>
              <a:avLst/>
              <a:gdLst>
                <a:gd name="connsiteX0" fmla="*/ 371366 w 435077"/>
                <a:gd name="connsiteY0" fmla="*/ 63711 h 435077"/>
                <a:gd name="connsiteX1" fmla="*/ 435077 w 435077"/>
                <a:gd name="connsiteY1" fmla="*/ 217539 h 435077"/>
                <a:gd name="connsiteX2" fmla="*/ 218953 w 435077"/>
                <a:gd name="connsiteY2" fmla="*/ 217539 h 435077"/>
                <a:gd name="connsiteX3" fmla="*/ 371366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25 w 435077"/>
                <a:gd name="connsiteY8" fmla="*/ 217539 h 435077"/>
                <a:gd name="connsiteX9" fmla="*/ 0 w 435077"/>
                <a:gd name="connsiteY9" fmla="*/ 217539 h 435077"/>
                <a:gd name="connsiteX10" fmla="*/ 63712 w 435077"/>
                <a:gd name="connsiteY10" fmla="*/ 63711 h 435077"/>
                <a:gd name="connsiteX11" fmla="*/ 217539 w 435077"/>
                <a:gd name="connsiteY11" fmla="*/ 0 h 435077"/>
                <a:gd name="connsiteX12" fmla="*/ 371366 w 435077"/>
                <a:gd name="connsiteY12" fmla="*/ 63711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1"/>
                  </a:moveTo>
                  <a:cubicBezTo>
                    <a:pt x="412155" y="104527"/>
                    <a:pt x="435077" y="159836"/>
                    <a:pt x="435077" y="217539"/>
                  </a:cubicBezTo>
                  <a:lnTo>
                    <a:pt x="218953" y="217539"/>
                  </a:lnTo>
                  <a:cubicBezTo>
                    <a:pt x="276138" y="217920"/>
                    <a:pt x="330904" y="240788"/>
                    <a:pt x="371366" y="281250"/>
                  </a:cubicBezTo>
                  <a:cubicBezTo>
                    <a:pt x="412155" y="322039"/>
                    <a:pt x="435077" y="377375"/>
                    <a:pt x="435077" y="435077"/>
                  </a:cubicBezTo>
                  <a:lnTo>
                    <a:pt x="217539" y="435077"/>
                  </a:lnTo>
                  <a:lnTo>
                    <a:pt x="0" y="435077"/>
                  </a:lnTo>
                  <a:cubicBezTo>
                    <a:pt x="0" y="377375"/>
                    <a:pt x="22924" y="322039"/>
                    <a:pt x="63712" y="281250"/>
                  </a:cubicBezTo>
                  <a:cubicBezTo>
                    <a:pt x="104175" y="240788"/>
                    <a:pt x="158939" y="217920"/>
                    <a:pt x="216125" y="217539"/>
                  </a:cubicBezTo>
                  <a:lnTo>
                    <a:pt x="0" y="217539"/>
                  </a:lnTo>
                  <a:cubicBezTo>
                    <a:pt x="0" y="159836"/>
                    <a:pt x="22924" y="104527"/>
                    <a:pt x="63712" y="63711"/>
                  </a:cubicBezTo>
                  <a:cubicBezTo>
                    <a:pt x="104501" y="22923"/>
                    <a:pt x="159837" y="0"/>
                    <a:pt x="217539" y="0"/>
                  </a:cubicBezTo>
                  <a:cubicBezTo>
                    <a:pt x="275241" y="0"/>
                    <a:pt x="330550" y="22923"/>
                    <a:pt x="371366" y="63711"/>
                  </a:cubicBezTo>
                  <a:close/>
                </a:path>
              </a:pathLst>
            </a:custGeom>
            <a:grpFill/>
            <a:ln w="27192" cap="flat">
              <a:noFill/>
              <a:prstDash val="solid"/>
              <a:miter/>
            </a:ln>
          </p:spPr>
          <p:txBody>
            <a:bodyPr rtlCol="0" anchor="ctr"/>
            <a:lstStyle/>
            <a:p>
              <a:endParaRPr lang="uk-UA" sz="900"/>
            </a:p>
          </p:txBody>
        </p:sp>
        <p:sp>
          <p:nvSpPr>
            <p:cNvPr id="710" name="Freeform: Shape 709">
              <a:extLst>
                <a:ext uri="{FF2B5EF4-FFF2-40B4-BE49-F238E27FC236}">
                  <a16:creationId xmlns:a16="http://schemas.microsoft.com/office/drawing/2014/main" id="{26600F04-2DA7-66EA-94FC-D17029F0E7B1}"/>
                </a:ext>
              </a:extLst>
            </p:cNvPr>
            <p:cNvSpPr/>
            <p:nvPr/>
          </p:nvSpPr>
          <p:spPr>
            <a:xfrm>
              <a:off x="6056752" y="7189838"/>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0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39 h 435077"/>
                <a:gd name="connsiteX9" fmla="*/ 435077 w 435077"/>
                <a:gd name="connsiteY9" fmla="*/ 217539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0"/>
                  </a:lnTo>
                  <a:lnTo>
                    <a:pt x="435077" y="217539"/>
                  </a:lnTo>
                  <a:lnTo>
                    <a:pt x="435077" y="217539"/>
                  </a:lnTo>
                  <a:lnTo>
                    <a:pt x="435077" y="217539"/>
                  </a:lnTo>
                  <a:lnTo>
                    <a:pt x="435077" y="217539"/>
                  </a:lnTo>
                  <a:lnTo>
                    <a:pt x="435077" y="217539"/>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711" name="Freeform: Shape 710">
              <a:extLst>
                <a:ext uri="{FF2B5EF4-FFF2-40B4-BE49-F238E27FC236}">
                  <a16:creationId xmlns:a16="http://schemas.microsoft.com/office/drawing/2014/main" id="{204B2742-BC2B-292A-75BB-FDA568AC6344}"/>
                </a:ext>
              </a:extLst>
            </p:cNvPr>
            <p:cNvSpPr/>
            <p:nvPr/>
          </p:nvSpPr>
          <p:spPr>
            <a:xfrm>
              <a:off x="7797062" y="718983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p>
          </p:txBody>
        </p:sp>
        <p:sp>
          <p:nvSpPr>
            <p:cNvPr id="712" name="Freeform: Shape 711">
              <a:extLst>
                <a:ext uri="{FF2B5EF4-FFF2-40B4-BE49-F238E27FC236}">
                  <a16:creationId xmlns:a16="http://schemas.microsoft.com/office/drawing/2014/main" id="{A501411D-A871-8BC8-5E27-04EF26673CD1}"/>
                </a:ext>
              </a:extLst>
            </p:cNvPr>
            <p:cNvSpPr/>
            <p:nvPr/>
          </p:nvSpPr>
          <p:spPr>
            <a:xfrm>
              <a:off x="6926907" y="7189838"/>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713" name="Freeform: Shape 712">
              <a:extLst>
                <a:ext uri="{FF2B5EF4-FFF2-40B4-BE49-F238E27FC236}">
                  <a16:creationId xmlns:a16="http://schemas.microsoft.com/office/drawing/2014/main" id="{01CCAB2B-1AE7-DE7E-1A24-E6614A39B601}"/>
                </a:ext>
              </a:extLst>
            </p:cNvPr>
            <p:cNvSpPr/>
            <p:nvPr/>
          </p:nvSpPr>
          <p:spPr>
            <a:xfrm>
              <a:off x="8667217" y="7189838"/>
              <a:ext cx="435104" cy="435077"/>
            </a:xfrm>
            <a:custGeom>
              <a:avLst/>
              <a:gdLst>
                <a:gd name="connsiteX0" fmla="*/ 371366 w 435104"/>
                <a:gd name="connsiteY0" fmla="*/ 63711 h 435077"/>
                <a:gd name="connsiteX1" fmla="*/ 435077 w 435104"/>
                <a:gd name="connsiteY1" fmla="*/ 217539 h 435077"/>
                <a:gd name="connsiteX2" fmla="*/ 218953 w 435104"/>
                <a:gd name="connsiteY2" fmla="*/ 217539 h 435077"/>
                <a:gd name="connsiteX3" fmla="*/ 371366 w 435104"/>
                <a:gd name="connsiteY3" fmla="*/ 281250 h 435077"/>
                <a:gd name="connsiteX4" fmla="*/ 435105 w 435104"/>
                <a:gd name="connsiteY4" fmla="*/ 435077 h 435077"/>
                <a:gd name="connsiteX5" fmla="*/ 217566 w 435104"/>
                <a:gd name="connsiteY5" fmla="*/ 435077 h 435077"/>
                <a:gd name="connsiteX6" fmla="*/ 27 w 435104"/>
                <a:gd name="connsiteY6" fmla="*/ 435077 h 435077"/>
                <a:gd name="connsiteX7" fmla="*/ 63739 w 435104"/>
                <a:gd name="connsiteY7" fmla="*/ 281250 h 435077"/>
                <a:gd name="connsiteX8" fmla="*/ 216152 w 435104"/>
                <a:gd name="connsiteY8" fmla="*/ 217539 h 435077"/>
                <a:gd name="connsiteX9" fmla="*/ 0 w 435104"/>
                <a:gd name="connsiteY9" fmla="*/ 217539 h 435077"/>
                <a:gd name="connsiteX10" fmla="*/ 63739 w 435104"/>
                <a:gd name="connsiteY10" fmla="*/ 63711 h 435077"/>
                <a:gd name="connsiteX11" fmla="*/ 217539 w 435104"/>
                <a:gd name="connsiteY11" fmla="*/ 0 h 435077"/>
                <a:gd name="connsiteX12" fmla="*/ 371366 w 435104"/>
                <a:gd name="connsiteY12" fmla="*/ 63711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4" h="435077">
                  <a:moveTo>
                    <a:pt x="371366" y="63711"/>
                  </a:moveTo>
                  <a:cubicBezTo>
                    <a:pt x="412182" y="104527"/>
                    <a:pt x="435077" y="159836"/>
                    <a:pt x="435077" y="217539"/>
                  </a:cubicBezTo>
                  <a:lnTo>
                    <a:pt x="218953" y="217539"/>
                  </a:lnTo>
                  <a:cubicBezTo>
                    <a:pt x="276138" y="217920"/>
                    <a:pt x="330904" y="240788"/>
                    <a:pt x="371366" y="281250"/>
                  </a:cubicBezTo>
                  <a:cubicBezTo>
                    <a:pt x="412182" y="322039"/>
                    <a:pt x="435105" y="377375"/>
                    <a:pt x="435105" y="435077"/>
                  </a:cubicBezTo>
                  <a:lnTo>
                    <a:pt x="217566" y="435077"/>
                  </a:lnTo>
                  <a:lnTo>
                    <a:pt x="27" y="435077"/>
                  </a:lnTo>
                  <a:cubicBezTo>
                    <a:pt x="27" y="377375"/>
                    <a:pt x="22924" y="322039"/>
                    <a:pt x="63739" y="281250"/>
                  </a:cubicBezTo>
                  <a:cubicBezTo>
                    <a:pt x="104201" y="240788"/>
                    <a:pt x="158967" y="217920"/>
                    <a:pt x="216152" y="217539"/>
                  </a:cubicBezTo>
                  <a:lnTo>
                    <a:pt x="0" y="217539"/>
                  </a:lnTo>
                  <a:cubicBezTo>
                    <a:pt x="0" y="159836"/>
                    <a:pt x="22924" y="104527"/>
                    <a:pt x="63739" y="63711"/>
                  </a:cubicBezTo>
                  <a:cubicBezTo>
                    <a:pt x="104527" y="22923"/>
                    <a:pt x="159864" y="0"/>
                    <a:pt x="217539" y="0"/>
                  </a:cubicBezTo>
                  <a:cubicBezTo>
                    <a:pt x="275241" y="0"/>
                    <a:pt x="330578" y="22923"/>
                    <a:pt x="371366" y="63711"/>
                  </a:cubicBezTo>
                  <a:close/>
                </a:path>
              </a:pathLst>
            </a:custGeom>
            <a:grpFill/>
            <a:ln w="27192" cap="flat">
              <a:noFill/>
              <a:prstDash val="solid"/>
              <a:miter/>
            </a:ln>
          </p:spPr>
          <p:txBody>
            <a:bodyPr rtlCol="0" anchor="ctr"/>
            <a:lstStyle/>
            <a:p>
              <a:endParaRPr lang="uk-UA" sz="900"/>
            </a:p>
          </p:txBody>
        </p:sp>
        <p:sp>
          <p:nvSpPr>
            <p:cNvPr id="714" name="Freeform: Shape 713">
              <a:extLst>
                <a:ext uri="{FF2B5EF4-FFF2-40B4-BE49-F238E27FC236}">
                  <a16:creationId xmlns:a16="http://schemas.microsoft.com/office/drawing/2014/main" id="{F8404BD1-E782-501E-6A2A-8601557FF035}"/>
                </a:ext>
              </a:extLst>
            </p:cNvPr>
            <p:cNvSpPr/>
            <p:nvPr/>
          </p:nvSpPr>
          <p:spPr>
            <a:xfrm>
              <a:off x="9537399" y="7189838"/>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0 h 435077"/>
                <a:gd name="connsiteX5" fmla="*/ 435050 w 435077"/>
                <a:gd name="connsiteY5" fmla="*/ 217539 h 435077"/>
                <a:gd name="connsiteX6" fmla="*/ 435077 w 435077"/>
                <a:gd name="connsiteY6" fmla="*/ 217539 h 435077"/>
                <a:gd name="connsiteX7" fmla="*/ 435050 w 435077"/>
                <a:gd name="connsiteY7" fmla="*/ 217539 h 435077"/>
                <a:gd name="connsiteX8" fmla="*/ 435077 w 435077"/>
                <a:gd name="connsiteY8" fmla="*/ 217539 h 435077"/>
                <a:gd name="connsiteX9" fmla="*/ 435050 w 435077"/>
                <a:gd name="connsiteY9" fmla="*/ 217539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0"/>
                  </a:lnTo>
                  <a:lnTo>
                    <a:pt x="435050" y="217539"/>
                  </a:lnTo>
                  <a:lnTo>
                    <a:pt x="435077" y="217539"/>
                  </a:lnTo>
                  <a:lnTo>
                    <a:pt x="435050" y="217539"/>
                  </a:lnTo>
                  <a:lnTo>
                    <a:pt x="435077" y="217539"/>
                  </a:lnTo>
                  <a:lnTo>
                    <a:pt x="435050" y="217539"/>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715" name="Freeform: Shape 714">
              <a:extLst>
                <a:ext uri="{FF2B5EF4-FFF2-40B4-BE49-F238E27FC236}">
                  <a16:creationId xmlns:a16="http://schemas.microsoft.com/office/drawing/2014/main" id="{F3262974-189E-AFFF-9A1A-865F037ED465}"/>
                </a:ext>
              </a:extLst>
            </p:cNvPr>
            <p:cNvSpPr/>
            <p:nvPr/>
          </p:nvSpPr>
          <p:spPr>
            <a:xfrm>
              <a:off x="11277709" y="718983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716" name="Freeform: Shape 715">
              <a:extLst>
                <a:ext uri="{FF2B5EF4-FFF2-40B4-BE49-F238E27FC236}">
                  <a16:creationId xmlns:a16="http://schemas.microsoft.com/office/drawing/2014/main" id="{F699C4AF-121F-2664-E6EF-4754695693C7}"/>
                </a:ext>
              </a:extLst>
            </p:cNvPr>
            <p:cNvSpPr/>
            <p:nvPr/>
          </p:nvSpPr>
          <p:spPr>
            <a:xfrm>
              <a:off x="10407554" y="7189838"/>
              <a:ext cx="435077" cy="435077"/>
            </a:xfrm>
            <a:custGeom>
              <a:avLst/>
              <a:gdLst>
                <a:gd name="connsiteX0" fmla="*/ 0 w 435077"/>
                <a:gd name="connsiteY0" fmla="*/ 435077 h 435077"/>
                <a:gd name="connsiteX1" fmla="*/ 217511 w 435077"/>
                <a:gd name="connsiteY1" fmla="*/ 435077 h 435077"/>
                <a:gd name="connsiteX2" fmla="*/ 217511 w 435077"/>
                <a:gd name="connsiteY2" fmla="*/ 217539 h 435077"/>
                <a:gd name="connsiteX3" fmla="*/ 0 w 435077"/>
                <a:gd name="connsiteY3" fmla="*/ 435077 h 435077"/>
                <a:gd name="connsiteX4" fmla="*/ 217511 w 435077"/>
                <a:gd name="connsiteY4" fmla="*/ 0 h 435077"/>
                <a:gd name="connsiteX5" fmla="*/ 0 w 435077"/>
                <a:gd name="connsiteY5" fmla="*/ 0 h 435077"/>
                <a:gd name="connsiteX6" fmla="*/ 217511 w 435077"/>
                <a:gd name="connsiteY6" fmla="*/ 217539 h 435077"/>
                <a:gd name="connsiteX7" fmla="*/ 217511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11" y="435077"/>
                  </a:lnTo>
                  <a:lnTo>
                    <a:pt x="217511" y="217539"/>
                  </a:lnTo>
                  <a:lnTo>
                    <a:pt x="0" y="435077"/>
                  </a:lnTo>
                  <a:close/>
                  <a:moveTo>
                    <a:pt x="217511" y="0"/>
                  </a:moveTo>
                  <a:lnTo>
                    <a:pt x="0" y="0"/>
                  </a:lnTo>
                  <a:lnTo>
                    <a:pt x="217511" y="217539"/>
                  </a:lnTo>
                  <a:lnTo>
                    <a:pt x="217511"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717" name="Freeform: Shape 716">
              <a:extLst>
                <a:ext uri="{FF2B5EF4-FFF2-40B4-BE49-F238E27FC236}">
                  <a16:creationId xmlns:a16="http://schemas.microsoft.com/office/drawing/2014/main" id="{F8394C92-BE67-0555-8CB2-1D0D74B608F4}"/>
                </a:ext>
              </a:extLst>
            </p:cNvPr>
            <p:cNvSpPr/>
            <p:nvPr/>
          </p:nvSpPr>
          <p:spPr>
            <a:xfrm>
              <a:off x="12147864" y="7189838"/>
              <a:ext cx="435103" cy="435077"/>
            </a:xfrm>
            <a:custGeom>
              <a:avLst/>
              <a:gdLst>
                <a:gd name="connsiteX0" fmla="*/ 371365 w 435103"/>
                <a:gd name="connsiteY0" fmla="*/ 63711 h 435077"/>
                <a:gd name="connsiteX1" fmla="*/ 435077 w 435103"/>
                <a:gd name="connsiteY1" fmla="*/ 217539 h 435077"/>
                <a:gd name="connsiteX2" fmla="*/ 218953 w 435103"/>
                <a:gd name="connsiteY2" fmla="*/ 217539 h 435077"/>
                <a:gd name="connsiteX3" fmla="*/ 371365 w 435103"/>
                <a:gd name="connsiteY3" fmla="*/ 281250 h 435077"/>
                <a:gd name="connsiteX4" fmla="*/ 435104 w 435103"/>
                <a:gd name="connsiteY4" fmla="*/ 435077 h 435077"/>
                <a:gd name="connsiteX5" fmla="*/ 217565 w 435103"/>
                <a:gd name="connsiteY5" fmla="*/ 435077 h 435077"/>
                <a:gd name="connsiteX6" fmla="*/ 27 w 435103"/>
                <a:gd name="connsiteY6" fmla="*/ 435077 h 435077"/>
                <a:gd name="connsiteX7" fmla="*/ 63739 w 435103"/>
                <a:gd name="connsiteY7" fmla="*/ 281250 h 435077"/>
                <a:gd name="connsiteX8" fmla="*/ 216151 w 435103"/>
                <a:gd name="connsiteY8" fmla="*/ 217539 h 435077"/>
                <a:gd name="connsiteX9" fmla="*/ 0 w 435103"/>
                <a:gd name="connsiteY9" fmla="*/ 217539 h 435077"/>
                <a:gd name="connsiteX10" fmla="*/ 63739 w 435103"/>
                <a:gd name="connsiteY10" fmla="*/ 63711 h 435077"/>
                <a:gd name="connsiteX11" fmla="*/ 217539 w 435103"/>
                <a:gd name="connsiteY11" fmla="*/ 0 h 435077"/>
                <a:gd name="connsiteX12" fmla="*/ 371365 w 435103"/>
                <a:gd name="connsiteY12" fmla="*/ 63711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3" h="435077">
                  <a:moveTo>
                    <a:pt x="371365" y="63711"/>
                  </a:moveTo>
                  <a:cubicBezTo>
                    <a:pt x="412180" y="104527"/>
                    <a:pt x="435077" y="159836"/>
                    <a:pt x="435077" y="217539"/>
                  </a:cubicBezTo>
                  <a:lnTo>
                    <a:pt x="218953" y="217539"/>
                  </a:lnTo>
                  <a:cubicBezTo>
                    <a:pt x="276137" y="217920"/>
                    <a:pt x="330902" y="240788"/>
                    <a:pt x="371365" y="281250"/>
                  </a:cubicBezTo>
                  <a:cubicBezTo>
                    <a:pt x="412180" y="322039"/>
                    <a:pt x="435104" y="377375"/>
                    <a:pt x="435104" y="435077"/>
                  </a:cubicBezTo>
                  <a:lnTo>
                    <a:pt x="217565" y="435077"/>
                  </a:lnTo>
                  <a:lnTo>
                    <a:pt x="27" y="435077"/>
                  </a:lnTo>
                  <a:cubicBezTo>
                    <a:pt x="27" y="377375"/>
                    <a:pt x="22922" y="322039"/>
                    <a:pt x="63739" y="281250"/>
                  </a:cubicBezTo>
                  <a:cubicBezTo>
                    <a:pt x="104200" y="240788"/>
                    <a:pt x="158965" y="217920"/>
                    <a:pt x="216151" y="217539"/>
                  </a:cubicBezTo>
                  <a:lnTo>
                    <a:pt x="0" y="217539"/>
                  </a:lnTo>
                  <a:cubicBezTo>
                    <a:pt x="0" y="159836"/>
                    <a:pt x="22922" y="104527"/>
                    <a:pt x="63739" y="63711"/>
                  </a:cubicBezTo>
                  <a:cubicBezTo>
                    <a:pt x="104527" y="22923"/>
                    <a:pt x="159863" y="0"/>
                    <a:pt x="217539" y="0"/>
                  </a:cubicBezTo>
                  <a:cubicBezTo>
                    <a:pt x="275239" y="0"/>
                    <a:pt x="330577" y="22923"/>
                    <a:pt x="371365" y="63711"/>
                  </a:cubicBezTo>
                  <a:close/>
                </a:path>
              </a:pathLst>
            </a:custGeom>
            <a:grpFill/>
            <a:ln w="27192" cap="flat">
              <a:noFill/>
              <a:prstDash val="solid"/>
              <a:miter/>
            </a:ln>
          </p:spPr>
          <p:txBody>
            <a:bodyPr rtlCol="0" anchor="ctr"/>
            <a:lstStyle/>
            <a:p>
              <a:endParaRPr lang="uk-UA" sz="900"/>
            </a:p>
          </p:txBody>
        </p:sp>
        <p:sp>
          <p:nvSpPr>
            <p:cNvPr id="718" name="Freeform: Shape 717">
              <a:extLst>
                <a:ext uri="{FF2B5EF4-FFF2-40B4-BE49-F238E27FC236}">
                  <a16:creationId xmlns:a16="http://schemas.microsoft.com/office/drawing/2014/main" id="{BC7618A9-8C24-3679-208A-2332BCF4AC9E}"/>
                </a:ext>
              </a:extLst>
            </p:cNvPr>
            <p:cNvSpPr/>
            <p:nvPr/>
          </p:nvSpPr>
          <p:spPr>
            <a:xfrm>
              <a:off x="13017991" y="7189811"/>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719" name="Freeform: Shape 718">
              <a:extLst>
                <a:ext uri="{FF2B5EF4-FFF2-40B4-BE49-F238E27FC236}">
                  <a16:creationId xmlns:a16="http://schemas.microsoft.com/office/drawing/2014/main" id="{47D33CBF-D971-212D-1DFF-08B58C5A1DEC}"/>
                </a:ext>
              </a:extLst>
            </p:cNvPr>
            <p:cNvSpPr/>
            <p:nvPr/>
          </p:nvSpPr>
          <p:spPr>
            <a:xfrm>
              <a:off x="14758382" y="7189838"/>
              <a:ext cx="435077" cy="435077"/>
            </a:xfrm>
            <a:custGeom>
              <a:avLst/>
              <a:gdLst>
                <a:gd name="connsiteX0" fmla="*/ 217539 w 435077"/>
                <a:gd name="connsiteY0" fmla="*/ 0 h 435077"/>
                <a:gd name="connsiteX1" fmla="*/ 217539 w 435077"/>
                <a:gd name="connsiteY1" fmla="*/ 0 h 435077"/>
                <a:gd name="connsiteX2" fmla="*/ 0 w 435077"/>
                <a:gd name="connsiteY2" fmla="*/ 0 h 435077"/>
                <a:gd name="connsiteX3" fmla="*/ 0 w 435077"/>
                <a:gd name="connsiteY3" fmla="*/ 217539 h 435077"/>
                <a:gd name="connsiteX4" fmla="*/ 217539 w 435077"/>
                <a:gd name="connsiteY4" fmla="*/ 0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217539" y="0"/>
                  </a:lnTo>
                  <a:lnTo>
                    <a:pt x="0" y="0"/>
                  </a:lnTo>
                  <a:lnTo>
                    <a:pt x="0" y="217539"/>
                  </a:lnTo>
                  <a:lnTo>
                    <a:pt x="217539" y="0"/>
                  </a:lnTo>
                  <a:lnTo>
                    <a:pt x="435077" y="217539"/>
                  </a:lnTo>
                  <a:lnTo>
                    <a:pt x="217539" y="435077"/>
                  </a:lnTo>
                  <a:lnTo>
                    <a:pt x="0" y="217539"/>
                  </a:lnTo>
                  <a:lnTo>
                    <a:pt x="0" y="435077"/>
                  </a:lnTo>
                  <a:lnTo>
                    <a:pt x="217539" y="435077"/>
                  </a:lnTo>
                  <a:lnTo>
                    <a:pt x="435077" y="435077"/>
                  </a:lnTo>
                  <a:lnTo>
                    <a:pt x="435077" y="217539"/>
                  </a:lnTo>
                  <a:lnTo>
                    <a:pt x="435077" y="0"/>
                  </a:lnTo>
                  <a:lnTo>
                    <a:pt x="217539" y="0"/>
                  </a:lnTo>
                  <a:close/>
                </a:path>
              </a:pathLst>
            </a:custGeom>
            <a:grpFill/>
            <a:ln w="27192" cap="flat">
              <a:noFill/>
              <a:prstDash val="solid"/>
              <a:miter/>
            </a:ln>
          </p:spPr>
          <p:txBody>
            <a:bodyPr rtlCol="0" anchor="ctr"/>
            <a:lstStyle/>
            <a:p>
              <a:endParaRPr lang="uk-UA" sz="900"/>
            </a:p>
          </p:txBody>
        </p:sp>
        <p:sp>
          <p:nvSpPr>
            <p:cNvPr id="720" name="Freeform: Shape 719">
              <a:extLst>
                <a:ext uri="{FF2B5EF4-FFF2-40B4-BE49-F238E27FC236}">
                  <a16:creationId xmlns:a16="http://schemas.microsoft.com/office/drawing/2014/main" id="{44D34E05-05FD-1C51-D1D7-134F29C74402}"/>
                </a:ext>
              </a:extLst>
            </p:cNvPr>
            <p:cNvSpPr/>
            <p:nvPr/>
          </p:nvSpPr>
          <p:spPr>
            <a:xfrm>
              <a:off x="13888200" y="7189838"/>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65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65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65" y="435077"/>
                  </a:lnTo>
                  <a:lnTo>
                    <a:pt x="435077" y="217539"/>
                  </a:lnTo>
                  <a:lnTo>
                    <a:pt x="435077" y="435077"/>
                  </a:lnTo>
                  <a:close/>
                  <a:moveTo>
                    <a:pt x="435077" y="0"/>
                  </a:moveTo>
                  <a:lnTo>
                    <a:pt x="217565"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721" name="Freeform: Shape 720">
              <a:extLst>
                <a:ext uri="{FF2B5EF4-FFF2-40B4-BE49-F238E27FC236}">
                  <a16:creationId xmlns:a16="http://schemas.microsoft.com/office/drawing/2014/main" id="{F187B0AE-F83B-0ED6-CE45-B9A3FA19A4DD}"/>
                </a:ext>
              </a:extLst>
            </p:cNvPr>
            <p:cNvSpPr/>
            <p:nvPr/>
          </p:nvSpPr>
          <p:spPr>
            <a:xfrm>
              <a:off x="15628536" y="7189838"/>
              <a:ext cx="435077" cy="435077"/>
            </a:xfrm>
            <a:custGeom>
              <a:avLst/>
              <a:gdLst>
                <a:gd name="connsiteX0" fmla="*/ 371367 w 435077"/>
                <a:gd name="connsiteY0" fmla="*/ 63711 h 435077"/>
                <a:gd name="connsiteX1" fmla="*/ 435077 w 435077"/>
                <a:gd name="connsiteY1" fmla="*/ 217539 h 435077"/>
                <a:gd name="connsiteX2" fmla="*/ 218953 w 435077"/>
                <a:gd name="connsiteY2" fmla="*/ 217539 h 435077"/>
                <a:gd name="connsiteX3" fmla="*/ 371367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39 w 435077"/>
                <a:gd name="connsiteY7" fmla="*/ 281250 h 435077"/>
                <a:gd name="connsiteX8" fmla="*/ 216153 w 435077"/>
                <a:gd name="connsiteY8" fmla="*/ 217539 h 435077"/>
                <a:gd name="connsiteX9" fmla="*/ 0 w 435077"/>
                <a:gd name="connsiteY9" fmla="*/ 217539 h 435077"/>
                <a:gd name="connsiteX10" fmla="*/ 63712 w 435077"/>
                <a:gd name="connsiteY10" fmla="*/ 63711 h 435077"/>
                <a:gd name="connsiteX11" fmla="*/ 217539 w 435077"/>
                <a:gd name="connsiteY11" fmla="*/ 0 h 435077"/>
                <a:gd name="connsiteX12" fmla="*/ 371367 w 435077"/>
                <a:gd name="connsiteY12" fmla="*/ 63711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7" y="63711"/>
                  </a:moveTo>
                  <a:cubicBezTo>
                    <a:pt x="412155" y="104527"/>
                    <a:pt x="435077" y="159836"/>
                    <a:pt x="435077" y="217539"/>
                  </a:cubicBezTo>
                  <a:lnTo>
                    <a:pt x="218953" y="217539"/>
                  </a:lnTo>
                  <a:cubicBezTo>
                    <a:pt x="276139" y="217920"/>
                    <a:pt x="330904" y="240788"/>
                    <a:pt x="371367" y="281250"/>
                  </a:cubicBezTo>
                  <a:cubicBezTo>
                    <a:pt x="412182" y="322039"/>
                    <a:pt x="435077" y="377375"/>
                    <a:pt x="435077" y="435077"/>
                  </a:cubicBezTo>
                  <a:lnTo>
                    <a:pt x="217539" y="435077"/>
                  </a:lnTo>
                  <a:lnTo>
                    <a:pt x="0" y="435077"/>
                  </a:lnTo>
                  <a:cubicBezTo>
                    <a:pt x="0" y="377375"/>
                    <a:pt x="22924" y="322039"/>
                    <a:pt x="63739" y="281250"/>
                  </a:cubicBezTo>
                  <a:cubicBezTo>
                    <a:pt x="104202" y="240788"/>
                    <a:pt x="158967" y="217920"/>
                    <a:pt x="216153" y="217539"/>
                  </a:cubicBezTo>
                  <a:lnTo>
                    <a:pt x="0" y="217539"/>
                  </a:lnTo>
                  <a:cubicBezTo>
                    <a:pt x="0" y="159836"/>
                    <a:pt x="22924" y="104527"/>
                    <a:pt x="63712" y="63711"/>
                  </a:cubicBezTo>
                  <a:cubicBezTo>
                    <a:pt x="104527" y="22923"/>
                    <a:pt x="159865" y="0"/>
                    <a:pt x="217539" y="0"/>
                  </a:cubicBezTo>
                  <a:cubicBezTo>
                    <a:pt x="275241" y="0"/>
                    <a:pt x="330578" y="22923"/>
                    <a:pt x="371367" y="63711"/>
                  </a:cubicBezTo>
                  <a:close/>
                </a:path>
              </a:pathLst>
            </a:custGeom>
            <a:grpFill/>
            <a:ln w="27192" cap="flat">
              <a:noFill/>
              <a:prstDash val="solid"/>
              <a:miter/>
            </a:ln>
          </p:spPr>
          <p:txBody>
            <a:bodyPr rtlCol="0" anchor="ctr"/>
            <a:lstStyle/>
            <a:p>
              <a:endParaRPr lang="uk-UA" sz="900"/>
            </a:p>
          </p:txBody>
        </p:sp>
        <p:sp>
          <p:nvSpPr>
            <p:cNvPr id="722" name="Freeform: Shape 721">
              <a:extLst>
                <a:ext uri="{FF2B5EF4-FFF2-40B4-BE49-F238E27FC236}">
                  <a16:creationId xmlns:a16="http://schemas.microsoft.com/office/drawing/2014/main" id="{69271059-3B2C-E7D7-5731-3AEB2F94E4A4}"/>
                </a:ext>
              </a:extLst>
            </p:cNvPr>
            <p:cNvSpPr/>
            <p:nvPr/>
          </p:nvSpPr>
          <p:spPr>
            <a:xfrm>
              <a:off x="16498719" y="718983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49 w 435077"/>
                <a:gd name="connsiteY7" fmla="*/ 217539 h 435077"/>
                <a:gd name="connsiteX8" fmla="*/ 435077 w 435077"/>
                <a:gd name="connsiteY8" fmla="*/ 217539 h 435077"/>
                <a:gd name="connsiteX9" fmla="*/ 435049 w 435077"/>
                <a:gd name="connsiteY9" fmla="*/ 217539 h 435077"/>
                <a:gd name="connsiteX10" fmla="*/ 435077 w 435077"/>
                <a:gd name="connsiteY10" fmla="*/ 217539 h 435077"/>
                <a:gd name="connsiteX11" fmla="*/ 435049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49" y="217539"/>
                  </a:lnTo>
                  <a:lnTo>
                    <a:pt x="435077" y="217539"/>
                  </a:lnTo>
                  <a:lnTo>
                    <a:pt x="435049" y="217539"/>
                  </a:lnTo>
                  <a:lnTo>
                    <a:pt x="435077" y="217539"/>
                  </a:lnTo>
                  <a:lnTo>
                    <a:pt x="435049"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723" name="Freeform: Shape 722">
              <a:extLst>
                <a:ext uri="{FF2B5EF4-FFF2-40B4-BE49-F238E27FC236}">
                  <a16:creationId xmlns:a16="http://schemas.microsoft.com/office/drawing/2014/main" id="{DA66F8F7-8823-4B30-6874-5FF1D57B9DD1}"/>
                </a:ext>
              </a:extLst>
            </p:cNvPr>
            <p:cNvSpPr/>
            <p:nvPr/>
          </p:nvSpPr>
          <p:spPr>
            <a:xfrm>
              <a:off x="18239029" y="718983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724" name="Freeform: Shape 723">
              <a:extLst>
                <a:ext uri="{FF2B5EF4-FFF2-40B4-BE49-F238E27FC236}">
                  <a16:creationId xmlns:a16="http://schemas.microsoft.com/office/drawing/2014/main" id="{F38D37E2-FF71-543D-2FBD-DAF4D3B62E70}"/>
                </a:ext>
              </a:extLst>
            </p:cNvPr>
            <p:cNvSpPr/>
            <p:nvPr/>
          </p:nvSpPr>
          <p:spPr>
            <a:xfrm>
              <a:off x="17368874" y="7189838"/>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725" name="Freeform: Shape 724">
              <a:extLst>
                <a:ext uri="{FF2B5EF4-FFF2-40B4-BE49-F238E27FC236}">
                  <a16:creationId xmlns:a16="http://schemas.microsoft.com/office/drawing/2014/main" id="{3571ADBC-C18D-F487-CEFE-659FCAEA8571}"/>
                </a:ext>
              </a:extLst>
            </p:cNvPr>
            <p:cNvSpPr/>
            <p:nvPr/>
          </p:nvSpPr>
          <p:spPr>
            <a:xfrm>
              <a:off x="19109210" y="7189838"/>
              <a:ext cx="435077" cy="435077"/>
            </a:xfrm>
            <a:custGeom>
              <a:avLst/>
              <a:gdLst>
                <a:gd name="connsiteX0" fmla="*/ 371339 w 435077"/>
                <a:gd name="connsiteY0" fmla="*/ 63711 h 435077"/>
                <a:gd name="connsiteX1" fmla="*/ 435077 w 435077"/>
                <a:gd name="connsiteY1" fmla="*/ 217539 h 435077"/>
                <a:gd name="connsiteX2" fmla="*/ 218926 w 435077"/>
                <a:gd name="connsiteY2" fmla="*/ 217539 h 435077"/>
                <a:gd name="connsiteX3" fmla="*/ 371365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25 w 435077"/>
                <a:gd name="connsiteY8" fmla="*/ 217539 h 435077"/>
                <a:gd name="connsiteX9" fmla="*/ 0 w 435077"/>
                <a:gd name="connsiteY9" fmla="*/ 217539 h 435077"/>
                <a:gd name="connsiteX10" fmla="*/ 63712 w 435077"/>
                <a:gd name="connsiteY10" fmla="*/ 63711 h 435077"/>
                <a:gd name="connsiteX11" fmla="*/ 217539 w 435077"/>
                <a:gd name="connsiteY11" fmla="*/ 0 h 435077"/>
                <a:gd name="connsiteX12" fmla="*/ 371339 w 435077"/>
                <a:gd name="connsiteY12" fmla="*/ 63711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11"/>
                  </a:moveTo>
                  <a:cubicBezTo>
                    <a:pt x="412154" y="104527"/>
                    <a:pt x="435077" y="159836"/>
                    <a:pt x="435077" y="217539"/>
                  </a:cubicBezTo>
                  <a:lnTo>
                    <a:pt x="218926" y="217539"/>
                  </a:lnTo>
                  <a:cubicBezTo>
                    <a:pt x="276111" y="217920"/>
                    <a:pt x="330877" y="240788"/>
                    <a:pt x="371365" y="281250"/>
                  </a:cubicBezTo>
                  <a:cubicBezTo>
                    <a:pt x="412154" y="322039"/>
                    <a:pt x="435077" y="377375"/>
                    <a:pt x="435077" y="435077"/>
                  </a:cubicBezTo>
                  <a:lnTo>
                    <a:pt x="217539" y="435077"/>
                  </a:lnTo>
                  <a:lnTo>
                    <a:pt x="0" y="435077"/>
                  </a:lnTo>
                  <a:cubicBezTo>
                    <a:pt x="0" y="377375"/>
                    <a:pt x="22924" y="322039"/>
                    <a:pt x="63712" y="281250"/>
                  </a:cubicBezTo>
                  <a:cubicBezTo>
                    <a:pt x="104174" y="240788"/>
                    <a:pt x="158940" y="217920"/>
                    <a:pt x="216125" y="217539"/>
                  </a:cubicBezTo>
                  <a:lnTo>
                    <a:pt x="0" y="217539"/>
                  </a:lnTo>
                  <a:cubicBezTo>
                    <a:pt x="0" y="159836"/>
                    <a:pt x="22895" y="104527"/>
                    <a:pt x="63712" y="63711"/>
                  </a:cubicBezTo>
                  <a:cubicBezTo>
                    <a:pt x="104501" y="22923"/>
                    <a:pt x="159836" y="0"/>
                    <a:pt x="217539" y="0"/>
                  </a:cubicBezTo>
                  <a:cubicBezTo>
                    <a:pt x="275215" y="0"/>
                    <a:pt x="330550" y="22923"/>
                    <a:pt x="371339" y="63711"/>
                  </a:cubicBezTo>
                  <a:close/>
                </a:path>
              </a:pathLst>
            </a:custGeom>
            <a:grpFill/>
            <a:ln w="27192" cap="flat">
              <a:noFill/>
              <a:prstDash val="solid"/>
              <a:miter/>
            </a:ln>
          </p:spPr>
          <p:txBody>
            <a:bodyPr rtlCol="0" anchor="ctr"/>
            <a:lstStyle/>
            <a:p>
              <a:endParaRPr lang="uk-UA" sz="900"/>
            </a:p>
          </p:txBody>
        </p:sp>
        <p:sp>
          <p:nvSpPr>
            <p:cNvPr id="726" name="Freeform: Shape 725">
              <a:extLst>
                <a:ext uri="{FF2B5EF4-FFF2-40B4-BE49-F238E27FC236}">
                  <a16:creationId xmlns:a16="http://schemas.microsoft.com/office/drawing/2014/main" id="{449DBA9E-C83C-2BBB-4E37-8BFAFC49A44B}"/>
                </a:ext>
              </a:extLst>
            </p:cNvPr>
            <p:cNvSpPr/>
            <p:nvPr/>
          </p:nvSpPr>
          <p:spPr>
            <a:xfrm>
              <a:off x="19979365" y="718983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51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51"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727" name="Freeform: Shape 726">
              <a:extLst>
                <a:ext uri="{FF2B5EF4-FFF2-40B4-BE49-F238E27FC236}">
                  <a16:creationId xmlns:a16="http://schemas.microsoft.com/office/drawing/2014/main" id="{B907D54A-5A4D-6324-BDAE-6BBC05BD89C6}"/>
                </a:ext>
              </a:extLst>
            </p:cNvPr>
            <p:cNvSpPr/>
            <p:nvPr/>
          </p:nvSpPr>
          <p:spPr>
            <a:xfrm>
              <a:off x="21719702" y="718983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728" name="Freeform: Shape 727">
              <a:extLst>
                <a:ext uri="{FF2B5EF4-FFF2-40B4-BE49-F238E27FC236}">
                  <a16:creationId xmlns:a16="http://schemas.microsoft.com/office/drawing/2014/main" id="{27EC26F5-60F5-7D88-EB4B-B9B5CFEA24A2}"/>
                </a:ext>
              </a:extLst>
            </p:cNvPr>
            <p:cNvSpPr/>
            <p:nvPr/>
          </p:nvSpPr>
          <p:spPr>
            <a:xfrm>
              <a:off x="20849520" y="7189838"/>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65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65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65" y="435077"/>
                  </a:lnTo>
                  <a:lnTo>
                    <a:pt x="435077" y="217539"/>
                  </a:lnTo>
                  <a:lnTo>
                    <a:pt x="435077" y="435077"/>
                  </a:lnTo>
                  <a:close/>
                  <a:moveTo>
                    <a:pt x="435077" y="0"/>
                  </a:moveTo>
                  <a:lnTo>
                    <a:pt x="217565"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729" name="Freeform: Shape 728">
              <a:extLst>
                <a:ext uri="{FF2B5EF4-FFF2-40B4-BE49-F238E27FC236}">
                  <a16:creationId xmlns:a16="http://schemas.microsoft.com/office/drawing/2014/main" id="{3094FFC1-F010-4538-C500-947FA9F86289}"/>
                </a:ext>
              </a:extLst>
            </p:cNvPr>
            <p:cNvSpPr/>
            <p:nvPr/>
          </p:nvSpPr>
          <p:spPr>
            <a:xfrm>
              <a:off x="22589856" y="7189838"/>
              <a:ext cx="435077" cy="435077"/>
            </a:xfrm>
            <a:custGeom>
              <a:avLst/>
              <a:gdLst>
                <a:gd name="connsiteX0" fmla="*/ 371367 w 435077"/>
                <a:gd name="connsiteY0" fmla="*/ 63711 h 435077"/>
                <a:gd name="connsiteX1" fmla="*/ 435077 w 435077"/>
                <a:gd name="connsiteY1" fmla="*/ 217539 h 435077"/>
                <a:gd name="connsiteX2" fmla="*/ 218953 w 435077"/>
                <a:gd name="connsiteY2" fmla="*/ 217539 h 435077"/>
                <a:gd name="connsiteX3" fmla="*/ 371367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53 w 435077"/>
                <a:gd name="connsiteY8" fmla="*/ 217539 h 435077"/>
                <a:gd name="connsiteX9" fmla="*/ 0 w 435077"/>
                <a:gd name="connsiteY9" fmla="*/ 217539 h 435077"/>
                <a:gd name="connsiteX10" fmla="*/ 63712 w 435077"/>
                <a:gd name="connsiteY10" fmla="*/ 63711 h 435077"/>
                <a:gd name="connsiteX11" fmla="*/ 217539 w 435077"/>
                <a:gd name="connsiteY11" fmla="*/ 0 h 435077"/>
                <a:gd name="connsiteX12" fmla="*/ 371367 w 435077"/>
                <a:gd name="connsiteY12" fmla="*/ 63711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7" y="63711"/>
                  </a:moveTo>
                  <a:cubicBezTo>
                    <a:pt x="412155" y="104527"/>
                    <a:pt x="435077" y="159836"/>
                    <a:pt x="435077" y="217539"/>
                  </a:cubicBezTo>
                  <a:lnTo>
                    <a:pt x="218953" y="217539"/>
                  </a:lnTo>
                  <a:cubicBezTo>
                    <a:pt x="276139" y="217920"/>
                    <a:pt x="330904" y="240788"/>
                    <a:pt x="371367" y="281250"/>
                  </a:cubicBezTo>
                  <a:cubicBezTo>
                    <a:pt x="412155" y="322039"/>
                    <a:pt x="435077" y="377375"/>
                    <a:pt x="435077" y="435077"/>
                  </a:cubicBezTo>
                  <a:lnTo>
                    <a:pt x="217539" y="435077"/>
                  </a:lnTo>
                  <a:lnTo>
                    <a:pt x="0" y="435077"/>
                  </a:lnTo>
                  <a:cubicBezTo>
                    <a:pt x="0" y="377375"/>
                    <a:pt x="22924" y="322039"/>
                    <a:pt x="63712" y="281250"/>
                  </a:cubicBezTo>
                  <a:cubicBezTo>
                    <a:pt x="104202" y="240788"/>
                    <a:pt x="158967" y="217920"/>
                    <a:pt x="216153" y="217539"/>
                  </a:cubicBezTo>
                  <a:lnTo>
                    <a:pt x="0" y="217539"/>
                  </a:lnTo>
                  <a:cubicBezTo>
                    <a:pt x="0" y="159836"/>
                    <a:pt x="22924" y="104527"/>
                    <a:pt x="63712" y="63711"/>
                  </a:cubicBezTo>
                  <a:cubicBezTo>
                    <a:pt x="104529" y="22923"/>
                    <a:pt x="159838" y="0"/>
                    <a:pt x="217539" y="0"/>
                  </a:cubicBezTo>
                  <a:cubicBezTo>
                    <a:pt x="275241" y="0"/>
                    <a:pt x="330578" y="22923"/>
                    <a:pt x="371367" y="63711"/>
                  </a:cubicBezTo>
                  <a:close/>
                </a:path>
              </a:pathLst>
            </a:custGeom>
            <a:grpFill/>
            <a:ln w="27192" cap="flat">
              <a:noFill/>
              <a:prstDash val="solid"/>
              <a:miter/>
            </a:ln>
          </p:spPr>
          <p:txBody>
            <a:bodyPr rtlCol="0" anchor="ctr"/>
            <a:lstStyle/>
            <a:p>
              <a:endParaRPr lang="uk-UA" sz="900"/>
            </a:p>
          </p:txBody>
        </p:sp>
        <p:sp>
          <p:nvSpPr>
            <p:cNvPr id="730" name="Freeform: Shape 729">
              <a:extLst>
                <a:ext uri="{FF2B5EF4-FFF2-40B4-BE49-F238E27FC236}">
                  <a16:creationId xmlns:a16="http://schemas.microsoft.com/office/drawing/2014/main" id="{EB17E021-D3BC-5E3E-CF8B-FD55FC973F31}"/>
                </a:ext>
              </a:extLst>
            </p:cNvPr>
            <p:cNvSpPr/>
            <p:nvPr/>
          </p:nvSpPr>
          <p:spPr>
            <a:xfrm>
              <a:off x="23460039" y="718983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10 w 435077"/>
                <a:gd name="connsiteY5" fmla="*/ 435077 h 435077"/>
                <a:gd name="connsiteX6" fmla="*/ 217510 w 435077"/>
                <a:gd name="connsiteY6" fmla="*/ 435077 h 435077"/>
                <a:gd name="connsiteX7" fmla="*/ 435049 w 435077"/>
                <a:gd name="connsiteY7" fmla="*/ 217539 h 435077"/>
                <a:gd name="connsiteX8" fmla="*/ 435077 w 435077"/>
                <a:gd name="connsiteY8" fmla="*/ 217539 h 435077"/>
                <a:gd name="connsiteX9" fmla="*/ 435049 w 435077"/>
                <a:gd name="connsiteY9" fmla="*/ 217539 h 435077"/>
                <a:gd name="connsiteX10" fmla="*/ 435049 w 435077"/>
                <a:gd name="connsiteY10" fmla="*/ 217539 h 435077"/>
                <a:gd name="connsiteX11" fmla="*/ 435049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10" y="435077"/>
                  </a:lnTo>
                  <a:lnTo>
                    <a:pt x="217510" y="435077"/>
                  </a:lnTo>
                  <a:lnTo>
                    <a:pt x="435049" y="217539"/>
                  </a:lnTo>
                  <a:lnTo>
                    <a:pt x="435077" y="217539"/>
                  </a:lnTo>
                  <a:lnTo>
                    <a:pt x="435049" y="217539"/>
                  </a:lnTo>
                  <a:lnTo>
                    <a:pt x="435049" y="217539"/>
                  </a:lnTo>
                  <a:lnTo>
                    <a:pt x="435049"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731" name="Freeform: Shape 730">
              <a:extLst>
                <a:ext uri="{FF2B5EF4-FFF2-40B4-BE49-F238E27FC236}">
                  <a16:creationId xmlns:a16="http://schemas.microsoft.com/office/drawing/2014/main" id="{0EA20578-E613-0F7F-68C5-CCCE277B8AB6}"/>
                </a:ext>
              </a:extLst>
            </p:cNvPr>
            <p:cNvSpPr/>
            <p:nvPr/>
          </p:nvSpPr>
          <p:spPr>
            <a:xfrm>
              <a:off x="24330194" y="7189838"/>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732" name="Freeform: Shape 731">
              <a:extLst>
                <a:ext uri="{FF2B5EF4-FFF2-40B4-BE49-F238E27FC236}">
                  <a16:creationId xmlns:a16="http://schemas.microsoft.com/office/drawing/2014/main" id="{C70DE40C-26E3-227B-0A52-420586D33FBE}"/>
                </a:ext>
              </a:extLst>
            </p:cNvPr>
            <p:cNvSpPr/>
            <p:nvPr/>
          </p:nvSpPr>
          <p:spPr>
            <a:xfrm>
              <a:off x="835769" y="805999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1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1" y="217539"/>
                  </a:lnTo>
                  <a:lnTo>
                    <a:pt x="0" y="435077"/>
                  </a:lnTo>
                  <a:close/>
                </a:path>
              </a:pathLst>
            </a:custGeom>
            <a:grpFill/>
            <a:ln w="27192" cap="flat">
              <a:noFill/>
              <a:prstDash val="solid"/>
              <a:miter/>
            </a:ln>
          </p:spPr>
          <p:txBody>
            <a:bodyPr rtlCol="0" anchor="ctr"/>
            <a:lstStyle/>
            <a:p>
              <a:endParaRPr lang="uk-UA" sz="900"/>
            </a:p>
          </p:txBody>
        </p:sp>
        <p:sp>
          <p:nvSpPr>
            <p:cNvPr id="733" name="Freeform: Shape 732">
              <a:extLst>
                <a:ext uri="{FF2B5EF4-FFF2-40B4-BE49-F238E27FC236}">
                  <a16:creationId xmlns:a16="http://schemas.microsoft.com/office/drawing/2014/main" id="{19FC6E06-08FA-B8B0-2B45-5E6BB5DEFEB6}"/>
                </a:ext>
              </a:extLst>
            </p:cNvPr>
            <p:cNvSpPr/>
            <p:nvPr/>
          </p:nvSpPr>
          <p:spPr>
            <a:xfrm>
              <a:off x="-34398" y="8059993"/>
              <a:ext cx="435090" cy="435077"/>
            </a:xfrm>
            <a:custGeom>
              <a:avLst/>
              <a:gdLst>
                <a:gd name="connsiteX0" fmla="*/ 217552 w 435090"/>
                <a:gd name="connsiteY0" fmla="*/ 435077 h 435077"/>
                <a:gd name="connsiteX1" fmla="*/ 217552 w 435090"/>
                <a:gd name="connsiteY1" fmla="*/ 0 h 435077"/>
                <a:gd name="connsiteX2" fmla="*/ 435091 w 435090"/>
                <a:gd name="connsiteY2" fmla="*/ 217539 h 435077"/>
                <a:gd name="connsiteX3" fmla="*/ 217552 w 435090"/>
                <a:gd name="connsiteY3" fmla="*/ 435077 h 435077"/>
                <a:gd name="connsiteX4" fmla="*/ 0 w 435090"/>
                <a:gd name="connsiteY4" fmla="*/ 435077 h 435077"/>
                <a:gd name="connsiteX5" fmla="*/ 0 w 435090"/>
                <a:gd name="connsiteY5" fmla="*/ 27 h 435077"/>
                <a:gd name="connsiteX6" fmla="*/ 217525 w 435090"/>
                <a:gd name="connsiteY6" fmla="*/ 217566 h 435077"/>
                <a:gd name="connsiteX7" fmla="*/ 0 w 435090"/>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90" h="435077">
                  <a:moveTo>
                    <a:pt x="217552" y="435077"/>
                  </a:moveTo>
                  <a:lnTo>
                    <a:pt x="217552" y="0"/>
                  </a:lnTo>
                  <a:lnTo>
                    <a:pt x="435091" y="217539"/>
                  </a:lnTo>
                  <a:lnTo>
                    <a:pt x="217552" y="435077"/>
                  </a:lnTo>
                  <a:close/>
                  <a:moveTo>
                    <a:pt x="0" y="435077"/>
                  </a:moveTo>
                  <a:lnTo>
                    <a:pt x="0" y="27"/>
                  </a:lnTo>
                  <a:lnTo>
                    <a:pt x="217525" y="217566"/>
                  </a:lnTo>
                  <a:lnTo>
                    <a:pt x="0" y="435077"/>
                  </a:lnTo>
                  <a:close/>
                </a:path>
              </a:pathLst>
            </a:custGeom>
            <a:grpFill/>
            <a:ln w="27192" cap="flat">
              <a:noFill/>
              <a:prstDash val="solid"/>
              <a:miter/>
            </a:ln>
          </p:spPr>
          <p:txBody>
            <a:bodyPr rtlCol="0" anchor="ctr"/>
            <a:lstStyle/>
            <a:p>
              <a:endParaRPr lang="uk-UA" sz="900"/>
            </a:p>
          </p:txBody>
        </p:sp>
        <p:sp>
          <p:nvSpPr>
            <p:cNvPr id="734" name="Freeform: Shape 733">
              <a:extLst>
                <a:ext uri="{FF2B5EF4-FFF2-40B4-BE49-F238E27FC236}">
                  <a16:creationId xmlns:a16="http://schemas.microsoft.com/office/drawing/2014/main" id="{02B67F11-139D-A26C-394F-8C6C75BC4081}"/>
                </a:ext>
              </a:extLst>
            </p:cNvPr>
            <p:cNvSpPr/>
            <p:nvPr/>
          </p:nvSpPr>
          <p:spPr>
            <a:xfrm>
              <a:off x="1705924" y="8059993"/>
              <a:ext cx="435077" cy="435077"/>
            </a:xfrm>
            <a:custGeom>
              <a:avLst/>
              <a:gdLst>
                <a:gd name="connsiteX0" fmla="*/ 63711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1 w 435077"/>
                <a:gd name="connsiteY6" fmla="*/ 153827 h 435077"/>
                <a:gd name="connsiteX7" fmla="*/ 63711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1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1" y="153827"/>
                  </a:moveTo>
                  <a:cubicBezTo>
                    <a:pt x="22923" y="113039"/>
                    <a:pt x="0" y="57702"/>
                    <a:pt x="0" y="0"/>
                  </a:cubicBezTo>
                  <a:lnTo>
                    <a:pt x="217539" y="0"/>
                  </a:lnTo>
                  <a:lnTo>
                    <a:pt x="435077" y="0"/>
                  </a:lnTo>
                  <a:cubicBezTo>
                    <a:pt x="435077" y="57702"/>
                    <a:pt x="412154" y="113039"/>
                    <a:pt x="371366" y="153827"/>
                  </a:cubicBezTo>
                  <a:cubicBezTo>
                    <a:pt x="330577" y="194616"/>
                    <a:pt x="275241" y="217539"/>
                    <a:pt x="217539" y="217539"/>
                  </a:cubicBezTo>
                  <a:cubicBezTo>
                    <a:pt x="159836" y="217539"/>
                    <a:pt x="104527" y="194616"/>
                    <a:pt x="63711" y="153827"/>
                  </a:cubicBezTo>
                  <a:close/>
                  <a:moveTo>
                    <a:pt x="63711" y="281250"/>
                  </a:moveTo>
                  <a:cubicBezTo>
                    <a:pt x="22923" y="322066"/>
                    <a:pt x="0" y="377402"/>
                    <a:pt x="0" y="435077"/>
                  </a:cubicBezTo>
                  <a:lnTo>
                    <a:pt x="217539" y="435077"/>
                  </a:lnTo>
                  <a:lnTo>
                    <a:pt x="435077" y="435077"/>
                  </a:lnTo>
                  <a:cubicBezTo>
                    <a:pt x="435077" y="377402"/>
                    <a:pt x="412154" y="322066"/>
                    <a:pt x="371366" y="281250"/>
                  </a:cubicBezTo>
                  <a:cubicBezTo>
                    <a:pt x="330577" y="240462"/>
                    <a:pt x="275241" y="217539"/>
                    <a:pt x="217539" y="217539"/>
                  </a:cubicBezTo>
                  <a:cubicBezTo>
                    <a:pt x="159836" y="217539"/>
                    <a:pt x="104527" y="240462"/>
                    <a:pt x="63711" y="281250"/>
                  </a:cubicBezTo>
                  <a:close/>
                </a:path>
              </a:pathLst>
            </a:custGeom>
            <a:grpFill/>
            <a:ln w="27192" cap="flat">
              <a:noFill/>
              <a:prstDash val="solid"/>
              <a:miter/>
            </a:ln>
          </p:spPr>
          <p:txBody>
            <a:bodyPr rtlCol="0" anchor="ctr"/>
            <a:lstStyle/>
            <a:p>
              <a:endParaRPr lang="uk-UA" sz="900"/>
            </a:p>
          </p:txBody>
        </p:sp>
        <p:sp>
          <p:nvSpPr>
            <p:cNvPr id="735" name="Freeform: Shape 734">
              <a:extLst>
                <a:ext uri="{FF2B5EF4-FFF2-40B4-BE49-F238E27FC236}">
                  <a16:creationId xmlns:a16="http://schemas.microsoft.com/office/drawing/2014/main" id="{09DCEB6D-576D-313D-C97D-9CE16C99C06E}"/>
                </a:ext>
              </a:extLst>
            </p:cNvPr>
            <p:cNvSpPr/>
            <p:nvPr/>
          </p:nvSpPr>
          <p:spPr>
            <a:xfrm>
              <a:off x="2576106" y="805999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736" name="Freeform: Shape 735">
              <a:extLst>
                <a:ext uri="{FF2B5EF4-FFF2-40B4-BE49-F238E27FC236}">
                  <a16:creationId xmlns:a16="http://schemas.microsoft.com/office/drawing/2014/main" id="{C54F29D6-D56E-1782-3B36-08EDD0057A0C}"/>
                </a:ext>
              </a:extLst>
            </p:cNvPr>
            <p:cNvSpPr/>
            <p:nvPr/>
          </p:nvSpPr>
          <p:spPr>
            <a:xfrm>
              <a:off x="4316416" y="8059993"/>
              <a:ext cx="435077" cy="435077"/>
            </a:xfrm>
            <a:custGeom>
              <a:avLst/>
              <a:gdLst>
                <a:gd name="connsiteX0" fmla="*/ 435077 w 435077"/>
                <a:gd name="connsiteY0" fmla="*/ 435077 h 435077"/>
                <a:gd name="connsiteX1" fmla="*/ 435077 w 435077"/>
                <a:gd name="connsiteY1" fmla="*/ 0 h 435077"/>
                <a:gd name="connsiteX2" fmla="*/ 217565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737" name="Freeform: Shape 736">
              <a:extLst>
                <a:ext uri="{FF2B5EF4-FFF2-40B4-BE49-F238E27FC236}">
                  <a16:creationId xmlns:a16="http://schemas.microsoft.com/office/drawing/2014/main" id="{D65D5137-330D-6EF6-FA08-750DA1419BCC}"/>
                </a:ext>
              </a:extLst>
            </p:cNvPr>
            <p:cNvSpPr/>
            <p:nvPr/>
          </p:nvSpPr>
          <p:spPr>
            <a:xfrm>
              <a:off x="3446261" y="8059993"/>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27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27"/>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738" name="Freeform: Shape 737">
              <a:extLst>
                <a:ext uri="{FF2B5EF4-FFF2-40B4-BE49-F238E27FC236}">
                  <a16:creationId xmlns:a16="http://schemas.microsoft.com/office/drawing/2014/main" id="{A3009964-CA79-D3D7-67DA-701B284A91C5}"/>
                </a:ext>
              </a:extLst>
            </p:cNvPr>
            <p:cNvSpPr/>
            <p:nvPr/>
          </p:nvSpPr>
          <p:spPr>
            <a:xfrm>
              <a:off x="5186597" y="805999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6" y="153827"/>
                  </a:cubicBezTo>
                  <a:cubicBezTo>
                    <a:pt x="330550" y="194616"/>
                    <a:pt x="275241" y="217539"/>
                    <a:pt x="217539" y="217539"/>
                  </a:cubicBezTo>
                  <a:cubicBezTo>
                    <a:pt x="159837" y="217539"/>
                    <a:pt x="104501" y="194616"/>
                    <a:pt x="63712" y="153827"/>
                  </a:cubicBezTo>
                  <a:close/>
                  <a:moveTo>
                    <a:pt x="63712" y="281250"/>
                  </a:moveTo>
                  <a:cubicBezTo>
                    <a:pt x="22924" y="322066"/>
                    <a:pt x="0" y="377402"/>
                    <a:pt x="0" y="435077"/>
                  </a:cubicBezTo>
                  <a:lnTo>
                    <a:pt x="217539" y="435077"/>
                  </a:lnTo>
                  <a:lnTo>
                    <a:pt x="435077" y="435077"/>
                  </a:lnTo>
                  <a:cubicBezTo>
                    <a:pt x="435077" y="377402"/>
                    <a:pt x="412155" y="322066"/>
                    <a:pt x="371366" y="281250"/>
                  </a:cubicBezTo>
                  <a:cubicBezTo>
                    <a:pt x="330550" y="240462"/>
                    <a:pt x="275241" y="217539"/>
                    <a:pt x="217539" y="217539"/>
                  </a:cubicBezTo>
                  <a:cubicBezTo>
                    <a:pt x="159837" y="217539"/>
                    <a:pt x="104501" y="240462"/>
                    <a:pt x="63712" y="281250"/>
                  </a:cubicBezTo>
                  <a:close/>
                </a:path>
              </a:pathLst>
            </a:custGeom>
            <a:grpFill/>
            <a:ln w="27192" cap="flat">
              <a:noFill/>
              <a:prstDash val="solid"/>
              <a:miter/>
            </a:ln>
          </p:spPr>
          <p:txBody>
            <a:bodyPr rtlCol="0" anchor="ctr"/>
            <a:lstStyle/>
            <a:p>
              <a:endParaRPr lang="uk-UA" sz="900"/>
            </a:p>
          </p:txBody>
        </p:sp>
        <p:sp>
          <p:nvSpPr>
            <p:cNvPr id="739" name="Freeform: Shape 738">
              <a:extLst>
                <a:ext uri="{FF2B5EF4-FFF2-40B4-BE49-F238E27FC236}">
                  <a16:creationId xmlns:a16="http://schemas.microsoft.com/office/drawing/2014/main" id="{F4AA4FCD-D70F-2DBB-AB4C-44A5DF032119}"/>
                </a:ext>
              </a:extLst>
            </p:cNvPr>
            <p:cNvSpPr/>
            <p:nvPr/>
          </p:nvSpPr>
          <p:spPr>
            <a:xfrm>
              <a:off x="6056752" y="805999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740" name="Freeform: Shape 739">
              <a:extLst>
                <a:ext uri="{FF2B5EF4-FFF2-40B4-BE49-F238E27FC236}">
                  <a16:creationId xmlns:a16="http://schemas.microsoft.com/office/drawing/2014/main" id="{AA2E62D4-1272-9C18-899A-3095C0FE8A1D}"/>
                </a:ext>
              </a:extLst>
            </p:cNvPr>
            <p:cNvSpPr/>
            <p:nvPr/>
          </p:nvSpPr>
          <p:spPr>
            <a:xfrm>
              <a:off x="7797062" y="8059993"/>
              <a:ext cx="435077" cy="435077"/>
            </a:xfrm>
            <a:custGeom>
              <a:avLst/>
              <a:gdLst>
                <a:gd name="connsiteX0" fmla="*/ 435077 w 435077"/>
                <a:gd name="connsiteY0" fmla="*/ 435077 h 435077"/>
                <a:gd name="connsiteX1" fmla="*/ 435077 w 435077"/>
                <a:gd name="connsiteY1" fmla="*/ 0 h 435077"/>
                <a:gd name="connsiteX2" fmla="*/ 217566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6"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741" name="Freeform: Shape 740">
              <a:extLst>
                <a:ext uri="{FF2B5EF4-FFF2-40B4-BE49-F238E27FC236}">
                  <a16:creationId xmlns:a16="http://schemas.microsoft.com/office/drawing/2014/main" id="{C97C4C41-89AA-0781-A9E1-0920AD7BF431}"/>
                </a:ext>
              </a:extLst>
            </p:cNvPr>
            <p:cNvSpPr/>
            <p:nvPr/>
          </p:nvSpPr>
          <p:spPr>
            <a:xfrm>
              <a:off x="6926907" y="8059993"/>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27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27"/>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742" name="Freeform: Shape 741">
              <a:extLst>
                <a:ext uri="{FF2B5EF4-FFF2-40B4-BE49-F238E27FC236}">
                  <a16:creationId xmlns:a16="http://schemas.microsoft.com/office/drawing/2014/main" id="{5EBA2368-548D-0C2C-C51D-BEB16ED498B8}"/>
                </a:ext>
              </a:extLst>
            </p:cNvPr>
            <p:cNvSpPr/>
            <p:nvPr/>
          </p:nvSpPr>
          <p:spPr>
            <a:xfrm>
              <a:off x="8667217" y="8059993"/>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39 w 435077"/>
                <a:gd name="connsiteY6" fmla="*/ 153827 h 435077"/>
                <a:gd name="connsiteX7" fmla="*/ 63739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39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4" y="113039"/>
                    <a:pt x="0" y="57702"/>
                    <a:pt x="0" y="0"/>
                  </a:cubicBezTo>
                  <a:lnTo>
                    <a:pt x="217539" y="0"/>
                  </a:lnTo>
                  <a:lnTo>
                    <a:pt x="435077" y="0"/>
                  </a:lnTo>
                  <a:cubicBezTo>
                    <a:pt x="435077" y="57702"/>
                    <a:pt x="412182" y="113039"/>
                    <a:pt x="371366" y="153827"/>
                  </a:cubicBezTo>
                  <a:cubicBezTo>
                    <a:pt x="330578" y="194616"/>
                    <a:pt x="275241" y="217539"/>
                    <a:pt x="217539" y="217539"/>
                  </a:cubicBezTo>
                  <a:cubicBezTo>
                    <a:pt x="159864" y="217539"/>
                    <a:pt x="104527" y="194616"/>
                    <a:pt x="63739" y="153827"/>
                  </a:cubicBezTo>
                  <a:close/>
                  <a:moveTo>
                    <a:pt x="63739" y="281250"/>
                  </a:moveTo>
                  <a:cubicBezTo>
                    <a:pt x="22924" y="322066"/>
                    <a:pt x="0" y="377402"/>
                    <a:pt x="0" y="435077"/>
                  </a:cubicBezTo>
                  <a:lnTo>
                    <a:pt x="217539" y="435077"/>
                  </a:lnTo>
                  <a:lnTo>
                    <a:pt x="435077" y="435077"/>
                  </a:lnTo>
                  <a:cubicBezTo>
                    <a:pt x="435077" y="377402"/>
                    <a:pt x="412182" y="322066"/>
                    <a:pt x="371366" y="281250"/>
                  </a:cubicBezTo>
                  <a:cubicBezTo>
                    <a:pt x="330578" y="240462"/>
                    <a:pt x="275241" y="217539"/>
                    <a:pt x="217539" y="217539"/>
                  </a:cubicBezTo>
                  <a:cubicBezTo>
                    <a:pt x="159864" y="217539"/>
                    <a:pt x="104527" y="240462"/>
                    <a:pt x="63739" y="281250"/>
                  </a:cubicBezTo>
                  <a:close/>
                </a:path>
              </a:pathLst>
            </a:custGeom>
            <a:grpFill/>
            <a:ln w="27192" cap="flat">
              <a:noFill/>
              <a:prstDash val="solid"/>
              <a:miter/>
            </a:ln>
          </p:spPr>
          <p:txBody>
            <a:bodyPr rtlCol="0" anchor="ctr"/>
            <a:lstStyle/>
            <a:p>
              <a:endParaRPr lang="uk-UA" sz="900"/>
            </a:p>
          </p:txBody>
        </p:sp>
        <p:sp>
          <p:nvSpPr>
            <p:cNvPr id="743" name="Freeform: Shape 742">
              <a:extLst>
                <a:ext uri="{FF2B5EF4-FFF2-40B4-BE49-F238E27FC236}">
                  <a16:creationId xmlns:a16="http://schemas.microsoft.com/office/drawing/2014/main" id="{006A399E-CC3C-F9F0-ECF8-A754B9AD87BD}"/>
                </a:ext>
              </a:extLst>
            </p:cNvPr>
            <p:cNvSpPr/>
            <p:nvPr/>
          </p:nvSpPr>
          <p:spPr>
            <a:xfrm>
              <a:off x="9537399" y="805999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1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1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1" y="217539"/>
                  </a:lnTo>
                  <a:lnTo>
                    <a:pt x="0" y="217539"/>
                  </a:lnTo>
                  <a:close/>
                  <a:moveTo>
                    <a:pt x="0" y="435077"/>
                  </a:moveTo>
                  <a:lnTo>
                    <a:pt x="0" y="217539"/>
                  </a:lnTo>
                  <a:lnTo>
                    <a:pt x="217511" y="217539"/>
                  </a:lnTo>
                  <a:lnTo>
                    <a:pt x="0" y="435077"/>
                  </a:lnTo>
                  <a:close/>
                </a:path>
              </a:pathLst>
            </a:custGeom>
            <a:grpFill/>
            <a:ln w="27192" cap="flat">
              <a:noFill/>
              <a:prstDash val="solid"/>
              <a:miter/>
            </a:ln>
          </p:spPr>
          <p:txBody>
            <a:bodyPr rtlCol="0" anchor="ctr"/>
            <a:lstStyle/>
            <a:p>
              <a:endParaRPr lang="uk-UA" sz="900"/>
            </a:p>
          </p:txBody>
        </p:sp>
        <p:sp>
          <p:nvSpPr>
            <p:cNvPr id="744" name="Freeform: Shape 743">
              <a:extLst>
                <a:ext uri="{FF2B5EF4-FFF2-40B4-BE49-F238E27FC236}">
                  <a16:creationId xmlns:a16="http://schemas.microsoft.com/office/drawing/2014/main" id="{3CE98024-655A-1597-1ECF-A59511A9E817}"/>
                </a:ext>
              </a:extLst>
            </p:cNvPr>
            <p:cNvSpPr/>
            <p:nvPr/>
          </p:nvSpPr>
          <p:spPr>
            <a:xfrm>
              <a:off x="11277709" y="805999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0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0" y="217539"/>
                  </a:lnTo>
                  <a:lnTo>
                    <a:pt x="0" y="435077"/>
                  </a:lnTo>
                  <a:close/>
                </a:path>
              </a:pathLst>
            </a:custGeom>
            <a:grpFill/>
            <a:ln w="27192" cap="flat">
              <a:noFill/>
              <a:prstDash val="solid"/>
              <a:miter/>
            </a:ln>
          </p:spPr>
          <p:txBody>
            <a:bodyPr rtlCol="0" anchor="ctr"/>
            <a:lstStyle/>
            <a:p>
              <a:endParaRPr lang="uk-UA" sz="900"/>
            </a:p>
          </p:txBody>
        </p:sp>
        <p:sp>
          <p:nvSpPr>
            <p:cNvPr id="745" name="Freeform: Shape 744">
              <a:extLst>
                <a:ext uri="{FF2B5EF4-FFF2-40B4-BE49-F238E27FC236}">
                  <a16:creationId xmlns:a16="http://schemas.microsoft.com/office/drawing/2014/main" id="{6BE8DE4C-42BE-8BD1-132A-8C31BF37420B}"/>
                </a:ext>
              </a:extLst>
            </p:cNvPr>
            <p:cNvSpPr/>
            <p:nvPr/>
          </p:nvSpPr>
          <p:spPr>
            <a:xfrm>
              <a:off x="10407554" y="8059993"/>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27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27"/>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746" name="Freeform: Shape 745">
              <a:extLst>
                <a:ext uri="{FF2B5EF4-FFF2-40B4-BE49-F238E27FC236}">
                  <a16:creationId xmlns:a16="http://schemas.microsoft.com/office/drawing/2014/main" id="{3AA4A0C0-B372-5A15-D17D-4F9C80A09E81}"/>
                </a:ext>
              </a:extLst>
            </p:cNvPr>
            <p:cNvSpPr/>
            <p:nvPr/>
          </p:nvSpPr>
          <p:spPr>
            <a:xfrm>
              <a:off x="12147864" y="8059993"/>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39 w 435077"/>
                <a:gd name="connsiteY6" fmla="*/ 153827 h 435077"/>
                <a:gd name="connsiteX7" fmla="*/ 63739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0 h 435077"/>
                <a:gd name="connsiteX12" fmla="*/ 217539 w 435077"/>
                <a:gd name="connsiteY12" fmla="*/ 217539 h 435077"/>
                <a:gd name="connsiteX13" fmla="*/ 63739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2" y="113039"/>
                    <a:pt x="0" y="57702"/>
                    <a:pt x="0" y="0"/>
                  </a:cubicBezTo>
                  <a:lnTo>
                    <a:pt x="217539" y="0"/>
                  </a:lnTo>
                  <a:lnTo>
                    <a:pt x="435077" y="0"/>
                  </a:lnTo>
                  <a:cubicBezTo>
                    <a:pt x="435077" y="57702"/>
                    <a:pt x="412180" y="113039"/>
                    <a:pt x="371365" y="153827"/>
                  </a:cubicBezTo>
                  <a:cubicBezTo>
                    <a:pt x="330577" y="194616"/>
                    <a:pt x="275239" y="217539"/>
                    <a:pt x="217539" y="217539"/>
                  </a:cubicBezTo>
                  <a:cubicBezTo>
                    <a:pt x="159863" y="217539"/>
                    <a:pt x="104527" y="194616"/>
                    <a:pt x="63739" y="153827"/>
                  </a:cubicBezTo>
                  <a:close/>
                  <a:moveTo>
                    <a:pt x="63739" y="281250"/>
                  </a:moveTo>
                  <a:cubicBezTo>
                    <a:pt x="22922" y="322066"/>
                    <a:pt x="0" y="377402"/>
                    <a:pt x="0" y="435077"/>
                  </a:cubicBezTo>
                  <a:lnTo>
                    <a:pt x="217539" y="435077"/>
                  </a:lnTo>
                  <a:lnTo>
                    <a:pt x="435077" y="435077"/>
                  </a:lnTo>
                  <a:cubicBezTo>
                    <a:pt x="435077" y="377402"/>
                    <a:pt x="412180" y="322066"/>
                    <a:pt x="371365" y="281250"/>
                  </a:cubicBezTo>
                  <a:cubicBezTo>
                    <a:pt x="330577" y="240462"/>
                    <a:pt x="275239" y="217539"/>
                    <a:pt x="217539" y="217539"/>
                  </a:cubicBezTo>
                  <a:cubicBezTo>
                    <a:pt x="159863" y="217539"/>
                    <a:pt x="104527" y="240462"/>
                    <a:pt x="63739" y="281250"/>
                  </a:cubicBezTo>
                  <a:close/>
                </a:path>
              </a:pathLst>
            </a:custGeom>
            <a:grpFill/>
            <a:ln w="27192" cap="flat">
              <a:noFill/>
              <a:prstDash val="solid"/>
              <a:miter/>
            </a:ln>
          </p:spPr>
          <p:txBody>
            <a:bodyPr rtlCol="0" anchor="ctr"/>
            <a:lstStyle/>
            <a:p>
              <a:endParaRPr lang="uk-UA" sz="900"/>
            </a:p>
          </p:txBody>
        </p:sp>
        <p:sp>
          <p:nvSpPr>
            <p:cNvPr id="747" name="Freeform: Shape 746">
              <a:extLst>
                <a:ext uri="{FF2B5EF4-FFF2-40B4-BE49-F238E27FC236}">
                  <a16:creationId xmlns:a16="http://schemas.microsoft.com/office/drawing/2014/main" id="{A93747A3-455F-A415-504D-F8673D50EE07}"/>
                </a:ext>
              </a:extLst>
            </p:cNvPr>
            <p:cNvSpPr/>
            <p:nvPr/>
          </p:nvSpPr>
          <p:spPr>
            <a:xfrm>
              <a:off x="13018045" y="805999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748" name="Freeform: Shape 747">
              <a:extLst>
                <a:ext uri="{FF2B5EF4-FFF2-40B4-BE49-F238E27FC236}">
                  <a16:creationId xmlns:a16="http://schemas.microsoft.com/office/drawing/2014/main" id="{0538AE50-9D22-6B13-6E44-76EAA77AC8EA}"/>
                </a:ext>
              </a:extLst>
            </p:cNvPr>
            <p:cNvSpPr/>
            <p:nvPr/>
          </p:nvSpPr>
          <p:spPr>
            <a:xfrm>
              <a:off x="14758382" y="805999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749" name="Freeform: Shape 748">
              <a:extLst>
                <a:ext uri="{FF2B5EF4-FFF2-40B4-BE49-F238E27FC236}">
                  <a16:creationId xmlns:a16="http://schemas.microsoft.com/office/drawing/2014/main" id="{466E90B3-7AA4-136B-79BB-6521294C5260}"/>
                </a:ext>
              </a:extLst>
            </p:cNvPr>
            <p:cNvSpPr/>
            <p:nvPr/>
          </p:nvSpPr>
          <p:spPr>
            <a:xfrm>
              <a:off x="13888200" y="8059993"/>
              <a:ext cx="435103" cy="435077"/>
            </a:xfrm>
            <a:custGeom>
              <a:avLst/>
              <a:gdLst>
                <a:gd name="connsiteX0" fmla="*/ 217565 w 435103"/>
                <a:gd name="connsiteY0" fmla="*/ 435077 h 435077"/>
                <a:gd name="connsiteX1" fmla="*/ 217565 w 435103"/>
                <a:gd name="connsiteY1" fmla="*/ 0 h 435077"/>
                <a:gd name="connsiteX2" fmla="*/ 435104 w 435103"/>
                <a:gd name="connsiteY2" fmla="*/ 217539 h 435077"/>
                <a:gd name="connsiteX3" fmla="*/ 217565 w 435103"/>
                <a:gd name="connsiteY3" fmla="*/ 435077 h 435077"/>
                <a:gd name="connsiteX4" fmla="*/ 0 w 435103"/>
                <a:gd name="connsiteY4" fmla="*/ 435077 h 435077"/>
                <a:gd name="connsiteX5" fmla="*/ 0 w 435103"/>
                <a:gd name="connsiteY5" fmla="*/ 27 h 435077"/>
                <a:gd name="connsiteX6" fmla="*/ 217539 w 435103"/>
                <a:gd name="connsiteY6" fmla="*/ 217566 h 435077"/>
                <a:gd name="connsiteX7" fmla="*/ 0 w 435103"/>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103" h="435077">
                  <a:moveTo>
                    <a:pt x="217565" y="435077"/>
                  </a:moveTo>
                  <a:lnTo>
                    <a:pt x="217565" y="0"/>
                  </a:lnTo>
                  <a:lnTo>
                    <a:pt x="435104" y="217539"/>
                  </a:lnTo>
                  <a:lnTo>
                    <a:pt x="217565" y="435077"/>
                  </a:lnTo>
                  <a:close/>
                  <a:moveTo>
                    <a:pt x="0" y="435077"/>
                  </a:moveTo>
                  <a:lnTo>
                    <a:pt x="0" y="27"/>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750" name="Freeform: Shape 749">
              <a:extLst>
                <a:ext uri="{FF2B5EF4-FFF2-40B4-BE49-F238E27FC236}">
                  <a16:creationId xmlns:a16="http://schemas.microsoft.com/office/drawing/2014/main" id="{2E7374E6-1D1A-2707-3B3B-665C132A685B}"/>
                </a:ext>
              </a:extLst>
            </p:cNvPr>
            <p:cNvSpPr/>
            <p:nvPr/>
          </p:nvSpPr>
          <p:spPr>
            <a:xfrm>
              <a:off x="15628536" y="805999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7" y="153827"/>
                  </a:cubicBezTo>
                  <a:cubicBezTo>
                    <a:pt x="330578" y="194616"/>
                    <a:pt x="275241" y="217539"/>
                    <a:pt x="217539" y="217539"/>
                  </a:cubicBezTo>
                  <a:cubicBezTo>
                    <a:pt x="159865" y="217539"/>
                    <a:pt x="104527" y="194616"/>
                    <a:pt x="63712" y="153827"/>
                  </a:cubicBezTo>
                  <a:close/>
                  <a:moveTo>
                    <a:pt x="63712" y="281250"/>
                  </a:moveTo>
                  <a:cubicBezTo>
                    <a:pt x="22924" y="322066"/>
                    <a:pt x="0" y="377402"/>
                    <a:pt x="0" y="435077"/>
                  </a:cubicBezTo>
                  <a:lnTo>
                    <a:pt x="217539" y="435077"/>
                  </a:lnTo>
                  <a:lnTo>
                    <a:pt x="435077" y="435077"/>
                  </a:lnTo>
                  <a:cubicBezTo>
                    <a:pt x="435077" y="377402"/>
                    <a:pt x="412155" y="322066"/>
                    <a:pt x="371367" y="281250"/>
                  </a:cubicBezTo>
                  <a:cubicBezTo>
                    <a:pt x="330578" y="240462"/>
                    <a:pt x="275241" y="217539"/>
                    <a:pt x="217539" y="217539"/>
                  </a:cubicBezTo>
                  <a:cubicBezTo>
                    <a:pt x="159865" y="217539"/>
                    <a:pt x="104527" y="240462"/>
                    <a:pt x="63712" y="281250"/>
                  </a:cubicBezTo>
                  <a:close/>
                </a:path>
              </a:pathLst>
            </a:custGeom>
            <a:grpFill/>
            <a:ln w="27192" cap="flat">
              <a:noFill/>
              <a:prstDash val="solid"/>
              <a:miter/>
            </a:ln>
          </p:spPr>
          <p:txBody>
            <a:bodyPr rtlCol="0" anchor="ctr"/>
            <a:lstStyle/>
            <a:p>
              <a:endParaRPr lang="uk-UA" sz="900"/>
            </a:p>
          </p:txBody>
        </p:sp>
        <p:sp>
          <p:nvSpPr>
            <p:cNvPr id="751" name="Freeform: Shape 750">
              <a:extLst>
                <a:ext uri="{FF2B5EF4-FFF2-40B4-BE49-F238E27FC236}">
                  <a16:creationId xmlns:a16="http://schemas.microsoft.com/office/drawing/2014/main" id="{C52515B0-458C-62BA-501E-FB2E91F35DB2}"/>
                </a:ext>
              </a:extLst>
            </p:cNvPr>
            <p:cNvSpPr/>
            <p:nvPr/>
          </p:nvSpPr>
          <p:spPr>
            <a:xfrm>
              <a:off x="16498719" y="805999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0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0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0" y="217539"/>
                  </a:lnTo>
                  <a:lnTo>
                    <a:pt x="0" y="217539"/>
                  </a:lnTo>
                  <a:close/>
                  <a:moveTo>
                    <a:pt x="0" y="435077"/>
                  </a:moveTo>
                  <a:lnTo>
                    <a:pt x="0" y="217539"/>
                  </a:lnTo>
                  <a:lnTo>
                    <a:pt x="217510" y="217539"/>
                  </a:lnTo>
                  <a:lnTo>
                    <a:pt x="0" y="435077"/>
                  </a:lnTo>
                  <a:close/>
                </a:path>
              </a:pathLst>
            </a:custGeom>
            <a:grpFill/>
            <a:ln w="27192" cap="flat">
              <a:noFill/>
              <a:prstDash val="solid"/>
              <a:miter/>
            </a:ln>
          </p:spPr>
          <p:txBody>
            <a:bodyPr rtlCol="0" anchor="ctr"/>
            <a:lstStyle/>
            <a:p>
              <a:endParaRPr lang="uk-UA" sz="900"/>
            </a:p>
          </p:txBody>
        </p:sp>
        <p:sp>
          <p:nvSpPr>
            <p:cNvPr id="752" name="Freeform: Shape 751">
              <a:extLst>
                <a:ext uri="{FF2B5EF4-FFF2-40B4-BE49-F238E27FC236}">
                  <a16:creationId xmlns:a16="http://schemas.microsoft.com/office/drawing/2014/main" id="{F3E61E65-FA82-2EAC-3CF3-E4424A51F6F6}"/>
                </a:ext>
              </a:extLst>
            </p:cNvPr>
            <p:cNvSpPr/>
            <p:nvPr/>
          </p:nvSpPr>
          <p:spPr>
            <a:xfrm>
              <a:off x="18239029" y="8059993"/>
              <a:ext cx="435077" cy="435077"/>
            </a:xfrm>
            <a:custGeom>
              <a:avLst/>
              <a:gdLst>
                <a:gd name="connsiteX0" fmla="*/ 435077 w 435077"/>
                <a:gd name="connsiteY0" fmla="*/ 435077 h 435077"/>
                <a:gd name="connsiteX1" fmla="*/ 435077 w 435077"/>
                <a:gd name="connsiteY1" fmla="*/ 0 h 435077"/>
                <a:gd name="connsiteX2" fmla="*/ 217565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753" name="Freeform: Shape 752">
              <a:extLst>
                <a:ext uri="{FF2B5EF4-FFF2-40B4-BE49-F238E27FC236}">
                  <a16:creationId xmlns:a16="http://schemas.microsoft.com/office/drawing/2014/main" id="{7A605217-8DED-4699-08AB-7B7FEF2ADBAE}"/>
                </a:ext>
              </a:extLst>
            </p:cNvPr>
            <p:cNvSpPr/>
            <p:nvPr/>
          </p:nvSpPr>
          <p:spPr>
            <a:xfrm>
              <a:off x="17368874" y="8059993"/>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27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27"/>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754" name="Freeform: Shape 753">
              <a:extLst>
                <a:ext uri="{FF2B5EF4-FFF2-40B4-BE49-F238E27FC236}">
                  <a16:creationId xmlns:a16="http://schemas.microsoft.com/office/drawing/2014/main" id="{634F5B80-F324-3A6F-6EBF-F58DFC3C61A6}"/>
                </a:ext>
              </a:extLst>
            </p:cNvPr>
            <p:cNvSpPr/>
            <p:nvPr/>
          </p:nvSpPr>
          <p:spPr>
            <a:xfrm>
              <a:off x="19109210" y="805999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895" y="113039"/>
                    <a:pt x="0" y="57702"/>
                    <a:pt x="0" y="0"/>
                  </a:cubicBezTo>
                  <a:lnTo>
                    <a:pt x="217539" y="0"/>
                  </a:lnTo>
                  <a:lnTo>
                    <a:pt x="435077" y="0"/>
                  </a:lnTo>
                  <a:cubicBezTo>
                    <a:pt x="435077" y="57702"/>
                    <a:pt x="412154" y="113039"/>
                    <a:pt x="371339" y="153827"/>
                  </a:cubicBezTo>
                  <a:cubicBezTo>
                    <a:pt x="330550" y="194616"/>
                    <a:pt x="275215" y="217539"/>
                    <a:pt x="217539" y="217539"/>
                  </a:cubicBezTo>
                  <a:cubicBezTo>
                    <a:pt x="159836" y="217539"/>
                    <a:pt x="104501" y="194616"/>
                    <a:pt x="63712" y="153827"/>
                  </a:cubicBezTo>
                  <a:close/>
                  <a:moveTo>
                    <a:pt x="63712" y="281250"/>
                  </a:moveTo>
                  <a:cubicBezTo>
                    <a:pt x="22895" y="322066"/>
                    <a:pt x="0" y="377402"/>
                    <a:pt x="0" y="435077"/>
                  </a:cubicBezTo>
                  <a:lnTo>
                    <a:pt x="217539" y="435077"/>
                  </a:lnTo>
                  <a:lnTo>
                    <a:pt x="435077" y="435077"/>
                  </a:lnTo>
                  <a:cubicBezTo>
                    <a:pt x="435077" y="377402"/>
                    <a:pt x="412154" y="322066"/>
                    <a:pt x="371339" y="281250"/>
                  </a:cubicBezTo>
                  <a:cubicBezTo>
                    <a:pt x="330550" y="240462"/>
                    <a:pt x="275215" y="217539"/>
                    <a:pt x="217539" y="217539"/>
                  </a:cubicBezTo>
                  <a:cubicBezTo>
                    <a:pt x="159836" y="217539"/>
                    <a:pt x="104501" y="240462"/>
                    <a:pt x="63712" y="281250"/>
                  </a:cubicBezTo>
                  <a:close/>
                </a:path>
              </a:pathLst>
            </a:custGeom>
            <a:grpFill/>
            <a:ln w="27192" cap="flat">
              <a:noFill/>
              <a:prstDash val="solid"/>
              <a:miter/>
            </a:ln>
          </p:spPr>
          <p:txBody>
            <a:bodyPr rtlCol="0" anchor="ctr"/>
            <a:lstStyle/>
            <a:p>
              <a:endParaRPr lang="uk-UA" sz="900"/>
            </a:p>
          </p:txBody>
        </p:sp>
        <p:sp>
          <p:nvSpPr>
            <p:cNvPr id="755" name="Freeform: Shape 754">
              <a:extLst>
                <a:ext uri="{FF2B5EF4-FFF2-40B4-BE49-F238E27FC236}">
                  <a16:creationId xmlns:a16="http://schemas.microsoft.com/office/drawing/2014/main" id="{9D8A92A3-AF54-8DA6-AC2D-826DAF2885C7}"/>
                </a:ext>
              </a:extLst>
            </p:cNvPr>
            <p:cNvSpPr/>
            <p:nvPr/>
          </p:nvSpPr>
          <p:spPr>
            <a:xfrm>
              <a:off x="19979365" y="805999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756" name="Freeform: Shape 755">
              <a:extLst>
                <a:ext uri="{FF2B5EF4-FFF2-40B4-BE49-F238E27FC236}">
                  <a16:creationId xmlns:a16="http://schemas.microsoft.com/office/drawing/2014/main" id="{9B65DF60-84DB-31D4-1531-B7AFFF7ED36F}"/>
                </a:ext>
              </a:extLst>
            </p:cNvPr>
            <p:cNvSpPr/>
            <p:nvPr/>
          </p:nvSpPr>
          <p:spPr>
            <a:xfrm>
              <a:off x="21719702" y="805999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757" name="Freeform: Shape 756">
              <a:extLst>
                <a:ext uri="{FF2B5EF4-FFF2-40B4-BE49-F238E27FC236}">
                  <a16:creationId xmlns:a16="http://schemas.microsoft.com/office/drawing/2014/main" id="{ED72FA9A-CACB-8ABF-8598-87A0F8F8336F}"/>
                </a:ext>
              </a:extLst>
            </p:cNvPr>
            <p:cNvSpPr/>
            <p:nvPr/>
          </p:nvSpPr>
          <p:spPr>
            <a:xfrm>
              <a:off x="20849520" y="8059993"/>
              <a:ext cx="435077" cy="435077"/>
            </a:xfrm>
            <a:custGeom>
              <a:avLst/>
              <a:gdLst>
                <a:gd name="connsiteX0" fmla="*/ 217565 w 435077"/>
                <a:gd name="connsiteY0" fmla="*/ 435077 h 435077"/>
                <a:gd name="connsiteX1" fmla="*/ 217565 w 435077"/>
                <a:gd name="connsiteY1" fmla="*/ 0 h 435077"/>
                <a:gd name="connsiteX2" fmla="*/ 435077 w 435077"/>
                <a:gd name="connsiteY2" fmla="*/ 217539 h 435077"/>
                <a:gd name="connsiteX3" fmla="*/ 217565 w 435077"/>
                <a:gd name="connsiteY3" fmla="*/ 435077 h 435077"/>
                <a:gd name="connsiteX4" fmla="*/ 0 w 435077"/>
                <a:gd name="connsiteY4" fmla="*/ 435077 h 435077"/>
                <a:gd name="connsiteX5" fmla="*/ 0 w 435077"/>
                <a:gd name="connsiteY5" fmla="*/ 27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65" y="435077"/>
                  </a:moveTo>
                  <a:lnTo>
                    <a:pt x="217565" y="0"/>
                  </a:lnTo>
                  <a:lnTo>
                    <a:pt x="435077" y="217539"/>
                  </a:lnTo>
                  <a:lnTo>
                    <a:pt x="217565" y="435077"/>
                  </a:lnTo>
                  <a:close/>
                  <a:moveTo>
                    <a:pt x="0" y="435077"/>
                  </a:moveTo>
                  <a:lnTo>
                    <a:pt x="0" y="27"/>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758" name="Freeform: Shape 757">
              <a:extLst>
                <a:ext uri="{FF2B5EF4-FFF2-40B4-BE49-F238E27FC236}">
                  <a16:creationId xmlns:a16="http://schemas.microsoft.com/office/drawing/2014/main" id="{0DD8F0BB-B35F-F021-2C94-5019BD3BF761}"/>
                </a:ext>
              </a:extLst>
            </p:cNvPr>
            <p:cNvSpPr/>
            <p:nvPr/>
          </p:nvSpPr>
          <p:spPr>
            <a:xfrm>
              <a:off x="22589856" y="805999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7" y="153827"/>
                  </a:cubicBezTo>
                  <a:cubicBezTo>
                    <a:pt x="330578" y="194616"/>
                    <a:pt x="275241" y="217539"/>
                    <a:pt x="217539" y="217539"/>
                  </a:cubicBezTo>
                  <a:cubicBezTo>
                    <a:pt x="159838" y="217539"/>
                    <a:pt x="104529" y="194616"/>
                    <a:pt x="63712" y="153827"/>
                  </a:cubicBezTo>
                  <a:close/>
                  <a:moveTo>
                    <a:pt x="63712" y="281250"/>
                  </a:moveTo>
                  <a:cubicBezTo>
                    <a:pt x="22924" y="322066"/>
                    <a:pt x="0" y="377402"/>
                    <a:pt x="0" y="435077"/>
                  </a:cubicBezTo>
                  <a:lnTo>
                    <a:pt x="217539" y="435077"/>
                  </a:lnTo>
                  <a:lnTo>
                    <a:pt x="435077" y="435077"/>
                  </a:lnTo>
                  <a:cubicBezTo>
                    <a:pt x="435077" y="377402"/>
                    <a:pt x="412155" y="322066"/>
                    <a:pt x="371367" y="281250"/>
                  </a:cubicBezTo>
                  <a:cubicBezTo>
                    <a:pt x="330578" y="240462"/>
                    <a:pt x="275241" y="217539"/>
                    <a:pt x="217539" y="217539"/>
                  </a:cubicBezTo>
                  <a:cubicBezTo>
                    <a:pt x="159838" y="217539"/>
                    <a:pt x="104529" y="240462"/>
                    <a:pt x="63712" y="281250"/>
                  </a:cubicBezTo>
                  <a:close/>
                </a:path>
              </a:pathLst>
            </a:custGeom>
            <a:grpFill/>
            <a:ln w="27192" cap="flat">
              <a:noFill/>
              <a:prstDash val="solid"/>
              <a:miter/>
            </a:ln>
          </p:spPr>
          <p:txBody>
            <a:bodyPr rtlCol="0" anchor="ctr"/>
            <a:lstStyle/>
            <a:p>
              <a:endParaRPr lang="uk-UA" sz="900"/>
            </a:p>
          </p:txBody>
        </p:sp>
        <p:sp>
          <p:nvSpPr>
            <p:cNvPr id="759" name="Freeform: Shape 758">
              <a:extLst>
                <a:ext uri="{FF2B5EF4-FFF2-40B4-BE49-F238E27FC236}">
                  <a16:creationId xmlns:a16="http://schemas.microsoft.com/office/drawing/2014/main" id="{FF847F92-0AD1-9D5F-3A62-11672BD40889}"/>
                </a:ext>
              </a:extLst>
            </p:cNvPr>
            <p:cNvSpPr/>
            <p:nvPr/>
          </p:nvSpPr>
          <p:spPr>
            <a:xfrm>
              <a:off x="23460011" y="8059993"/>
              <a:ext cx="435105" cy="435077"/>
            </a:xfrm>
            <a:custGeom>
              <a:avLst/>
              <a:gdLst>
                <a:gd name="connsiteX0" fmla="*/ 435106 w 435105"/>
                <a:gd name="connsiteY0" fmla="*/ 435077 h 435077"/>
                <a:gd name="connsiteX1" fmla="*/ 435106 w 435105"/>
                <a:gd name="connsiteY1" fmla="*/ 217566 h 435077"/>
                <a:gd name="connsiteX2" fmla="*/ 435106 w 435105"/>
                <a:gd name="connsiteY2" fmla="*/ 27 h 435077"/>
                <a:gd name="connsiteX3" fmla="*/ 217567 w 435105"/>
                <a:gd name="connsiteY3" fmla="*/ 27 h 435077"/>
                <a:gd name="connsiteX4" fmla="*/ 435106 w 435105"/>
                <a:gd name="connsiteY4" fmla="*/ 217566 h 435077"/>
                <a:gd name="connsiteX5" fmla="*/ 217567 w 435105"/>
                <a:gd name="connsiteY5" fmla="*/ 435077 h 435077"/>
                <a:gd name="connsiteX6" fmla="*/ 435106 w 435105"/>
                <a:gd name="connsiteY6" fmla="*/ 435077 h 435077"/>
                <a:gd name="connsiteX7" fmla="*/ 0 w 435105"/>
                <a:gd name="connsiteY7" fmla="*/ 217539 h 435077"/>
                <a:gd name="connsiteX8" fmla="*/ 0 w 435105"/>
                <a:gd name="connsiteY8" fmla="*/ 0 h 435077"/>
                <a:gd name="connsiteX9" fmla="*/ 217539 w 435105"/>
                <a:gd name="connsiteY9" fmla="*/ 217539 h 435077"/>
                <a:gd name="connsiteX10" fmla="*/ 0 w 435105"/>
                <a:gd name="connsiteY10" fmla="*/ 217539 h 435077"/>
                <a:gd name="connsiteX11" fmla="*/ 0 w 435105"/>
                <a:gd name="connsiteY11" fmla="*/ 435077 h 435077"/>
                <a:gd name="connsiteX12" fmla="*/ 0 w 435105"/>
                <a:gd name="connsiteY12" fmla="*/ 217539 h 435077"/>
                <a:gd name="connsiteX13" fmla="*/ 217539 w 435105"/>
                <a:gd name="connsiteY13" fmla="*/ 217539 h 435077"/>
                <a:gd name="connsiteX14" fmla="*/ 0 w 435105"/>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105" h="435077">
                  <a:moveTo>
                    <a:pt x="435106" y="435077"/>
                  </a:moveTo>
                  <a:lnTo>
                    <a:pt x="435106" y="217566"/>
                  </a:lnTo>
                  <a:lnTo>
                    <a:pt x="435106" y="27"/>
                  </a:lnTo>
                  <a:lnTo>
                    <a:pt x="217567" y="27"/>
                  </a:lnTo>
                  <a:lnTo>
                    <a:pt x="435106" y="217566"/>
                  </a:lnTo>
                  <a:lnTo>
                    <a:pt x="217567" y="435077"/>
                  </a:lnTo>
                  <a:lnTo>
                    <a:pt x="435106"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760" name="Freeform: Shape 759">
              <a:extLst>
                <a:ext uri="{FF2B5EF4-FFF2-40B4-BE49-F238E27FC236}">
                  <a16:creationId xmlns:a16="http://schemas.microsoft.com/office/drawing/2014/main" id="{41C1C4B2-19E1-A312-D2F9-AAE9D7FCAA96}"/>
                </a:ext>
              </a:extLst>
            </p:cNvPr>
            <p:cNvSpPr/>
            <p:nvPr/>
          </p:nvSpPr>
          <p:spPr>
            <a:xfrm>
              <a:off x="24330194" y="8059993"/>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27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27"/>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761" name="Freeform: Shape 760">
              <a:extLst>
                <a:ext uri="{FF2B5EF4-FFF2-40B4-BE49-F238E27FC236}">
                  <a16:creationId xmlns:a16="http://schemas.microsoft.com/office/drawing/2014/main" id="{9EFA5AD6-128D-E983-D659-790F2380D37F}"/>
                </a:ext>
              </a:extLst>
            </p:cNvPr>
            <p:cNvSpPr/>
            <p:nvPr/>
          </p:nvSpPr>
          <p:spPr>
            <a:xfrm>
              <a:off x="835769" y="8930148"/>
              <a:ext cx="435077" cy="435104"/>
            </a:xfrm>
            <a:custGeom>
              <a:avLst/>
              <a:gdLst>
                <a:gd name="connsiteX0" fmla="*/ 0 w 435077"/>
                <a:gd name="connsiteY0" fmla="*/ 435077 h 435104"/>
                <a:gd name="connsiteX1" fmla="*/ 217511 w 435077"/>
                <a:gd name="connsiteY1" fmla="*/ 435077 h 435104"/>
                <a:gd name="connsiteX2" fmla="*/ 217511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11" y="435077"/>
                  </a:lnTo>
                  <a:lnTo>
                    <a:pt x="217511"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762" name="Freeform: Shape 761">
              <a:extLst>
                <a:ext uri="{FF2B5EF4-FFF2-40B4-BE49-F238E27FC236}">
                  <a16:creationId xmlns:a16="http://schemas.microsoft.com/office/drawing/2014/main" id="{C9511FD0-A320-6A35-13CF-3D9B79AC1639}"/>
                </a:ext>
              </a:extLst>
            </p:cNvPr>
            <p:cNvSpPr/>
            <p:nvPr/>
          </p:nvSpPr>
          <p:spPr>
            <a:xfrm>
              <a:off x="-34398" y="8930148"/>
              <a:ext cx="435063" cy="435077"/>
            </a:xfrm>
            <a:custGeom>
              <a:avLst/>
              <a:gdLst>
                <a:gd name="connsiteX0" fmla="*/ 217525 w 435063"/>
                <a:gd name="connsiteY0" fmla="*/ 217539 h 435077"/>
                <a:gd name="connsiteX1" fmla="*/ 217525 w 435063"/>
                <a:gd name="connsiteY1" fmla="*/ 0 h 435077"/>
                <a:gd name="connsiteX2" fmla="*/ 0 w 435063"/>
                <a:gd name="connsiteY2" fmla="*/ 0 h 435077"/>
                <a:gd name="connsiteX3" fmla="*/ 217525 w 435063"/>
                <a:gd name="connsiteY3" fmla="*/ 217539 h 435077"/>
                <a:gd name="connsiteX4" fmla="*/ 0 w 435063"/>
                <a:gd name="connsiteY4" fmla="*/ 435077 h 435077"/>
                <a:gd name="connsiteX5" fmla="*/ 217525 w 435063"/>
                <a:gd name="connsiteY5" fmla="*/ 435077 h 435077"/>
                <a:gd name="connsiteX6" fmla="*/ 217525 w 435063"/>
                <a:gd name="connsiteY6" fmla="*/ 435077 h 435077"/>
                <a:gd name="connsiteX7" fmla="*/ 435064 w 435063"/>
                <a:gd name="connsiteY7" fmla="*/ 217566 h 435077"/>
                <a:gd name="connsiteX8" fmla="*/ 435064 w 435063"/>
                <a:gd name="connsiteY8" fmla="*/ 217566 h 435077"/>
                <a:gd name="connsiteX9" fmla="*/ 435064 w 435063"/>
                <a:gd name="connsiteY9" fmla="*/ 217539 h 435077"/>
                <a:gd name="connsiteX10" fmla="*/ 435064 w 435063"/>
                <a:gd name="connsiteY10" fmla="*/ 217539 h 435077"/>
                <a:gd name="connsiteX11" fmla="*/ 435064 w 435063"/>
                <a:gd name="connsiteY11" fmla="*/ 217539 h 435077"/>
                <a:gd name="connsiteX12" fmla="*/ 217525 w 435063"/>
                <a:gd name="connsiteY12" fmla="*/ 27 h 435077"/>
                <a:gd name="connsiteX13" fmla="*/ 217525 w 435063"/>
                <a:gd name="connsiteY13" fmla="*/ 217539 h 435077"/>
                <a:gd name="connsiteX14" fmla="*/ 217525 w 435063"/>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63" h="435077">
                  <a:moveTo>
                    <a:pt x="217525" y="217539"/>
                  </a:moveTo>
                  <a:lnTo>
                    <a:pt x="217525" y="0"/>
                  </a:lnTo>
                  <a:lnTo>
                    <a:pt x="0" y="0"/>
                  </a:lnTo>
                  <a:lnTo>
                    <a:pt x="217525" y="217539"/>
                  </a:lnTo>
                  <a:lnTo>
                    <a:pt x="0" y="435077"/>
                  </a:lnTo>
                  <a:lnTo>
                    <a:pt x="217525" y="435077"/>
                  </a:lnTo>
                  <a:lnTo>
                    <a:pt x="217525" y="435077"/>
                  </a:lnTo>
                  <a:lnTo>
                    <a:pt x="435064" y="217566"/>
                  </a:lnTo>
                  <a:lnTo>
                    <a:pt x="435064" y="217566"/>
                  </a:lnTo>
                  <a:lnTo>
                    <a:pt x="435064" y="217539"/>
                  </a:lnTo>
                  <a:lnTo>
                    <a:pt x="435064" y="217539"/>
                  </a:lnTo>
                  <a:lnTo>
                    <a:pt x="435064" y="217539"/>
                  </a:lnTo>
                  <a:lnTo>
                    <a:pt x="217525" y="27"/>
                  </a:lnTo>
                  <a:lnTo>
                    <a:pt x="217525" y="217539"/>
                  </a:lnTo>
                  <a:lnTo>
                    <a:pt x="217525" y="217539"/>
                  </a:lnTo>
                  <a:close/>
                </a:path>
              </a:pathLst>
            </a:custGeom>
            <a:grpFill/>
            <a:ln w="27192" cap="flat">
              <a:noFill/>
              <a:prstDash val="solid"/>
              <a:miter/>
            </a:ln>
          </p:spPr>
          <p:txBody>
            <a:bodyPr rtlCol="0" anchor="ctr"/>
            <a:lstStyle/>
            <a:p>
              <a:endParaRPr lang="uk-UA" sz="900"/>
            </a:p>
          </p:txBody>
        </p:sp>
        <p:sp>
          <p:nvSpPr>
            <p:cNvPr id="763" name="Freeform: Shape 762">
              <a:extLst>
                <a:ext uri="{FF2B5EF4-FFF2-40B4-BE49-F238E27FC236}">
                  <a16:creationId xmlns:a16="http://schemas.microsoft.com/office/drawing/2014/main" id="{D785299B-DC8A-7BDC-3832-4BA38172FC89}"/>
                </a:ext>
              </a:extLst>
            </p:cNvPr>
            <p:cNvSpPr/>
            <p:nvPr/>
          </p:nvSpPr>
          <p:spPr>
            <a:xfrm>
              <a:off x="1705924" y="8930148"/>
              <a:ext cx="435104" cy="435077"/>
            </a:xfrm>
            <a:custGeom>
              <a:avLst/>
              <a:gdLst>
                <a:gd name="connsiteX0" fmla="*/ 217539 w 435104"/>
                <a:gd name="connsiteY0" fmla="*/ 0 h 435077"/>
                <a:gd name="connsiteX1" fmla="*/ 0 w 435104"/>
                <a:gd name="connsiteY1" fmla="*/ 0 h 435077"/>
                <a:gd name="connsiteX2" fmla="*/ 0 w 435104"/>
                <a:gd name="connsiteY2" fmla="*/ 217539 h 435077"/>
                <a:gd name="connsiteX3" fmla="*/ 217539 w 435104"/>
                <a:gd name="connsiteY3" fmla="*/ 0 h 435077"/>
                <a:gd name="connsiteX4" fmla="*/ 435104 w 435104"/>
                <a:gd name="connsiteY4" fmla="*/ 27 h 435077"/>
                <a:gd name="connsiteX5" fmla="*/ 435104 w 435104"/>
                <a:gd name="connsiteY5" fmla="*/ 217566 h 435077"/>
                <a:gd name="connsiteX6" fmla="*/ 217566 w 435104"/>
                <a:gd name="connsiteY6" fmla="*/ 27 h 435077"/>
                <a:gd name="connsiteX7" fmla="*/ 435104 w 435104"/>
                <a:gd name="connsiteY7" fmla="*/ 27 h 435077"/>
                <a:gd name="connsiteX8" fmla="*/ 217566 w 435104"/>
                <a:gd name="connsiteY8" fmla="*/ 435077 h 435077"/>
                <a:gd name="connsiteX9" fmla="*/ 435104 w 435104"/>
                <a:gd name="connsiteY9" fmla="*/ 217566 h 435077"/>
                <a:gd name="connsiteX10" fmla="*/ 435104 w 435104"/>
                <a:gd name="connsiteY10" fmla="*/ 435077 h 435077"/>
                <a:gd name="connsiteX11" fmla="*/ 217566 w 435104"/>
                <a:gd name="connsiteY11" fmla="*/ 435077 h 435077"/>
                <a:gd name="connsiteX12" fmla="*/ 217566 w 435104"/>
                <a:gd name="connsiteY12" fmla="*/ 435077 h 435077"/>
                <a:gd name="connsiteX13" fmla="*/ 27 w 435104"/>
                <a:gd name="connsiteY13" fmla="*/ 217566 h 435077"/>
                <a:gd name="connsiteX14" fmla="*/ 27 w 435104"/>
                <a:gd name="connsiteY14" fmla="*/ 435077 h 435077"/>
                <a:gd name="connsiteX15" fmla="*/ 217566 w 435104"/>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4" h="435077">
                  <a:moveTo>
                    <a:pt x="217539" y="0"/>
                  </a:moveTo>
                  <a:lnTo>
                    <a:pt x="0" y="0"/>
                  </a:lnTo>
                  <a:lnTo>
                    <a:pt x="0" y="217539"/>
                  </a:lnTo>
                  <a:lnTo>
                    <a:pt x="217539" y="0"/>
                  </a:lnTo>
                  <a:close/>
                  <a:moveTo>
                    <a:pt x="435104" y="27"/>
                  </a:moveTo>
                  <a:lnTo>
                    <a:pt x="435104" y="217566"/>
                  </a:lnTo>
                  <a:lnTo>
                    <a:pt x="217566" y="27"/>
                  </a:lnTo>
                  <a:lnTo>
                    <a:pt x="435104" y="27"/>
                  </a:lnTo>
                  <a:close/>
                  <a:moveTo>
                    <a:pt x="217566" y="435077"/>
                  </a:moveTo>
                  <a:lnTo>
                    <a:pt x="435104" y="217566"/>
                  </a:lnTo>
                  <a:lnTo>
                    <a:pt x="435104" y="435077"/>
                  </a:lnTo>
                  <a:lnTo>
                    <a:pt x="217566" y="435077"/>
                  </a:lnTo>
                  <a:close/>
                  <a:moveTo>
                    <a:pt x="217566" y="435077"/>
                  </a:moveTo>
                  <a:lnTo>
                    <a:pt x="27" y="217566"/>
                  </a:lnTo>
                  <a:lnTo>
                    <a:pt x="27" y="435077"/>
                  </a:lnTo>
                  <a:lnTo>
                    <a:pt x="217566" y="435077"/>
                  </a:lnTo>
                  <a:close/>
                </a:path>
              </a:pathLst>
            </a:custGeom>
            <a:grpFill/>
            <a:ln w="27192" cap="flat">
              <a:noFill/>
              <a:prstDash val="solid"/>
              <a:miter/>
            </a:ln>
          </p:spPr>
          <p:txBody>
            <a:bodyPr rtlCol="0" anchor="ctr"/>
            <a:lstStyle/>
            <a:p>
              <a:endParaRPr lang="uk-UA" sz="900"/>
            </a:p>
          </p:txBody>
        </p:sp>
        <p:sp>
          <p:nvSpPr>
            <p:cNvPr id="764" name="Freeform: Shape 763">
              <a:extLst>
                <a:ext uri="{FF2B5EF4-FFF2-40B4-BE49-F238E27FC236}">
                  <a16:creationId xmlns:a16="http://schemas.microsoft.com/office/drawing/2014/main" id="{696159CD-2D98-3461-7E5D-92D5F693943C}"/>
                </a:ext>
              </a:extLst>
            </p:cNvPr>
            <p:cNvSpPr/>
            <p:nvPr/>
          </p:nvSpPr>
          <p:spPr>
            <a:xfrm>
              <a:off x="2576106" y="8930148"/>
              <a:ext cx="435077" cy="435077"/>
            </a:xfrm>
            <a:custGeom>
              <a:avLst/>
              <a:gdLst>
                <a:gd name="connsiteX0" fmla="*/ 371366 w 435077"/>
                <a:gd name="connsiteY0" fmla="*/ 63739 h 435077"/>
                <a:gd name="connsiteX1" fmla="*/ 435077 w 435077"/>
                <a:gd name="connsiteY1" fmla="*/ 217539 h 435077"/>
                <a:gd name="connsiteX2" fmla="*/ 217702 w 435077"/>
                <a:gd name="connsiteY2" fmla="*/ 217539 h 435077"/>
                <a:gd name="connsiteX3" fmla="*/ 371366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6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39"/>
                  </a:moveTo>
                  <a:cubicBezTo>
                    <a:pt x="412154" y="104527"/>
                    <a:pt x="435077" y="159864"/>
                    <a:pt x="435077" y="217539"/>
                  </a:cubicBezTo>
                  <a:lnTo>
                    <a:pt x="217702" y="217539"/>
                  </a:lnTo>
                  <a:cubicBezTo>
                    <a:pt x="275350" y="217593"/>
                    <a:pt x="330605" y="240516"/>
                    <a:pt x="371366" y="281277"/>
                  </a:cubicBezTo>
                  <a:cubicBezTo>
                    <a:pt x="412154" y="322066"/>
                    <a:pt x="435077" y="377402"/>
                    <a:pt x="435077" y="435077"/>
                  </a:cubicBezTo>
                  <a:lnTo>
                    <a:pt x="217539" y="435077"/>
                  </a:lnTo>
                  <a:lnTo>
                    <a:pt x="0" y="435077"/>
                  </a:lnTo>
                  <a:cubicBezTo>
                    <a:pt x="0" y="377402"/>
                    <a:pt x="22923" y="322066"/>
                    <a:pt x="63712" y="281277"/>
                  </a:cubicBezTo>
                  <a:cubicBezTo>
                    <a:pt x="104473" y="240516"/>
                    <a:pt x="159728" y="217593"/>
                    <a:pt x="217376" y="217539"/>
                  </a:cubicBezTo>
                  <a:lnTo>
                    <a:pt x="0" y="217539"/>
                  </a:lnTo>
                  <a:cubicBezTo>
                    <a:pt x="0" y="159864"/>
                    <a:pt x="22923" y="104527"/>
                    <a:pt x="63712" y="63739"/>
                  </a:cubicBezTo>
                  <a:cubicBezTo>
                    <a:pt x="104500" y="22923"/>
                    <a:pt x="159837" y="0"/>
                    <a:pt x="217539" y="0"/>
                  </a:cubicBezTo>
                  <a:cubicBezTo>
                    <a:pt x="275214" y="0"/>
                    <a:pt x="330550" y="22923"/>
                    <a:pt x="371366" y="63739"/>
                  </a:cubicBezTo>
                  <a:close/>
                </a:path>
              </a:pathLst>
            </a:custGeom>
            <a:grpFill/>
            <a:ln w="27192" cap="flat">
              <a:noFill/>
              <a:prstDash val="solid"/>
              <a:miter/>
            </a:ln>
          </p:spPr>
          <p:txBody>
            <a:bodyPr rtlCol="0" anchor="ctr"/>
            <a:lstStyle/>
            <a:p>
              <a:endParaRPr lang="uk-UA" sz="900"/>
            </a:p>
          </p:txBody>
        </p:sp>
        <p:sp>
          <p:nvSpPr>
            <p:cNvPr id="765" name="Freeform: Shape 764">
              <a:extLst>
                <a:ext uri="{FF2B5EF4-FFF2-40B4-BE49-F238E27FC236}">
                  <a16:creationId xmlns:a16="http://schemas.microsoft.com/office/drawing/2014/main" id="{83CD2A89-6681-8724-85F4-B5C9AC948C30}"/>
                </a:ext>
              </a:extLst>
            </p:cNvPr>
            <p:cNvSpPr/>
            <p:nvPr/>
          </p:nvSpPr>
          <p:spPr>
            <a:xfrm>
              <a:off x="4316442" y="8930148"/>
              <a:ext cx="435050" cy="435104"/>
            </a:xfrm>
            <a:custGeom>
              <a:avLst/>
              <a:gdLst>
                <a:gd name="connsiteX0" fmla="*/ 0 w 435050"/>
                <a:gd name="connsiteY0" fmla="*/ 435077 h 435104"/>
                <a:gd name="connsiteX1" fmla="*/ 217512 w 435050"/>
                <a:gd name="connsiteY1" fmla="*/ 435077 h 435104"/>
                <a:gd name="connsiteX2" fmla="*/ 217512 w 435050"/>
                <a:gd name="connsiteY2" fmla="*/ 217566 h 435104"/>
                <a:gd name="connsiteX3" fmla="*/ 0 w 435050"/>
                <a:gd name="connsiteY3" fmla="*/ 435077 h 435104"/>
                <a:gd name="connsiteX4" fmla="*/ 217512 w 435050"/>
                <a:gd name="connsiteY4" fmla="*/ 0 h 435104"/>
                <a:gd name="connsiteX5" fmla="*/ 0 w 435050"/>
                <a:gd name="connsiteY5" fmla="*/ 0 h 435104"/>
                <a:gd name="connsiteX6" fmla="*/ 217512 w 435050"/>
                <a:gd name="connsiteY6" fmla="*/ 217539 h 435104"/>
                <a:gd name="connsiteX7" fmla="*/ 217512 w 435050"/>
                <a:gd name="connsiteY7" fmla="*/ 0 h 435104"/>
                <a:gd name="connsiteX8" fmla="*/ 435051 w 435050"/>
                <a:gd name="connsiteY8" fmla="*/ 435105 h 435104"/>
                <a:gd name="connsiteX9" fmla="*/ 217539 w 435050"/>
                <a:gd name="connsiteY9" fmla="*/ 435105 h 435104"/>
                <a:gd name="connsiteX10" fmla="*/ 435051 w 435050"/>
                <a:gd name="connsiteY10" fmla="*/ 217566 h 435104"/>
                <a:gd name="connsiteX11" fmla="*/ 435051 w 435050"/>
                <a:gd name="connsiteY11" fmla="*/ 435105 h 435104"/>
                <a:gd name="connsiteX12" fmla="*/ 435051 w 435050"/>
                <a:gd name="connsiteY12" fmla="*/ 27 h 435104"/>
                <a:gd name="connsiteX13" fmla="*/ 217539 w 435050"/>
                <a:gd name="connsiteY13" fmla="*/ 27 h 435104"/>
                <a:gd name="connsiteX14" fmla="*/ 435051 w 435050"/>
                <a:gd name="connsiteY14" fmla="*/ 217539 h 435104"/>
                <a:gd name="connsiteX15" fmla="*/ 435051 w 435050"/>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50" h="435104">
                  <a:moveTo>
                    <a:pt x="0" y="435077"/>
                  </a:moveTo>
                  <a:lnTo>
                    <a:pt x="217512" y="435077"/>
                  </a:lnTo>
                  <a:lnTo>
                    <a:pt x="217512" y="217566"/>
                  </a:lnTo>
                  <a:lnTo>
                    <a:pt x="0" y="435077"/>
                  </a:lnTo>
                  <a:close/>
                  <a:moveTo>
                    <a:pt x="217512" y="0"/>
                  </a:moveTo>
                  <a:lnTo>
                    <a:pt x="0" y="0"/>
                  </a:lnTo>
                  <a:lnTo>
                    <a:pt x="217512" y="217539"/>
                  </a:lnTo>
                  <a:lnTo>
                    <a:pt x="217512" y="0"/>
                  </a:lnTo>
                  <a:close/>
                  <a:moveTo>
                    <a:pt x="435051" y="435105"/>
                  </a:moveTo>
                  <a:lnTo>
                    <a:pt x="217539" y="435105"/>
                  </a:lnTo>
                  <a:lnTo>
                    <a:pt x="435051" y="217566"/>
                  </a:lnTo>
                  <a:lnTo>
                    <a:pt x="435051" y="435105"/>
                  </a:lnTo>
                  <a:close/>
                  <a:moveTo>
                    <a:pt x="435051" y="27"/>
                  </a:moveTo>
                  <a:lnTo>
                    <a:pt x="217539" y="27"/>
                  </a:lnTo>
                  <a:lnTo>
                    <a:pt x="435051" y="217539"/>
                  </a:lnTo>
                  <a:lnTo>
                    <a:pt x="435051" y="27"/>
                  </a:lnTo>
                  <a:close/>
                </a:path>
              </a:pathLst>
            </a:custGeom>
            <a:grpFill/>
            <a:ln w="27192" cap="flat">
              <a:noFill/>
              <a:prstDash val="solid"/>
              <a:miter/>
            </a:ln>
          </p:spPr>
          <p:txBody>
            <a:bodyPr rtlCol="0" anchor="ctr"/>
            <a:lstStyle/>
            <a:p>
              <a:endParaRPr lang="uk-UA" sz="900"/>
            </a:p>
          </p:txBody>
        </p:sp>
        <p:sp>
          <p:nvSpPr>
            <p:cNvPr id="766" name="Freeform: Shape 765">
              <a:extLst>
                <a:ext uri="{FF2B5EF4-FFF2-40B4-BE49-F238E27FC236}">
                  <a16:creationId xmlns:a16="http://schemas.microsoft.com/office/drawing/2014/main" id="{5E5DF38E-801E-BA7F-89E3-B3216C111BFD}"/>
                </a:ext>
              </a:extLst>
            </p:cNvPr>
            <p:cNvSpPr/>
            <p:nvPr/>
          </p:nvSpPr>
          <p:spPr>
            <a:xfrm>
              <a:off x="3446261" y="893014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767" name="Freeform: Shape 766">
              <a:extLst>
                <a:ext uri="{FF2B5EF4-FFF2-40B4-BE49-F238E27FC236}">
                  <a16:creationId xmlns:a16="http://schemas.microsoft.com/office/drawing/2014/main" id="{A5B324E1-1172-F2EF-29B5-DF864F102F95}"/>
                </a:ext>
              </a:extLst>
            </p:cNvPr>
            <p:cNvSpPr/>
            <p:nvPr/>
          </p:nvSpPr>
          <p:spPr>
            <a:xfrm>
              <a:off x="5186597" y="8930148"/>
              <a:ext cx="435077" cy="435077"/>
            </a:xfrm>
            <a:custGeom>
              <a:avLst/>
              <a:gdLst>
                <a:gd name="connsiteX0" fmla="*/ 217539 w 435077"/>
                <a:gd name="connsiteY0" fmla="*/ 0 h 435077"/>
                <a:gd name="connsiteX1" fmla="*/ 217539 w 435077"/>
                <a:gd name="connsiteY1" fmla="*/ 0 h 435077"/>
                <a:gd name="connsiteX2" fmla="*/ 0 w 435077"/>
                <a:gd name="connsiteY2" fmla="*/ 0 h 435077"/>
                <a:gd name="connsiteX3" fmla="*/ 0 w 435077"/>
                <a:gd name="connsiteY3" fmla="*/ 217539 h 435077"/>
                <a:gd name="connsiteX4" fmla="*/ 217539 w 435077"/>
                <a:gd name="connsiteY4" fmla="*/ 27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217539" y="0"/>
                  </a:lnTo>
                  <a:lnTo>
                    <a:pt x="0" y="0"/>
                  </a:lnTo>
                  <a:lnTo>
                    <a:pt x="0" y="217539"/>
                  </a:lnTo>
                  <a:lnTo>
                    <a:pt x="217539" y="27"/>
                  </a:lnTo>
                  <a:lnTo>
                    <a:pt x="435077" y="217539"/>
                  </a:lnTo>
                  <a:lnTo>
                    <a:pt x="217539" y="435077"/>
                  </a:lnTo>
                  <a:lnTo>
                    <a:pt x="0" y="217539"/>
                  </a:lnTo>
                  <a:lnTo>
                    <a:pt x="0" y="435077"/>
                  </a:lnTo>
                  <a:lnTo>
                    <a:pt x="217539" y="435077"/>
                  </a:lnTo>
                  <a:lnTo>
                    <a:pt x="435077" y="435077"/>
                  </a:lnTo>
                  <a:lnTo>
                    <a:pt x="435077" y="217539"/>
                  </a:lnTo>
                  <a:lnTo>
                    <a:pt x="435077" y="0"/>
                  </a:lnTo>
                  <a:lnTo>
                    <a:pt x="217539" y="0"/>
                  </a:lnTo>
                  <a:close/>
                </a:path>
              </a:pathLst>
            </a:custGeom>
            <a:grpFill/>
            <a:ln w="27192" cap="flat">
              <a:noFill/>
              <a:prstDash val="solid"/>
              <a:miter/>
            </a:ln>
          </p:spPr>
          <p:txBody>
            <a:bodyPr rtlCol="0" anchor="ctr"/>
            <a:lstStyle/>
            <a:p>
              <a:endParaRPr lang="uk-UA" sz="900"/>
            </a:p>
          </p:txBody>
        </p:sp>
        <p:sp>
          <p:nvSpPr>
            <p:cNvPr id="768" name="Freeform: Shape 767">
              <a:extLst>
                <a:ext uri="{FF2B5EF4-FFF2-40B4-BE49-F238E27FC236}">
                  <a16:creationId xmlns:a16="http://schemas.microsoft.com/office/drawing/2014/main" id="{18A8AE50-20E9-4029-B228-B725F665112D}"/>
                </a:ext>
              </a:extLst>
            </p:cNvPr>
            <p:cNvSpPr/>
            <p:nvPr/>
          </p:nvSpPr>
          <p:spPr>
            <a:xfrm>
              <a:off x="6056752" y="8930148"/>
              <a:ext cx="435077" cy="435077"/>
            </a:xfrm>
            <a:custGeom>
              <a:avLst/>
              <a:gdLst>
                <a:gd name="connsiteX0" fmla="*/ 371366 w 435077"/>
                <a:gd name="connsiteY0" fmla="*/ 63739 h 435077"/>
                <a:gd name="connsiteX1" fmla="*/ 435077 w 435077"/>
                <a:gd name="connsiteY1" fmla="*/ 217539 h 435077"/>
                <a:gd name="connsiteX2" fmla="*/ 217702 w 435077"/>
                <a:gd name="connsiteY2" fmla="*/ 217539 h 435077"/>
                <a:gd name="connsiteX3" fmla="*/ 371366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6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39"/>
                  </a:moveTo>
                  <a:cubicBezTo>
                    <a:pt x="412155" y="104527"/>
                    <a:pt x="435077" y="159864"/>
                    <a:pt x="435077" y="217539"/>
                  </a:cubicBezTo>
                  <a:lnTo>
                    <a:pt x="217702" y="217539"/>
                  </a:lnTo>
                  <a:cubicBezTo>
                    <a:pt x="275350" y="217593"/>
                    <a:pt x="330605" y="240516"/>
                    <a:pt x="371366" y="281277"/>
                  </a:cubicBezTo>
                  <a:cubicBezTo>
                    <a:pt x="412155" y="322066"/>
                    <a:pt x="435077" y="377402"/>
                    <a:pt x="435077" y="435077"/>
                  </a:cubicBezTo>
                  <a:lnTo>
                    <a:pt x="217539" y="435077"/>
                  </a:lnTo>
                  <a:lnTo>
                    <a:pt x="0" y="435077"/>
                  </a:lnTo>
                  <a:cubicBezTo>
                    <a:pt x="0" y="377402"/>
                    <a:pt x="22924" y="322066"/>
                    <a:pt x="63712" y="281277"/>
                  </a:cubicBezTo>
                  <a:cubicBezTo>
                    <a:pt x="104473" y="240516"/>
                    <a:pt x="159728" y="217593"/>
                    <a:pt x="217376" y="217539"/>
                  </a:cubicBezTo>
                  <a:lnTo>
                    <a:pt x="0" y="217539"/>
                  </a:lnTo>
                  <a:cubicBezTo>
                    <a:pt x="0" y="159864"/>
                    <a:pt x="22924" y="104527"/>
                    <a:pt x="63712" y="63739"/>
                  </a:cubicBezTo>
                  <a:cubicBezTo>
                    <a:pt x="104501" y="22923"/>
                    <a:pt x="159837" y="0"/>
                    <a:pt x="217539" y="0"/>
                  </a:cubicBezTo>
                  <a:cubicBezTo>
                    <a:pt x="275241" y="0"/>
                    <a:pt x="330550" y="22923"/>
                    <a:pt x="371366" y="63739"/>
                  </a:cubicBezTo>
                  <a:close/>
                </a:path>
              </a:pathLst>
            </a:custGeom>
            <a:grpFill/>
            <a:ln w="27192" cap="flat">
              <a:noFill/>
              <a:prstDash val="solid"/>
              <a:miter/>
            </a:ln>
          </p:spPr>
          <p:txBody>
            <a:bodyPr rtlCol="0" anchor="ctr"/>
            <a:lstStyle/>
            <a:p>
              <a:endParaRPr lang="uk-UA" sz="900"/>
            </a:p>
          </p:txBody>
        </p:sp>
        <p:sp>
          <p:nvSpPr>
            <p:cNvPr id="769" name="Freeform: Shape 768">
              <a:extLst>
                <a:ext uri="{FF2B5EF4-FFF2-40B4-BE49-F238E27FC236}">
                  <a16:creationId xmlns:a16="http://schemas.microsoft.com/office/drawing/2014/main" id="{D62CB5A1-3DDC-858D-636C-D7DFD458A22D}"/>
                </a:ext>
              </a:extLst>
            </p:cNvPr>
            <p:cNvSpPr/>
            <p:nvPr/>
          </p:nvSpPr>
          <p:spPr>
            <a:xfrm>
              <a:off x="7797089" y="8930148"/>
              <a:ext cx="435050" cy="435104"/>
            </a:xfrm>
            <a:custGeom>
              <a:avLst/>
              <a:gdLst>
                <a:gd name="connsiteX0" fmla="*/ 0 w 435050"/>
                <a:gd name="connsiteY0" fmla="*/ 435077 h 435104"/>
                <a:gd name="connsiteX1" fmla="*/ 217511 w 435050"/>
                <a:gd name="connsiteY1" fmla="*/ 435077 h 435104"/>
                <a:gd name="connsiteX2" fmla="*/ 217511 w 435050"/>
                <a:gd name="connsiteY2" fmla="*/ 217566 h 435104"/>
                <a:gd name="connsiteX3" fmla="*/ 0 w 435050"/>
                <a:gd name="connsiteY3" fmla="*/ 435077 h 435104"/>
                <a:gd name="connsiteX4" fmla="*/ 217511 w 435050"/>
                <a:gd name="connsiteY4" fmla="*/ 0 h 435104"/>
                <a:gd name="connsiteX5" fmla="*/ 0 w 435050"/>
                <a:gd name="connsiteY5" fmla="*/ 0 h 435104"/>
                <a:gd name="connsiteX6" fmla="*/ 217511 w 435050"/>
                <a:gd name="connsiteY6" fmla="*/ 217539 h 435104"/>
                <a:gd name="connsiteX7" fmla="*/ 217511 w 435050"/>
                <a:gd name="connsiteY7" fmla="*/ 0 h 435104"/>
                <a:gd name="connsiteX8" fmla="*/ 435050 w 435050"/>
                <a:gd name="connsiteY8" fmla="*/ 435105 h 435104"/>
                <a:gd name="connsiteX9" fmla="*/ 217539 w 435050"/>
                <a:gd name="connsiteY9" fmla="*/ 435105 h 435104"/>
                <a:gd name="connsiteX10" fmla="*/ 435050 w 435050"/>
                <a:gd name="connsiteY10" fmla="*/ 217566 h 435104"/>
                <a:gd name="connsiteX11" fmla="*/ 435050 w 435050"/>
                <a:gd name="connsiteY11" fmla="*/ 435105 h 435104"/>
                <a:gd name="connsiteX12" fmla="*/ 435050 w 435050"/>
                <a:gd name="connsiteY12" fmla="*/ 27 h 435104"/>
                <a:gd name="connsiteX13" fmla="*/ 217539 w 435050"/>
                <a:gd name="connsiteY13" fmla="*/ 27 h 435104"/>
                <a:gd name="connsiteX14" fmla="*/ 435050 w 435050"/>
                <a:gd name="connsiteY14" fmla="*/ 217539 h 435104"/>
                <a:gd name="connsiteX15" fmla="*/ 435050 w 435050"/>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50" h="435104">
                  <a:moveTo>
                    <a:pt x="0" y="435077"/>
                  </a:moveTo>
                  <a:lnTo>
                    <a:pt x="217511" y="435077"/>
                  </a:lnTo>
                  <a:lnTo>
                    <a:pt x="217511" y="217566"/>
                  </a:lnTo>
                  <a:lnTo>
                    <a:pt x="0" y="435077"/>
                  </a:lnTo>
                  <a:close/>
                  <a:moveTo>
                    <a:pt x="217511" y="0"/>
                  </a:moveTo>
                  <a:lnTo>
                    <a:pt x="0" y="0"/>
                  </a:lnTo>
                  <a:lnTo>
                    <a:pt x="217511" y="217539"/>
                  </a:lnTo>
                  <a:lnTo>
                    <a:pt x="217511" y="0"/>
                  </a:lnTo>
                  <a:close/>
                  <a:moveTo>
                    <a:pt x="435050" y="435105"/>
                  </a:moveTo>
                  <a:lnTo>
                    <a:pt x="217539" y="435105"/>
                  </a:lnTo>
                  <a:lnTo>
                    <a:pt x="435050" y="217566"/>
                  </a:lnTo>
                  <a:lnTo>
                    <a:pt x="435050" y="435105"/>
                  </a:lnTo>
                  <a:close/>
                  <a:moveTo>
                    <a:pt x="435050" y="27"/>
                  </a:moveTo>
                  <a:lnTo>
                    <a:pt x="217539" y="27"/>
                  </a:lnTo>
                  <a:lnTo>
                    <a:pt x="435050" y="217539"/>
                  </a:lnTo>
                  <a:lnTo>
                    <a:pt x="435050" y="27"/>
                  </a:lnTo>
                  <a:close/>
                </a:path>
              </a:pathLst>
            </a:custGeom>
            <a:grpFill/>
            <a:ln w="27192" cap="flat">
              <a:noFill/>
              <a:prstDash val="solid"/>
              <a:miter/>
            </a:ln>
          </p:spPr>
          <p:txBody>
            <a:bodyPr rtlCol="0" anchor="ctr"/>
            <a:lstStyle/>
            <a:p>
              <a:endParaRPr lang="uk-UA" sz="900"/>
            </a:p>
          </p:txBody>
        </p:sp>
        <p:sp>
          <p:nvSpPr>
            <p:cNvPr id="770" name="Freeform: Shape 769">
              <a:extLst>
                <a:ext uri="{FF2B5EF4-FFF2-40B4-BE49-F238E27FC236}">
                  <a16:creationId xmlns:a16="http://schemas.microsoft.com/office/drawing/2014/main" id="{B337CD03-1479-A170-A740-1405AA59C2C1}"/>
                </a:ext>
              </a:extLst>
            </p:cNvPr>
            <p:cNvSpPr/>
            <p:nvPr/>
          </p:nvSpPr>
          <p:spPr>
            <a:xfrm>
              <a:off x="6926907" y="8930148"/>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27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66 h 435077"/>
                <a:gd name="connsiteX9" fmla="*/ 435077 w 435077"/>
                <a:gd name="connsiteY9" fmla="*/ 217566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27"/>
                  </a:lnTo>
                  <a:lnTo>
                    <a:pt x="435077" y="217539"/>
                  </a:lnTo>
                  <a:lnTo>
                    <a:pt x="435077" y="217539"/>
                  </a:lnTo>
                  <a:lnTo>
                    <a:pt x="435077" y="217539"/>
                  </a:lnTo>
                  <a:lnTo>
                    <a:pt x="435077" y="217566"/>
                  </a:lnTo>
                  <a:lnTo>
                    <a:pt x="435077" y="217566"/>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771" name="Freeform: Shape 770">
              <a:extLst>
                <a:ext uri="{FF2B5EF4-FFF2-40B4-BE49-F238E27FC236}">
                  <a16:creationId xmlns:a16="http://schemas.microsoft.com/office/drawing/2014/main" id="{2B4F322A-8EE5-89F7-6068-36E2C1226F34}"/>
                </a:ext>
              </a:extLst>
            </p:cNvPr>
            <p:cNvSpPr/>
            <p:nvPr/>
          </p:nvSpPr>
          <p:spPr>
            <a:xfrm>
              <a:off x="8667217" y="893014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p>
          </p:txBody>
        </p:sp>
        <p:sp>
          <p:nvSpPr>
            <p:cNvPr id="772" name="Freeform: Shape 771">
              <a:extLst>
                <a:ext uri="{FF2B5EF4-FFF2-40B4-BE49-F238E27FC236}">
                  <a16:creationId xmlns:a16="http://schemas.microsoft.com/office/drawing/2014/main" id="{81E318D3-8645-332A-0E98-DDC6C6AF23CD}"/>
                </a:ext>
              </a:extLst>
            </p:cNvPr>
            <p:cNvSpPr/>
            <p:nvPr/>
          </p:nvSpPr>
          <p:spPr>
            <a:xfrm>
              <a:off x="9537399" y="8930148"/>
              <a:ext cx="435077" cy="435077"/>
            </a:xfrm>
            <a:custGeom>
              <a:avLst/>
              <a:gdLst>
                <a:gd name="connsiteX0" fmla="*/ 371366 w 435077"/>
                <a:gd name="connsiteY0" fmla="*/ 63739 h 435077"/>
                <a:gd name="connsiteX1" fmla="*/ 435077 w 435077"/>
                <a:gd name="connsiteY1" fmla="*/ 217539 h 435077"/>
                <a:gd name="connsiteX2" fmla="*/ 217702 w 435077"/>
                <a:gd name="connsiteY2" fmla="*/ 217539 h 435077"/>
                <a:gd name="connsiteX3" fmla="*/ 371366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1 w 435077"/>
                <a:gd name="connsiteY7" fmla="*/ 281277 h 435077"/>
                <a:gd name="connsiteX8" fmla="*/ 217375 w 435077"/>
                <a:gd name="connsiteY8" fmla="*/ 217539 h 435077"/>
                <a:gd name="connsiteX9" fmla="*/ 0 w 435077"/>
                <a:gd name="connsiteY9" fmla="*/ 217539 h 435077"/>
                <a:gd name="connsiteX10" fmla="*/ 63711 w 435077"/>
                <a:gd name="connsiteY10" fmla="*/ 63739 h 435077"/>
                <a:gd name="connsiteX11" fmla="*/ 217539 w 435077"/>
                <a:gd name="connsiteY11" fmla="*/ 0 h 435077"/>
                <a:gd name="connsiteX12" fmla="*/ 371366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39"/>
                  </a:moveTo>
                  <a:cubicBezTo>
                    <a:pt x="412155" y="104527"/>
                    <a:pt x="435077" y="159864"/>
                    <a:pt x="435077" y="217539"/>
                  </a:cubicBezTo>
                  <a:lnTo>
                    <a:pt x="217702" y="217539"/>
                  </a:lnTo>
                  <a:cubicBezTo>
                    <a:pt x="275322" y="217593"/>
                    <a:pt x="330604" y="240516"/>
                    <a:pt x="371366" y="281277"/>
                  </a:cubicBezTo>
                  <a:cubicBezTo>
                    <a:pt x="412155" y="322066"/>
                    <a:pt x="435077" y="377402"/>
                    <a:pt x="435077" y="435077"/>
                  </a:cubicBezTo>
                  <a:lnTo>
                    <a:pt x="217539" y="435077"/>
                  </a:lnTo>
                  <a:lnTo>
                    <a:pt x="0" y="435077"/>
                  </a:lnTo>
                  <a:cubicBezTo>
                    <a:pt x="0" y="377402"/>
                    <a:pt x="22923" y="322066"/>
                    <a:pt x="63711" y="281277"/>
                  </a:cubicBezTo>
                  <a:cubicBezTo>
                    <a:pt x="104473" y="240516"/>
                    <a:pt x="159728" y="217593"/>
                    <a:pt x="217375" y="217539"/>
                  </a:cubicBezTo>
                  <a:lnTo>
                    <a:pt x="0" y="217539"/>
                  </a:lnTo>
                  <a:cubicBezTo>
                    <a:pt x="0" y="159864"/>
                    <a:pt x="22923" y="104527"/>
                    <a:pt x="63711" y="63739"/>
                  </a:cubicBezTo>
                  <a:cubicBezTo>
                    <a:pt x="104500" y="22923"/>
                    <a:pt x="159836" y="0"/>
                    <a:pt x="217539" y="0"/>
                  </a:cubicBezTo>
                  <a:cubicBezTo>
                    <a:pt x="275214" y="0"/>
                    <a:pt x="330550" y="22923"/>
                    <a:pt x="371366" y="63739"/>
                  </a:cubicBezTo>
                  <a:close/>
                </a:path>
              </a:pathLst>
            </a:custGeom>
            <a:grpFill/>
            <a:ln w="27192" cap="flat">
              <a:noFill/>
              <a:prstDash val="solid"/>
              <a:miter/>
            </a:ln>
          </p:spPr>
          <p:txBody>
            <a:bodyPr rtlCol="0" anchor="ctr"/>
            <a:lstStyle/>
            <a:p>
              <a:endParaRPr lang="uk-UA" sz="900"/>
            </a:p>
          </p:txBody>
        </p:sp>
        <p:sp>
          <p:nvSpPr>
            <p:cNvPr id="773" name="Freeform: Shape 772">
              <a:extLst>
                <a:ext uri="{FF2B5EF4-FFF2-40B4-BE49-F238E27FC236}">
                  <a16:creationId xmlns:a16="http://schemas.microsoft.com/office/drawing/2014/main" id="{DCA6007E-45D5-C480-8B6A-D3C2E91C4792}"/>
                </a:ext>
              </a:extLst>
            </p:cNvPr>
            <p:cNvSpPr/>
            <p:nvPr/>
          </p:nvSpPr>
          <p:spPr>
            <a:xfrm>
              <a:off x="11277709" y="893014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774" name="Freeform: Shape 773">
              <a:extLst>
                <a:ext uri="{FF2B5EF4-FFF2-40B4-BE49-F238E27FC236}">
                  <a16:creationId xmlns:a16="http://schemas.microsoft.com/office/drawing/2014/main" id="{EC19E06C-8FC7-816F-257E-316B76106D64}"/>
                </a:ext>
              </a:extLst>
            </p:cNvPr>
            <p:cNvSpPr/>
            <p:nvPr/>
          </p:nvSpPr>
          <p:spPr>
            <a:xfrm>
              <a:off x="10407554" y="8930148"/>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27 h 435077"/>
                <a:gd name="connsiteX5" fmla="*/ 435050 w 435077"/>
                <a:gd name="connsiteY5" fmla="*/ 217539 h 435077"/>
                <a:gd name="connsiteX6" fmla="*/ 435077 w 435077"/>
                <a:gd name="connsiteY6" fmla="*/ 217539 h 435077"/>
                <a:gd name="connsiteX7" fmla="*/ 435050 w 435077"/>
                <a:gd name="connsiteY7" fmla="*/ 217539 h 435077"/>
                <a:gd name="connsiteX8" fmla="*/ 435077 w 435077"/>
                <a:gd name="connsiteY8" fmla="*/ 217566 h 435077"/>
                <a:gd name="connsiteX9" fmla="*/ 435050 w 435077"/>
                <a:gd name="connsiteY9" fmla="*/ 217566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27"/>
                  </a:lnTo>
                  <a:lnTo>
                    <a:pt x="435050" y="217539"/>
                  </a:lnTo>
                  <a:lnTo>
                    <a:pt x="435077" y="217539"/>
                  </a:lnTo>
                  <a:lnTo>
                    <a:pt x="435050" y="217539"/>
                  </a:lnTo>
                  <a:lnTo>
                    <a:pt x="435077" y="217566"/>
                  </a:lnTo>
                  <a:lnTo>
                    <a:pt x="435050" y="217566"/>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775" name="Freeform: Shape 774">
              <a:extLst>
                <a:ext uri="{FF2B5EF4-FFF2-40B4-BE49-F238E27FC236}">
                  <a16:creationId xmlns:a16="http://schemas.microsoft.com/office/drawing/2014/main" id="{9523743E-8E9B-6006-F0DE-E6DAEA938CBE}"/>
                </a:ext>
              </a:extLst>
            </p:cNvPr>
            <p:cNvSpPr/>
            <p:nvPr/>
          </p:nvSpPr>
          <p:spPr>
            <a:xfrm>
              <a:off x="12147864" y="8930148"/>
              <a:ext cx="435103" cy="435077"/>
            </a:xfrm>
            <a:custGeom>
              <a:avLst/>
              <a:gdLst>
                <a:gd name="connsiteX0" fmla="*/ 217539 w 435103"/>
                <a:gd name="connsiteY0" fmla="*/ 0 h 435077"/>
                <a:gd name="connsiteX1" fmla="*/ 0 w 435103"/>
                <a:gd name="connsiteY1" fmla="*/ 0 h 435077"/>
                <a:gd name="connsiteX2" fmla="*/ 0 w 435103"/>
                <a:gd name="connsiteY2" fmla="*/ 217539 h 435077"/>
                <a:gd name="connsiteX3" fmla="*/ 217539 w 435103"/>
                <a:gd name="connsiteY3" fmla="*/ 0 h 435077"/>
                <a:gd name="connsiteX4" fmla="*/ 435104 w 435103"/>
                <a:gd name="connsiteY4" fmla="*/ 27 h 435077"/>
                <a:gd name="connsiteX5" fmla="*/ 435104 w 435103"/>
                <a:gd name="connsiteY5" fmla="*/ 217566 h 435077"/>
                <a:gd name="connsiteX6" fmla="*/ 217565 w 435103"/>
                <a:gd name="connsiteY6" fmla="*/ 27 h 435077"/>
                <a:gd name="connsiteX7" fmla="*/ 435104 w 435103"/>
                <a:gd name="connsiteY7" fmla="*/ 27 h 435077"/>
                <a:gd name="connsiteX8" fmla="*/ 217565 w 435103"/>
                <a:gd name="connsiteY8" fmla="*/ 435077 h 435077"/>
                <a:gd name="connsiteX9" fmla="*/ 435104 w 435103"/>
                <a:gd name="connsiteY9" fmla="*/ 217566 h 435077"/>
                <a:gd name="connsiteX10" fmla="*/ 435104 w 435103"/>
                <a:gd name="connsiteY10" fmla="*/ 435077 h 435077"/>
                <a:gd name="connsiteX11" fmla="*/ 217565 w 435103"/>
                <a:gd name="connsiteY11" fmla="*/ 435077 h 435077"/>
                <a:gd name="connsiteX12" fmla="*/ 217565 w 435103"/>
                <a:gd name="connsiteY12" fmla="*/ 435077 h 435077"/>
                <a:gd name="connsiteX13" fmla="*/ 27 w 435103"/>
                <a:gd name="connsiteY13" fmla="*/ 217566 h 435077"/>
                <a:gd name="connsiteX14" fmla="*/ 27 w 435103"/>
                <a:gd name="connsiteY14" fmla="*/ 435077 h 435077"/>
                <a:gd name="connsiteX15" fmla="*/ 217565 w 435103"/>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3" h="435077">
                  <a:moveTo>
                    <a:pt x="217539" y="0"/>
                  </a:moveTo>
                  <a:lnTo>
                    <a:pt x="0" y="0"/>
                  </a:lnTo>
                  <a:lnTo>
                    <a:pt x="0" y="217539"/>
                  </a:lnTo>
                  <a:lnTo>
                    <a:pt x="217539" y="0"/>
                  </a:lnTo>
                  <a:close/>
                  <a:moveTo>
                    <a:pt x="435104" y="27"/>
                  </a:moveTo>
                  <a:lnTo>
                    <a:pt x="435104" y="217566"/>
                  </a:lnTo>
                  <a:lnTo>
                    <a:pt x="217565" y="27"/>
                  </a:lnTo>
                  <a:lnTo>
                    <a:pt x="435104" y="27"/>
                  </a:lnTo>
                  <a:close/>
                  <a:moveTo>
                    <a:pt x="217565" y="435077"/>
                  </a:moveTo>
                  <a:lnTo>
                    <a:pt x="435104" y="217566"/>
                  </a:lnTo>
                  <a:lnTo>
                    <a:pt x="435104" y="435077"/>
                  </a:lnTo>
                  <a:lnTo>
                    <a:pt x="217565" y="435077"/>
                  </a:lnTo>
                  <a:close/>
                  <a:moveTo>
                    <a:pt x="217565" y="435077"/>
                  </a:moveTo>
                  <a:lnTo>
                    <a:pt x="27" y="217566"/>
                  </a:lnTo>
                  <a:lnTo>
                    <a:pt x="27" y="435077"/>
                  </a:lnTo>
                  <a:lnTo>
                    <a:pt x="217565" y="435077"/>
                  </a:lnTo>
                  <a:close/>
                </a:path>
              </a:pathLst>
            </a:custGeom>
            <a:grpFill/>
            <a:ln w="27192" cap="flat">
              <a:noFill/>
              <a:prstDash val="solid"/>
              <a:miter/>
            </a:ln>
          </p:spPr>
          <p:txBody>
            <a:bodyPr rtlCol="0" anchor="ctr"/>
            <a:lstStyle/>
            <a:p>
              <a:endParaRPr lang="uk-UA" sz="900"/>
            </a:p>
          </p:txBody>
        </p:sp>
        <p:sp>
          <p:nvSpPr>
            <p:cNvPr id="776" name="Freeform: Shape 775">
              <a:extLst>
                <a:ext uri="{FF2B5EF4-FFF2-40B4-BE49-F238E27FC236}">
                  <a16:creationId xmlns:a16="http://schemas.microsoft.com/office/drawing/2014/main" id="{5DB3E7EC-CBD7-C3A0-571B-289587A556B2}"/>
                </a:ext>
              </a:extLst>
            </p:cNvPr>
            <p:cNvSpPr/>
            <p:nvPr/>
          </p:nvSpPr>
          <p:spPr>
            <a:xfrm>
              <a:off x="13018045" y="8930148"/>
              <a:ext cx="435077" cy="435077"/>
            </a:xfrm>
            <a:custGeom>
              <a:avLst/>
              <a:gdLst>
                <a:gd name="connsiteX0" fmla="*/ 371365 w 435077"/>
                <a:gd name="connsiteY0" fmla="*/ 63739 h 435077"/>
                <a:gd name="connsiteX1" fmla="*/ 435077 w 435077"/>
                <a:gd name="connsiteY1" fmla="*/ 217539 h 435077"/>
                <a:gd name="connsiteX2" fmla="*/ 217701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5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39"/>
                  </a:moveTo>
                  <a:cubicBezTo>
                    <a:pt x="412154" y="104527"/>
                    <a:pt x="435077" y="159864"/>
                    <a:pt x="435077" y="217539"/>
                  </a:cubicBezTo>
                  <a:lnTo>
                    <a:pt x="217701" y="217539"/>
                  </a:lnTo>
                  <a:cubicBezTo>
                    <a:pt x="275349" y="217593"/>
                    <a:pt x="330605" y="240516"/>
                    <a:pt x="371365" y="281277"/>
                  </a:cubicBezTo>
                  <a:cubicBezTo>
                    <a:pt x="412154" y="322066"/>
                    <a:pt x="435077" y="377402"/>
                    <a:pt x="435077" y="435077"/>
                  </a:cubicBezTo>
                  <a:lnTo>
                    <a:pt x="217539" y="435077"/>
                  </a:lnTo>
                  <a:lnTo>
                    <a:pt x="0" y="435077"/>
                  </a:lnTo>
                  <a:cubicBezTo>
                    <a:pt x="0" y="377402"/>
                    <a:pt x="22924" y="322066"/>
                    <a:pt x="63712" y="281277"/>
                  </a:cubicBezTo>
                  <a:cubicBezTo>
                    <a:pt x="104472" y="240516"/>
                    <a:pt x="159728" y="217593"/>
                    <a:pt x="217376" y="217539"/>
                  </a:cubicBezTo>
                  <a:lnTo>
                    <a:pt x="0" y="217539"/>
                  </a:lnTo>
                  <a:cubicBezTo>
                    <a:pt x="0" y="159864"/>
                    <a:pt x="22924" y="104527"/>
                    <a:pt x="63712" y="63739"/>
                  </a:cubicBezTo>
                  <a:cubicBezTo>
                    <a:pt x="104501" y="22923"/>
                    <a:pt x="159836" y="0"/>
                    <a:pt x="217539" y="0"/>
                  </a:cubicBezTo>
                  <a:cubicBezTo>
                    <a:pt x="275241" y="0"/>
                    <a:pt x="330550" y="22923"/>
                    <a:pt x="371365" y="63739"/>
                  </a:cubicBezTo>
                  <a:close/>
                </a:path>
              </a:pathLst>
            </a:custGeom>
            <a:grpFill/>
            <a:ln w="27192" cap="flat">
              <a:noFill/>
              <a:prstDash val="solid"/>
              <a:miter/>
            </a:ln>
          </p:spPr>
          <p:txBody>
            <a:bodyPr rtlCol="0" anchor="ctr"/>
            <a:lstStyle/>
            <a:p>
              <a:endParaRPr lang="uk-UA" sz="900"/>
            </a:p>
          </p:txBody>
        </p:sp>
        <p:sp>
          <p:nvSpPr>
            <p:cNvPr id="777" name="Freeform: Shape 776">
              <a:extLst>
                <a:ext uri="{FF2B5EF4-FFF2-40B4-BE49-F238E27FC236}">
                  <a16:creationId xmlns:a16="http://schemas.microsoft.com/office/drawing/2014/main" id="{D5D8E5FC-B6B7-0A86-5AD7-E9059A769493}"/>
                </a:ext>
              </a:extLst>
            </p:cNvPr>
            <p:cNvSpPr/>
            <p:nvPr/>
          </p:nvSpPr>
          <p:spPr>
            <a:xfrm>
              <a:off x="14758382" y="893014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778" name="Freeform: Shape 777">
              <a:extLst>
                <a:ext uri="{FF2B5EF4-FFF2-40B4-BE49-F238E27FC236}">
                  <a16:creationId xmlns:a16="http://schemas.microsoft.com/office/drawing/2014/main" id="{AE070B4A-A5B7-DB4F-85FA-B7E02940C0B9}"/>
                </a:ext>
              </a:extLst>
            </p:cNvPr>
            <p:cNvSpPr/>
            <p:nvPr/>
          </p:nvSpPr>
          <p:spPr>
            <a:xfrm>
              <a:off x="13888174" y="893014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779" name="Freeform: Shape 778">
              <a:extLst>
                <a:ext uri="{FF2B5EF4-FFF2-40B4-BE49-F238E27FC236}">
                  <a16:creationId xmlns:a16="http://schemas.microsoft.com/office/drawing/2014/main" id="{92977C30-D761-FA1B-6690-E9FAA5334D51}"/>
                </a:ext>
              </a:extLst>
            </p:cNvPr>
            <p:cNvSpPr/>
            <p:nvPr/>
          </p:nvSpPr>
          <p:spPr>
            <a:xfrm>
              <a:off x="15628536" y="8930148"/>
              <a:ext cx="435077" cy="435077"/>
            </a:xfrm>
            <a:custGeom>
              <a:avLst/>
              <a:gdLst>
                <a:gd name="connsiteX0" fmla="*/ 217567 w 435077"/>
                <a:gd name="connsiteY0" fmla="*/ 0 h 435077"/>
                <a:gd name="connsiteX1" fmla="*/ 217539 w 435077"/>
                <a:gd name="connsiteY1" fmla="*/ 0 h 435077"/>
                <a:gd name="connsiteX2" fmla="*/ 28 w 435077"/>
                <a:gd name="connsiteY2" fmla="*/ 0 h 435077"/>
                <a:gd name="connsiteX3" fmla="*/ 28 w 435077"/>
                <a:gd name="connsiteY3" fmla="*/ 217539 h 435077"/>
                <a:gd name="connsiteX4" fmla="*/ 217567 w 435077"/>
                <a:gd name="connsiteY4" fmla="*/ 27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67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67" y="0"/>
                  </a:moveTo>
                  <a:lnTo>
                    <a:pt x="217539" y="0"/>
                  </a:lnTo>
                  <a:lnTo>
                    <a:pt x="28" y="0"/>
                  </a:lnTo>
                  <a:lnTo>
                    <a:pt x="28" y="217539"/>
                  </a:lnTo>
                  <a:lnTo>
                    <a:pt x="217567" y="27"/>
                  </a:lnTo>
                  <a:lnTo>
                    <a:pt x="435077" y="217539"/>
                  </a:lnTo>
                  <a:lnTo>
                    <a:pt x="217539" y="435077"/>
                  </a:lnTo>
                  <a:lnTo>
                    <a:pt x="0" y="217539"/>
                  </a:lnTo>
                  <a:lnTo>
                    <a:pt x="0" y="435077"/>
                  </a:lnTo>
                  <a:lnTo>
                    <a:pt x="217539" y="435077"/>
                  </a:lnTo>
                  <a:lnTo>
                    <a:pt x="435077" y="435077"/>
                  </a:lnTo>
                  <a:lnTo>
                    <a:pt x="435077" y="217539"/>
                  </a:lnTo>
                  <a:lnTo>
                    <a:pt x="435077" y="0"/>
                  </a:lnTo>
                  <a:lnTo>
                    <a:pt x="217567" y="0"/>
                  </a:lnTo>
                  <a:close/>
                </a:path>
              </a:pathLst>
            </a:custGeom>
            <a:grpFill/>
            <a:ln w="27192" cap="flat">
              <a:noFill/>
              <a:prstDash val="solid"/>
              <a:miter/>
            </a:ln>
          </p:spPr>
          <p:txBody>
            <a:bodyPr rtlCol="0" anchor="ctr"/>
            <a:lstStyle/>
            <a:p>
              <a:endParaRPr lang="uk-UA" sz="900"/>
            </a:p>
          </p:txBody>
        </p:sp>
        <p:sp>
          <p:nvSpPr>
            <p:cNvPr id="780" name="Freeform: Shape 779">
              <a:extLst>
                <a:ext uri="{FF2B5EF4-FFF2-40B4-BE49-F238E27FC236}">
                  <a16:creationId xmlns:a16="http://schemas.microsoft.com/office/drawing/2014/main" id="{5B51EED3-8BB0-505C-661B-7A32A0B68DD3}"/>
                </a:ext>
              </a:extLst>
            </p:cNvPr>
            <p:cNvSpPr/>
            <p:nvPr/>
          </p:nvSpPr>
          <p:spPr>
            <a:xfrm>
              <a:off x="16498719" y="8930148"/>
              <a:ext cx="435077" cy="435077"/>
            </a:xfrm>
            <a:custGeom>
              <a:avLst/>
              <a:gdLst>
                <a:gd name="connsiteX0" fmla="*/ 371339 w 435077"/>
                <a:gd name="connsiteY0" fmla="*/ 63739 h 435077"/>
                <a:gd name="connsiteX1" fmla="*/ 435077 w 435077"/>
                <a:gd name="connsiteY1" fmla="*/ 217539 h 435077"/>
                <a:gd name="connsiteX2" fmla="*/ 217701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0 w 435077"/>
                <a:gd name="connsiteY7" fmla="*/ 281277 h 435077"/>
                <a:gd name="connsiteX8" fmla="*/ 217374 w 435077"/>
                <a:gd name="connsiteY8" fmla="*/ 217539 h 435077"/>
                <a:gd name="connsiteX9" fmla="*/ 0 w 435077"/>
                <a:gd name="connsiteY9" fmla="*/ 217539 h 435077"/>
                <a:gd name="connsiteX10" fmla="*/ 63710 w 435077"/>
                <a:gd name="connsiteY10" fmla="*/ 63739 h 435077"/>
                <a:gd name="connsiteX11" fmla="*/ 217539 w 435077"/>
                <a:gd name="connsiteY11" fmla="*/ 0 h 435077"/>
                <a:gd name="connsiteX12" fmla="*/ 371339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39"/>
                  </a:moveTo>
                  <a:cubicBezTo>
                    <a:pt x="412154" y="104527"/>
                    <a:pt x="435077" y="159864"/>
                    <a:pt x="435077" y="217539"/>
                  </a:cubicBezTo>
                  <a:lnTo>
                    <a:pt x="217701" y="217539"/>
                  </a:lnTo>
                  <a:cubicBezTo>
                    <a:pt x="275322" y="217593"/>
                    <a:pt x="330603" y="240516"/>
                    <a:pt x="371365" y="281277"/>
                  </a:cubicBezTo>
                  <a:cubicBezTo>
                    <a:pt x="412154" y="322066"/>
                    <a:pt x="435077" y="377402"/>
                    <a:pt x="435077" y="435077"/>
                  </a:cubicBezTo>
                  <a:lnTo>
                    <a:pt x="217539" y="435077"/>
                  </a:lnTo>
                  <a:lnTo>
                    <a:pt x="0" y="435077"/>
                  </a:lnTo>
                  <a:cubicBezTo>
                    <a:pt x="0" y="377402"/>
                    <a:pt x="22922" y="322066"/>
                    <a:pt x="63710" y="281277"/>
                  </a:cubicBezTo>
                  <a:cubicBezTo>
                    <a:pt x="104472" y="240516"/>
                    <a:pt x="159727" y="217593"/>
                    <a:pt x="217374" y="217539"/>
                  </a:cubicBezTo>
                  <a:lnTo>
                    <a:pt x="0" y="217539"/>
                  </a:lnTo>
                  <a:cubicBezTo>
                    <a:pt x="0" y="159864"/>
                    <a:pt x="22895" y="104527"/>
                    <a:pt x="63710" y="63739"/>
                  </a:cubicBezTo>
                  <a:cubicBezTo>
                    <a:pt x="104499" y="22923"/>
                    <a:pt x="159836" y="0"/>
                    <a:pt x="217539" y="0"/>
                  </a:cubicBezTo>
                  <a:cubicBezTo>
                    <a:pt x="275213" y="0"/>
                    <a:pt x="330550" y="22923"/>
                    <a:pt x="371339" y="63739"/>
                  </a:cubicBezTo>
                  <a:close/>
                </a:path>
              </a:pathLst>
            </a:custGeom>
            <a:grpFill/>
            <a:ln w="27192" cap="flat">
              <a:noFill/>
              <a:prstDash val="solid"/>
              <a:miter/>
            </a:ln>
          </p:spPr>
          <p:txBody>
            <a:bodyPr rtlCol="0" anchor="ctr"/>
            <a:lstStyle/>
            <a:p>
              <a:endParaRPr lang="uk-UA" sz="900"/>
            </a:p>
          </p:txBody>
        </p:sp>
        <p:sp>
          <p:nvSpPr>
            <p:cNvPr id="781" name="Freeform: Shape 780">
              <a:extLst>
                <a:ext uri="{FF2B5EF4-FFF2-40B4-BE49-F238E27FC236}">
                  <a16:creationId xmlns:a16="http://schemas.microsoft.com/office/drawing/2014/main" id="{D8B6C944-2612-7140-3623-A963294AF080}"/>
                </a:ext>
              </a:extLst>
            </p:cNvPr>
            <p:cNvSpPr/>
            <p:nvPr/>
          </p:nvSpPr>
          <p:spPr>
            <a:xfrm>
              <a:off x="18239029" y="893014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782" name="Freeform: Shape 781">
              <a:extLst>
                <a:ext uri="{FF2B5EF4-FFF2-40B4-BE49-F238E27FC236}">
                  <a16:creationId xmlns:a16="http://schemas.microsoft.com/office/drawing/2014/main" id="{EBDA66AF-555D-5282-69C0-A6834E23DBFC}"/>
                </a:ext>
              </a:extLst>
            </p:cNvPr>
            <p:cNvSpPr/>
            <p:nvPr/>
          </p:nvSpPr>
          <p:spPr>
            <a:xfrm>
              <a:off x="17368874" y="893014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783" name="Freeform: Shape 782">
              <a:extLst>
                <a:ext uri="{FF2B5EF4-FFF2-40B4-BE49-F238E27FC236}">
                  <a16:creationId xmlns:a16="http://schemas.microsoft.com/office/drawing/2014/main" id="{07B1B41B-83C0-791D-CAD0-38420D421259}"/>
                </a:ext>
              </a:extLst>
            </p:cNvPr>
            <p:cNvSpPr/>
            <p:nvPr/>
          </p:nvSpPr>
          <p:spPr>
            <a:xfrm>
              <a:off x="19109210" y="893014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27 h 435077"/>
                <a:gd name="connsiteX5" fmla="*/ 435077 w 435077"/>
                <a:gd name="connsiteY5" fmla="*/ 217566 h 435077"/>
                <a:gd name="connsiteX6" fmla="*/ 217539 w 435077"/>
                <a:gd name="connsiteY6" fmla="*/ 27 h 435077"/>
                <a:gd name="connsiteX7" fmla="*/ 435077 w 435077"/>
                <a:gd name="connsiteY7" fmla="*/ 27 h 435077"/>
                <a:gd name="connsiteX8" fmla="*/ 217539 w 435077"/>
                <a:gd name="connsiteY8" fmla="*/ 435077 h 435077"/>
                <a:gd name="connsiteX9" fmla="*/ 435077 w 435077"/>
                <a:gd name="connsiteY9" fmla="*/ 217566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66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27"/>
                  </a:moveTo>
                  <a:lnTo>
                    <a:pt x="435077" y="217566"/>
                  </a:lnTo>
                  <a:lnTo>
                    <a:pt x="217539" y="27"/>
                  </a:lnTo>
                  <a:lnTo>
                    <a:pt x="435077" y="27"/>
                  </a:lnTo>
                  <a:close/>
                  <a:moveTo>
                    <a:pt x="217539" y="435077"/>
                  </a:moveTo>
                  <a:lnTo>
                    <a:pt x="435077" y="217566"/>
                  </a:lnTo>
                  <a:lnTo>
                    <a:pt x="435077" y="435077"/>
                  </a:lnTo>
                  <a:lnTo>
                    <a:pt x="217539" y="435077"/>
                  </a:lnTo>
                  <a:close/>
                  <a:moveTo>
                    <a:pt x="217539" y="435077"/>
                  </a:moveTo>
                  <a:lnTo>
                    <a:pt x="0" y="217566"/>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784" name="Freeform: Shape 783">
              <a:extLst>
                <a:ext uri="{FF2B5EF4-FFF2-40B4-BE49-F238E27FC236}">
                  <a16:creationId xmlns:a16="http://schemas.microsoft.com/office/drawing/2014/main" id="{CA2CD47F-FFFB-2F62-3C45-D41DC8F0166E}"/>
                </a:ext>
              </a:extLst>
            </p:cNvPr>
            <p:cNvSpPr/>
            <p:nvPr/>
          </p:nvSpPr>
          <p:spPr>
            <a:xfrm>
              <a:off x="19979365" y="8930148"/>
              <a:ext cx="435077" cy="435077"/>
            </a:xfrm>
            <a:custGeom>
              <a:avLst/>
              <a:gdLst>
                <a:gd name="connsiteX0" fmla="*/ 371365 w 435077"/>
                <a:gd name="connsiteY0" fmla="*/ 63739 h 435077"/>
                <a:gd name="connsiteX1" fmla="*/ 435077 w 435077"/>
                <a:gd name="connsiteY1" fmla="*/ 217539 h 435077"/>
                <a:gd name="connsiteX2" fmla="*/ 217701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5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39"/>
                  </a:moveTo>
                  <a:cubicBezTo>
                    <a:pt x="412154" y="104527"/>
                    <a:pt x="435077" y="159864"/>
                    <a:pt x="435077" y="217539"/>
                  </a:cubicBezTo>
                  <a:lnTo>
                    <a:pt x="217701" y="217539"/>
                  </a:lnTo>
                  <a:cubicBezTo>
                    <a:pt x="275349" y="217593"/>
                    <a:pt x="330605" y="240516"/>
                    <a:pt x="371365" y="281277"/>
                  </a:cubicBezTo>
                  <a:cubicBezTo>
                    <a:pt x="412154" y="322066"/>
                    <a:pt x="435077" y="377402"/>
                    <a:pt x="435077" y="435077"/>
                  </a:cubicBezTo>
                  <a:lnTo>
                    <a:pt x="217539" y="435077"/>
                  </a:lnTo>
                  <a:lnTo>
                    <a:pt x="0" y="435077"/>
                  </a:lnTo>
                  <a:cubicBezTo>
                    <a:pt x="0" y="377402"/>
                    <a:pt x="22924" y="322066"/>
                    <a:pt x="63712" y="281277"/>
                  </a:cubicBezTo>
                  <a:cubicBezTo>
                    <a:pt x="104472" y="240516"/>
                    <a:pt x="159728" y="217593"/>
                    <a:pt x="217376" y="217539"/>
                  </a:cubicBezTo>
                  <a:lnTo>
                    <a:pt x="0" y="217539"/>
                  </a:lnTo>
                  <a:cubicBezTo>
                    <a:pt x="0" y="159864"/>
                    <a:pt x="22924" y="104527"/>
                    <a:pt x="63712" y="63739"/>
                  </a:cubicBezTo>
                  <a:cubicBezTo>
                    <a:pt x="104501" y="22923"/>
                    <a:pt x="159836" y="0"/>
                    <a:pt x="217539" y="0"/>
                  </a:cubicBezTo>
                  <a:cubicBezTo>
                    <a:pt x="275241" y="0"/>
                    <a:pt x="330550" y="22923"/>
                    <a:pt x="371365" y="63739"/>
                  </a:cubicBezTo>
                  <a:close/>
                </a:path>
              </a:pathLst>
            </a:custGeom>
            <a:grpFill/>
            <a:ln w="27192" cap="flat">
              <a:noFill/>
              <a:prstDash val="solid"/>
              <a:miter/>
            </a:ln>
          </p:spPr>
          <p:txBody>
            <a:bodyPr rtlCol="0" anchor="ctr"/>
            <a:lstStyle/>
            <a:p>
              <a:endParaRPr lang="uk-UA" sz="900"/>
            </a:p>
          </p:txBody>
        </p:sp>
        <p:sp>
          <p:nvSpPr>
            <p:cNvPr id="785" name="Freeform: Shape 784">
              <a:extLst>
                <a:ext uri="{FF2B5EF4-FFF2-40B4-BE49-F238E27FC236}">
                  <a16:creationId xmlns:a16="http://schemas.microsoft.com/office/drawing/2014/main" id="{93AA9376-FF63-B3D5-950E-C95FA4DE6993}"/>
                </a:ext>
              </a:extLst>
            </p:cNvPr>
            <p:cNvSpPr/>
            <p:nvPr/>
          </p:nvSpPr>
          <p:spPr>
            <a:xfrm>
              <a:off x="21719702" y="8930148"/>
              <a:ext cx="435077" cy="435104"/>
            </a:xfrm>
            <a:custGeom>
              <a:avLst/>
              <a:gdLst>
                <a:gd name="connsiteX0" fmla="*/ 0 w 435077"/>
                <a:gd name="connsiteY0" fmla="*/ 435077 h 435104"/>
                <a:gd name="connsiteX1" fmla="*/ 217512 w 435077"/>
                <a:gd name="connsiteY1" fmla="*/ 435077 h 435104"/>
                <a:gd name="connsiteX2" fmla="*/ 217512 w 435077"/>
                <a:gd name="connsiteY2" fmla="*/ 217566 h 435104"/>
                <a:gd name="connsiteX3" fmla="*/ 0 w 435077"/>
                <a:gd name="connsiteY3" fmla="*/ 435077 h 435104"/>
                <a:gd name="connsiteX4" fmla="*/ 217512 w 435077"/>
                <a:gd name="connsiteY4" fmla="*/ 0 h 435104"/>
                <a:gd name="connsiteX5" fmla="*/ 0 w 435077"/>
                <a:gd name="connsiteY5" fmla="*/ 0 h 435104"/>
                <a:gd name="connsiteX6" fmla="*/ 217512 w 435077"/>
                <a:gd name="connsiteY6" fmla="*/ 217539 h 435104"/>
                <a:gd name="connsiteX7" fmla="*/ 217512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12" y="435077"/>
                  </a:lnTo>
                  <a:lnTo>
                    <a:pt x="217512" y="217566"/>
                  </a:lnTo>
                  <a:lnTo>
                    <a:pt x="0" y="435077"/>
                  </a:lnTo>
                  <a:close/>
                  <a:moveTo>
                    <a:pt x="217512" y="0"/>
                  </a:moveTo>
                  <a:lnTo>
                    <a:pt x="0" y="0"/>
                  </a:lnTo>
                  <a:lnTo>
                    <a:pt x="217512" y="217539"/>
                  </a:lnTo>
                  <a:lnTo>
                    <a:pt x="217512"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786" name="Freeform: Shape 785">
              <a:extLst>
                <a:ext uri="{FF2B5EF4-FFF2-40B4-BE49-F238E27FC236}">
                  <a16:creationId xmlns:a16="http://schemas.microsoft.com/office/drawing/2014/main" id="{8F614B3A-C015-DFB6-285B-898E46CA3F25}"/>
                </a:ext>
              </a:extLst>
            </p:cNvPr>
            <p:cNvSpPr/>
            <p:nvPr/>
          </p:nvSpPr>
          <p:spPr>
            <a:xfrm>
              <a:off x="20849520" y="893014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787" name="Freeform: Shape 786">
              <a:extLst>
                <a:ext uri="{FF2B5EF4-FFF2-40B4-BE49-F238E27FC236}">
                  <a16:creationId xmlns:a16="http://schemas.microsoft.com/office/drawing/2014/main" id="{BD81D957-799E-17A9-ED2C-2A77D4E62BD8}"/>
                </a:ext>
              </a:extLst>
            </p:cNvPr>
            <p:cNvSpPr/>
            <p:nvPr/>
          </p:nvSpPr>
          <p:spPr>
            <a:xfrm>
              <a:off x="22589856" y="893014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27 h 435077"/>
                <a:gd name="connsiteX5" fmla="*/ 435077 w 435077"/>
                <a:gd name="connsiteY5" fmla="*/ 217566 h 435077"/>
                <a:gd name="connsiteX6" fmla="*/ 217539 w 435077"/>
                <a:gd name="connsiteY6" fmla="*/ 27 h 435077"/>
                <a:gd name="connsiteX7" fmla="*/ 435077 w 435077"/>
                <a:gd name="connsiteY7" fmla="*/ 27 h 435077"/>
                <a:gd name="connsiteX8" fmla="*/ 217539 w 435077"/>
                <a:gd name="connsiteY8" fmla="*/ 435077 h 435077"/>
                <a:gd name="connsiteX9" fmla="*/ 435077 w 435077"/>
                <a:gd name="connsiteY9" fmla="*/ 217566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66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27"/>
                  </a:moveTo>
                  <a:lnTo>
                    <a:pt x="435077" y="217566"/>
                  </a:lnTo>
                  <a:lnTo>
                    <a:pt x="217539" y="27"/>
                  </a:lnTo>
                  <a:lnTo>
                    <a:pt x="435077" y="27"/>
                  </a:lnTo>
                  <a:close/>
                  <a:moveTo>
                    <a:pt x="217539" y="435077"/>
                  </a:moveTo>
                  <a:lnTo>
                    <a:pt x="435077" y="217566"/>
                  </a:lnTo>
                  <a:lnTo>
                    <a:pt x="435077" y="435077"/>
                  </a:lnTo>
                  <a:lnTo>
                    <a:pt x="217539" y="435077"/>
                  </a:lnTo>
                  <a:close/>
                  <a:moveTo>
                    <a:pt x="217539" y="435077"/>
                  </a:moveTo>
                  <a:lnTo>
                    <a:pt x="0" y="217566"/>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788" name="Freeform: Shape 787">
              <a:extLst>
                <a:ext uri="{FF2B5EF4-FFF2-40B4-BE49-F238E27FC236}">
                  <a16:creationId xmlns:a16="http://schemas.microsoft.com/office/drawing/2014/main" id="{2740DEBB-A0A8-F750-427B-B02AB69826E4}"/>
                </a:ext>
              </a:extLst>
            </p:cNvPr>
            <p:cNvSpPr/>
            <p:nvPr/>
          </p:nvSpPr>
          <p:spPr>
            <a:xfrm>
              <a:off x="23460039" y="8930148"/>
              <a:ext cx="435077" cy="435077"/>
            </a:xfrm>
            <a:custGeom>
              <a:avLst/>
              <a:gdLst>
                <a:gd name="connsiteX0" fmla="*/ 371339 w 435077"/>
                <a:gd name="connsiteY0" fmla="*/ 63739 h 435077"/>
                <a:gd name="connsiteX1" fmla="*/ 435077 w 435077"/>
                <a:gd name="connsiteY1" fmla="*/ 217539 h 435077"/>
                <a:gd name="connsiteX2" fmla="*/ 217701 w 435077"/>
                <a:gd name="connsiteY2" fmla="*/ 217539 h 435077"/>
                <a:gd name="connsiteX3" fmla="*/ 371339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48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39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39"/>
                  </a:moveTo>
                  <a:cubicBezTo>
                    <a:pt x="412154" y="104527"/>
                    <a:pt x="435077" y="159864"/>
                    <a:pt x="435077" y="217539"/>
                  </a:cubicBezTo>
                  <a:lnTo>
                    <a:pt x="217701" y="217539"/>
                  </a:lnTo>
                  <a:cubicBezTo>
                    <a:pt x="275322" y="217593"/>
                    <a:pt x="330605" y="240516"/>
                    <a:pt x="371339" y="281277"/>
                  </a:cubicBezTo>
                  <a:cubicBezTo>
                    <a:pt x="412154" y="322066"/>
                    <a:pt x="435077" y="377402"/>
                    <a:pt x="435077" y="435077"/>
                  </a:cubicBezTo>
                  <a:lnTo>
                    <a:pt x="217539" y="435077"/>
                  </a:lnTo>
                  <a:lnTo>
                    <a:pt x="0" y="435077"/>
                  </a:lnTo>
                  <a:cubicBezTo>
                    <a:pt x="0" y="377402"/>
                    <a:pt x="22895" y="322066"/>
                    <a:pt x="63712" y="281277"/>
                  </a:cubicBezTo>
                  <a:cubicBezTo>
                    <a:pt x="104472" y="240516"/>
                    <a:pt x="159727" y="217593"/>
                    <a:pt x="217348" y="217539"/>
                  </a:cubicBezTo>
                  <a:lnTo>
                    <a:pt x="0" y="217539"/>
                  </a:lnTo>
                  <a:cubicBezTo>
                    <a:pt x="0" y="159864"/>
                    <a:pt x="22895" y="104527"/>
                    <a:pt x="63712" y="63739"/>
                  </a:cubicBezTo>
                  <a:cubicBezTo>
                    <a:pt x="104501" y="22923"/>
                    <a:pt x="159836" y="0"/>
                    <a:pt x="217539" y="0"/>
                  </a:cubicBezTo>
                  <a:cubicBezTo>
                    <a:pt x="275213" y="0"/>
                    <a:pt x="330550" y="22923"/>
                    <a:pt x="371339" y="63739"/>
                  </a:cubicBezTo>
                  <a:close/>
                </a:path>
              </a:pathLst>
            </a:custGeom>
            <a:grpFill/>
            <a:ln w="27192" cap="flat">
              <a:noFill/>
              <a:prstDash val="solid"/>
              <a:miter/>
            </a:ln>
          </p:spPr>
          <p:txBody>
            <a:bodyPr rtlCol="0" anchor="ctr"/>
            <a:lstStyle/>
            <a:p>
              <a:endParaRPr lang="uk-UA" sz="900"/>
            </a:p>
          </p:txBody>
        </p:sp>
        <p:sp>
          <p:nvSpPr>
            <p:cNvPr id="789" name="Freeform: Shape 788">
              <a:extLst>
                <a:ext uri="{FF2B5EF4-FFF2-40B4-BE49-F238E27FC236}">
                  <a16:creationId xmlns:a16="http://schemas.microsoft.com/office/drawing/2014/main" id="{8292D2C3-5BC2-E7C1-EE3A-9803026FEBFF}"/>
                </a:ext>
              </a:extLst>
            </p:cNvPr>
            <p:cNvSpPr/>
            <p:nvPr/>
          </p:nvSpPr>
          <p:spPr>
            <a:xfrm>
              <a:off x="24330194" y="893014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790" name="Freeform: Shape 789">
              <a:extLst>
                <a:ext uri="{FF2B5EF4-FFF2-40B4-BE49-F238E27FC236}">
                  <a16:creationId xmlns:a16="http://schemas.microsoft.com/office/drawing/2014/main" id="{5EC22BBD-CAAA-34CD-9A92-41E2AFEFABA1}"/>
                </a:ext>
              </a:extLst>
            </p:cNvPr>
            <p:cNvSpPr/>
            <p:nvPr/>
          </p:nvSpPr>
          <p:spPr>
            <a:xfrm>
              <a:off x="835769" y="9800303"/>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791" name="Freeform: Shape 790">
              <a:extLst>
                <a:ext uri="{FF2B5EF4-FFF2-40B4-BE49-F238E27FC236}">
                  <a16:creationId xmlns:a16="http://schemas.microsoft.com/office/drawing/2014/main" id="{8988E27F-E847-9F2A-846D-98495EF9B7E6}"/>
                </a:ext>
              </a:extLst>
            </p:cNvPr>
            <p:cNvSpPr/>
            <p:nvPr/>
          </p:nvSpPr>
          <p:spPr>
            <a:xfrm>
              <a:off x="-34398" y="9800303"/>
              <a:ext cx="435063" cy="435077"/>
            </a:xfrm>
            <a:custGeom>
              <a:avLst/>
              <a:gdLst>
                <a:gd name="connsiteX0" fmla="*/ 435064 w 435063"/>
                <a:gd name="connsiteY0" fmla="*/ 435077 h 435077"/>
                <a:gd name="connsiteX1" fmla="*/ 435064 w 435063"/>
                <a:gd name="connsiteY1" fmla="*/ 217566 h 435077"/>
                <a:gd name="connsiteX2" fmla="*/ 435064 w 435063"/>
                <a:gd name="connsiteY2" fmla="*/ 27 h 435077"/>
                <a:gd name="connsiteX3" fmla="*/ 217552 w 435063"/>
                <a:gd name="connsiteY3" fmla="*/ 27 h 435077"/>
                <a:gd name="connsiteX4" fmla="*/ 435064 w 435063"/>
                <a:gd name="connsiteY4" fmla="*/ 217566 h 435077"/>
                <a:gd name="connsiteX5" fmla="*/ 217552 w 435063"/>
                <a:gd name="connsiteY5" fmla="*/ 435077 h 435077"/>
                <a:gd name="connsiteX6" fmla="*/ 435064 w 435063"/>
                <a:gd name="connsiteY6" fmla="*/ 435077 h 435077"/>
                <a:gd name="connsiteX7" fmla="*/ 0 w 435063"/>
                <a:gd name="connsiteY7" fmla="*/ 217539 h 435077"/>
                <a:gd name="connsiteX8" fmla="*/ 0 w 435063"/>
                <a:gd name="connsiteY8" fmla="*/ 0 h 435077"/>
                <a:gd name="connsiteX9" fmla="*/ 217525 w 435063"/>
                <a:gd name="connsiteY9" fmla="*/ 217539 h 435077"/>
                <a:gd name="connsiteX10" fmla="*/ 0 w 435063"/>
                <a:gd name="connsiteY10" fmla="*/ 217539 h 435077"/>
                <a:gd name="connsiteX11" fmla="*/ 0 w 435063"/>
                <a:gd name="connsiteY11" fmla="*/ 435077 h 435077"/>
                <a:gd name="connsiteX12" fmla="*/ 0 w 435063"/>
                <a:gd name="connsiteY12" fmla="*/ 217566 h 435077"/>
                <a:gd name="connsiteX13" fmla="*/ 217525 w 435063"/>
                <a:gd name="connsiteY13" fmla="*/ 217566 h 435077"/>
                <a:gd name="connsiteX14" fmla="*/ 0 w 435063"/>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63" h="435077">
                  <a:moveTo>
                    <a:pt x="435064" y="435077"/>
                  </a:moveTo>
                  <a:lnTo>
                    <a:pt x="435064" y="217566"/>
                  </a:lnTo>
                  <a:lnTo>
                    <a:pt x="435064" y="27"/>
                  </a:lnTo>
                  <a:lnTo>
                    <a:pt x="217552" y="27"/>
                  </a:lnTo>
                  <a:lnTo>
                    <a:pt x="435064" y="217566"/>
                  </a:lnTo>
                  <a:lnTo>
                    <a:pt x="217552" y="435077"/>
                  </a:lnTo>
                  <a:lnTo>
                    <a:pt x="435064" y="435077"/>
                  </a:lnTo>
                  <a:close/>
                  <a:moveTo>
                    <a:pt x="0" y="217539"/>
                  </a:moveTo>
                  <a:lnTo>
                    <a:pt x="0" y="0"/>
                  </a:lnTo>
                  <a:lnTo>
                    <a:pt x="217525" y="217539"/>
                  </a:lnTo>
                  <a:lnTo>
                    <a:pt x="0" y="217539"/>
                  </a:lnTo>
                  <a:close/>
                  <a:moveTo>
                    <a:pt x="0" y="435077"/>
                  </a:moveTo>
                  <a:lnTo>
                    <a:pt x="0" y="217566"/>
                  </a:lnTo>
                  <a:lnTo>
                    <a:pt x="217525" y="217566"/>
                  </a:lnTo>
                  <a:lnTo>
                    <a:pt x="0" y="435077"/>
                  </a:lnTo>
                  <a:close/>
                </a:path>
              </a:pathLst>
            </a:custGeom>
            <a:grpFill/>
            <a:ln w="27192" cap="flat">
              <a:noFill/>
              <a:prstDash val="solid"/>
              <a:miter/>
            </a:ln>
          </p:spPr>
          <p:txBody>
            <a:bodyPr rtlCol="0" anchor="ctr"/>
            <a:lstStyle/>
            <a:p>
              <a:endParaRPr lang="uk-UA" sz="900"/>
            </a:p>
          </p:txBody>
        </p:sp>
        <p:sp>
          <p:nvSpPr>
            <p:cNvPr id="792" name="Freeform: Shape 791">
              <a:extLst>
                <a:ext uri="{FF2B5EF4-FFF2-40B4-BE49-F238E27FC236}">
                  <a16:creationId xmlns:a16="http://schemas.microsoft.com/office/drawing/2014/main" id="{7A83DAEB-19AA-A8EF-DFEB-DE242874F121}"/>
                </a:ext>
              </a:extLst>
            </p:cNvPr>
            <p:cNvSpPr/>
            <p:nvPr/>
          </p:nvSpPr>
          <p:spPr>
            <a:xfrm>
              <a:off x="1705924" y="9800330"/>
              <a:ext cx="435077" cy="435050"/>
            </a:xfrm>
            <a:custGeom>
              <a:avLst/>
              <a:gdLst>
                <a:gd name="connsiteX0" fmla="*/ 435077 w 435077"/>
                <a:gd name="connsiteY0" fmla="*/ 435050 h 435050"/>
                <a:gd name="connsiteX1" fmla="*/ 435077 w 435077"/>
                <a:gd name="connsiteY1" fmla="*/ 0 h 435050"/>
                <a:gd name="connsiteX2" fmla="*/ 217566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39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66" y="217539"/>
                  </a:lnTo>
                  <a:lnTo>
                    <a:pt x="435077" y="435050"/>
                  </a:lnTo>
                  <a:close/>
                  <a:moveTo>
                    <a:pt x="0" y="435050"/>
                  </a:moveTo>
                  <a:lnTo>
                    <a:pt x="0" y="0"/>
                  </a:lnTo>
                  <a:lnTo>
                    <a:pt x="217539" y="217539"/>
                  </a:lnTo>
                  <a:lnTo>
                    <a:pt x="0" y="435050"/>
                  </a:lnTo>
                  <a:close/>
                </a:path>
              </a:pathLst>
            </a:custGeom>
            <a:grpFill/>
            <a:ln w="27192" cap="flat">
              <a:noFill/>
              <a:prstDash val="solid"/>
              <a:miter/>
            </a:ln>
          </p:spPr>
          <p:txBody>
            <a:bodyPr rtlCol="0" anchor="ctr"/>
            <a:lstStyle/>
            <a:p>
              <a:endParaRPr lang="uk-UA" sz="900"/>
            </a:p>
          </p:txBody>
        </p:sp>
        <p:sp>
          <p:nvSpPr>
            <p:cNvPr id="793" name="Freeform: Shape 792">
              <a:extLst>
                <a:ext uri="{FF2B5EF4-FFF2-40B4-BE49-F238E27FC236}">
                  <a16:creationId xmlns:a16="http://schemas.microsoft.com/office/drawing/2014/main" id="{0D2CC30E-8C33-8A24-4367-C6DF230DAB32}"/>
                </a:ext>
              </a:extLst>
            </p:cNvPr>
            <p:cNvSpPr/>
            <p:nvPr/>
          </p:nvSpPr>
          <p:spPr>
            <a:xfrm>
              <a:off x="2576106" y="980030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3" y="113039"/>
                    <a:pt x="0" y="57702"/>
                    <a:pt x="0" y="0"/>
                  </a:cubicBezTo>
                  <a:lnTo>
                    <a:pt x="217539" y="0"/>
                  </a:lnTo>
                  <a:lnTo>
                    <a:pt x="435077" y="0"/>
                  </a:lnTo>
                  <a:cubicBezTo>
                    <a:pt x="435077" y="57702"/>
                    <a:pt x="412154" y="113039"/>
                    <a:pt x="371366" y="153827"/>
                  </a:cubicBezTo>
                  <a:cubicBezTo>
                    <a:pt x="330550" y="194642"/>
                    <a:pt x="275214" y="217539"/>
                    <a:pt x="217539" y="217539"/>
                  </a:cubicBezTo>
                  <a:cubicBezTo>
                    <a:pt x="159837" y="217539"/>
                    <a:pt x="104500" y="194642"/>
                    <a:pt x="63712" y="153827"/>
                  </a:cubicBezTo>
                  <a:close/>
                  <a:moveTo>
                    <a:pt x="63712" y="281277"/>
                  </a:moveTo>
                  <a:cubicBezTo>
                    <a:pt x="22923" y="322066"/>
                    <a:pt x="0" y="377402"/>
                    <a:pt x="0" y="435077"/>
                  </a:cubicBezTo>
                  <a:lnTo>
                    <a:pt x="217539" y="435077"/>
                  </a:lnTo>
                  <a:lnTo>
                    <a:pt x="435077" y="435077"/>
                  </a:lnTo>
                  <a:cubicBezTo>
                    <a:pt x="435077" y="377402"/>
                    <a:pt x="412154" y="322066"/>
                    <a:pt x="371366" y="281277"/>
                  </a:cubicBezTo>
                  <a:cubicBezTo>
                    <a:pt x="330550" y="240462"/>
                    <a:pt x="275214" y="217539"/>
                    <a:pt x="217539" y="217539"/>
                  </a:cubicBezTo>
                  <a:cubicBezTo>
                    <a:pt x="159837" y="217539"/>
                    <a:pt x="104500" y="240462"/>
                    <a:pt x="63712" y="281277"/>
                  </a:cubicBezTo>
                  <a:close/>
                </a:path>
              </a:pathLst>
            </a:custGeom>
            <a:grpFill/>
            <a:ln w="27192" cap="flat">
              <a:noFill/>
              <a:prstDash val="solid"/>
              <a:miter/>
            </a:ln>
          </p:spPr>
          <p:txBody>
            <a:bodyPr rtlCol="0" anchor="ctr"/>
            <a:lstStyle/>
            <a:p>
              <a:endParaRPr lang="uk-UA" sz="900"/>
            </a:p>
          </p:txBody>
        </p:sp>
        <p:sp>
          <p:nvSpPr>
            <p:cNvPr id="794" name="Freeform: Shape 793">
              <a:extLst>
                <a:ext uri="{FF2B5EF4-FFF2-40B4-BE49-F238E27FC236}">
                  <a16:creationId xmlns:a16="http://schemas.microsoft.com/office/drawing/2014/main" id="{7BD07ED0-8A0A-544D-6F07-850A58DEED9A}"/>
                </a:ext>
              </a:extLst>
            </p:cNvPr>
            <p:cNvSpPr/>
            <p:nvPr/>
          </p:nvSpPr>
          <p:spPr>
            <a:xfrm>
              <a:off x="4316416" y="9800303"/>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65 w 435077"/>
                <a:gd name="connsiteY4" fmla="*/ 435077 h 435077"/>
                <a:gd name="connsiteX5" fmla="*/ 217565 w 435077"/>
                <a:gd name="connsiteY5" fmla="*/ 0 h 435077"/>
                <a:gd name="connsiteX6" fmla="*/ 435077 w 435077"/>
                <a:gd name="connsiteY6" fmla="*/ 217566 h 435077"/>
                <a:gd name="connsiteX7" fmla="*/ 217565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65" y="435077"/>
                  </a:moveTo>
                  <a:lnTo>
                    <a:pt x="217565" y="0"/>
                  </a:lnTo>
                  <a:lnTo>
                    <a:pt x="435077" y="217566"/>
                  </a:lnTo>
                  <a:lnTo>
                    <a:pt x="217565" y="435077"/>
                  </a:lnTo>
                  <a:close/>
                </a:path>
              </a:pathLst>
            </a:custGeom>
            <a:grpFill/>
            <a:ln w="27192" cap="flat">
              <a:noFill/>
              <a:prstDash val="solid"/>
              <a:miter/>
            </a:ln>
          </p:spPr>
          <p:txBody>
            <a:bodyPr rtlCol="0" anchor="ctr"/>
            <a:lstStyle/>
            <a:p>
              <a:endParaRPr lang="uk-UA" sz="900"/>
            </a:p>
          </p:txBody>
        </p:sp>
        <p:sp>
          <p:nvSpPr>
            <p:cNvPr id="795" name="Freeform: Shape 794">
              <a:extLst>
                <a:ext uri="{FF2B5EF4-FFF2-40B4-BE49-F238E27FC236}">
                  <a16:creationId xmlns:a16="http://schemas.microsoft.com/office/drawing/2014/main" id="{52D3B7FA-96DC-AD38-7E6C-A335C9BA0537}"/>
                </a:ext>
              </a:extLst>
            </p:cNvPr>
            <p:cNvSpPr/>
            <p:nvPr/>
          </p:nvSpPr>
          <p:spPr>
            <a:xfrm>
              <a:off x="3446261" y="980030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6 w 435077"/>
                <a:gd name="connsiteY3" fmla="*/ 27 h 435077"/>
                <a:gd name="connsiteX4" fmla="*/ 435077 w 435077"/>
                <a:gd name="connsiteY4" fmla="*/ 217566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6" y="27"/>
                  </a:lnTo>
                  <a:lnTo>
                    <a:pt x="435077" y="217566"/>
                  </a:lnTo>
                  <a:lnTo>
                    <a:pt x="217566"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796" name="Freeform: Shape 795">
              <a:extLst>
                <a:ext uri="{FF2B5EF4-FFF2-40B4-BE49-F238E27FC236}">
                  <a16:creationId xmlns:a16="http://schemas.microsoft.com/office/drawing/2014/main" id="{C9B04D3B-FE20-FF4E-689F-2FD200A9CE33}"/>
                </a:ext>
              </a:extLst>
            </p:cNvPr>
            <p:cNvSpPr/>
            <p:nvPr/>
          </p:nvSpPr>
          <p:spPr>
            <a:xfrm>
              <a:off x="5186597" y="9800330"/>
              <a:ext cx="435077" cy="435050"/>
            </a:xfrm>
            <a:custGeom>
              <a:avLst/>
              <a:gdLst>
                <a:gd name="connsiteX0" fmla="*/ 435077 w 435077"/>
                <a:gd name="connsiteY0" fmla="*/ 435050 h 435050"/>
                <a:gd name="connsiteX1" fmla="*/ 435077 w 435077"/>
                <a:gd name="connsiteY1" fmla="*/ 0 h 435050"/>
                <a:gd name="connsiteX2" fmla="*/ 217566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39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66" y="217539"/>
                  </a:lnTo>
                  <a:lnTo>
                    <a:pt x="435077" y="435050"/>
                  </a:lnTo>
                  <a:close/>
                  <a:moveTo>
                    <a:pt x="0" y="435050"/>
                  </a:moveTo>
                  <a:lnTo>
                    <a:pt x="0" y="0"/>
                  </a:lnTo>
                  <a:lnTo>
                    <a:pt x="217539" y="217539"/>
                  </a:lnTo>
                  <a:lnTo>
                    <a:pt x="0" y="435050"/>
                  </a:lnTo>
                  <a:close/>
                </a:path>
              </a:pathLst>
            </a:custGeom>
            <a:grpFill/>
            <a:ln w="27192" cap="flat">
              <a:noFill/>
              <a:prstDash val="solid"/>
              <a:miter/>
            </a:ln>
          </p:spPr>
          <p:txBody>
            <a:bodyPr rtlCol="0" anchor="ctr"/>
            <a:lstStyle/>
            <a:p>
              <a:endParaRPr lang="uk-UA" sz="900"/>
            </a:p>
          </p:txBody>
        </p:sp>
        <p:sp>
          <p:nvSpPr>
            <p:cNvPr id="797" name="Freeform: Shape 796">
              <a:extLst>
                <a:ext uri="{FF2B5EF4-FFF2-40B4-BE49-F238E27FC236}">
                  <a16:creationId xmlns:a16="http://schemas.microsoft.com/office/drawing/2014/main" id="{BEA0A78D-0D6C-CA1A-E7D2-24B63E86F6D0}"/>
                </a:ext>
              </a:extLst>
            </p:cNvPr>
            <p:cNvSpPr/>
            <p:nvPr/>
          </p:nvSpPr>
          <p:spPr>
            <a:xfrm>
              <a:off x="6056752" y="980030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6" y="153827"/>
                  </a:cubicBezTo>
                  <a:cubicBezTo>
                    <a:pt x="330550" y="194642"/>
                    <a:pt x="275241" y="217539"/>
                    <a:pt x="217539" y="217539"/>
                  </a:cubicBezTo>
                  <a:cubicBezTo>
                    <a:pt x="159837"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5" y="322066"/>
                    <a:pt x="371366" y="281277"/>
                  </a:cubicBezTo>
                  <a:cubicBezTo>
                    <a:pt x="330550" y="240462"/>
                    <a:pt x="275241" y="217539"/>
                    <a:pt x="217539" y="217539"/>
                  </a:cubicBezTo>
                  <a:cubicBezTo>
                    <a:pt x="159837" y="217539"/>
                    <a:pt x="104501" y="240462"/>
                    <a:pt x="63712" y="281277"/>
                  </a:cubicBezTo>
                  <a:close/>
                </a:path>
              </a:pathLst>
            </a:custGeom>
            <a:grpFill/>
            <a:ln w="27192" cap="flat">
              <a:noFill/>
              <a:prstDash val="solid"/>
              <a:miter/>
            </a:ln>
          </p:spPr>
          <p:txBody>
            <a:bodyPr rtlCol="0" anchor="ctr"/>
            <a:lstStyle/>
            <a:p>
              <a:endParaRPr lang="uk-UA" sz="900"/>
            </a:p>
          </p:txBody>
        </p:sp>
        <p:sp>
          <p:nvSpPr>
            <p:cNvPr id="798" name="Freeform: Shape 797">
              <a:extLst>
                <a:ext uri="{FF2B5EF4-FFF2-40B4-BE49-F238E27FC236}">
                  <a16:creationId xmlns:a16="http://schemas.microsoft.com/office/drawing/2014/main" id="{1AD38E6F-890C-EFB8-4F4D-1CA2B3A0F15D}"/>
                </a:ext>
              </a:extLst>
            </p:cNvPr>
            <p:cNvSpPr/>
            <p:nvPr/>
          </p:nvSpPr>
          <p:spPr>
            <a:xfrm>
              <a:off x="7797062" y="9800303"/>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66 w 435077"/>
                <a:gd name="connsiteY4" fmla="*/ 435077 h 435077"/>
                <a:gd name="connsiteX5" fmla="*/ 217566 w 435077"/>
                <a:gd name="connsiteY5" fmla="*/ 0 h 435077"/>
                <a:gd name="connsiteX6" fmla="*/ 435077 w 435077"/>
                <a:gd name="connsiteY6" fmla="*/ 217566 h 435077"/>
                <a:gd name="connsiteX7" fmla="*/ 217566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66" y="435077"/>
                  </a:moveTo>
                  <a:lnTo>
                    <a:pt x="217566" y="0"/>
                  </a:lnTo>
                  <a:lnTo>
                    <a:pt x="435077" y="217566"/>
                  </a:lnTo>
                  <a:lnTo>
                    <a:pt x="217566" y="435077"/>
                  </a:lnTo>
                  <a:close/>
                </a:path>
              </a:pathLst>
            </a:custGeom>
            <a:grpFill/>
            <a:ln w="27192" cap="flat">
              <a:noFill/>
              <a:prstDash val="solid"/>
              <a:miter/>
            </a:ln>
          </p:spPr>
          <p:txBody>
            <a:bodyPr rtlCol="0" anchor="ctr"/>
            <a:lstStyle/>
            <a:p>
              <a:endParaRPr lang="uk-UA" sz="900"/>
            </a:p>
          </p:txBody>
        </p:sp>
        <p:sp>
          <p:nvSpPr>
            <p:cNvPr id="799" name="Freeform: Shape 798">
              <a:extLst>
                <a:ext uri="{FF2B5EF4-FFF2-40B4-BE49-F238E27FC236}">
                  <a16:creationId xmlns:a16="http://schemas.microsoft.com/office/drawing/2014/main" id="{B9EB5A2C-7715-3590-4EA7-89DF31E2225D}"/>
                </a:ext>
              </a:extLst>
            </p:cNvPr>
            <p:cNvSpPr/>
            <p:nvPr/>
          </p:nvSpPr>
          <p:spPr>
            <a:xfrm>
              <a:off x="6926907" y="980030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6 w 435077"/>
                <a:gd name="connsiteY3" fmla="*/ 27 h 435077"/>
                <a:gd name="connsiteX4" fmla="*/ 435077 w 435077"/>
                <a:gd name="connsiteY4" fmla="*/ 217566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6" y="27"/>
                  </a:lnTo>
                  <a:lnTo>
                    <a:pt x="435077" y="217566"/>
                  </a:lnTo>
                  <a:lnTo>
                    <a:pt x="217566"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800" name="Freeform: Shape 799">
              <a:extLst>
                <a:ext uri="{FF2B5EF4-FFF2-40B4-BE49-F238E27FC236}">
                  <a16:creationId xmlns:a16="http://schemas.microsoft.com/office/drawing/2014/main" id="{721AC778-A1F1-3B1C-DA2D-4CAD5A95BB41}"/>
                </a:ext>
              </a:extLst>
            </p:cNvPr>
            <p:cNvSpPr/>
            <p:nvPr/>
          </p:nvSpPr>
          <p:spPr>
            <a:xfrm>
              <a:off x="8667244" y="980033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1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1" y="217539"/>
                  </a:lnTo>
                  <a:lnTo>
                    <a:pt x="0" y="435050"/>
                  </a:lnTo>
                  <a:close/>
                </a:path>
              </a:pathLst>
            </a:custGeom>
            <a:grpFill/>
            <a:ln w="27192" cap="flat">
              <a:noFill/>
              <a:prstDash val="solid"/>
              <a:miter/>
            </a:ln>
          </p:spPr>
          <p:txBody>
            <a:bodyPr rtlCol="0" anchor="ctr"/>
            <a:lstStyle/>
            <a:p>
              <a:endParaRPr lang="uk-UA" sz="900"/>
            </a:p>
          </p:txBody>
        </p:sp>
        <p:sp>
          <p:nvSpPr>
            <p:cNvPr id="801" name="Freeform: Shape 800">
              <a:extLst>
                <a:ext uri="{FF2B5EF4-FFF2-40B4-BE49-F238E27FC236}">
                  <a16:creationId xmlns:a16="http://schemas.microsoft.com/office/drawing/2014/main" id="{85378905-E786-8B2F-3D81-8993AF8C144E}"/>
                </a:ext>
              </a:extLst>
            </p:cNvPr>
            <p:cNvSpPr/>
            <p:nvPr/>
          </p:nvSpPr>
          <p:spPr>
            <a:xfrm>
              <a:off x="9537399" y="9800303"/>
              <a:ext cx="435077" cy="435077"/>
            </a:xfrm>
            <a:custGeom>
              <a:avLst/>
              <a:gdLst>
                <a:gd name="connsiteX0" fmla="*/ 63711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1 w 435077"/>
                <a:gd name="connsiteY6" fmla="*/ 153827 h 435077"/>
                <a:gd name="connsiteX7" fmla="*/ 63711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11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1" y="153827"/>
                  </a:moveTo>
                  <a:cubicBezTo>
                    <a:pt x="22923" y="113039"/>
                    <a:pt x="0" y="57702"/>
                    <a:pt x="0" y="0"/>
                  </a:cubicBezTo>
                  <a:lnTo>
                    <a:pt x="217539" y="0"/>
                  </a:lnTo>
                  <a:lnTo>
                    <a:pt x="435077" y="0"/>
                  </a:lnTo>
                  <a:cubicBezTo>
                    <a:pt x="435077" y="57702"/>
                    <a:pt x="412155" y="113039"/>
                    <a:pt x="371366" y="153827"/>
                  </a:cubicBezTo>
                  <a:cubicBezTo>
                    <a:pt x="330550" y="194642"/>
                    <a:pt x="275214" y="217539"/>
                    <a:pt x="217539" y="217539"/>
                  </a:cubicBezTo>
                  <a:cubicBezTo>
                    <a:pt x="159836" y="217539"/>
                    <a:pt x="104500" y="194642"/>
                    <a:pt x="63711" y="153827"/>
                  </a:cubicBezTo>
                  <a:close/>
                  <a:moveTo>
                    <a:pt x="63711" y="281277"/>
                  </a:moveTo>
                  <a:cubicBezTo>
                    <a:pt x="22923" y="322066"/>
                    <a:pt x="0" y="377402"/>
                    <a:pt x="0" y="435077"/>
                  </a:cubicBezTo>
                  <a:lnTo>
                    <a:pt x="217539" y="435077"/>
                  </a:lnTo>
                  <a:lnTo>
                    <a:pt x="435077" y="435077"/>
                  </a:lnTo>
                  <a:cubicBezTo>
                    <a:pt x="435077" y="377402"/>
                    <a:pt x="412155" y="322066"/>
                    <a:pt x="371366" y="281277"/>
                  </a:cubicBezTo>
                  <a:cubicBezTo>
                    <a:pt x="330550" y="240462"/>
                    <a:pt x="275214" y="217539"/>
                    <a:pt x="217539" y="217539"/>
                  </a:cubicBezTo>
                  <a:cubicBezTo>
                    <a:pt x="159836" y="217539"/>
                    <a:pt x="104500" y="240462"/>
                    <a:pt x="63711" y="281277"/>
                  </a:cubicBezTo>
                  <a:close/>
                </a:path>
              </a:pathLst>
            </a:custGeom>
            <a:grpFill/>
            <a:ln w="27192" cap="flat">
              <a:noFill/>
              <a:prstDash val="solid"/>
              <a:miter/>
            </a:ln>
          </p:spPr>
          <p:txBody>
            <a:bodyPr rtlCol="0" anchor="ctr"/>
            <a:lstStyle/>
            <a:p>
              <a:endParaRPr lang="uk-UA" sz="900"/>
            </a:p>
          </p:txBody>
        </p:sp>
        <p:sp>
          <p:nvSpPr>
            <p:cNvPr id="802" name="Freeform: Shape 801">
              <a:extLst>
                <a:ext uri="{FF2B5EF4-FFF2-40B4-BE49-F238E27FC236}">
                  <a16:creationId xmlns:a16="http://schemas.microsoft.com/office/drawing/2014/main" id="{65FDD648-3B69-D578-C73A-D4C77F549E33}"/>
                </a:ext>
              </a:extLst>
            </p:cNvPr>
            <p:cNvSpPr/>
            <p:nvPr/>
          </p:nvSpPr>
          <p:spPr>
            <a:xfrm>
              <a:off x="11277709" y="9800303"/>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803" name="Freeform: Shape 802">
              <a:extLst>
                <a:ext uri="{FF2B5EF4-FFF2-40B4-BE49-F238E27FC236}">
                  <a16:creationId xmlns:a16="http://schemas.microsoft.com/office/drawing/2014/main" id="{01DA3794-B643-0356-312C-760688FFE052}"/>
                </a:ext>
              </a:extLst>
            </p:cNvPr>
            <p:cNvSpPr/>
            <p:nvPr/>
          </p:nvSpPr>
          <p:spPr>
            <a:xfrm>
              <a:off x="10407554" y="980030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1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11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1" y="217539"/>
                  </a:lnTo>
                  <a:lnTo>
                    <a:pt x="0" y="217539"/>
                  </a:lnTo>
                  <a:close/>
                  <a:moveTo>
                    <a:pt x="0" y="435077"/>
                  </a:moveTo>
                  <a:lnTo>
                    <a:pt x="0" y="217566"/>
                  </a:lnTo>
                  <a:lnTo>
                    <a:pt x="217511" y="217566"/>
                  </a:lnTo>
                  <a:lnTo>
                    <a:pt x="0" y="435077"/>
                  </a:lnTo>
                  <a:close/>
                </a:path>
              </a:pathLst>
            </a:custGeom>
            <a:grpFill/>
            <a:ln w="27192" cap="flat">
              <a:noFill/>
              <a:prstDash val="solid"/>
              <a:miter/>
            </a:ln>
          </p:spPr>
          <p:txBody>
            <a:bodyPr rtlCol="0" anchor="ctr"/>
            <a:lstStyle/>
            <a:p>
              <a:endParaRPr lang="uk-UA" sz="900"/>
            </a:p>
          </p:txBody>
        </p:sp>
        <p:sp>
          <p:nvSpPr>
            <p:cNvPr id="804" name="Freeform: Shape 803">
              <a:extLst>
                <a:ext uri="{FF2B5EF4-FFF2-40B4-BE49-F238E27FC236}">
                  <a16:creationId xmlns:a16="http://schemas.microsoft.com/office/drawing/2014/main" id="{D25F5A80-243C-AA91-3800-B0860F4AFA42}"/>
                </a:ext>
              </a:extLst>
            </p:cNvPr>
            <p:cNvSpPr/>
            <p:nvPr/>
          </p:nvSpPr>
          <p:spPr>
            <a:xfrm>
              <a:off x="12147891" y="980033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2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2" y="217539"/>
                  </a:lnTo>
                  <a:lnTo>
                    <a:pt x="0" y="435050"/>
                  </a:lnTo>
                  <a:close/>
                </a:path>
              </a:pathLst>
            </a:custGeom>
            <a:grpFill/>
            <a:ln w="27192" cap="flat">
              <a:noFill/>
              <a:prstDash val="solid"/>
              <a:miter/>
            </a:ln>
          </p:spPr>
          <p:txBody>
            <a:bodyPr rtlCol="0" anchor="ctr"/>
            <a:lstStyle/>
            <a:p>
              <a:endParaRPr lang="uk-UA" sz="900"/>
            </a:p>
          </p:txBody>
        </p:sp>
        <p:sp>
          <p:nvSpPr>
            <p:cNvPr id="805" name="Freeform: Shape 804">
              <a:extLst>
                <a:ext uri="{FF2B5EF4-FFF2-40B4-BE49-F238E27FC236}">
                  <a16:creationId xmlns:a16="http://schemas.microsoft.com/office/drawing/2014/main" id="{39D24B27-B0D5-7EC1-A831-74A3ABE6ADFC}"/>
                </a:ext>
              </a:extLst>
            </p:cNvPr>
            <p:cNvSpPr/>
            <p:nvPr/>
          </p:nvSpPr>
          <p:spPr>
            <a:xfrm>
              <a:off x="13018045" y="980030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4" y="113039"/>
                    <a:pt x="371365" y="153827"/>
                  </a:cubicBezTo>
                  <a:cubicBezTo>
                    <a:pt x="330550" y="194642"/>
                    <a:pt x="275241" y="217539"/>
                    <a:pt x="217539" y="217539"/>
                  </a:cubicBezTo>
                  <a:cubicBezTo>
                    <a:pt x="159836"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4" y="322066"/>
                    <a:pt x="371365" y="281277"/>
                  </a:cubicBezTo>
                  <a:cubicBezTo>
                    <a:pt x="330550" y="240462"/>
                    <a:pt x="275241" y="217539"/>
                    <a:pt x="217539" y="217539"/>
                  </a:cubicBezTo>
                  <a:cubicBezTo>
                    <a:pt x="159836" y="217539"/>
                    <a:pt x="104501" y="240462"/>
                    <a:pt x="63712" y="281277"/>
                  </a:cubicBezTo>
                  <a:close/>
                </a:path>
              </a:pathLst>
            </a:custGeom>
            <a:grpFill/>
            <a:ln w="27192" cap="flat">
              <a:noFill/>
              <a:prstDash val="solid"/>
              <a:miter/>
            </a:ln>
          </p:spPr>
          <p:txBody>
            <a:bodyPr rtlCol="0" anchor="ctr"/>
            <a:lstStyle/>
            <a:p>
              <a:endParaRPr lang="uk-UA" sz="900"/>
            </a:p>
          </p:txBody>
        </p:sp>
        <p:sp>
          <p:nvSpPr>
            <p:cNvPr id="806" name="Freeform: Shape 805">
              <a:extLst>
                <a:ext uri="{FF2B5EF4-FFF2-40B4-BE49-F238E27FC236}">
                  <a16:creationId xmlns:a16="http://schemas.microsoft.com/office/drawing/2014/main" id="{7EBBCDE8-C0E7-EECD-8A08-92D8A80DB1BA}"/>
                </a:ext>
              </a:extLst>
            </p:cNvPr>
            <p:cNvSpPr/>
            <p:nvPr/>
          </p:nvSpPr>
          <p:spPr>
            <a:xfrm>
              <a:off x="14758382" y="9800303"/>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807" name="Freeform: Shape 806">
              <a:extLst>
                <a:ext uri="{FF2B5EF4-FFF2-40B4-BE49-F238E27FC236}">
                  <a16:creationId xmlns:a16="http://schemas.microsoft.com/office/drawing/2014/main" id="{6BC4ACB9-3874-465A-DE6C-5C1C35CD25A4}"/>
                </a:ext>
              </a:extLst>
            </p:cNvPr>
            <p:cNvSpPr/>
            <p:nvPr/>
          </p:nvSpPr>
          <p:spPr>
            <a:xfrm>
              <a:off x="13888200" y="980030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5 w 435077"/>
                <a:gd name="connsiteY3" fmla="*/ 27 h 435077"/>
                <a:gd name="connsiteX4" fmla="*/ 435077 w 435077"/>
                <a:gd name="connsiteY4" fmla="*/ 217566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5" y="27"/>
                  </a:lnTo>
                  <a:lnTo>
                    <a:pt x="435077" y="217566"/>
                  </a:lnTo>
                  <a:lnTo>
                    <a:pt x="217565"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808" name="Freeform: Shape 807">
              <a:extLst>
                <a:ext uri="{FF2B5EF4-FFF2-40B4-BE49-F238E27FC236}">
                  <a16:creationId xmlns:a16="http://schemas.microsoft.com/office/drawing/2014/main" id="{75D12808-2032-182E-C713-18C2D426BFB1}"/>
                </a:ext>
              </a:extLst>
            </p:cNvPr>
            <p:cNvSpPr/>
            <p:nvPr/>
          </p:nvSpPr>
          <p:spPr>
            <a:xfrm>
              <a:off x="15628565" y="980033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0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0" y="217539"/>
                  </a:lnTo>
                  <a:lnTo>
                    <a:pt x="0" y="435050"/>
                  </a:lnTo>
                  <a:close/>
                </a:path>
              </a:pathLst>
            </a:custGeom>
            <a:grpFill/>
            <a:ln w="27192" cap="flat">
              <a:noFill/>
              <a:prstDash val="solid"/>
              <a:miter/>
            </a:ln>
          </p:spPr>
          <p:txBody>
            <a:bodyPr rtlCol="0" anchor="ctr"/>
            <a:lstStyle/>
            <a:p>
              <a:endParaRPr lang="uk-UA" sz="900"/>
            </a:p>
          </p:txBody>
        </p:sp>
        <p:sp>
          <p:nvSpPr>
            <p:cNvPr id="809" name="Freeform: Shape 808">
              <a:extLst>
                <a:ext uri="{FF2B5EF4-FFF2-40B4-BE49-F238E27FC236}">
                  <a16:creationId xmlns:a16="http://schemas.microsoft.com/office/drawing/2014/main" id="{6FE926C6-F414-DBBB-7A0B-D02D3E5EB3D7}"/>
                </a:ext>
              </a:extLst>
            </p:cNvPr>
            <p:cNvSpPr/>
            <p:nvPr/>
          </p:nvSpPr>
          <p:spPr>
            <a:xfrm>
              <a:off x="16498719" y="9800303"/>
              <a:ext cx="435077" cy="435077"/>
            </a:xfrm>
            <a:custGeom>
              <a:avLst/>
              <a:gdLst>
                <a:gd name="connsiteX0" fmla="*/ 63710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0 w 435077"/>
                <a:gd name="connsiteY6" fmla="*/ 153827 h 435077"/>
                <a:gd name="connsiteX7" fmla="*/ 63710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77 h 435077"/>
                <a:gd name="connsiteX12" fmla="*/ 217539 w 435077"/>
                <a:gd name="connsiteY12" fmla="*/ 217539 h 435077"/>
                <a:gd name="connsiteX13" fmla="*/ 63710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7"/>
                  </a:moveTo>
                  <a:cubicBezTo>
                    <a:pt x="22895" y="113039"/>
                    <a:pt x="0" y="57702"/>
                    <a:pt x="0" y="0"/>
                  </a:cubicBezTo>
                  <a:lnTo>
                    <a:pt x="217539" y="0"/>
                  </a:lnTo>
                  <a:lnTo>
                    <a:pt x="435077" y="0"/>
                  </a:lnTo>
                  <a:cubicBezTo>
                    <a:pt x="435077" y="57702"/>
                    <a:pt x="412154" y="113039"/>
                    <a:pt x="371339" y="153827"/>
                  </a:cubicBezTo>
                  <a:cubicBezTo>
                    <a:pt x="330550" y="194642"/>
                    <a:pt x="275213" y="217539"/>
                    <a:pt x="217539" y="217539"/>
                  </a:cubicBezTo>
                  <a:cubicBezTo>
                    <a:pt x="159836" y="217539"/>
                    <a:pt x="104499" y="194642"/>
                    <a:pt x="63710" y="153827"/>
                  </a:cubicBezTo>
                  <a:close/>
                  <a:moveTo>
                    <a:pt x="63710" y="281277"/>
                  </a:moveTo>
                  <a:cubicBezTo>
                    <a:pt x="22895" y="322066"/>
                    <a:pt x="0" y="377402"/>
                    <a:pt x="0" y="435077"/>
                  </a:cubicBezTo>
                  <a:lnTo>
                    <a:pt x="217539" y="435077"/>
                  </a:lnTo>
                  <a:lnTo>
                    <a:pt x="435077" y="435077"/>
                  </a:lnTo>
                  <a:cubicBezTo>
                    <a:pt x="435077" y="377402"/>
                    <a:pt x="412154" y="322066"/>
                    <a:pt x="371339" y="281277"/>
                  </a:cubicBezTo>
                  <a:cubicBezTo>
                    <a:pt x="330550" y="240462"/>
                    <a:pt x="275213" y="217539"/>
                    <a:pt x="217539" y="217539"/>
                  </a:cubicBezTo>
                  <a:cubicBezTo>
                    <a:pt x="159836" y="217539"/>
                    <a:pt x="104499" y="240462"/>
                    <a:pt x="63710" y="281277"/>
                  </a:cubicBezTo>
                  <a:close/>
                </a:path>
              </a:pathLst>
            </a:custGeom>
            <a:grpFill/>
            <a:ln w="27192" cap="flat">
              <a:noFill/>
              <a:prstDash val="solid"/>
              <a:miter/>
            </a:ln>
          </p:spPr>
          <p:txBody>
            <a:bodyPr rtlCol="0" anchor="ctr"/>
            <a:lstStyle/>
            <a:p>
              <a:endParaRPr lang="uk-UA" sz="900"/>
            </a:p>
          </p:txBody>
        </p:sp>
        <p:sp>
          <p:nvSpPr>
            <p:cNvPr id="810" name="Freeform: Shape 809">
              <a:extLst>
                <a:ext uri="{FF2B5EF4-FFF2-40B4-BE49-F238E27FC236}">
                  <a16:creationId xmlns:a16="http://schemas.microsoft.com/office/drawing/2014/main" id="{A271D5A4-997A-70D9-5092-A511EC385DDE}"/>
                </a:ext>
              </a:extLst>
            </p:cNvPr>
            <p:cNvSpPr/>
            <p:nvPr/>
          </p:nvSpPr>
          <p:spPr>
            <a:xfrm>
              <a:off x="18239029" y="9800303"/>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811" name="Freeform: Shape 810">
              <a:extLst>
                <a:ext uri="{FF2B5EF4-FFF2-40B4-BE49-F238E27FC236}">
                  <a16:creationId xmlns:a16="http://schemas.microsoft.com/office/drawing/2014/main" id="{EFF7AE83-15FC-580E-E270-37BE9491EB5B}"/>
                </a:ext>
              </a:extLst>
            </p:cNvPr>
            <p:cNvSpPr/>
            <p:nvPr/>
          </p:nvSpPr>
          <p:spPr>
            <a:xfrm>
              <a:off x="17368874" y="980030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0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10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0" y="217539"/>
                  </a:lnTo>
                  <a:lnTo>
                    <a:pt x="0" y="217539"/>
                  </a:lnTo>
                  <a:close/>
                  <a:moveTo>
                    <a:pt x="0" y="435077"/>
                  </a:moveTo>
                  <a:lnTo>
                    <a:pt x="0" y="217566"/>
                  </a:lnTo>
                  <a:lnTo>
                    <a:pt x="217510" y="217566"/>
                  </a:lnTo>
                  <a:lnTo>
                    <a:pt x="0" y="435077"/>
                  </a:lnTo>
                  <a:close/>
                </a:path>
              </a:pathLst>
            </a:custGeom>
            <a:grpFill/>
            <a:ln w="27192" cap="flat">
              <a:noFill/>
              <a:prstDash val="solid"/>
              <a:miter/>
            </a:ln>
          </p:spPr>
          <p:txBody>
            <a:bodyPr rtlCol="0" anchor="ctr"/>
            <a:lstStyle/>
            <a:p>
              <a:endParaRPr lang="uk-UA" sz="900"/>
            </a:p>
          </p:txBody>
        </p:sp>
        <p:sp>
          <p:nvSpPr>
            <p:cNvPr id="812" name="Freeform: Shape 811">
              <a:extLst>
                <a:ext uri="{FF2B5EF4-FFF2-40B4-BE49-F238E27FC236}">
                  <a16:creationId xmlns:a16="http://schemas.microsoft.com/office/drawing/2014/main" id="{D415FF5E-09F4-97BB-1AC7-4D98BE5FC9F6}"/>
                </a:ext>
              </a:extLst>
            </p:cNvPr>
            <p:cNvSpPr/>
            <p:nvPr/>
          </p:nvSpPr>
          <p:spPr>
            <a:xfrm>
              <a:off x="19109210" y="9800303"/>
              <a:ext cx="435077" cy="435077"/>
            </a:xfrm>
            <a:custGeom>
              <a:avLst/>
              <a:gdLst>
                <a:gd name="connsiteX0" fmla="*/ 435077 w 435077"/>
                <a:gd name="connsiteY0" fmla="*/ 435077 h 435077"/>
                <a:gd name="connsiteX1" fmla="*/ 435077 w 435077"/>
                <a:gd name="connsiteY1" fmla="*/ 0 h 435077"/>
                <a:gd name="connsiteX2" fmla="*/ 217539 w 435077"/>
                <a:gd name="connsiteY2" fmla="*/ 217566 h 435077"/>
                <a:gd name="connsiteX3" fmla="*/ 435077 w 435077"/>
                <a:gd name="connsiteY3" fmla="*/ 435077 h 435077"/>
                <a:gd name="connsiteX4" fmla="*/ 0 w 435077"/>
                <a:gd name="connsiteY4" fmla="*/ 435077 h 435077"/>
                <a:gd name="connsiteX5" fmla="*/ 0 w 435077"/>
                <a:gd name="connsiteY5" fmla="*/ 0 h 435077"/>
                <a:gd name="connsiteX6" fmla="*/ 217512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66"/>
                  </a:lnTo>
                  <a:lnTo>
                    <a:pt x="435077" y="435077"/>
                  </a:lnTo>
                  <a:close/>
                  <a:moveTo>
                    <a:pt x="0" y="435077"/>
                  </a:moveTo>
                  <a:lnTo>
                    <a:pt x="0" y="0"/>
                  </a:lnTo>
                  <a:lnTo>
                    <a:pt x="217512" y="217566"/>
                  </a:lnTo>
                  <a:lnTo>
                    <a:pt x="0" y="435077"/>
                  </a:lnTo>
                  <a:close/>
                </a:path>
              </a:pathLst>
            </a:custGeom>
            <a:grpFill/>
            <a:ln w="27192" cap="flat">
              <a:noFill/>
              <a:prstDash val="solid"/>
              <a:miter/>
            </a:ln>
          </p:spPr>
          <p:txBody>
            <a:bodyPr rtlCol="0" anchor="ctr"/>
            <a:lstStyle/>
            <a:p>
              <a:endParaRPr lang="uk-UA" sz="900"/>
            </a:p>
          </p:txBody>
        </p:sp>
        <p:sp>
          <p:nvSpPr>
            <p:cNvPr id="813" name="Freeform: Shape 812">
              <a:extLst>
                <a:ext uri="{FF2B5EF4-FFF2-40B4-BE49-F238E27FC236}">
                  <a16:creationId xmlns:a16="http://schemas.microsoft.com/office/drawing/2014/main" id="{482EC2C3-61F5-6346-BC42-305807F8314D}"/>
                </a:ext>
              </a:extLst>
            </p:cNvPr>
            <p:cNvSpPr/>
            <p:nvPr/>
          </p:nvSpPr>
          <p:spPr>
            <a:xfrm>
              <a:off x="19979365" y="980030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4" y="113039"/>
                    <a:pt x="371365" y="153827"/>
                  </a:cubicBezTo>
                  <a:cubicBezTo>
                    <a:pt x="330550" y="194642"/>
                    <a:pt x="275241" y="217539"/>
                    <a:pt x="217539" y="217539"/>
                  </a:cubicBezTo>
                  <a:cubicBezTo>
                    <a:pt x="159836"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4" y="322066"/>
                    <a:pt x="371365" y="281277"/>
                  </a:cubicBezTo>
                  <a:cubicBezTo>
                    <a:pt x="330550" y="240462"/>
                    <a:pt x="275241" y="217539"/>
                    <a:pt x="217539" y="217539"/>
                  </a:cubicBezTo>
                  <a:cubicBezTo>
                    <a:pt x="159836" y="217539"/>
                    <a:pt x="104501" y="240462"/>
                    <a:pt x="63712" y="281277"/>
                  </a:cubicBezTo>
                  <a:close/>
                </a:path>
              </a:pathLst>
            </a:custGeom>
            <a:grpFill/>
            <a:ln w="27192" cap="flat">
              <a:noFill/>
              <a:prstDash val="solid"/>
              <a:miter/>
            </a:ln>
          </p:spPr>
          <p:txBody>
            <a:bodyPr rtlCol="0" anchor="ctr"/>
            <a:lstStyle/>
            <a:p>
              <a:endParaRPr lang="uk-UA" sz="900"/>
            </a:p>
          </p:txBody>
        </p:sp>
        <p:sp>
          <p:nvSpPr>
            <p:cNvPr id="814" name="Freeform: Shape 813">
              <a:extLst>
                <a:ext uri="{FF2B5EF4-FFF2-40B4-BE49-F238E27FC236}">
                  <a16:creationId xmlns:a16="http://schemas.microsoft.com/office/drawing/2014/main" id="{B251C04B-181E-05BD-11FB-6CEF388E8B73}"/>
                </a:ext>
              </a:extLst>
            </p:cNvPr>
            <p:cNvSpPr/>
            <p:nvPr/>
          </p:nvSpPr>
          <p:spPr>
            <a:xfrm>
              <a:off x="21719702" y="9800303"/>
              <a:ext cx="435077" cy="435077"/>
            </a:xfrm>
            <a:custGeom>
              <a:avLst/>
              <a:gdLst>
                <a:gd name="connsiteX0" fmla="*/ 0 w 435077"/>
                <a:gd name="connsiteY0" fmla="*/ 435077 h 435077"/>
                <a:gd name="connsiteX1" fmla="*/ 0 w 435077"/>
                <a:gd name="connsiteY1" fmla="*/ 0 h 435077"/>
                <a:gd name="connsiteX2" fmla="*/ 217512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12"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815" name="Freeform: Shape 814">
              <a:extLst>
                <a:ext uri="{FF2B5EF4-FFF2-40B4-BE49-F238E27FC236}">
                  <a16:creationId xmlns:a16="http://schemas.microsoft.com/office/drawing/2014/main" id="{B8C21C73-BCA6-EAFA-9BA3-05D21ADDC427}"/>
                </a:ext>
              </a:extLst>
            </p:cNvPr>
            <p:cNvSpPr/>
            <p:nvPr/>
          </p:nvSpPr>
          <p:spPr>
            <a:xfrm>
              <a:off x="20849520" y="980030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5 w 435077"/>
                <a:gd name="connsiteY3" fmla="*/ 27 h 435077"/>
                <a:gd name="connsiteX4" fmla="*/ 435077 w 435077"/>
                <a:gd name="connsiteY4" fmla="*/ 217566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5" y="27"/>
                  </a:lnTo>
                  <a:lnTo>
                    <a:pt x="435077" y="217566"/>
                  </a:lnTo>
                  <a:lnTo>
                    <a:pt x="217565"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816" name="Freeform: Shape 815">
              <a:extLst>
                <a:ext uri="{FF2B5EF4-FFF2-40B4-BE49-F238E27FC236}">
                  <a16:creationId xmlns:a16="http://schemas.microsoft.com/office/drawing/2014/main" id="{A5F8B83F-F335-8124-82E0-E0E894BB8F58}"/>
                </a:ext>
              </a:extLst>
            </p:cNvPr>
            <p:cNvSpPr/>
            <p:nvPr/>
          </p:nvSpPr>
          <p:spPr>
            <a:xfrm>
              <a:off x="22589856" y="9800303"/>
              <a:ext cx="435077" cy="435077"/>
            </a:xfrm>
            <a:custGeom>
              <a:avLst/>
              <a:gdLst>
                <a:gd name="connsiteX0" fmla="*/ 435077 w 435077"/>
                <a:gd name="connsiteY0" fmla="*/ 435077 h 435077"/>
                <a:gd name="connsiteX1" fmla="*/ 435077 w 435077"/>
                <a:gd name="connsiteY1" fmla="*/ 0 h 435077"/>
                <a:gd name="connsiteX2" fmla="*/ 217567 w 435077"/>
                <a:gd name="connsiteY2" fmla="*/ 217566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7" y="217566"/>
                  </a:lnTo>
                  <a:lnTo>
                    <a:pt x="435077" y="435077"/>
                  </a:lnTo>
                  <a:close/>
                  <a:moveTo>
                    <a:pt x="0" y="435077"/>
                  </a:moveTo>
                  <a:lnTo>
                    <a:pt x="0" y="0"/>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817" name="Freeform: Shape 816">
              <a:extLst>
                <a:ext uri="{FF2B5EF4-FFF2-40B4-BE49-F238E27FC236}">
                  <a16:creationId xmlns:a16="http://schemas.microsoft.com/office/drawing/2014/main" id="{6B8E8762-6EA8-24BE-BEF2-89AA78C9F0FA}"/>
                </a:ext>
              </a:extLst>
            </p:cNvPr>
            <p:cNvSpPr/>
            <p:nvPr/>
          </p:nvSpPr>
          <p:spPr>
            <a:xfrm>
              <a:off x="23460039" y="980030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895" y="113039"/>
                    <a:pt x="0" y="57702"/>
                    <a:pt x="0" y="0"/>
                  </a:cubicBezTo>
                  <a:lnTo>
                    <a:pt x="217539" y="0"/>
                  </a:lnTo>
                  <a:lnTo>
                    <a:pt x="435077" y="0"/>
                  </a:lnTo>
                  <a:cubicBezTo>
                    <a:pt x="435077" y="57702"/>
                    <a:pt x="412154" y="113039"/>
                    <a:pt x="371339" y="153827"/>
                  </a:cubicBezTo>
                  <a:cubicBezTo>
                    <a:pt x="330550" y="194642"/>
                    <a:pt x="275213" y="217539"/>
                    <a:pt x="217539" y="217539"/>
                  </a:cubicBezTo>
                  <a:cubicBezTo>
                    <a:pt x="159836" y="217539"/>
                    <a:pt x="104501" y="194642"/>
                    <a:pt x="63712" y="153827"/>
                  </a:cubicBezTo>
                  <a:close/>
                  <a:moveTo>
                    <a:pt x="63712" y="281277"/>
                  </a:moveTo>
                  <a:cubicBezTo>
                    <a:pt x="22895" y="322066"/>
                    <a:pt x="0" y="377402"/>
                    <a:pt x="0" y="435077"/>
                  </a:cubicBezTo>
                  <a:lnTo>
                    <a:pt x="217539" y="435077"/>
                  </a:lnTo>
                  <a:lnTo>
                    <a:pt x="435077" y="435077"/>
                  </a:lnTo>
                  <a:cubicBezTo>
                    <a:pt x="435077" y="377402"/>
                    <a:pt x="412154" y="322066"/>
                    <a:pt x="371339" y="281277"/>
                  </a:cubicBezTo>
                  <a:cubicBezTo>
                    <a:pt x="330550" y="240462"/>
                    <a:pt x="275213" y="217539"/>
                    <a:pt x="217539" y="217539"/>
                  </a:cubicBezTo>
                  <a:cubicBezTo>
                    <a:pt x="159836" y="217539"/>
                    <a:pt x="104501" y="240462"/>
                    <a:pt x="63712" y="281277"/>
                  </a:cubicBezTo>
                  <a:close/>
                </a:path>
              </a:pathLst>
            </a:custGeom>
            <a:grpFill/>
            <a:ln w="27192" cap="flat">
              <a:noFill/>
              <a:prstDash val="solid"/>
              <a:miter/>
            </a:ln>
          </p:spPr>
          <p:txBody>
            <a:bodyPr rtlCol="0" anchor="ctr"/>
            <a:lstStyle/>
            <a:p>
              <a:endParaRPr lang="uk-UA" sz="900"/>
            </a:p>
          </p:txBody>
        </p:sp>
        <p:sp>
          <p:nvSpPr>
            <p:cNvPr id="818" name="Freeform: Shape 817">
              <a:extLst>
                <a:ext uri="{FF2B5EF4-FFF2-40B4-BE49-F238E27FC236}">
                  <a16:creationId xmlns:a16="http://schemas.microsoft.com/office/drawing/2014/main" id="{073F88B0-F6D4-3CD4-3960-F724EE8BC608}"/>
                </a:ext>
              </a:extLst>
            </p:cNvPr>
            <p:cNvSpPr/>
            <p:nvPr/>
          </p:nvSpPr>
          <p:spPr>
            <a:xfrm>
              <a:off x="24330194" y="980030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819" name="Freeform: Shape 818">
              <a:extLst>
                <a:ext uri="{FF2B5EF4-FFF2-40B4-BE49-F238E27FC236}">
                  <a16:creationId xmlns:a16="http://schemas.microsoft.com/office/drawing/2014/main" id="{9C4CBAC5-3DCF-602F-2A55-0A989B0BCFB5}"/>
                </a:ext>
              </a:extLst>
            </p:cNvPr>
            <p:cNvSpPr/>
            <p:nvPr/>
          </p:nvSpPr>
          <p:spPr>
            <a:xfrm>
              <a:off x="835742" y="1067045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820" name="Freeform: Shape 819">
              <a:extLst>
                <a:ext uri="{FF2B5EF4-FFF2-40B4-BE49-F238E27FC236}">
                  <a16:creationId xmlns:a16="http://schemas.microsoft.com/office/drawing/2014/main" id="{40EBF616-C628-356B-FEFE-E2BE0CBDC26A}"/>
                </a:ext>
              </a:extLst>
            </p:cNvPr>
            <p:cNvSpPr/>
            <p:nvPr/>
          </p:nvSpPr>
          <p:spPr>
            <a:xfrm>
              <a:off x="-34407" y="10670458"/>
              <a:ext cx="435072" cy="435077"/>
            </a:xfrm>
            <a:custGeom>
              <a:avLst/>
              <a:gdLst>
                <a:gd name="connsiteX0" fmla="*/ 371360 w 435072"/>
                <a:gd name="connsiteY0" fmla="*/ 63739 h 435077"/>
                <a:gd name="connsiteX1" fmla="*/ 435072 w 435072"/>
                <a:gd name="connsiteY1" fmla="*/ 217539 h 435077"/>
                <a:gd name="connsiteX2" fmla="*/ 217724 w 435072"/>
                <a:gd name="connsiteY2" fmla="*/ 217539 h 435077"/>
                <a:gd name="connsiteX3" fmla="*/ 371360 w 435072"/>
                <a:gd name="connsiteY3" fmla="*/ 281277 h 435077"/>
                <a:gd name="connsiteX4" fmla="*/ 435072 w 435072"/>
                <a:gd name="connsiteY4" fmla="*/ 435077 h 435077"/>
                <a:gd name="connsiteX5" fmla="*/ 217533 w 435072"/>
                <a:gd name="connsiteY5" fmla="*/ 435077 h 435077"/>
                <a:gd name="connsiteX6" fmla="*/ 5 w 435072"/>
                <a:gd name="connsiteY6" fmla="*/ 435077 h 435077"/>
                <a:gd name="connsiteX7" fmla="*/ 63720 w 435072"/>
                <a:gd name="connsiteY7" fmla="*/ 281277 h 435077"/>
                <a:gd name="connsiteX8" fmla="*/ 217370 w 435072"/>
                <a:gd name="connsiteY8" fmla="*/ 217539 h 435077"/>
                <a:gd name="connsiteX9" fmla="*/ 0 w 435072"/>
                <a:gd name="connsiteY9" fmla="*/ 217539 h 435077"/>
                <a:gd name="connsiteX10" fmla="*/ 63717 w 435072"/>
                <a:gd name="connsiteY10" fmla="*/ 63739 h 435077"/>
                <a:gd name="connsiteX11" fmla="*/ 217533 w 435072"/>
                <a:gd name="connsiteY11" fmla="*/ 0 h 435077"/>
                <a:gd name="connsiteX12" fmla="*/ 371360 w 435072"/>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2" h="435077">
                  <a:moveTo>
                    <a:pt x="371360" y="63739"/>
                  </a:moveTo>
                  <a:cubicBezTo>
                    <a:pt x="412149" y="104527"/>
                    <a:pt x="435072" y="159864"/>
                    <a:pt x="435072" y="217539"/>
                  </a:cubicBezTo>
                  <a:lnTo>
                    <a:pt x="217724" y="217539"/>
                  </a:lnTo>
                  <a:cubicBezTo>
                    <a:pt x="275344" y="217593"/>
                    <a:pt x="330599" y="240516"/>
                    <a:pt x="371360" y="281277"/>
                  </a:cubicBezTo>
                  <a:cubicBezTo>
                    <a:pt x="412176" y="322066"/>
                    <a:pt x="435072" y="377402"/>
                    <a:pt x="435072" y="435077"/>
                  </a:cubicBezTo>
                  <a:lnTo>
                    <a:pt x="217533" y="435077"/>
                  </a:lnTo>
                  <a:lnTo>
                    <a:pt x="5" y="435077"/>
                  </a:lnTo>
                  <a:cubicBezTo>
                    <a:pt x="5" y="377402"/>
                    <a:pt x="22923" y="322066"/>
                    <a:pt x="63720" y="281277"/>
                  </a:cubicBezTo>
                  <a:cubicBezTo>
                    <a:pt x="104476" y="240516"/>
                    <a:pt x="159750" y="217593"/>
                    <a:pt x="217370" y="217539"/>
                  </a:cubicBezTo>
                  <a:lnTo>
                    <a:pt x="0" y="217539"/>
                  </a:lnTo>
                  <a:cubicBezTo>
                    <a:pt x="0" y="159864"/>
                    <a:pt x="22921" y="104527"/>
                    <a:pt x="63717" y="63739"/>
                  </a:cubicBezTo>
                  <a:cubicBezTo>
                    <a:pt x="104514" y="22923"/>
                    <a:pt x="159858" y="0"/>
                    <a:pt x="217533" y="0"/>
                  </a:cubicBezTo>
                  <a:cubicBezTo>
                    <a:pt x="275236" y="0"/>
                    <a:pt x="330572" y="22923"/>
                    <a:pt x="371360" y="63739"/>
                  </a:cubicBezTo>
                  <a:close/>
                </a:path>
              </a:pathLst>
            </a:custGeom>
            <a:grpFill/>
            <a:ln w="27192" cap="flat">
              <a:noFill/>
              <a:prstDash val="solid"/>
              <a:miter/>
            </a:ln>
          </p:spPr>
          <p:txBody>
            <a:bodyPr rtlCol="0" anchor="ctr"/>
            <a:lstStyle/>
            <a:p>
              <a:endParaRPr lang="uk-UA" sz="900"/>
            </a:p>
          </p:txBody>
        </p:sp>
        <p:sp>
          <p:nvSpPr>
            <p:cNvPr id="821" name="Freeform: Shape 820">
              <a:extLst>
                <a:ext uri="{FF2B5EF4-FFF2-40B4-BE49-F238E27FC236}">
                  <a16:creationId xmlns:a16="http://schemas.microsoft.com/office/drawing/2014/main" id="{FB5E99E6-1100-4173-BE40-BD73CCCE9705}"/>
                </a:ext>
              </a:extLst>
            </p:cNvPr>
            <p:cNvSpPr/>
            <p:nvPr/>
          </p:nvSpPr>
          <p:spPr>
            <a:xfrm>
              <a:off x="1705924" y="1067045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822" name="Freeform: Shape 821">
              <a:extLst>
                <a:ext uri="{FF2B5EF4-FFF2-40B4-BE49-F238E27FC236}">
                  <a16:creationId xmlns:a16="http://schemas.microsoft.com/office/drawing/2014/main" id="{0C2BB366-99CA-03DE-E8BC-FB8D7865A6ED}"/>
                </a:ext>
              </a:extLst>
            </p:cNvPr>
            <p:cNvSpPr/>
            <p:nvPr/>
          </p:nvSpPr>
          <p:spPr>
            <a:xfrm>
              <a:off x="2576079" y="10670458"/>
              <a:ext cx="435104" cy="435077"/>
            </a:xfrm>
            <a:custGeom>
              <a:avLst/>
              <a:gdLst>
                <a:gd name="connsiteX0" fmla="*/ 217539 w 435104"/>
                <a:gd name="connsiteY0" fmla="*/ 0 h 435077"/>
                <a:gd name="connsiteX1" fmla="*/ 0 w 435104"/>
                <a:gd name="connsiteY1" fmla="*/ 0 h 435077"/>
                <a:gd name="connsiteX2" fmla="*/ 0 w 435104"/>
                <a:gd name="connsiteY2" fmla="*/ 217539 h 435077"/>
                <a:gd name="connsiteX3" fmla="*/ 217539 w 435104"/>
                <a:gd name="connsiteY3" fmla="*/ 0 h 435077"/>
                <a:gd name="connsiteX4" fmla="*/ 435104 w 435104"/>
                <a:gd name="connsiteY4" fmla="*/ 0 h 435077"/>
                <a:gd name="connsiteX5" fmla="*/ 435104 w 435104"/>
                <a:gd name="connsiteY5" fmla="*/ 217539 h 435077"/>
                <a:gd name="connsiteX6" fmla="*/ 217566 w 435104"/>
                <a:gd name="connsiteY6" fmla="*/ 0 h 435077"/>
                <a:gd name="connsiteX7" fmla="*/ 435104 w 435104"/>
                <a:gd name="connsiteY7" fmla="*/ 0 h 435077"/>
                <a:gd name="connsiteX8" fmla="*/ 217566 w 435104"/>
                <a:gd name="connsiteY8" fmla="*/ 435077 h 435077"/>
                <a:gd name="connsiteX9" fmla="*/ 435104 w 435104"/>
                <a:gd name="connsiteY9" fmla="*/ 217539 h 435077"/>
                <a:gd name="connsiteX10" fmla="*/ 435104 w 435104"/>
                <a:gd name="connsiteY10" fmla="*/ 435077 h 435077"/>
                <a:gd name="connsiteX11" fmla="*/ 217566 w 435104"/>
                <a:gd name="connsiteY11" fmla="*/ 435077 h 435077"/>
                <a:gd name="connsiteX12" fmla="*/ 217566 w 435104"/>
                <a:gd name="connsiteY12" fmla="*/ 435077 h 435077"/>
                <a:gd name="connsiteX13" fmla="*/ 27 w 435104"/>
                <a:gd name="connsiteY13" fmla="*/ 217539 h 435077"/>
                <a:gd name="connsiteX14" fmla="*/ 27 w 435104"/>
                <a:gd name="connsiteY14" fmla="*/ 435077 h 435077"/>
                <a:gd name="connsiteX15" fmla="*/ 217566 w 435104"/>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4" h="435077">
                  <a:moveTo>
                    <a:pt x="217539" y="0"/>
                  </a:moveTo>
                  <a:lnTo>
                    <a:pt x="0" y="0"/>
                  </a:lnTo>
                  <a:lnTo>
                    <a:pt x="0" y="217539"/>
                  </a:lnTo>
                  <a:lnTo>
                    <a:pt x="217539" y="0"/>
                  </a:lnTo>
                  <a:close/>
                  <a:moveTo>
                    <a:pt x="435104" y="0"/>
                  </a:moveTo>
                  <a:lnTo>
                    <a:pt x="435104" y="217539"/>
                  </a:lnTo>
                  <a:lnTo>
                    <a:pt x="217566" y="0"/>
                  </a:lnTo>
                  <a:lnTo>
                    <a:pt x="435104" y="0"/>
                  </a:lnTo>
                  <a:close/>
                  <a:moveTo>
                    <a:pt x="217566" y="435077"/>
                  </a:moveTo>
                  <a:lnTo>
                    <a:pt x="435104" y="217539"/>
                  </a:lnTo>
                  <a:lnTo>
                    <a:pt x="435104" y="435077"/>
                  </a:lnTo>
                  <a:lnTo>
                    <a:pt x="217566" y="435077"/>
                  </a:lnTo>
                  <a:close/>
                  <a:moveTo>
                    <a:pt x="217566" y="435077"/>
                  </a:moveTo>
                  <a:lnTo>
                    <a:pt x="27" y="217539"/>
                  </a:lnTo>
                  <a:lnTo>
                    <a:pt x="27" y="435077"/>
                  </a:lnTo>
                  <a:lnTo>
                    <a:pt x="217566" y="435077"/>
                  </a:lnTo>
                  <a:close/>
                </a:path>
              </a:pathLst>
            </a:custGeom>
            <a:grpFill/>
            <a:ln w="27192" cap="flat">
              <a:noFill/>
              <a:prstDash val="solid"/>
              <a:miter/>
            </a:ln>
          </p:spPr>
          <p:txBody>
            <a:bodyPr rtlCol="0" anchor="ctr"/>
            <a:lstStyle/>
            <a:p>
              <a:endParaRPr lang="uk-UA" sz="900"/>
            </a:p>
          </p:txBody>
        </p:sp>
        <p:sp>
          <p:nvSpPr>
            <p:cNvPr id="823" name="Freeform: Shape 822">
              <a:extLst>
                <a:ext uri="{FF2B5EF4-FFF2-40B4-BE49-F238E27FC236}">
                  <a16:creationId xmlns:a16="http://schemas.microsoft.com/office/drawing/2014/main" id="{6CEAC308-880D-8C77-54EC-5617422ADF2F}"/>
                </a:ext>
              </a:extLst>
            </p:cNvPr>
            <p:cNvSpPr/>
            <p:nvPr/>
          </p:nvSpPr>
          <p:spPr>
            <a:xfrm>
              <a:off x="4316416" y="1067045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824" name="Freeform: Shape 823">
              <a:extLst>
                <a:ext uri="{FF2B5EF4-FFF2-40B4-BE49-F238E27FC236}">
                  <a16:creationId xmlns:a16="http://schemas.microsoft.com/office/drawing/2014/main" id="{A5D7FA41-B85A-4411-A136-09231EDEDBD4}"/>
                </a:ext>
              </a:extLst>
            </p:cNvPr>
            <p:cNvSpPr/>
            <p:nvPr/>
          </p:nvSpPr>
          <p:spPr>
            <a:xfrm>
              <a:off x="3446261" y="10670458"/>
              <a:ext cx="435077" cy="435077"/>
            </a:xfrm>
            <a:custGeom>
              <a:avLst/>
              <a:gdLst>
                <a:gd name="connsiteX0" fmla="*/ 371366 w 435077"/>
                <a:gd name="connsiteY0" fmla="*/ 63739 h 435077"/>
                <a:gd name="connsiteX1" fmla="*/ 435077 w 435077"/>
                <a:gd name="connsiteY1" fmla="*/ 217539 h 435077"/>
                <a:gd name="connsiteX2" fmla="*/ 217702 w 435077"/>
                <a:gd name="connsiteY2" fmla="*/ 217539 h 435077"/>
                <a:gd name="connsiteX3" fmla="*/ 371366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6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39"/>
                  </a:moveTo>
                  <a:cubicBezTo>
                    <a:pt x="412154" y="104527"/>
                    <a:pt x="435077" y="159864"/>
                    <a:pt x="435077" y="217539"/>
                  </a:cubicBezTo>
                  <a:lnTo>
                    <a:pt x="217702" y="217539"/>
                  </a:lnTo>
                  <a:cubicBezTo>
                    <a:pt x="275350" y="217593"/>
                    <a:pt x="330605" y="240516"/>
                    <a:pt x="371366" y="281277"/>
                  </a:cubicBezTo>
                  <a:cubicBezTo>
                    <a:pt x="412154" y="322066"/>
                    <a:pt x="435077" y="377402"/>
                    <a:pt x="435077" y="435077"/>
                  </a:cubicBezTo>
                  <a:lnTo>
                    <a:pt x="217539" y="435077"/>
                  </a:lnTo>
                  <a:lnTo>
                    <a:pt x="0" y="435077"/>
                  </a:lnTo>
                  <a:cubicBezTo>
                    <a:pt x="0" y="377402"/>
                    <a:pt x="22923" y="322066"/>
                    <a:pt x="63712" y="281277"/>
                  </a:cubicBezTo>
                  <a:cubicBezTo>
                    <a:pt x="104473" y="240516"/>
                    <a:pt x="159728" y="217593"/>
                    <a:pt x="217376" y="217539"/>
                  </a:cubicBezTo>
                  <a:lnTo>
                    <a:pt x="0" y="217539"/>
                  </a:lnTo>
                  <a:cubicBezTo>
                    <a:pt x="0" y="159864"/>
                    <a:pt x="22923" y="104527"/>
                    <a:pt x="63712" y="63739"/>
                  </a:cubicBezTo>
                  <a:cubicBezTo>
                    <a:pt x="104500" y="22923"/>
                    <a:pt x="159837" y="0"/>
                    <a:pt x="217539" y="0"/>
                  </a:cubicBezTo>
                  <a:cubicBezTo>
                    <a:pt x="275241" y="0"/>
                    <a:pt x="330577" y="22923"/>
                    <a:pt x="371366" y="63739"/>
                  </a:cubicBezTo>
                  <a:close/>
                </a:path>
              </a:pathLst>
            </a:custGeom>
            <a:grpFill/>
            <a:ln w="27192" cap="flat">
              <a:noFill/>
              <a:prstDash val="solid"/>
              <a:miter/>
            </a:ln>
          </p:spPr>
          <p:txBody>
            <a:bodyPr rtlCol="0" anchor="ctr"/>
            <a:lstStyle/>
            <a:p>
              <a:endParaRPr lang="uk-UA" sz="900"/>
            </a:p>
          </p:txBody>
        </p:sp>
        <p:sp>
          <p:nvSpPr>
            <p:cNvPr id="825" name="Freeform: Shape 824">
              <a:extLst>
                <a:ext uri="{FF2B5EF4-FFF2-40B4-BE49-F238E27FC236}">
                  <a16:creationId xmlns:a16="http://schemas.microsoft.com/office/drawing/2014/main" id="{B1EFB2B2-7531-F8CA-F418-104888D753F8}"/>
                </a:ext>
              </a:extLst>
            </p:cNvPr>
            <p:cNvSpPr/>
            <p:nvPr/>
          </p:nvSpPr>
          <p:spPr>
            <a:xfrm>
              <a:off x="5186597" y="10670458"/>
              <a:ext cx="435077" cy="435104"/>
            </a:xfrm>
            <a:custGeom>
              <a:avLst/>
              <a:gdLst>
                <a:gd name="connsiteX0" fmla="*/ 0 w 435077"/>
                <a:gd name="connsiteY0" fmla="*/ 435077 h 435104"/>
                <a:gd name="connsiteX1" fmla="*/ 217512 w 435077"/>
                <a:gd name="connsiteY1" fmla="*/ 435077 h 435104"/>
                <a:gd name="connsiteX2" fmla="*/ 217512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12" y="435077"/>
                  </a:lnTo>
                  <a:lnTo>
                    <a:pt x="217512"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826" name="Freeform: Shape 825">
              <a:extLst>
                <a:ext uri="{FF2B5EF4-FFF2-40B4-BE49-F238E27FC236}">
                  <a16:creationId xmlns:a16="http://schemas.microsoft.com/office/drawing/2014/main" id="{565AD9AE-3AA6-2A7D-AE19-32B2B33024F8}"/>
                </a:ext>
              </a:extLst>
            </p:cNvPr>
            <p:cNvSpPr/>
            <p:nvPr/>
          </p:nvSpPr>
          <p:spPr>
            <a:xfrm>
              <a:off x="6056752" y="10670458"/>
              <a:ext cx="435077" cy="435077"/>
            </a:xfrm>
            <a:custGeom>
              <a:avLst/>
              <a:gdLst>
                <a:gd name="connsiteX0" fmla="*/ 217539 w 435077"/>
                <a:gd name="connsiteY0" fmla="*/ 0 h 435077"/>
                <a:gd name="connsiteX1" fmla="*/ 217539 w 435077"/>
                <a:gd name="connsiteY1" fmla="*/ 0 h 435077"/>
                <a:gd name="connsiteX2" fmla="*/ 0 w 435077"/>
                <a:gd name="connsiteY2" fmla="*/ 0 h 435077"/>
                <a:gd name="connsiteX3" fmla="*/ 0 w 435077"/>
                <a:gd name="connsiteY3" fmla="*/ 217539 h 435077"/>
                <a:gd name="connsiteX4" fmla="*/ 217539 w 435077"/>
                <a:gd name="connsiteY4" fmla="*/ 27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217539" y="0"/>
                  </a:lnTo>
                  <a:lnTo>
                    <a:pt x="0" y="0"/>
                  </a:lnTo>
                  <a:lnTo>
                    <a:pt x="0" y="217539"/>
                  </a:lnTo>
                  <a:lnTo>
                    <a:pt x="217539" y="27"/>
                  </a:lnTo>
                  <a:lnTo>
                    <a:pt x="435077" y="217539"/>
                  </a:lnTo>
                  <a:lnTo>
                    <a:pt x="217539" y="435077"/>
                  </a:lnTo>
                  <a:lnTo>
                    <a:pt x="0" y="217539"/>
                  </a:lnTo>
                  <a:lnTo>
                    <a:pt x="0" y="435077"/>
                  </a:lnTo>
                  <a:lnTo>
                    <a:pt x="217539" y="435077"/>
                  </a:lnTo>
                  <a:lnTo>
                    <a:pt x="435077" y="435077"/>
                  </a:lnTo>
                  <a:lnTo>
                    <a:pt x="435077" y="217539"/>
                  </a:lnTo>
                  <a:lnTo>
                    <a:pt x="435077" y="0"/>
                  </a:lnTo>
                  <a:lnTo>
                    <a:pt x="217539" y="0"/>
                  </a:lnTo>
                  <a:close/>
                </a:path>
              </a:pathLst>
            </a:custGeom>
            <a:grpFill/>
            <a:ln w="27192" cap="flat">
              <a:noFill/>
              <a:prstDash val="solid"/>
              <a:miter/>
            </a:ln>
          </p:spPr>
          <p:txBody>
            <a:bodyPr rtlCol="0" anchor="ctr"/>
            <a:lstStyle/>
            <a:p>
              <a:endParaRPr lang="uk-UA" sz="900"/>
            </a:p>
          </p:txBody>
        </p:sp>
        <p:sp>
          <p:nvSpPr>
            <p:cNvPr id="827" name="Freeform: Shape 826">
              <a:extLst>
                <a:ext uri="{FF2B5EF4-FFF2-40B4-BE49-F238E27FC236}">
                  <a16:creationId xmlns:a16="http://schemas.microsoft.com/office/drawing/2014/main" id="{46422B67-C5B9-4450-FF54-B2185459E477}"/>
                </a:ext>
              </a:extLst>
            </p:cNvPr>
            <p:cNvSpPr/>
            <p:nvPr/>
          </p:nvSpPr>
          <p:spPr>
            <a:xfrm>
              <a:off x="7797062" y="10670458"/>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27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66 h 435077"/>
                <a:gd name="connsiteX9" fmla="*/ 435077 w 435077"/>
                <a:gd name="connsiteY9" fmla="*/ 217566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27"/>
                  </a:lnTo>
                  <a:lnTo>
                    <a:pt x="435077" y="217539"/>
                  </a:lnTo>
                  <a:lnTo>
                    <a:pt x="435077" y="217539"/>
                  </a:lnTo>
                  <a:lnTo>
                    <a:pt x="435077" y="217539"/>
                  </a:lnTo>
                  <a:lnTo>
                    <a:pt x="435077" y="217566"/>
                  </a:lnTo>
                  <a:lnTo>
                    <a:pt x="435077" y="217566"/>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828" name="Freeform: Shape 827">
              <a:extLst>
                <a:ext uri="{FF2B5EF4-FFF2-40B4-BE49-F238E27FC236}">
                  <a16:creationId xmlns:a16="http://schemas.microsoft.com/office/drawing/2014/main" id="{9464D10F-B714-F3AC-03F0-8C4DDA8D6503}"/>
                </a:ext>
              </a:extLst>
            </p:cNvPr>
            <p:cNvSpPr/>
            <p:nvPr/>
          </p:nvSpPr>
          <p:spPr>
            <a:xfrm>
              <a:off x="6926907" y="10670458"/>
              <a:ext cx="435077" cy="435077"/>
            </a:xfrm>
            <a:custGeom>
              <a:avLst/>
              <a:gdLst>
                <a:gd name="connsiteX0" fmla="*/ 371366 w 435077"/>
                <a:gd name="connsiteY0" fmla="*/ 63739 h 435077"/>
                <a:gd name="connsiteX1" fmla="*/ 435077 w 435077"/>
                <a:gd name="connsiteY1" fmla="*/ 217539 h 435077"/>
                <a:gd name="connsiteX2" fmla="*/ 217702 w 435077"/>
                <a:gd name="connsiteY2" fmla="*/ 217539 h 435077"/>
                <a:gd name="connsiteX3" fmla="*/ 371366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6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39"/>
                  </a:moveTo>
                  <a:cubicBezTo>
                    <a:pt x="412155" y="104527"/>
                    <a:pt x="435077" y="159864"/>
                    <a:pt x="435077" y="217539"/>
                  </a:cubicBezTo>
                  <a:lnTo>
                    <a:pt x="217702" y="217539"/>
                  </a:lnTo>
                  <a:cubicBezTo>
                    <a:pt x="275350" y="217593"/>
                    <a:pt x="330605" y="240516"/>
                    <a:pt x="371366" y="281277"/>
                  </a:cubicBezTo>
                  <a:cubicBezTo>
                    <a:pt x="412155" y="322066"/>
                    <a:pt x="435077" y="377402"/>
                    <a:pt x="435077" y="435077"/>
                  </a:cubicBezTo>
                  <a:lnTo>
                    <a:pt x="217539" y="435077"/>
                  </a:lnTo>
                  <a:lnTo>
                    <a:pt x="0" y="435077"/>
                  </a:lnTo>
                  <a:cubicBezTo>
                    <a:pt x="0" y="377402"/>
                    <a:pt x="22924" y="322066"/>
                    <a:pt x="63712" y="281277"/>
                  </a:cubicBezTo>
                  <a:cubicBezTo>
                    <a:pt x="104473" y="240516"/>
                    <a:pt x="159728" y="217593"/>
                    <a:pt x="217376" y="217539"/>
                  </a:cubicBezTo>
                  <a:lnTo>
                    <a:pt x="0" y="217539"/>
                  </a:lnTo>
                  <a:cubicBezTo>
                    <a:pt x="0" y="159864"/>
                    <a:pt x="22924" y="104527"/>
                    <a:pt x="63712" y="63739"/>
                  </a:cubicBezTo>
                  <a:cubicBezTo>
                    <a:pt x="104501" y="22923"/>
                    <a:pt x="159837" y="0"/>
                    <a:pt x="217539" y="0"/>
                  </a:cubicBezTo>
                  <a:cubicBezTo>
                    <a:pt x="275241" y="0"/>
                    <a:pt x="330550" y="22923"/>
                    <a:pt x="371366" y="63739"/>
                  </a:cubicBezTo>
                  <a:close/>
                </a:path>
              </a:pathLst>
            </a:custGeom>
            <a:grpFill/>
            <a:ln w="27192" cap="flat">
              <a:noFill/>
              <a:prstDash val="solid"/>
              <a:miter/>
            </a:ln>
          </p:spPr>
          <p:txBody>
            <a:bodyPr rtlCol="0" anchor="ctr"/>
            <a:lstStyle/>
            <a:p>
              <a:endParaRPr lang="uk-UA" sz="900"/>
            </a:p>
          </p:txBody>
        </p:sp>
        <p:sp>
          <p:nvSpPr>
            <p:cNvPr id="829" name="Freeform: Shape 828">
              <a:extLst>
                <a:ext uri="{FF2B5EF4-FFF2-40B4-BE49-F238E27FC236}">
                  <a16:creationId xmlns:a16="http://schemas.microsoft.com/office/drawing/2014/main" id="{1183B84F-026F-FAFE-4AAC-AD4480F42BB7}"/>
                </a:ext>
              </a:extLst>
            </p:cNvPr>
            <p:cNvSpPr/>
            <p:nvPr/>
          </p:nvSpPr>
          <p:spPr>
            <a:xfrm>
              <a:off x="8667217" y="1067045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830" name="Freeform: Shape 829">
              <a:extLst>
                <a:ext uri="{FF2B5EF4-FFF2-40B4-BE49-F238E27FC236}">
                  <a16:creationId xmlns:a16="http://schemas.microsoft.com/office/drawing/2014/main" id="{981E742B-0645-2359-13BD-2FF05FD96E61}"/>
                </a:ext>
              </a:extLst>
            </p:cNvPr>
            <p:cNvSpPr/>
            <p:nvPr/>
          </p:nvSpPr>
          <p:spPr>
            <a:xfrm>
              <a:off x="9537371" y="1067045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p>
          </p:txBody>
        </p:sp>
        <p:sp>
          <p:nvSpPr>
            <p:cNvPr id="831" name="Freeform: Shape 830">
              <a:extLst>
                <a:ext uri="{FF2B5EF4-FFF2-40B4-BE49-F238E27FC236}">
                  <a16:creationId xmlns:a16="http://schemas.microsoft.com/office/drawing/2014/main" id="{F99D13F0-9173-E477-5F3C-C4001FF47B2F}"/>
                </a:ext>
              </a:extLst>
            </p:cNvPr>
            <p:cNvSpPr/>
            <p:nvPr/>
          </p:nvSpPr>
          <p:spPr>
            <a:xfrm>
              <a:off x="11277709" y="10670458"/>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27 h 435077"/>
                <a:gd name="connsiteX5" fmla="*/ 435049 w 435077"/>
                <a:gd name="connsiteY5" fmla="*/ 217539 h 435077"/>
                <a:gd name="connsiteX6" fmla="*/ 435077 w 435077"/>
                <a:gd name="connsiteY6" fmla="*/ 217539 h 435077"/>
                <a:gd name="connsiteX7" fmla="*/ 435049 w 435077"/>
                <a:gd name="connsiteY7" fmla="*/ 217539 h 435077"/>
                <a:gd name="connsiteX8" fmla="*/ 435077 w 435077"/>
                <a:gd name="connsiteY8" fmla="*/ 217566 h 435077"/>
                <a:gd name="connsiteX9" fmla="*/ 435049 w 435077"/>
                <a:gd name="connsiteY9" fmla="*/ 217566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27"/>
                  </a:lnTo>
                  <a:lnTo>
                    <a:pt x="435049" y="217539"/>
                  </a:lnTo>
                  <a:lnTo>
                    <a:pt x="435077" y="217539"/>
                  </a:lnTo>
                  <a:lnTo>
                    <a:pt x="435049" y="217539"/>
                  </a:lnTo>
                  <a:lnTo>
                    <a:pt x="435077" y="217566"/>
                  </a:lnTo>
                  <a:lnTo>
                    <a:pt x="435049" y="217566"/>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832" name="Freeform: Shape 831">
              <a:extLst>
                <a:ext uri="{FF2B5EF4-FFF2-40B4-BE49-F238E27FC236}">
                  <a16:creationId xmlns:a16="http://schemas.microsoft.com/office/drawing/2014/main" id="{6AB07FA8-46DB-41A7-BFDB-9EE22FFA3F40}"/>
                </a:ext>
              </a:extLst>
            </p:cNvPr>
            <p:cNvSpPr/>
            <p:nvPr/>
          </p:nvSpPr>
          <p:spPr>
            <a:xfrm>
              <a:off x="10407526" y="10670458"/>
              <a:ext cx="435104" cy="435077"/>
            </a:xfrm>
            <a:custGeom>
              <a:avLst/>
              <a:gdLst>
                <a:gd name="connsiteX0" fmla="*/ 371366 w 435104"/>
                <a:gd name="connsiteY0" fmla="*/ 63739 h 435077"/>
                <a:gd name="connsiteX1" fmla="*/ 435077 w 435104"/>
                <a:gd name="connsiteY1" fmla="*/ 217539 h 435077"/>
                <a:gd name="connsiteX2" fmla="*/ 217730 w 435104"/>
                <a:gd name="connsiteY2" fmla="*/ 217539 h 435077"/>
                <a:gd name="connsiteX3" fmla="*/ 371366 w 435104"/>
                <a:gd name="connsiteY3" fmla="*/ 281277 h 435077"/>
                <a:gd name="connsiteX4" fmla="*/ 435105 w 435104"/>
                <a:gd name="connsiteY4" fmla="*/ 435077 h 435077"/>
                <a:gd name="connsiteX5" fmla="*/ 217566 w 435104"/>
                <a:gd name="connsiteY5" fmla="*/ 435077 h 435077"/>
                <a:gd name="connsiteX6" fmla="*/ 27 w 435104"/>
                <a:gd name="connsiteY6" fmla="*/ 435077 h 435077"/>
                <a:gd name="connsiteX7" fmla="*/ 63739 w 435104"/>
                <a:gd name="connsiteY7" fmla="*/ 281277 h 435077"/>
                <a:gd name="connsiteX8" fmla="*/ 217376 w 435104"/>
                <a:gd name="connsiteY8" fmla="*/ 217539 h 435077"/>
                <a:gd name="connsiteX9" fmla="*/ 0 w 435104"/>
                <a:gd name="connsiteY9" fmla="*/ 217539 h 435077"/>
                <a:gd name="connsiteX10" fmla="*/ 63739 w 435104"/>
                <a:gd name="connsiteY10" fmla="*/ 63739 h 435077"/>
                <a:gd name="connsiteX11" fmla="*/ 217539 w 435104"/>
                <a:gd name="connsiteY11" fmla="*/ 0 h 435077"/>
                <a:gd name="connsiteX12" fmla="*/ 371366 w 435104"/>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4" h="435077">
                  <a:moveTo>
                    <a:pt x="371366" y="63739"/>
                  </a:moveTo>
                  <a:cubicBezTo>
                    <a:pt x="412182" y="104527"/>
                    <a:pt x="435077" y="159864"/>
                    <a:pt x="435077" y="217539"/>
                  </a:cubicBezTo>
                  <a:lnTo>
                    <a:pt x="217730" y="217539"/>
                  </a:lnTo>
                  <a:cubicBezTo>
                    <a:pt x="275350" y="217593"/>
                    <a:pt x="330632" y="240516"/>
                    <a:pt x="371366" y="281277"/>
                  </a:cubicBezTo>
                  <a:cubicBezTo>
                    <a:pt x="412182" y="322066"/>
                    <a:pt x="435105" y="377402"/>
                    <a:pt x="435105" y="435077"/>
                  </a:cubicBezTo>
                  <a:lnTo>
                    <a:pt x="217566" y="435077"/>
                  </a:lnTo>
                  <a:lnTo>
                    <a:pt x="27" y="435077"/>
                  </a:lnTo>
                  <a:cubicBezTo>
                    <a:pt x="27" y="377402"/>
                    <a:pt x="22924" y="322066"/>
                    <a:pt x="63739" y="281277"/>
                  </a:cubicBezTo>
                  <a:cubicBezTo>
                    <a:pt x="104501" y="240516"/>
                    <a:pt x="159755" y="217593"/>
                    <a:pt x="217376" y="217539"/>
                  </a:cubicBezTo>
                  <a:lnTo>
                    <a:pt x="0" y="217539"/>
                  </a:lnTo>
                  <a:cubicBezTo>
                    <a:pt x="0" y="159864"/>
                    <a:pt x="22924" y="104527"/>
                    <a:pt x="63739" y="63739"/>
                  </a:cubicBezTo>
                  <a:cubicBezTo>
                    <a:pt x="104527" y="22923"/>
                    <a:pt x="159864" y="0"/>
                    <a:pt x="217539" y="0"/>
                  </a:cubicBezTo>
                  <a:cubicBezTo>
                    <a:pt x="275241" y="0"/>
                    <a:pt x="330578" y="22923"/>
                    <a:pt x="371366" y="63739"/>
                  </a:cubicBezTo>
                  <a:close/>
                </a:path>
              </a:pathLst>
            </a:custGeom>
            <a:grpFill/>
            <a:ln w="27192" cap="flat">
              <a:noFill/>
              <a:prstDash val="solid"/>
              <a:miter/>
            </a:ln>
          </p:spPr>
          <p:txBody>
            <a:bodyPr rtlCol="0" anchor="ctr"/>
            <a:lstStyle/>
            <a:p>
              <a:endParaRPr lang="uk-UA" sz="900"/>
            </a:p>
          </p:txBody>
        </p:sp>
        <p:sp>
          <p:nvSpPr>
            <p:cNvPr id="833" name="Freeform: Shape 832">
              <a:extLst>
                <a:ext uri="{FF2B5EF4-FFF2-40B4-BE49-F238E27FC236}">
                  <a16:creationId xmlns:a16="http://schemas.microsoft.com/office/drawing/2014/main" id="{B2AB01CB-54E9-5996-2E71-DF3D627B93DF}"/>
                </a:ext>
              </a:extLst>
            </p:cNvPr>
            <p:cNvSpPr/>
            <p:nvPr/>
          </p:nvSpPr>
          <p:spPr>
            <a:xfrm>
              <a:off x="12147864" y="1067045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834" name="Freeform: Shape 833">
              <a:extLst>
                <a:ext uri="{FF2B5EF4-FFF2-40B4-BE49-F238E27FC236}">
                  <a16:creationId xmlns:a16="http://schemas.microsoft.com/office/drawing/2014/main" id="{FAFB29FF-401C-5949-11F2-71A18C816926}"/>
                </a:ext>
              </a:extLst>
            </p:cNvPr>
            <p:cNvSpPr/>
            <p:nvPr/>
          </p:nvSpPr>
          <p:spPr>
            <a:xfrm>
              <a:off x="13018045" y="1067045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835" name="Freeform: Shape 834">
              <a:extLst>
                <a:ext uri="{FF2B5EF4-FFF2-40B4-BE49-F238E27FC236}">
                  <a16:creationId xmlns:a16="http://schemas.microsoft.com/office/drawing/2014/main" id="{6B75025C-960D-C851-0C2E-5DC3BBC83A83}"/>
                </a:ext>
              </a:extLst>
            </p:cNvPr>
            <p:cNvSpPr/>
            <p:nvPr/>
          </p:nvSpPr>
          <p:spPr>
            <a:xfrm>
              <a:off x="14758328" y="1067045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836" name="Freeform: Shape 835">
              <a:extLst>
                <a:ext uri="{FF2B5EF4-FFF2-40B4-BE49-F238E27FC236}">
                  <a16:creationId xmlns:a16="http://schemas.microsoft.com/office/drawing/2014/main" id="{7C616A3F-F356-2BBF-636B-F5A90C0E66FB}"/>
                </a:ext>
              </a:extLst>
            </p:cNvPr>
            <p:cNvSpPr/>
            <p:nvPr/>
          </p:nvSpPr>
          <p:spPr>
            <a:xfrm>
              <a:off x="13888200" y="10670458"/>
              <a:ext cx="435077" cy="435077"/>
            </a:xfrm>
            <a:custGeom>
              <a:avLst/>
              <a:gdLst>
                <a:gd name="connsiteX0" fmla="*/ 371365 w 435077"/>
                <a:gd name="connsiteY0" fmla="*/ 63739 h 435077"/>
                <a:gd name="connsiteX1" fmla="*/ 435077 w 435077"/>
                <a:gd name="connsiteY1" fmla="*/ 217539 h 435077"/>
                <a:gd name="connsiteX2" fmla="*/ 217730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39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5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39"/>
                  </a:moveTo>
                  <a:cubicBezTo>
                    <a:pt x="412154" y="104527"/>
                    <a:pt x="435077" y="159864"/>
                    <a:pt x="435077" y="217539"/>
                  </a:cubicBezTo>
                  <a:lnTo>
                    <a:pt x="217730" y="217539"/>
                  </a:lnTo>
                  <a:cubicBezTo>
                    <a:pt x="275349" y="217593"/>
                    <a:pt x="330605" y="240516"/>
                    <a:pt x="371365" y="281277"/>
                  </a:cubicBezTo>
                  <a:cubicBezTo>
                    <a:pt x="412182" y="322066"/>
                    <a:pt x="435077" y="377402"/>
                    <a:pt x="435077" y="435077"/>
                  </a:cubicBezTo>
                  <a:lnTo>
                    <a:pt x="217539" y="435077"/>
                  </a:lnTo>
                  <a:lnTo>
                    <a:pt x="0" y="435077"/>
                  </a:lnTo>
                  <a:cubicBezTo>
                    <a:pt x="0" y="377402"/>
                    <a:pt x="22924" y="322066"/>
                    <a:pt x="63739" y="281277"/>
                  </a:cubicBezTo>
                  <a:cubicBezTo>
                    <a:pt x="104472" y="240516"/>
                    <a:pt x="159755" y="217593"/>
                    <a:pt x="217376" y="217539"/>
                  </a:cubicBezTo>
                  <a:lnTo>
                    <a:pt x="0" y="217539"/>
                  </a:lnTo>
                  <a:cubicBezTo>
                    <a:pt x="0" y="159864"/>
                    <a:pt x="22924" y="104527"/>
                    <a:pt x="63712" y="63739"/>
                  </a:cubicBezTo>
                  <a:cubicBezTo>
                    <a:pt x="104527" y="22923"/>
                    <a:pt x="159836" y="0"/>
                    <a:pt x="217539" y="0"/>
                  </a:cubicBezTo>
                  <a:cubicBezTo>
                    <a:pt x="275241" y="0"/>
                    <a:pt x="330577" y="22923"/>
                    <a:pt x="371365" y="63739"/>
                  </a:cubicBezTo>
                  <a:close/>
                </a:path>
              </a:pathLst>
            </a:custGeom>
            <a:grpFill/>
            <a:ln w="27192" cap="flat">
              <a:noFill/>
              <a:prstDash val="solid"/>
              <a:miter/>
            </a:ln>
          </p:spPr>
          <p:txBody>
            <a:bodyPr rtlCol="0" anchor="ctr"/>
            <a:lstStyle/>
            <a:p>
              <a:endParaRPr lang="uk-UA" sz="900"/>
            </a:p>
          </p:txBody>
        </p:sp>
        <p:sp>
          <p:nvSpPr>
            <p:cNvPr id="837" name="Freeform: Shape 836">
              <a:extLst>
                <a:ext uri="{FF2B5EF4-FFF2-40B4-BE49-F238E27FC236}">
                  <a16:creationId xmlns:a16="http://schemas.microsoft.com/office/drawing/2014/main" id="{163F10BB-F384-EAD8-F670-58A769531946}"/>
                </a:ext>
              </a:extLst>
            </p:cNvPr>
            <p:cNvSpPr/>
            <p:nvPr/>
          </p:nvSpPr>
          <p:spPr>
            <a:xfrm>
              <a:off x="15628536" y="1067045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838" name="Freeform: Shape 837">
              <a:extLst>
                <a:ext uri="{FF2B5EF4-FFF2-40B4-BE49-F238E27FC236}">
                  <a16:creationId xmlns:a16="http://schemas.microsoft.com/office/drawing/2014/main" id="{992ACDCE-C425-65B5-3476-AC9C9F53B26E}"/>
                </a:ext>
              </a:extLst>
            </p:cNvPr>
            <p:cNvSpPr/>
            <p:nvPr/>
          </p:nvSpPr>
          <p:spPr>
            <a:xfrm>
              <a:off x="16498691" y="10670458"/>
              <a:ext cx="435077" cy="435077"/>
            </a:xfrm>
            <a:custGeom>
              <a:avLst/>
              <a:gdLst>
                <a:gd name="connsiteX0" fmla="*/ 217567 w 435077"/>
                <a:gd name="connsiteY0" fmla="*/ 0 h 435077"/>
                <a:gd name="connsiteX1" fmla="*/ 217539 w 435077"/>
                <a:gd name="connsiteY1" fmla="*/ 0 h 435077"/>
                <a:gd name="connsiteX2" fmla="*/ 28 w 435077"/>
                <a:gd name="connsiteY2" fmla="*/ 0 h 435077"/>
                <a:gd name="connsiteX3" fmla="*/ 28 w 435077"/>
                <a:gd name="connsiteY3" fmla="*/ 217539 h 435077"/>
                <a:gd name="connsiteX4" fmla="*/ 217567 w 435077"/>
                <a:gd name="connsiteY4" fmla="*/ 27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67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67" y="0"/>
                  </a:moveTo>
                  <a:lnTo>
                    <a:pt x="217539" y="0"/>
                  </a:lnTo>
                  <a:lnTo>
                    <a:pt x="28" y="0"/>
                  </a:lnTo>
                  <a:lnTo>
                    <a:pt x="28" y="217539"/>
                  </a:lnTo>
                  <a:lnTo>
                    <a:pt x="217567" y="27"/>
                  </a:lnTo>
                  <a:lnTo>
                    <a:pt x="435077" y="217539"/>
                  </a:lnTo>
                  <a:lnTo>
                    <a:pt x="217539" y="435077"/>
                  </a:lnTo>
                  <a:lnTo>
                    <a:pt x="0" y="217539"/>
                  </a:lnTo>
                  <a:lnTo>
                    <a:pt x="0" y="435077"/>
                  </a:lnTo>
                  <a:lnTo>
                    <a:pt x="217539" y="435077"/>
                  </a:lnTo>
                  <a:lnTo>
                    <a:pt x="435077" y="435077"/>
                  </a:lnTo>
                  <a:lnTo>
                    <a:pt x="435077" y="217539"/>
                  </a:lnTo>
                  <a:lnTo>
                    <a:pt x="435077" y="0"/>
                  </a:lnTo>
                  <a:lnTo>
                    <a:pt x="217567" y="0"/>
                  </a:lnTo>
                  <a:close/>
                </a:path>
              </a:pathLst>
            </a:custGeom>
            <a:grpFill/>
            <a:ln w="27192" cap="flat">
              <a:noFill/>
              <a:prstDash val="solid"/>
              <a:miter/>
            </a:ln>
          </p:spPr>
          <p:txBody>
            <a:bodyPr rtlCol="0" anchor="ctr"/>
            <a:lstStyle/>
            <a:p>
              <a:endParaRPr lang="uk-UA" sz="900"/>
            </a:p>
          </p:txBody>
        </p:sp>
        <p:sp>
          <p:nvSpPr>
            <p:cNvPr id="839" name="Freeform: Shape 838">
              <a:extLst>
                <a:ext uri="{FF2B5EF4-FFF2-40B4-BE49-F238E27FC236}">
                  <a16:creationId xmlns:a16="http://schemas.microsoft.com/office/drawing/2014/main" id="{0D96C6FC-136B-675D-B474-8D5C9306BAED}"/>
                </a:ext>
              </a:extLst>
            </p:cNvPr>
            <p:cNvSpPr/>
            <p:nvPr/>
          </p:nvSpPr>
          <p:spPr>
            <a:xfrm>
              <a:off x="18239029" y="1067045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840" name="Freeform: Shape 839">
              <a:extLst>
                <a:ext uri="{FF2B5EF4-FFF2-40B4-BE49-F238E27FC236}">
                  <a16:creationId xmlns:a16="http://schemas.microsoft.com/office/drawing/2014/main" id="{0B73CA6E-88FB-4128-88D4-CF823FFEA121}"/>
                </a:ext>
              </a:extLst>
            </p:cNvPr>
            <p:cNvSpPr/>
            <p:nvPr/>
          </p:nvSpPr>
          <p:spPr>
            <a:xfrm>
              <a:off x="17368874" y="10670458"/>
              <a:ext cx="435077" cy="435077"/>
            </a:xfrm>
            <a:custGeom>
              <a:avLst/>
              <a:gdLst>
                <a:gd name="connsiteX0" fmla="*/ 371339 w 435077"/>
                <a:gd name="connsiteY0" fmla="*/ 63739 h 435077"/>
                <a:gd name="connsiteX1" fmla="*/ 435077 w 435077"/>
                <a:gd name="connsiteY1" fmla="*/ 217539 h 435077"/>
                <a:gd name="connsiteX2" fmla="*/ 217701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0 w 435077"/>
                <a:gd name="connsiteY7" fmla="*/ 281277 h 435077"/>
                <a:gd name="connsiteX8" fmla="*/ 217374 w 435077"/>
                <a:gd name="connsiteY8" fmla="*/ 217539 h 435077"/>
                <a:gd name="connsiteX9" fmla="*/ 0 w 435077"/>
                <a:gd name="connsiteY9" fmla="*/ 217539 h 435077"/>
                <a:gd name="connsiteX10" fmla="*/ 63710 w 435077"/>
                <a:gd name="connsiteY10" fmla="*/ 63739 h 435077"/>
                <a:gd name="connsiteX11" fmla="*/ 217539 w 435077"/>
                <a:gd name="connsiteY11" fmla="*/ 0 h 435077"/>
                <a:gd name="connsiteX12" fmla="*/ 371339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39"/>
                  </a:moveTo>
                  <a:cubicBezTo>
                    <a:pt x="412154" y="104527"/>
                    <a:pt x="435077" y="159864"/>
                    <a:pt x="435077" y="217539"/>
                  </a:cubicBezTo>
                  <a:lnTo>
                    <a:pt x="217701" y="217539"/>
                  </a:lnTo>
                  <a:cubicBezTo>
                    <a:pt x="275322" y="217593"/>
                    <a:pt x="330603" y="240516"/>
                    <a:pt x="371365" y="281277"/>
                  </a:cubicBezTo>
                  <a:cubicBezTo>
                    <a:pt x="412154" y="322066"/>
                    <a:pt x="435077" y="377402"/>
                    <a:pt x="435077" y="435077"/>
                  </a:cubicBezTo>
                  <a:lnTo>
                    <a:pt x="217539" y="435077"/>
                  </a:lnTo>
                  <a:lnTo>
                    <a:pt x="0" y="435077"/>
                  </a:lnTo>
                  <a:cubicBezTo>
                    <a:pt x="0" y="377402"/>
                    <a:pt x="22922" y="322066"/>
                    <a:pt x="63710" y="281277"/>
                  </a:cubicBezTo>
                  <a:cubicBezTo>
                    <a:pt x="104472" y="240516"/>
                    <a:pt x="159727" y="217593"/>
                    <a:pt x="217374" y="217539"/>
                  </a:cubicBezTo>
                  <a:lnTo>
                    <a:pt x="0" y="217539"/>
                  </a:lnTo>
                  <a:cubicBezTo>
                    <a:pt x="0" y="159864"/>
                    <a:pt x="22895" y="104527"/>
                    <a:pt x="63710" y="63739"/>
                  </a:cubicBezTo>
                  <a:cubicBezTo>
                    <a:pt x="104499" y="22923"/>
                    <a:pt x="159836" y="0"/>
                    <a:pt x="217539" y="0"/>
                  </a:cubicBezTo>
                  <a:cubicBezTo>
                    <a:pt x="275213" y="0"/>
                    <a:pt x="330550" y="22923"/>
                    <a:pt x="371339" y="63739"/>
                  </a:cubicBezTo>
                  <a:close/>
                </a:path>
              </a:pathLst>
            </a:custGeom>
            <a:grpFill/>
            <a:ln w="27192" cap="flat">
              <a:noFill/>
              <a:prstDash val="solid"/>
              <a:miter/>
            </a:ln>
          </p:spPr>
          <p:txBody>
            <a:bodyPr rtlCol="0" anchor="ctr"/>
            <a:lstStyle/>
            <a:p>
              <a:endParaRPr lang="uk-UA" sz="900"/>
            </a:p>
          </p:txBody>
        </p:sp>
        <p:sp>
          <p:nvSpPr>
            <p:cNvPr id="841" name="Freeform: Shape 840">
              <a:extLst>
                <a:ext uri="{FF2B5EF4-FFF2-40B4-BE49-F238E27FC236}">
                  <a16:creationId xmlns:a16="http://schemas.microsoft.com/office/drawing/2014/main" id="{70BE2C6E-8631-7372-F4C1-C5FCED230769}"/>
                </a:ext>
              </a:extLst>
            </p:cNvPr>
            <p:cNvSpPr/>
            <p:nvPr/>
          </p:nvSpPr>
          <p:spPr>
            <a:xfrm>
              <a:off x="19109184" y="1067045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65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65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65" y="435105"/>
                  </a:lnTo>
                  <a:lnTo>
                    <a:pt x="435077" y="217566"/>
                  </a:lnTo>
                  <a:lnTo>
                    <a:pt x="435077" y="435105"/>
                  </a:lnTo>
                  <a:close/>
                  <a:moveTo>
                    <a:pt x="435077" y="27"/>
                  </a:moveTo>
                  <a:lnTo>
                    <a:pt x="217565"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842" name="Freeform: Shape 841">
              <a:extLst>
                <a:ext uri="{FF2B5EF4-FFF2-40B4-BE49-F238E27FC236}">
                  <a16:creationId xmlns:a16="http://schemas.microsoft.com/office/drawing/2014/main" id="{2D831F2E-E248-B2C8-E9D9-688D45F31F9B}"/>
                </a:ext>
              </a:extLst>
            </p:cNvPr>
            <p:cNvSpPr/>
            <p:nvPr/>
          </p:nvSpPr>
          <p:spPr>
            <a:xfrm>
              <a:off x="19979365" y="1067045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843" name="Freeform: Shape 842">
              <a:extLst>
                <a:ext uri="{FF2B5EF4-FFF2-40B4-BE49-F238E27FC236}">
                  <a16:creationId xmlns:a16="http://schemas.microsoft.com/office/drawing/2014/main" id="{A2577CC0-89B2-A316-68BF-4C69D5AC4205}"/>
                </a:ext>
              </a:extLst>
            </p:cNvPr>
            <p:cNvSpPr/>
            <p:nvPr/>
          </p:nvSpPr>
          <p:spPr>
            <a:xfrm>
              <a:off x="21719675" y="1067045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844" name="Freeform: Shape 843">
              <a:extLst>
                <a:ext uri="{FF2B5EF4-FFF2-40B4-BE49-F238E27FC236}">
                  <a16:creationId xmlns:a16="http://schemas.microsoft.com/office/drawing/2014/main" id="{5914357D-1C70-7D3D-C7F9-DDF751B810F8}"/>
                </a:ext>
              </a:extLst>
            </p:cNvPr>
            <p:cNvSpPr/>
            <p:nvPr/>
          </p:nvSpPr>
          <p:spPr>
            <a:xfrm>
              <a:off x="20849520" y="10670458"/>
              <a:ext cx="435077" cy="435077"/>
            </a:xfrm>
            <a:custGeom>
              <a:avLst/>
              <a:gdLst>
                <a:gd name="connsiteX0" fmla="*/ 371365 w 435077"/>
                <a:gd name="connsiteY0" fmla="*/ 63739 h 435077"/>
                <a:gd name="connsiteX1" fmla="*/ 435077 w 435077"/>
                <a:gd name="connsiteY1" fmla="*/ 217539 h 435077"/>
                <a:gd name="connsiteX2" fmla="*/ 217701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5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39"/>
                  </a:moveTo>
                  <a:cubicBezTo>
                    <a:pt x="412154" y="104527"/>
                    <a:pt x="435077" y="159864"/>
                    <a:pt x="435077" y="217539"/>
                  </a:cubicBezTo>
                  <a:lnTo>
                    <a:pt x="217701" y="217539"/>
                  </a:lnTo>
                  <a:cubicBezTo>
                    <a:pt x="275349" y="217593"/>
                    <a:pt x="330605" y="240516"/>
                    <a:pt x="371365" y="281277"/>
                  </a:cubicBezTo>
                  <a:cubicBezTo>
                    <a:pt x="412154" y="322066"/>
                    <a:pt x="435077" y="377402"/>
                    <a:pt x="435077" y="435077"/>
                  </a:cubicBezTo>
                  <a:lnTo>
                    <a:pt x="217539" y="435077"/>
                  </a:lnTo>
                  <a:lnTo>
                    <a:pt x="0" y="435077"/>
                  </a:lnTo>
                  <a:cubicBezTo>
                    <a:pt x="0" y="377402"/>
                    <a:pt x="22924" y="322066"/>
                    <a:pt x="63712" y="281277"/>
                  </a:cubicBezTo>
                  <a:cubicBezTo>
                    <a:pt x="104472" y="240516"/>
                    <a:pt x="159755" y="217593"/>
                    <a:pt x="217376" y="217539"/>
                  </a:cubicBezTo>
                  <a:lnTo>
                    <a:pt x="0" y="217539"/>
                  </a:lnTo>
                  <a:cubicBezTo>
                    <a:pt x="0" y="159864"/>
                    <a:pt x="22924" y="104527"/>
                    <a:pt x="63712" y="63739"/>
                  </a:cubicBezTo>
                  <a:cubicBezTo>
                    <a:pt x="104501" y="22923"/>
                    <a:pt x="159836" y="0"/>
                    <a:pt x="217539" y="0"/>
                  </a:cubicBezTo>
                  <a:cubicBezTo>
                    <a:pt x="275241" y="0"/>
                    <a:pt x="330577" y="22923"/>
                    <a:pt x="371365" y="63739"/>
                  </a:cubicBezTo>
                  <a:close/>
                </a:path>
              </a:pathLst>
            </a:custGeom>
            <a:grpFill/>
            <a:ln w="27192" cap="flat">
              <a:noFill/>
              <a:prstDash val="solid"/>
              <a:miter/>
            </a:ln>
          </p:spPr>
          <p:txBody>
            <a:bodyPr rtlCol="0" anchor="ctr"/>
            <a:lstStyle/>
            <a:p>
              <a:endParaRPr lang="uk-UA" sz="900"/>
            </a:p>
          </p:txBody>
        </p:sp>
        <p:sp>
          <p:nvSpPr>
            <p:cNvPr id="845" name="Freeform: Shape 844">
              <a:extLst>
                <a:ext uri="{FF2B5EF4-FFF2-40B4-BE49-F238E27FC236}">
                  <a16:creationId xmlns:a16="http://schemas.microsoft.com/office/drawing/2014/main" id="{02B25895-4C8D-123C-EF5C-7E04B3F35FE8}"/>
                </a:ext>
              </a:extLst>
            </p:cNvPr>
            <p:cNvSpPr/>
            <p:nvPr/>
          </p:nvSpPr>
          <p:spPr>
            <a:xfrm>
              <a:off x="22589856" y="1067045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846" name="Freeform: Shape 845">
              <a:extLst>
                <a:ext uri="{FF2B5EF4-FFF2-40B4-BE49-F238E27FC236}">
                  <a16:creationId xmlns:a16="http://schemas.microsoft.com/office/drawing/2014/main" id="{8CCAC0CC-941E-26EE-F1A8-B04EA482872B}"/>
                </a:ext>
              </a:extLst>
            </p:cNvPr>
            <p:cNvSpPr/>
            <p:nvPr/>
          </p:nvSpPr>
          <p:spPr>
            <a:xfrm>
              <a:off x="23460011" y="10670458"/>
              <a:ext cx="435105" cy="435077"/>
            </a:xfrm>
            <a:custGeom>
              <a:avLst/>
              <a:gdLst>
                <a:gd name="connsiteX0" fmla="*/ 217539 w 435105"/>
                <a:gd name="connsiteY0" fmla="*/ 0 h 435077"/>
                <a:gd name="connsiteX1" fmla="*/ 0 w 435105"/>
                <a:gd name="connsiteY1" fmla="*/ 0 h 435077"/>
                <a:gd name="connsiteX2" fmla="*/ 0 w 435105"/>
                <a:gd name="connsiteY2" fmla="*/ 217539 h 435077"/>
                <a:gd name="connsiteX3" fmla="*/ 217539 w 435105"/>
                <a:gd name="connsiteY3" fmla="*/ 0 h 435077"/>
                <a:gd name="connsiteX4" fmla="*/ 435106 w 435105"/>
                <a:gd name="connsiteY4" fmla="*/ 27 h 435077"/>
                <a:gd name="connsiteX5" fmla="*/ 435106 w 435105"/>
                <a:gd name="connsiteY5" fmla="*/ 217566 h 435077"/>
                <a:gd name="connsiteX6" fmla="*/ 217567 w 435105"/>
                <a:gd name="connsiteY6" fmla="*/ 27 h 435077"/>
                <a:gd name="connsiteX7" fmla="*/ 435106 w 435105"/>
                <a:gd name="connsiteY7" fmla="*/ 27 h 435077"/>
                <a:gd name="connsiteX8" fmla="*/ 217567 w 435105"/>
                <a:gd name="connsiteY8" fmla="*/ 435077 h 435077"/>
                <a:gd name="connsiteX9" fmla="*/ 435106 w 435105"/>
                <a:gd name="connsiteY9" fmla="*/ 217566 h 435077"/>
                <a:gd name="connsiteX10" fmla="*/ 435106 w 435105"/>
                <a:gd name="connsiteY10" fmla="*/ 435077 h 435077"/>
                <a:gd name="connsiteX11" fmla="*/ 217567 w 435105"/>
                <a:gd name="connsiteY11" fmla="*/ 435077 h 435077"/>
                <a:gd name="connsiteX12" fmla="*/ 217567 w 435105"/>
                <a:gd name="connsiteY12" fmla="*/ 435077 h 435077"/>
                <a:gd name="connsiteX13" fmla="*/ 28 w 435105"/>
                <a:gd name="connsiteY13" fmla="*/ 217566 h 435077"/>
                <a:gd name="connsiteX14" fmla="*/ 28 w 435105"/>
                <a:gd name="connsiteY14" fmla="*/ 435077 h 435077"/>
                <a:gd name="connsiteX15" fmla="*/ 217567 w 435105"/>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5" h="435077">
                  <a:moveTo>
                    <a:pt x="217539" y="0"/>
                  </a:moveTo>
                  <a:lnTo>
                    <a:pt x="0" y="0"/>
                  </a:lnTo>
                  <a:lnTo>
                    <a:pt x="0" y="217539"/>
                  </a:lnTo>
                  <a:lnTo>
                    <a:pt x="217539" y="0"/>
                  </a:lnTo>
                  <a:close/>
                  <a:moveTo>
                    <a:pt x="435106" y="27"/>
                  </a:moveTo>
                  <a:lnTo>
                    <a:pt x="435106" y="217566"/>
                  </a:lnTo>
                  <a:lnTo>
                    <a:pt x="217567" y="27"/>
                  </a:lnTo>
                  <a:lnTo>
                    <a:pt x="435106" y="27"/>
                  </a:lnTo>
                  <a:close/>
                  <a:moveTo>
                    <a:pt x="217567" y="435077"/>
                  </a:moveTo>
                  <a:lnTo>
                    <a:pt x="435106" y="217566"/>
                  </a:lnTo>
                  <a:lnTo>
                    <a:pt x="435106" y="435077"/>
                  </a:lnTo>
                  <a:lnTo>
                    <a:pt x="217567" y="435077"/>
                  </a:lnTo>
                  <a:close/>
                  <a:moveTo>
                    <a:pt x="217567" y="435077"/>
                  </a:moveTo>
                  <a:lnTo>
                    <a:pt x="28" y="217566"/>
                  </a:lnTo>
                  <a:lnTo>
                    <a:pt x="28" y="435077"/>
                  </a:lnTo>
                  <a:lnTo>
                    <a:pt x="217567" y="435077"/>
                  </a:lnTo>
                  <a:close/>
                </a:path>
              </a:pathLst>
            </a:custGeom>
            <a:grpFill/>
            <a:ln w="27192" cap="flat">
              <a:noFill/>
              <a:prstDash val="solid"/>
              <a:miter/>
            </a:ln>
          </p:spPr>
          <p:txBody>
            <a:bodyPr rtlCol="0" anchor="ctr"/>
            <a:lstStyle/>
            <a:p>
              <a:endParaRPr lang="uk-UA" sz="900"/>
            </a:p>
          </p:txBody>
        </p:sp>
        <p:sp>
          <p:nvSpPr>
            <p:cNvPr id="847" name="Freeform: Shape 846">
              <a:extLst>
                <a:ext uri="{FF2B5EF4-FFF2-40B4-BE49-F238E27FC236}">
                  <a16:creationId xmlns:a16="http://schemas.microsoft.com/office/drawing/2014/main" id="{4AD90DCF-D825-FA67-CF33-E97297CA2460}"/>
                </a:ext>
              </a:extLst>
            </p:cNvPr>
            <p:cNvSpPr/>
            <p:nvPr/>
          </p:nvSpPr>
          <p:spPr>
            <a:xfrm>
              <a:off x="24330194" y="10670458"/>
              <a:ext cx="435077" cy="435077"/>
            </a:xfrm>
            <a:custGeom>
              <a:avLst/>
              <a:gdLst>
                <a:gd name="connsiteX0" fmla="*/ 371447 w 435077"/>
                <a:gd name="connsiteY0" fmla="*/ 63739 h 435077"/>
                <a:gd name="connsiteX1" fmla="*/ 435077 w 435077"/>
                <a:gd name="connsiteY1" fmla="*/ 217539 h 435077"/>
                <a:gd name="connsiteX2" fmla="*/ 217811 w 435077"/>
                <a:gd name="connsiteY2" fmla="*/ 217539 h 435077"/>
                <a:gd name="connsiteX3" fmla="*/ 371447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267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447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447" y="63739"/>
                  </a:moveTo>
                  <a:cubicBezTo>
                    <a:pt x="412235" y="104527"/>
                    <a:pt x="435077" y="159864"/>
                    <a:pt x="435077" y="217539"/>
                  </a:cubicBezTo>
                  <a:lnTo>
                    <a:pt x="217811" y="217539"/>
                  </a:lnTo>
                  <a:cubicBezTo>
                    <a:pt x="275459" y="217593"/>
                    <a:pt x="330658" y="240516"/>
                    <a:pt x="371447" y="281277"/>
                  </a:cubicBezTo>
                  <a:cubicBezTo>
                    <a:pt x="412235" y="322066"/>
                    <a:pt x="435077" y="377402"/>
                    <a:pt x="435077" y="435077"/>
                  </a:cubicBezTo>
                  <a:lnTo>
                    <a:pt x="217539" y="435077"/>
                  </a:lnTo>
                  <a:lnTo>
                    <a:pt x="0" y="435077"/>
                  </a:lnTo>
                  <a:cubicBezTo>
                    <a:pt x="0" y="377402"/>
                    <a:pt x="22924" y="322066"/>
                    <a:pt x="63712" y="281277"/>
                  </a:cubicBezTo>
                  <a:cubicBezTo>
                    <a:pt x="104472" y="240516"/>
                    <a:pt x="159727" y="217593"/>
                    <a:pt x="217267" y="217539"/>
                  </a:cubicBezTo>
                  <a:lnTo>
                    <a:pt x="0" y="217539"/>
                  </a:lnTo>
                  <a:cubicBezTo>
                    <a:pt x="0" y="159864"/>
                    <a:pt x="22924" y="104527"/>
                    <a:pt x="63712" y="63739"/>
                  </a:cubicBezTo>
                  <a:cubicBezTo>
                    <a:pt x="104501" y="22923"/>
                    <a:pt x="159836" y="0"/>
                    <a:pt x="217539" y="0"/>
                  </a:cubicBezTo>
                  <a:cubicBezTo>
                    <a:pt x="275186" y="0"/>
                    <a:pt x="330658" y="22923"/>
                    <a:pt x="371447" y="63739"/>
                  </a:cubicBezTo>
                  <a:close/>
                </a:path>
              </a:pathLst>
            </a:custGeom>
            <a:grpFill/>
            <a:ln w="27192" cap="flat">
              <a:noFill/>
              <a:prstDash val="solid"/>
              <a:miter/>
            </a:ln>
          </p:spPr>
          <p:txBody>
            <a:bodyPr rtlCol="0" anchor="ctr"/>
            <a:lstStyle/>
            <a:p>
              <a:endParaRPr lang="uk-UA" sz="900"/>
            </a:p>
          </p:txBody>
        </p:sp>
        <p:sp>
          <p:nvSpPr>
            <p:cNvPr id="848" name="Freeform: Shape 847">
              <a:extLst>
                <a:ext uri="{FF2B5EF4-FFF2-40B4-BE49-F238E27FC236}">
                  <a16:creationId xmlns:a16="http://schemas.microsoft.com/office/drawing/2014/main" id="{66A8367B-DAD2-1742-EB0E-5AF3E1092BDB}"/>
                </a:ext>
              </a:extLst>
            </p:cNvPr>
            <p:cNvSpPr/>
            <p:nvPr/>
          </p:nvSpPr>
          <p:spPr>
            <a:xfrm>
              <a:off x="835742" y="1154061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6 w 435077"/>
                <a:gd name="connsiteY3" fmla="*/ 27 h 435077"/>
                <a:gd name="connsiteX4" fmla="*/ 435077 w 435077"/>
                <a:gd name="connsiteY4" fmla="*/ 217566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6" y="27"/>
                  </a:lnTo>
                  <a:lnTo>
                    <a:pt x="435077" y="217566"/>
                  </a:lnTo>
                  <a:lnTo>
                    <a:pt x="217566"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849" name="Freeform: Shape 848">
              <a:extLst>
                <a:ext uri="{FF2B5EF4-FFF2-40B4-BE49-F238E27FC236}">
                  <a16:creationId xmlns:a16="http://schemas.microsoft.com/office/drawing/2014/main" id="{066E320C-EFC2-0A85-AD73-260C7579973E}"/>
                </a:ext>
              </a:extLst>
            </p:cNvPr>
            <p:cNvSpPr/>
            <p:nvPr/>
          </p:nvSpPr>
          <p:spPr>
            <a:xfrm>
              <a:off x="-34407" y="11540612"/>
              <a:ext cx="435072" cy="435077"/>
            </a:xfrm>
            <a:custGeom>
              <a:avLst/>
              <a:gdLst>
                <a:gd name="connsiteX0" fmla="*/ 63717 w 435072"/>
                <a:gd name="connsiteY0" fmla="*/ 153827 h 435077"/>
                <a:gd name="connsiteX1" fmla="*/ 0 w 435072"/>
                <a:gd name="connsiteY1" fmla="*/ 0 h 435077"/>
                <a:gd name="connsiteX2" fmla="*/ 217533 w 435072"/>
                <a:gd name="connsiteY2" fmla="*/ 0 h 435077"/>
                <a:gd name="connsiteX3" fmla="*/ 435072 w 435072"/>
                <a:gd name="connsiteY3" fmla="*/ 0 h 435077"/>
                <a:gd name="connsiteX4" fmla="*/ 371360 w 435072"/>
                <a:gd name="connsiteY4" fmla="*/ 153827 h 435077"/>
                <a:gd name="connsiteX5" fmla="*/ 217533 w 435072"/>
                <a:gd name="connsiteY5" fmla="*/ 217539 h 435077"/>
                <a:gd name="connsiteX6" fmla="*/ 63717 w 435072"/>
                <a:gd name="connsiteY6" fmla="*/ 153827 h 435077"/>
                <a:gd name="connsiteX7" fmla="*/ 63717 w 435072"/>
                <a:gd name="connsiteY7" fmla="*/ 281277 h 435077"/>
                <a:gd name="connsiteX8" fmla="*/ 0 w 435072"/>
                <a:gd name="connsiteY8" fmla="*/ 435077 h 435077"/>
                <a:gd name="connsiteX9" fmla="*/ 217533 w 435072"/>
                <a:gd name="connsiteY9" fmla="*/ 435077 h 435077"/>
                <a:gd name="connsiteX10" fmla="*/ 435072 w 435072"/>
                <a:gd name="connsiteY10" fmla="*/ 435077 h 435077"/>
                <a:gd name="connsiteX11" fmla="*/ 371360 w 435072"/>
                <a:gd name="connsiteY11" fmla="*/ 281277 h 435077"/>
                <a:gd name="connsiteX12" fmla="*/ 217533 w 435072"/>
                <a:gd name="connsiteY12" fmla="*/ 217539 h 435077"/>
                <a:gd name="connsiteX13" fmla="*/ 63717 w 435072"/>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2" h="435077">
                  <a:moveTo>
                    <a:pt x="63717" y="153827"/>
                  </a:moveTo>
                  <a:cubicBezTo>
                    <a:pt x="22921" y="113039"/>
                    <a:pt x="0" y="57702"/>
                    <a:pt x="0" y="0"/>
                  </a:cubicBezTo>
                  <a:lnTo>
                    <a:pt x="217533" y="0"/>
                  </a:lnTo>
                  <a:lnTo>
                    <a:pt x="435072" y="0"/>
                  </a:lnTo>
                  <a:cubicBezTo>
                    <a:pt x="435072" y="57702"/>
                    <a:pt x="412149" y="113039"/>
                    <a:pt x="371360" y="153827"/>
                  </a:cubicBezTo>
                  <a:cubicBezTo>
                    <a:pt x="330572" y="194642"/>
                    <a:pt x="275236" y="217539"/>
                    <a:pt x="217533" y="217539"/>
                  </a:cubicBezTo>
                  <a:cubicBezTo>
                    <a:pt x="159858" y="217539"/>
                    <a:pt x="104514" y="194642"/>
                    <a:pt x="63717" y="153827"/>
                  </a:cubicBezTo>
                  <a:close/>
                  <a:moveTo>
                    <a:pt x="63717" y="281277"/>
                  </a:moveTo>
                  <a:cubicBezTo>
                    <a:pt x="22921" y="322066"/>
                    <a:pt x="0" y="377402"/>
                    <a:pt x="0" y="435077"/>
                  </a:cubicBezTo>
                  <a:lnTo>
                    <a:pt x="217533" y="435077"/>
                  </a:lnTo>
                  <a:lnTo>
                    <a:pt x="435072" y="435077"/>
                  </a:lnTo>
                  <a:cubicBezTo>
                    <a:pt x="435072" y="377402"/>
                    <a:pt x="412149" y="322066"/>
                    <a:pt x="371360" y="281277"/>
                  </a:cubicBezTo>
                  <a:cubicBezTo>
                    <a:pt x="330572" y="240462"/>
                    <a:pt x="275236" y="217539"/>
                    <a:pt x="217533" y="217539"/>
                  </a:cubicBezTo>
                  <a:cubicBezTo>
                    <a:pt x="159858" y="217539"/>
                    <a:pt x="104514" y="240462"/>
                    <a:pt x="63717" y="281277"/>
                  </a:cubicBezTo>
                  <a:close/>
                </a:path>
              </a:pathLst>
            </a:custGeom>
            <a:grpFill/>
            <a:ln w="27192" cap="flat">
              <a:noFill/>
              <a:prstDash val="solid"/>
              <a:miter/>
            </a:ln>
          </p:spPr>
          <p:txBody>
            <a:bodyPr rtlCol="0" anchor="ctr"/>
            <a:lstStyle/>
            <a:p>
              <a:endParaRPr lang="uk-UA" sz="900"/>
            </a:p>
          </p:txBody>
        </p:sp>
        <p:sp>
          <p:nvSpPr>
            <p:cNvPr id="850" name="Freeform: Shape 849">
              <a:extLst>
                <a:ext uri="{FF2B5EF4-FFF2-40B4-BE49-F238E27FC236}">
                  <a16:creationId xmlns:a16="http://schemas.microsoft.com/office/drawing/2014/main" id="{DECA80C7-8482-0798-75C1-B541EA4BD1FC}"/>
                </a:ext>
              </a:extLst>
            </p:cNvPr>
            <p:cNvSpPr/>
            <p:nvPr/>
          </p:nvSpPr>
          <p:spPr>
            <a:xfrm>
              <a:off x="1705924" y="1154061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851" name="Freeform: Shape 850">
              <a:extLst>
                <a:ext uri="{FF2B5EF4-FFF2-40B4-BE49-F238E27FC236}">
                  <a16:creationId xmlns:a16="http://schemas.microsoft.com/office/drawing/2014/main" id="{685195F4-55B6-051B-2038-58E4346FC2A4}"/>
                </a:ext>
              </a:extLst>
            </p:cNvPr>
            <p:cNvSpPr/>
            <p:nvPr/>
          </p:nvSpPr>
          <p:spPr>
            <a:xfrm>
              <a:off x="2576106" y="1154064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2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2" y="217539"/>
                  </a:lnTo>
                  <a:lnTo>
                    <a:pt x="0" y="435050"/>
                  </a:lnTo>
                  <a:close/>
                </a:path>
              </a:pathLst>
            </a:custGeom>
            <a:grpFill/>
            <a:ln w="27192" cap="flat">
              <a:noFill/>
              <a:prstDash val="solid"/>
              <a:miter/>
            </a:ln>
          </p:spPr>
          <p:txBody>
            <a:bodyPr rtlCol="0" anchor="ctr"/>
            <a:lstStyle/>
            <a:p>
              <a:endParaRPr lang="uk-UA" sz="900"/>
            </a:p>
          </p:txBody>
        </p:sp>
        <p:sp>
          <p:nvSpPr>
            <p:cNvPr id="852" name="Freeform: Shape 851">
              <a:extLst>
                <a:ext uri="{FF2B5EF4-FFF2-40B4-BE49-F238E27FC236}">
                  <a16:creationId xmlns:a16="http://schemas.microsoft.com/office/drawing/2014/main" id="{81178811-395A-A1E9-0B97-04B6CA6DDA00}"/>
                </a:ext>
              </a:extLst>
            </p:cNvPr>
            <p:cNvSpPr/>
            <p:nvPr/>
          </p:nvSpPr>
          <p:spPr>
            <a:xfrm>
              <a:off x="4316416" y="1154061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5 w 435077"/>
                <a:gd name="connsiteY3" fmla="*/ 27 h 435077"/>
                <a:gd name="connsiteX4" fmla="*/ 435077 w 435077"/>
                <a:gd name="connsiteY4" fmla="*/ 217566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5" y="27"/>
                  </a:lnTo>
                  <a:lnTo>
                    <a:pt x="435077" y="217566"/>
                  </a:lnTo>
                  <a:lnTo>
                    <a:pt x="217565"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853" name="Freeform: Shape 852">
              <a:extLst>
                <a:ext uri="{FF2B5EF4-FFF2-40B4-BE49-F238E27FC236}">
                  <a16:creationId xmlns:a16="http://schemas.microsoft.com/office/drawing/2014/main" id="{D257D56F-37FE-D20E-2589-19A4C9CE4620}"/>
                </a:ext>
              </a:extLst>
            </p:cNvPr>
            <p:cNvSpPr/>
            <p:nvPr/>
          </p:nvSpPr>
          <p:spPr>
            <a:xfrm>
              <a:off x="3446261" y="1154061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3" y="113039"/>
                    <a:pt x="0" y="57702"/>
                    <a:pt x="0" y="0"/>
                  </a:cubicBezTo>
                  <a:lnTo>
                    <a:pt x="217539" y="0"/>
                  </a:lnTo>
                  <a:lnTo>
                    <a:pt x="435077" y="0"/>
                  </a:lnTo>
                  <a:cubicBezTo>
                    <a:pt x="435077" y="57702"/>
                    <a:pt x="412154" y="113039"/>
                    <a:pt x="371366" y="153827"/>
                  </a:cubicBezTo>
                  <a:cubicBezTo>
                    <a:pt x="330577" y="194642"/>
                    <a:pt x="275241" y="217539"/>
                    <a:pt x="217539" y="217539"/>
                  </a:cubicBezTo>
                  <a:cubicBezTo>
                    <a:pt x="159837" y="217539"/>
                    <a:pt x="104500" y="194642"/>
                    <a:pt x="63712" y="153827"/>
                  </a:cubicBezTo>
                  <a:close/>
                  <a:moveTo>
                    <a:pt x="63712" y="281277"/>
                  </a:moveTo>
                  <a:cubicBezTo>
                    <a:pt x="22923" y="322066"/>
                    <a:pt x="0" y="377402"/>
                    <a:pt x="0" y="435077"/>
                  </a:cubicBezTo>
                  <a:lnTo>
                    <a:pt x="217539" y="435077"/>
                  </a:lnTo>
                  <a:lnTo>
                    <a:pt x="435077" y="435077"/>
                  </a:lnTo>
                  <a:cubicBezTo>
                    <a:pt x="435077" y="377402"/>
                    <a:pt x="412154" y="322066"/>
                    <a:pt x="371366" y="281277"/>
                  </a:cubicBezTo>
                  <a:cubicBezTo>
                    <a:pt x="330577" y="240462"/>
                    <a:pt x="275241" y="217539"/>
                    <a:pt x="217539" y="217539"/>
                  </a:cubicBezTo>
                  <a:cubicBezTo>
                    <a:pt x="159837" y="217539"/>
                    <a:pt x="104500" y="240462"/>
                    <a:pt x="63712" y="281277"/>
                  </a:cubicBezTo>
                  <a:close/>
                </a:path>
              </a:pathLst>
            </a:custGeom>
            <a:grpFill/>
            <a:ln w="27192" cap="flat">
              <a:noFill/>
              <a:prstDash val="solid"/>
              <a:miter/>
            </a:ln>
          </p:spPr>
          <p:txBody>
            <a:bodyPr rtlCol="0" anchor="ctr"/>
            <a:lstStyle/>
            <a:p>
              <a:endParaRPr lang="uk-UA" sz="900"/>
            </a:p>
          </p:txBody>
        </p:sp>
        <p:sp>
          <p:nvSpPr>
            <p:cNvPr id="854" name="Freeform: Shape 853">
              <a:extLst>
                <a:ext uri="{FF2B5EF4-FFF2-40B4-BE49-F238E27FC236}">
                  <a16:creationId xmlns:a16="http://schemas.microsoft.com/office/drawing/2014/main" id="{B3080F7E-AC76-0A76-C468-051D51147DAA}"/>
                </a:ext>
              </a:extLst>
            </p:cNvPr>
            <p:cNvSpPr/>
            <p:nvPr/>
          </p:nvSpPr>
          <p:spPr>
            <a:xfrm>
              <a:off x="5186597" y="11540612"/>
              <a:ext cx="435077" cy="435077"/>
            </a:xfrm>
            <a:custGeom>
              <a:avLst/>
              <a:gdLst>
                <a:gd name="connsiteX0" fmla="*/ 0 w 435077"/>
                <a:gd name="connsiteY0" fmla="*/ 435077 h 435077"/>
                <a:gd name="connsiteX1" fmla="*/ 0 w 435077"/>
                <a:gd name="connsiteY1" fmla="*/ 0 h 435077"/>
                <a:gd name="connsiteX2" fmla="*/ 217512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12"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855" name="Freeform: Shape 854">
              <a:extLst>
                <a:ext uri="{FF2B5EF4-FFF2-40B4-BE49-F238E27FC236}">
                  <a16:creationId xmlns:a16="http://schemas.microsoft.com/office/drawing/2014/main" id="{B7DBEEFA-0ECA-AEB7-D384-40B389182C64}"/>
                </a:ext>
              </a:extLst>
            </p:cNvPr>
            <p:cNvSpPr/>
            <p:nvPr/>
          </p:nvSpPr>
          <p:spPr>
            <a:xfrm>
              <a:off x="6056752" y="1154064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2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2" y="217539"/>
                  </a:lnTo>
                  <a:lnTo>
                    <a:pt x="0" y="435050"/>
                  </a:lnTo>
                  <a:close/>
                </a:path>
              </a:pathLst>
            </a:custGeom>
            <a:grpFill/>
            <a:ln w="27192" cap="flat">
              <a:noFill/>
              <a:prstDash val="solid"/>
              <a:miter/>
            </a:ln>
          </p:spPr>
          <p:txBody>
            <a:bodyPr rtlCol="0" anchor="ctr"/>
            <a:lstStyle/>
            <a:p>
              <a:endParaRPr lang="uk-UA" sz="900"/>
            </a:p>
          </p:txBody>
        </p:sp>
        <p:sp>
          <p:nvSpPr>
            <p:cNvPr id="856" name="Freeform: Shape 855">
              <a:extLst>
                <a:ext uri="{FF2B5EF4-FFF2-40B4-BE49-F238E27FC236}">
                  <a16:creationId xmlns:a16="http://schemas.microsoft.com/office/drawing/2014/main" id="{41609813-4840-C755-8159-0A81D5D87637}"/>
                </a:ext>
              </a:extLst>
            </p:cNvPr>
            <p:cNvSpPr/>
            <p:nvPr/>
          </p:nvSpPr>
          <p:spPr>
            <a:xfrm>
              <a:off x="7797062" y="1154061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6 w 435077"/>
                <a:gd name="connsiteY3" fmla="*/ 27 h 435077"/>
                <a:gd name="connsiteX4" fmla="*/ 435077 w 435077"/>
                <a:gd name="connsiteY4" fmla="*/ 217566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6" y="27"/>
                  </a:lnTo>
                  <a:lnTo>
                    <a:pt x="435077" y="217566"/>
                  </a:lnTo>
                  <a:lnTo>
                    <a:pt x="217566"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857" name="Freeform: Shape 856">
              <a:extLst>
                <a:ext uri="{FF2B5EF4-FFF2-40B4-BE49-F238E27FC236}">
                  <a16:creationId xmlns:a16="http://schemas.microsoft.com/office/drawing/2014/main" id="{64152FFD-CBD4-6542-16D5-69DB9D19AFB9}"/>
                </a:ext>
              </a:extLst>
            </p:cNvPr>
            <p:cNvSpPr/>
            <p:nvPr/>
          </p:nvSpPr>
          <p:spPr>
            <a:xfrm>
              <a:off x="6926907" y="1154061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6" y="153827"/>
                  </a:cubicBezTo>
                  <a:cubicBezTo>
                    <a:pt x="330550" y="194642"/>
                    <a:pt x="275241" y="217539"/>
                    <a:pt x="217539" y="217539"/>
                  </a:cubicBezTo>
                  <a:cubicBezTo>
                    <a:pt x="159837"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5" y="322066"/>
                    <a:pt x="371366" y="281277"/>
                  </a:cubicBezTo>
                  <a:cubicBezTo>
                    <a:pt x="330550" y="240462"/>
                    <a:pt x="275241" y="217539"/>
                    <a:pt x="217539" y="217539"/>
                  </a:cubicBezTo>
                  <a:cubicBezTo>
                    <a:pt x="159837" y="217539"/>
                    <a:pt x="104501" y="240462"/>
                    <a:pt x="63712" y="281277"/>
                  </a:cubicBezTo>
                  <a:close/>
                </a:path>
              </a:pathLst>
            </a:custGeom>
            <a:grpFill/>
            <a:ln w="27192" cap="flat">
              <a:noFill/>
              <a:prstDash val="solid"/>
              <a:miter/>
            </a:ln>
          </p:spPr>
          <p:txBody>
            <a:bodyPr rtlCol="0" anchor="ctr"/>
            <a:lstStyle/>
            <a:p>
              <a:endParaRPr lang="uk-UA" sz="900"/>
            </a:p>
          </p:txBody>
        </p:sp>
        <p:sp>
          <p:nvSpPr>
            <p:cNvPr id="858" name="Freeform: Shape 857">
              <a:extLst>
                <a:ext uri="{FF2B5EF4-FFF2-40B4-BE49-F238E27FC236}">
                  <a16:creationId xmlns:a16="http://schemas.microsoft.com/office/drawing/2014/main" id="{A4BD122E-91D7-64AB-04DE-696B083D378F}"/>
                </a:ext>
              </a:extLst>
            </p:cNvPr>
            <p:cNvSpPr/>
            <p:nvPr/>
          </p:nvSpPr>
          <p:spPr>
            <a:xfrm>
              <a:off x="8667217" y="1154061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859" name="Freeform: Shape 858">
              <a:extLst>
                <a:ext uri="{FF2B5EF4-FFF2-40B4-BE49-F238E27FC236}">
                  <a16:creationId xmlns:a16="http://schemas.microsoft.com/office/drawing/2014/main" id="{168AC66E-8D5D-7C44-1867-894AB65F3E70}"/>
                </a:ext>
              </a:extLst>
            </p:cNvPr>
            <p:cNvSpPr/>
            <p:nvPr/>
          </p:nvSpPr>
          <p:spPr>
            <a:xfrm>
              <a:off x="9537399" y="1154064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1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1" y="217539"/>
                  </a:lnTo>
                  <a:lnTo>
                    <a:pt x="0" y="435050"/>
                  </a:lnTo>
                  <a:close/>
                </a:path>
              </a:pathLst>
            </a:custGeom>
            <a:grpFill/>
            <a:ln w="27192" cap="flat">
              <a:noFill/>
              <a:prstDash val="solid"/>
              <a:miter/>
            </a:ln>
          </p:spPr>
          <p:txBody>
            <a:bodyPr rtlCol="0" anchor="ctr"/>
            <a:lstStyle/>
            <a:p>
              <a:endParaRPr lang="uk-UA" sz="900"/>
            </a:p>
          </p:txBody>
        </p:sp>
        <p:sp>
          <p:nvSpPr>
            <p:cNvPr id="860" name="Freeform: Shape 859">
              <a:extLst>
                <a:ext uri="{FF2B5EF4-FFF2-40B4-BE49-F238E27FC236}">
                  <a16:creationId xmlns:a16="http://schemas.microsoft.com/office/drawing/2014/main" id="{D15C0B0B-D1D5-3B27-495B-FBF3993564A7}"/>
                </a:ext>
              </a:extLst>
            </p:cNvPr>
            <p:cNvSpPr/>
            <p:nvPr/>
          </p:nvSpPr>
          <p:spPr>
            <a:xfrm>
              <a:off x="11277709" y="1154061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0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10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0" y="217539"/>
                  </a:lnTo>
                  <a:lnTo>
                    <a:pt x="0" y="217539"/>
                  </a:lnTo>
                  <a:close/>
                  <a:moveTo>
                    <a:pt x="0" y="435077"/>
                  </a:moveTo>
                  <a:lnTo>
                    <a:pt x="0" y="217566"/>
                  </a:lnTo>
                  <a:lnTo>
                    <a:pt x="217510" y="217566"/>
                  </a:lnTo>
                  <a:lnTo>
                    <a:pt x="0" y="435077"/>
                  </a:lnTo>
                  <a:close/>
                </a:path>
              </a:pathLst>
            </a:custGeom>
            <a:grpFill/>
            <a:ln w="27192" cap="flat">
              <a:noFill/>
              <a:prstDash val="solid"/>
              <a:miter/>
            </a:ln>
          </p:spPr>
          <p:txBody>
            <a:bodyPr rtlCol="0" anchor="ctr"/>
            <a:lstStyle/>
            <a:p>
              <a:endParaRPr lang="uk-UA" sz="900"/>
            </a:p>
          </p:txBody>
        </p:sp>
        <p:sp>
          <p:nvSpPr>
            <p:cNvPr id="861" name="Freeform: Shape 860">
              <a:extLst>
                <a:ext uri="{FF2B5EF4-FFF2-40B4-BE49-F238E27FC236}">
                  <a16:creationId xmlns:a16="http://schemas.microsoft.com/office/drawing/2014/main" id="{F733F7C0-DE4A-9EC1-4B1E-AF0AE7537563}"/>
                </a:ext>
              </a:extLst>
            </p:cNvPr>
            <p:cNvSpPr/>
            <p:nvPr/>
          </p:nvSpPr>
          <p:spPr>
            <a:xfrm>
              <a:off x="10407526" y="11540612"/>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39 w 435077"/>
                <a:gd name="connsiteY6" fmla="*/ 153827 h 435077"/>
                <a:gd name="connsiteX7" fmla="*/ 63739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39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4" y="113039"/>
                    <a:pt x="0" y="57702"/>
                    <a:pt x="0" y="0"/>
                  </a:cubicBezTo>
                  <a:lnTo>
                    <a:pt x="217539" y="0"/>
                  </a:lnTo>
                  <a:lnTo>
                    <a:pt x="435077" y="0"/>
                  </a:lnTo>
                  <a:cubicBezTo>
                    <a:pt x="435077" y="57702"/>
                    <a:pt x="412182" y="113039"/>
                    <a:pt x="371366" y="153827"/>
                  </a:cubicBezTo>
                  <a:cubicBezTo>
                    <a:pt x="330578" y="194642"/>
                    <a:pt x="275241" y="217539"/>
                    <a:pt x="217539" y="217539"/>
                  </a:cubicBezTo>
                  <a:cubicBezTo>
                    <a:pt x="159864" y="217539"/>
                    <a:pt x="104527" y="194642"/>
                    <a:pt x="63739" y="153827"/>
                  </a:cubicBezTo>
                  <a:close/>
                  <a:moveTo>
                    <a:pt x="63739" y="281277"/>
                  </a:moveTo>
                  <a:cubicBezTo>
                    <a:pt x="22924" y="322066"/>
                    <a:pt x="0" y="377402"/>
                    <a:pt x="0" y="435077"/>
                  </a:cubicBezTo>
                  <a:lnTo>
                    <a:pt x="217539" y="435077"/>
                  </a:lnTo>
                  <a:lnTo>
                    <a:pt x="435077" y="435077"/>
                  </a:lnTo>
                  <a:cubicBezTo>
                    <a:pt x="435077" y="377402"/>
                    <a:pt x="412182" y="322066"/>
                    <a:pt x="371366" y="281277"/>
                  </a:cubicBezTo>
                  <a:cubicBezTo>
                    <a:pt x="330578" y="240462"/>
                    <a:pt x="275241" y="217539"/>
                    <a:pt x="217539" y="217539"/>
                  </a:cubicBezTo>
                  <a:cubicBezTo>
                    <a:pt x="159864" y="217539"/>
                    <a:pt x="104527" y="240462"/>
                    <a:pt x="63739" y="281277"/>
                  </a:cubicBezTo>
                  <a:close/>
                </a:path>
              </a:pathLst>
            </a:custGeom>
            <a:grpFill/>
            <a:ln w="27192" cap="flat">
              <a:noFill/>
              <a:prstDash val="solid"/>
              <a:miter/>
            </a:ln>
          </p:spPr>
          <p:txBody>
            <a:bodyPr rtlCol="0" anchor="ctr"/>
            <a:lstStyle/>
            <a:p>
              <a:endParaRPr lang="uk-UA" sz="900"/>
            </a:p>
          </p:txBody>
        </p:sp>
        <p:sp>
          <p:nvSpPr>
            <p:cNvPr id="862" name="Freeform: Shape 861">
              <a:extLst>
                <a:ext uri="{FF2B5EF4-FFF2-40B4-BE49-F238E27FC236}">
                  <a16:creationId xmlns:a16="http://schemas.microsoft.com/office/drawing/2014/main" id="{79A26B1F-147D-9BF5-D62F-F43BF4425214}"/>
                </a:ext>
              </a:extLst>
            </p:cNvPr>
            <p:cNvSpPr/>
            <p:nvPr/>
          </p:nvSpPr>
          <p:spPr>
            <a:xfrm>
              <a:off x="12147864" y="1154061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863" name="Freeform: Shape 862">
              <a:extLst>
                <a:ext uri="{FF2B5EF4-FFF2-40B4-BE49-F238E27FC236}">
                  <a16:creationId xmlns:a16="http://schemas.microsoft.com/office/drawing/2014/main" id="{EAA98FCB-9773-61BE-64DB-698EDF6C69E0}"/>
                </a:ext>
              </a:extLst>
            </p:cNvPr>
            <p:cNvSpPr/>
            <p:nvPr/>
          </p:nvSpPr>
          <p:spPr>
            <a:xfrm>
              <a:off x="13018045" y="1154064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2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2" y="217539"/>
                  </a:lnTo>
                  <a:lnTo>
                    <a:pt x="0" y="435050"/>
                  </a:lnTo>
                  <a:close/>
                </a:path>
              </a:pathLst>
            </a:custGeom>
            <a:grpFill/>
            <a:ln w="27192" cap="flat">
              <a:noFill/>
              <a:prstDash val="solid"/>
              <a:miter/>
            </a:ln>
          </p:spPr>
          <p:txBody>
            <a:bodyPr rtlCol="0" anchor="ctr"/>
            <a:lstStyle/>
            <a:p>
              <a:endParaRPr lang="uk-UA" sz="900"/>
            </a:p>
          </p:txBody>
        </p:sp>
        <p:sp>
          <p:nvSpPr>
            <p:cNvPr id="864" name="Freeform: Shape 863">
              <a:extLst>
                <a:ext uri="{FF2B5EF4-FFF2-40B4-BE49-F238E27FC236}">
                  <a16:creationId xmlns:a16="http://schemas.microsoft.com/office/drawing/2014/main" id="{C5181320-DBE8-E638-3EC7-C2999105FCB1}"/>
                </a:ext>
              </a:extLst>
            </p:cNvPr>
            <p:cNvSpPr/>
            <p:nvPr/>
          </p:nvSpPr>
          <p:spPr>
            <a:xfrm>
              <a:off x="14758355" y="11540612"/>
              <a:ext cx="435103" cy="435077"/>
            </a:xfrm>
            <a:custGeom>
              <a:avLst/>
              <a:gdLst>
                <a:gd name="connsiteX0" fmla="*/ 435104 w 435103"/>
                <a:gd name="connsiteY0" fmla="*/ 435077 h 435077"/>
                <a:gd name="connsiteX1" fmla="*/ 435104 w 435103"/>
                <a:gd name="connsiteY1" fmla="*/ 217566 h 435077"/>
                <a:gd name="connsiteX2" fmla="*/ 435104 w 435103"/>
                <a:gd name="connsiteY2" fmla="*/ 27 h 435077"/>
                <a:gd name="connsiteX3" fmla="*/ 217565 w 435103"/>
                <a:gd name="connsiteY3" fmla="*/ 27 h 435077"/>
                <a:gd name="connsiteX4" fmla="*/ 435104 w 435103"/>
                <a:gd name="connsiteY4" fmla="*/ 217566 h 435077"/>
                <a:gd name="connsiteX5" fmla="*/ 217565 w 435103"/>
                <a:gd name="connsiteY5" fmla="*/ 435077 h 435077"/>
                <a:gd name="connsiteX6" fmla="*/ 435104 w 435103"/>
                <a:gd name="connsiteY6" fmla="*/ 435077 h 435077"/>
                <a:gd name="connsiteX7" fmla="*/ 0 w 435103"/>
                <a:gd name="connsiteY7" fmla="*/ 217539 h 435077"/>
                <a:gd name="connsiteX8" fmla="*/ 0 w 435103"/>
                <a:gd name="connsiteY8" fmla="*/ 0 h 435077"/>
                <a:gd name="connsiteX9" fmla="*/ 217539 w 435103"/>
                <a:gd name="connsiteY9" fmla="*/ 217539 h 435077"/>
                <a:gd name="connsiteX10" fmla="*/ 0 w 435103"/>
                <a:gd name="connsiteY10" fmla="*/ 217539 h 435077"/>
                <a:gd name="connsiteX11" fmla="*/ 27 w 435103"/>
                <a:gd name="connsiteY11" fmla="*/ 435077 h 435077"/>
                <a:gd name="connsiteX12" fmla="*/ 27 w 435103"/>
                <a:gd name="connsiteY12" fmla="*/ 217566 h 435077"/>
                <a:gd name="connsiteX13" fmla="*/ 217539 w 435103"/>
                <a:gd name="connsiteY13" fmla="*/ 217566 h 435077"/>
                <a:gd name="connsiteX14" fmla="*/ 27 w 435103"/>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103" h="435077">
                  <a:moveTo>
                    <a:pt x="435104" y="435077"/>
                  </a:moveTo>
                  <a:lnTo>
                    <a:pt x="435104" y="217566"/>
                  </a:lnTo>
                  <a:lnTo>
                    <a:pt x="435104" y="27"/>
                  </a:lnTo>
                  <a:lnTo>
                    <a:pt x="217565" y="27"/>
                  </a:lnTo>
                  <a:lnTo>
                    <a:pt x="435104" y="217566"/>
                  </a:lnTo>
                  <a:lnTo>
                    <a:pt x="217565" y="435077"/>
                  </a:lnTo>
                  <a:lnTo>
                    <a:pt x="435104" y="435077"/>
                  </a:lnTo>
                  <a:close/>
                  <a:moveTo>
                    <a:pt x="0" y="217539"/>
                  </a:moveTo>
                  <a:lnTo>
                    <a:pt x="0" y="0"/>
                  </a:lnTo>
                  <a:lnTo>
                    <a:pt x="217539" y="217539"/>
                  </a:lnTo>
                  <a:lnTo>
                    <a:pt x="0" y="217539"/>
                  </a:lnTo>
                  <a:close/>
                  <a:moveTo>
                    <a:pt x="27" y="435077"/>
                  </a:moveTo>
                  <a:lnTo>
                    <a:pt x="27" y="217566"/>
                  </a:lnTo>
                  <a:lnTo>
                    <a:pt x="217539" y="217566"/>
                  </a:lnTo>
                  <a:lnTo>
                    <a:pt x="27" y="435077"/>
                  </a:lnTo>
                  <a:close/>
                </a:path>
              </a:pathLst>
            </a:custGeom>
            <a:grpFill/>
            <a:ln w="27192" cap="flat">
              <a:noFill/>
              <a:prstDash val="solid"/>
              <a:miter/>
            </a:ln>
          </p:spPr>
          <p:txBody>
            <a:bodyPr rtlCol="0" anchor="ctr"/>
            <a:lstStyle/>
            <a:p>
              <a:endParaRPr lang="uk-UA" sz="900"/>
            </a:p>
          </p:txBody>
        </p:sp>
        <p:sp>
          <p:nvSpPr>
            <p:cNvPr id="865" name="Freeform: Shape 864">
              <a:extLst>
                <a:ext uri="{FF2B5EF4-FFF2-40B4-BE49-F238E27FC236}">
                  <a16:creationId xmlns:a16="http://schemas.microsoft.com/office/drawing/2014/main" id="{03E88FDA-10DC-F597-1F16-1BB335D31A36}"/>
                </a:ext>
              </a:extLst>
            </p:cNvPr>
            <p:cNvSpPr/>
            <p:nvPr/>
          </p:nvSpPr>
          <p:spPr>
            <a:xfrm>
              <a:off x="13888200" y="1154061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4" y="113039"/>
                    <a:pt x="371365" y="153827"/>
                  </a:cubicBezTo>
                  <a:cubicBezTo>
                    <a:pt x="330577" y="194642"/>
                    <a:pt x="275241" y="217539"/>
                    <a:pt x="217539" y="217539"/>
                  </a:cubicBezTo>
                  <a:cubicBezTo>
                    <a:pt x="159836" y="217539"/>
                    <a:pt x="104527" y="194642"/>
                    <a:pt x="63712" y="153827"/>
                  </a:cubicBezTo>
                  <a:close/>
                  <a:moveTo>
                    <a:pt x="63712" y="281277"/>
                  </a:moveTo>
                  <a:cubicBezTo>
                    <a:pt x="22924" y="322066"/>
                    <a:pt x="0" y="377402"/>
                    <a:pt x="0" y="435077"/>
                  </a:cubicBezTo>
                  <a:lnTo>
                    <a:pt x="217539" y="435077"/>
                  </a:lnTo>
                  <a:lnTo>
                    <a:pt x="435077" y="435077"/>
                  </a:lnTo>
                  <a:cubicBezTo>
                    <a:pt x="435077" y="377402"/>
                    <a:pt x="412154" y="322066"/>
                    <a:pt x="371365" y="281277"/>
                  </a:cubicBezTo>
                  <a:cubicBezTo>
                    <a:pt x="330577" y="240462"/>
                    <a:pt x="275241" y="217539"/>
                    <a:pt x="217539" y="217539"/>
                  </a:cubicBezTo>
                  <a:cubicBezTo>
                    <a:pt x="159836" y="217539"/>
                    <a:pt x="104527" y="240462"/>
                    <a:pt x="63712" y="281277"/>
                  </a:cubicBezTo>
                  <a:close/>
                </a:path>
              </a:pathLst>
            </a:custGeom>
            <a:grpFill/>
            <a:ln w="27192" cap="flat">
              <a:noFill/>
              <a:prstDash val="solid"/>
              <a:miter/>
            </a:ln>
          </p:spPr>
          <p:txBody>
            <a:bodyPr rtlCol="0" anchor="ctr"/>
            <a:lstStyle/>
            <a:p>
              <a:endParaRPr lang="uk-UA" sz="900"/>
            </a:p>
          </p:txBody>
        </p:sp>
        <p:sp>
          <p:nvSpPr>
            <p:cNvPr id="866" name="Freeform: Shape 865">
              <a:extLst>
                <a:ext uri="{FF2B5EF4-FFF2-40B4-BE49-F238E27FC236}">
                  <a16:creationId xmlns:a16="http://schemas.microsoft.com/office/drawing/2014/main" id="{CEE12E79-22B3-904B-55EC-AA4128182F22}"/>
                </a:ext>
              </a:extLst>
            </p:cNvPr>
            <p:cNvSpPr/>
            <p:nvPr/>
          </p:nvSpPr>
          <p:spPr>
            <a:xfrm>
              <a:off x="15628536" y="1154061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867" name="Freeform: Shape 866">
              <a:extLst>
                <a:ext uri="{FF2B5EF4-FFF2-40B4-BE49-F238E27FC236}">
                  <a16:creationId xmlns:a16="http://schemas.microsoft.com/office/drawing/2014/main" id="{3E5565CA-8A4C-641A-EE58-C66A3EAF18A3}"/>
                </a:ext>
              </a:extLst>
            </p:cNvPr>
            <p:cNvSpPr/>
            <p:nvPr/>
          </p:nvSpPr>
          <p:spPr>
            <a:xfrm>
              <a:off x="16498719" y="1154064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0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0" y="217539"/>
                  </a:lnTo>
                  <a:lnTo>
                    <a:pt x="0" y="435050"/>
                  </a:lnTo>
                  <a:close/>
                </a:path>
              </a:pathLst>
            </a:custGeom>
            <a:grpFill/>
            <a:ln w="27192" cap="flat">
              <a:noFill/>
              <a:prstDash val="solid"/>
              <a:miter/>
            </a:ln>
          </p:spPr>
          <p:txBody>
            <a:bodyPr rtlCol="0" anchor="ctr"/>
            <a:lstStyle/>
            <a:p>
              <a:endParaRPr lang="uk-UA" sz="900"/>
            </a:p>
          </p:txBody>
        </p:sp>
        <p:sp>
          <p:nvSpPr>
            <p:cNvPr id="868" name="Freeform: Shape 867">
              <a:extLst>
                <a:ext uri="{FF2B5EF4-FFF2-40B4-BE49-F238E27FC236}">
                  <a16:creationId xmlns:a16="http://schemas.microsoft.com/office/drawing/2014/main" id="{343F0508-0CC9-5A1B-AC97-2D261884A003}"/>
                </a:ext>
              </a:extLst>
            </p:cNvPr>
            <p:cNvSpPr/>
            <p:nvPr/>
          </p:nvSpPr>
          <p:spPr>
            <a:xfrm>
              <a:off x="18239029" y="1154061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0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10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0" y="217539"/>
                  </a:lnTo>
                  <a:lnTo>
                    <a:pt x="0" y="217539"/>
                  </a:lnTo>
                  <a:close/>
                  <a:moveTo>
                    <a:pt x="0" y="435077"/>
                  </a:moveTo>
                  <a:lnTo>
                    <a:pt x="0" y="217566"/>
                  </a:lnTo>
                  <a:lnTo>
                    <a:pt x="217510" y="217566"/>
                  </a:lnTo>
                  <a:lnTo>
                    <a:pt x="0" y="435077"/>
                  </a:lnTo>
                  <a:close/>
                </a:path>
              </a:pathLst>
            </a:custGeom>
            <a:grpFill/>
            <a:ln w="27192" cap="flat">
              <a:noFill/>
              <a:prstDash val="solid"/>
              <a:miter/>
            </a:ln>
          </p:spPr>
          <p:txBody>
            <a:bodyPr rtlCol="0" anchor="ctr"/>
            <a:lstStyle/>
            <a:p>
              <a:endParaRPr lang="uk-UA" sz="900"/>
            </a:p>
          </p:txBody>
        </p:sp>
        <p:sp>
          <p:nvSpPr>
            <p:cNvPr id="869" name="Freeform: Shape 868">
              <a:extLst>
                <a:ext uri="{FF2B5EF4-FFF2-40B4-BE49-F238E27FC236}">
                  <a16:creationId xmlns:a16="http://schemas.microsoft.com/office/drawing/2014/main" id="{277E04C8-E1F7-47C8-FB1D-16F8961D191B}"/>
                </a:ext>
              </a:extLst>
            </p:cNvPr>
            <p:cNvSpPr/>
            <p:nvPr/>
          </p:nvSpPr>
          <p:spPr>
            <a:xfrm>
              <a:off x="17368874" y="11540612"/>
              <a:ext cx="435077" cy="435077"/>
            </a:xfrm>
            <a:custGeom>
              <a:avLst/>
              <a:gdLst>
                <a:gd name="connsiteX0" fmla="*/ 63710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0 w 435077"/>
                <a:gd name="connsiteY6" fmla="*/ 153827 h 435077"/>
                <a:gd name="connsiteX7" fmla="*/ 63710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77 h 435077"/>
                <a:gd name="connsiteX12" fmla="*/ 217539 w 435077"/>
                <a:gd name="connsiteY12" fmla="*/ 217539 h 435077"/>
                <a:gd name="connsiteX13" fmla="*/ 63710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7"/>
                  </a:moveTo>
                  <a:cubicBezTo>
                    <a:pt x="22895" y="113039"/>
                    <a:pt x="0" y="57702"/>
                    <a:pt x="0" y="0"/>
                  </a:cubicBezTo>
                  <a:lnTo>
                    <a:pt x="217539" y="0"/>
                  </a:lnTo>
                  <a:lnTo>
                    <a:pt x="435077" y="0"/>
                  </a:lnTo>
                  <a:cubicBezTo>
                    <a:pt x="435077" y="57702"/>
                    <a:pt x="412154" y="113039"/>
                    <a:pt x="371339" y="153827"/>
                  </a:cubicBezTo>
                  <a:cubicBezTo>
                    <a:pt x="330550" y="194642"/>
                    <a:pt x="275213" y="217539"/>
                    <a:pt x="217539" y="217539"/>
                  </a:cubicBezTo>
                  <a:cubicBezTo>
                    <a:pt x="159836" y="217539"/>
                    <a:pt x="104499" y="194642"/>
                    <a:pt x="63710" y="153827"/>
                  </a:cubicBezTo>
                  <a:close/>
                  <a:moveTo>
                    <a:pt x="63710" y="281277"/>
                  </a:moveTo>
                  <a:cubicBezTo>
                    <a:pt x="22895" y="322066"/>
                    <a:pt x="0" y="377402"/>
                    <a:pt x="0" y="435077"/>
                  </a:cubicBezTo>
                  <a:lnTo>
                    <a:pt x="217539" y="435077"/>
                  </a:lnTo>
                  <a:lnTo>
                    <a:pt x="435077" y="435077"/>
                  </a:lnTo>
                  <a:cubicBezTo>
                    <a:pt x="435077" y="377402"/>
                    <a:pt x="412154" y="322066"/>
                    <a:pt x="371339" y="281277"/>
                  </a:cubicBezTo>
                  <a:cubicBezTo>
                    <a:pt x="330550" y="240462"/>
                    <a:pt x="275213" y="217539"/>
                    <a:pt x="217539" y="217539"/>
                  </a:cubicBezTo>
                  <a:cubicBezTo>
                    <a:pt x="159836" y="217539"/>
                    <a:pt x="104499" y="240462"/>
                    <a:pt x="63710" y="281277"/>
                  </a:cubicBezTo>
                  <a:close/>
                </a:path>
              </a:pathLst>
            </a:custGeom>
            <a:grpFill/>
            <a:ln w="27192" cap="flat">
              <a:noFill/>
              <a:prstDash val="solid"/>
              <a:miter/>
            </a:ln>
          </p:spPr>
          <p:txBody>
            <a:bodyPr rtlCol="0" anchor="ctr"/>
            <a:lstStyle/>
            <a:p>
              <a:endParaRPr lang="uk-UA" sz="900"/>
            </a:p>
          </p:txBody>
        </p:sp>
        <p:sp>
          <p:nvSpPr>
            <p:cNvPr id="870" name="Freeform: Shape 869">
              <a:extLst>
                <a:ext uri="{FF2B5EF4-FFF2-40B4-BE49-F238E27FC236}">
                  <a16:creationId xmlns:a16="http://schemas.microsoft.com/office/drawing/2014/main" id="{A26681AA-DBE8-3502-D4D5-DD2DCCC6EF27}"/>
                </a:ext>
              </a:extLst>
            </p:cNvPr>
            <p:cNvSpPr/>
            <p:nvPr/>
          </p:nvSpPr>
          <p:spPr>
            <a:xfrm>
              <a:off x="19109184" y="1154061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871" name="Freeform: Shape 870">
              <a:extLst>
                <a:ext uri="{FF2B5EF4-FFF2-40B4-BE49-F238E27FC236}">
                  <a16:creationId xmlns:a16="http://schemas.microsoft.com/office/drawing/2014/main" id="{A8AB8852-F172-81E0-18FD-24898922F54C}"/>
                </a:ext>
              </a:extLst>
            </p:cNvPr>
            <p:cNvSpPr/>
            <p:nvPr/>
          </p:nvSpPr>
          <p:spPr>
            <a:xfrm>
              <a:off x="19979365" y="11540612"/>
              <a:ext cx="435077" cy="435077"/>
            </a:xfrm>
            <a:custGeom>
              <a:avLst/>
              <a:gdLst>
                <a:gd name="connsiteX0" fmla="*/ 435077 w 435077"/>
                <a:gd name="connsiteY0" fmla="*/ 435077 h 435077"/>
                <a:gd name="connsiteX1" fmla="*/ 435077 w 435077"/>
                <a:gd name="connsiteY1" fmla="*/ 0 h 435077"/>
                <a:gd name="connsiteX2" fmla="*/ 217539 w 435077"/>
                <a:gd name="connsiteY2" fmla="*/ 217566 h 435077"/>
                <a:gd name="connsiteX3" fmla="*/ 435077 w 435077"/>
                <a:gd name="connsiteY3" fmla="*/ 435077 h 435077"/>
                <a:gd name="connsiteX4" fmla="*/ 0 w 435077"/>
                <a:gd name="connsiteY4" fmla="*/ 435077 h 435077"/>
                <a:gd name="connsiteX5" fmla="*/ 0 w 435077"/>
                <a:gd name="connsiteY5" fmla="*/ 0 h 435077"/>
                <a:gd name="connsiteX6" fmla="*/ 217512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66"/>
                  </a:lnTo>
                  <a:lnTo>
                    <a:pt x="435077" y="435077"/>
                  </a:lnTo>
                  <a:close/>
                  <a:moveTo>
                    <a:pt x="0" y="435077"/>
                  </a:moveTo>
                  <a:lnTo>
                    <a:pt x="0" y="0"/>
                  </a:lnTo>
                  <a:lnTo>
                    <a:pt x="217512" y="217566"/>
                  </a:lnTo>
                  <a:lnTo>
                    <a:pt x="0" y="435077"/>
                  </a:lnTo>
                  <a:close/>
                </a:path>
              </a:pathLst>
            </a:custGeom>
            <a:grpFill/>
            <a:ln w="27192" cap="flat">
              <a:noFill/>
              <a:prstDash val="solid"/>
              <a:miter/>
            </a:ln>
          </p:spPr>
          <p:txBody>
            <a:bodyPr rtlCol="0" anchor="ctr"/>
            <a:lstStyle/>
            <a:p>
              <a:endParaRPr lang="uk-UA" sz="900"/>
            </a:p>
          </p:txBody>
        </p:sp>
        <p:sp>
          <p:nvSpPr>
            <p:cNvPr id="872" name="Freeform: Shape 871">
              <a:extLst>
                <a:ext uri="{FF2B5EF4-FFF2-40B4-BE49-F238E27FC236}">
                  <a16:creationId xmlns:a16="http://schemas.microsoft.com/office/drawing/2014/main" id="{27F3C37E-6D5B-8AFE-B231-6CC490CF5506}"/>
                </a:ext>
              </a:extLst>
            </p:cNvPr>
            <p:cNvSpPr/>
            <p:nvPr/>
          </p:nvSpPr>
          <p:spPr>
            <a:xfrm>
              <a:off x="21719675" y="1154061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5 w 435077"/>
                <a:gd name="connsiteY3" fmla="*/ 27 h 435077"/>
                <a:gd name="connsiteX4" fmla="*/ 435077 w 435077"/>
                <a:gd name="connsiteY4" fmla="*/ 217566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5" y="27"/>
                  </a:lnTo>
                  <a:lnTo>
                    <a:pt x="435077" y="217566"/>
                  </a:lnTo>
                  <a:lnTo>
                    <a:pt x="217565"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873" name="Freeform: Shape 872">
              <a:extLst>
                <a:ext uri="{FF2B5EF4-FFF2-40B4-BE49-F238E27FC236}">
                  <a16:creationId xmlns:a16="http://schemas.microsoft.com/office/drawing/2014/main" id="{F3462D6A-C8E6-EA95-884C-19E0A3E4CA0F}"/>
                </a:ext>
              </a:extLst>
            </p:cNvPr>
            <p:cNvSpPr/>
            <p:nvPr/>
          </p:nvSpPr>
          <p:spPr>
            <a:xfrm>
              <a:off x="20849520" y="1154061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4" y="113039"/>
                    <a:pt x="371365" y="153827"/>
                  </a:cubicBezTo>
                  <a:cubicBezTo>
                    <a:pt x="330577" y="194642"/>
                    <a:pt x="275241" y="217539"/>
                    <a:pt x="217539" y="217539"/>
                  </a:cubicBezTo>
                  <a:cubicBezTo>
                    <a:pt x="159836"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4" y="322066"/>
                    <a:pt x="371365" y="281277"/>
                  </a:cubicBezTo>
                  <a:cubicBezTo>
                    <a:pt x="330577" y="240462"/>
                    <a:pt x="275241" y="217539"/>
                    <a:pt x="217539" y="217539"/>
                  </a:cubicBezTo>
                  <a:cubicBezTo>
                    <a:pt x="159836" y="217539"/>
                    <a:pt x="104501" y="240462"/>
                    <a:pt x="63712" y="281277"/>
                  </a:cubicBezTo>
                  <a:close/>
                </a:path>
              </a:pathLst>
            </a:custGeom>
            <a:grpFill/>
            <a:ln w="27192" cap="flat">
              <a:noFill/>
              <a:prstDash val="solid"/>
              <a:miter/>
            </a:ln>
          </p:spPr>
          <p:txBody>
            <a:bodyPr rtlCol="0" anchor="ctr"/>
            <a:lstStyle/>
            <a:p>
              <a:endParaRPr lang="uk-UA" sz="900"/>
            </a:p>
          </p:txBody>
        </p:sp>
        <p:sp>
          <p:nvSpPr>
            <p:cNvPr id="874" name="Freeform: Shape 873">
              <a:extLst>
                <a:ext uri="{FF2B5EF4-FFF2-40B4-BE49-F238E27FC236}">
                  <a16:creationId xmlns:a16="http://schemas.microsoft.com/office/drawing/2014/main" id="{CBF52EBE-E692-1135-E68F-CC921828ABB7}"/>
                </a:ext>
              </a:extLst>
            </p:cNvPr>
            <p:cNvSpPr/>
            <p:nvPr/>
          </p:nvSpPr>
          <p:spPr>
            <a:xfrm>
              <a:off x="22589856" y="1154061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875" name="Freeform: Shape 874">
              <a:extLst>
                <a:ext uri="{FF2B5EF4-FFF2-40B4-BE49-F238E27FC236}">
                  <a16:creationId xmlns:a16="http://schemas.microsoft.com/office/drawing/2014/main" id="{376B18C8-378B-A4AF-3535-8F6B557F9A28}"/>
                </a:ext>
              </a:extLst>
            </p:cNvPr>
            <p:cNvSpPr/>
            <p:nvPr/>
          </p:nvSpPr>
          <p:spPr>
            <a:xfrm>
              <a:off x="23460011" y="11540612"/>
              <a:ext cx="435077" cy="435077"/>
            </a:xfrm>
            <a:custGeom>
              <a:avLst/>
              <a:gdLst>
                <a:gd name="connsiteX0" fmla="*/ 435077 w 435077"/>
                <a:gd name="connsiteY0" fmla="*/ 435077 h 435077"/>
                <a:gd name="connsiteX1" fmla="*/ 435077 w 435077"/>
                <a:gd name="connsiteY1" fmla="*/ 0 h 435077"/>
                <a:gd name="connsiteX2" fmla="*/ 217567 w 435077"/>
                <a:gd name="connsiteY2" fmla="*/ 217566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7" y="217566"/>
                  </a:lnTo>
                  <a:lnTo>
                    <a:pt x="435077" y="435077"/>
                  </a:lnTo>
                  <a:close/>
                  <a:moveTo>
                    <a:pt x="0" y="435077"/>
                  </a:moveTo>
                  <a:lnTo>
                    <a:pt x="0" y="0"/>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876" name="Freeform: Shape 875">
              <a:extLst>
                <a:ext uri="{FF2B5EF4-FFF2-40B4-BE49-F238E27FC236}">
                  <a16:creationId xmlns:a16="http://schemas.microsoft.com/office/drawing/2014/main" id="{F09783C2-B880-EC6B-B37C-0F7C52FEAFF2}"/>
                </a:ext>
              </a:extLst>
            </p:cNvPr>
            <p:cNvSpPr/>
            <p:nvPr/>
          </p:nvSpPr>
          <p:spPr>
            <a:xfrm>
              <a:off x="24330194" y="1154061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447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447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235" y="113039"/>
                    <a:pt x="371447" y="153827"/>
                  </a:cubicBezTo>
                  <a:cubicBezTo>
                    <a:pt x="330658" y="194642"/>
                    <a:pt x="275186" y="217539"/>
                    <a:pt x="217539" y="217539"/>
                  </a:cubicBezTo>
                  <a:cubicBezTo>
                    <a:pt x="159836" y="217539"/>
                    <a:pt x="104501" y="194642"/>
                    <a:pt x="63712" y="153827"/>
                  </a:cubicBezTo>
                  <a:close/>
                  <a:moveTo>
                    <a:pt x="63712" y="281277"/>
                  </a:moveTo>
                  <a:cubicBezTo>
                    <a:pt x="22924" y="322066"/>
                    <a:pt x="0" y="377402"/>
                    <a:pt x="0" y="435077"/>
                  </a:cubicBezTo>
                  <a:lnTo>
                    <a:pt x="217539" y="435077"/>
                  </a:lnTo>
                  <a:lnTo>
                    <a:pt x="435077" y="435077"/>
                  </a:lnTo>
                  <a:cubicBezTo>
                    <a:pt x="435077" y="377402"/>
                    <a:pt x="412235" y="322066"/>
                    <a:pt x="371447" y="281277"/>
                  </a:cubicBezTo>
                  <a:cubicBezTo>
                    <a:pt x="330658" y="240462"/>
                    <a:pt x="275186" y="217539"/>
                    <a:pt x="217539" y="217539"/>
                  </a:cubicBezTo>
                  <a:cubicBezTo>
                    <a:pt x="159836" y="217539"/>
                    <a:pt x="104501" y="240462"/>
                    <a:pt x="63712" y="281277"/>
                  </a:cubicBezTo>
                  <a:close/>
                </a:path>
              </a:pathLst>
            </a:custGeom>
            <a:grpFill/>
            <a:ln w="27192" cap="flat">
              <a:noFill/>
              <a:prstDash val="solid"/>
              <a:miter/>
            </a:ln>
          </p:spPr>
          <p:txBody>
            <a:bodyPr rtlCol="0" anchor="ctr"/>
            <a:lstStyle/>
            <a:p>
              <a:endParaRPr lang="uk-UA" sz="900"/>
            </a:p>
          </p:txBody>
        </p:sp>
        <p:sp>
          <p:nvSpPr>
            <p:cNvPr id="877" name="Freeform: Shape 876">
              <a:extLst>
                <a:ext uri="{FF2B5EF4-FFF2-40B4-BE49-F238E27FC236}">
                  <a16:creationId xmlns:a16="http://schemas.microsoft.com/office/drawing/2014/main" id="{AA003055-B0F0-4700-1D39-1453B010FABA}"/>
                </a:ext>
              </a:extLst>
            </p:cNvPr>
            <p:cNvSpPr/>
            <p:nvPr/>
          </p:nvSpPr>
          <p:spPr>
            <a:xfrm>
              <a:off x="835742" y="12410767"/>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p>
          </p:txBody>
        </p:sp>
        <p:sp>
          <p:nvSpPr>
            <p:cNvPr id="878" name="Freeform: Shape 877">
              <a:extLst>
                <a:ext uri="{FF2B5EF4-FFF2-40B4-BE49-F238E27FC236}">
                  <a16:creationId xmlns:a16="http://schemas.microsoft.com/office/drawing/2014/main" id="{D3C8A159-22AD-DDE1-9F76-2E0E62609B76}"/>
                </a:ext>
              </a:extLst>
            </p:cNvPr>
            <p:cNvSpPr/>
            <p:nvPr/>
          </p:nvSpPr>
          <p:spPr>
            <a:xfrm>
              <a:off x="-34409" y="12410767"/>
              <a:ext cx="435074" cy="435104"/>
            </a:xfrm>
            <a:custGeom>
              <a:avLst/>
              <a:gdLst>
                <a:gd name="connsiteX0" fmla="*/ 0 w 435074"/>
                <a:gd name="connsiteY0" fmla="*/ 435077 h 435104"/>
                <a:gd name="connsiteX1" fmla="*/ 217536 w 435074"/>
                <a:gd name="connsiteY1" fmla="*/ 435077 h 435104"/>
                <a:gd name="connsiteX2" fmla="*/ 217536 w 435074"/>
                <a:gd name="connsiteY2" fmla="*/ 217566 h 435104"/>
                <a:gd name="connsiteX3" fmla="*/ 0 w 435074"/>
                <a:gd name="connsiteY3" fmla="*/ 435077 h 435104"/>
                <a:gd name="connsiteX4" fmla="*/ 217536 w 435074"/>
                <a:gd name="connsiteY4" fmla="*/ 0 h 435104"/>
                <a:gd name="connsiteX5" fmla="*/ 3 w 435074"/>
                <a:gd name="connsiteY5" fmla="*/ 0 h 435104"/>
                <a:gd name="connsiteX6" fmla="*/ 217536 w 435074"/>
                <a:gd name="connsiteY6" fmla="*/ 217539 h 435104"/>
                <a:gd name="connsiteX7" fmla="*/ 217536 w 435074"/>
                <a:gd name="connsiteY7" fmla="*/ 0 h 435104"/>
                <a:gd name="connsiteX8" fmla="*/ 435075 w 435074"/>
                <a:gd name="connsiteY8" fmla="*/ 435105 h 435104"/>
                <a:gd name="connsiteX9" fmla="*/ 217536 w 435074"/>
                <a:gd name="connsiteY9" fmla="*/ 435105 h 435104"/>
                <a:gd name="connsiteX10" fmla="*/ 435075 w 435074"/>
                <a:gd name="connsiteY10" fmla="*/ 217566 h 435104"/>
                <a:gd name="connsiteX11" fmla="*/ 435075 w 435074"/>
                <a:gd name="connsiteY11" fmla="*/ 435105 h 435104"/>
                <a:gd name="connsiteX12" fmla="*/ 435075 w 435074"/>
                <a:gd name="connsiteY12" fmla="*/ 27 h 435104"/>
                <a:gd name="connsiteX13" fmla="*/ 217536 w 435074"/>
                <a:gd name="connsiteY13" fmla="*/ 27 h 435104"/>
                <a:gd name="connsiteX14" fmla="*/ 435075 w 435074"/>
                <a:gd name="connsiteY14" fmla="*/ 217539 h 435104"/>
                <a:gd name="connsiteX15" fmla="*/ 435075 w 435074"/>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4" h="435104">
                  <a:moveTo>
                    <a:pt x="0" y="435077"/>
                  </a:moveTo>
                  <a:lnTo>
                    <a:pt x="217536" y="435077"/>
                  </a:lnTo>
                  <a:lnTo>
                    <a:pt x="217536" y="217566"/>
                  </a:lnTo>
                  <a:lnTo>
                    <a:pt x="0" y="435077"/>
                  </a:lnTo>
                  <a:close/>
                  <a:moveTo>
                    <a:pt x="217536" y="0"/>
                  </a:moveTo>
                  <a:lnTo>
                    <a:pt x="3" y="0"/>
                  </a:lnTo>
                  <a:lnTo>
                    <a:pt x="217536" y="217539"/>
                  </a:lnTo>
                  <a:lnTo>
                    <a:pt x="217536" y="0"/>
                  </a:lnTo>
                  <a:close/>
                  <a:moveTo>
                    <a:pt x="435075" y="435105"/>
                  </a:moveTo>
                  <a:lnTo>
                    <a:pt x="217536" y="435105"/>
                  </a:lnTo>
                  <a:lnTo>
                    <a:pt x="435075" y="217566"/>
                  </a:lnTo>
                  <a:lnTo>
                    <a:pt x="435075" y="435105"/>
                  </a:lnTo>
                  <a:close/>
                  <a:moveTo>
                    <a:pt x="435075" y="27"/>
                  </a:moveTo>
                  <a:lnTo>
                    <a:pt x="217536" y="27"/>
                  </a:lnTo>
                  <a:lnTo>
                    <a:pt x="435075" y="217539"/>
                  </a:lnTo>
                  <a:lnTo>
                    <a:pt x="435075" y="27"/>
                  </a:lnTo>
                  <a:close/>
                </a:path>
              </a:pathLst>
            </a:custGeom>
            <a:grpFill/>
            <a:ln w="27192" cap="flat">
              <a:noFill/>
              <a:prstDash val="solid"/>
              <a:miter/>
            </a:ln>
          </p:spPr>
          <p:txBody>
            <a:bodyPr rtlCol="0" anchor="ctr"/>
            <a:lstStyle/>
            <a:p>
              <a:endParaRPr lang="uk-UA" sz="900"/>
            </a:p>
          </p:txBody>
        </p:sp>
        <p:sp>
          <p:nvSpPr>
            <p:cNvPr id="879" name="Freeform: Shape 878">
              <a:extLst>
                <a:ext uri="{FF2B5EF4-FFF2-40B4-BE49-F238E27FC236}">
                  <a16:creationId xmlns:a16="http://schemas.microsoft.com/office/drawing/2014/main" id="{8F3739C8-2357-07DF-C04B-EB3F73DA7FB7}"/>
                </a:ext>
              </a:extLst>
            </p:cNvPr>
            <p:cNvSpPr/>
            <p:nvPr/>
          </p:nvSpPr>
          <p:spPr>
            <a:xfrm>
              <a:off x="1705924" y="12410767"/>
              <a:ext cx="435077" cy="435077"/>
            </a:xfrm>
            <a:custGeom>
              <a:avLst/>
              <a:gdLst>
                <a:gd name="connsiteX0" fmla="*/ 371366 w 435077"/>
                <a:gd name="connsiteY0" fmla="*/ 63739 h 435077"/>
                <a:gd name="connsiteX1" fmla="*/ 435077 w 435077"/>
                <a:gd name="connsiteY1" fmla="*/ 217539 h 435077"/>
                <a:gd name="connsiteX2" fmla="*/ 217702 w 435077"/>
                <a:gd name="connsiteY2" fmla="*/ 217539 h 435077"/>
                <a:gd name="connsiteX3" fmla="*/ 371366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1 w 435077"/>
                <a:gd name="connsiteY7" fmla="*/ 281277 h 435077"/>
                <a:gd name="connsiteX8" fmla="*/ 217375 w 435077"/>
                <a:gd name="connsiteY8" fmla="*/ 217539 h 435077"/>
                <a:gd name="connsiteX9" fmla="*/ 0 w 435077"/>
                <a:gd name="connsiteY9" fmla="*/ 217539 h 435077"/>
                <a:gd name="connsiteX10" fmla="*/ 63711 w 435077"/>
                <a:gd name="connsiteY10" fmla="*/ 63739 h 435077"/>
                <a:gd name="connsiteX11" fmla="*/ 217539 w 435077"/>
                <a:gd name="connsiteY11" fmla="*/ 0 h 435077"/>
                <a:gd name="connsiteX12" fmla="*/ 371366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39"/>
                  </a:moveTo>
                  <a:cubicBezTo>
                    <a:pt x="412154" y="104527"/>
                    <a:pt x="435077" y="159864"/>
                    <a:pt x="435077" y="217539"/>
                  </a:cubicBezTo>
                  <a:lnTo>
                    <a:pt x="217702" y="217539"/>
                  </a:lnTo>
                  <a:cubicBezTo>
                    <a:pt x="275349" y="217593"/>
                    <a:pt x="330604" y="240516"/>
                    <a:pt x="371366" y="281277"/>
                  </a:cubicBezTo>
                  <a:cubicBezTo>
                    <a:pt x="412154" y="322066"/>
                    <a:pt x="435077" y="377402"/>
                    <a:pt x="435077" y="435077"/>
                  </a:cubicBezTo>
                  <a:lnTo>
                    <a:pt x="217539" y="435077"/>
                  </a:lnTo>
                  <a:lnTo>
                    <a:pt x="0" y="435077"/>
                  </a:lnTo>
                  <a:cubicBezTo>
                    <a:pt x="0" y="377402"/>
                    <a:pt x="22923" y="322066"/>
                    <a:pt x="63711" y="281277"/>
                  </a:cubicBezTo>
                  <a:cubicBezTo>
                    <a:pt x="104473" y="240516"/>
                    <a:pt x="159728" y="217593"/>
                    <a:pt x="217375" y="217539"/>
                  </a:cubicBezTo>
                  <a:lnTo>
                    <a:pt x="0" y="217539"/>
                  </a:lnTo>
                  <a:cubicBezTo>
                    <a:pt x="0" y="159864"/>
                    <a:pt x="22923" y="104527"/>
                    <a:pt x="63711" y="63739"/>
                  </a:cubicBezTo>
                  <a:cubicBezTo>
                    <a:pt x="104500" y="22923"/>
                    <a:pt x="159836" y="0"/>
                    <a:pt x="217539" y="0"/>
                  </a:cubicBezTo>
                  <a:cubicBezTo>
                    <a:pt x="275213" y="0"/>
                    <a:pt x="330550" y="22923"/>
                    <a:pt x="371366" y="63739"/>
                  </a:cubicBezTo>
                  <a:close/>
                </a:path>
              </a:pathLst>
            </a:custGeom>
            <a:grpFill/>
            <a:ln w="27192" cap="flat">
              <a:noFill/>
              <a:prstDash val="solid"/>
              <a:miter/>
            </a:ln>
          </p:spPr>
          <p:txBody>
            <a:bodyPr rtlCol="0" anchor="ctr"/>
            <a:lstStyle/>
            <a:p>
              <a:endParaRPr lang="uk-UA" sz="900"/>
            </a:p>
          </p:txBody>
        </p:sp>
        <p:sp>
          <p:nvSpPr>
            <p:cNvPr id="880" name="Freeform: Shape 879">
              <a:extLst>
                <a:ext uri="{FF2B5EF4-FFF2-40B4-BE49-F238E27FC236}">
                  <a16:creationId xmlns:a16="http://schemas.microsoft.com/office/drawing/2014/main" id="{CDB618F7-9B89-2584-BB6A-73F3D7806CA0}"/>
                </a:ext>
              </a:extLst>
            </p:cNvPr>
            <p:cNvSpPr/>
            <p:nvPr/>
          </p:nvSpPr>
          <p:spPr>
            <a:xfrm>
              <a:off x="2576079" y="12410767"/>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881" name="Freeform: Shape 880">
              <a:extLst>
                <a:ext uri="{FF2B5EF4-FFF2-40B4-BE49-F238E27FC236}">
                  <a16:creationId xmlns:a16="http://schemas.microsoft.com/office/drawing/2014/main" id="{3A8627F1-46C1-9E2F-45E4-5215F97A438B}"/>
                </a:ext>
              </a:extLst>
            </p:cNvPr>
            <p:cNvSpPr/>
            <p:nvPr/>
          </p:nvSpPr>
          <p:spPr>
            <a:xfrm>
              <a:off x="4316416" y="12410767"/>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882" name="Freeform: Shape 881">
              <a:extLst>
                <a:ext uri="{FF2B5EF4-FFF2-40B4-BE49-F238E27FC236}">
                  <a16:creationId xmlns:a16="http://schemas.microsoft.com/office/drawing/2014/main" id="{6401F82D-9D09-0115-CA9A-0FC2D2A254C2}"/>
                </a:ext>
              </a:extLst>
            </p:cNvPr>
            <p:cNvSpPr/>
            <p:nvPr/>
          </p:nvSpPr>
          <p:spPr>
            <a:xfrm>
              <a:off x="3446261" y="12410767"/>
              <a:ext cx="435077" cy="435104"/>
            </a:xfrm>
            <a:custGeom>
              <a:avLst/>
              <a:gdLst>
                <a:gd name="connsiteX0" fmla="*/ 0 w 435077"/>
                <a:gd name="connsiteY0" fmla="*/ 435077 h 435104"/>
                <a:gd name="connsiteX1" fmla="*/ 217512 w 435077"/>
                <a:gd name="connsiteY1" fmla="*/ 435077 h 435104"/>
                <a:gd name="connsiteX2" fmla="*/ 217512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12" y="435077"/>
                  </a:lnTo>
                  <a:lnTo>
                    <a:pt x="217512"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883" name="Freeform: Shape 882">
              <a:extLst>
                <a:ext uri="{FF2B5EF4-FFF2-40B4-BE49-F238E27FC236}">
                  <a16:creationId xmlns:a16="http://schemas.microsoft.com/office/drawing/2014/main" id="{89F5217B-EBCD-BE14-3414-5C37BC58D33C}"/>
                </a:ext>
              </a:extLst>
            </p:cNvPr>
            <p:cNvSpPr/>
            <p:nvPr/>
          </p:nvSpPr>
          <p:spPr>
            <a:xfrm>
              <a:off x="5186571" y="12410767"/>
              <a:ext cx="435103" cy="435077"/>
            </a:xfrm>
            <a:custGeom>
              <a:avLst/>
              <a:gdLst>
                <a:gd name="connsiteX0" fmla="*/ 371365 w 435103"/>
                <a:gd name="connsiteY0" fmla="*/ 63739 h 435077"/>
                <a:gd name="connsiteX1" fmla="*/ 435077 w 435103"/>
                <a:gd name="connsiteY1" fmla="*/ 217539 h 435077"/>
                <a:gd name="connsiteX2" fmla="*/ 217729 w 435103"/>
                <a:gd name="connsiteY2" fmla="*/ 217539 h 435077"/>
                <a:gd name="connsiteX3" fmla="*/ 371365 w 435103"/>
                <a:gd name="connsiteY3" fmla="*/ 281277 h 435077"/>
                <a:gd name="connsiteX4" fmla="*/ 435104 w 435103"/>
                <a:gd name="connsiteY4" fmla="*/ 435077 h 435077"/>
                <a:gd name="connsiteX5" fmla="*/ 217565 w 435103"/>
                <a:gd name="connsiteY5" fmla="*/ 435077 h 435077"/>
                <a:gd name="connsiteX6" fmla="*/ 27 w 435103"/>
                <a:gd name="connsiteY6" fmla="*/ 435077 h 435077"/>
                <a:gd name="connsiteX7" fmla="*/ 63739 w 435103"/>
                <a:gd name="connsiteY7" fmla="*/ 281277 h 435077"/>
                <a:gd name="connsiteX8" fmla="*/ 217375 w 435103"/>
                <a:gd name="connsiteY8" fmla="*/ 217539 h 435077"/>
                <a:gd name="connsiteX9" fmla="*/ 0 w 435103"/>
                <a:gd name="connsiteY9" fmla="*/ 217539 h 435077"/>
                <a:gd name="connsiteX10" fmla="*/ 63739 w 435103"/>
                <a:gd name="connsiteY10" fmla="*/ 63739 h 435077"/>
                <a:gd name="connsiteX11" fmla="*/ 217539 w 435103"/>
                <a:gd name="connsiteY11" fmla="*/ 0 h 435077"/>
                <a:gd name="connsiteX12" fmla="*/ 371365 w 435103"/>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3" h="435077">
                  <a:moveTo>
                    <a:pt x="371365" y="63739"/>
                  </a:moveTo>
                  <a:cubicBezTo>
                    <a:pt x="412181" y="104527"/>
                    <a:pt x="435077" y="159864"/>
                    <a:pt x="435077" y="217539"/>
                  </a:cubicBezTo>
                  <a:lnTo>
                    <a:pt x="217729" y="217539"/>
                  </a:lnTo>
                  <a:cubicBezTo>
                    <a:pt x="275349" y="217593"/>
                    <a:pt x="330632" y="240516"/>
                    <a:pt x="371365" y="281277"/>
                  </a:cubicBezTo>
                  <a:cubicBezTo>
                    <a:pt x="412181" y="322066"/>
                    <a:pt x="435104" y="377402"/>
                    <a:pt x="435104" y="435077"/>
                  </a:cubicBezTo>
                  <a:lnTo>
                    <a:pt x="217565" y="435077"/>
                  </a:lnTo>
                  <a:lnTo>
                    <a:pt x="27" y="435077"/>
                  </a:lnTo>
                  <a:cubicBezTo>
                    <a:pt x="27" y="377402"/>
                    <a:pt x="22923" y="322066"/>
                    <a:pt x="63739" y="281277"/>
                  </a:cubicBezTo>
                  <a:cubicBezTo>
                    <a:pt x="104500" y="240516"/>
                    <a:pt x="159755" y="217593"/>
                    <a:pt x="217375" y="217539"/>
                  </a:cubicBezTo>
                  <a:lnTo>
                    <a:pt x="0" y="217539"/>
                  </a:lnTo>
                  <a:cubicBezTo>
                    <a:pt x="0" y="159864"/>
                    <a:pt x="22923" y="104527"/>
                    <a:pt x="63739" y="63739"/>
                  </a:cubicBezTo>
                  <a:cubicBezTo>
                    <a:pt x="104527" y="22923"/>
                    <a:pt x="159864" y="0"/>
                    <a:pt x="217539" y="0"/>
                  </a:cubicBezTo>
                  <a:cubicBezTo>
                    <a:pt x="275240" y="0"/>
                    <a:pt x="330577" y="22923"/>
                    <a:pt x="371365" y="63739"/>
                  </a:cubicBezTo>
                  <a:close/>
                </a:path>
              </a:pathLst>
            </a:custGeom>
            <a:grpFill/>
            <a:ln w="27192" cap="flat">
              <a:noFill/>
              <a:prstDash val="solid"/>
              <a:miter/>
            </a:ln>
          </p:spPr>
          <p:txBody>
            <a:bodyPr rtlCol="0" anchor="ctr"/>
            <a:lstStyle/>
            <a:p>
              <a:endParaRPr lang="uk-UA" sz="900"/>
            </a:p>
          </p:txBody>
        </p:sp>
        <p:sp>
          <p:nvSpPr>
            <p:cNvPr id="884" name="Freeform: Shape 883">
              <a:extLst>
                <a:ext uri="{FF2B5EF4-FFF2-40B4-BE49-F238E27FC236}">
                  <a16:creationId xmlns:a16="http://schemas.microsoft.com/office/drawing/2014/main" id="{66FABDC6-DBA7-5735-9AB3-23BECFF64FF8}"/>
                </a:ext>
              </a:extLst>
            </p:cNvPr>
            <p:cNvSpPr/>
            <p:nvPr/>
          </p:nvSpPr>
          <p:spPr>
            <a:xfrm>
              <a:off x="6056725" y="12410767"/>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885" name="Freeform: Shape 884">
              <a:extLst>
                <a:ext uri="{FF2B5EF4-FFF2-40B4-BE49-F238E27FC236}">
                  <a16:creationId xmlns:a16="http://schemas.microsoft.com/office/drawing/2014/main" id="{6A84EA35-4709-7132-B0BA-66F1E472715B}"/>
                </a:ext>
              </a:extLst>
            </p:cNvPr>
            <p:cNvSpPr/>
            <p:nvPr/>
          </p:nvSpPr>
          <p:spPr>
            <a:xfrm>
              <a:off x="7797062" y="12410767"/>
              <a:ext cx="435077" cy="435077"/>
            </a:xfrm>
            <a:custGeom>
              <a:avLst/>
              <a:gdLst>
                <a:gd name="connsiteX0" fmla="*/ 217539 w 435077"/>
                <a:gd name="connsiteY0" fmla="*/ 0 h 435077"/>
                <a:gd name="connsiteX1" fmla="*/ 217539 w 435077"/>
                <a:gd name="connsiteY1" fmla="*/ 0 h 435077"/>
                <a:gd name="connsiteX2" fmla="*/ 0 w 435077"/>
                <a:gd name="connsiteY2" fmla="*/ 0 h 435077"/>
                <a:gd name="connsiteX3" fmla="*/ 0 w 435077"/>
                <a:gd name="connsiteY3" fmla="*/ 217539 h 435077"/>
                <a:gd name="connsiteX4" fmla="*/ 217539 w 435077"/>
                <a:gd name="connsiteY4" fmla="*/ 27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217539" y="0"/>
                  </a:lnTo>
                  <a:lnTo>
                    <a:pt x="0" y="0"/>
                  </a:lnTo>
                  <a:lnTo>
                    <a:pt x="0" y="217539"/>
                  </a:lnTo>
                  <a:lnTo>
                    <a:pt x="217539" y="27"/>
                  </a:lnTo>
                  <a:lnTo>
                    <a:pt x="435077" y="217539"/>
                  </a:lnTo>
                  <a:lnTo>
                    <a:pt x="217539" y="435077"/>
                  </a:lnTo>
                  <a:lnTo>
                    <a:pt x="0" y="217539"/>
                  </a:lnTo>
                  <a:lnTo>
                    <a:pt x="0" y="435077"/>
                  </a:lnTo>
                  <a:lnTo>
                    <a:pt x="217539" y="435077"/>
                  </a:lnTo>
                  <a:lnTo>
                    <a:pt x="435077" y="435077"/>
                  </a:lnTo>
                  <a:lnTo>
                    <a:pt x="435077" y="217539"/>
                  </a:lnTo>
                  <a:lnTo>
                    <a:pt x="435077" y="0"/>
                  </a:lnTo>
                  <a:lnTo>
                    <a:pt x="217539" y="0"/>
                  </a:lnTo>
                  <a:close/>
                </a:path>
              </a:pathLst>
            </a:custGeom>
            <a:grpFill/>
            <a:ln w="27192" cap="flat">
              <a:noFill/>
              <a:prstDash val="solid"/>
              <a:miter/>
            </a:ln>
          </p:spPr>
          <p:txBody>
            <a:bodyPr rtlCol="0" anchor="ctr"/>
            <a:lstStyle/>
            <a:p>
              <a:endParaRPr lang="uk-UA" sz="900"/>
            </a:p>
          </p:txBody>
        </p:sp>
        <p:sp>
          <p:nvSpPr>
            <p:cNvPr id="886" name="Freeform: Shape 885">
              <a:extLst>
                <a:ext uri="{FF2B5EF4-FFF2-40B4-BE49-F238E27FC236}">
                  <a16:creationId xmlns:a16="http://schemas.microsoft.com/office/drawing/2014/main" id="{75940753-3F75-4AD8-B598-451CA5DC6BA4}"/>
                </a:ext>
              </a:extLst>
            </p:cNvPr>
            <p:cNvSpPr/>
            <p:nvPr/>
          </p:nvSpPr>
          <p:spPr>
            <a:xfrm>
              <a:off x="6926907" y="12410767"/>
              <a:ext cx="435077" cy="435104"/>
            </a:xfrm>
            <a:custGeom>
              <a:avLst/>
              <a:gdLst>
                <a:gd name="connsiteX0" fmla="*/ 0 w 435077"/>
                <a:gd name="connsiteY0" fmla="*/ 435077 h 435104"/>
                <a:gd name="connsiteX1" fmla="*/ 217512 w 435077"/>
                <a:gd name="connsiteY1" fmla="*/ 435077 h 435104"/>
                <a:gd name="connsiteX2" fmla="*/ 217512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12" y="435077"/>
                  </a:lnTo>
                  <a:lnTo>
                    <a:pt x="217512"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887" name="Freeform: Shape 886">
              <a:extLst>
                <a:ext uri="{FF2B5EF4-FFF2-40B4-BE49-F238E27FC236}">
                  <a16:creationId xmlns:a16="http://schemas.microsoft.com/office/drawing/2014/main" id="{BA64853E-4A7C-3E46-74FF-2DA1D4FF63DF}"/>
                </a:ext>
              </a:extLst>
            </p:cNvPr>
            <p:cNvSpPr/>
            <p:nvPr/>
          </p:nvSpPr>
          <p:spPr>
            <a:xfrm>
              <a:off x="8667217" y="12410767"/>
              <a:ext cx="435077" cy="435077"/>
            </a:xfrm>
            <a:custGeom>
              <a:avLst/>
              <a:gdLst>
                <a:gd name="connsiteX0" fmla="*/ 371366 w 435077"/>
                <a:gd name="connsiteY0" fmla="*/ 63739 h 435077"/>
                <a:gd name="connsiteX1" fmla="*/ 435077 w 435077"/>
                <a:gd name="connsiteY1" fmla="*/ 217539 h 435077"/>
                <a:gd name="connsiteX2" fmla="*/ 217702 w 435077"/>
                <a:gd name="connsiteY2" fmla="*/ 217539 h 435077"/>
                <a:gd name="connsiteX3" fmla="*/ 371366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6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39"/>
                  </a:moveTo>
                  <a:cubicBezTo>
                    <a:pt x="412155" y="104527"/>
                    <a:pt x="435077" y="159864"/>
                    <a:pt x="435077" y="217539"/>
                  </a:cubicBezTo>
                  <a:lnTo>
                    <a:pt x="217702" y="217539"/>
                  </a:lnTo>
                  <a:cubicBezTo>
                    <a:pt x="275350" y="217593"/>
                    <a:pt x="330605" y="240516"/>
                    <a:pt x="371366" y="281277"/>
                  </a:cubicBezTo>
                  <a:cubicBezTo>
                    <a:pt x="412155" y="322066"/>
                    <a:pt x="435077" y="377402"/>
                    <a:pt x="435077" y="435077"/>
                  </a:cubicBezTo>
                  <a:lnTo>
                    <a:pt x="217539" y="435077"/>
                  </a:lnTo>
                  <a:lnTo>
                    <a:pt x="0" y="435077"/>
                  </a:lnTo>
                  <a:cubicBezTo>
                    <a:pt x="0" y="377402"/>
                    <a:pt x="22924" y="322066"/>
                    <a:pt x="63712" y="281277"/>
                  </a:cubicBezTo>
                  <a:cubicBezTo>
                    <a:pt x="104473" y="240516"/>
                    <a:pt x="159728" y="217593"/>
                    <a:pt x="217376" y="217539"/>
                  </a:cubicBezTo>
                  <a:lnTo>
                    <a:pt x="0" y="217539"/>
                  </a:lnTo>
                  <a:cubicBezTo>
                    <a:pt x="0" y="159864"/>
                    <a:pt x="22924" y="104527"/>
                    <a:pt x="63712" y="63739"/>
                  </a:cubicBezTo>
                  <a:cubicBezTo>
                    <a:pt x="104501" y="22923"/>
                    <a:pt x="159837" y="0"/>
                    <a:pt x="217539" y="0"/>
                  </a:cubicBezTo>
                  <a:cubicBezTo>
                    <a:pt x="275241" y="0"/>
                    <a:pt x="330550" y="22923"/>
                    <a:pt x="371366" y="63739"/>
                  </a:cubicBezTo>
                  <a:close/>
                </a:path>
              </a:pathLst>
            </a:custGeom>
            <a:grpFill/>
            <a:ln w="27192" cap="flat">
              <a:noFill/>
              <a:prstDash val="solid"/>
              <a:miter/>
            </a:ln>
          </p:spPr>
          <p:txBody>
            <a:bodyPr rtlCol="0" anchor="ctr"/>
            <a:lstStyle/>
            <a:p>
              <a:endParaRPr lang="uk-UA" sz="900"/>
            </a:p>
          </p:txBody>
        </p:sp>
        <p:sp>
          <p:nvSpPr>
            <p:cNvPr id="888" name="Freeform: Shape 887">
              <a:extLst>
                <a:ext uri="{FF2B5EF4-FFF2-40B4-BE49-F238E27FC236}">
                  <a16:creationId xmlns:a16="http://schemas.microsoft.com/office/drawing/2014/main" id="{0C6C7DDD-7264-657F-153C-34DDCE71C2FF}"/>
                </a:ext>
              </a:extLst>
            </p:cNvPr>
            <p:cNvSpPr/>
            <p:nvPr/>
          </p:nvSpPr>
          <p:spPr>
            <a:xfrm>
              <a:off x="9537371" y="12410767"/>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27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66 h 435077"/>
                <a:gd name="connsiteX9" fmla="*/ 435077 w 435077"/>
                <a:gd name="connsiteY9" fmla="*/ 217566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27"/>
                  </a:lnTo>
                  <a:lnTo>
                    <a:pt x="435077" y="217539"/>
                  </a:lnTo>
                  <a:lnTo>
                    <a:pt x="435077" y="217539"/>
                  </a:lnTo>
                  <a:lnTo>
                    <a:pt x="435077" y="217539"/>
                  </a:lnTo>
                  <a:lnTo>
                    <a:pt x="435077" y="217566"/>
                  </a:lnTo>
                  <a:lnTo>
                    <a:pt x="435077" y="217566"/>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889" name="Freeform: Shape 888">
              <a:extLst>
                <a:ext uri="{FF2B5EF4-FFF2-40B4-BE49-F238E27FC236}">
                  <a16:creationId xmlns:a16="http://schemas.microsoft.com/office/drawing/2014/main" id="{89AAC425-C82A-2A14-7931-378682A0977A}"/>
                </a:ext>
              </a:extLst>
            </p:cNvPr>
            <p:cNvSpPr/>
            <p:nvPr/>
          </p:nvSpPr>
          <p:spPr>
            <a:xfrm>
              <a:off x="11277681" y="12410767"/>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p>
          </p:txBody>
        </p:sp>
        <p:sp>
          <p:nvSpPr>
            <p:cNvPr id="890" name="Freeform: Shape 889">
              <a:extLst>
                <a:ext uri="{FF2B5EF4-FFF2-40B4-BE49-F238E27FC236}">
                  <a16:creationId xmlns:a16="http://schemas.microsoft.com/office/drawing/2014/main" id="{046DCB93-D9DB-49FD-09AA-E2CE013EE37F}"/>
                </a:ext>
              </a:extLst>
            </p:cNvPr>
            <p:cNvSpPr/>
            <p:nvPr/>
          </p:nvSpPr>
          <p:spPr>
            <a:xfrm>
              <a:off x="10407526" y="12410767"/>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891" name="Freeform: Shape 890">
              <a:extLst>
                <a:ext uri="{FF2B5EF4-FFF2-40B4-BE49-F238E27FC236}">
                  <a16:creationId xmlns:a16="http://schemas.microsoft.com/office/drawing/2014/main" id="{5EFC1650-8694-0F04-B350-08111344D814}"/>
                </a:ext>
              </a:extLst>
            </p:cNvPr>
            <p:cNvSpPr/>
            <p:nvPr/>
          </p:nvSpPr>
          <p:spPr>
            <a:xfrm>
              <a:off x="12147864" y="12410767"/>
              <a:ext cx="435077" cy="435077"/>
            </a:xfrm>
            <a:custGeom>
              <a:avLst/>
              <a:gdLst>
                <a:gd name="connsiteX0" fmla="*/ 371365 w 435077"/>
                <a:gd name="connsiteY0" fmla="*/ 63739 h 435077"/>
                <a:gd name="connsiteX1" fmla="*/ 435077 w 435077"/>
                <a:gd name="connsiteY1" fmla="*/ 217539 h 435077"/>
                <a:gd name="connsiteX2" fmla="*/ 217701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0 w 435077"/>
                <a:gd name="connsiteY7" fmla="*/ 281277 h 435077"/>
                <a:gd name="connsiteX8" fmla="*/ 217374 w 435077"/>
                <a:gd name="connsiteY8" fmla="*/ 217539 h 435077"/>
                <a:gd name="connsiteX9" fmla="*/ 0 w 435077"/>
                <a:gd name="connsiteY9" fmla="*/ 217539 h 435077"/>
                <a:gd name="connsiteX10" fmla="*/ 63710 w 435077"/>
                <a:gd name="connsiteY10" fmla="*/ 63739 h 435077"/>
                <a:gd name="connsiteX11" fmla="*/ 217539 w 435077"/>
                <a:gd name="connsiteY11" fmla="*/ 0 h 435077"/>
                <a:gd name="connsiteX12" fmla="*/ 371365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39"/>
                  </a:moveTo>
                  <a:cubicBezTo>
                    <a:pt x="412154" y="104527"/>
                    <a:pt x="435077" y="159864"/>
                    <a:pt x="435077" y="217539"/>
                  </a:cubicBezTo>
                  <a:lnTo>
                    <a:pt x="217701" y="217539"/>
                  </a:lnTo>
                  <a:cubicBezTo>
                    <a:pt x="275349" y="217593"/>
                    <a:pt x="330603" y="240516"/>
                    <a:pt x="371365" y="281277"/>
                  </a:cubicBezTo>
                  <a:cubicBezTo>
                    <a:pt x="412154" y="322066"/>
                    <a:pt x="435077" y="377402"/>
                    <a:pt x="435077" y="435077"/>
                  </a:cubicBezTo>
                  <a:lnTo>
                    <a:pt x="217539" y="435077"/>
                  </a:lnTo>
                  <a:lnTo>
                    <a:pt x="0" y="435077"/>
                  </a:lnTo>
                  <a:cubicBezTo>
                    <a:pt x="0" y="377402"/>
                    <a:pt x="22922" y="322066"/>
                    <a:pt x="63710" y="281277"/>
                  </a:cubicBezTo>
                  <a:cubicBezTo>
                    <a:pt x="104472" y="240516"/>
                    <a:pt x="159727" y="217593"/>
                    <a:pt x="217374" y="217539"/>
                  </a:cubicBezTo>
                  <a:lnTo>
                    <a:pt x="0" y="217539"/>
                  </a:lnTo>
                  <a:cubicBezTo>
                    <a:pt x="0" y="159864"/>
                    <a:pt x="22922" y="104527"/>
                    <a:pt x="63710" y="63739"/>
                  </a:cubicBezTo>
                  <a:cubicBezTo>
                    <a:pt x="104499" y="22923"/>
                    <a:pt x="159836" y="0"/>
                    <a:pt x="217539" y="0"/>
                  </a:cubicBezTo>
                  <a:cubicBezTo>
                    <a:pt x="275239" y="0"/>
                    <a:pt x="330549" y="22923"/>
                    <a:pt x="371365" y="63739"/>
                  </a:cubicBezTo>
                  <a:close/>
                </a:path>
              </a:pathLst>
            </a:custGeom>
            <a:grpFill/>
            <a:ln w="27192" cap="flat">
              <a:noFill/>
              <a:prstDash val="solid"/>
              <a:miter/>
            </a:ln>
          </p:spPr>
          <p:txBody>
            <a:bodyPr rtlCol="0" anchor="ctr"/>
            <a:lstStyle/>
            <a:p>
              <a:endParaRPr lang="uk-UA" sz="900"/>
            </a:p>
          </p:txBody>
        </p:sp>
        <p:sp>
          <p:nvSpPr>
            <p:cNvPr id="892" name="Freeform: Shape 891">
              <a:extLst>
                <a:ext uri="{FF2B5EF4-FFF2-40B4-BE49-F238E27FC236}">
                  <a16:creationId xmlns:a16="http://schemas.microsoft.com/office/drawing/2014/main" id="{747523A6-5DC4-E08D-B231-197883E0524A}"/>
                </a:ext>
              </a:extLst>
            </p:cNvPr>
            <p:cNvSpPr/>
            <p:nvPr/>
          </p:nvSpPr>
          <p:spPr>
            <a:xfrm>
              <a:off x="13018019" y="12410767"/>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27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66 h 435077"/>
                <a:gd name="connsiteX9" fmla="*/ 435077 w 435077"/>
                <a:gd name="connsiteY9" fmla="*/ 217566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27"/>
                  </a:lnTo>
                  <a:lnTo>
                    <a:pt x="435077" y="217539"/>
                  </a:lnTo>
                  <a:lnTo>
                    <a:pt x="435077" y="217539"/>
                  </a:lnTo>
                  <a:lnTo>
                    <a:pt x="435077" y="217539"/>
                  </a:lnTo>
                  <a:lnTo>
                    <a:pt x="435077" y="217566"/>
                  </a:lnTo>
                  <a:lnTo>
                    <a:pt x="435077" y="217566"/>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893" name="Freeform: Shape 892">
              <a:extLst>
                <a:ext uri="{FF2B5EF4-FFF2-40B4-BE49-F238E27FC236}">
                  <a16:creationId xmlns:a16="http://schemas.microsoft.com/office/drawing/2014/main" id="{D826CAA2-B899-9215-604F-D771F2720118}"/>
                </a:ext>
              </a:extLst>
            </p:cNvPr>
            <p:cNvSpPr/>
            <p:nvPr/>
          </p:nvSpPr>
          <p:spPr>
            <a:xfrm>
              <a:off x="14758355" y="12410767"/>
              <a:ext cx="435103" cy="435077"/>
            </a:xfrm>
            <a:custGeom>
              <a:avLst/>
              <a:gdLst>
                <a:gd name="connsiteX0" fmla="*/ 217539 w 435103"/>
                <a:gd name="connsiteY0" fmla="*/ 0 h 435077"/>
                <a:gd name="connsiteX1" fmla="*/ 0 w 435103"/>
                <a:gd name="connsiteY1" fmla="*/ 0 h 435077"/>
                <a:gd name="connsiteX2" fmla="*/ 0 w 435103"/>
                <a:gd name="connsiteY2" fmla="*/ 217539 h 435077"/>
                <a:gd name="connsiteX3" fmla="*/ 217539 w 435103"/>
                <a:gd name="connsiteY3" fmla="*/ 0 h 435077"/>
                <a:gd name="connsiteX4" fmla="*/ 435104 w 435103"/>
                <a:gd name="connsiteY4" fmla="*/ 0 h 435077"/>
                <a:gd name="connsiteX5" fmla="*/ 435104 w 435103"/>
                <a:gd name="connsiteY5" fmla="*/ 217539 h 435077"/>
                <a:gd name="connsiteX6" fmla="*/ 217565 w 435103"/>
                <a:gd name="connsiteY6" fmla="*/ 0 h 435077"/>
                <a:gd name="connsiteX7" fmla="*/ 435104 w 435103"/>
                <a:gd name="connsiteY7" fmla="*/ 0 h 435077"/>
                <a:gd name="connsiteX8" fmla="*/ 217565 w 435103"/>
                <a:gd name="connsiteY8" fmla="*/ 435077 h 435077"/>
                <a:gd name="connsiteX9" fmla="*/ 435104 w 435103"/>
                <a:gd name="connsiteY9" fmla="*/ 217539 h 435077"/>
                <a:gd name="connsiteX10" fmla="*/ 435104 w 435103"/>
                <a:gd name="connsiteY10" fmla="*/ 435077 h 435077"/>
                <a:gd name="connsiteX11" fmla="*/ 217565 w 435103"/>
                <a:gd name="connsiteY11" fmla="*/ 435077 h 435077"/>
                <a:gd name="connsiteX12" fmla="*/ 217565 w 435103"/>
                <a:gd name="connsiteY12" fmla="*/ 435077 h 435077"/>
                <a:gd name="connsiteX13" fmla="*/ 27 w 435103"/>
                <a:gd name="connsiteY13" fmla="*/ 217539 h 435077"/>
                <a:gd name="connsiteX14" fmla="*/ 27 w 435103"/>
                <a:gd name="connsiteY14" fmla="*/ 435077 h 435077"/>
                <a:gd name="connsiteX15" fmla="*/ 217565 w 435103"/>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3" h="435077">
                  <a:moveTo>
                    <a:pt x="217539" y="0"/>
                  </a:moveTo>
                  <a:lnTo>
                    <a:pt x="0" y="0"/>
                  </a:lnTo>
                  <a:lnTo>
                    <a:pt x="0" y="217539"/>
                  </a:lnTo>
                  <a:lnTo>
                    <a:pt x="217539" y="0"/>
                  </a:lnTo>
                  <a:close/>
                  <a:moveTo>
                    <a:pt x="435104" y="0"/>
                  </a:moveTo>
                  <a:lnTo>
                    <a:pt x="435104" y="217539"/>
                  </a:lnTo>
                  <a:lnTo>
                    <a:pt x="217565" y="0"/>
                  </a:lnTo>
                  <a:lnTo>
                    <a:pt x="435104" y="0"/>
                  </a:lnTo>
                  <a:close/>
                  <a:moveTo>
                    <a:pt x="217565" y="435077"/>
                  </a:moveTo>
                  <a:lnTo>
                    <a:pt x="435104" y="217539"/>
                  </a:lnTo>
                  <a:lnTo>
                    <a:pt x="435104" y="435077"/>
                  </a:lnTo>
                  <a:lnTo>
                    <a:pt x="217565" y="435077"/>
                  </a:lnTo>
                  <a:close/>
                  <a:moveTo>
                    <a:pt x="217565" y="435077"/>
                  </a:moveTo>
                  <a:lnTo>
                    <a:pt x="27" y="217539"/>
                  </a:lnTo>
                  <a:lnTo>
                    <a:pt x="27" y="435077"/>
                  </a:lnTo>
                  <a:lnTo>
                    <a:pt x="217565" y="435077"/>
                  </a:lnTo>
                  <a:close/>
                </a:path>
              </a:pathLst>
            </a:custGeom>
            <a:grpFill/>
            <a:ln w="27192" cap="flat">
              <a:noFill/>
              <a:prstDash val="solid"/>
              <a:miter/>
            </a:ln>
          </p:spPr>
          <p:txBody>
            <a:bodyPr rtlCol="0" anchor="ctr"/>
            <a:lstStyle/>
            <a:p>
              <a:endParaRPr lang="uk-UA" sz="900"/>
            </a:p>
          </p:txBody>
        </p:sp>
        <p:sp>
          <p:nvSpPr>
            <p:cNvPr id="894" name="Freeform: Shape 893">
              <a:extLst>
                <a:ext uri="{FF2B5EF4-FFF2-40B4-BE49-F238E27FC236}">
                  <a16:creationId xmlns:a16="http://schemas.microsoft.com/office/drawing/2014/main" id="{6D3E82C5-1D69-56A3-3A39-A6751F8B9043}"/>
                </a:ext>
              </a:extLst>
            </p:cNvPr>
            <p:cNvSpPr/>
            <p:nvPr/>
          </p:nvSpPr>
          <p:spPr>
            <a:xfrm>
              <a:off x="13888200" y="12410767"/>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895" name="Freeform: Shape 894">
              <a:extLst>
                <a:ext uri="{FF2B5EF4-FFF2-40B4-BE49-F238E27FC236}">
                  <a16:creationId xmlns:a16="http://schemas.microsoft.com/office/drawing/2014/main" id="{00BE9072-0B5A-16D3-1925-6A66DF361E96}"/>
                </a:ext>
              </a:extLst>
            </p:cNvPr>
            <p:cNvSpPr/>
            <p:nvPr/>
          </p:nvSpPr>
          <p:spPr>
            <a:xfrm>
              <a:off x="15628536" y="12410767"/>
              <a:ext cx="435077" cy="435077"/>
            </a:xfrm>
            <a:custGeom>
              <a:avLst/>
              <a:gdLst>
                <a:gd name="connsiteX0" fmla="*/ 371367 w 435077"/>
                <a:gd name="connsiteY0" fmla="*/ 63739 h 435077"/>
                <a:gd name="connsiteX1" fmla="*/ 435077 w 435077"/>
                <a:gd name="connsiteY1" fmla="*/ 217539 h 435077"/>
                <a:gd name="connsiteX2" fmla="*/ 217703 w 435077"/>
                <a:gd name="connsiteY2" fmla="*/ 217539 h 435077"/>
                <a:gd name="connsiteX3" fmla="*/ 371367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7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7" y="63739"/>
                  </a:moveTo>
                  <a:cubicBezTo>
                    <a:pt x="412155" y="104527"/>
                    <a:pt x="435077" y="159864"/>
                    <a:pt x="435077" y="217539"/>
                  </a:cubicBezTo>
                  <a:lnTo>
                    <a:pt x="217703" y="217539"/>
                  </a:lnTo>
                  <a:cubicBezTo>
                    <a:pt x="275351" y="217593"/>
                    <a:pt x="330605" y="240516"/>
                    <a:pt x="371367" y="281277"/>
                  </a:cubicBezTo>
                  <a:cubicBezTo>
                    <a:pt x="412155" y="322066"/>
                    <a:pt x="435077" y="377402"/>
                    <a:pt x="435077" y="435077"/>
                  </a:cubicBezTo>
                  <a:lnTo>
                    <a:pt x="217539" y="435077"/>
                  </a:lnTo>
                  <a:lnTo>
                    <a:pt x="0" y="435077"/>
                  </a:lnTo>
                  <a:cubicBezTo>
                    <a:pt x="0" y="377402"/>
                    <a:pt x="22924" y="322066"/>
                    <a:pt x="63712" y="281277"/>
                  </a:cubicBezTo>
                  <a:cubicBezTo>
                    <a:pt x="104474" y="240516"/>
                    <a:pt x="159728" y="217593"/>
                    <a:pt x="217376" y="217539"/>
                  </a:cubicBezTo>
                  <a:lnTo>
                    <a:pt x="0" y="217539"/>
                  </a:lnTo>
                  <a:cubicBezTo>
                    <a:pt x="0" y="159864"/>
                    <a:pt x="22924" y="104527"/>
                    <a:pt x="63712" y="63739"/>
                  </a:cubicBezTo>
                  <a:cubicBezTo>
                    <a:pt x="104501" y="22923"/>
                    <a:pt x="159836" y="0"/>
                    <a:pt x="217539" y="0"/>
                  </a:cubicBezTo>
                  <a:cubicBezTo>
                    <a:pt x="275241" y="0"/>
                    <a:pt x="330550" y="22923"/>
                    <a:pt x="371367" y="63739"/>
                  </a:cubicBezTo>
                  <a:close/>
                </a:path>
              </a:pathLst>
            </a:custGeom>
            <a:grpFill/>
            <a:ln w="27192" cap="flat">
              <a:noFill/>
              <a:prstDash val="solid"/>
              <a:miter/>
            </a:ln>
          </p:spPr>
          <p:txBody>
            <a:bodyPr rtlCol="0" anchor="ctr"/>
            <a:lstStyle/>
            <a:p>
              <a:endParaRPr lang="uk-UA" sz="900"/>
            </a:p>
          </p:txBody>
        </p:sp>
        <p:sp>
          <p:nvSpPr>
            <p:cNvPr id="896" name="Freeform: Shape 895">
              <a:extLst>
                <a:ext uri="{FF2B5EF4-FFF2-40B4-BE49-F238E27FC236}">
                  <a16:creationId xmlns:a16="http://schemas.microsoft.com/office/drawing/2014/main" id="{D1214826-1E6C-F5EC-8817-410A1A8CDB74}"/>
                </a:ext>
              </a:extLst>
            </p:cNvPr>
            <p:cNvSpPr/>
            <p:nvPr/>
          </p:nvSpPr>
          <p:spPr>
            <a:xfrm>
              <a:off x="16498665" y="12410767"/>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51 w 435077"/>
                <a:gd name="connsiteY7" fmla="*/ 217566 h 435077"/>
                <a:gd name="connsiteX8" fmla="*/ 435077 w 435077"/>
                <a:gd name="connsiteY8" fmla="*/ 217566 h 435077"/>
                <a:gd name="connsiteX9" fmla="*/ 435051 w 435077"/>
                <a:gd name="connsiteY9" fmla="*/ 217539 h 435077"/>
                <a:gd name="connsiteX10" fmla="*/ 435077 w 435077"/>
                <a:gd name="connsiteY10" fmla="*/ 217539 h 435077"/>
                <a:gd name="connsiteX11" fmla="*/ 435051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51" y="217566"/>
                  </a:lnTo>
                  <a:lnTo>
                    <a:pt x="435077" y="217566"/>
                  </a:lnTo>
                  <a:lnTo>
                    <a:pt x="435051" y="217539"/>
                  </a:lnTo>
                  <a:lnTo>
                    <a:pt x="435077" y="217539"/>
                  </a:lnTo>
                  <a:lnTo>
                    <a:pt x="435051"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897" name="Freeform: Shape 896">
              <a:extLst>
                <a:ext uri="{FF2B5EF4-FFF2-40B4-BE49-F238E27FC236}">
                  <a16:creationId xmlns:a16="http://schemas.microsoft.com/office/drawing/2014/main" id="{292D2B68-3EE1-40CC-52EB-CFC5289230C3}"/>
                </a:ext>
              </a:extLst>
            </p:cNvPr>
            <p:cNvSpPr/>
            <p:nvPr/>
          </p:nvSpPr>
          <p:spPr>
            <a:xfrm>
              <a:off x="18239029" y="12410767"/>
              <a:ext cx="435077" cy="435077"/>
            </a:xfrm>
            <a:custGeom>
              <a:avLst/>
              <a:gdLst>
                <a:gd name="connsiteX0" fmla="*/ 217539 w 435077"/>
                <a:gd name="connsiteY0" fmla="*/ 0 h 435077"/>
                <a:gd name="connsiteX1" fmla="*/ 217539 w 435077"/>
                <a:gd name="connsiteY1" fmla="*/ 0 h 435077"/>
                <a:gd name="connsiteX2" fmla="*/ 0 w 435077"/>
                <a:gd name="connsiteY2" fmla="*/ 0 h 435077"/>
                <a:gd name="connsiteX3" fmla="*/ 0 w 435077"/>
                <a:gd name="connsiteY3" fmla="*/ 217539 h 435077"/>
                <a:gd name="connsiteX4" fmla="*/ 217539 w 435077"/>
                <a:gd name="connsiteY4" fmla="*/ 27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217539" y="0"/>
                  </a:lnTo>
                  <a:lnTo>
                    <a:pt x="0" y="0"/>
                  </a:lnTo>
                  <a:lnTo>
                    <a:pt x="0" y="217539"/>
                  </a:lnTo>
                  <a:lnTo>
                    <a:pt x="217539" y="27"/>
                  </a:lnTo>
                  <a:lnTo>
                    <a:pt x="435077" y="217539"/>
                  </a:lnTo>
                  <a:lnTo>
                    <a:pt x="217539" y="435077"/>
                  </a:lnTo>
                  <a:lnTo>
                    <a:pt x="0" y="217539"/>
                  </a:lnTo>
                  <a:lnTo>
                    <a:pt x="0" y="435077"/>
                  </a:lnTo>
                  <a:lnTo>
                    <a:pt x="217539" y="435077"/>
                  </a:lnTo>
                  <a:lnTo>
                    <a:pt x="435077" y="435077"/>
                  </a:lnTo>
                  <a:lnTo>
                    <a:pt x="435077" y="217539"/>
                  </a:lnTo>
                  <a:lnTo>
                    <a:pt x="435077" y="0"/>
                  </a:lnTo>
                  <a:lnTo>
                    <a:pt x="217539" y="0"/>
                  </a:lnTo>
                  <a:close/>
                </a:path>
              </a:pathLst>
            </a:custGeom>
            <a:grpFill/>
            <a:ln w="27192" cap="flat">
              <a:noFill/>
              <a:prstDash val="solid"/>
              <a:miter/>
            </a:ln>
          </p:spPr>
          <p:txBody>
            <a:bodyPr rtlCol="0" anchor="ctr"/>
            <a:lstStyle/>
            <a:p>
              <a:endParaRPr lang="uk-UA" sz="900"/>
            </a:p>
          </p:txBody>
        </p:sp>
        <p:sp>
          <p:nvSpPr>
            <p:cNvPr id="898" name="Freeform: Shape 897">
              <a:extLst>
                <a:ext uri="{FF2B5EF4-FFF2-40B4-BE49-F238E27FC236}">
                  <a16:creationId xmlns:a16="http://schemas.microsoft.com/office/drawing/2014/main" id="{05BA7D3D-EC31-66C0-5D9E-4CF96E01BD6D}"/>
                </a:ext>
              </a:extLst>
            </p:cNvPr>
            <p:cNvSpPr/>
            <p:nvPr/>
          </p:nvSpPr>
          <p:spPr>
            <a:xfrm>
              <a:off x="17368846" y="12410767"/>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67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67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67" y="435105"/>
                  </a:lnTo>
                  <a:lnTo>
                    <a:pt x="435077" y="217566"/>
                  </a:lnTo>
                  <a:lnTo>
                    <a:pt x="435077" y="435105"/>
                  </a:lnTo>
                  <a:close/>
                  <a:moveTo>
                    <a:pt x="435077" y="27"/>
                  </a:moveTo>
                  <a:lnTo>
                    <a:pt x="217567"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899" name="Freeform: Shape 898">
              <a:extLst>
                <a:ext uri="{FF2B5EF4-FFF2-40B4-BE49-F238E27FC236}">
                  <a16:creationId xmlns:a16="http://schemas.microsoft.com/office/drawing/2014/main" id="{C6993C98-96D9-EA3F-8EFB-C1B2A2DE19DF}"/>
                </a:ext>
              </a:extLst>
            </p:cNvPr>
            <p:cNvSpPr/>
            <p:nvPr/>
          </p:nvSpPr>
          <p:spPr>
            <a:xfrm>
              <a:off x="19109184" y="12410767"/>
              <a:ext cx="435077" cy="435077"/>
            </a:xfrm>
            <a:custGeom>
              <a:avLst/>
              <a:gdLst>
                <a:gd name="connsiteX0" fmla="*/ 371365 w 435077"/>
                <a:gd name="connsiteY0" fmla="*/ 63739 h 435077"/>
                <a:gd name="connsiteX1" fmla="*/ 435077 w 435077"/>
                <a:gd name="connsiteY1" fmla="*/ 217539 h 435077"/>
                <a:gd name="connsiteX2" fmla="*/ 217701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0 w 435077"/>
                <a:gd name="connsiteY7" fmla="*/ 281277 h 435077"/>
                <a:gd name="connsiteX8" fmla="*/ 217374 w 435077"/>
                <a:gd name="connsiteY8" fmla="*/ 217539 h 435077"/>
                <a:gd name="connsiteX9" fmla="*/ 0 w 435077"/>
                <a:gd name="connsiteY9" fmla="*/ 217539 h 435077"/>
                <a:gd name="connsiteX10" fmla="*/ 63710 w 435077"/>
                <a:gd name="connsiteY10" fmla="*/ 63739 h 435077"/>
                <a:gd name="connsiteX11" fmla="*/ 217539 w 435077"/>
                <a:gd name="connsiteY11" fmla="*/ 0 h 435077"/>
                <a:gd name="connsiteX12" fmla="*/ 371365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39"/>
                  </a:moveTo>
                  <a:cubicBezTo>
                    <a:pt x="412154" y="104527"/>
                    <a:pt x="435077" y="159864"/>
                    <a:pt x="435077" y="217539"/>
                  </a:cubicBezTo>
                  <a:lnTo>
                    <a:pt x="217701" y="217539"/>
                  </a:lnTo>
                  <a:cubicBezTo>
                    <a:pt x="275349" y="217593"/>
                    <a:pt x="330603" y="240516"/>
                    <a:pt x="371365" y="281277"/>
                  </a:cubicBezTo>
                  <a:cubicBezTo>
                    <a:pt x="412154" y="322066"/>
                    <a:pt x="435077" y="377402"/>
                    <a:pt x="435077" y="435077"/>
                  </a:cubicBezTo>
                  <a:lnTo>
                    <a:pt x="217539" y="435077"/>
                  </a:lnTo>
                  <a:lnTo>
                    <a:pt x="0" y="435077"/>
                  </a:lnTo>
                  <a:cubicBezTo>
                    <a:pt x="0" y="377402"/>
                    <a:pt x="22922" y="322066"/>
                    <a:pt x="63710" y="281277"/>
                  </a:cubicBezTo>
                  <a:cubicBezTo>
                    <a:pt x="104472" y="240516"/>
                    <a:pt x="159755" y="217593"/>
                    <a:pt x="217374" y="217539"/>
                  </a:cubicBezTo>
                  <a:lnTo>
                    <a:pt x="0" y="217539"/>
                  </a:lnTo>
                  <a:cubicBezTo>
                    <a:pt x="0" y="159864"/>
                    <a:pt x="22922" y="104527"/>
                    <a:pt x="63710" y="63739"/>
                  </a:cubicBezTo>
                  <a:cubicBezTo>
                    <a:pt x="104527" y="22923"/>
                    <a:pt x="159836" y="0"/>
                    <a:pt x="217539" y="0"/>
                  </a:cubicBezTo>
                  <a:cubicBezTo>
                    <a:pt x="275241" y="0"/>
                    <a:pt x="330577" y="22923"/>
                    <a:pt x="371365" y="63739"/>
                  </a:cubicBezTo>
                  <a:close/>
                </a:path>
              </a:pathLst>
            </a:custGeom>
            <a:grpFill/>
            <a:ln w="27192" cap="flat">
              <a:noFill/>
              <a:prstDash val="solid"/>
              <a:miter/>
            </a:ln>
          </p:spPr>
          <p:txBody>
            <a:bodyPr rtlCol="0" anchor="ctr"/>
            <a:lstStyle/>
            <a:p>
              <a:endParaRPr lang="uk-UA" sz="900"/>
            </a:p>
          </p:txBody>
        </p:sp>
        <p:sp>
          <p:nvSpPr>
            <p:cNvPr id="900" name="Freeform: Shape 899">
              <a:extLst>
                <a:ext uri="{FF2B5EF4-FFF2-40B4-BE49-F238E27FC236}">
                  <a16:creationId xmlns:a16="http://schemas.microsoft.com/office/drawing/2014/main" id="{5679C052-BFAA-C16B-FA77-8A4E06D0E47D}"/>
                </a:ext>
              </a:extLst>
            </p:cNvPr>
            <p:cNvSpPr/>
            <p:nvPr/>
          </p:nvSpPr>
          <p:spPr>
            <a:xfrm>
              <a:off x="19979339" y="12410767"/>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901" name="Freeform: Shape 900">
              <a:extLst>
                <a:ext uri="{FF2B5EF4-FFF2-40B4-BE49-F238E27FC236}">
                  <a16:creationId xmlns:a16="http://schemas.microsoft.com/office/drawing/2014/main" id="{A1B814CC-6509-5451-243D-EC2ACDAE53D5}"/>
                </a:ext>
              </a:extLst>
            </p:cNvPr>
            <p:cNvSpPr/>
            <p:nvPr/>
          </p:nvSpPr>
          <p:spPr>
            <a:xfrm>
              <a:off x="21719675" y="12410767"/>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902" name="Freeform: Shape 901">
              <a:extLst>
                <a:ext uri="{FF2B5EF4-FFF2-40B4-BE49-F238E27FC236}">
                  <a16:creationId xmlns:a16="http://schemas.microsoft.com/office/drawing/2014/main" id="{BD9258AC-7FBA-AE75-4386-421D83F87371}"/>
                </a:ext>
              </a:extLst>
            </p:cNvPr>
            <p:cNvSpPr/>
            <p:nvPr/>
          </p:nvSpPr>
          <p:spPr>
            <a:xfrm>
              <a:off x="20849520" y="12410767"/>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903" name="Freeform: Shape 902">
              <a:extLst>
                <a:ext uri="{FF2B5EF4-FFF2-40B4-BE49-F238E27FC236}">
                  <a16:creationId xmlns:a16="http://schemas.microsoft.com/office/drawing/2014/main" id="{AB05B34C-DC2C-0100-FA95-8D5658F3D20C}"/>
                </a:ext>
              </a:extLst>
            </p:cNvPr>
            <p:cNvSpPr/>
            <p:nvPr/>
          </p:nvSpPr>
          <p:spPr>
            <a:xfrm>
              <a:off x="22589856" y="12410767"/>
              <a:ext cx="435077" cy="435077"/>
            </a:xfrm>
            <a:custGeom>
              <a:avLst/>
              <a:gdLst>
                <a:gd name="connsiteX0" fmla="*/ 371367 w 435077"/>
                <a:gd name="connsiteY0" fmla="*/ 63739 h 435077"/>
                <a:gd name="connsiteX1" fmla="*/ 435077 w 435077"/>
                <a:gd name="connsiteY1" fmla="*/ 217539 h 435077"/>
                <a:gd name="connsiteX2" fmla="*/ 217703 w 435077"/>
                <a:gd name="connsiteY2" fmla="*/ 217539 h 435077"/>
                <a:gd name="connsiteX3" fmla="*/ 371367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7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7" y="63739"/>
                  </a:moveTo>
                  <a:cubicBezTo>
                    <a:pt x="412155" y="104527"/>
                    <a:pt x="435077" y="159864"/>
                    <a:pt x="435077" y="217539"/>
                  </a:cubicBezTo>
                  <a:lnTo>
                    <a:pt x="217703" y="217539"/>
                  </a:lnTo>
                  <a:cubicBezTo>
                    <a:pt x="275351" y="217593"/>
                    <a:pt x="330605" y="240516"/>
                    <a:pt x="371367" y="281277"/>
                  </a:cubicBezTo>
                  <a:cubicBezTo>
                    <a:pt x="412155" y="322066"/>
                    <a:pt x="435077" y="377402"/>
                    <a:pt x="435077" y="435077"/>
                  </a:cubicBezTo>
                  <a:lnTo>
                    <a:pt x="217539" y="435077"/>
                  </a:lnTo>
                  <a:lnTo>
                    <a:pt x="0" y="435077"/>
                  </a:lnTo>
                  <a:cubicBezTo>
                    <a:pt x="0" y="377402"/>
                    <a:pt x="22924" y="322066"/>
                    <a:pt x="63712" y="281277"/>
                  </a:cubicBezTo>
                  <a:cubicBezTo>
                    <a:pt x="104474" y="240516"/>
                    <a:pt x="159728" y="217593"/>
                    <a:pt x="217376" y="217539"/>
                  </a:cubicBezTo>
                  <a:lnTo>
                    <a:pt x="0" y="217539"/>
                  </a:lnTo>
                  <a:cubicBezTo>
                    <a:pt x="0" y="159864"/>
                    <a:pt x="22924" y="104527"/>
                    <a:pt x="63712" y="63739"/>
                  </a:cubicBezTo>
                  <a:cubicBezTo>
                    <a:pt x="104501" y="22923"/>
                    <a:pt x="159838" y="0"/>
                    <a:pt x="217539" y="0"/>
                  </a:cubicBezTo>
                  <a:cubicBezTo>
                    <a:pt x="275215" y="0"/>
                    <a:pt x="330550" y="22923"/>
                    <a:pt x="371367" y="63739"/>
                  </a:cubicBezTo>
                  <a:close/>
                </a:path>
              </a:pathLst>
            </a:custGeom>
            <a:grpFill/>
            <a:ln w="27192" cap="flat">
              <a:noFill/>
              <a:prstDash val="solid"/>
              <a:miter/>
            </a:ln>
          </p:spPr>
          <p:txBody>
            <a:bodyPr rtlCol="0" anchor="ctr"/>
            <a:lstStyle/>
            <a:p>
              <a:endParaRPr lang="uk-UA" sz="900"/>
            </a:p>
          </p:txBody>
        </p:sp>
        <p:sp>
          <p:nvSpPr>
            <p:cNvPr id="904" name="Freeform: Shape 903">
              <a:extLst>
                <a:ext uri="{FF2B5EF4-FFF2-40B4-BE49-F238E27FC236}">
                  <a16:creationId xmlns:a16="http://schemas.microsoft.com/office/drawing/2014/main" id="{BB182626-1644-0D49-5DC6-437BD9FB120F}"/>
                </a:ext>
              </a:extLst>
            </p:cNvPr>
            <p:cNvSpPr/>
            <p:nvPr/>
          </p:nvSpPr>
          <p:spPr>
            <a:xfrm>
              <a:off x="23460011" y="12410767"/>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905" name="Freeform: Shape 904">
              <a:extLst>
                <a:ext uri="{FF2B5EF4-FFF2-40B4-BE49-F238E27FC236}">
                  <a16:creationId xmlns:a16="http://schemas.microsoft.com/office/drawing/2014/main" id="{364A555A-EA29-4781-8F1D-0DEB2A7E27DA}"/>
                </a:ext>
              </a:extLst>
            </p:cNvPr>
            <p:cNvSpPr/>
            <p:nvPr/>
          </p:nvSpPr>
          <p:spPr>
            <a:xfrm>
              <a:off x="24330194" y="12410767"/>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906" name="Freeform: Shape 905">
              <a:extLst>
                <a:ext uri="{FF2B5EF4-FFF2-40B4-BE49-F238E27FC236}">
                  <a16:creationId xmlns:a16="http://schemas.microsoft.com/office/drawing/2014/main" id="{55746F21-9251-F30D-8638-325D73FA1DBB}"/>
                </a:ext>
              </a:extLst>
            </p:cNvPr>
            <p:cNvSpPr/>
            <p:nvPr/>
          </p:nvSpPr>
          <p:spPr>
            <a:xfrm>
              <a:off x="835742" y="13280949"/>
              <a:ext cx="435077" cy="435050"/>
            </a:xfrm>
            <a:custGeom>
              <a:avLst/>
              <a:gdLst>
                <a:gd name="connsiteX0" fmla="*/ 435077 w 435077"/>
                <a:gd name="connsiteY0" fmla="*/ 435050 h 435050"/>
                <a:gd name="connsiteX1" fmla="*/ 435077 w 435077"/>
                <a:gd name="connsiteY1" fmla="*/ 0 h 435050"/>
                <a:gd name="connsiteX2" fmla="*/ 217566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39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66" y="217539"/>
                  </a:lnTo>
                  <a:lnTo>
                    <a:pt x="435077" y="435050"/>
                  </a:lnTo>
                  <a:close/>
                  <a:moveTo>
                    <a:pt x="0" y="435050"/>
                  </a:moveTo>
                  <a:lnTo>
                    <a:pt x="0" y="0"/>
                  </a:lnTo>
                  <a:lnTo>
                    <a:pt x="217539" y="217539"/>
                  </a:lnTo>
                  <a:lnTo>
                    <a:pt x="0" y="435050"/>
                  </a:lnTo>
                  <a:close/>
                </a:path>
              </a:pathLst>
            </a:custGeom>
            <a:grpFill/>
            <a:ln w="27192" cap="flat">
              <a:noFill/>
              <a:prstDash val="solid"/>
              <a:miter/>
            </a:ln>
          </p:spPr>
          <p:txBody>
            <a:bodyPr rtlCol="0" anchor="ctr"/>
            <a:lstStyle/>
            <a:p>
              <a:endParaRPr lang="uk-UA" sz="900"/>
            </a:p>
          </p:txBody>
        </p:sp>
        <p:sp>
          <p:nvSpPr>
            <p:cNvPr id="907" name="Freeform: Shape 906">
              <a:extLst>
                <a:ext uri="{FF2B5EF4-FFF2-40B4-BE49-F238E27FC236}">
                  <a16:creationId xmlns:a16="http://schemas.microsoft.com/office/drawing/2014/main" id="{56DCDC31-AA03-B8D4-9F61-85A3BF979F35}"/>
                </a:ext>
              </a:extLst>
            </p:cNvPr>
            <p:cNvSpPr/>
            <p:nvPr/>
          </p:nvSpPr>
          <p:spPr>
            <a:xfrm>
              <a:off x="-34412" y="1328092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908" name="Freeform: Shape 907">
              <a:extLst>
                <a:ext uri="{FF2B5EF4-FFF2-40B4-BE49-F238E27FC236}">
                  <a16:creationId xmlns:a16="http://schemas.microsoft.com/office/drawing/2014/main" id="{7D9E6879-EF83-C204-469F-3D7EA0C7834C}"/>
                </a:ext>
              </a:extLst>
            </p:cNvPr>
            <p:cNvSpPr/>
            <p:nvPr/>
          </p:nvSpPr>
          <p:spPr>
            <a:xfrm>
              <a:off x="1705924" y="13280922"/>
              <a:ext cx="435077" cy="435077"/>
            </a:xfrm>
            <a:custGeom>
              <a:avLst/>
              <a:gdLst>
                <a:gd name="connsiteX0" fmla="*/ 63711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1 w 435077"/>
                <a:gd name="connsiteY6" fmla="*/ 153827 h 435077"/>
                <a:gd name="connsiteX7" fmla="*/ 63711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11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1" y="153827"/>
                  </a:moveTo>
                  <a:cubicBezTo>
                    <a:pt x="22923" y="113039"/>
                    <a:pt x="0" y="57702"/>
                    <a:pt x="0" y="0"/>
                  </a:cubicBezTo>
                  <a:lnTo>
                    <a:pt x="217539" y="0"/>
                  </a:lnTo>
                  <a:lnTo>
                    <a:pt x="435077" y="0"/>
                  </a:lnTo>
                  <a:cubicBezTo>
                    <a:pt x="435077" y="57702"/>
                    <a:pt x="412154" y="113039"/>
                    <a:pt x="371366" y="153827"/>
                  </a:cubicBezTo>
                  <a:cubicBezTo>
                    <a:pt x="330550" y="194642"/>
                    <a:pt x="275213" y="217539"/>
                    <a:pt x="217539" y="217539"/>
                  </a:cubicBezTo>
                  <a:cubicBezTo>
                    <a:pt x="159836" y="217539"/>
                    <a:pt x="104500" y="194642"/>
                    <a:pt x="63711" y="153827"/>
                  </a:cubicBezTo>
                  <a:close/>
                  <a:moveTo>
                    <a:pt x="63711" y="281277"/>
                  </a:moveTo>
                  <a:cubicBezTo>
                    <a:pt x="22923" y="322066"/>
                    <a:pt x="0" y="377402"/>
                    <a:pt x="0" y="435077"/>
                  </a:cubicBezTo>
                  <a:lnTo>
                    <a:pt x="217539" y="435077"/>
                  </a:lnTo>
                  <a:lnTo>
                    <a:pt x="435077" y="435077"/>
                  </a:lnTo>
                  <a:cubicBezTo>
                    <a:pt x="435077" y="377402"/>
                    <a:pt x="412154" y="322066"/>
                    <a:pt x="371366" y="281277"/>
                  </a:cubicBezTo>
                  <a:cubicBezTo>
                    <a:pt x="330550" y="240462"/>
                    <a:pt x="275213" y="217539"/>
                    <a:pt x="217539" y="217539"/>
                  </a:cubicBezTo>
                  <a:cubicBezTo>
                    <a:pt x="159836" y="217539"/>
                    <a:pt x="104500" y="240462"/>
                    <a:pt x="63711" y="281277"/>
                  </a:cubicBezTo>
                  <a:close/>
                </a:path>
              </a:pathLst>
            </a:custGeom>
            <a:grpFill/>
            <a:ln w="27192" cap="flat">
              <a:noFill/>
              <a:prstDash val="solid"/>
              <a:miter/>
            </a:ln>
          </p:spPr>
          <p:txBody>
            <a:bodyPr rtlCol="0" anchor="ctr"/>
            <a:lstStyle/>
            <a:p>
              <a:endParaRPr lang="uk-UA" sz="900"/>
            </a:p>
          </p:txBody>
        </p:sp>
        <p:sp>
          <p:nvSpPr>
            <p:cNvPr id="909" name="Freeform: Shape 908">
              <a:extLst>
                <a:ext uri="{FF2B5EF4-FFF2-40B4-BE49-F238E27FC236}">
                  <a16:creationId xmlns:a16="http://schemas.microsoft.com/office/drawing/2014/main" id="{07B162CD-FBB7-FA52-B888-FC0E310824DB}"/>
                </a:ext>
              </a:extLst>
            </p:cNvPr>
            <p:cNvSpPr/>
            <p:nvPr/>
          </p:nvSpPr>
          <p:spPr>
            <a:xfrm>
              <a:off x="2576079" y="1328092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6 w 435077"/>
                <a:gd name="connsiteY3" fmla="*/ 27 h 435077"/>
                <a:gd name="connsiteX4" fmla="*/ 435077 w 435077"/>
                <a:gd name="connsiteY4" fmla="*/ 217566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6" y="27"/>
                  </a:lnTo>
                  <a:lnTo>
                    <a:pt x="435077" y="217566"/>
                  </a:lnTo>
                  <a:lnTo>
                    <a:pt x="217566"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910" name="Freeform: Shape 909">
              <a:extLst>
                <a:ext uri="{FF2B5EF4-FFF2-40B4-BE49-F238E27FC236}">
                  <a16:creationId xmlns:a16="http://schemas.microsoft.com/office/drawing/2014/main" id="{C725EEF1-8C3F-9953-298D-7533A00DEA27}"/>
                </a:ext>
              </a:extLst>
            </p:cNvPr>
            <p:cNvSpPr/>
            <p:nvPr/>
          </p:nvSpPr>
          <p:spPr>
            <a:xfrm>
              <a:off x="4316416" y="13280949"/>
              <a:ext cx="435077" cy="435050"/>
            </a:xfrm>
            <a:custGeom>
              <a:avLst/>
              <a:gdLst>
                <a:gd name="connsiteX0" fmla="*/ 435077 w 435077"/>
                <a:gd name="connsiteY0" fmla="*/ 435050 h 435050"/>
                <a:gd name="connsiteX1" fmla="*/ 435077 w 435077"/>
                <a:gd name="connsiteY1" fmla="*/ 0 h 435050"/>
                <a:gd name="connsiteX2" fmla="*/ 217565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39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65" y="217539"/>
                  </a:lnTo>
                  <a:lnTo>
                    <a:pt x="435077" y="435050"/>
                  </a:lnTo>
                  <a:close/>
                  <a:moveTo>
                    <a:pt x="0" y="435050"/>
                  </a:moveTo>
                  <a:lnTo>
                    <a:pt x="0" y="0"/>
                  </a:lnTo>
                  <a:lnTo>
                    <a:pt x="217539" y="217539"/>
                  </a:lnTo>
                  <a:lnTo>
                    <a:pt x="0" y="435050"/>
                  </a:lnTo>
                  <a:close/>
                </a:path>
              </a:pathLst>
            </a:custGeom>
            <a:grpFill/>
            <a:ln w="27192" cap="flat">
              <a:noFill/>
              <a:prstDash val="solid"/>
              <a:miter/>
            </a:ln>
          </p:spPr>
          <p:txBody>
            <a:bodyPr rtlCol="0" anchor="ctr"/>
            <a:lstStyle/>
            <a:p>
              <a:endParaRPr lang="uk-UA" sz="900"/>
            </a:p>
          </p:txBody>
        </p:sp>
        <p:sp>
          <p:nvSpPr>
            <p:cNvPr id="911" name="Freeform: Shape 910">
              <a:extLst>
                <a:ext uri="{FF2B5EF4-FFF2-40B4-BE49-F238E27FC236}">
                  <a16:creationId xmlns:a16="http://schemas.microsoft.com/office/drawing/2014/main" id="{7966E624-DDD5-CF2B-34AD-24AD5F9FC1E6}"/>
                </a:ext>
              </a:extLst>
            </p:cNvPr>
            <p:cNvSpPr/>
            <p:nvPr/>
          </p:nvSpPr>
          <p:spPr>
            <a:xfrm>
              <a:off x="3446261" y="1328092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912" name="Freeform: Shape 911">
              <a:extLst>
                <a:ext uri="{FF2B5EF4-FFF2-40B4-BE49-F238E27FC236}">
                  <a16:creationId xmlns:a16="http://schemas.microsoft.com/office/drawing/2014/main" id="{465BE256-9261-B9A4-691F-DB120CE5629E}"/>
                </a:ext>
              </a:extLst>
            </p:cNvPr>
            <p:cNvSpPr/>
            <p:nvPr/>
          </p:nvSpPr>
          <p:spPr>
            <a:xfrm>
              <a:off x="5186571" y="13280922"/>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39 w 435077"/>
                <a:gd name="connsiteY6" fmla="*/ 153827 h 435077"/>
                <a:gd name="connsiteX7" fmla="*/ 63739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77 h 435077"/>
                <a:gd name="connsiteX12" fmla="*/ 217539 w 435077"/>
                <a:gd name="connsiteY12" fmla="*/ 217539 h 435077"/>
                <a:gd name="connsiteX13" fmla="*/ 63739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3" y="113039"/>
                    <a:pt x="0" y="57702"/>
                    <a:pt x="0" y="0"/>
                  </a:cubicBezTo>
                  <a:lnTo>
                    <a:pt x="217539" y="0"/>
                  </a:lnTo>
                  <a:lnTo>
                    <a:pt x="435077" y="0"/>
                  </a:lnTo>
                  <a:cubicBezTo>
                    <a:pt x="435077" y="57702"/>
                    <a:pt x="412181" y="113039"/>
                    <a:pt x="371365" y="153827"/>
                  </a:cubicBezTo>
                  <a:cubicBezTo>
                    <a:pt x="330577" y="194642"/>
                    <a:pt x="275240" y="217539"/>
                    <a:pt x="217539" y="217539"/>
                  </a:cubicBezTo>
                  <a:cubicBezTo>
                    <a:pt x="159864" y="217539"/>
                    <a:pt x="104527" y="194642"/>
                    <a:pt x="63739" y="153827"/>
                  </a:cubicBezTo>
                  <a:close/>
                  <a:moveTo>
                    <a:pt x="63739" y="281277"/>
                  </a:moveTo>
                  <a:cubicBezTo>
                    <a:pt x="22923" y="322066"/>
                    <a:pt x="0" y="377402"/>
                    <a:pt x="0" y="435077"/>
                  </a:cubicBezTo>
                  <a:lnTo>
                    <a:pt x="217539" y="435077"/>
                  </a:lnTo>
                  <a:lnTo>
                    <a:pt x="435077" y="435077"/>
                  </a:lnTo>
                  <a:cubicBezTo>
                    <a:pt x="435077" y="377402"/>
                    <a:pt x="412181" y="322066"/>
                    <a:pt x="371365" y="281277"/>
                  </a:cubicBezTo>
                  <a:cubicBezTo>
                    <a:pt x="330577" y="240462"/>
                    <a:pt x="275240" y="217539"/>
                    <a:pt x="217539" y="217539"/>
                  </a:cubicBezTo>
                  <a:cubicBezTo>
                    <a:pt x="159864" y="217539"/>
                    <a:pt x="104527" y="240462"/>
                    <a:pt x="63739" y="281277"/>
                  </a:cubicBezTo>
                  <a:close/>
                </a:path>
              </a:pathLst>
            </a:custGeom>
            <a:grpFill/>
            <a:ln w="27192" cap="flat">
              <a:noFill/>
              <a:prstDash val="solid"/>
              <a:miter/>
            </a:ln>
          </p:spPr>
          <p:txBody>
            <a:bodyPr rtlCol="0" anchor="ctr"/>
            <a:lstStyle/>
            <a:p>
              <a:endParaRPr lang="uk-UA" sz="900"/>
            </a:p>
          </p:txBody>
        </p:sp>
        <p:sp>
          <p:nvSpPr>
            <p:cNvPr id="913" name="Freeform: Shape 912">
              <a:extLst>
                <a:ext uri="{FF2B5EF4-FFF2-40B4-BE49-F238E27FC236}">
                  <a16:creationId xmlns:a16="http://schemas.microsoft.com/office/drawing/2014/main" id="{A4474734-B927-2331-E630-FF7787B2BB08}"/>
                </a:ext>
              </a:extLst>
            </p:cNvPr>
            <p:cNvSpPr/>
            <p:nvPr/>
          </p:nvSpPr>
          <p:spPr>
            <a:xfrm>
              <a:off x="6056725" y="1328092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5 w 435077"/>
                <a:gd name="connsiteY3" fmla="*/ 27 h 435077"/>
                <a:gd name="connsiteX4" fmla="*/ 435077 w 435077"/>
                <a:gd name="connsiteY4" fmla="*/ 217566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5" y="27"/>
                  </a:lnTo>
                  <a:lnTo>
                    <a:pt x="435077" y="217566"/>
                  </a:lnTo>
                  <a:lnTo>
                    <a:pt x="217565"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914" name="Freeform: Shape 913">
              <a:extLst>
                <a:ext uri="{FF2B5EF4-FFF2-40B4-BE49-F238E27FC236}">
                  <a16:creationId xmlns:a16="http://schemas.microsoft.com/office/drawing/2014/main" id="{D1D8AFBA-962C-050D-5615-0EFCE926D760}"/>
                </a:ext>
              </a:extLst>
            </p:cNvPr>
            <p:cNvSpPr/>
            <p:nvPr/>
          </p:nvSpPr>
          <p:spPr>
            <a:xfrm>
              <a:off x="7797062" y="13280949"/>
              <a:ext cx="435077" cy="435050"/>
            </a:xfrm>
            <a:custGeom>
              <a:avLst/>
              <a:gdLst>
                <a:gd name="connsiteX0" fmla="*/ 435077 w 435077"/>
                <a:gd name="connsiteY0" fmla="*/ 435050 h 435050"/>
                <a:gd name="connsiteX1" fmla="*/ 435077 w 435077"/>
                <a:gd name="connsiteY1" fmla="*/ 0 h 435050"/>
                <a:gd name="connsiteX2" fmla="*/ 217566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39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66" y="217539"/>
                  </a:lnTo>
                  <a:lnTo>
                    <a:pt x="435077" y="435050"/>
                  </a:lnTo>
                  <a:close/>
                  <a:moveTo>
                    <a:pt x="0" y="435050"/>
                  </a:moveTo>
                  <a:lnTo>
                    <a:pt x="0" y="0"/>
                  </a:lnTo>
                  <a:lnTo>
                    <a:pt x="217539" y="217539"/>
                  </a:lnTo>
                  <a:lnTo>
                    <a:pt x="0" y="435050"/>
                  </a:lnTo>
                  <a:close/>
                </a:path>
              </a:pathLst>
            </a:custGeom>
            <a:grpFill/>
            <a:ln w="27192" cap="flat">
              <a:noFill/>
              <a:prstDash val="solid"/>
              <a:miter/>
            </a:ln>
          </p:spPr>
          <p:txBody>
            <a:bodyPr rtlCol="0" anchor="ctr"/>
            <a:lstStyle/>
            <a:p>
              <a:endParaRPr lang="uk-UA" sz="900"/>
            </a:p>
          </p:txBody>
        </p:sp>
        <p:sp>
          <p:nvSpPr>
            <p:cNvPr id="915" name="Freeform: Shape 914">
              <a:extLst>
                <a:ext uri="{FF2B5EF4-FFF2-40B4-BE49-F238E27FC236}">
                  <a16:creationId xmlns:a16="http://schemas.microsoft.com/office/drawing/2014/main" id="{FE3ED06A-2064-5EAA-146C-783A9AAE8626}"/>
                </a:ext>
              </a:extLst>
            </p:cNvPr>
            <p:cNvSpPr/>
            <p:nvPr/>
          </p:nvSpPr>
          <p:spPr>
            <a:xfrm>
              <a:off x="6926907" y="13280922"/>
              <a:ext cx="435077" cy="435077"/>
            </a:xfrm>
            <a:custGeom>
              <a:avLst/>
              <a:gdLst>
                <a:gd name="connsiteX0" fmla="*/ 0 w 435077"/>
                <a:gd name="connsiteY0" fmla="*/ 435077 h 435077"/>
                <a:gd name="connsiteX1" fmla="*/ 0 w 435077"/>
                <a:gd name="connsiteY1" fmla="*/ 0 h 435077"/>
                <a:gd name="connsiteX2" fmla="*/ 217512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12"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916" name="Freeform: Shape 915">
              <a:extLst>
                <a:ext uri="{FF2B5EF4-FFF2-40B4-BE49-F238E27FC236}">
                  <a16:creationId xmlns:a16="http://schemas.microsoft.com/office/drawing/2014/main" id="{004441B4-73E1-407A-F3AD-96809F087D43}"/>
                </a:ext>
              </a:extLst>
            </p:cNvPr>
            <p:cNvSpPr/>
            <p:nvPr/>
          </p:nvSpPr>
          <p:spPr>
            <a:xfrm>
              <a:off x="8667217" y="1328092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6" y="153827"/>
                  </a:cubicBezTo>
                  <a:cubicBezTo>
                    <a:pt x="330550" y="194642"/>
                    <a:pt x="275241" y="217539"/>
                    <a:pt x="217539" y="217539"/>
                  </a:cubicBezTo>
                  <a:cubicBezTo>
                    <a:pt x="159837"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5" y="322066"/>
                    <a:pt x="371366" y="281277"/>
                  </a:cubicBezTo>
                  <a:cubicBezTo>
                    <a:pt x="330550" y="240462"/>
                    <a:pt x="275241" y="217539"/>
                    <a:pt x="217539" y="217539"/>
                  </a:cubicBezTo>
                  <a:cubicBezTo>
                    <a:pt x="159837" y="217539"/>
                    <a:pt x="104501" y="240462"/>
                    <a:pt x="63712" y="281277"/>
                  </a:cubicBezTo>
                  <a:close/>
                </a:path>
              </a:pathLst>
            </a:custGeom>
            <a:grpFill/>
            <a:ln w="27192" cap="flat">
              <a:noFill/>
              <a:prstDash val="solid"/>
              <a:miter/>
            </a:ln>
          </p:spPr>
          <p:txBody>
            <a:bodyPr rtlCol="0" anchor="ctr"/>
            <a:lstStyle/>
            <a:p>
              <a:endParaRPr lang="uk-UA" sz="900"/>
            </a:p>
          </p:txBody>
        </p:sp>
        <p:sp>
          <p:nvSpPr>
            <p:cNvPr id="917" name="Freeform: Shape 916">
              <a:extLst>
                <a:ext uri="{FF2B5EF4-FFF2-40B4-BE49-F238E27FC236}">
                  <a16:creationId xmlns:a16="http://schemas.microsoft.com/office/drawing/2014/main" id="{8008CC53-5C73-63F0-BB31-E852005AA29C}"/>
                </a:ext>
              </a:extLst>
            </p:cNvPr>
            <p:cNvSpPr/>
            <p:nvPr/>
          </p:nvSpPr>
          <p:spPr>
            <a:xfrm>
              <a:off x="9537371" y="1328092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6 w 435077"/>
                <a:gd name="connsiteY3" fmla="*/ 27 h 435077"/>
                <a:gd name="connsiteX4" fmla="*/ 435077 w 435077"/>
                <a:gd name="connsiteY4" fmla="*/ 217566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6" y="27"/>
                  </a:lnTo>
                  <a:lnTo>
                    <a:pt x="435077" y="217566"/>
                  </a:lnTo>
                  <a:lnTo>
                    <a:pt x="217566"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918" name="Freeform: Shape 917">
              <a:extLst>
                <a:ext uri="{FF2B5EF4-FFF2-40B4-BE49-F238E27FC236}">
                  <a16:creationId xmlns:a16="http://schemas.microsoft.com/office/drawing/2014/main" id="{0F121CB7-19DB-3218-BD21-EF423BB19E06}"/>
                </a:ext>
              </a:extLst>
            </p:cNvPr>
            <p:cNvSpPr/>
            <p:nvPr/>
          </p:nvSpPr>
          <p:spPr>
            <a:xfrm>
              <a:off x="11277709" y="13280949"/>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0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0" y="217539"/>
                  </a:lnTo>
                  <a:lnTo>
                    <a:pt x="0" y="435050"/>
                  </a:lnTo>
                  <a:close/>
                </a:path>
              </a:pathLst>
            </a:custGeom>
            <a:grpFill/>
            <a:ln w="27192" cap="flat">
              <a:noFill/>
              <a:prstDash val="solid"/>
              <a:miter/>
            </a:ln>
          </p:spPr>
          <p:txBody>
            <a:bodyPr rtlCol="0" anchor="ctr"/>
            <a:lstStyle/>
            <a:p>
              <a:endParaRPr lang="uk-UA" sz="900"/>
            </a:p>
          </p:txBody>
        </p:sp>
        <p:sp>
          <p:nvSpPr>
            <p:cNvPr id="919" name="Freeform: Shape 918">
              <a:extLst>
                <a:ext uri="{FF2B5EF4-FFF2-40B4-BE49-F238E27FC236}">
                  <a16:creationId xmlns:a16="http://schemas.microsoft.com/office/drawing/2014/main" id="{B7A30BBC-2083-4D5B-97F7-FD6342074D11}"/>
                </a:ext>
              </a:extLst>
            </p:cNvPr>
            <p:cNvSpPr/>
            <p:nvPr/>
          </p:nvSpPr>
          <p:spPr>
            <a:xfrm>
              <a:off x="10407526" y="1328092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920" name="Freeform: Shape 919">
              <a:extLst>
                <a:ext uri="{FF2B5EF4-FFF2-40B4-BE49-F238E27FC236}">
                  <a16:creationId xmlns:a16="http://schemas.microsoft.com/office/drawing/2014/main" id="{6E272AA5-3A8C-7A36-BF63-22248048E4F8}"/>
                </a:ext>
              </a:extLst>
            </p:cNvPr>
            <p:cNvSpPr/>
            <p:nvPr/>
          </p:nvSpPr>
          <p:spPr>
            <a:xfrm>
              <a:off x="12147864" y="13280922"/>
              <a:ext cx="435077" cy="435077"/>
            </a:xfrm>
            <a:custGeom>
              <a:avLst/>
              <a:gdLst>
                <a:gd name="connsiteX0" fmla="*/ 63710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0 w 435077"/>
                <a:gd name="connsiteY6" fmla="*/ 153827 h 435077"/>
                <a:gd name="connsiteX7" fmla="*/ 63710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77 h 435077"/>
                <a:gd name="connsiteX12" fmla="*/ 217539 w 435077"/>
                <a:gd name="connsiteY12" fmla="*/ 217539 h 435077"/>
                <a:gd name="connsiteX13" fmla="*/ 63710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7"/>
                  </a:moveTo>
                  <a:cubicBezTo>
                    <a:pt x="22922" y="113039"/>
                    <a:pt x="0" y="57702"/>
                    <a:pt x="0" y="0"/>
                  </a:cubicBezTo>
                  <a:lnTo>
                    <a:pt x="217539" y="0"/>
                  </a:lnTo>
                  <a:lnTo>
                    <a:pt x="435077" y="0"/>
                  </a:lnTo>
                  <a:cubicBezTo>
                    <a:pt x="435077" y="57702"/>
                    <a:pt x="412154" y="113039"/>
                    <a:pt x="371365" y="153827"/>
                  </a:cubicBezTo>
                  <a:cubicBezTo>
                    <a:pt x="330549" y="194642"/>
                    <a:pt x="275239" y="217539"/>
                    <a:pt x="217539" y="217539"/>
                  </a:cubicBezTo>
                  <a:cubicBezTo>
                    <a:pt x="159836" y="217539"/>
                    <a:pt x="104499" y="194642"/>
                    <a:pt x="63710" y="153827"/>
                  </a:cubicBezTo>
                  <a:close/>
                  <a:moveTo>
                    <a:pt x="63710" y="281277"/>
                  </a:moveTo>
                  <a:cubicBezTo>
                    <a:pt x="22922" y="322066"/>
                    <a:pt x="0" y="377402"/>
                    <a:pt x="0" y="435077"/>
                  </a:cubicBezTo>
                  <a:lnTo>
                    <a:pt x="217539" y="435077"/>
                  </a:lnTo>
                  <a:lnTo>
                    <a:pt x="435077" y="435077"/>
                  </a:lnTo>
                  <a:cubicBezTo>
                    <a:pt x="435077" y="377402"/>
                    <a:pt x="412154" y="322066"/>
                    <a:pt x="371365" y="281277"/>
                  </a:cubicBezTo>
                  <a:cubicBezTo>
                    <a:pt x="330549" y="240462"/>
                    <a:pt x="275239" y="217539"/>
                    <a:pt x="217539" y="217539"/>
                  </a:cubicBezTo>
                  <a:cubicBezTo>
                    <a:pt x="159836" y="217539"/>
                    <a:pt x="104499" y="240462"/>
                    <a:pt x="63710" y="281277"/>
                  </a:cubicBezTo>
                  <a:close/>
                </a:path>
              </a:pathLst>
            </a:custGeom>
            <a:grpFill/>
            <a:ln w="27192" cap="flat">
              <a:noFill/>
              <a:prstDash val="solid"/>
              <a:miter/>
            </a:ln>
          </p:spPr>
          <p:txBody>
            <a:bodyPr rtlCol="0" anchor="ctr"/>
            <a:lstStyle/>
            <a:p>
              <a:endParaRPr lang="uk-UA" sz="900"/>
            </a:p>
          </p:txBody>
        </p:sp>
        <p:sp>
          <p:nvSpPr>
            <p:cNvPr id="921" name="Freeform: Shape 920">
              <a:extLst>
                <a:ext uri="{FF2B5EF4-FFF2-40B4-BE49-F238E27FC236}">
                  <a16:creationId xmlns:a16="http://schemas.microsoft.com/office/drawing/2014/main" id="{72B2F207-1125-69C2-FB3B-E72DC4A118A5}"/>
                </a:ext>
              </a:extLst>
            </p:cNvPr>
            <p:cNvSpPr/>
            <p:nvPr/>
          </p:nvSpPr>
          <p:spPr>
            <a:xfrm>
              <a:off x="13018019" y="1328092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5 w 435077"/>
                <a:gd name="connsiteY3" fmla="*/ 27 h 435077"/>
                <a:gd name="connsiteX4" fmla="*/ 435077 w 435077"/>
                <a:gd name="connsiteY4" fmla="*/ 217566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5" y="27"/>
                  </a:lnTo>
                  <a:lnTo>
                    <a:pt x="435077" y="217566"/>
                  </a:lnTo>
                  <a:lnTo>
                    <a:pt x="217565"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922" name="Freeform: Shape 921">
              <a:extLst>
                <a:ext uri="{FF2B5EF4-FFF2-40B4-BE49-F238E27FC236}">
                  <a16:creationId xmlns:a16="http://schemas.microsoft.com/office/drawing/2014/main" id="{06CBFB4C-DB22-1571-8870-2CD14A476F6A}"/>
                </a:ext>
              </a:extLst>
            </p:cNvPr>
            <p:cNvSpPr/>
            <p:nvPr/>
          </p:nvSpPr>
          <p:spPr>
            <a:xfrm>
              <a:off x="14758382" y="13280949"/>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2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2" y="217539"/>
                  </a:lnTo>
                  <a:lnTo>
                    <a:pt x="0" y="435050"/>
                  </a:lnTo>
                  <a:close/>
                </a:path>
              </a:pathLst>
            </a:custGeom>
            <a:grpFill/>
            <a:ln w="27192" cap="flat">
              <a:noFill/>
              <a:prstDash val="solid"/>
              <a:miter/>
            </a:ln>
          </p:spPr>
          <p:txBody>
            <a:bodyPr rtlCol="0" anchor="ctr"/>
            <a:lstStyle/>
            <a:p>
              <a:endParaRPr lang="uk-UA" sz="900"/>
            </a:p>
          </p:txBody>
        </p:sp>
        <p:sp>
          <p:nvSpPr>
            <p:cNvPr id="923" name="Freeform: Shape 922">
              <a:extLst>
                <a:ext uri="{FF2B5EF4-FFF2-40B4-BE49-F238E27FC236}">
                  <a16:creationId xmlns:a16="http://schemas.microsoft.com/office/drawing/2014/main" id="{A0B728FE-7873-F383-A484-791F277CF3F8}"/>
                </a:ext>
              </a:extLst>
            </p:cNvPr>
            <p:cNvSpPr/>
            <p:nvPr/>
          </p:nvSpPr>
          <p:spPr>
            <a:xfrm>
              <a:off x="13888200" y="1328092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924" name="Freeform: Shape 923">
              <a:extLst>
                <a:ext uri="{FF2B5EF4-FFF2-40B4-BE49-F238E27FC236}">
                  <a16:creationId xmlns:a16="http://schemas.microsoft.com/office/drawing/2014/main" id="{50CE9853-642C-F63F-83E9-CFD52B769394}"/>
                </a:ext>
              </a:extLst>
            </p:cNvPr>
            <p:cNvSpPr/>
            <p:nvPr/>
          </p:nvSpPr>
          <p:spPr>
            <a:xfrm>
              <a:off x="15628536" y="1328092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7" y="153827"/>
                  </a:cubicBezTo>
                  <a:cubicBezTo>
                    <a:pt x="330550" y="194642"/>
                    <a:pt x="275241" y="217539"/>
                    <a:pt x="217539" y="217539"/>
                  </a:cubicBezTo>
                  <a:cubicBezTo>
                    <a:pt x="159836"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5" y="322066"/>
                    <a:pt x="371367" y="281277"/>
                  </a:cubicBezTo>
                  <a:cubicBezTo>
                    <a:pt x="330550" y="240462"/>
                    <a:pt x="275241" y="217539"/>
                    <a:pt x="217539" y="217539"/>
                  </a:cubicBezTo>
                  <a:cubicBezTo>
                    <a:pt x="159836" y="217539"/>
                    <a:pt x="104501" y="240462"/>
                    <a:pt x="63712" y="281277"/>
                  </a:cubicBezTo>
                  <a:close/>
                </a:path>
              </a:pathLst>
            </a:custGeom>
            <a:grpFill/>
            <a:ln w="27192" cap="flat">
              <a:noFill/>
              <a:prstDash val="solid"/>
              <a:miter/>
            </a:ln>
          </p:spPr>
          <p:txBody>
            <a:bodyPr rtlCol="0" anchor="ctr"/>
            <a:lstStyle/>
            <a:p>
              <a:endParaRPr lang="uk-UA" sz="900"/>
            </a:p>
          </p:txBody>
        </p:sp>
        <p:sp>
          <p:nvSpPr>
            <p:cNvPr id="925" name="Freeform: Shape 924">
              <a:extLst>
                <a:ext uri="{FF2B5EF4-FFF2-40B4-BE49-F238E27FC236}">
                  <a16:creationId xmlns:a16="http://schemas.microsoft.com/office/drawing/2014/main" id="{D4876E03-0916-2D4B-0E5A-39186FC0E1E1}"/>
                </a:ext>
              </a:extLst>
            </p:cNvPr>
            <p:cNvSpPr/>
            <p:nvPr/>
          </p:nvSpPr>
          <p:spPr>
            <a:xfrm>
              <a:off x="16498691" y="1328092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7 w 435077"/>
                <a:gd name="connsiteY3" fmla="*/ 27 h 435077"/>
                <a:gd name="connsiteX4" fmla="*/ 435077 w 435077"/>
                <a:gd name="connsiteY4" fmla="*/ 217566 h 435077"/>
                <a:gd name="connsiteX5" fmla="*/ 217567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7" y="27"/>
                  </a:lnTo>
                  <a:lnTo>
                    <a:pt x="435077" y="217566"/>
                  </a:lnTo>
                  <a:lnTo>
                    <a:pt x="217567"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926" name="Freeform: Shape 925">
              <a:extLst>
                <a:ext uri="{FF2B5EF4-FFF2-40B4-BE49-F238E27FC236}">
                  <a16:creationId xmlns:a16="http://schemas.microsoft.com/office/drawing/2014/main" id="{B94BD52A-6DC7-4749-31F5-C2544375C55C}"/>
                </a:ext>
              </a:extLst>
            </p:cNvPr>
            <p:cNvSpPr/>
            <p:nvPr/>
          </p:nvSpPr>
          <p:spPr>
            <a:xfrm>
              <a:off x="18239029" y="13280949"/>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0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0" y="217539"/>
                  </a:lnTo>
                  <a:lnTo>
                    <a:pt x="0" y="435050"/>
                  </a:lnTo>
                  <a:close/>
                </a:path>
              </a:pathLst>
            </a:custGeom>
            <a:grpFill/>
            <a:ln w="27192" cap="flat">
              <a:noFill/>
              <a:prstDash val="solid"/>
              <a:miter/>
            </a:ln>
          </p:spPr>
          <p:txBody>
            <a:bodyPr rtlCol="0" anchor="ctr"/>
            <a:lstStyle/>
            <a:p>
              <a:endParaRPr lang="uk-UA" sz="900"/>
            </a:p>
          </p:txBody>
        </p:sp>
        <p:sp>
          <p:nvSpPr>
            <p:cNvPr id="927" name="Freeform: Shape 926">
              <a:extLst>
                <a:ext uri="{FF2B5EF4-FFF2-40B4-BE49-F238E27FC236}">
                  <a16:creationId xmlns:a16="http://schemas.microsoft.com/office/drawing/2014/main" id="{E8C2AB4E-E22C-BC81-81A2-1593E6F41F5D}"/>
                </a:ext>
              </a:extLst>
            </p:cNvPr>
            <p:cNvSpPr/>
            <p:nvPr/>
          </p:nvSpPr>
          <p:spPr>
            <a:xfrm>
              <a:off x="17368846" y="1328092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67 w 435077"/>
                <a:gd name="connsiteY4" fmla="*/ 435077 h 435077"/>
                <a:gd name="connsiteX5" fmla="*/ 217567 w 435077"/>
                <a:gd name="connsiteY5" fmla="*/ 0 h 435077"/>
                <a:gd name="connsiteX6" fmla="*/ 435077 w 435077"/>
                <a:gd name="connsiteY6" fmla="*/ 217566 h 435077"/>
                <a:gd name="connsiteX7" fmla="*/ 217567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67" y="435077"/>
                  </a:moveTo>
                  <a:lnTo>
                    <a:pt x="217567" y="0"/>
                  </a:lnTo>
                  <a:lnTo>
                    <a:pt x="435077" y="217566"/>
                  </a:lnTo>
                  <a:lnTo>
                    <a:pt x="217567" y="435077"/>
                  </a:lnTo>
                  <a:close/>
                </a:path>
              </a:pathLst>
            </a:custGeom>
            <a:grpFill/>
            <a:ln w="27192" cap="flat">
              <a:noFill/>
              <a:prstDash val="solid"/>
              <a:miter/>
            </a:ln>
          </p:spPr>
          <p:txBody>
            <a:bodyPr rtlCol="0" anchor="ctr"/>
            <a:lstStyle/>
            <a:p>
              <a:endParaRPr lang="uk-UA" sz="900"/>
            </a:p>
          </p:txBody>
        </p:sp>
        <p:sp>
          <p:nvSpPr>
            <p:cNvPr id="928" name="Freeform: Shape 927">
              <a:extLst>
                <a:ext uri="{FF2B5EF4-FFF2-40B4-BE49-F238E27FC236}">
                  <a16:creationId xmlns:a16="http://schemas.microsoft.com/office/drawing/2014/main" id="{6EFC5C09-F668-4FBF-CADD-925416081965}"/>
                </a:ext>
              </a:extLst>
            </p:cNvPr>
            <p:cNvSpPr/>
            <p:nvPr/>
          </p:nvSpPr>
          <p:spPr>
            <a:xfrm>
              <a:off x="19109184" y="13280922"/>
              <a:ext cx="435077" cy="435077"/>
            </a:xfrm>
            <a:custGeom>
              <a:avLst/>
              <a:gdLst>
                <a:gd name="connsiteX0" fmla="*/ 63710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0 w 435077"/>
                <a:gd name="connsiteY6" fmla="*/ 153827 h 435077"/>
                <a:gd name="connsiteX7" fmla="*/ 63710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77 h 435077"/>
                <a:gd name="connsiteX12" fmla="*/ 217539 w 435077"/>
                <a:gd name="connsiteY12" fmla="*/ 217539 h 435077"/>
                <a:gd name="connsiteX13" fmla="*/ 63710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7"/>
                  </a:moveTo>
                  <a:cubicBezTo>
                    <a:pt x="22922" y="113039"/>
                    <a:pt x="0" y="57702"/>
                    <a:pt x="0" y="0"/>
                  </a:cubicBezTo>
                  <a:lnTo>
                    <a:pt x="217539" y="0"/>
                  </a:lnTo>
                  <a:lnTo>
                    <a:pt x="435077" y="0"/>
                  </a:lnTo>
                  <a:cubicBezTo>
                    <a:pt x="435077" y="57702"/>
                    <a:pt x="412154" y="113039"/>
                    <a:pt x="371365" y="153827"/>
                  </a:cubicBezTo>
                  <a:cubicBezTo>
                    <a:pt x="330577" y="194642"/>
                    <a:pt x="275241" y="217539"/>
                    <a:pt x="217539" y="217539"/>
                  </a:cubicBezTo>
                  <a:cubicBezTo>
                    <a:pt x="159836" y="217539"/>
                    <a:pt x="104527" y="194642"/>
                    <a:pt x="63710" y="153827"/>
                  </a:cubicBezTo>
                  <a:close/>
                  <a:moveTo>
                    <a:pt x="63710" y="281277"/>
                  </a:moveTo>
                  <a:cubicBezTo>
                    <a:pt x="22922" y="322066"/>
                    <a:pt x="0" y="377402"/>
                    <a:pt x="0" y="435077"/>
                  </a:cubicBezTo>
                  <a:lnTo>
                    <a:pt x="217539" y="435077"/>
                  </a:lnTo>
                  <a:lnTo>
                    <a:pt x="435077" y="435077"/>
                  </a:lnTo>
                  <a:cubicBezTo>
                    <a:pt x="435077" y="377402"/>
                    <a:pt x="412154" y="322066"/>
                    <a:pt x="371365" y="281277"/>
                  </a:cubicBezTo>
                  <a:cubicBezTo>
                    <a:pt x="330577" y="240462"/>
                    <a:pt x="275241" y="217539"/>
                    <a:pt x="217539" y="217539"/>
                  </a:cubicBezTo>
                  <a:cubicBezTo>
                    <a:pt x="159836" y="217539"/>
                    <a:pt x="104527" y="240462"/>
                    <a:pt x="63710" y="281277"/>
                  </a:cubicBezTo>
                  <a:close/>
                </a:path>
              </a:pathLst>
            </a:custGeom>
            <a:grpFill/>
            <a:ln w="27192" cap="flat">
              <a:noFill/>
              <a:prstDash val="solid"/>
              <a:miter/>
            </a:ln>
          </p:spPr>
          <p:txBody>
            <a:bodyPr rtlCol="0" anchor="ctr"/>
            <a:lstStyle/>
            <a:p>
              <a:endParaRPr lang="uk-UA" sz="900"/>
            </a:p>
          </p:txBody>
        </p:sp>
        <p:sp>
          <p:nvSpPr>
            <p:cNvPr id="929" name="Freeform: Shape 928">
              <a:extLst>
                <a:ext uri="{FF2B5EF4-FFF2-40B4-BE49-F238E27FC236}">
                  <a16:creationId xmlns:a16="http://schemas.microsoft.com/office/drawing/2014/main" id="{03219D3D-12A4-EF4C-250A-ED88A84B9272}"/>
                </a:ext>
              </a:extLst>
            </p:cNvPr>
            <p:cNvSpPr/>
            <p:nvPr/>
          </p:nvSpPr>
          <p:spPr>
            <a:xfrm>
              <a:off x="19979339" y="1328092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5 w 435077"/>
                <a:gd name="connsiteY3" fmla="*/ 27 h 435077"/>
                <a:gd name="connsiteX4" fmla="*/ 435077 w 435077"/>
                <a:gd name="connsiteY4" fmla="*/ 217566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5" y="27"/>
                  </a:lnTo>
                  <a:lnTo>
                    <a:pt x="435077" y="217566"/>
                  </a:lnTo>
                  <a:lnTo>
                    <a:pt x="217565"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930" name="Freeform: Shape 929">
              <a:extLst>
                <a:ext uri="{FF2B5EF4-FFF2-40B4-BE49-F238E27FC236}">
                  <a16:creationId xmlns:a16="http://schemas.microsoft.com/office/drawing/2014/main" id="{F88FA794-B983-84C3-047D-303491B33427}"/>
                </a:ext>
              </a:extLst>
            </p:cNvPr>
            <p:cNvSpPr/>
            <p:nvPr/>
          </p:nvSpPr>
          <p:spPr>
            <a:xfrm>
              <a:off x="21719675" y="13280922"/>
              <a:ext cx="435077" cy="435077"/>
            </a:xfrm>
            <a:custGeom>
              <a:avLst/>
              <a:gdLst>
                <a:gd name="connsiteX0" fmla="*/ 435077 w 435077"/>
                <a:gd name="connsiteY0" fmla="*/ 435077 h 435077"/>
                <a:gd name="connsiteX1" fmla="*/ 435077 w 435077"/>
                <a:gd name="connsiteY1" fmla="*/ 0 h 435077"/>
                <a:gd name="connsiteX2" fmla="*/ 217565 w 435077"/>
                <a:gd name="connsiteY2" fmla="*/ 217566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66"/>
                  </a:lnTo>
                  <a:lnTo>
                    <a:pt x="435077" y="435077"/>
                  </a:lnTo>
                  <a:close/>
                  <a:moveTo>
                    <a:pt x="0" y="435077"/>
                  </a:moveTo>
                  <a:lnTo>
                    <a:pt x="0" y="0"/>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931" name="Freeform: Shape 930">
              <a:extLst>
                <a:ext uri="{FF2B5EF4-FFF2-40B4-BE49-F238E27FC236}">
                  <a16:creationId xmlns:a16="http://schemas.microsoft.com/office/drawing/2014/main" id="{72D1AAC0-571F-37CD-414B-DE8B4E8479B5}"/>
                </a:ext>
              </a:extLst>
            </p:cNvPr>
            <p:cNvSpPr/>
            <p:nvPr/>
          </p:nvSpPr>
          <p:spPr>
            <a:xfrm>
              <a:off x="20849520" y="1328092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932" name="Freeform: Shape 931">
              <a:extLst>
                <a:ext uri="{FF2B5EF4-FFF2-40B4-BE49-F238E27FC236}">
                  <a16:creationId xmlns:a16="http://schemas.microsoft.com/office/drawing/2014/main" id="{AC5D4A02-4165-FFA0-C97A-CC1BBB4B7867}"/>
                </a:ext>
              </a:extLst>
            </p:cNvPr>
            <p:cNvSpPr/>
            <p:nvPr/>
          </p:nvSpPr>
          <p:spPr>
            <a:xfrm>
              <a:off x="22589856" y="1328092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7" y="153827"/>
                  </a:cubicBezTo>
                  <a:cubicBezTo>
                    <a:pt x="330550" y="194642"/>
                    <a:pt x="275215" y="217539"/>
                    <a:pt x="217539" y="217539"/>
                  </a:cubicBezTo>
                  <a:cubicBezTo>
                    <a:pt x="159838"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5" y="322066"/>
                    <a:pt x="371367" y="281277"/>
                  </a:cubicBezTo>
                  <a:cubicBezTo>
                    <a:pt x="330550" y="240462"/>
                    <a:pt x="275215" y="217539"/>
                    <a:pt x="217539" y="217539"/>
                  </a:cubicBezTo>
                  <a:cubicBezTo>
                    <a:pt x="159838" y="217539"/>
                    <a:pt x="104501" y="240462"/>
                    <a:pt x="63712" y="281277"/>
                  </a:cubicBezTo>
                  <a:close/>
                </a:path>
              </a:pathLst>
            </a:custGeom>
            <a:grpFill/>
            <a:ln w="27192" cap="flat">
              <a:noFill/>
              <a:prstDash val="solid"/>
              <a:miter/>
            </a:ln>
          </p:spPr>
          <p:txBody>
            <a:bodyPr rtlCol="0" anchor="ctr"/>
            <a:lstStyle/>
            <a:p>
              <a:endParaRPr lang="uk-UA" sz="900"/>
            </a:p>
          </p:txBody>
        </p:sp>
        <p:sp>
          <p:nvSpPr>
            <p:cNvPr id="933" name="Freeform: Shape 932">
              <a:extLst>
                <a:ext uri="{FF2B5EF4-FFF2-40B4-BE49-F238E27FC236}">
                  <a16:creationId xmlns:a16="http://schemas.microsoft.com/office/drawing/2014/main" id="{6A1DC27C-5AD5-2989-50C6-E3A3C8BCFBC7}"/>
                </a:ext>
              </a:extLst>
            </p:cNvPr>
            <p:cNvSpPr/>
            <p:nvPr/>
          </p:nvSpPr>
          <p:spPr>
            <a:xfrm>
              <a:off x="23460011" y="1328092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7 w 435077"/>
                <a:gd name="connsiteY3" fmla="*/ 27 h 435077"/>
                <a:gd name="connsiteX4" fmla="*/ 435077 w 435077"/>
                <a:gd name="connsiteY4" fmla="*/ 217566 h 435077"/>
                <a:gd name="connsiteX5" fmla="*/ 217567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12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7" y="27"/>
                  </a:lnTo>
                  <a:lnTo>
                    <a:pt x="435077" y="217566"/>
                  </a:lnTo>
                  <a:lnTo>
                    <a:pt x="217567" y="435077"/>
                  </a:lnTo>
                  <a:lnTo>
                    <a:pt x="435077" y="435077"/>
                  </a:lnTo>
                  <a:close/>
                  <a:moveTo>
                    <a:pt x="0" y="217539"/>
                  </a:moveTo>
                  <a:lnTo>
                    <a:pt x="0" y="0"/>
                  </a:lnTo>
                  <a:lnTo>
                    <a:pt x="217512" y="217539"/>
                  </a:lnTo>
                  <a:lnTo>
                    <a:pt x="0" y="217539"/>
                  </a:lnTo>
                  <a:close/>
                  <a:moveTo>
                    <a:pt x="0" y="435077"/>
                  </a:moveTo>
                  <a:lnTo>
                    <a:pt x="0" y="217566"/>
                  </a:lnTo>
                  <a:lnTo>
                    <a:pt x="217512" y="217566"/>
                  </a:lnTo>
                  <a:lnTo>
                    <a:pt x="0" y="435077"/>
                  </a:lnTo>
                  <a:close/>
                </a:path>
              </a:pathLst>
            </a:custGeom>
            <a:grpFill/>
            <a:ln w="27192" cap="flat">
              <a:noFill/>
              <a:prstDash val="solid"/>
              <a:miter/>
            </a:ln>
          </p:spPr>
          <p:txBody>
            <a:bodyPr rtlCol="0" anchor="ctr"/>
            <a:lstStyle/>
            <a:p>
              <a:endParaRPr lang="uk-UA" sz="900"/>
            </a:p>
          </p:txBody>
        </p:sp>
        <p:sp>
          <p:nvSpPr>
            <p:cNvPr id="934" name="Freeform: Shape 933">
              <a:extLst>
                <a:ext uri="{FF2B5EF4-FFF2-40B4-BE49-F238E27FC236}">
                  <a16:creationId xmlns:a16="http://schemas.microsoft.com/office/drawing/2014/main" id="{2C928438-DEF2-E077-5F91-39AC656A9A47}"/>
                </a:ext>
              </a:extLst>
            </p:cNvPr>
            <p:cNvSpPr/>
            <p:nvPr/>
          </p:nvSpPr>
          <p:spPr>
            <a:xfrm>
              <a:off x="24330194" y="1328092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grpSp>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18416" y="160295"/>
            <a:ext cx="8569797" cy="4095750"/>
          </a:xfrm>
        </p:spPr>
        <p:txBody>
          <a:bodyPr/>
          <a:lstStyle>
            <a:lvl1pPr>
              <a:defRPr sz="8598" b="0" i="0">
                <a:solidFill>
                  <a:schemeClr val="tx1"/>
                </a:solidFill>
                <a:latin typeface="IBM Plex Sans Light" panose="020B0403050203000203" pitchFamily="34" charset="0"/>
              </a:defRPr>
            </a:lvl1pPr>
          </a:lstStyle>
          <a:p>
            <a:r>
              <a:rPr lang="en-US"/>
              <a:t>Click to edit Master title style</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1">
            <a:extLst>
              <a:ext uri="{FF2B5EF4-FFF2-40B4-BE49-F238E27FC236}">
                <a16:creationId xmlns:a16="http://schemas.microsoft.com/office/drawing/2014/main" id="{15E15240-CB4B-3EBC-59A0-A3009A53924C}"/>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
        <p:nvSpPr>
          <p:cNvPr id="3" name="TextBox 2">
            <a:extLst>
              <a:ext uri="{FF2B5EF4-FFF2-40B4-BE49-F238E27FC236}">
                <a16:creationId xmlns:a16="http://schemas.microsoft.com/office/drawing/2014/main" id="{7D3FEBEE-659C-27EB-080E-79CE71418AB0}"/>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rgbClr val="000000"/>
                </a:solidFill>
                <a:latin typeface="IBM Plex Sans" panose="020B0503050203000203" pitchFamily="34" charset="0"/>
                <a:ea typeface="+mj-ea"/>
                <a:cs typeface="+mj-cs"/>
                <a:sym typeface="IBM Plex Sans Light"/>
              </a:rPr>
              <a:t>#IBMTechXchange</a:t>
            </a:r>
          </a:p>
        </p:txBody>
      </p:sp>
    </p:spTree>
    <p:extLst>
      <p:ext uri="{BB962C8B-B14F-4D97-AF65-F5344CB8AC3E}">
        <p14:creationId xmlns:p14="http://schemas.microsoft.com/office/powerpoint/2010/main" val="28273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18416" y="160295"/>
            <a:ext cx="8569797" cy="4095750"/>
          </a:xfrm>
        </p:spPr>
        <p:txBody>
          <a:bodyPr/>
          <a:lstStyle>
            <a:lvl1pPr>
              <a:defRPr sz="8598" b="0" i="0">
                <a:solidFill>
                  <a:schemeClr val="tx1"/>
                </a:solidFill>
                <a:latin typeface="IBM Plex Sans Light" panose="020B0403050203000203" pitchFamily="34" charset="0"/>
              </a:defRPr>
            </a:lvl1pPr>
          </a:lstStyle>
          <a:p>
            <a:r>
              <a:rPr lang="en-US"/>
              <a:t>Click to edit Master title style</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1">
            <a:extLst>
              <a:ext uri="{FF2B5EF4-FFF2-40B4-BE49-F238E27FC236}">
                <a16:creationId xmlns:a16="http://schemas.microsoft.com/office/drawing/2014/main" id="{15E15240-CB4B-3EBC-59A0-A3009A53924C}"/>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
        <p:nvSpPr>
          <p:cNvPr id="3" name="TextBox 2">
            <a:extLst>
              <a:ext uri="{FF2B5EF4-FFF2-40B4-BE49-F238E27FC236}">
                <a16:creationId xmlns:a16="http://schemas.microsoft.com/office/drawing/2014/main" id="{AA91D4B0-B647-CABB-F558-8DE439C16E48}"/>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rgbClr val="000000"/>
                </a:solidFill>
                <a:latin typeface="IBM Plex Sans" panose="020B0503050203000203" pitchFamily="34" charset="0"/>
                <a:ea typeface="+mj-ea"/>
                <a:cs typeface="+mj-cs"/>
                <a:sym typeface="IBM Plex Sans Light"/>
              </a:rPr>
              <a:t>#IBMTechXchange</a:t>
            </a:r>
          </a:p>
        </p:txBody>
      </p:sp>
    </p:spTree>
    <p:extLst>
      <p:ext uri="{BB962C8B-B14F-4D97-AF65-F5344CB8AC3E}">
        <p14:creationId xmlns:p14="http://schemas.microsoft.com/office/powerpoint/2010/main" val="210491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Large text, pattern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18416" y="160295"/>
            <a:ext cx="8569797" cy="4095750"/>
          </a:xfrm>
        </p:spPr>
        <p:txBody>
          <a:bodyPr/>
          <a:lstStyle>
            <a:lvl1pPr>
              <a:defRPr sz="8598" b="0" i="0">
                <a:solidFill>
                  <a:schemeClr val="bg1"/>
                </a:solidFill>
                <a:latin typeface="IBM Plex Sans Light" panose="020B0403050203000203" pitchFamily="34" charset="0"/>
              </a:defRPr>
            </a:lvl1pPr>
          </a:lstStyle>
          <a:p>
            <a:r>
              <a:rPr lang="en-US"/>
              <a:t>Click to edit Master title style</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bg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1">
            <a:extLst>
              <a:ext uri="{FF2B5EF4-FFF2-40B4-BE49-F238E27FC236}">
                <a16:creationId xmlns:a16="http://schemas.microsoft.com/office/drawing/2014/main" id="{15E15240-CB4B-3EBC-59A0-A3009A53924C}"/>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bg1"/>
                </a:solidFill>
                <a:latin typeface="IBM Plex Sans" panose="020B0503050203000203" pitchFamily="34" charset="0"/>
              </a:defRPr>
            </a:lvl1pPr>
          </a:lstStyle>
          <a:p>
            <a:r>
              <a:rPr lang="en-US"/>
              <a:t>IBM TechXchange | © 2024 IBM Corporation</a:t>
            </a:r>
          </a:p>
        </p:txBody>
      </p:sp>
      <p:grpSp>
        <p:nvGrpSpPr>
          <p:cNvPr id="3" name="Group 2">
            <a:extLst>
              <a:ext uri="{FF2B5EF4-FFF2-40B4-BE49-F238E27FC236}">
                <a16:creationId xmlns:a16="http://schemas.microsoft.com/office/drawing/2014/main" id="{E787949E-5876-7C39-AFF9-CE394382AD2F}"/>
              </a:ext>
            </a:extLst>
          </p:cNvPr>
          <p:cNvGrpSpPr>
            <a:grpSpLocks noChangeAspect="1"/>
          </p:cNvGrpSpPr>
          <p:nvPr userDrawn="1"/>
        </p:nvGrpSpPr>
        <p:grpSpPr>
          <a:xfrm>
            <a:off x="254136" y="251460"/>
            <a:ext cx="11683728" cy="6355080"/>
            <a:chOff x="-34412" y="228570"/>
            <a:chExt cx="24799683" cy="13487429"/>
          </a:xfrm>
          <a:solidFill>
            <a:srgbClr val="C6C6C6">
              <a:alpha val="15000"/>
            </a:srgbClr>
          </a:solidFill>
        </p:grpSpPr>
        <p:sp>
          <p:nvSpPr>
            <p:cNvPr id="6" name="Freeform: Shape 5">
              <a:extLst>
                <a:ext uri="{FF2B5EF4-FFF2-40B4-BE49-F238E27FC236}">
                  <a16:creationId xmlns:a16="http://schemas.microsoft.com/office/drawing/2014/main" id="{748F31A1-A288-0658-0711-E897B1F74B70}"/>
                </a:ext>
              </a:extLst>
            </p:cNvPr>
            <p:cNvSpPr/>
            <p:nvPr/>
          </p:nvSpPr>
          <p:spPr>
            <a:xfrm>
              <a:off x="835769" y="228598"/>
              <a:ext cx="435077" cy="435073"/>
            </a:xfrm>
            <a:custGeom>
              <a:avLst/>
              <a:gdLst>
                <a:gd name="connsiteX0" fmla="*/ 371366 w 435077"/>
                <a:gd name="connsiteY0" fmla="*/ 63716 h 435073"/>
                <a:gd name="connsiteX1" fmla="*/ 435077 w 435077"/>
                <a:gd name="connsiteY1" fmla="*/ 217539 h 435073"/>
                <a:gd name="connsiteX2" fmla="*/ 218925 w 435077"/>
                <a:gd name="connsiteY2" fmla="*/ 217539 h 435073"/>
                <a:gd name="connsiteX3" fmla="*/ 371366 w 435077"/>
                <a:gd name="connsiteY3" fmla="*/ 281249 h 435073"/>
                <a:gd name="connsiteX4" fmla="*/ 435077 w 435077"/>
                <a:gd name="connsiteY4" fmla="*/ 435073 h 435073"/>
                <a:gd name="connsiteX5" fmla="*/ 217539 w 435077"/>
                <a:gd name="connsiteY5" fmla="*/ 435073 h 435073"/>
                <a:gd name="connsiteX6" fmla="*/ 0 w 435077"/>
                <a:gd name="connsiteY6" fmla="*/ 435073 h 435073"/>
                <a:gd name="connsiteX7" fmla="*/ 63711 w 435077"/>
                <a:gd name="connsiteY7" fmla="*/ 281249 h 435073"/>
                <a:gd name="connsiteX8" fmla="*/ 216125 w 435077"/>
                <a:gd name="connsiteY8" fmla="*/ 217539 h 435073"/>
                <a:gd name="connsiteX9" fmla="*/ 0 w 435077"/>
                <a:gd name="connsiteY9" fmla="*/ 217539 h 435073"/>
                <a:gd name="connsiteX10" fmla="*/ 63711 w 435077"/>
                <a:gd name="connsiteY10" fmla="*/ 63716 h 435073"/>
                <a:gd name="connsiteX11" fmla="*/ 217539 w 435077"/>
                <a:gd name="connsiteY11" fmla="*/ 0 h 435073"/>
                <a:gd name="connsiteX12" fmla="*/ 371366 w 435077"/>
                <a:gd name="connsiteY12" fmla="*/ 63716 h 43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3">
                  <a:moveTo>
                    <a:pt x="371366" y="63716"/>
                  </a:moveTo>
                  <a:cubicBezTo>
                    <a:pt x="412154" y="104512"/>
                    <a:pt x="435077" y="159844"/>
                    <a:pt x="435077" y="217539"/>
                  </a:cubicBezTo>
                  <a:lnTo>
                    <a:pt x="218925" y="217539"/>
                  </a:lnTo>
                  <a:cubicBezTo>
                    <a:pt x="276138" y="217907"/>
                    <a:pt x="330903" y="240784"/>
                    <a:pt x="371366" y="281249"/>
                  </a:cubicBezTo>
                  <a:cubicBezTo>
                    <a:pt x="412154" y="322046"/>
                    <a:pt x="435077" y="377379"/>
                    <a:pt x="435077" y="435073"/>
                  </a:cubicBezTo>
                  <a:lnTo>
                    <a:pt x="217539" y="435073"/>
                  </a:lnTo>
                  <a:lnTo>
                    <a:pt x="0" y="435073"/>
                  </a:lnTo>
                  <a:cubicBezTo>
                    <a:pt x="0" y="377379"/>
                    <a:pt x="22923" y="322046"/>
                    <a:pt x="63711" y="281249"/>
                  </a:cubicBezTo>
                  <a:cubicBezTo>
                    <a:pt x="104174" y="240784"/>
                    <a:pt x="158939" y="217907"/>
                    <a:pt x="216125" y="217539"/>
                  </a:cubicBezTo>
                  <a:lnTo>
                    <a:pt x="0" y="217539"/>
                  </a:lnTo>
                  <a:cubicBezTo>
                    <a:pt x="0" y="159844"/>
                    <a:pt x="22923" y="104512"/>
                    <a:pt x="63711" y="63716"/>
                  </a:cubicBezTo>
                  <a:cubicBezTo>
                    <a:pt x="104500" y="22919"/>
                    <a:pt x="159836" y="0"/>
                    <a:pt x="217539" y="0"/>
                  </a:cubicBezTo>
                  <a:cubicBezTo>
                    <a:pt x="275213" y="0"/>
                    <a:pt x="330550" y="22919"/>
                    <a:pt x="371366" y="63716"/>
                  </a:cubicBezTo>
                  <a:close/>
                </a:path>
              </a:pathLst>
            </a:custGeom>
            <a:grpFill/>
            <a:ln w="27192" cap="flat">
              <a:noFill/>
              <a:prstDash val="solid"/>
              <a:miter/>
            </a:ln>
          </p:spPr>
          <p:txBody>
            <a:bodyPr rtlCol="0" anchor="ctr"/>
            <a:lstStyle/>
            <a:p>
              <a:endParaRPr lang="uk-UA" sz="900">
                <a:solidFill>
                  <a:schemeClr val="bg1"/>
                </a:solidFill>
              </a:endParaRPr>
            </a:p>
          </p:txBody>
        </p:sp>
        <p:sp>
          <p:nvSpPr>
            <p:cNvPr id="7" name="Freeform: Shape 6">
              <a:extLst>
                <a:ext uri="{FF2B5EF4-FFF2-40B4-BE49-F238E27FC236}">
                  <a16:creationId xmlns:a16="http://schemas.microsoft.com/office/drawing/2014/main" id="{E3902240-DEAE-8A4F-6B49-8099A1C9D084}"/>
                </a:ext>
              </a:extLst>
            </p:cNvPr>
            <p:cNvSpPr/>
            <p:nvPr/>
          </p:nvSpPr>
          <p:spPr>
            <a:xfrm>
              <a:off x="-34398" y="228598"/>
              <a:ext cx="435090" cy="435078"/>
            </a:xfrm>
            <a:custGeom>
              <a:avLst/>
              <a:gdLst>
                <a:gd name="connsiteX0" fmla="*/ 217525 w 435090"/>
                <a:gd name="connsiteY0" fmla="*/ 0 h 435078"/>
                <a:gd name="connsiteX1" fmla="*/ 0 w 435090"/>
                <a:gd name="connsiteY1" fmla="*/ 0 h 435078"/>
                <a:gd name="connsiteX2" fmla="*/ 0 w 435090"/>
                <a:gd name="connsiteY2" fmla="*/ 217539 h 435078"/>
                <a:gd name="connsiteX3" fmla="*/ 217525 w 435090"/>
                <a:gd name="connsiteY3" fmla="*/ 0 h 435078"/>
                <a:gd name="connsiteX4" fmla="*/ 435091 w 435090"/>
                <a:gd name="connsiteY4" fmla="*/ 0 h 435078"/>
                <a:gd name="connsiteX5" fmla="*/ 435091 w 435090"/>
                <a:gd name="connsiteY5" fmla="*/ 217539 h 435078"/>
                <a:gd name="connsiteX6" fmla="*/ 217552 w 435090"/>
                <a:gd name="connsiteY6" fmla="*/ 0 h 435078"/>
                <a:gd name="connsiteX7" fmla="*/ 435091 w 435090"/>
                <a:gd name="connsiteY7" fmla="*/ 0 h 435078"/>
                <a:gd name="connsiteX8" fmla="*/ 217552 w 435090"/>
                <a:gd name="connsiteY8" fmla="*/ 435079 h 435078"/>
                <a:gd name="connsiteX9" fmla="*/ 435091 w 435090"/>
                <a:gd name="connsiteY9" fmla="*/ 217539 h 435078"/>
                <a:gd name="connsiteX10" fmla="*/ 435091 w 435090"/>
                <a:gd name="connsiteY10" fmla="*/ 435079 h 435078"/>
                <a:gd name="connsiteX11" fmla="*/ 217552 w 435090"/>
                <a:gd name="connsiteY11" fmla="*/ 435079 h 435078"/>
                <a:gd name="connsiteX12" fmla="*/ 217552 w 435090"/>
                <a:gd name="connsiteY12" fmla="*/ 435079 h 435078"/>
                <a:gd name="connsiteX13" fmla="*/ 11 w 435090"/>
                <a:gd name="connsiteY13" fmla="*/ 217539 h 435078"/>
                <a:gd name="connsiteX14" fmla="*/ 11 w 435090"/>
                <a:gd name="connsiteY14" fmla="*/ 435079 h 435078"/>
                <a:gd name="connsiteX15" fmla="*/ 217552 w 435090"/>
                <a:gd name="connsiteY15" fmla="*/ 435079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90" h="435078">
                  <a:moveTo>
                    <a:pt x="217525" y="0"/>
                  </a:moveTo>
                  <a:lnTo>
                    <a:pt x="0" y="0"/>
                  </a:lnTo>
                  <a:lnTo>
                    <a:pt x="0" y="217539"/>
                  </a:lnTo>
                  <a:lnTo>
                    <a:pt x="217525" y="0"/>
                  </a:lnTo>
                  <a:close/>
                  <a:moveTo>
                    <a:pt x="435091" y="0"/>
                  </a:moveTo>
                  <a:lnTo>
                    <a:pt x="435091" y="217539"/>
                  </a:lnTo>
                  <a:lnTo>
                    <a:pt x="217552" y="0"/>
                  </a:lnTo>
                  <a:lnTo>
                    <a:pt x="435091" y="0"/>
                  </a:lnTo>
                  <a:close/>
                  <a:moveTo>
                    <a:pt x="217552" y="435079"/>
                  </a:moveTo>
                  <a:lnTo>
                    <a:pt x="435091" y="217539"/>
                  </a:lnTo>
                  <a:lnTo>
                    <a:pt x="435091" y="435079"/>
                  </a:lnTo>
                  <a:lnTo>
                    <a:pt x="217552" y="435079"/>
                  </a:lnTo>
                  <a:close/>
                  <a:moveTo>
                    <a:pt x="217552" y="435079"/>
                  </a:moveTo>
                  <a:lnTo>
                    <a:pt x="11" y="217539"/>
                  </a:lnTo>
                  <a:lnTo>
                    <a:pt x="11" y="435079"/>
                  </a:lnTo>
                  <a:lnTo>
                    <a:pt x="217552" y="435079"/>
                  </a:lnTo>
                  <a:close/>
                </a:path>
              </a:pathLst>
            </a:custGeom>
            <a:grpFill/>
            <a:ln w="27192" cap="flat">
              <a:noFill/>
              <a:prstDash val="solid"/>
              <a:miter/>
            </a:ln>
          </p:spPr>
          <p:txBody>
            <a:bodyPr rtlCol="0" anchor="ctr"/>
            <a:lstStyle/>
            <a:p>
              <a:endParaRPr lang="uk-UA" sz="900">
                <a:solidFill>
                  <a:schemeClr val="bg1"/>
                </a:solidFill>
              </a:endParaRPr>
            </a:p>
          </p:txBody>
        </p:sp>
        <p:sp>
          <p:nvSpPr>
            <p:cNvPr id="8" name="Freeform: Shape 7">
              <a:extLst>
                <a:ext uri="{FF2B5EF4-FFF2-40B4-BE49-F238E27FC236}">
                  <a16:creationId xmlns:a16="http://schemas.microsoft.com/office/drawing/2014/main" id="{ED2E9913-021B-9F2E-809B-4CCA73CD5227}"/>
                </a:ext>
              </a:extLst>
            </p:cNvPr>
            <p:cNvSpPr/>
            <p:nvPr/>
          </p:nvSpPr>
          <p:spPr>
            <a:xfrm>
              <a:off x="1705924" y="228598"/>
              <a:ext cx="435077" cy="435075"/>
            </a:xfrm>
            <a:custGeom>
              <a:avLst/>
              <a:gdLst>
                <a:gd name="connsiteX0" fmla="*/ 217539 w 435077"/>
                <a:gd name="connsiteY0" fmla="*/ 217533 h 435075"/>
                <a:gd name="connsiteX1" fmla="*/ 217539 w 435077"/>
                <a:gd name="connsiteY1" fmla="*/ 0 h 435075"/>
                <a:gd name="connsiteX2" fmla="*/ 0 w 435077"/>
                <a:gd name="connsiteY2" fmla="*/ 0 h 435075"/>
                <a:gd name="connsiteX3" fmla="*/ 217539 w 435077"/>
                <a:gd name="connsiteY3" fmla="*/ 217538 h 435075"/>
                <a:gd name="connsiteX4" fmla="*/ 0 w 435077"/>
                <a:gd name="connsiteY4" fmla="*/ 435076 h 435075"/>
                <a:gd name="connsiteX5" fmla="*/ 217539 w 435077"/>
                <a:gd name="connsiteY5" fmla="*/ 435076 h 435075"/>
                <a:gd name="connsiteX6" fmla="*/ 217539 w 435077"/>
                <a:gd name="connsiteY6" fmla="*/ 435071 h 435075"/>
                <a:gd name="connsiteX7" fmla="*/ 435077 w 435077"/>
                <a:gd name="connsiteY7" fmla="*/ 217543 h 435075"/>
                <a:gd name="connsiteX8" fmla="*/ 435077 w 435077"/>
                <a:gd name="connsiteY8" fmla="*/ 217543 h 435075"/>
                <a:gd name="connsiteX9" fmla="*/ 435077 w 435077"/>
                <a:gd name="connsiteY9" fmla="*/ 217538 h 435075"/>
                <a:gd name="connsiteX10" fmla="*/ 435077 w 435077"/>
                <a:gd name="connsiteY10" fmla="*/ 217533 h 435075"/>
                <a:gd name="connsiteX11" fmla="*/ 435077 w 435077"/>
                <a:gd name="connsiteY11" fmla="*/ 217533 h 435075"/>
                <a:gd name="connsiteX12" fmla="*/ 217539 w 435077"/>
                <a:gd name="connsiteY12" fmla="*/ 5 h 435075"/>
                <a:gd name="connsiteX13" fmla="*/ 217539 w 435077"/>
                <a:gd name="connsiteY13" fmla="*/ 217533 h 435075"/>
                <a:gd name="connsiteX14" fmla="*/ 217539 w 435077"/>
                <a:gd name="connsiteY14" fmla="*/ 217533 h 43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5">
                  <a:moveTo>
                    <a:pt x="217539" y="217533"/>
                  </a:moveTo>
                  <a:lnTo>
                    <a:pt x="217539" y="0"/>
                  </a:lnTo>
                  <a:lnTo>
                    <a:pt x="0" y="0"/>
                  </a:lnTo>
                  <a:lnTo>
                    <a:pt x="217539" y="217538"/>
                  </a:lnTo>
                  <a:lnTo>
                    <a:pt x="0" y="435076"/>
                  </a:lnTo>
                  <a:lnTo>
                    <a:pt x="217539" y="435076"/>
                  </a:lnTo>
                  <a:lnTo>
                    <a:pt x="217539" y="435071"/>
                  </a:lnTo>
                  <a:lnTo>
                    <a:pt x="435077" y="217543"/>
                  </a:lnTo>
                  <a:lnTo>
                    <a:pt x="435077" y="217543"/>
                  </a:lnTo>
                  <a:lnTo>
                    <a:pt x="435077" y="217538"/>
                  </a:lnTo>
                  <a:lnTo>
                    <a:pt x="435077" y="217533"/>
                  </a:lnTo>
                  <a:lnTo>
                    <a:pt x="435077" y="217533"/>
                  </a:lnTo>
                  <a:lnTo>
                    <a:pt x="217539" y="5"/>
                  </a:lnTo>
                  <a:lnTo>
                    <a:pt x="217539" y="217533"/>
                  </a:lnTo>
                  <a:lnTo>
                    <a:pt x="217539" y="217533"/>
                  </a:lnTo>
                  <a:close/>
                </a:path>
              </a:pathLst>
            </a:custGeom>
            <a:grpFill/>
            <a:ln w="27192" cap="flat">
              <a:noFill/>
              <a:prstDash val="solid"/>
              <a:miter/>
            </a:ln>
          </p:spPr>
          <p:txBody>
            <a:bodyPr rtlCol="0" anchor="ctr"/>
            <a:lstStyle/>
            <a:p>
              <a:endParaRPr lang="uk-UA" sz="900">
                <a:solidFill>
                  <a:schemeClr val="bg1"/>
                </a:solidFill>
              </a:endParaRPr>
            </a:p>
          </p:txBody>
        </p:sp>
        <p:sp>
          <p:nvSpPr>
            <p:cNvPr id="9" name="Freeform: Shape 8">
              <a:extLst>
                <a:ext uri="{FF2B5EF4-FFF2-40B4-BE49-F238E27FC236}">
                  <a16:creationId xmlns:a16="http://schemas.microsoft.com/office/drawing/2014/main" id="{01645AAA-3C06-85C5-975A-5224CB9F4FF2}"/>
                </a:ext>
              </a:extLst>
            </p:cNvPr>
            <p:cNvSpPr/>
            <p:nvPr/>
          </p:nvSpPr>
          <p:spPr>
            <a:xfrm>
              <a:off x="2576106" y="228598"/>
              <a:ext cx="435077" cy="435078"/>
            </a:xfrm>
            <a:custGeom>
              <a:avLst/>
              <a:gdLst>
                <a:gd name="connsiteX0" fmla="*/ 0 w 435077"/>
                <a:gd name="connsiteY0" fmla="*/ 435079 h 435078"/>
                <a:gd name="connsiteX1" fmla="*/ 217512 w 435077"/>
                <a:gd name="connsiteY1" fmla="*/ 435079 h 435078"/>
                <a:gd name="connsiteX2" fmla="*/ 217512 w 435077"/>
                <a:gd name="connsiteY2" fmla="*/ 217546 h 435078"/>
                <a:gd name="connsiteX3" fmla="*/ 0 w 435077"/>
                <a:gd name="connsiteY3" fmla="*/ 435079 h 435078"/>
                <a:gd name="connsiteX4" fmla="*/ 217539 w 435077"/>
                <a:gd name="connsiteY4" fmla="*/ 0 h 435078"/>
                <a:gd name="connsiteX5" fmla="*/ 0 w 435077"/>
                <a:gd name="connsiteY5" fmla="*/ 0 h 435078"/>
                <a:gd name="connsiteX6" fmla="*/ 217539 w 435077"/>
                <a:gd name="connsiteY6" fmla="*/ 217532 h 435078"/>
                <a:gd name="connsiteX7" fmla="*/ 217539 w 435077"/>
                <a:gd name="connsiteY7" fmla="*/ 0 h 435078"/>
                <a:gd name="connsiteX8" fmla="*/ 435077 w 435077"/>
                <a:gd name="connsiteY8" fmla="*/ 435079 h 435078"/>
                <a:gd name="connsiteX9" fmla="*/ 217539 w 435077"/>
                <a:gd name="connsiteY9" fmla="*/ 435079 h 435078"/>
                <a:gd name="connsiteX10" fmla="*/ 435077 w 435077"/>
                <a:gd name="connsiteY10" fmla="*/ 217546 h 435078"/>
                <a:gd name="connsiteX11" fmla="*/ 435077 w 435077"/>
                <a:gd name="connsiteY11" fmla="*/ 435079 h 435078"/>
                <a:gd name="connsiteX12" fmla="*/ 435077 w 435077"/>
                <a:gd name="connsiteY12" fmla="*/ 0 h 435078"/>
                <a:gd name="connsiteX13" fmla="*/ 217539 w 435077"/>
                <a:gd name="connsiteY13" fmla="*/ 0 h 435078"/>
                <a:gd name="connsiteX14" fmla="*/ 435077 w 435077"/>
                <a:gd name="connsiteY14" fmla="*/ 217532 h 435078"/>
                <a:gd name="connsiteX15" fmla="*/ 435077 w 435077"/>
                <a:gd name="connsiteY15"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8">
                  <a:moveTo>
                    <a:pt x="0" y="435079"/>
                  </a:moveTo>
                  <a:lnTo>
                    <a:pt x="217512" y="435079"/>
                  </a:lnTo>
                  <a:lnTo>
                    <a:pt x="217512" y="217546"/>
                  </a:lnTo>
                  <a:lnTo>
                    <a:pt x="0" y="435079"/>
                  </a:lnTo>
                  <a:close/>
                  <a:moveTo>
                    <a:pt x="217539" y="0"/>
                  </a:moveTo>
                  <a:lnTo>
                    <a:pt x="0" y="0"/>
                  </a:lnTo>
                  <a:lnTo>
                    <a:pt x="217539" y="217532"/>
                  </a:lnTo>
                  <a:lnTo>
                    <a:pt x="217539" y="0"/>
                  </a:lnTo>
                  <a:close/>
                  <a:moveTo>
                    <a:pt x="435077" y="435079"/>
                  </a:moveTo>
                  <a:lnTo>
                    <a:pt x="217539" y="435079"/>
                  </a:lnTo>
                  <a:lnTo>
                    <a:pt x="435077" y="217546"/>
                  </a:lnTo>
                  <a:lnTo>
                    <a:pt x="435077" y="435079"/>
                  </a:lnTo>
                  <a:close/>
                  <a:moveTo>
                    <a:pt x="435077" y="0"/>
                  </a:moveTo>
                  <a:lnTo>
                    <a:pt x="217539" y="0"/>
                  </a:lnTo>
                  <a:lnTo>
                    <a:pt x="435077" y="217532"/>
                  </a:lnTo>
                  <a:lnTo>
                    <a:pt x="435077" y="0"/>
                  </a:lnTo>
                  <a:close/>
                </a:path>
              </a:pathLst>
            </a:custGeom>
            <a:grpFill/>
            <a:ln w="27192" cap="flat">
              <a:noFill/>
              <a:prstDash val="solid"/>
              <a:miter/>
            </a:ln>
          </p:spPr>
          <p:txBody>
            <a:bodyPr rtlCol="0" anchor="ctr"/>
            <a:lstStyle/>
            <a:p>
              <a:endParaRPr lang="uk-UA" sz="900">
                <a:solidFill>
                  <a:schemeClr val="bg1"/>
                </a:solidFill>
              </a:endParaRPr>
            </a:p>
          </p:txBody>
        </p:sp>
        <p:sp>
          <p:nvSpPr>
            <p:cNvPr id="10" name="Freeform: Shape 9">
              <a:extLst>
                <a:ext uri="{FF2B5EF4-FFF2-40B4-BE49-F238E27FC236}">
                  <a16:creationId xmlns:a16="http://schemas.microsoft.com/office/drawing/2014/main" id="{DCE3E936-F1F9-64A7-8E6D-38491F5178AB}"/>
                </a:ext>
              </a:extLst>
            </p:cNvPr>
            <p:cNvSpPr/>
            <p:nvPr/>
          </p:nvSpPr>
          <p:spPr>
            <a:xfrm>
              <a:off x="4316416" y="228598"/>
              <a:ext cx="435103" cy="435073"/>
            </a:xfrm>
            <a:custGeom>
              <a:avLst/>
              <a:gdLst>
                <a:gd name="connsiteX0" fmla="*/ 371365 w 435103"/>
                <a:gd name="connsiteY0" fmla="*/ 63716 h 435073"/>
                <a:gd name="connsiteX1" fmla="*/ 435077 w 435103"/>
                <a:gd name="connsiteY1" fmla="*/ 217539 h 435073"/>
                <a:gd name="connsiteX2" fmla="*/ 218952 w 435103"/>
                <a:gd name="connsiteY2" fmla="*/ 217539 h 435073"/>
                <a:gd name="connsiteX3" fmla="*/ 371365 w 435103"/>
                <a:gd name="connsiteY3" fmla="*/ 281249 h 435073"/>
                <a:gd name="connsiteX4" fmla="*/ 435104 w 435103"/>
                <a:gd name="connsiteY4" fmla="*/ 435073 h 435073"/>
                <a:gd name="connsiteX5" fmla="*/ 217565 w 435103"/>
                <a:gd name="connsiteY5" fmla="*/ 435073 h 435073"/>
                <a:gd name="connsiteX6" fmla="*/ 27 w 435103"/>
                <a:gd name="connsiteY6" fmla="*/ 435073 h 435073"/>
                <a:gd name="connsiteX7" fmla="*/ 63739 w 435103"/>
                <a:gd name="connsiteY7" fmla="*/ 281249 h 435073"/>
                <a:gd name="connsiteX8" fmla="*/ 216151 w 435103"/>
                <a:gd name="connsiteY8" fmla="*/ 217539 h 435073"/>
                <a:gd name="connsiteX9" fmla="*/ 0 w 435103"/>
                <a:gd name="connsiteY9" fmla="*/ 217539 h 435073"/>
                <a:gd name="connsiteX10" fmla="*/ 63739 w 435103"/>
                <a:gd name="connsiteY10" fmla="*/ 63716 h 435073"/>
                <a:gd name="connsiteX11" fmla="*/ 217539 w 435103"/>
                <a:gd name="connsiteY11" fmla="*/ 0 h 435073"/>
                <a:gd name="connsiteX12" fmla="*/ 371365 w 435103"/>
                <a:gd name="connsiteY12" fmla="*/ 63716 h 43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3" h="435073">
                  <a:moveTo>
                    <a:pt x="371365" y="63716"/>
                  </a:moveTo>
                  <a:cubicBezTo>
                    <a:pt x="412181" y="104512"/>
                    <a:pt x="435077" y="159844"/>
                    <a:pt x="435077" y="217539"/>
                  </a:cubicBezTo>
                  <a:lnTo>
                    <a:pt x="218952" y="217539"/>
                  </a:lnTo>
                  <a:cubicBezTo>
                    <a:pt x="276138" y="217907"/>
                    <a:pt x="330903" y="240784"/>
                    <a:pt x="371365" y="281249"/>
                  </a:cubicBezTo>
                  <a:cubicBezTo>
                    <a:pt x="412181" y="322046"/>
                    <a:pt x="435104" y="377379"/>
                    <a:pt x="435104" y="435073"/>
                  </a:cubicBezTo>
                  <a:lnTo>
                    <a:pt x="217565" y="435073"/>
                  </a:lnTo>
                  <a:lnTo>
                    <a:pt x="27" y="435073"/>
                  </a:lnTo>
                  <a:cubicBezTo>
                    <a:pt x="27" y="377379"/>
                    <a:pt x="22923" y="322046"/>
                    <a:pt x="63739" y="281249"/>
                  </a:cubicBezTo>
                  <a:cubicBezTo>
                    <a:pt x="104201" y="240784"/>
                    <a:pt x="158966" y="217907"/>
                    <a:pt x="216151" y="217539"/>
                  </a:cubicBezTo>
                  <a:lnTo>
                    <a:pt x="0" y="217539"/>
                  </a:lnTo>
                  <a:cubicBezTo>
                    <a:pt x="0" y="159844"/>
                    <a:pt x="22923" y="104512"/>
                    <a:pt x="63739" y="63716"/>
                  </a:cubicBezTo>
                  <a:cubicBezTo>
                    <a:pt x="104527" y="22919"/>
                    <a:pt x="159864" y="0"/>
                    <a:pt x="217539" y="0"/>
                  </a:cubicBezTo>
                  <a:cubicBezTo>
                    <a:pt x="275240" y="0"/>
                    <a:pt x="330577" y="22919"/>
                    <a:pt x="371365" y="63716"/>
                  </a:cubicBezTo>
                  <a:close/>
                </a:path>
              </a:pathLst>
            </a:custGeom>
            <a:grpFill/>
            <a:ln w="27192" cap="flat">
              <a:noFill/>
              <a:prstDash val="solid"/>
              <a:miter/>
            </a:ln>
          </p:spPr>
          <p:txBody>
            <a:bodyPr rtlCol="0" anchor="ctr"/>
            <a:lstStyle/>
            <a:p>
              <a:endParaRPr lang="uk-UA" sz="900">
                <a:solidFill>
                  <a:schemeClr val="bg1"/>
                </a:solidFill>
              </a:endParaRPr>
            </a:p>
          </p:txBody>
        </p:sp>
        <p:sp>
          <p:nvSpPr>
            <p:cNvPr id="11" name="Freeform: Shape 10">
              <a:extLst>
                <a:ext uri="{FF2B5EF4-FFF2-40B4-BE49-F238E27FC236}">
                  <a16:creationId xmlns:a16="http://schemas.microsoft.com/office/drawing/2014/main" id="{6AC957CD-4E33-812E-CC35-BFCE683CCB3A}"/>
                </a:ext>
              </a:extLst>
            </p:cNvPr>
            <p:cNvSpPr/>
            <p:nvPr/>
          </p:nvSpPr>
          <p:spPr>
            <a:xfrm>
              <a:off x="3446261" y="228598"/>
              <a:ext cx="435077" cy="435078"/>
            </a:xfrm>
            <a:custGeom>
              <a:avLst/>
              <a:gdLst>
                <a:gd name="connsiteX0" fmla="*/ 217566 w 435077"/>
                <a:gd name="connsiteY0" fmla="*/ 0 h 435078"/>
                <a:gd name="connsiteX1" fmla="*/ 217539 w 435077"/>
                <a:gd name="connsiteY1" fmla="*/ 0 h 435078"/>
                <a:gd name="connsiteX2" fmla="*/ 27 w 435077"/>
                <a:gd name="connsiteY2" fmla="*/ 0 h 435078"/>
                <a:gd name="connsiteX3" fmla="*/ 27 w 435077"/>
                <a:gd name="connsiteY3" fmla="*/ 217539 h 435078"/>
                <a:gd name="connsiteX4" fmla="*/ 217539 w 435077"/>
                <a:gd name="connsiteY4" fmla="*/ 7 h 435078"/>
                <a:gd name="connsiteX5" fmla="*/ 435077 w 435077"/>
                <a:gd name="connsiteY5" fmla="*/ 217539 h 435078"/>
                <a:gd name="connsiteX6" fmla="*/ 217539 w 435077"/>
                <a:gd name="connsiteY6" fmla="*/ 435079 h 435078"/>
                <a:gd name="connsiteX7" fmla="*/ 0 w 435077"/>
                <a:gd name="connsiteY7" fmla="*/ 217539 h 435078"/>
                <a:gd name="connsiteX8" fmla="*/ 0 w 435077"/>
                <a:gd name="connsiteY8" fmla="*/ 435079 h 435078"/>
                <a:gd name="connsiteX9" fmla="*/ 217539 w 435077"/>
                <a:gd name="connsiteY9" fmla="*/ 435079 h 435078"/>
                <a:gd name="connsiteX10" fmla="*/ 435077 w 435077"/>
                <a:gd name="connsiteY10" fmla="*/ 435079 h 435078"/>
                <a:gd name="connsiteX11" fmla="*/ 435077 w 435077"/>
                <a:gd name="connsiteY11" fmla="*/ 217539 h 435078"/>
                <a:gd name="connsiteX12" fmla="*/ 435077 w 435077"/>
                <a:gd name="connsiteY12" fmla="*/ 0 h 435078"/>
                <a:gd name="connsiteX13" fmla="*/ 217566 w 435077"/>
                <a:gd name="connsiteY13"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8">
                  <a:moveTo>
                    <a:pt x="217566" y="0"/>
                  </a:moveTo>
                  <a:lnTo>
                    <a:pt x="217539" y="0"/>
                  </a:lnTo>
                  <a:lnTo>
                    <a:pt x="27" y="0"/>
                  </a:lnTo>
                  <a:lnTo>
                    <a:pt x="27" y="217539"/>
                  </a:lnTo>
                  <a:lnTo>
                    <a:pt x="217539" y="7"/>
                  </a:lnTo>
                  <a:lnTo>
                    <a:pt x="435077" y="217539"/>
                  </a:lnTo>
                  <a:lnTo>
                    <a:pt x="217539" y="435079"/>
                  </a:lnTo>
                  <a:lnTo>
                    <a:pt x="0" y="217539"/>
                  </a:lnTo>
                  <a:lnTo>
                    <a:pt x="0" y="435079"/>
                  </a:lnTo>
                  <a:lnTo>
                    <a:pt x="217539" y="435079"/>
                  </a:lnTo>
                  <a:lnTo>
                    <a:pt x="435077" y="435079"/>
                  </a:lnTo>
                  <a:lnTo>
                    <a:pt x="435077" y="217539"/>
                  </a:lnTo>
                  <a:lnTo>
                    <a:pt x="435077" y="0"/>
                  </a:lnTo>
                  <a:lnTo>
                    <a:pt x="217566" y="0"/>
                  </a:lnTo>
                  <a:close/>
                </a:path>
              </a:pathLst>
            </a:custGeom>
            <a:grpFill/>
            <a:ln w="27192" cap="flat">
              <a:noFill/>
              <a:prstDash val="solid"/>
              <a:miter/>
            </a:ln>
          </p:spPr>
          <p:txBody>
            <a:bodyPr rtlCol="0" anchor="ctr"/>
            <a:lstStyle/>
            <a:p>
              <a:endParaRPr lang="uk-UA" sz="900">
                <a:solidFill>
                  <a:schemeClr val="bg1"/>
                </a:solidFill>
              </a:endParaRPr>
            </a:p>
          </p:txBody>
        </p:sp>
        <p:sp>
          <p:nvSpPr>
            <p:cNvPr id="12" name="Freeform: Shape 11">
              <a:extLst>
                <a:ext uri="{FF2B5EF4-FFF2-40B4-BE49-F238E27FC236}">
                  <a16:creationId xmlns:a16="http://schemas.microsoft.com/office/drawing/2014/main" id="{6DEE4023-562C-1E8C-D053-5EE75006D4D3}"/>
                </a:ext>
              </a:extLst>
            </p:cNvPr>
            <p:cNvSpPr/>
            <p:nvPr/>
          </p:nvSpPr>
          <p:spPr>
            <a:xfrm>
              <a:off x="5186597" y="228598"/>
              <a:ext cx="435077" cy="435075"/>
            </a:xfrm>
            <a:custGeom>
              <a:avLst/>
              <a:gdLst>
                <a:gd name="connsiteX0" fmla="*/ 217539 w 435077"/>
                <a:gd name="connsiteY0" fmla="*/ 217540 h 435075"/>
                <a:gd name="connsiteX1" fmla="*/ 217539 w 435077"/>
                <a:gd name="connsiteY1" fmla="*/ 217537 h 435075"/>
                <a:gd name="connsiteX2" fmla="*/ 0 w 435077"/>
                <a:gd name="connsiteY2" fmla="*/ 0 h 435075"/>
                <a:gd name="connsiteX3" fmla="*/ 217539 w 435077"/>
                <a:gd name="connsiteY3" fmla="*/ 0 h 435075"/>
                <a:gd name="connsiteX4" fmla="*/ 217539 w 435077"/>
                <a:gd name="connsiteY4" fmla="*/ 5 h 435075"/>
                <a:gd name="connsiteX5" fmla="*/ 435077 w 435077"/>
                <a:gd name="connsiteY5" fmla="*/ 217533 h 435075"/>
                <a:gd name="connsiteX6" fmla="*/ 435077 w 435077"/>
                <a:gd name="connsiteY6" fmla="*/ 217533 h 435075"/>
                <a:gd name="connsiteX7" fmla="*/ 435077 w 435077"/>
                <a:gd name="connsiteY7" fmla="*/ 217538 h 435075"/>
                <a:gd name="connsiteX8" fmla="*/ 435077 w 435077"/>
                <a:gd name="connsiteY8" fmla="*/ 217542 h 435075"/>
                <a:gd name="connsiteX9" fmla="*/ 435077 w 435077"/>
                <a:gd name="connsiteY9" fmla="*/ 217542 h 435075"/>
                <a:gd name="connsiteX10" fmla="*/ 217539 w 435077"/>
                <a:gd name="connsiteY10" fmla="*/ 435071 h 435075"/>
                <a:gd name="connsiteX11" fmla="*/ 217539 w 435077"/>
                <a:gd name="connsiteY11" fmla="*/ 435076 h 435075"/>
                <a:gd name="connsiteX12" fmla="*/ 0 w 435077"/>
                <a:gd name="connsiteY12" fmla="*/ 435076 h 435075"/>
                <a:gd name="connsiteX13" fmla="*/ 217539 w 435077"/>
                <a:gd name="connsiteY13" fmla="*/ 217540 h 43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5">
                  <a:moveTo>
                    <a:pt x="217539" y="217540"/>
                  </a:moveTo>
                  <a:lnTo>
                    <a:pt x="217539" y="217537"/>
                  </a:lnTo>
                  <a:lnTo>
                    <a:pt x="0" y="0"/>
                  </a:lnTo>
                  <a:lnTo>
                    <a:pt x="217539" y="0"/>
                  </a:lnTo>
                  <a:lnTo>
                    <a:pt x="217539" y="5"/>
                  </a:lnTo>
                  <a:lnTo>
                    <a:pt x="435077" y="217533"/>
                  </a:lnTo>
                  <a:lnTo>
                    <a:pt x="435077" y="217533"/>
                  </a:lnTo>
                  <a:lnTo>
                    <a:pt x="435077" y="217538"/>
                  </a:lnTo>
                  <a:lnTo>
                    <a:pt x="435077" y="217542"/>
                  </a:lnTo>
                  <a:lnTo>
                    <a:pt x="435077" y="217542"/>
                  </a:lnTo>
                  <a:lnTo>
                    <a:pt x="217539" y="435071"/>
                  </a:lnTo>
                  <a:lnTo>
                    <a:pt x="217539" y="435076"/>
                  </a:lnTo>
                  <a:lnTo>
                    <a:pt x="0" y="435076"/>
                  </a:lnTo>
                  <a:lnTo>
                    <a:pt x="217539" y="217540"/>
                  </a:lnTo>
                  <a:close/>
                </a:path>
              </a:pathLst>
            </a:custGeom>
            <a:grpFill/>
            <a:ln w="27192" cap="flat">
              <a:noFill/>
              <a:prstDash val="solid"/>
              <a:miter/>
            </a:ln>
          </p:spPr>
          <p:txBody>
            <a:bodyPr rtlCol="0" anchor="ctr"/>
            <a:lstStyle/>
            <a:p>
              <a:endParaRPr lang="uk-UA" sz="900">
                <a:solidFill>
                  <a:schemeClr val="bg1"/>
                </a:solidFill>
              </a:endParaRPr>
            </a:p>
          </p:txBody>
        </p:sp>
        <p:sp>
          <p:nvSpPr>
            <p:cNvPr id="13" name="Freeform: Shape 12">
              <a:extLst>
                <a:ext uri="{FF2B5EF4-FFF2-40B4-BE49-F238E27FC236}">
                  <a16:creationId xmlns:a16="http://schemas.microsoft.com/office/drawing/2014/main" id="{5EABA1CB-E122-3344-36C8-B76C20DAA343}"/>
                </a:ext>
              </a:extLst>
            </p:cNvPr>
            <p:cNvSpPr/>
            <p:nvPr/>
          </p:nvSpPr>
          <p:spPr>
            <a:xfrm>
              <a:off x="6056752" y="228598"/>
              <a:ext cx="435077" cy="435078"/>
            </a:xfrm>
            <a:custGeom>
              <a:avLst/>
              <a:gdLst>
                <a:gd name="connsiteX0" fmla="*/ 0 w 435077"/>
                <a:gd name="connsiteY0" fmla="*/ 435079 h 435078"/>
                <a:gd name="connsiteX1" fmla="*/ 217539 w 435077"/>
                <a:gd name="connsiteY1" fmla="*/ 435079 h 435078"/>
                <a:gd name="connsiteX2" fmla="*/ 217539 w 435077"/>
                <a:gd name="connsiteY2" fmla="*/ 217546 h 435078"/>
                <a:gd name="connsiteX3" fmla="*/ 0 w 435077"/>
                <a:gd name="connsiteY3" fmla="*/ 435079 h 435078"/>
                <a:gd name="connsiteX4" fmla="*/ 217539 w 435077"/>
                <a:gd name="connsiteY4" fmla="*/ 0 h 435078"/>
                <a:gd name="connsiteX5" fmla="*/ 0 w 435077"/>
                <a:gd name="connsiteY5" fmla="*/ 0 h 435078"/>
                <a:gd name="connsiteX6" fmla="*/ 217539 w 435077"/>
                <a:gd name="connsiteY6" fmla="*/ 217532 h 435078"/>
                <a:gd name="connsiteX7" fmla="*/ 217539 w 435077"/>
                <a:gd name="connsiteY7" fmla="*/ 0 h 435078"/>
                <a:gd name="connsiteX8" fmla="*/ 435077 w 435077"/>
                <a:gd name="connsiteY8" fmla="*/ 435079 h 435078"/>
                <a:gd name="connsiteX9" fmla="*/ 217539 w 435077"/>
                <a:gd name="connsiteY9" fmla="*/ 435079 h 435078"/>
                <a:gd name="connsiteX10" fmla="*/ 435077 w 435077"/>
                <a:gd name="connsiteY10" fmla="*/ 217546 h 435078"/>
                <a:gd name="connsiteX11" fmla="*/ 435077 w 435077"/>
                <a:gd name="connsiteY11" fmla="*/ 435079 h 435078"/>
                <a:gd name="connsiteX12" fmla="*/ 435077 w 435077"/>
                <a:gd name="connsiteY12" fmla="*/ 0 h 435078"/>
                <a:gd name="connsiteX13" fmla="*/ 217539 w 435077"/>
                <a:gd name="connsiteY13" fmla="*/ 0 h 435078"/>
                <a:gd name="connsiteX14" fmla="*/ 435077 w 435077"/>
                <a:gd name="connsiteY14" fmla="*/ 217532 h 435078"/>
                <a:gd name="connsiteX15" fmla="*/ 435077 w 435077"/>
                <a:gd name="connsiteY15"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8">
                  <a:moveTo>
                    <a:pt x="0" y="435079"/>
                  </a:moveTo>
                  <a:lnTo>
                    <a:pt x="217539" y="435079"/>
                  </a:lnTo>
                  <a:lnTo>
                    <a:pt x="217539" y="217546"/>
                  </a:lnTo>
                  <a:lnTo>
                    <a:pt x="0" y="435079"/>
                  </a:lnTo>
                  <a:close/>
                  <a:moveTo>
                    <a:pt x="217539" y="0"/>
                  </a:moveTo>
                  <a:lnTo>
                    <a:pt x="0" y="0"/>
                  </a:lnTo>
                  <a:lnTo>
                    <a:pt x="217539" y="217532"/>
                  </a:lnTo>
                  <a:lnTo>
                    <a:pt x="217539" y="0"/>
                  </a:lnTo>
                  <a:close/>
                  <a:moveTo>
                    <a:pt x="435077" y="435079"/>
                  </a:moveTo>
                  <a:lnTo>
                    <a:pt x="217539" y="435079"/>
                  </a:lnTo>
                  <a:lnTo>
                    <a:pt x="435077" y="217546"/>
                  </a:lnTo>
                  <a:lnTo>
                    <a:pt x="435077" y="435079"/>
                  </a:lnTo>
                  <a:close/>
                  <a:moveTo>
                    <a:pt x="435077" y="0"/>
                  </a:moveTo>
                  <a:lnTo>
                    <a:pt x="217539" y="0"/>
                  </a:lnTo>
                  <a:lnTo>
                    <a:pt x="435077" y="217532"/>
                  </a:lnTo>
                  <a:lnTo>
                    <a:pt x="435077" y="0"/>
                  </a:lnTo>
                  <a:close/>
                </a:path>
              </a:pathLst>
            </a:custGeom>
            <a:grpFill/>
            <a:ln w="27192" cap="flat">
              <a:noFill/>
              <a:prstDash val="solid"/>
              <a:miter/>
            </a:ln>
          </p:spPr>
          <p:txBody>
            <a:bodyPr rtlCol="0" anchor="ctr"/>
            <a:lstStyle/>
            <a:p>
              <a:endParaRPr lang="uk-UA" sz="900">
                <a:solidFill>
                  <a:schemeClr val="bg1"/>
                </a:solidFill>
              </a:endParaRPr>
            </a:p>
          </p:txBody>
        </p:sp>
        <p:sp>
          <p:nvSpPr>
            <p:cNvPr id="14" name="Freeform: Shape 13">
              <a:extLst>
                <a:ext uri="{FF2B5EF4-FFF2-40B4-BE49-F238E27FC236}">
                  <a16:creationId xmlns:a16="http://schemas.microsoft.com/office/drawing/2014/main" id="{451E3584-FA0C-DC72-C1B1-D54F206864BB}"/>
                </a:ext>
              </a:extLst>
            </p:cNvPr>
            <p:cNvSpPr/>
            <p:nvPr/>
          </p:nvSpPr>
          <p:spPr>
            <a:xfrm>
              <a:off x="7797062" y="228598"/>
              <a:ext cx="435104" cy="435073"/>
            </a:xfrm>
            <a:custGeom>
              <a:avLst/>
              <a:gdLst>
                <a:gd name="connsiteX0" fmla="*/ 371366 w 435104"/>
                <a:gd name="connsiteY0" fmla="*/ 63716 h 435073"/>
                <a:gd name="connsiteX1" fmla="*/ 435077 w 435104"/>
                <a:gd name="connsiteY1" fmla="*/ 217539 h 435073"/>
                <a:gd name="connsiteX2" fmla="*/ 218953 w 435104"/>
                <a:gd name="connsiteY2" fmla="*/ 217539 h 435073"/>
                <a:gd name="connsiteX3" fmla="*/ 371366 w 435104"/>
                <a:gd name="connsiteY3" fmla="*/ 281249 h 435073"/>
                <a:gd name="connsiteX4" fmla="*/ 435105 w 435104"/>
                <a:gd name="connsiteY4" fmla="*/ 435073 h 435073"/>
                <a:gd name="connsiteX5" fmla="*/ 217566 w 435104"/>
                <a:gd name="connsiteY5" fmla="*/ 435073 h 435073"/>
                <a:gd name="connsiteX6" fmla="*/ 27 w 435104"/>
                <a:gd name="connsiteY6" fmla="*/ 435073 h 435073"/>
                <a:gd name="connsiteX7" fmla="*/ 63739 w 435104"/>
                <a:gd name="connsiteY7" fmla="*/ 281249 h 435073"/>
                <a:gd name="connsiteX8" fmla="*/ 216152 w 435104"/>
                <a:gd name="connsiteY8" fmla="*/ 217539 h 435073"/>
                <a:gd name="connsiteX9" fmla="*/ 0 w 435104"/>
                <a:gd name="connsiteY9" fmla="*/ 217539 h 435073"/>
                <a:gd name="connsiteX10" fmla="*/ 63739 w 435104"/>
                <a:gd name="connsiteY10" fmla="*/ 63716 h 435073"/>
                <a:gd name="connsiteX11" fmla="*/ 217539 w 435104"/>
                <a:gd name="connsiteY11" fmla="*/ 0 h 435073"/>
                <a:gd name="connsiteX12" fmla="*/ 371366 w 435104"/>
                <a:gd name="connsiteY12" fmla="*/ 63716 h 43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4" h="435073">
                  <a:moveTo>
                    <a:pt x="371366" y="63716"/>
                  </a:moveTo>
                  <a:cubicBezTo>
                    <a:pt x="412182" y="104512"/>
                    <a:pt x="435077" y="159844"/>
                    <a:pt x="435077" y="217539"/>
                  </a:cubicBezTo>
                  <a:lnTo>
                    <a:pt x="218953" y="217539"/>
                  </a:lnTo>
                  <a:cubicBezTo>
                    <a:pt x="276138" y="217907"/>
                    <a:pt x="330904" y="240784"/>
                    <a:pt x="371366" y="281249"/>
                  </a:cubicBezTo>
                  <a:cubicBezTo>
                    <a:pt x="412182" y="322046"/>
                    <a:pt x="435105" y="377379"/>
                    <a:pt x="435105" y="435073"/>
                  </a:cubicBezTo>
                  <a:lnTo>
                    <a:pt x="217566" y="435073"/>
                  </a:lnTo>
                  <a:lnTo>
                    <a:pt x="27" y="435073"/>
                  </a:lnTo>
                  <a:cubicBezTo>
                    <a:pt x="27" y="377379"/>
                    <a:pt x="22924" y="322046"/>
                    <a:pt x="63739" y="281249"/>
                  </a:cubicBezTo>
                  <a:cubicBezTo>
                    <a:pt x="104201" y="240784"/>
                    <a:pt x="158967" y="217907"/>
                    <a:pt x="216152" y="217539"/>
                  </a:cubicBezTo>
                  <a:lnTo>
                    <a:pt x="0" y="217539"/>
                  </a:lnTo>
                  <a:cubicBezTo>
                    <a:pt x="0" y="159844"/>
                    <a:pt x="22924" y="104512"/>
                    <a:pt x="63739" y="63716"/>
                  </a:cubicBezTo>
                  <a:cubicBezTo>
                    <a:pt x="104527" y="22919"/>
                    <a:pt x="159864" y="0"/>
                    <a:pt x="217539" y="0"/>
                  </a:cubicBezTo>
                  <a:cubicBezTo>
                    <a:pt x="275241" y="0"/>
                    <a:pt x="330578" y="22919"/>
                    <a:pt x="371366" y="63716"/>
                  </a:cubicBezTo>
                  <a:close/>
                </a:path>
              </a:pathLst>
            </a:custGeom>
            <a:grpFill/>
            <a:ln w="27192" cap="flat">
              <a:noFill/>
              <a:prstDash val="solid"/>
              <a:miter/>
            </a:ln>
          </p:spPr>
          <p:txBody>
            <a:bodyPr rtlCol="0" anchor="ctr"/>
            <a:lstStyle/>
            <a:p>
              <a:endParaRPr lang="uk-UA" sz="900">
                <a:solidFill>
                  <a:schemeClr val="bg1"/>
                </a:solidFill>
              </a:endParaRPr>
            </a:p>
          </p:txBody>
        </p:sp>
        <p:sp>
          <p:nvSpPr>
            <p:cNvPr id="15" name="Freeform: Shape 14">
              <a:extLst>
                <a:ext uri="{FF2B5EF4-FFF2-40B4-BE49-F238E27FC236}">
                  <a16:creationId xmlns:a16="http://schemas.microsoft.com/office/drawing/2014/main" id="{AC9380E4-C60A-88F9-710A-7DB5896E4887}"/>
                </a:ext>
              </a:extLst>
            </p:cNvPr>
            <p:cNvSpPr/>
            <p:nvPr/>
          </p:nvSpPr>
          <p:spPr>
            <a:xfrm>
              <a:off x="6926907" y="228598"/>
              <a:ext cx="435077" cy="435078"/>
            </a:xfrm>
            <a:custGeom>
              <a:avLst/>
              <a:gdLst>
                <a:gd name="connsiteX0" fmla="*/ 217539 w 435077"/>
                <a:gd name="connsiteY0" fmla="*/ 0 h 435078"/>
                <a:gd name="connsiteX1" fmla="*/ 0 w 435077"/>
                <a:gd name="connsiteY1" fmla="*/ 0 h 435078"/>
                <a:gd name="connsiteX2" fmla="*/ 0 w 435077"/>
                <a:gd name="connsiteY2" fmla="*/ 217539 h 435078"/>
                <a:gd name="connsiteX3" fmla="*/ 0 w 435077"/>
                <a:gd name="connsiteY3" fmla="*/ 435079 h 435078"/>
                <a:gd name="connsiteX4" fmla="*/ 217539 w 435077"/>
                <a:gd name="connsiteY4" fmla="*/ 435079 h 435078"/>
                <a:gd name="connsiteX5" fmla="*/ 435077 w 435077"/>
                <a:gd name="connsiteY5" fmla="*/ 435079 h 435078"/>
                <a:gd name="connsiteX6" fmla="*/ 435077 w 435077"/>
                <a:gd name="connsiteY6" fmla="*/ 217539 h 435078"/>
                <a:gd name="connsiteX7" fmla="*/ 435077 w 435077"/>
                <a:gd name="connsiteY7" fmla="*/ 0 h 435078"/>
                <a:gd name="connsiteX8" fmla="*/ 217539 w 435077"/>
                <a:gd name="connsiteY8" fmla="*/ 0 h 435078"/>
                <a:gd name="connsiteX9" fmla="*/ 217539 w 435077"/>
                <a:gd name="connsiteY9" fmla="*/ 0 h 435078"/>
                <a:gd name="connsiteX10" fmla="*/ 435077 w 435077"/>
                <a:gd name="connsiteY10" fmla="*/ 217539 h 435078"/>
                <a:gd name="connsiteX11" fmla="*/ 217539 w 435077"/>
                <a:gd name="connsiteY11" fmla="*/ 435079 h 435078"/>
                <a:gd name="connsiteX12" fmla="*/ 0 w 435077"/>
                <a:gd name="connsiteY12" fmla="*/ 217539 h 435078"/>
                <a:gd name="connsiteX13" fmla="*/ 217539 w 435077"/>
                <a:gd name="connsiteY13"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8">
                  <a:moveTo>
                    <a:pt x="217539" y="0"/>
                  </a:moveTo>
                  <a:lnTo>
                    <a:pt x="0" y="0"/>
                  </a:lnTo>
                  <a:lnTo>
                    <a:pt x="0" y="217539"/>
                  </a:lnTo>
                  <a:lnTo>
                    <a:pt x="0" y="435079"/>
                  </a:lnTo>
                  <a:lnTo>
                    <a:pt x="217539" y="435079"/>
                  </a:lnTo>
                  <a:lnTo>
                    <a:pt x="435077" y="435079"/>
                  </a:lnTo>
                  <a:lnTo>
                    <a:pt x="435077" y="217539"/>
                  </a:lnTo>
                  <a:lnTo>
                    <a:pt x="435077" y="0"/>
                  </a:lnTo>
                  <a:lnTo>
                    <a:pt x="217539" y="0"/>
                  </a:lnTo>
                  <a:close/>
                  <a:moveTo>
                    <a:pt x="217539" y="0"/>
                  </a:moveTo>
                  <a:lnTo>
                    <a:pt x="435077" y="217539"/>
                  </a:lnTo>
                  <a:lnTo>
                    <a:pt x="217539" y="435079"/>
                  </a:lnTo>
                  <a:lnTo>
                    <a:pt x="0" y="217539"/>
                  </a:lnTo>
                  <a:lnTo>
                    <a:pt x="217539" y="0"/>
                  </a:lnTo>
                  <a:close/>
                </a:path>
              </a:pathLst>
            </a:custGeom>
            <a:grpFill/>
            <a:ln w="27192" cap="flat">
              <a:noFill/>
              <a:prstDash val="solid"/>
              <a:miter/>
            </a:ln>
          </p:spPr>
          <p:txBody>
            <a:bodyPr rtlCol="0" anchor="ctr"/>
            <a:lstStyle/>
            <a:p>
              <a:endParaRPr lang="uk-UA" sz="900">
                <a:solidFill>
                  <a:schemeClr val="bg1"/>
                </a:solidFill>
              </a:endParaRPr>
            </a:p>
          </p:txBody>
        </p:sp>
        <p:sp>
          <p:nvSpPr>
            <p:cNvPr id="16" name="Freeform: Shape 15">
              <a:extLst>
                <a:ext uri="{FF2B5EF4-FFF2-40B4-BE49-F238E27FC236}">
                  <a16:creationId xmlns:a16="http://schemas.microsoft.com/office/drawing/2014/main" id="{D8BE1E46-49FF-0DCF-1998-94B74AA28098}"/>
                </a:ext>
              </a:extLst>
            </p:cNvPr>
            <p:cNvSpPr/>
            <p:nvPr/>
          </p:nvSpPr>
          <p:spPr>
            <a:xfrm>
              <a:off x="8667217" y="228598"/>
              <a:ext cx="435077" cy="435075"/>
            </a:xfrm>
            <a:custGeom>
              <a:avLst/>
              <a:gdLst>
                <a:gd name="connsiteX0" fmla="*/ 217539 w 435077"/>
                <a:gd name="connsiteY0" fmla="*/ 217540 h 435075"/>
                <a:gd name="connsiteX1" fmla="*/ 217539 w 435077"/>
                <a:gd name="connsiteY1" fmla="*/ 217537 h 435075"/>
                <a:gd name="connsiteX2" fmla="*/ 0 w 435077"/>
                <a:gd name="connsiteY2" fmla="*/ 0 h 435075"/>
                <a:gd name="connsiteX3" fmla="*/ 217539 w 435077"/>
                <a:gd name="connsiteY3" fmla="*/ 0 h 435075"/>
                <a:gd name="connsiteX4" fmla="*/ 217539 w 435077"/>
                <a:gd name="connsiteY4" fmla="*/ 5 h 435075"/>
                <a:gd name="connsiteX5" fmla="*/ 435077 w 435077"/>
                <a:gd name="connsiteY5" fmla="*/ 217533 h 435075"/>
                <a:gd name="connsiteX6" fmla="*/ 435077 w 435077"/>
                <a:gd name="connsiteY6" fmla="*/ 217533 h 435075"/>
                <a:gd name="connsiteX7" fmla="*/ 435077 w 435077"/>
                <a:gd name="connsiteY7" fmla="*/ 217538 h 435075"/>
                <a:gd name="connsiteX8" fmla="*/ 435077 w 435077"/>
                <a:gd name="connsiteY8" fmla="*/ 217542 h 435075"/>
                <a:gd name="connsiteX9" fmla="*/ 435077 w 435077"/>
                <a:gd name="connsiteY9" fmla="*/ 217542 h 435075"/>
                <a:gd name="connsiteX10" fmla="*/ 217539 w 435077"/>
                <a:gd name="connsiteY10" fmla="*/ 435071 h 435075"/>
                <a:gd name="connsiteX11" fmla="*/ 217539 w 435077"/>
                <a:gd name="connsiteY11" fmla="*/ 435076 h 435075"/>
                <a:gd name="connsiteX12" fmla="*/ 0 w 435077"/>
                <a:gd name="connsiteY12" fmla="*/ 435076 h 435075"/>
                <a:gd name="connsiteX13" fmla="*/ 217539 w 435077"/>
                <a:gd name="connsiteY13" fmla="*/ 217540 h 43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5">
                  <a:moveTo>
                    <a:pt x="217539" y="217540"/>
                  </a:moveTo>
                  <a:lnTo>
                    <a:pt x="217539" y="217537"/>
                  </a:lnTo>
                  <a:lnTo>
                    <a:pt x="0" y="0"/>
                  </a:lnTo>
                  <a:lnTo>
                    <a:pt x="217539" y="0"/>
                  </a:lnTo>
                  <a:lnTo>
                    <a:pt x="217539" y="5"/>
                  </a:lnTo>
                  <a:lnTo>
                    <a:pt x="435077" y="217533"/>
                  </a:lnTo>
                  <a:lnTo>
                    <a:pt x="435077" y="217533"/>
                  </a:lnTo>
                  <a:lnTo>
                    <a:pt x="435077" y="217538"/>
                  </a:lnTo>
                  <a:lnTo>
                    <a:pt x="435077" y="217542"/>
                  </a:lnTo>
                  <a:lnTo>
                    <a:pt x="435077" y="217542"/>
                  </a:lnTo>
                  <a:lnTo>
                    <a:pt x="217539" y="435071"/>
                  </a:lnTo>
                  <a:lnTo>
                    <a:pt x="217539" y="435076"/>
                  </a:lnTo>
                  <a:lnTo>
                    <a:pt x="0" y="435076"/>
                  </a:lnTo>
                  <a:lnTo>
                    <a:pt x="217539" y="217540"/>
                  </a:lnTo>
                  <a:close/>
                </a:path>
              </a:pathLst>
            </a:custGeom>
            <a:grpFill/>
            <a:ln w="27192" cap="flat">
              <a:noFill/>
              <a:prstDash val="solid"/>
              <a:miter/>
            </a:ln>
          </p:spPr>
          <p:txBody>
            <a:bodyPr rtlCol="0" anchor="ctr"/>
            <a:lstStyle/>
            <a:p>
              <a:endParaRPr lang="uk-UA" sz="900">
                <a:solidFill>
                  <a:schemeClr val="bg1"/>
                </a:solidFill>
              </a:endParaRPr>
            </a:p>
          </p:txBody>
        </p:sp>
        <p:sp>
          <p:nvSpPr>
            <p:cNvPr id="17" name="Freeform: Shape 16">
              <a:extLst>
                <a:ext uri="{FF2B5EF4-FFF2-40B4-BE49-F238E27FC236}">
                  <a16:creationId xmlns:a16="http://schemas.microsoft.com/office/drawing/2014/main" id="{1734D71D-0891-74FA-45A8-C9D59261DD61}"/>
                </a:ext>
              </a:extLst>
            </p:cNvPr>
            <p:cNvSpPr/>
            <p:nvPr/>
          </p:nvSpPr>
          <p:spPr>
            <a:xfrm>
              <a:off x="9537399" y="228598"/>
              <a:ext cx="435077" cy="435078"/>
            </a:xfrm>
            <a:custGeom>
              <a:avLst/>
              <a:gdLst>
                <a:gd name="connsiteX0" fmla="*/ 0 w 435077"/>
                <a:gd name="connsiteY0" fmla="*/ 435079 h 435078"/>
                <a:gd name="connsiteX1" fmla="*/ 217511 w 435077"/>
                <a:gd name="connsiteY1" fmla="*/ 435079 h 435078"/>
                <a:gd name="connsiteX2" fmla="*/ 217511 w 435077"/>
                <a:gd name="connsiteY2" fmla="*/ 217546 h 435078"/>
                <a:gd name="connsiteX3" fmla="*/ 0 w 435077"/>
                <a:gd name="connsiteY3" fmla="*/ 435079 h 435078"/>
                <a:gd name="connsiteX4" fmla="*/ 217511 w 435077"/>
                <a:gd name="connsiteY4" fmla="*/ 0 h 435078"/>
                <a:gd name="connsiteX5" fmla="*/ 0 w 435077"/>
                <a:gd name="connsiteY5" fmla="*/ 0 h 435078"/>
                <a:gd name="connsiteX6" fmla="*/ 217511 w 435077"/>
                <a:gd name="connsiteY6" fmla="*/ 217532 h 435078"/>
                <a:gd name="connsiteX7" fmla="*/ 217511 w 435077"/>
                <a:gd name="connsiteY7" fmla="*/ 0 h 435078"/>
                <a:gd name="connsiteX8" fmla="*/ 435077 w 435077"/>
                <a:gd name="connsiteY8" fmla="*/ 435079 h 435078"/>
                <a:gd name="connsiteX9" fmla="*/ 217539 w 435077"/>
                <a:gd name="connsiteY9" fmla="*/ 435079 h 435078"/>
                <a:gd name="connsiteX10" fmla="*/ 435077 w 435077"/>
                <a:gd name="connsiteY10" fmla="*/ 217546 h 435078"/>
                <a:gd name="connsiteX11" fmla="*/ 435077 w 435077"/>
                <a:gd name="connsiteY11" fmla="*/ 435079 h 435078"/>
                <a:gd name="connsiteX12" fmla="*/ 435077 w 435077"/>
                <a:gd name="connsiteY12" fmla="*/ 0 h 435078"/>
                <a:gd name="connsiteX13" fmla="*/ 217539 w 435077"/>
                <a:gd name="connsiteY13" fmla="*/ 0 h 435078"/>
                <a:gd name="connsiteX14" fmla="*/ 435077 w 435077"/>
                <a:gd name="connsiteY14" fmla="*/ 217532 h 435078"/>
                <a:gd name="connsiteX15" fmla="*/ 435077 w 435077"/>
                <a:gd name="connsiteY15"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8">
                  <a:moveTo>
                    <a:pt x="0" y="435079"/>
                  </a:moveTo>
                  <a:lnTo>
                    <a:pt x="217511" y="435079"/>
                  </a:lnTo>
                  <a:lnTo>
                    <a:pt x="217511" y="217546"/>
                  </a:lnTo>
                  <a:lnTo>
                    <a:pt x="0" y="435079"/>
                  </a:lnTo>
                  <a:close/>
                  <a:moveTo>
                    <a:pt x="217511" y="0"/>
                  </a:moveTo>
                  <a:lnTo>
                    <a:pt x="0" y="0"/>
                  </a:lnTo>
                  <a:lnTo>
                    <a:pt x="217511" y="217532"/>
                  </a:lnTo>
                  <a:lnTo>
                    <a:pt x="217511" y="0"/>
                  </a:lnTo>
                  <a:close/>
                  <a:moveTo>
                    <a:pt x="435077" y="435079"/>
                  </a:moveTo>
                  <a:lnTo>
                    <a:pt x="217539" y="435079"/>
                  </a:lnTo>
                  <a:lnTo>
                    <a:pt x="435077" y="217546"/>
                  </a:lnTo>
                  <a:lnTo>
                    <a:pt x="435077" y="435079"/>
                  </a:lnTo>
                  <a:close/>
                  <a:moveTo>
                    <a:pt x="435077" y="0"/>
                  </a:moveTo>
                  <a:lnTo>
                    <a:pt x="217539" y="0"/>
                  </a:lnTo>
                  <a:lnTo>
                    <a:pt x="435077" y="217532"/>
                  </a:lnTo>
                  <a:lnTo>
                    <a:pt x="435077" y="0"/>
                  </a:lnTo>
                  <a:close/>
                </a:path>
              </a:pathLst>
            </a:custGeom>
            <a:grpFill/>
            <a:ln w="27192" cap="flat">
              <a:noFill/>
              <a:prstDash val="solid"/>
              <a:miter/>
            </a:ln>
          </p:spPr>
          <p:txBody>
            <a:bodyPr rtlCol="0" anchor="ctr"/>
            <a:lstStyle/>
            <a:p>
              <a:endParaRPr lang="uk-UA" sz="900">
                <a:solidFill>
                  <a:schemeClr val="bg1"/>
                </a:solidFill>
              </a:endParaRPr>
            </a:p>
          </p:txBody>
        </p:sp>
        <p:sp>
          <p:nvSpPr>
            <p:cNvPr id="18" name="Freeform: Shape 17">
              <a:extLst>
                <a:ext uri="{FF2B5EF4-FFF2-40B4-BE49-F238E27FC236}">
                  <a16:creationId xmlns:a16="http://schemas.microsoft.com/office/drawing/2014/main" id="{6E417284-6EF3-12DD-2F32-792D989C7EB3}"/>
                </a:ext>
              </a:extLst>
            </p:cNvPr>
            <p:cNvSpPr/>
            <p:nvPr/>
          </p:nvSpPr>
          <p:spPr>
            <a:xfrm>
              <a:off x="11277709" y="228598"/>
              <a:ext cx="435077" cy="435073"/>
            </a:xfrm>
            <a:custGeom>
              <a:avLst/>
              <a:gdLst>
                <a:gd name="connsiteX0" fmla="*/ 371365 w 435077"/>
                <a:gd name="connsiteY0" fmla="*/ 63716 h 435073"/>
                <a:gd name="connsiteX1" fmla="*/ 435077 w 435077"/>
                <a:gd name="connsiteY1" fmla="*/ 217539 h 435073"/>
                <a:gd name="connsiteX2" fmla="*/ 218953 w 435077"/>
                <a:gd name="connsiteY2" fmla="*/ 217539 h 435073"/>
                <a:gd name="connsiteX3" fmla="*/ 371365 w 435077"/>
                <a:gd name="connsiteY3" fmla="*/ 281249 h 435073"/>
                <a:gd name="connsiteX4" fmla="*/ 435077 w 435077"/>
                <a:gd name="connsiteY4" fmla="*/ 435073 h 435073"/>
                <a:gd name="connsiteX5" fmla="*/ 217539 w 435077"/>
                <a:gd name="connsiteY5" fmla="*/ 435073 h 435073"/>
                <a:gd name="connsiteX6" fmla="*/ 0 w 435077"/>
                <a:gd name="connsiteY6" fmla="*/ 435073 h 435073"/>
                <a:gd name="connsiteX7" fmla="*/ 63710 w 435077"/>
                <a:gd name="connsiteY7" fmla="*/ 281249 h 435073"/>
                <a:gd name="connsiteX8" fmla="*/ 216151 w 435077"/>
                <a:gd name="connsiteY8" fmla="*/ 217539 h 435073"/>
                <a:gd name="connsiteX9" fmla="*/ 0 w 435077"/>
                <a:gd name="connsiteY9" fmla="*/ 217539 h 435073"/>
                <a:gd name="connsiteX10" fmla="*/ 63710 w 435077"/>
                <a:gd name="connsiteY10" fmla="*/ 63716 h 435073"/>
                <a:gd name="connsiteX11" fmla="*/ 217539 w 435077"/>
                <a:gd name="connsiteY11" fmla="*/ 0 h 435073"/>
                <a:gd name="connsiteX12" fmla="*/ 371365 w 435077"/>
                <a:gd name="connsiteY12" fmla="*/ 63716 h 43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3">
                  <a:moveTo>
                    <a:pt x="371365" y="63716"/>
                  </a:moveTo>
                  <a:cubicBezTo>
                    <a:pt x="412154" y="104512"/>
                    <a:pt x="435077" y="159844"/>
                    <a:pt x="435077" y="217539"/>
                  </a:cubicBezTo>
                  <a:lnTo>
                    <a:pt x="218953" y="217539"/>
                  </a:lnTo>
                  <a:cubicBezTo>
                    <a:pt x="276137" y="217907"/>
                    <a:pt x="330902" y="240784"/>
                    <a:pt x="371365" y="281249"/>
                  </a:cubicBezTo>
                  <a:cubicBezTo>
                    <a:pt x="412154" y="322046"/>
                    <a:pt x="435077" y="377379"/>
                    <a:pt x="435077" y="435073"/>
                  </a:cubicBezTo>
                  <a:lnTo>
                    <a:pt x="217539" y="435073"/>
                  </a:lnTo>
                  <a:lnTo>
                    <a:pt x="0" y="435073"/>
                  </a:lnTo>
                  <a:cubicBezTo>
                    <a:pt x="0" y="377379"/>
                    <a:pt x="22922" y="322046"/>
                    <a:pt x="63710" y="281249"/>
                  </a:cubicBezTo>
                  <a:cubicBezTo>
                    <a:pt x="104174" y="240784"/>
                    <a:pt x="158938" y="217907"/>
                    <a:pt x="216151" y="217539"/>
                  </a:cubicBezTo>
                  <a:lnTo>
                    <a:pt x="0" y="217539"/>
                  </a:lnTo>
                  <a:cubicBezTo>
                    <a:pt x="0" y="159844"/>
                    <a:pt x="22922" y="104512"/>
                    <a:pt x="63710" y="63716"/>
                  </a:cubicBezTo>
                  <a:cubicBezTo>
                    <a:pt x="104499" y="22919"/>
                    <a:pt x="159836" y="0"/>
                    <a:pt x="217539" y="0"/>
                  </a:cubicBezTo>
                  <a:cubicBezTo>
                    <a:pt x="275239" y="0"/>
                    <a:pt x="330549" y="22919"/>
                    <a:pt x="371365" y="63716"/>
                  </a:cubicBezTo>
                  <a:close/>
                </a:path>
              </a:pathLst>
            </a:custGeom>
            <a:grpFill/>
            <a:ln w="27192" cap="flat">
              <a:noFill/>
              <a:prstDash val="solid"/>
              <a:miter/>
            </a:ln>
          </p:spPr>
          <p:txBody>
            <a:bodyPr rtlCol="0" anchor="ctr"/>
            <a:lstStyle/>
            <a:p>
              <a:endParaRPr lang="uk-UA" sz="900">
                <a:solidFill>
                  <a:schemeClr val="bg1"/>
                </a:solidFill>
              </a:endParaRPr>
            </a:p>
          </p:txBody>
        </p:sp>
        <p:sp>
          <p:nvSpPr>
            <p:cNvPr id="19" name="Freeform: Shape 18">
              <a:extLst>
                <a:ext uri="{FF2B5EF4-FFF2-40B4-BE49-F238E27FC236}">
                  <a16:creationId xmlns:a16="http://schemas.microsoft.com/office/drawing/2014/main" id="{5A8FE65A-A209-28D0-BC63-10DA46E73BC5}"/>
                </a:ext>
              </a:extLst>
            </p:cNvPr>
            <p:cNvSpPr/>
            <p:nvPr/>
          </p:nvSpPr>
          <p:spPr>
            <a:xfrm>
              <a:off x="10407554" y="228598"/>
              <a:ext cx="435077" cy="435078"/>
            </a:xfrm>
            <a:custGeom>
              <a:avLst/>
              <a:gdLst>
                <a:gd name="connsiteX0" fmla="*/ 217539 w 435077"/>
                <a:gd name="connsiteY0" fmla="*/ 0 h 435078"/>
                <a:gd name="connsiteX1" fmla="*/ 0 w 435077"/>
                <a:gd name="connsiteY1" fmla="*/ 0 h 435078"/>
                <a:gd name="connsiteX2" fmla="*/ 0 w 435077"/>
                <a:gd name="connsiteY2" fmla="*/ 217539 h 435078"/>
                <a:gd name="connsiteX3" fmla="*/ 217539 w 435077"/>
                <a:gd name="connsiteY3" fmla="*/ 0 h 435078"/>
                <a:gd name="connsiteX4" fmla="*/ 435077 w 435077"/>
                <a:gd name="connsiteY4" fmla="*/ 0 h 435078"/>
                <a:gd name="connsiteX5" fmla="*/ 435077 w 435077"/>
                <a:gd name="connsiteY5" fmla="*/ 217539 h 435078"/>
                <a:gd name="connsiteX6" fmla="*/ 217539 w 435077"/>
                <a:gd name="connsiteY6" fmla="*/ 0 h 435078"/>
                <a:gd name="connsiteX7" fmla="*/ 435077 w 435077"/>
                <a:gd name="connsiteY7" fmla="*/ 0 h 435078"/>
                <a:gd name="connsiteX8" fmla="*/ 217539 w 435077"/>
                <a:gd name="connsiteY8" fmla="*/ 435079 h 435078"/>
                <a:gd name="connsiteX9" fmla="*/ 435077 w 435077"/>
                <a:gd name="connsiteY9" fmla="*/ 217539 h 435078"/>
                <a:gd name="connsiteX10" fmla="*/ 435077 w 435077"/>
                <a:gd name="connsiteY10" fmla="*/ 435079 h 435078"/>
                <a:gd name="connsiteX11" fmla="*/ 217539 w 435077"/>
                <a:gd name="connsiteY11" fmla="*/ 435079 h 435078"/>
                <a:gd name="connsiteX12" fmla="*/ 217539 w 435077"/>
                <a:gd name="connsiteY12" fmla="*/ 435079 h 435078"/>
                <a:gd name="connsiteX13" fmla="*/ 0 w 435077"/>
                <a:gd name="connsiteY13" fmla="*/ 217539 h 435078"/>
                <a:gd name="connsiteX14" fmla="*/ 0 w 435077"/>
                <a:gd name="connsiteY14" fmla="*/ 435079 h 435078"/>
                <a:gd name="connsiteX15" fmla="*/ 217539 w 435077"/>
                <a:gd name="connsiteY15" fmla="*/ 435079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8">
                  <a:moveTo>
                    <a:pt x="217539" y="0"/>
                  </a:moveTo>
                  <a:lnTo>
                    <a:pt x="0" y="0"/>
                  </a:lnTo>
                  <a:lnTo>
                    <a:pt x="0" y="217539"/>
                  </a:lnTo>
                  <a:lnTo>
                    <a:pt x="217539" y="0"/>
                  </a:lnTo>
                  <a:close/>
                  <a:moveTo>
                    <a:pt x="435077" y="0"/>
                  </a:moveTo>
                  <a:lnTo>
                    <a:pt x="435077" y="217539"/>
                  </a:lnTo>
                  <a:lnTo>
                    <a:pt x="217539" y="0"/>
                  </a:lnTo>
                  <a:lnTo>
                    <a:pt x="435077" y="0"/>
                  </a:lnTo>
                  <a:close/>
                  <a:moveTo>
                    <a:pt x="217539" y="435079"/>
                  </a:moveTo>
                  <a:lnTo>
                    <a:pt x="435077" y="217539"/>
                  </a:lnTo>
                  <a:lnTo>
                    <a:pt x="435077" y="435079"/>
                  </a:lnTo>
                  <a:lnTo>
                    <a:pt x="217539" y="435079"/>
                  </a:lnTo>
                  <a:close/>
                  <a:moveTo>
                    <a:pt x="217539" y="435079"/>
                  </a:moveTo>
                  <a:lnTo>
                    <a:pt x="0" y="217539"/>
                  </a:lnTo>
                  <a:lnTo>
                    <a:pt x="0" y="435079"/>
                  </a:lnTo>
                  <a:lnTo>
                    <a:pt x="217539" y="435079"/>
                  </a:lnTo>
                  <a:close/>
                </a:path>
              </a:pathLst>
            </a:custGeom>
            <a:grpFill/>
            <a:ln w="27192" cap="flat">
              <a:noFill/>
              <a:prstDash val="solid"/>
              <a:miter/>
            </a:ln>
          </p:spPr>
          <p:txBody>
            <a:bodyPr rtlCol="0" anchor="ctr"/>
            <a:lstStyle/>
            <a:p>
              <a:endParaRPr lang="uk-UA" sz="900">
                <a:solidFill>
                  <a:schemeClr val="bg1"/>
                </a:solidFill>
              </a:endParaRPr>
            </a:p>
          </p:txBody>
        </p:sp>
        <p:sp>
          <p:nvSpPr>
            <p:cNvPr id="20" name="Freeform: Shape 19">
              <a:extLst>
                <a:ext uri="{FF2B5EF4-FFF2-40B4-BE49-F238E27FC236}">
                  <a16:creationId xmlns:a16="http://schemas.microsoft.com/office/drawing/2014/main" id="{A7CE197A-54E0-B8EE-854F-AC349A4BCBD1}"/>
                </a:ext>
              </a:extLst>
            </p:cNvPr>
            <p:cNvSpPr/>
            <p:nvPr/>
          </p:nvSpPr>
          <p:spPr>
            <a:xfrm>
              <a:off x="12147836" y="228570"/>
              <a:ext cx="435077" cy="435076"/>
            </a:xfrm>
            <a:custGeom>
              <a:avLst/>
              <a:gdLst>
                <a:gd name="connsiteX0" fmla="*/ 217539 w 435077"/>
                <a:gd name="connsiteY0" fmla="*/ 217534 h 435076"/>
                <a:gd name="connsiteX1" fmla="*/ 217539 w 435077"/>
                <a:gd name="connsiteY1" fmla="*/ 0 h 435076"/>
                <a:gd name="connsiteX2" fmla="*/ 0 w 435077"/>
                <a:gd name="connsiteY2" fmla="*/ 0 h 435076"/>
                <a:gd name="connsiteX3" fmla="*/ 217539 w 435077"/>
                <a:gd name="connsiteY3" fmla="*/ 217538 h 435076"/>
                <a:gd name="connsiteX4" fmla="*/ 0 w 435077"/>
                <a:gd name="connsiteY4" fmla="*/ 435077 h 435076"/>
                <a:gd name="connsiteX5" fmla="*/ 217539 w 435077"/>
                <a:gd name="connsiteY5" fmla="*/ 435077 h 435076"/>
                <a:gd name="connsiteX6" fmla="*/ 217539 w 435077"/>
                <a:gd name="connsiteY6" fmla="*/ 435071 h 435076"/>
                <a:gd name="connsiteX7" fmla="*/ 435077 w 435077"/>
                <a:gd name="connsiteY7" fmla="*/ 217543 h 435076"/>
                <a:gd name="connsiteX8" fmla="*/ 435077 w 435077"/>
                <a:gd name="connsiteY8" fmla="*/ 217543 h 435076"/>
                <a:gd name="connsiteX9" fmla="*/ 435077 w 435077"/>
                <a:gd name="connsiteY9" fmla="*/ 217538 h 435076"/>
                <a:gd name="connsiteX10" fmla="*/ 435077 w 435077"/>
                <a:gd name="connsiteY10" fmla="*/ 217534 h 435076"/>
                <a:gd name="connsiteX11" fmla="*/ 435077 w 435077"/>
                <a:gd name="connsiteY11" fmla="*/ 217534 h 435076"/>
                <a:gd name="connsiteX12" fmla="*/ 217539 w 435077"/>
                <a:gd name="connsiteY12" fmla="*/ 5 h 435076"/>
                <a:gd name="connsiteX13" fmla="*/ 217539 w 435077"/>
                <a:gd name="connsiteY13" fmla="*/ 217534 h 435076"/>
                <a:gd name="connsiteX14" fmla="*/ 217539 w 435077"/>
                <a:gd name="connsiteY14" fmla="*/ 217534 h 435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6">
                  <a:moveTo>
                    <a:pt x="217539" y="217534"/>
                  </a:moveTo>
                  <a:lnTo>
                    <a:pt x="217539" y="0"/>
                  </a:lnTo>
                  <a:lnTo>
                    <a:pt x="0" y="0"/>
                  </a:lnTo>
                  <a:lnTo>
                    <a:pt x="217539" y="217538"/>
                  </a:lnTo>
                  <a:lnTo>
                    <a:pt x="0" y="435077"/>
                  </a:lnTo>
                  <a:lnTo>
                    <a:pt x="217539" y="435077"/>
                  </a:lnTo>
                  <a:lnTo>
                    <a:pt x="217539" y="435071"/>
                  </a:lnTo>
                  <a:lnTo>
                    <a:pt x="435077" y="217543"/>
                  </a:lnTo>
                  <a:lnTo>
                    <a:pt x="435077" y="217543"/>
                  </a:lnTo>
                  <a:lnTo>
                    <a:pt x="435077" y="217538"/>
                  </a:lnTo>
                  <a:lnTo>
                    <a:pt x="435077" y="217534"/>
                  </a:lnTo>
                  <a:lnTo>
                    <a:pt x="435077" y="217534"/>
                  </a:lnTo>
                  <a:lnTo>
                    <a:pt x="217539" y="5"/>
                  </a:lnTo>
                  <a:lnTo>
                    <a:pt x="217539" y="217534"/>
                  </a:lnTo>
                  <a:lnTo>
                    <a:pt x="217539" y="217534"/>
                  </a:lnTo>
                  <a:close/>
                </a:path>
              </a:pathLst>
            </a:custGeom>
            <a:grpFill/>
            <a:ln w="27192" cap="flat">
              <a:noFill/>
              <a:prstDash val="solid"/>
              <a:miter/>
            </a:ln>
          </p:spPr>
          <p:txBody>
            <a:bodyPr rtlCol="0" anchor="ctr"/>
            <a:lstStyle/>
            <a:p>
              <a:endParaRPr lang="uk-UA" sz="900">
                <a:solidFill>
                  <a:schemeClr val="bg1"/>
                </a:solidFill>
              </a:endParaRPr>
            </a:p>
          </p:txBody>
        </p:sp>
        <p:sp>
          <p:nvSpPr>
            <p:cNvPr id="21" name="Freeform: Shape 20">
              <a:extLst>
                <a:ext uri="{FF2B5EF4-FFF2-40B4-BE49-F238E27FC236}">
                  <a16:creationId xmlns:a16="http://schemas.microsoft.com/office/drawing/2014/main" id="{2423A403-E5EB-FD2B-4AFB-45857D91C395}"/>
                </a:ext>
              </a:extLst>
            </p:cNvPr>
            <p:cNvSpPr/>
            <p:nvPr/>
          </p:nvSpPr>
          <p:spPr>
            <a:xfrm>
              <a:off x="13018045" y="228598"/>
              <a:ext cx="435077" cy="435078"/>
            </a:xfrm>
            <a:custGeom>
              <a:avLst/>
              <a:gdLst>
                <a:gd name="connsiteX0" fmla="*/ 0 w 435077"/>
                <a:gd name="connsiteY0" fmla="*/ 435079 h 435078"/>
                <a:gd name="connsiteX1" fmla="*/ 217539 w 435077"/>
                <a:gd name="connsiteY1" fmla="*/ 435079 h 435078"/>
                <a:gd name="connsiteX2" fmla="*/ 217539 w 435077"/>
                <a:gd name="connsiteY2" fmla="*/ 217546 h 435078"/>
                <a:gd name="connsiteX3" fmla="*/ 0 w 435077"/>
                <a:gd name="connsiteY3" fmla="*/ 435079 h 435078"/>
                <a:gd name="connsiteX4" fmla="*/ 217539 w 435077"/>
                <a:gd name="connsiteY4" fmla="*/ 0 h 435078"/>
                <a:gd name="connsiteX5" fmla="*/ 0 w 435077"/>
                <a:gd name="connsiteY5" fmla="*/ 0 h 435078"/>
                <a:gd name="connsiteX6" fmla="*/ 217539 w 435077"/>
                <a:gd name="connsiteY6" fmla="*/ 217532 h 435078"/>
                <a:gd name="connsiteX7" fmla="*/ 217539 w 435077"/>
                <a:gd name="connsiteY7" fmla="*/ 0 h 435078"/>
                <a:gd name="connsiteX8" fmla="*/ 435077 w 435077"/>
                <a:gd name="connsiteY8" fmla="*/ 435079 h 435078"/>
                <a:gd name="connsiteX9" fmla="*/ 217539 w 435077"/>
                <a:gd name="connsiteY9" fmla="*/ 435079 h 435078"/>
                <a:gd name="connsiteX10" fmla="*/ 435077 w 435077"/>
                <a:gd name="connsiteY10" fmla="*/ 217546 h 435078"/>
                <a:gd name="connsiteX11" fmla="*/ 435077 w 435077"/>
                <a:gd name="connsiteY11" fmla="*/ 435079 h 435078"/>
                <a:gd name="connsiteX12" fmla="*/ 435077 w 435077"/>
                <a:gd name="connsiteY12" fmla="*/ 0 h 435078"/>
                <a:gd name="connsiteX13" fmla="*/ 217539 w 435077"/>
                <a:gd name="connsiteY13" fmla="*/ 0 h 435078"/>
                <a:gd name="connsiteX14" fmla="*/ 435077 w 435077"/>
                <a:gd name="connsiteY14" fmla="*/ 217532 h 435078"/>
                <a:gd name="connsiteX15" fmla="*/ 435077 w 435077"/>
                <a:gd name="connsiteY15"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8">
                  <a:moveTo>
                    <a:pt x="0" y="435079"/>
                  </a:moveTo>
                  <a:lnTo>
                    <a:pt x="217539" y="435079"/>
                  </a:lnTo>
                  <a:lnTo>
                    <a:pt x="217539" y="217546"/>
                  </a:lnTo>
                  <a:lnTo>
                    <a:pt x="0" y="435079"/>
                  </a:lnTo>
                  <a:close/>
                  <a:moveTo>
                    <a:pt x="217539" y="0"/>
                  </a:moveTo>
                  <a:lnTo>
                    <a:pt x="0" y="0"/>
                  </a:lnTo>
                  <a:lnTo>
                    <a:pt x="217539" y="217532"/>
                  </a:lnTo>
                  <a:lnTo>
                    <a:pt x="217539" y="0"/>
                  </a:lnTo>
                  <a:close/>
                  <a:moveTo>
                    <a:pt x="435077" y="435079"/>
                  </a:moveTo>
                  <a:lnTo>
                    <a:pt x="217539" y="435079"/>
                  </a:lnTo>
                  <a:lnTo>
                    <a:pt x="435077" y="217546"/>
                  </a:lnTo>
                  <a:lnTo>
                    <a:pt x="435077" y="435079"/>
                  </a:lnTo>
                  <a:close/>
                  <a:moveTo>
                    <a:pt x="435077" y="0"/>
                  </a:moveTo>
                  <a:lnTo>
                    <a:pt x="217539" y="0"/>
                  </a:lnTo>
                  <a:lnTo>
                    <a:pt x="435077" y="217532"/>
                  </a:lnTo>
                  <a:lnTo>
                    <a:pt x="435077" y="0"/>
                  </a:lnTo>
                  <a:close/>
                </a:path>
              </a:pathLst>
            </a:custGeom>
            <a:grpFill/>
            <a:ln w="27192" cap="flat">
              <a:noFill/>
              <a:prstDash val="solid"/>
              <a:miter/>
            </a:ln>
          </p:spPr>
          <p:txBody>
            <a:bodyPr rtlCol="0" anchor="ctr"/>
            <a:lstStyle/>
            <a:p>
              <a:endParaRPr lang="uk-UA" sz="900">
                <a:solidFill>
                  <a:schemeClr val="bg1"/>
                </a:solidFill>
              </a:endParaRPr>
            </a:p>
          </p:txBody>
        </p:sp>
        <p:sp>
          <p:nvSpPr>
            <p:cNvPr id="22" name="Freeform: Shape 21">
              <a:extLst>
                <a:ext uri="{FF2B5EF4-FFF2-40B4-BE49-F238E27FC236}">
                  <a16:creationId xmlns:a16="http://schemas.microsoft.com/office/drawing/2014/main" id="{722929B8-F7BA-0971-1A6F-003DFDE4B896}"/>
                </a:ext>
              </a:extLst>
            </p:cNvPr>
            <p:cNvSpPr/>
            <p:nvPr/>
          </p:nvSpPr>
          <p:spPr>
            <a:xfrm>
              <a:off x="14758382" y="228598"/>
              <a:ext cx="435077" cy="435073"/>
            </a:xfrm>
            <a:custGeom>
              <a:avLst/>
              <a:gdLst>
                <a:gd name="connsiteX0" fmla="*/ 371367 w 435077"/>
                <a:gd name="connsiteY0" fmla="*/ 63716 h 435073"/>
                <a:gd name="connsiteX1" fmla="*/ 435077 w 435077"/>
                <a:gd name="connsiteY1" fmla="*/ 217539 h 435073"/>
                <a:gd name="connsiteX2" fmla="*/ 218953 w 435077"/>
                <a:gd name="connsiteY2" fmla="*/ 217539 h 435073"/>
                <a:gd name="connsiteX3" fmla="*/ 371367 w 435077"/>
                <a:gd name="connsiteY3" fmla="*/ 281249 h 435073"/>
                <a:gd name="connsiteX4" fmla="*/ 435077 w 435077"/>
                <a:gd name="connsiteY4" fmla="*/ 435073 h 435073"/>
                <a:gd name="connsiteX5" fmla="*/ 217539 w 435077"/>
                <a:gd name="connsiteY5" fmla="*/ 435073 h 435073"/>
                <a:gd name="connsiteX6" fmla="*/ 0 w 435077"/>
                <a:gd name="connsiteY6" fmla="*/ 435073 h 435073"/>
                <a:gd name="connsiteX7" fmla="*/ 63712 w 435077"/>
                <a:gd name="connsiteY7" fmla="*/ 281249 h 435073"/>
                <a:gd name="connsiteX8" fmla="*/ 216125 w 435077"/>
                <a:gd name="connsiteY8" fmla="*/ 217539 h 435073"/>
                <a:gd name="connsiteX9" fmla="*/ 0 w 435077"/>
                <a:gd name="connsiteY9" fmla="*/ 217539 h 435073"/>
                <a:gd name="connsiteX10" fmla="*/ 63712 w 435077"/>
                <a:gd name="connsiteY10" fmla="*/ 63716 h 435073"/>
                <a:gd name="connsiteX11" fmla="*/ 217539 w 435077"/>
                <a:gd name="connsiteY11" fmla="*/ 0 h 435073"/>
                <a:gd name="connsiteX12" fmla="*/ 371367 w 435077"/>
                <a:gd name="connsiteY12" fmla="*/ 63716 h 43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3">
                  <a:moveTo>
                    <a:pt x="371367" y="63716"/>
                  </a:moveTo>
                  <a:cubicBezTo>
                    <a:pt x="412155" y="104512"/>
                    <a:pt x="435077" y="159844"/>
                    <a:pt x="435077" y="217539"/>
                  </a:cubicBezTo>
                  <a:lnTo>
                    <a:pt x="218953" y="217539"/>
                  </a:lnTo>
                  <a:cubicBezTo>
                    <a:pt x="276139" y="217907"/>
                    <a:pt x="330904" y="240784"/>
                    <a:pt x="371367" y="281249"/>
                  </a:cubicBezTo>
                  <a:cubicBezTo>
                    <a:pt x="412155" y="322046"/>
                    <a:pt x="435077" y="377379"/>
                    <a:pt x="435077" y="435073"/>
                  </a:cubicBezTo>
                  <a:lnTo>
                    <a:pt x="217539" y="435073"/>
                  </a:lnTo>
                  <a:lnTo>
                    <a:pt x="0" y="435073"/>
                  </a:lnTo>
                  <a:cubicBezTo>
                    <a:pt x="0" y="377379"/>
                    <a:pt x="22924" y="322046"/>
                    <a:pt x="63712" y="281249"/>
                  </a:cubicBezTo>
                  <a:cubicBezTo>
                    <a:pt x="104174" y="240784"/>
                    <a:pt x="158940" y="217907"/>
                    <a:pt x="216125" y="217539"/>
                  </a:cubicBezTo>
                  <a:lnTo>
                    <a:pt x="0" y="217539"/>
                  </a:lnTo>
                  <a:cubicBezTo>
                    <a:pt x="0" y="159844"/>
                    <a:pt x="22924" y="104512"/>
                    <a:pt x="63712" y="63716"/>
                  </a:cubicBezTo>
                  <a:cubicBezTo>
                    <a:pt x="104501" y="22919"/>
                    <a:pt x="159836" y="0"/>
                    <a:pt x="217539" y="0"/>
                  </a:cubicBezTo>
                  <a:cubicBezTo>
                    <a:pt x="275241" y="0"/>
                    <a:pt x="330550" y="22919"/>
                    <a:pt x="371367" y="63716"/>
                  </a:cubicBezTo>
                  <a:close/>
                </a:path>
              </a:pathLst>
            </a:custGeom>
            <a:grpFill/>
            <a:ln w="27192" cap="flat">
              <a:noFill/>
              <a:prstDash val="solid"/>
              <a:miter/>
            </a:ln>
          </p:spPr>
          <p:txBody>
            <a:bodyPr rtlCol="0" anchor="ctr"/>
            <a:lstStyle/>
            <a:p>
              <a:endParaRPr lang="uk-UA" sz="900">
                <a:solidFill>
                  <a:schemeClr val="bg1"/>
                </a:solidFill>
              </a:endParaRPr>
            </a:p>
          </p:txBody>
        </p:sp>
        <p:sp>
          <p:nvSpPr>
            <p:cNvPr id="23" name="Freeform: Shape 22">
              <a:extLst>
                <a:ext uri="{FF2B5EF4-FFF2-40B4-BE49-F238E27FC236}">
                  <a16:creationId xmlns:a16="http://schemas.microsoft.com/office/drawing/2014/main" id="{F63EDBFA-3B80-F786-0F8D-9E0BA58B6291}"/>
                </a:ext>
              </a:extLst>
            </p:cNvPr>
            <p:cNvSpPr/>
            <p:nvPr/>
          </p:nvSpPr>
          <p:spPr>
            <a:xfrm>
              <a:off x="13888200" y="228598"/>
              <a:ext cx="435077" cy="435078"/>
            </a:xfrm>
            <a:custGeom>
              <a:avLst/>
              <a:gdLst>
                <a:gd name="connsiteX0" fmla="*/ 217565 w 435077"/>
                <a:gd name="connsiteY0" fmla="*/ 0 h 435078"/>
                <a:gd name="connsiteX1" fmla="*/ 217539 w 435077"/>
                <a:gd name="connsiteY1" fmla="*/ 0 h 435078"/>
                <a:gd name="connsiteX2" fmla="*/ 27 w 435077"/>
                <a:gd name="connsiteY2" fmla="*/ 0 h 435078"/>
                <a:gd name="connsiteX3" fmla="*/ 27 w 435077"/>
                <a:gd name="connsiteY3" fmla="*/ 217539 h 435078"/>
                <a:gd name="connsiteX4" fmla="*/ 217565 w 435077"/>
                <a:gd name="connsiteY4" fmla="*/ 7 h 435078"/>
                <a:gd name="connsiteX5" fmla="*/ 435077 w 435077"/>
                <a:gd name="connsiteY5" fmla="*/ 217539 h 435078"/>
                <a:gd name="connsiteX6" fmla="*/ 217539 w 435077"/>
                <a:gd name="connsiteY6" fmla="*/ 435079 h 435078"/>
                <a:gd name="connsiteX7" fmla="*/ 0 w 435077"/>
                <a:gd name="connsiteY7" fmla="*/ 217539 h 435078"/>
                <a:gd name="connsiteX8" fmla="*/ 0 w 435077"/>
                <a:gd name="connsiteY8" fmla="*/ 435079 h 435078"/>
                <a:gd name="connsiteX9" fmla="*/ 217539 w 435077"/>
                <a:gd name="connsiteY9" fmla="*/ 435079 h 435078"/>
                <a:gd name="connsiteX10" fmla="*/ 435077 w 435077"/>
                <a:gd name="connsiteY10" fmla="*/ 435079 h 435078"/>
                <a:gd name="connsiteX11" fmla="*/ 435077 w 435077"/>
                <a:gd name="connsiteY11" fmla="*/ 217539 h 435078"/>
                <a:gd name="connsiteX12" fmla="*/ 435077 w 435077"/>
                <a:gd name="connsiteY12" fmla="*/ 0 h 435078"/>
                <a:gd name="connsiteX13" fmla="*/ 217565 w 435077"/>
                <a:gd name="connsiteY13"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8">
                  <a:moveTo>
                    <a:pt x="217565" y="0"/>
                  </a:moveTo>
                  <a:lnTo>
                    <a:pt x="217539" y="0"/>
                  </a:lnTo>
                  <a:lnTo>
                    <a:pt x="27" y="0"/>
                  </a:lnTo>
                  <a:lnTo>
                    <a:pt x="27" y="217539"/>
                  </a:lnTo>
                  <a:lnTo>
                    <a:pt x="217565" y="7"/>
                  </a:lnTo>
                  <a:lnTo>
                    <a:pt x="435077" y="217539"/>
                  </a:lnTo>
                  <a:lnTo>
                    <a:pt x="217539" y="435079"/>
                  </a:lnTo>
                  <a:lnTo>
                    <a:pt x="0" y="217539"/>
                  </a:lnTo>
                  <a:lnTo>
                    <a:pt x="0" y="435079"/>
                  </a:lnTo>
                  <a:lnTo>
                    <a:pt x="217539" y="435079"/>
                  </a:lnTo>
                  <a:lnTo>
                    <a:pt x="435077" y="435079"/>
                  </a:lnTo>
                  <a:lnTo>
                    <a:pt x="435077" y="217539"/>
                  </a:lnTo>
                  <a:lnTo>
                    <a:pt x="435077" y="0"/>
                  </a:lnTo>
                  <a:lnTo>
                    <a:pt x="217565" y="0"/>
                  </a:lnTo>
                  <a:close/>
                </a:path>
              </a:pathLst>
            </a:custGeom>
            <a:grpFill/>
            <a:ln w="27192" cap="flat">
              <a:noFill/>
              <a:prstDash val="solid"/>
              <a:miter/>
            </a:ln>
          </p:spPr>
          <p:txBody>
            <a:bodyPr rtlCol="0" anchor="ctr"/>
            <a:lstStyle/>
            <a:p>
              <a:endParaRPr lang="uk-UA" sz="900">
                <a:solidFill>
                  <a:schemeClr val="bg1"/>
                </a:solidFill>
              </a:endParaRPr>
            </a:p>
          </p:txBody>
        </p:sp>
        <p:sp>
          <p:nvSpPr>
            <p:cNvPr id="24" name="Freeform: Shape 23">
              <a:extLst>
                <a:ext uri="{FF2B5EF4-FFF2-40B4-BE49-F238E27FC236}">
                  <a16:creationId xmlns:a16="http://schemas.microsoft.com/office/drawing/2014/main" id="{2094E1F0-E22D-9B25-3683-F015F644F4EA}"/>
                </a:ext>
              </a:extLst>
            </p:cNvPr>
            <p:cNvSpPr/>
            <p:nvPr/>
          </p:nvSpPr>
          <p:spPr>
            <a:xfrm>
              <a:off x="15628536" y="228598"/>
              <a:ext cx="435077" cy="435075"/>
            </a:xfrm>
            <a:custGeom>
              <a:avLst/>
              <a:gdLst>
                <a:gd name="connsiteX0" fmla="*/ 217539 w 435077"/>
                <a:gd name="connsiteY0" fmla="*/ 217540 h 435075"/>
                <a:gd name="connsiteX1" fmla="*/ 217539 w 435077"/>
                <a:gd name="connsiteY1" fmla="*/ 217537 h 435075"/>
                <a:gd name="connsiteX2" fmla="*/ 0 w 435077"/>
                <a:gd name="connsiteY2" fmla="*/ 0 h 435075"/>
                <a:gd name="connsiteX3" fmla="*/ 217539 w 435077"/>
                <a:gd name="connsiteY3" fmla="*/ 0 h 435075"/>
                <a:gd name="connsiteX4" fmla="*/ 217539 w 435077"/>
                <a:gd name="connsiteY4" fmla="*/ 5 h 435075"/>
                <a:gd name="connsiteX5" fmla="*/ 435077 w 435077"/>
                <a:gd name="connsiteY5" fmla="*/ 217533 h 435075"/>
                <a:gd name="connsiteX6" fmla="*/ 435077 w 435077"/>
                <a:gd name="connsiteY6" fmla="*/ 217533 h 435075"/>
                <a:gd name="connsiteX7" fmla="*/ 435077 w 435077"/>
                <a:gd name="connsiteY7" fmla="*/ 217538 h 435075"/>
                <a:gd name="connsiteX8" fmla="*/ 435077 w 435077"/>
                <a:gd name="connsiteY8" fmla="*/ 217542 h 435075"/>
                <a:gd name="connsiteX9" fmla="*/ 435077 w 435077"/>
                <a:gd name="connsiteY9" fmla="*/ 217542 h 435075"/>
                <a:gd name="connsiteX10" fmla="*/ 217539 w 435077"/>
                <a:gd name="connsiteY10" fmla="*/ 435071 h 435075"/>
                <a:gd name="connsiteX11" fmla="*/ 217539 w 435077"/>
                <a:gd name="connsiteY11" fmla="*/ 435076 h 435075"/>
                <a:gd name="connsiteX12" fmla="*/ 0 w 435077"/>
                <a:gd name="connsiteY12" fmla="*/ 435076 h 435075"/>
                <a:gd name="connsiteX13" fmla="*/ 217539 w 435077"/>
                <a:gd name="connsiteY13" fmla="*/ 217540 h 43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5">
                  <a:moveTo>
                    <a:pt x="217539" y="217540"/>
                  </a:moveTo>
                  <a:lnTo>
                    <a:pt x="217539" y="217537"/>
                  </a:lnTo>
                  <a:lnTo>
                    <a:pt x="0" y="0"/>
                  </a:lnTo>
                  <a:lnTo>
                    <a:pt x="217539" y="0"/>
                  </a:lnTo>
                  <a:lnTo>
                    <a:pt x="217539" y="5"/>
                  </a:lnTo>
                  <a:lnTo>
                    <a:pt x="435077" y="217533"/>
                  </a:lnTo>
                  <a:lnTo>
                    <a:pt x="435077" y="217533"/>
                  </a:lnTo>
                  <a:lnTo>
                    <a:pt x="435077" y="217538"/>
                  </a:lnTo>
                  <a:lnTo>
                    <a:pt x="435077" y="217542"/>
                  </a:lnTo>
                  <a:lnTo>
                    <a:pt x="435077" y="217542"/>
                  </a:lnTo>
                  <a:lnTo>
                    <a:pt x="217539" y="435071"/>
                  </a:lnTo>
                  <a:lnTo>
                    <a:pt x="217539" y="435076"/>
                  </a:lnTo>
                  <a:lnTo>
                    <a:pt x="0" y="435076"/>
                  </a:lnTo>
                  <a:lnTo>
                    <a:pt x="217539" y="217540"/>
                  </a:lnTo>
                  <a:close/>
                </a:path>
              </a:pathLst>
            </a:custGeom>
            <a:grpFill/>
            <a:ln w="27192" cap="flat">
              <a:noFill/>
              <a:prstDash val="solid"/>
              <a:miter/>
            </a:ln>
          </p:spPr>
          <p:txBody>
            <a:bodyPr rtlCol="0" anchor="ctr"/>
            <a:lstStyle/>
            <a:p>
              <a:endParaRPr lang="uk-UA" sz="900">
                <a:solidFill>
                  <a:schemeClr val="bg1"/>
                </a:solidFill>
              </a:endParaRPr>
            </a:p>
          </p:txBody>
        </p:sp>
        <p:sp>
          <p:nvSpPr>
            <p:cNvPr id="25" name="Freeform: Shape 24">
              <a:extLst>
                <a:ext uri="{FF2B5EF4-FFF2-40B4-BE49-F238E27FC236}">
                  <a16:creationId xmlns:a16="http://schemas.microsoft.com/office/drawing/2014/main" id="{7D4C893C-92A6-9A6A-AF7C-B5919C387C19}"/>
                </a:ext>
              </a:extLst>
            </p:cNvPr>
            <p:cNvSpPr/>
            <p:nvPr/>
          </p:nvSpPr>
          <p:spPr>
            <a:xfrm>
              <a:off x="16498719" y="228598"/>
              <a:ext cx="435077" cy="435078"/>
            </a:xfrm>
            <a:custGeom>
              <a:avLst/>
              <a:gdLst>
                <a:gd name="connsiteX0" fmla="*/ 0 w 435077"/>
                <a:gd name="connsiteY0" fmla="*/ 435079 h 435078"/>
                <a:gd name="connsiteX1" fmla="*/ 217510 w 435077"/>
                <a:gd name="connsiteY1" fmla="*/ 435079 h 435078"/>
                <a:gd name="connsiteX2" fmla="*/ 217510 w 435077"/>
                <a:gd name="connsiteY2" fmla="*/ 217546 h 435078"/>
                <a:gd name="connsiteX3" fmla="*/ 0 w 435077"/>
                <a:gd name="connsiteY3" fmla="*/ 435079 h 435078"/>
                <a:gd name="connsiteX4" fmla="*/ 217510 w 435077"/>
                <a:gd name="connsiteY4" fmla="*/ 0 h 435078"/>
                <a:gd name="connsiteX5" fmla="*/ 0 w 435077"/>
                <a:gd name="connsiteY5" fmla="*/ 0 h 435078"/>
                <a:gd name="connsiteX6" fmla="*/ 217510 w 435077"/>
                <a:gd name="connsiteY6" fmla="*/ 217532 h 435078"/>
                <a:gd name="connsiteX7" fmla="*/ 217510 w 435077"/>
                <a:gd name="connsiteY7" fmla="*/ 0 h 435078"/>
                <a:gd name="connsiteX8" fmla="*/ 435077 w 435077"/>
                <a:gd name="connsiteY8" fmla="*/ 435079 h 435078"/>
                <a:gd name="connsiteX9" fmla="*/ 217539 w 435077"/>
                <a:gd name="connsiteY9" fmla="*/ 435079 h 435078"/>
                <a:gd name="connsiteX10" fmla="*/ 435077 w 435077"/>
                <a:gd name="connsiteY10" fmla="*/ 217546 h 435078"/>
                <a:gd name="connsiteX11" fmla="*/ 435077 w 435077"/>
                <a:gd name="connsiteY11" fmla="*/ 435079 h 435078"/>
                <a:gd name="connsiteX12" fmla="*/ 435077 w 435077"/>
                <a:gd name="connsiteY12" fmla="*/ 0 h 435078"/>
                <a:gd name="connsiteX13" fmla="*/ 217539 w 435077"/>
                <a:gd name="connsiteY13" fmla="*/ 0 h 435078"/>
                <a:gd name="connsiteX14" fmla="*/ 435077 w 435077"/>
                <a:gd name="connsiteY14" fmla="*/ 217532 h 435078"/>
                <a:gd name="connsiteX15" fmla="*/ 435077 w 435077"/>
                <a:gd name="connsiteY15"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8">
                  <a:moveTo>
                    <a:pt x="0" y="435079"/>
                  </a:moveTo>
                  <a:lnTo>
                    <a:pt x="217510" y="435079"/>
                  </a:lnTo>
                  <a:lnTo>
                    <a:pt x="217510" y="217546"/>
                  </a:lnTo>
                  <a:lnTo>
                    <a:pt x="0" y="435079"/>
                  </a:lnTo>
                  <a:close/>
                  <a:moveTo>
                    <a:pt x="217510" y="0"/>
                  </a:moveTo>
                  <a:lnTo>
                    <a:pt x="0" y="0"/>
                  </a:lnTo>
                  <a:lnTo>
                    <a:pt x="217510" y="217532"/>
                  </a:lnTo>
                  <a:lnTo>
                    <a:pt x="217510" y="0"/>
                  </a:lnTo>
                  <a:close/>
                  <a:moveTo>
                    <a:pt x="435077" y="435079"/>
                  </a:moveTo>
                  <a:lnTo>
                    <a:pt x="217539" y="435079"/>
                  </a:lnTo>
                  <a:lnTo>
                    <a:pt x="435077" y="217546"/>
                  </a:lnTo>
                  <a:lnTo>
                    <a:pt x="435077" y="435079"/>
                  </a:lnTo>
                  <a:close/>
                  <a:moveTo>
                    <a:pt x="435077" y="0"/>
                  </a:moveTo>
                  <a:lnTo>
                    <a:pt x="217539" y="0"/>
                  </a:lnTo>
                  <a:lnTo>
                    <a:pt x="435077" y="217532"/>
                  </a:lnTo>
                  <a:lnTo>
                    <a:pt x="435077" y="0"/>
                  </a:lnTo>
                  <a:close/>
                </a:path>
              </a:pathLst>
            </a:custGeom>
            <a:grpFill/>
            <a:ln w="27192" cap="flat">
              <a:noFill/>
              <a:prstDash val="solid"/>
              <a:miter/>
            </a:ln>
          </p:spPr>
          <p:txBody>
            <a:bodyPr rtlCol="0" anchor="ctr"/>
            <a:lstStyle/>
            <a:p>
              <a:endParaRPr lang="uk-UA" sz="900">
                <a:solidFill>
                  <a:schemeClr val="bg1"/>
                </a:solidFill>
              </a:endParaRPr>
            </a:p>
          </p:txBody>
        </p:sp>
        <p:sp>
          <p:nvSpPr>
            <p:cNvPr id="26" name="Freeform: Shape 25">
              <a:extLst>
                <a:ext uri="{FF2B5EF4-FFF2-40B4-BE49-F238E27FC236}">
                  <a16:creationId xmlns:a16="http://schemas.microsoft.com/office/drawing/2014/main" id="{CC6C1D05-DC23-9994-8D90-4B13D8C793D2}"/>
                </a:ext>
              </a:extLst>
            </p:cNvPr>
            <p:cNvSpPr/>
            <p:nvPr/>
          </p:nvSpPr>
          <p:spPr>
            <a:xfrm>
              <a:off x="18239029" y="228598"/>
              <a:ext cx="435077" cy="435073"/>
            </a:xfrm>
            <a:custGeom>
              <a:avLst/>
              <a:gdLst>
                <a:gd name="connsiteX0" fmla="*/ 371365 w 435077"/>
                <a:gd name="connsiteY0" fmla="*/ 63716 h 435073"/>
                <a:gd name="connsiteX1" fmla="*/ 435077 w 435077"/>
                <a:gd name="connsiteY1" fmla="*/ 217539 h 435073"/>
                <a:gd name="connsiteX2" fmla="*/ 218953 w 435077"/>
                <a:gd name="connsiteY2" fmla="*/ 217539 h 435073"/>
                <a:gd name="connsiteX3" fmla="*/ 371365 w 435077"/>
                <a:gd name="connsiteY3" fmla="*/ 281249 h 435073"/>
                <a:gd name="connsiteX4" fmla="*/ 435077 w 435077"/>
                <a:gd name="connsiteY4" fmla="*/ 435073 h 435073"/>
                <a:gd name="connsiteX5" fmla="*/ 217539 w 435077"/>
                <a:gd name="connsiteY5" fmla="*/ 435073 h 435073"/>
                <a:gd name="connsiteX6" fmla="*/ 0 w 435077"/>
                <a:gd name="connsiteY6" fmla="*/ 435073 h 435073"/>
                <a:gd name="connsiteX7" fmla="*/ 63710 w 435077"/>
                <a:gd name="connsiteY7" fmla="*/ 281249 h 435073"/>
                <a:gd name="connsiteX8" fmla="*/ 216151 w 435077"/>
                <a:gd name="connsiteY8" fmla="*/ 217539 h 435073"/>
                <a:gd name="connsiteX9" fmla="*/ 0 w 435077"/>
                <a:gd name="connsiteY9" fmla="*/ 217539 h 435073"/>
                <a:gd name="connsiteX10" fmla="*/ 63710 w 435077"/>
                <a:gd name="connsiteY10" fmla="*/ 63716 h 435073"/>
                <a:gd name="connsiteX11" fmla="*/ 217539 w 435077"/>
                <a:gd name="connsiteY11" fmla="*/ 0 h 435073"/>
                <a:gd name="connsiteX12" fmla="*/ 371365 w 435077"/>
                <a:gd name="connsiteY12" fmla="*/ 63716 h 43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3">
                  <a:moveTo>
                    <a:pt x="371365" y="63716"/>
                  </a:moveTo>
                  <a:cubicBezTo>
                    <a:pt x="412154" y="104512"/>
                    <a:pt x="435077" y="159844"/>
                    <a:pt x="435077" y="217539"/>
                  </a:cubicBezTo>
                  <a:lnTo>
                    <a:pt x="218953" y="217539"/>
                  </a:lnTo>
                  <a:cubicBezTo>
                    <a:pt x="276137" y="217907"/>
                    <a:pt x="330904" y="240784"/>
                    <a:pt x="371365" y="281249"/>
                  </a:cubicBezTo>
                  <a:cubicBezTo>
                    <a:pt x="412154" y="322046"/>
                    <a:pt x="435077" y="377379"/>
                    <a:pt x="435077" y="435073"/>
                  </a:cubicBezTo>
                  <a:lnTo>
                    <a:pt x="217539" y="435073"/>
                  </a:lnTo>
                  <a:lnTo>
                    <a:pt x="0" y="435073"/>
                  </a:lnTo>
                  <a:cubicBezTo>
                    <a:pt x="0" y="377379"/>
                    <a:pt x="22922" y="322046"/>
                    <a:pt x="63710" y="281249"/>
                  </a:cubicBezTo>
                  <a:cubicBezTo>
                    <a:pt x="104200" y="240784"/>
                    <a:pt x="158967" y="217907"/>
                    <a:pt x="216151" y="217539"/>
                  </a:cubicBezTo>
                  <a:lnTo>
                    <a:pt x="0" y="217539"/>
                  </a:lnTo>
                  <a:cubicBezTo>
                    <a:pt x="0" y="159844"/>
                    <a:pt x="22922" y="104512"/>
                    <a:pt x="63710" y="63716"/>
                  </a:cubicBezTo>
                  <a:cubicBezTo>
                    <a:pt x="104527" y="22919"/>
                    <a:pt x="159836" y="0"/>
                    <a:pt x="217539" y="0"/>
                  </a:cubicBezTo>
                  <a:cubicBezTo>
                    <a:pt x="275241" y="0"/>
                    <a:pt x="330577" y="22919"/>
                    <a:pt x="371365" y="63716"/>
                  </a:cubicBezTo>
                  <a:close/>
                </a:path>
              </a:pathLst>
            </a:custGeom>
            <a:grpFill/>
            <a:ln w="27192" cap="flat">
              <a:noFill/>
              <a:prstDash val="solid"/>
              <a:miter/>
            </a:ln>
          </p:spPr>
          <p:txBody>
            <a:bodyPr rtlCol="0" anchor="ctr"/>
            <a:lstStyle/>
            <a:p>
              <a:endParaRPr lang="uk-UA" sz="900">
                <a:solidFill>
                  <a:schemeClr val="bg1"/>
                </a:solidFill>
              </a:endParaRPr>
            </a:p>
          </p:txBody>
        </p:sp>
        <p:sp>
          <p:nvSpPr>
            <p:cNvPr id="27" name="Freeform: Shape 26">
              <a:extLst>
                <a:ext uri="{FF2B5EF4-FFF2-40B4-BE49-F238E27FC236}">
                  <a16:creationId xmlns:a16="http://schemas.microsoft.com/office/drawing/2014/main" id="{6C4D66F2-D260-13B1-DBF7-60E32D95153D}"/>
                </a:ext>
              </a:extLst>
            </p:cNvPr>
            <p:cNvSpPr/>
            <p:nvPr/>
          </p:nvSpPr>
          <p:spPr>
            <a:xfrm>
              <a:off x="17368874" y="228598"/>
              <a:ext cx="435077" cy="435078"/>
            </a:xfrm>
            <a:custGeom>
              <a:avLst/>
              <a:gdLst>
                <a:gd name="connsiteX0" fmla="*/ 217539 w 435077"/>
                <a:gd name="connsiteY0" fmla="*/ 0 h 435078"/>
                <a:gd name="connsiteX1" fmla="*/ 0 w 435077"/>
                <a:gd name="connsiteY1" fmla="*/ 0 h 435078"/>
                <a:gd name="connsiteX2" fmla="*/ 0 w 435077"/>
                <a:gd name="connsiteY2" fmla="*/ 217539 h 435078"/>
                <a:gd name="connsiteX3" fmla="*/ 217539 w 435077"/>
                <a:gd name="connsiteY3" fmla="*/ 0 h 435078"/>
                <a:gd name="connsiteX4" fmla="*/ 435077 w 435077"/>
                <a:gd name="connsiteY4" fmla="*/ 0 h 435078"/>
                <a:gd name="connsiteX5" fmla="*/ 435077 w 435077"/>
                <a:gd name="connsiteY5" fmla="*/ 217539 h 435078"/>
                <a:gd name="connsiteX6" fmla="*/ 217539 w 435077"/>
                <a:gd name="connsiteY6" fmla="*/ 0 h 435078"/>
                <a:gd name="connsiteX7" fmla="*/ 435077 w 435077"/>
                <a:gd name="connsiteY7" fmla="*/ 0 h 435078"/>
                <a:gd name="connsiteX8" fmla="*/ 217539 w 435077"/>
                <a:gd name="connsiteY8" fmla="*/ 435079 h 435078"/>
                <a:gd name="connsiteX9" fmla="*/ 435077 w 435077"/>
                <a:gd name="connsiteY9" fmla="*/ 217539 h 435078"/>
                <a:gd name="connsiteX10" fmla="*/ 435077 w 435077"/>
                <a:gd name="connsiteY10" fmla="*/ 435079 h 435078"/>
                <a:gd name="connsiteX11" fmla="*/ 217539 w 435077"/>
                <a:gd name="connsiteY11" fmla="*/ 435079 h 435078"/>
                <a:gd name="connsiteX12" fmla="*/ 217539 w 435077"/>
                <a:gd name="connsiteY12" fmla="*/ 435079 h 435078"/>
                <a:gd name="connsiteX13" fmla="*/ 0 w 435077"/>
                <a:gd name="connsiteY13" fmla="*/ 217539 h 435078"/>
                <a:gd name="connsiteX14" fmla="*/ 0 w 435077"/>
                <a:gd name="connsiteY14" fmla="*/ 435079 h 435078"/>
                <a:gd name="connsiteX15" fmla="*/ 217539 w 435077"/>
                <a:gd name="connsiteY15" fmla="*/ 435079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8">
                  <a:moveTo>
                    <a:pt x="217539" y="0"/>
                  </a:moveTo>
                  <a:lnTo>
                    <a:pt x="0" y="0"/>
                  </a:lnTo>
                  <a:lnTo>
                    <a:pt x="0" y="217539"/>
                  </a:lnTo>
                  <a:lnTo>
                    <a:pt x="217539" y="0"/>
                  </a:lnTo>
                  <a:close/>
                  <a:moveTo>
                    <a:pt x="435077" y="0"/>
                  </a:moveTo>
                  <a:lnTo>
                    <a:pt x="435077" y="217539"/>
                  </a:lnTo>
                  <a:lnTo>
                    <a:pt x="217539" y="0"/>
                  </a:lnTo>
                  <a:lnTo>
                    <a:pt x="435077" y="0"/>
                  </a:lnTo>
                  <a:close/>
                  <a:moveTo>
                    <a:pt x="217539" y="435079"/>
                  </a:moveTo>
                  <a:lnTo>
                    <a:pt x="435077" y="217539"/>
                  </a:lnTo>
                  <a:lnTo>
                    <a:pt x="435077" y="435079"/>
                  </a:lnTo>
                  <a:lnTo>
                    <a:pt x="217539" y="435079"/>
                  </a:lnTo>
                  <a:close/>
                  <a:moveTo>
                    <a:pt x="217539" y="435079"/>
                  </a:moveTo>
                  <a:lnTo>
                    <a:pt x="0" y="217539"/>
                  </a:lnTo>
                  <a:lnTo>
                    <a:pt x="0" y="435079"/>
                  </a:lnTo>
                  <a:lnTo>
                    <a:pt x="217539" y="435079"/>
                  </a:lnTo>
                  <a:close/>
                </a:path>
              </a:pathLst>
            </a:custGeom>
            <a:grpFill/>
            <a:ln w="27192" cap="flat">
              <a:noFill/>
              <a:prstDash val="solid"/>
              <a:miter/>
            </a:ln>
          </p:spPr>
          <p:txBody>
            <a:bodyPr rtlCol="0" anchor="ctr"/>
            <a:lstStyle/>
            <a:p>
              <a:endParaRPr lang="uk-UA" sz="900">
                <a:solidFill>
                  <a:schemeClr val="bg1"/>
                </a:solidFill>
              </a:endParaRPr>
            </a:p>
          </p:txBody>
        </p:sp>
        <p:sp>
          <p:nvSpPr>
            <p:cNvPr id="28" name="Freeform: Shape 27">
              <a:extLst>
                <a:ext uri="{FF2B5EF4-FFF2-40B4-BE49-F238E27FC236}">
                  <a16:creationId xmlns:a16="http://schemas.microsoft.com/office/drawing/2014/main" id="{7E49B427-6793-F3E2-862F-ED105B01822C}"/>
                </a:ext>
              </a:extLst>
            </p:cNvPr>
            <p:cNvSpPr/>
            <p:nvPr/>
          </p:nvSpPr>
          <p:spPr>
            <a:xfrm>
              <a:off x="19109210" y="228598"/>
              <a:ext cx="435077" cy="435075"/>
            </a:xfrm>
            <a:custGeom>
              <a:avLst/>
              <a:gdLst>
                <a:gd name="connsiteX0" fmla="*/ 217539 w 435077"/>
                <a:gd name="connsiteY0" fmla="*/ 217533 h 435075"/>
                <a:gd name="connsiteX1" fmla="*/ 217539 w 435077"/>
                <a:gd name="connsiteY1" fmla="*/ 0 h 435075"/>
                <a:gd name="connsiteX2" fmla="*/ 0 w 435077"/>
                <a:gd name="connsiteY2" fmla="*/ 0 h 435075"/>
                <a:gd name="connsiteX3" fmla="*/ 217539 w 435077"/>
                <a:gd name="connsiteY3" fmla="*/ 217538 h 435075"/>
                <a:gd name="connsiteX4" fmla="*/ 0 w 435077"/>
                <a:gd name="connsiteY4" fmla="*/ 435076 h 435075"/>
                <a:gd name="connsiteX5" fmla="*/ 217539 w 435077"/>
                <a:gd name="connsiteY5" fmla="*/ 435076 h 435075"/>
                <a:gd name="connsiteX6" fmla="*/ 217539 w 435077"/>
                <a:gd name="connsiteY6" fmla="*/ 435071 h 435075"/>
                <a:gd name="connsiteX7" fmla="*/ 435051 w 435077"/>
                <a:gd name="connsiteY7" fmla="*/ 217542 h 435075"/>
                <a:gd name="connsiteX8" fmla="*/ 435077 w 435077"/>
                <a:gd name="connsiteY8" fmla="*/ 217542 h 435075"/>
                <a:gd name="connsiteX9" fmla="*/ 435051 w 435077"/>
                <a:gd name="connsiteY9" fmla="*/ 217537 h 435075"/>
                <a:gd name="connsiteX10" fmla="*/ 435077 w 435077"/>
                <a:gd name="connsiteY10" fmla="*/ 217533 h 435075"/>
                <a:gd name="connsiteX11" fmla="*/ 435051 w 435077"/>
                <a:gd name="connsiteY11" fmla="*/ 217533 h 435075"/>
                <a:gd name="connsiteX12" fmla="*/ 217539 w 435077"/>
                <a:gd name="connsiteY12" fmla="*/ 4 h 435075"/>
                <a:gd name="connsiteX13" fmla="*/ 217539 w 435077"/>
                <a:gd name="connsiteY13" fmla="*/ 217533 h 435075"/>
                <a:gd name="connsiteX14" fmla="*/ 217539 w 435077"/>
                <a:gd name="connsiteY14" fmla="*/ 217533 h 43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5">
                  <a:moveTo>
                    <a:pt x="217539" y="217533"/>
                  </a:moveTo>
                  <a:lnTo>
                    <a:pt x="217539" y="0"/>
                  </a:lnTo>
                  <a:lnTo>
                    <a:pt x="0" y="0"/>
                  </a:lnTo>
                  <a:lnTo>
                    <a:pt x="217539" y="217538"/>
                  </a:lnTo>
                  <a:lnTo>
                    <a:pt x="0" y="435076"/>
                  </a:lnTo>
                  <a:lnTo>
                    <a:pt x="217539" y="435076"/>
                  </a:lnTo>
                  <a:lnTo>
                    <a:pt x="217539" y="435071"/>
                  </a:lnTo>
                  <a:lnTo>
                    <a:pt x="435051" y="217542"/>
                  </a:lnTo>
                  <a:lnTo>
                    <a:pt x="435077" y="217542"/>
                  </a:lnTo>
                  <a:lnTo>
                    <a:pt x="435051" y="217537"/>
                  </a:lnTo>
                  <a:lnTo>
                    <a:pt x="435077" y="217533"/>
                  </a:lnTo>
                  <a:lnTo>
                    <a:pt x="435051" y="217533"/>
                  </a:lnTo>
                  <a:lnTo>
                    <a:pt x="217539" y="4"/>
                  </a:lnTo>
                  <a:lnTo>
                    <a:pt x="217539" y="217533"/>
                  </a:lnTo>
                  <a:lnTo>
                    <a:pt x="217539" y="217533"/>
                  </a:lnTo>
                  <a:close/>
                </a:path>
              </a:pathLst>
            </a:custGeom>
            <a:grpFill/>
            <a:ln w="27192" cap="flat">
              <a:noFill/>
              <a:prstDash val="solid"/>
              <a:miter/>
            </a:ln>
          </p:spPr>
          <p:txBody>
            <a:bodyPr rtlCol="0" anchor="ctr"/>
            <a:lstStyle/>
            <a:p>
              <a:endParaRPr lang="uk-UA" sz="900">
                <a:solidFill>
                  <a:schemeClr val="bg1"/>
                </a:solidFill>
              </a:endParaRPr>
            </a:p>
          </p:txBody>
        </p:sp>
        <p:sp>
          <p:nvSpPr>
            <p:cNvPr id="29" name="Freeform: Shape 28">
              <a:extLst>
                <a:ext uri="{FF2B5EF4-FFF2-40B4-BE49-F238E27FC236}">
                  <a16:creationId xmlns:a16="http://schemas.microsoft.com/office/drawing/2014/main" id="{C72916F0-3F5F-8188-423A-BCBE44B2DF09}"/>
                </a:ext>
              </a:extLst>
            </p:cNvPr>
            <p:cNvSpPr/>
            <p:nvPr/>
          </p:nvSpPr>
          <p:spPr>
            <a:xfrm>
              <a:off x="19979365" y="228598"/>
              <a:ext cx="435077" cy="435067"/>
            </a:xfrm>
            <a:custGeom>
              <a:avLst/>
              <a:gdLst>
                <a:gd name="connsiteX0" fmla="*/ 0 w 435077"/>
                <a:gd name="connsiteY0" fmla="*/ 435068 h 435067"/>
                <a:gd name="connsiteX1" fmla="*/ 217539 w 435077"/>
                <a:gd name="connsiteY1" fmla="*/ 435068 h 435067"/>
                <a:gd name="connsiteX2" fmla="*/ 217539 w 435077"/>
                <a:gd name="connsiteY2" fmla="*/ 217535 h 435067"/>
                <a:gd name="connsiteX3" fmla="*/ 0 w 435077"/>
                <a:gd name="connsiteY3" fmla="*/ 435068 h 435067"/>
                <a:gd name="connsiteX4" fmla="*/ 217539 w 435077"/>
                <a:gd name="connsiteY4" fmla="*/ 0 h 435067"/>
                <a:gd name="connsiteX5" fmla="*/ 0 w 435077"/>
                <a:gd name="connsiteY5" fmla="*/ 0 h 435067"/>
                <a:gd name="connsiteX6" fmla="*/ 217539 w 435077"/>
                <a:gd name="connsiteY6" fmla="*/ 217532 h 435067"/>
                <a:gd name="connsiteX7" fmla="*/ 217539 w 435077"/>
                <a:gd name="connsiteY7" fmla="*/ 0 h 435067"/>
                <a:gd name="connsiteX8" fmla="*/ 435077 w 435077"/>
                <a:gd name="connsiteY8" fmla="*/ 435068 h 435067"/>
                <a:gd name="connsiteX9" fmla="*/ 217539 w 435077"/>
                <a:gd name="connsiteY9" fmla="*/ 435068 h 435067"/>
                <a:gd name="connsiteX10" fmla="*/ 435077 w 435077"/>
                <a:gd name="connsiteY10" fmla="*/ 217535 h 435067"/>
                <a:gd name="connsiteX11" fmla="*/ 435077 w 435077"/>
                <a:gd name="connsiteY11" fmla="*/ 435068 h 435067"/>
                <a:gd name="connsiteX12" fmla="*/ 435077 w 435077"/>
                <a:gd name="connsiteY12" fmla="*/ 0 h 435067"/>
                <a:gd name="connsiteX13" fmla="*/ 217539 w 435077"/>
                <a:gd name="connsiteY13" fmla="*/ 0 h 435067"/>
                <a:gd name="connsiteX14" fmla="*/ 435077 w 435077"/>
                <a:gd name="connsiteY14" fmla="*/ 217532 h 435067"/>
                <a:gd name="connsiteX15" fmla="*/ 435077 w 435077"/>
                <a:gd name="connsiteY15" fmla="*/ 0 h 435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67">
                  <a:moveTo>
                    <a:pt x="0" y="435068"/>
                  </a:moveTo>
                  <a:lnTo>
                    <a:pt x="217539" y="435068"/>
                  </a:lnTo>
                  <a:lnTo>
                    <a:pt x="217539" y="217535"/>
                  </a:lnTo>
                  <a:lnTo>
                    <a:pt x="0" y="435068"/>
                  </a:lnTo>
                  <a:close/>
                  <a:moveTo>
                    <a:pt x="217539" y="0"/>
                  </a:moveTo>
                  <a:lnTo>
                    <a:pt x="0" y="0"/>
                  </a:lnTo>
                  <a:lnTo>
                    <a:pt x="217539" y="217532"/>
                  </a:lnTo>
                  <a:lnTo>
                    <a:pt x="217539" y="0"/>
                  </a:lnTo>
                  <a:close/>
                  <a:moveTo>
                    <a:pt x="435077" y="435068"/>
                  </a:moveTo>
                  <a:lnTo>
                    <a:pt x="217539" y="435068"/>
                  </a:lnTo>
                  <a:lnTo>
                    <a:pt x="435077" y="217535"/>
                  </a:lnTo>
                  <a:lnTo>
                    <a:pt x="435077" y="435068"/>
                  </a:lnTo>
                  <a:close/>
                  <a:moveTo>
                    <a:pt x="435077" y="0"/>
                  </a:moveTo>
                  <a:lnTo>
                    <a:pt x="217539" y="0"/>
                  </a:lnTo>
                  <a:lnTo>
                    <a:pt x="435077" y="217532"/>
                  </a:lnTo>
                  <a:lnTo>
                    <a:pt x="435077" y="0"/>
                  </a:lnTo>
                  <a:close/>
                </a:path>
              </a:pathLst>
            </a:custGeom>
            <a:grpFill/>
            <a:ln w="27192" cap="flat">
              <a:noFill/>
              <a:prstDash val="solid"/>
              <a:miter/>
            </a:ln>
          </p:spPr>
          <p:txBody>
            <a:bodyPr rtlCol="0" anchor="ctr"/>
            <a:lstStyle/>
            <a:p>
              <a:endParaRPr lang="uk-UA" sz="900">
                <a:solidFill>
                  <a:schemeClr val="bg1"/>
                </a:solidFill>
              </a:endParaRPr>
            </a:p>
          </p:txBody>
        </p:sp>
        <p:sp>
          <p:nvSpPr>
            <p:cNvPr id="30" name="Freeform: Shape 29">
              <a:extLst>
                <a:ext uri="{FF2B5EF4-FFF2-40B4-BE49-F238E27FC236}">
                  <a16:creationId xmlns:a16="http://schemas.microsoft.com/office/drawing/2014/main" id="{0809FF90-8CA7-1245-C767-1038E84C8614}"/>
                </a:ext>
              </a:extLst>
            </p:cNvPr>
            <p:cNvSpPr/>
            <p:nvPr/>
          </p:nvSpPr>
          <p:spPr>
            <a:xfrm>
              <a:off x="21719702" y="228598"/>
              <a:ext cx="435077" cy="435073"/>
            </a:xfrm>
            <a:custGeom>
              <a:avLst/>
              <a:gdLst>
                <a:gd name="connsiteX0" fmla="*/ 371339 w 435077"/>
                <a:gd name="connsiteY0" fmla="*/ 63716 h 435073"/>
                <a:gd name="connsiteX1" fmla="*/ 435077 w 435077"/>
                <a:gd name="connsiteY1" fmla="*/ 217539 h 435073"/>
                <a:gd name="connsiteX2" fmla="*/ 218926 w 435077"/>
                <a:gd name="connsiteY2" fmla="*/ 217539 h 435073"/>
                <a:gd name="connsiteX3" fmla="*/ 371367 w 435077"/>
                <a:gd name="connsiteY3" fmla="*/ 281249 h 435073"/>
                <a:gd name="connsiteX4" fmla="*/ 435077 w 435077"/>
                <a:gd name="connsiteY4" fmla="*/ 435073 h 435073"/>
                <a:gd name="connsiteX5" fmla="*/ 217539 w 435077"/>
                <a:gd name="connsiteY5" fmla="*/ 435073 h 435073"/>
                <a:gd name="connsiteX6" fmla="*/ 0 w 435077"/>
                <a:gd name="connsiteY6" fmla="*/ 435073 h 435073"/>
                <a:gd name="connsiteX7" fmla="*/ 63712 w 435077"/>
                <a:gd name="connsiteY7" fmla="*/ 281249 h 435073"/>
                <a:gd name="connsiteX8" fmla="*/ 216125 w 435077"/>
                <a:gd name="connsiteY8" fmla="*/ 217539 h 435073"/>
                <a:gd name="connsiteX9" fmla="*/ 0 w 435077"/>
                <a:gd name="connsiteY9" fmla="*/ 217539 h 435073"/>
                <a:gd name="connsiteX10" fmla="*/ 63712 w 435077"/>
                <a:gd name="connsiteY10" fmla="*/ 63716 h 435073"/>
                <a:gd name="connsiteX11" fmla="*/ 217539 w 435077"/>
                <a:gd name="connsiteY11" fmla="*/ 0 h 435073"/>
                <a:gd name="connsiteX12" fmla="*/ 371339 w 435077"/>
                <a:gd name="connsiteY12" fmla="*/ 63716 h 43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3">
                  <a:moveTo>
                    <a:pt x="371339" y="63716"/>
                  </a:moveTo>
                  <a:cubicBezTo>
                    <a:pt x="412155" y="104512"/>
                    <a:pt x="435077" y="159844"/>
                    <a:pt x="435077" y="217539"/>
                  </a:cubicBezTo>
                  <a:lnTo>
                    <a:pt x="218926" y="217539"/>
                  </a:lnTo>
                  <a:cubicBezTo>
                    <a:pt x="276112" y="217907"/>
                    <a:pt x="330877" y="240784"/>
                    <a:pt x="371367" y="281249"/>
                  </a:cubicBezTo>
                  <a:cubicBezTo>
                    <a:pt x="412155" y="322046"/>
                    <a:pt x="435077" y="377379"/>
                    <a:pt x="435077" y="435073"/>
                  </a:cubicBezTo>
                  <a:lnTo>
                    <a:pt x="217539" y="435073"/>
                  </a:lnTo>
                  <a:lnTo>
                    <a:pt x="0" y="435073"/>
                  </a:lnTo>
                  <a:cubicBezTo>
                    <a:pt x="0" y="377379"/>
                    <a:pt x="22924" y="322046"/>
                    <a:pt x="63712" y="281249"/>
                  </a:cubicBezTo>
                  <a:cubicBezTo>
                    <a:pt x="104175" y="240784"/>
                    <a:pt x="158940" y="217907"/>
                    <a:pt x="216125" y="217539"/>
                  </a:cubicBezTo>
                  <a:lnTo>
                    <a:pt x="0" y="217539"/>
                  </a:lnTo>
                  <a:cubicBezTo>
                    <a:pt x="0" y="159844"/>
                    <a:pt x="22897" y="104512"/>
                    <a:pt x="63712" y="63716"/>
                  </a:cubicBezTo>
                  <a:cubicBezTo>
                    <a:pt x="104501" y="22919"/>
                    <a:pt x="159838" y="0"/>
                    <a:pt x="217539" y="0"/>
                  </a:cubicBezTo>
                  <a:cubicBezTo>
                    <a:pt x="275215" y="0"/>
                    <a:pt x="330550" y="22919"/>
                    <a:pt x="371339" y="63716"/>
                  </a:cubicBezTo>
                  <a:close/>
                </a:path>
              </a:pathLst>
            </a:custGeom>
            <a:grpFill/>
            <a:ln w="27192" cap="flat">
              <a:noFill/>
              <a:prstDash val="solid"/>
              <a:miter/>
            </a:ln>
          </p:spPr>
          <p:txBody>
            <a:bodyPr rtlCol="0" anchor="ctr"/>
            <a:lstStyle/>
            <a:p>
              <a:endParaRPr lang="uk-UA" sz="900">
                <a:solidFill>
                  <a:schemeClr val="bg1"/>
                </a:solidFill>
              </a:endParaRPr>
            </a:p>
          </p:txBody>
        </p:sp>
        <p:sp>
          <p:nvSpPr>
            <p:cNvPr id="31" name="Freeform: Shape 30">
              <a:extLst>
                <a:ext uri="{FF2B5EF4-FFF2-40B4-BE49-F238E27FC236}">
                  <a16:creationId xmlns:a16="http://schemas.microsoft.com/office/drawing/2014/main" id="{B92D25AD-C22F-56A4-2974-FAF592984C99}"/>
                </a:ext>
              </a:extLst>
            </p:cNvPr>
            <p:cNvSpPr/>
            <p:nvPr/>
          </p:nvSpPr>
          <p:spPr>
            <a:xfrm>
              <a:off x="20849520" y="228598"/>
              <a:ext cx="435103" cy="435078"/>
            </a:xfrm>
            <a:custGeom>
              <a:avLst/>
              <a:gdLst>
                <a:gd name="connsiteX0" fmla="*/ 217539 w 435103"/>
                <a:gd name="connsiteY0" fmla="*/ 0 h 435078"/>
                <a:gd name="connsiteX1" fmla="*/ 0 w 435103"/>
                <a:gd name="connsiteY1" fmla="*/ 0 h 435078"/>
                <a:gd name="connsiteX2" fmla="*/ 0 w 435103"/>
                <a:gd name="connsiteY2" fmla="*/ 217539 h 435078"/>
                <a:gd name="connsiteX3" fmla="*/ 217539 w 435103"/>
                <a:gd name="connsiteY3" fmla="*/ 0 h 435078"/>
                <a:gd name="connsiteX4" fmla="*/ 435104 w 435103"/>
                <a:gd name="connsiteY4" fmla="*/ 0 h 435078"/>
                <a:gd name="connsiteX5" fmla="*/ 435104 w 435103"/>
                <a:gd name="connsiteY5" fmla="*/ 217539 h 435078"/>
                <a:gd name="connsiteX6" fmla="*/ 217565 w 435103"/>
                <a:gd name="connsiteY6" fmla="*/ 0 h 435078"/>
                <a:gd name="connsiteX7" fmla="*/ 435104 w 435103"/>
                <a:gd name="connsiteY7" fmla="*/ 0 h 435078"/>
                <a:gd name="connsiteX8" fmla="*/ 217565 w 435103"/>
                <a:gd name="connsiteY8" fmla="*/ 435079 h 435078"/>
                <a:gd name="connsiteX9" fmla="*/ 435104 w 435103"/>
                <a:gd name="connsiteY9" fmla="*/ 217539 h 435078"/>
                <a:gd name="connsiteX10" fmla="*/ 435104 w 435103"/>
                <a:gd name="connsiteY10" fmla="*/ 435079 h 435078"/>
                <a:gd name="connsiteX11" fmla="*/ 217565 w 435103"/>
                <a:gd name="connsiteY11" fmla="*/ 435079 h 435078"/>
                <a:gd name="connsiteX12" fmla="*/ 217565 w 435103"/>
                <a:gd name="connsiteY12" fmla="*/ 435079 h 435078"/>
                <a:gd name="connsiteX13" fmla="*/ 27 w 435103"/>
                <a:gd name="connsiteY13" fmla="*/ 217539 h 435078"/>
                <a:gd name="connsiteX14" fmla="*/ 27 w 435103"/>
                <a:gd name="connsiteY14" fmla="*/ 435079 h 435078"/>
                <a:gd name="connsiteX15" fmla="*/ 217565 w 435103"/>
                <a:gd name="connsiteY15" fmla="*/ 435079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3" h="435078">
                  <a:moveTo>
                    <a:pt x="217539" y="0"/>
                  </a:moveTo>
                  <a:lnTo>
                    <a:pt x="0" y="0"/>
                  </a:lnTo>
                  <a:lnTo>
                    <a:pt x="0" y="217539"/>
                  </a:lnTo>
                  <a:lnTo>
                    <a:pt x="217539" y="0"/>
                  </a:lnTo>
                  <a:close/>
                  <a:moveTo>
                    <a:pt x="435104" y="0"/>
                  </a:moveTo>
                  <a:lnTo>
                    <a:pt x="435104" y="217539"/>
                  </a:lnTo>
                  <a:lnTo>
                    <a:pt x="217565" y="0"/>
                  </a:lnTo>
                  <a:lnTo>
                    <a:pt x="435104" y="0"/>
                  </a:lnTo>
                  <a:close/>
                  <a:moveTo>
                    <a:pt x="217565" y="435079"/>
                  </a:moveTo>
                  <a:lnTo>
                    <a:pt x="435104" y="217539"/>
                  </a:lnTo>
                  <a:lnTo>
                    <a:pt x="435104" y="435079"/>
                  </a:lnTo>
                  <a:lnTo>
                    <a:pt x="217565" y="435079"/>
                  </a:lnTo>
                  <a:close/>
                  <a:moveTo>
                    <a:pt x="217565" y="435079"/>
                  </a:moveTo>
                  <a:lnTo>
                    <a:pt x="27" y="217539"/>
                  </a:lnTo>
                  <a:lnTo>
                    <a:pt x="27" y="435079"/>
                  </a:lnTo>
                  <a:lnTo>
                    <a:pt x="217565" y="435079"/>
                  </a:lnTo>
                  <a:close/>
                </a:path>
              </a:pathLst>
            </a:custGeom>
            <a:grpFill/>
            <a:ln w="27192" cap="flat">
              <a:noFill/>
              <a:prstDash val="solid"/>
              <a:miter/>
            </a:ln>
          </p:spPr>
          <p:txBody>
            <a:bodyPr rtlCol="0" anchor="ctr"/>
            <a:lstStyle/>
            <a:p>
              <a:endParaRPr lang="uk-UA" sz="900">
                <a:solidFill>
                  <a:schemeClr val="bg1"/>
                </a:solidFill>
              </a:endParaRPr>
            </a:p>
          </p:txBody>
        </p:sp>
        <p:sp>
          <p:nvSpPr>
            <p:cNvPr id="32" name="Freeform: Shape 31">
              <a:extLst>
                <a:ext uri="{FF2B5EF4-FFF2-40B4-BE49-F238E27FC236}">
                  <a16:creationId xmlns:a16="http://schemas.microsoft.com/office/drawing/2014/main" id="{01905C17-2FA1-44B3-4179-4EDE6C59D668}"/>
                </a:ext>
              </a:extLst>
            </p:cNvPr>
            <p:cNvSpPr/>
            <p:nvPr/>
          </p:nvSpPr>
          <p:spPr>
            <a:xfrm>
              <a:off x="22589856" y="228598"/>
              <a:ext cx="435077" cy="435075"/>
            </a:xfrm>
            <a:custGeom>
              <a:avLst/>
              <a:gdLst>
                <a:gd name="connsiteX0" fmla="*/ 217539 w 435077"/>
                <a:gd name="connsiteY0" fmla="*/ 217533 h 435075"/>
                <a:gd name="connsiteX1" fmla="*/ 217539 w 435077"/>
                <a:gd name="connsiteY1" fmla="*/ 0 h 435075"/>
                <a:gd name="connsiteX2" fmla="*/ 0 w 435077"/>
                <a:gd name="connsiteY2" fmla="*/ 0 h 435075"/>
                <a:gd name="connsiteX3" fmla="*/ 217539 w 435077"/>
                <a:gd name="connsiteY3" fmla="*/ 217538 h 435075"/>
                <a:gd name="connsiteX4" fmla="*/ 0 w 435077"/>
                <a:gd name="connsiteY4" fmla="*/ 435076 h 435075"/>
                <a:gd name="connsiteX5" fmla="*/ 217539 w 435077"/>
                <a:gd name="connsiteY5" fmla="*/ 435076 h 435075"/>
                <a:gd name="connsiteX6" fmla="*/ 217539 w 435077"/>
                <a:gd name="connsiteY6" fmla="*/ 435071 h 435075"/>
                <a:gd name="connsiteX7" fmla="*/ 435077 w 435077"/>
                <a:gd name="connsiteY7" fmla="*/ 217542 h 435075"/>
                <a:gd name="connsiteX8" fmla="*/ 435077 w 435077"/>
                <a:gd name="connsiteY8" fmla="*/ 217542 h 435075"/>
                <a:gd name="connsiteX9" fmla="*/ 435077 w 435077"/>
                <a:gd name="connsiteY9" fmla="*/ 217537 h 435075"/>
                <a:gd name="connsiteX10" fmla="*/ 435077 w 435077"/>
                <a:gd name="connsiteY10" fmla="*/ 217533 h 435075"/>
                <a:gd name="connsiteX11" fmla="*/ 435077 w 435077"/>
                <a:gd name="connsiteY11" fmla="*/ 217533 h 435075"/>
                <a:gd name="connsiteX12" fmla="*/ 217539 w 435077"/>
                <a:gd name="connsiteY12" fmla="*/ 4 h 435075"/>
                <a:gd name="connsiteX13" fmla="*/ 217539 w 435077"/>
                <a:gd name="connsiteY13" fmla="*/ 217533 h 435075"/>
                <a:gd name="connsiteX14" fmla="*/ 217539 w 435077"/>
                <a:gd name="connsiteY14" fmla="*/ 217533 h 43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5">
                  <a:moveTo>
                    <a:pt x="217539" y="217533"/>
                  </a:moveTo>
                  <a:lnTo>
                    <a:pt x="217539" y="0"/>
                  </a:lnTo>
                  <a:lnTo>
                    <a:pt x="0" y="0"/>
                  </a:lnTo>
                  <a:lnTo>
                    <a:pt x="217539" y="217538"/>
                  </a:lnTo>
                  <a:lnTo>
                    <a:pt x="0" y="435076"/>
                  </a:lnTo>
                  <a:lnTo>
                    <a:pt x="217539" y="435076"/>
                  </a:lnTo>
                  <a:lnTo>
                    <a:pt x="217539" y="435071"/>
                  </a:lnTo>
                  <a:lnTo>
                    <a:pt x="435077" y="217542"/>
                  </a:lnTo>
                  <a:lnTo>
                    <a:pt x="435077" y="217542"/>
                  </a:lnTo>
                  <a:lnTo>
                    <a:pt x="435077" y="217537"/>
                  </a:lnTo>
                  <a:lnTo>
                    <a:pt x="435077" y="217533"/>
                  </a:lnTo>
                  <a:lnTo>
                    <a:pt x="435077" y="217533"/>
                  </a:lnTo>
                  <a:lnTo>
                    <a:pt x="217539" y="4"/>
                  </a:lnTo>
                  <a:lnTo>
                    <a:pt x="217539" y="217533"/>
                  </a:lnTo>
                  <a:lnTo>
                    <a:pt x="217539" y="217533"/>
                  </a:lnTo>
                  <a:close/>
                </a:path>
              </a:pathLst>
            </a:custGeom>
            <a:grpFill/>
            <a:ln w="27192" cap="flat">
              <a:noFill/>
              <a:prstDash val="solid"/>
              <a:miter/>
            </a:ln>
          </p:spPr>
          <p:txBody>
            <a:bodyPr rtlCol="0" anchor="ctr"/>
            <a:lstStyle/>
            <a:p>
              <a:endParaRPr lang="uk-UA" sz="900">
                <a:solidFill>
                  <a:schemeClr val="bg1"/>
                </a:solidFill>
              </a:endParaRPr>
            </a:p>
          </p:txBody>
        </p:sp>
        <p:sp>
          <p:nvSpPr>
            <p:cNvPr id="33" name="Freeform: Shape 32">
              <a:extLst>
                <a:ext uri="{FF2B5EF4-FFF2-40B4-BE49-F238E27FC236}">
                  <a16:creationId xmlns:a16="http://schemas.microsoft.com/office/drawing/2014/main" id="{DE6BE8FD-12DE-B50A-E0E0-1631DC9800D8}"/>
                </a:ext>
              </a:extLst>
            </p:cNvPr>
            <p:cNvSpPr/>
            <p:nvPr/>
          </p:nvSpPr>
          <p:spPr>
            <a:xfrm>
              <a:off x="23460039" y="228598"/>
              <a:ext cx="435077" cy="435067"/>
            </a:xfrm>
            <a:custGeom>
              <a:avLst/>
              <a:gdLst>
                <a:gd name="connsiteX0" fmla="*/ 0 w 435077"/>
                <a:gd name="connsiteY0" fmla="*/ 435065 h 435067"/>
                <a:gd name="connsiteX1" fmla="*/ 217510 w 435077"/>
                <a:gd name="connsiteY1" fmla="*/ 435068 h 435067"/>
                <a:gd name="connsiteX2" fmla="*/ 217510 w 435077"/>
                <a:gd name="connsiteY2" fmla="*/ 217535 h 435067"/>
                <a:gd name="connsiteX3" fmla="*/ 0 w 435077"/>
                <a:gd name="connsiteY3" fmla="*/ 435065 h 435067"/>
                <a:gd name="connsiteX4" fmla="*/ 217539 w 435077"/>
                <a:gd name="connsiteY4" fmla="*/ 0 h 435067"/>
                <a:gd name="connsiteX5" fmla="*/ 0 w 435077"/>
                <a:gd name="connsiteY5" fmla="*/ 0 h 435067"/>
                <a:gd name="connsiteX6" fmla="*/ 217539 w 435077"/>
                <a:gd name="connsiteY6" fmla="*/ 217532 h 435067"/>
                <a:gd name="connsiteX7" fmla="*/ 217539 w 435077"/>
                <a:gd name="connsiteY7" fmla="*/ 0 h 435067"/>
                <a:gd name="connsiteX8" fmla="*/ 435077 w 435077"/>
                <a:gd name="connsiteY8" fmla="*/ 435068 h 435067"/>
                <a:gd name="connsiteX9" fmla="*/ 217539 w 435077"/>
                <a:gd name="connsiteY9" fmla="*/ 435068 h 435067"/>
                <a:gd name="connsiteX10" fmla="*/ 435077 w 435077"/>
                <a:gd name="connsiteY10" fmla="*/ 217535 h 435067"/>
                <a:gd name="connsiteX11" fmla="*/ 435077 w 435077"/>
                <a:gd name="connsiteY11" fmla="*/ 435068 h 435067"/>
                <a:gd name="connsiteX12" fmla="*/ 435077 w 435077"/>
                <a:gd name="connsiteY12" fmla="*/ 0 h 435067"/>
                <a:gd name="connsiteX13" fmla="*/ 217539 w 435077"/>
                <a:gd name="connsiteY13" fmla="*/ 0 h 435067"/>
                <a:gd name="connsiteX14" fmla="*/ 435077 w 435077"/>
                <a:gd name="connsiteY14" fmla="*/ 217532 h 435067"/>
                <a:gd name="connsiteX15" fmla="*/ 435077 w 435077"/>
                <a:gd name="connsiteY15" fmla="*/ 0 h 435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67">
                  <a:moveTo>
                    <a:pt x="0" y="435065"/>
                  </a:moveTo>
                  <a:lnTo>
                    <a:pt x="217510" y="435068"/>
                  </a:lnTo>
                  <a:lnTo>
                    <a:pt x="217510" y="217535"/>
                  </a:lnTo>
                  <a:lnTo>
                    <a:pt x="0" y="435065"/>
                  </a:lnTo>
                  <a:close/>
                  <a:moveTo>
                    <a:pt x="217539" y="0"/>
                  </a:moveTo>
                  <a:lnTo>
                    <a:pt x="0" y="0"/>
                  </a:lnTo>
                  <a:lnTo>
                    <a:pt x="217539" y="217532"/>
                  </a:lnTo>
                  <a:lnTo>
                    <a:pt x="217539" y="0"/>
                  </a:lnTo>
                  <a:close/>
                  <a:moveTo>
                    <a:pt x="435077" y="435068"/>
                  </a:moveTo>
                  <a:lnTo>
                    <a:pt x="217539" y="435068"/>
                  </a:lnTo>
                  <a:lnTo>
                    <a:pt x="435077" y="217535"/>
                  </a:lnTo>
                  <a:lnTo>
                    <a:pt x="435077" y="435068"/>
                  </a:lnTo>
                  <a:close/>
                  <a:moveTo>
                    <a:pt x="435077" y="0"/>
                  </a:moveTo>
                  <a:lnTo>
                    <a:pt x="217539" y="0"/>
                  </a:lnTo>
                  <a:lnTo>
                    <a:pt x="435077" y="217532"/>
                  </a:lnTo>
                  <a:lnTo>
                    <a:pt x="435077" y="0"/>
                  </a:lnTo>
                  <a:close/>
                </a:path>
              </a:pathLst>
            </a:custGeom>
            <a:grpFill/>
            <a:ln w="27192" cap="flat">
              <a:noFill/>
              <a:prstDash val="solid"/>
              <a:miter/>
            </a:ln>
          </p:spPr>
          <p:txBody>
            <a:bodyPr rtlCol="0" anchor="ctr"/>
            <a:lstStyle/>
            <a:p>
              <a:endParaRPr lang="uk-UA" sz="900">
                <a:solidFill>
                  <a:schemeClr val="bg1"/>
                </a:solidFill>
              </a:endParaRPr>
            </a:p>
          </p:txBody>
        </p:sp>
        <p:sp>
          <p:nvSpPr>
            <p:cNvPr id="34" name="Freeform: Shape 33">
              <a:extLst>
                <a:ext uri="{FF2B5EF4-FFF2-40B4-BE49-F238E27FC236}">
                  <a16:creationId xmlns:a16="http://schemas.microsoft.com/office/drawing/2014/main" id="{6CB83ED5-766C-3A9B-2C45-C35ADEEEB967}"/>
                </a:ext>
              </a:extLst>
            </p:cNvPr>
            <p:cNvSpPr/>
            <p:nvPr/>
          </p:nvSpPr>
          <p:spPr>
            <a:xfrm>
              <a:off x="24330194" y="228598"/>
              <a:ext cx="435077" cy="435078"/>
            </a:xfrm>
            <a:custGeom>
              <a:avLst/>
              <a:gdLst>
                <a:gd name="connsiteX0" fmla="*/ 217539 w 435077"/>
                <a:gd name="connsiteY0" fmla="*/ 0 h 435078"/>
                <a:gd name="connsiteX1" fmla="*/ 0 w 435077"/>
                <a:gd name="connsiteY1" fmla="*/ 0 h 435078"/>
                <a:gd name="connsiteX2" fmla="*/ 0 w 435077"/>
                <a:gd name="connsiteY2" fmla="*/ 217539 h 435078"/>
                <a:gd name="connsiteX3" fmla="*/ 0 w 435077"/>
                <a:gd name="connsiteY3" fmla="*/ 435079 h 435078"/>
                <a:gd name="connsiteX4" fmla="*/ 217539 w 435077"/>
                <a:gd name="connsiteY4" fmla="*/ 435079 h 435078"/>
                <a:gd name="connsiteX5" fmla="*/ 435077 w 435077"/>
                <a:gd name="connsiteY5" fmla="*/ 435079 h 435078"/>
                <a:gd name="connsiteX6" fmla="*/ 435077 w 435077"/>
                <a:gd name="connsiteY6" fmla="*/ 217539 h 435078"/>
                <a:gd name="connsiteX7" fmla="*/ 435077 w 435077"/>
                <a:gd name="connsiteY7" fmla="*/ 0 h 435078"/>
                <a:gd name="connsiteX8" fmla="*/ 217539 w 435077"/>
                <a:gd name="connsiteY8" fmla="*/ 0 h 435078"/>
                <a:gd name="connsiteX9" fmla="*/ 217539 w 435077"/>
                <a:gd name="connsiteY9" fmla="*/ 0 h 435078"/>
                <a:gd name="connsiteX10" fmla="*/ 435077 w 435077"/>
                <a:gd name="connsiteY10" fmla="*/ 217539 h 435078"/>
                <a:gd name="connsiteX11" fmla="*/ 217539 w 435077"/>
                <a:gd name="connsiteY11" fmla="*/ 435079 h 435078"/>
                <a:gd name="connsiteX12" fmla="*/ 0 w 435077"/>
                <a:gd name="connsiteY12" fmla="*/ 217539 h 435078"/>
                <a:gd name="connsiteX13" fmla="*/ 217539 w 435077"/>
                <a:gd name="connsiteY13"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8">
                  <a:moveTo>
                    <a:pt x="217539" y="0"/>
                  </a:moveTo>
                  <a:lnTo>
                    <a:pt x="0" y="0"/>
                  </a:lnTo>
                  <a:lnTo>
                    <a:pt x="0" y="217539"/>
                  </a:lnTo>
                  <a:lnTo>
                    <a:pt x="0" y="435079"/>
                  </a:lnTo>
                  <a:lnTo>
                    <a:pt x="217539" y="435079"/>
                  </a:lnTo>
                  <a:lnTo>
                    <a:pt x="435077" y="435079"/>
                  </a:lnTo>
                  <a:lnTo>
                    <a:pt x="435077" y="217539"/>
                  </a:lnTo>
                  <a:lnTo>
                    <a:pt x="435077" y="0"/>
                  </a:lnTo>
                  <a:lnTo>
                    <a:pt x="217539" y="0"/>
                  </a:lnTo>
                  <a:close/>
                  <a:moveTo>
                    <a:pt x="217539" y="0"/>
                  </a:moveTo>
                  <a:lnTo>
                    <a:pt x="435077" y="217539"/>
                  </a:lnTo>
                  <a:lnTo>
                    <a:pt x="217539" y="435079"/>
                  </a:lnTo>
                  <a:lnTo>
                    <a:pt x="0" y="217539"/>
                  </a:lnTo>
                  <a:lnTo>
                    <a:pt x="217539" y="0"/>
                  </a:lnTo>
                  <a:close/>
                </a:path>
              </a:pathLst>
            </a:custGeom>
            <a:grpFill/>
            <a:ln w="27192" cap="flat">
              <a:noFill/>
              <a:prstDash val="solid"/>
              <a:miter/>
            </a:ln>
          </p:spPr>
          <p:txBody>
            <a:bodyPr rtlCol="0" anchor="ctr"/>
            <a:lstStyle/>
            <a:p>
              <a:endParaRPr lang="uk-UA" sz="900">
                <a:solidFill>
                  <a:schemeClr val="bg1"/>
                </a:solidFill>
              </a:endParaRPr>
            </a:p>
          </p:txBody>
        </p:sp>
        <p:sp>
          <p:nvSpPr>
            <p:cNvPr id="35" name="Freeform: Shape 34">
              <a:extLst>
                <a:ext uri="{FF2B5EF4-FFF2-40B4-BE49-F238E27FC236}">
                  <a16:creationId xmlns:a16="http://schemas.microsoft.com/office/drawing/2014/main" id="{A88C8C57-AC20-4199-B2E5-C3EDCFAA44A3}"/>
                </a:ext>
              </a:extLst>
            </p:cNvPr>
            <p:cNvSpPr/>
            <p:nvPr/>
          </p:nvSpPr>
          <p:spPr>
            <a:xfrm>
              <a:off x="835769" y="1098754"/>
              <a:ext cx="435077" cy="435077"/>
            </a:xfrm>
            <a:custGeom>
              <a:avLst/>
              <a:gdLst>
                <a:gd name="connsiteX0" fmla="*/ 63711 w 435077"/>
                <a:gd name="connsiteY0" fmla="*/ 153824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4 h 435077"/>
                <a:gd name="connsiteX5" fmla="*/ 217539 w 435077"/>
                <a:gd name="connsiteY5" fmla="*/ 217539 h 435077"/>
                <a:gd name="connsiteX6" fmla="*/ 63711 w 435077"/>
                <a:gd name="connsiteY6" fmla="*/ 153824 h 435077"/>
                <a:gd name="connsiteX7" fmla="*/ 63711 w 435077"/>
                <a:gd name="connsiteY7" fmla="*/ 281256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6 h 435077"/>
                <a:gd name="connsiteX12" fmla="*/ 217539 w 435077"/>
                <a:gd name="connsiteY12" fmla="*/ 217539 h 435077"/>
                <a:gd name="connsiteX13" fmla="*/ 63711 w 435077"/>
                <a:gd name="connsiteY13" fmla="*/ 281256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1" y="153824"/>
                  </a:moveTo>
                  <a:cubicBezTo>
                    <a:pt x="22923" y="113028"/>
                    <a:pt x="0" y="57697"/>
                    <a:pt x="0" y="0"/>
                  </a:cubicBezTo>
                  <a:lnTo>
                    <a:pt x="217539" y="0"/>
                  </a:lnTo>
                  <a:lnTo>
                    <a:pt x="435077" y="0"/>
                  </a:lnTo>
                  <a:cubicBezTo>
                    <a:pt x="435077" y="57697"/>
                    <a:pt x="412154" y="113028"/>
                    <a:pt x="371366" y="153824"/>
                  </a:cubicBezTo>
                  <a:cubicBezTo>
                    <a:pt x="330550" y="194621"/>
                    <a:pt x="275213" y="217539"/>
                    <a:pt x="217539" y="217539"/>
                  </a:cubicBezTo>
                  <a:cubicBezTo>
                    <a:pt x="159836" y="217539"/>
                    <a:pt x="104500" y="194621"/>
                    <a:pt x="63711" y="153824"/>
                  </a:cubicBezTo>
                  <a:close/>
                  <a:moveTo>
                    <a:pt x="63711" y="281256"/>
                  </a:moveTo>
                  <a:cubicBezTo>
                    <a:pt x="22923" y="322052"/>
                    <a:pt x="0" y="377383"/>
                    <a:pt x="0" y="435077"/>
                  </a:cubicBezTo>
                  <a:lnTo>
                    <a:pt x="217539" y="435077"/>
                  </a:lnTo>
                  <a:lnTo>
                    <a:pt x="435077" y="435077"/>
                  </a:lnTo>
                  <a:cubicBezTo>
                    <a:pt x="435077" y="377383"/>
                    <a:pt x="412154" y="322052"/>
                    <a:pt x="371366" y="281256"/>
                  </a:cubicBezTo>
                  <a:cubicBezTo>
                    <a:pt x="330550" y="240459"/>
                    <a:pt x="275213" y="217539"/>
                    <a:pt x="217539" y="217539"/>
                  </a:cubicBezTo>
                  <a:cubicBezTo>
                    <a:pt x="159836" y="217539"/>
                    <a:pt x="104500" y="240459"/>
                    <a:pt x="63711" y="281256"/>
                  </a:cubicBezTo>
                  <a:close/>
                </a:path>
              </a:pathLst>
            </a:custGeom>
            <a:grpFill/>
            <a:ln w="27192" cap="flat">
              <a:noFill/>
              <a:prstDash val="solid"/>
              <a:miter/>
            </a:ln>
          </p:spPr>
          <p:txBody>
            <a:bodyPr rtlCol="0" anchor="ctr"/>
            <a:lstStyle/>
            <a:p>
              <a:endParaRPr lang="uk-UA" sz="900">
                <a:solidFill>
                  <a:schemeClr val="bg1"/>
                </a:solidFill>
              </a:endParaRPr>
            </a:p>
          </p:txBody>
        </p:sp>
        <p:sp>
          <p:nvSpPr>
            <p:cNvPr id="36" name="Freeform: Shape 35">
              <a:extLst>
                <a:ext uri="{FF2B5EF4-FFF2-40B4-BE49-F238E27FC236}">
                  <a16:creationId xmlns:a16="http://schemas.microsoft.com/office/drawing/2014/main" id="{00DD1FBC-34F8-952B-C9D9-8CE65796A088}"/>
                </a:ext>
              </a:extLst>
            </p:cNvPr>
            <p:cNvSpPr/>
            <p:nvPr/>
          </p:nvSpPr>
          <p:spPr>
            <a:xfrm>
              <a:off x="-34398" y="1098754"/>
              <a:ext cx="435063" cy="435077"/>
            </a:xfrm>
            <a:custGeom>
              <a:avLst/>
              <a:gdLst>
                <a:gd name="connsiteX0" fmla="*/ 435064 w 435063"/>
                <a:gd name="connsiteY0" fmla="*/ 435077 h 435077"/>
                <a:gd name="connsiteX1" fmla="*/ 435064 w 435063"/>
                <a:gd name="connsiteY1" fmla="*/ 0 h 435077"/>
                <a:gd name="connsiteX2" fmla="*/ 217552 w 435063"/>
                <a:gd name="connsiteY2" fmla="*/ 217544 h 435077"/>
                <a:gd name="connsiteX3" fmla="*/ 435064 w 435063"/>
                <a:gd name="connsiteY3" fmla="*/ 435077 h 435077"/>
                <a:gd name="connsiteX4" fmla="*/ 0 w 435063"/>
                <a:gd name="connsiteY4" fmla="*/ 435077 h 435077"/>
                <a:gd name="connsiteX5" fmla="*/ 0 w 435063"/>
                <a:gd name="connsiteY5" fmla="*/ 3 h 435077"/>
                <a:gd name="connsiteX6" fmla="*/ 217525 w 435063"/>
                <a:gd name="connsiteY6" fmla="*/ 217544 h 435077"/>
                <a:gd name="connsiteX7" fmla="*/ 0 w 435063"/>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63" h="435077">
                  <a:moveTo>
                    <a:pt x="435064" y="435077"/>
                  </a:moveTo>
                  <a:lnTo>
                    <a:pt x="435064" y="0"/>
                  </a:lnTo>
                  <a:lnTo>
                    <a:pt x="217552" y="217544"/>
                  </a:lnTo>
                  <a:lnTo>
                    <a:pt x="435064" y="435077"/>
                  </a:lnTo>
                  <a:close/>
                  <a:moveTo>
                    <a:pt x="0" y="435077"/>
                  </a:moveTo>
                  <a:lnTo>
                    <a:pt x="0" y="3"/>
                  </a:lnTo>
                  <a:lnTo>
                    <a:pt x="217525" y="217544"/>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7" name="Freeform: Shape 36">
              <a:extLst>
                <a:ext uri="{FF2B5EF4-FFF2-40B4-BE49-F238E27FC236}">
                  <a16:creationId xmlns:a16="http://schemas.microsoft.com/office/drawing/2014/main" id="{7CAA168E-353D-1BF1-9237-89264F5BFA1C}"/>
                </a:ext>
              </a:extLst>
            </p:cNvPr>
            <p:cNvSpPr/>
            <p:nvPr/>
          </p:nvSpPr>
          <p:spPr>
            <a:xfrm>
              <a:off x="1705924" y="1098754"/>
              <a:ext cx="435077" cy="435077"/>
            </a:xfrm>
            <a:custGeom>
              <a:avLst/>
              <a:gdLst>
                <a:gd name="connsiteX0" fmla="*/ 435077 w 435077"/>
                <a:gd name="connsiteY0" fmla="*/ 435077 h 435077"/>
                <a:gd name="connsiteX1" fmla="*/ 435077 w 435077"/>
                <a:gd name="connsiteY1" fmla="*/ 217547 h 435077"/>
                <a:gd name="connsiteX2" fmla="*/ 435077 w 435077"/>
                <a:gd name="connsiteY2" fmla="*/ 16 h 435077"/>
                <a:gd name="connsiteX3" fmla="*/ 217566 w 435077"/>
                <a:gd name="connsiteY3" fmla="*/ 16 h 435077"/>
                <a:gd name="connsiteX4" fmla="*/ 435077 w 435077"/>
                <a:gd name="connsiteY4" fmla="*/ 217547 h 435077"/>
                <a:gd name="connsiteX5" fmla="*/ 217566 w 435077"/>
                <a:gd name="connsiteY5" fmla="*/ 435077 h 435077"/>
                <a:gd name="connsiteX6" fmla="*/ 435077 w 435077"/>
                <a:gd name="connsiteY6" fmla="*/ 435077 h 435077"/>
                <a:gd name="connsiteX7" fmla="*/ 0 w 435077"/>
                <a:gd name="connsiteY7" fmla="*/ 217531 h 435077"/>
                <a:gd name="connsiteX8" fmla="*/ 0 w 435077"/>
                <a:gd name="connsiteY8" fmla="*/ 0 h 435077"/>
                <a:gd name="connsiteX9" fmla="*/ 217539 w 435077"/>
                <a:gd name="connsiteY9" fmla="*/ 217531 h 435077"/>
                <a:gd name="connsiteX10" fmla="*/ 0 w 435077"/>
                <a:gd name="connsiteY10" fmla="*/ 217531 h 435077"/>
                <a:gd name="connsiteX11" fmla="*/ 0 w 435077"/>
                <a:gd name="connsiteY11" fmla="*/ 435072 h 435077"/>
                <a:gd name="connsiteX12" fmla="*/ 0 w 435077"/>
                <a:gd name="connsiteY12" fmla="*/ 217541 h 435077"/>
                <a:gd name="connsiteX13" fmla="*/ 217539 w 435077"/>
                <a:gd name="connsiteY13" fmla="*/ 217541 h 435077"/>
                <a:gd name="connsiteX14" fmla="*/ 0 w 435077"/>
                <a:gd name="connsiteY14" fmla="*/ 43507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47"/>
                  </a:lnTo>
                  <a:lnTo>
                    <a:pt x="435077" y="16"/>
                  </a:lnTo>
                  <a:lnTo>
                    <a:pt x="217566" y="16"/>
                  </a:lnTo>
                  <a:lnTo>
                    <a:pt x="435077" y="217547"/>
                  </a:lnTo>
                  <a:lnTo>
                    <a:pt x="217566" y="435077"/>
                  </a:lnTo>
                  <a:lnTo>
                    <a:pt x="435077" y="435077"/>
                  </a:lnTo>
                  <a:close/>
                  <a:moveTo>
                    <a:pt x="0" y="217531"/>
                  </a:moveTo>
                  <a:lnTo>
                    <a:pt x="0" y="0"/>
                  </a:lnTo>
                  <a:lnTo>
                    <a:pt x="217539" y="217531"/>
                  </a:lnTo>
                  <a:lnTo>
                    <a:pt x="0" y="217531"/>
                  </a:lnTo>
                  <a:close/>
                  <a:moveTo>
                    <a:pt x="0" y="435072"/>
                  </a:moveTo>
                  <a:lnTo>
                    <a:pt x="0" y="217541"/>
                  </a:lnTo>
                  <a:lnTo>
                    <a:pt x="217539" y="217541"/>
                  </a:lnTo>
                  <a:lnTo>
                    <a:pt x="0" y="435072"/>
                  </a:lnTo>
                  <a:close/>
                </a:path>
              </a:pathLst>
            </a:custGeom>
            <a:grpFill/>
            <a:ln w="27192" cap="flat">
              <a:noFill/>
              <a:prstDash val="solid"/>
              <a:miter/>
            </a:ln>
          </p:spPr>
          <p:txBody>
            <a:bodyPr rtlCol="0" anchor="ctr"/>
            <a:lstStyle/>
            <a:p>
              <a:endParaRPr lang="uk-UA" sz="900">
                <a:solidFill>
                  <a:schemeClr val="bg1"/>
                </a:solidFill>
              </a:endParaRPr>
            </a:p>
          </p:txBody>
        </p:sp>
        <p:sp>
          <p:nvSpPr>
            <p:cNvPr id="38" name="Freeform: Shape 37">
              <a:extLst>
                <a:ext uri="{FF2B5EF4-FFF2-40B4-BE49-F238E27FC236}">
                  <a16:creationId xmlns:a16="http://schemas.microsoft.com/office/drawing/2014/main" id="{E613B69F-C0F4-368E-9CB0-960FD0172315}"/>
                </a:ext>
              </a:extLst>
            </p:cNvPr>
            <p:cNvSpPr/>
            <p:nvPr/>
          </p:nvSpPr>
          <p:spPr>
            <a:xfrm>
              <a:off x="2576106" y="1098754"/>
              <a:ext cx="435077" cy="435077"/>
            </a:xfrm>
            <a:custGeom>
              <a:avLst/>
              <a:gdLst>
                <a:gd name="connsiteX0" fmla="*/ 217539 w 435077"/>
                <a:gd name="connsiteY0" fmla="*/ 435069 h 435077"/>
                <a:gd name="connsiteX1" fmla="*/ 217539 w 435077"/>
                <a:gd name="connsiteY1" fmla="*/ 0 h 435077"/>
                <a:gd name="connsiteX2" fmla="*/ 435077 w 435077"/>
                <a:gd name="connsiteY2" fmla="*/ 217541 h 435077"/>
                <a:gd name="connsiteX3" fmla="*/ 217539 w 435077"/>
                <a:gd name="connsiteY3" fmla="*/ 435069 h 435077"/>
                <a:gd name="connsiteX4" fmla="*/ 0 w 435077"/>
                <a:gd name="connsiteY4" fmla="*/ 435077 h 435077"/>
                <a:gd name="connsiteX5" fmla="*/ 0 w 435077"/>
                <a:gd name="connsiteY5" fmla="*/ 8 h 435077"/>
                <a:gd name="connsiteX6" fmla="*/ 217512 w 435077"/>
                <a:gd name="connsiteY6" fmla="*/ 217547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69"/>
                  </a:moveTo>
                  <a:lnTo>
                    <a:pt x="217539" y="0"/>
                  </a:lnTo>
                  <a:lnTo>
                    <a:pt x="435077" y="217541"/>
                  </a:lnTo>
                  <a:lnTo>
                    <a:pt x="217539" y="435069"/>
                  </a:lnTo>
                  <a:close/>
                  <a:moveTo>
                    <a:pt x="0" y="435077"/>
                  </a:moveTo>
                  <a:lnTo>
                    <a:pt x="0" y="8"/>
                  </a:lnTo>
                  <a:lnTo>
                    <a:pt x="217512" y="217547"/>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9" name="Freeform: Shape 38">
              <a:extLst>
                <a:ext uri="{FF2B5EF4-FFF2-40B4-BE49-F238E27FC236}">
                  <a16:creationId xmlns:a16="http://schemas.microsoft.com/office/drawing/2014/main" id="{ADA850FB-9B78-3A06-CA36-A70642829D96}"/>
                </a:ext>
              </a:extLst>
            </p:cNvPr>
            <p:cNvSpPr/>
            <p:nvPr/>
          </p:nvSpPr>
          <p:spPr>
            <a:xfrm>
              <a:off x="4316416" y="1098754"/>
              <a:ext cx="435077" cy="435077"/>
            </a:xfrm>
            <a:custGeom>
              <a:avLst/>
              <a:gdLst>
                <a:gd name="connsiteX0" fmla="*/ 63739 w 435077"/>
                <a:gd name="connsiteY0" fmla="*/ 153824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4 h 435077"/>
                <a:gd name="connsiteX5" fmla="*/ 217539 w 435077"/>
                <a:gd name="connsiteY5" fmla="*/ 217539 h 435077"/>
                <a:gd name="connsiteX6" fmla="*/ 63739 w 435077"/>
                <a:gd name="connsiteY6" fmla="*/ 153824 h 435077"/>
                <a:gd name="connsiteX7" fmla="*/ 63739 w 435077"/>
                <a:gd name="connsiteY7" fmla="*/ 281256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6 h 435077"/>
                <a:gd name="connsiteX12" fmla="*/ 217539 w 435077"/>
                <a:gd name="connsiteY12" fmla="*/ 217539 h 435077"/>
                <a:gd name="connsiteX13" fmla="*/ 63739 w 435077"/>
                <a:gd name="connsiteY13" fmla="*/ 281256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4"/>
                  </a:moveTo>
                  <a:cubicBezTo>
                    <a:pt x="22923" y="113028"/>
                    <a:pt x="0" y="57697"/>
                    <a:pt x="0" y="0"/>
                  </a:cubicBezTo>
                  <a:lnTo>
                    <a:pt x="217539" y="0"/>
                  </a:lnTo>
                  <a:lnTo>
                    <a:pt x="435077" y="0"/>
                  </a:lnTo>
                  <a:cubicBezTo>
                    <a:pt x="435077" y="57697"/>
                    <a:pt x="412181" y="113028"/>
                    <a:pt x="371365" y="153824"/>
                  </a:cubicBezTo>
                  <a:cubicBezTo>
                    <a:pt x="330577" y="194621"/>
                    <a:pt x="275240" y="217539"/>
                    <a:pt x="217539" y="217539"/>
                  </a:cubicBezTo>
                  <a:cubicBezTo>
                    <a:pt x="159864" y="217539"/>
                    <a:pt x="104527" y="194621"/>
                    <a:pt x="63739" y="153824"/>
                  </a:cubicBezTo>
                  <a:close/>
                  <a:moveTo>
                    <a:pt x="63739" y="281256"/>
                  </a:moveTo>
                  <a:cubicBezTo>
                    <a:pt x="22923" y="322052"/>
                    <a:pt x="0" y="377383"/>
                    <a:pt x="0" y="435077"/>
                  </a:cubicBezTo>
                  <a:lnTo>
                    <a:pt x="217539" y="435077"/>
                  </a:lnTo>
                  <a:lnTo>
                    <a:pt x="435077" y="435077"/>
                  </a:lnTo>
                  <a:cubicBezTo>
                    <a:pt x="435077" y="377383"/>
                    <a:pt x="412181" y="322052"/>
                    <a:pt x="371365" y="281256"/>
                  </a:cubicBezTo>
                  <a:cubicBezTo>
                    <a:pt x="330577" y="240459"/>
                    <a:pt x="275240" y="217539"/>
                    <a:pt x="217539" y="217539"/>
                  </a:cubicBezTo>
                  <a:cubicBezTo>
                    <a:pt x="159864" y="217539"/>
                    <a:pt x="104527" y="240459"/>
                    <a:pt x="63739" y="281256"/>
                  </a:cubicBezTo>
                  <a:close/>
                </a:path>
              </a:pathLst>
            </a:custGeom>
            <a:grpFill/>
            <a:ln w="27192" cap="flat">
              <a:noFill/>
              <a:prstDash val="solid"/>
              <a:miter/>
            </a:ln>
          </p:spPr>
          <p:txBody>
            <a:bodyPr rtlCol="0" anchor="ctr"/>
            <a:lstStyle/>
            <a:p>
              <a:endParaRPr lang="uk-UA" sz="900">
                <a:solidFill>
                  <a:schemeClr val="bg1"/>
                </a:solidFill>
              </a:endParaRPr>
            </a:p>
          </p:txBody>
        </p:sp>
        <p:sp>
          <p:nvSpPr>
            <p:cNvPr id="40" name="Freeform: Shape 39">
              <a:extLst>
                <a:ext uri="{FF2B5EF4-FFF2-40B4-BE49-F238E27FC236}">
                  <a16:creationId xmlns:a16="http://schemas.microsoft.com/office/drawing/2014/main" id="{10EE8845-D71A-08FB-3DB9-6487E41EA7E3}"/>
                </a:ext>
              </a:extLst>
            </p:cNvPr>
            <p:cNvSpPr/>
            <p:nvPr/>
          </p:nvSpPr>
          <p:spPr>
            <a:xfrm>
              <a:off x="3446261" y="1098754"/>
              <a:ext cx="435077" cy="435077"/>
            </a:xfrm>
            <a:custGeom>
              <a:avLst/>
              <a:gdLst>
                <a:gd name="connsiteX0" fmla="*/ 435077 w 435077"/>
                <a:gd name="connsiteY0" fmla="*/ 435077 h 435077"/>
                <a:gd name="connsiteX1" fmla="*/ 435077 w 435077"/>
                <a:gd name="connsiteY1" fmla="*/ 0 h 435077"/>
                <a:gd name="connsiteX2" fmla="*/ 217566 w 435077"/>
                <a:gd name="connsiteY2" fmla="*/ 217544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44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6" y="217544"/>
                  </a:lnTo>
                  <a:lnTo>
                    <a:pt x="435077" y="435077"/>
                  </a:lnTo>
                  <a:close/>
                  <a:moveTo>
                    <a:pt x="0" y="435077"/>
                  </a:moveTo>
                  <a:lnTo>
                    <a:pt x="0" y="3"/>
                  </a:lnTo>
                  <a:lnTo>
                    <a:pt x="217539" y="217544"/>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41" name="Freeform: Shape 40">
              <a:extLst>
                <a:ext uri="{FF2B5EF4-FFF2-40B4-BE49-F238E27FC236}">
                  <a16:creationId xmlns:a16="http://schemas.microsoft.com/office/drawing/2014/main" id="{D2014563-ACDE-76C8-6A32-E78F66D0B7E7}"/>
                </a:ext>
              </a:extLst>
            </p:cNvPr>
            <p:cNvSpPr/>
            <p:nvPr/>
          </p:nvSpPr>
          <p:spPr>
            <a:xfrm>
              <a:off x="5186597" y="1098754"/>
              <a:ext cx="435077" cy="435077"/>
            </a:xfrm>
            <a:custGeom>
              <a:avLst/>
              <a:gdLst>
                <a:gd name="connsiteX0" fmla="*/ 435077 w 435077"/>
                <a:gd name="connsiteY0" fmla="*/ 435077 h 435077"/>
                <a:gd name="connsiteX1" fmla="*/ 435077 w 435077"/>
                <a:gd name="connsiteY1" fmla="*/ 217547 h 435077"/>
                <a:gd name="connsiteX2" fmla="*/ 435077 w 435077"/>
                <a:gd name="connsiteY2" fmla="*/ 16 h 435077"/>
                <a:gd name="connsiteX3" fmla="*/ 217539 w 435077"/>
                <a:gd name="connsiteY3" fmla="*/ 16 h 435077"/>
                <a:gd name="connsiteX4" fmla="*/ 435077 w 435077"/>
                <a:gd name="connsiteY4" fmla="*/ 217547 h 435077"/>
                <a:gd name="connsiteX5" fmla="*/ 217539 w 435077"/>
                <a:gd name="connsiteY5" fmla="*/ 435077 h 435077"/>
                <a:gd name="connsiteX6" fmla="*/ 435077 w 435077"/>
                <a:gd name="connsiteY6" fmla="*/ 435077 h 435077"/>
                <a:gd name="connsiteX7" fmla="*/ 0 w 435077"/>
                <a:gd name="connsiteY7" fmla="*/ 217531 h 435077"/>
                <a:gd name="connsiteX8" fmla="*/ 0 w 435077"/>
                <a:gd name="connsiteY8" fmla="*/ 0 h 435077"/>
                <a:gd name="connsiteX9" fmla="*/ 217512 w 435077"/>
                <a:gd name="connsiteY9" fmla="*/ 217531 h 435077"/>
                <a:gd name="connsiteX10" fmla="*/ 0 w 435077"/>
                <a:gd name="connsiteY10" fmla="*/ 217531 h 435077"/>
                <a:gd name="connsiteX11" fmla="*/ 0 w 435077"/>
                <a:gd name="connsiteY11" fmla="*/ 435072 h 435077"/>
                <a:gd name="connsiteX12" fmla="*/ 0 w 435077"/>
                <a:gd name="connsiteY12" fmla="*/ 217541 h 435077"/>
                <a:gd name="connsiteX13" fmla="*/ 217512 w 435077"/>
                <a:gd name="connsiteY13" fmla="*/ 217541 h 435077"/>
                <a:gd name="connsiteX14" fmla="*/ 0 w 435077"/>
                <a:gd name="connsiteY14" fmla="*/ 43507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47"/>
                  </a:lnTo>
                  <a:lnTo>
                    <a:pt x="435077" y="16"/>
                  </a:lnTo>
                  <a:lnTo>
                    <a:pt x="217539" y="16"/>
                  </a:lnTo>
                  <a:lnTo>
                    <a:pt x="435077" y="217547"/>
                  </a:lnTo>
                  <a:lnTo>
                    <a:pt x="217539" y="435077"/>
                  </a:lnTo>
                  <a:lnTo>
                    <a:pt x="435077" y="435077"/>
                  </a:lnTo>
                  <a:close/>
                  <a:moveTo>
                    <a:pt x="0" y="217531"/>
                  </a:moveTo>
                  <a:lnTo>
                    <a:pt x="0" y="0"/>
                  </a:lnTo>
                  <a:lnTo>
                    <a:pt x="217512" y="217531"/>
                  </a:lnTo>
                  <a:lnTo>
                    <a:pt x="0" y="217531"/>
                  </a:lnTo>
                  <a:close/>
                  <a:moveTo>
                    <a:pt x="0" y="435072"/>
                  </a:moveTo>
                  <a:lnTo>
                    <a:pt x="0" y="217541"/>
                  </a:lnTo>
                  <a:lnTo>
                    <a:pt x="217512" y="217541"/>
                  </a:lnTo>
                  <a:lnTo>
                    <a:pt x="0" y="435072"/>
                  </a:lnTo>
                  <a:close/>
                </a:path>
              </a:pathLst>
            </a:custGeom>
            <a:grpFill/>
            <a:ln w="27192" cap="flat">
              <a:noFill/>
              <a:prstDash val="solid"/>
              <a:miter/>
            </a:ln>
          </p:spPr>
          <p:txBody>
            <a:bodyPr rtlCol="0" anchor="ctr"/>
            <a:lstStyle/>
            <a:p>
              <a:endParaRPr lang="uk-UA" sz="900">
                <a:solidFill>
                  <a:schemeClr val="bg1"/>
                </a:solidFill>
              </a:endParaRPr>
            </a:p>
          </p:txBody>
        </p:sp>
        <p:sp>
          <p:nvSpPr>
            <p:cNvPr id="42" name="Freeform: Shape 41">
              <a:extLst>
                <a:ext uri="{FF2B5EF4-FFF2-40B4-BE49-F238E27FC236}">
                  <a16:creationId xmlns:a16="http://schemas.microsoft.com/office/drawing/2014/main" id="{DFE10473-C15A-5DF3-EFA0-5EEA5044330A}"/>
                </a:ext>
              </a:extLst>
            </p:cNvPr>
            <p:cNvSpPr/>
            <p:nvPr/>
          </p:nvSpPr>
          <p:spPr>
            <a:xfrm>
              <a:off x="6056752" y="1098754"/>
              <a:ext cx="435077" cy="435077"/>
            </a:xfrm>
            <a:custGeom>
              <a:avLst/>
              <a:gdLst>
                <a:gd name="connsiteX0" fmla="*/ 217539 w 435077"/>
                <a:gd name="connsiteY0" fmla="*/ 435069 h 435077"/>
                <a:gd name="connsiteX1" fmla="*/ 217539 w 435077"/>
                <a:gd name="connsiteY1" fmla="*/ 0 h 435077"/>
                <a:gd name="connsiteX2" fmla="*/ 435077 w 435077"/>
                <a:gd name="connsiteY2" fmla="*/ 217541 h 435077"/>
                <a:gd name="connsiteX3" fmla="*/ 217539 w 435077"/>
                <a:gd name="connsiteY3" fmla="*/ 435069 h 435077"/>
                <a:gd name="connsiteX4" fmla="*/ 0 w 435077"/>
                <a:gd name="connsiteY4" fmla="*/ 435077 h 435077"/>
                <a:gd name="connsiteX5" fmla="*/ 0 w 435077"/>
                <a:gd name="connsiteY5" fmla="*/ 8 h 435077"/>
                <a:gd name="connsiteX6" fmla="*/ 217539 w 435077"/>
                <a:gd name="connsiteY6" fmla="*/ 217547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69"/>
                  </a:moveTo>
                  <a:lnTo>
                    <a:pt x="217539" y="0"/>
                  </a:lnTo>
                  <a:lnTo>
                    <a:pt x="435077" y="217541"/>
                  </a:lnTo>
                  <a:lnTo>
                    <a:pt x="217539" y="435069"/>
                  </a:lnTo>
                  <a:close/>
                  <a:moveTo>
                    <a:pt x="0" y="435077"/>
                  </a:moveTo>
                  <a:lnTo>
                    <a:pt x="0" y="8"/>
                  </a:lnTo>
                  <a:lnTo>
                    <a:pt x="217539" y="217547"/>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43" name="Freeform: Shape 42">
              <a:extLst>
                <a:ext uri="{FF2B5EF4-FFF2-40B4-BE49-F238E27FC236}">
                  <a16:creationId xmlns:a16="http://schemas.microsoft.com/office/drawing/2014/main" id="{1C629CF5-757D-318F-7796-FEFFA0458F3E}"/>
                </a:ext>
              </a:extLst>
            </p:cNvPr>
            <p:cNvSpPr/>
            <p:nvPr/>
          </p:nvSpPr>
          <p:spPr>
            <a:xfrm>
              <a:off x="7797062" y="1098754"/>
              <a:ext cx="435077" cy="435077"/>
            </a:xfrm>
            <a:custGeom>
              <a:avLst/>
              <a:gdLst>
                <a:gd name="connsiteX0" fmla="*/ 63739 w 435077"/>
                <a:gd name="connsiteY0" fmla="*/ 153824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4 h 435077"/>
                <a:gd name="connsiteX5" fmla="*/ 217539 w 435077"/>
                <a:gd name="connsiteY5" fmla="*/ 217539 h 435077"/>
                <a:gd name="connsiteX6" fmla="*/ 63739 w 435077"/>
                <a:gd name="connsiteY6" fmla="*/ 153824 h 435077"/>
                <a:gd name="connsiteX7" fmla="*/ 63739 w 435077"/>
                <a:gd name="connsiteY7" fmla="*/ 281256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6 h 435077"/>
                <a:gd name="connsiteX12" fmla="*/ 217539 w 435077"/>
                <a:gd name="connsiteY12" fmla="*/ 217539 h 435077"/>
                <a:gd name="connsiteX13" fmla="*/ 63739 w 435077"/>
                <a:gd name="connsiteY13" fmla="*/ 281256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4"/>
                  </a:moveTo>
                  <a:cubicBezTo>
                    <a:pt x="22924" y="113028"/>
                    <a:pt x="0" y="57697"/>
                    <a:pt x="0" y="0"/>
                  </a:cubicBezTo>
                  <a:lnTo>
                    <a:pt x="217539" y="0"/>
                  </a:lnTo>
                  <a:lnTo>
                    <a:pt x="435077" y="0"/>
                  </a:lnTo>
                  <a:cubicBezTo>
                    <a:pt x="435077" y="57697"/>
                    <a:pt x="412182" y="113028"/>
                    <a:pt x="371366" y="153824"/>
                  </a:cubicBezTo>
                  <a:cubicBezTo>
                    <a:pt x="330578" y="194621"/>
                    <a:pt x="275241" y="217539"/>
                    <a:pt x="217539" y="217539"/>
                  </a:cubicBezTo>
                  <a:cubicBezTo>
                    <a:pt x="159864" y="217539"/>
                    <a:pt x="104527" y="194621"/>
                    <a:pt x="63739" y="153824"/>
                  </a:cubicBezTo>
                  <a:close/>
                  <a:moveTo>
                    <a:pt x="63739" y="281256"/>
                  </a:moveTo>
                  <a:cubicBezTo>
                    <a:pt x="22924" y="322052"/>
                    <a:pt x="0" y="377383"/>
                    <a:pt x="0" y="435077"/>
                  </a:cubicBezTo>
                  <a:lnTo>
                    <a:pt x="217539" y="435077"/>
                  </a:lnTo>
                  <a:lnTo>
                    <a:pt x="435077" y="435077"/>
                  </a:lnTo>
                  <a:cubicBezTo>
                    <a:pt x="435077" y="377383"/>
                    <a:pt x="412182" y="322052"/>
                    <a:pt x="371366" y="281256"/>
                  </a:cubicBezTo>
                  <a:cubicBezTo>
                    <a:pt x="330578" y="240459"/>
                    <a:pt x="275241" y="217539"/>
                    <a:pt x="217539" y="217539"/>
                  </a:cubicBezTo>
                  <a:cubicBezTo>
                    <a:pt x="159864" y="217539"/>
                    <a:pt x="104527" y="240459"/>
                    <a:pt x="63739" y="281256"/>
                  </a:cubicBezTo>
                  <a:close/>
                </a:path>
              </a:pathLst>
            </a:custGeom>
            <a:grpFill/>
            <a:ln w="27192" cap="flat">
              <a:noFill/>
              <a:prstDash val="solid"/>
              <a:miter/>
            </a:ln>
          </p:spPr>
          <p:txBody>
            <a:bodyPr rtlCol="0" anchor="ctr"/>
            <a:lstStyle/>
            <a:p>
              <a:endParaRPr lang="uk-UA" sz="900">
                <a:solidFill>
                  <a:schemeClr val="bg1"/>
                </a:solidFill>
              </a:endParaRPr>
            </a:p>
          </p:txBody>
        </p:sp>
        <p:sp>
          <p:nvSpPr>
            <p:cNvPr id="44" name="Freeform: Shape 43">
              <a:extLst>
                <a:ext uri="{FF2B5EF4-FFF2-40B4-BE49-F238E27FC236}">
                  <a16:creationId xmlns:a16="http://schemas.microsoft.com/office/drawing/2014/main" id="{BF2B1145-987E-C499-1241-B10C1C8E4DB2}"/>
                </a:ext>
              </a:extLst>
            </p:cNvPr>
            <p:cNvSpPr/>
            <p:nvPr/>
          </p:nvSpPr>
          <p:spPr>
            <a:xfrm>
              <a:off x="6926907" y="1098754"/>
              <a:ext cx="435077" cy="435077"/>
            </a:xfrm>
            <a:custGeom>
              <a:avLst/>
              <a:gdLst>
                <a:gd name="connsiteX0" fmla="*/ 435077 w 435077"/>
                <a:gd name="connsiteY0" fmla="*/ 435077 h 435077"/>
                <a:gd name="connsiteX1" fmla="*/ 435077 w 435077"/>
                <a:gd name="connsiteY1" fmla="*/ 0 h 435077"/>
                <a:gd name="connsiteX2" fmla="*/ 217566 w 435077"/>
                <a:gd name="connsiteY2" fmla="*/ 217544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44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6" y="217544"/>
                  </a:lnTo>
                  <a:lnTo>
                    <a:pt x="435077" y="435077"/>
                  </a:lnTo>
                  <a:close/>
                  <a:moveTo>
                    <a:pt x="0" y="435077"/>
                  </a:moveTo>
                  <a:lnTo>
                    <a:pt x="0" y="3"/>
                  </a:lnTo>
                  <a:lnTo>
                    <a:pt x="217539" y="217544"/>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45" name="Freeform: Shape 44">
              <a:extLst>
                <a:ext uri="{FF2B5EF4-FFF2-40B4-BE49-F238E27FC236}">
                  <a16:creationId xmlns:a16="http://schemas.microsoft.com/office/drawing/2014/main" id="{3DE78B75-96FA-6D27-8974-525BE314806A}"/>
                </a:ext>
              </a:extLst>
            </p:cNvPr>
            <p:cNvSpPr/>
            <p:nvPr/>
          </p:nvSpPr>
          <p:spPr>
            <a:xfrm>
              <a:off x="8667217" y="1098754"/>
              <a:ext cx="435077" cy="435077"/>
            </a:xfrm>
            <a:custGeom>
              <a:avLst/>
              <a:gdLst>
                <a:gd name="connsiteX0" fmla="*/ 435077 w 435077"/>
                <a:gd name="connsiteY0" fmla="*/ 435077 h 435077"/>
                <a:gd name="connsiteX1" fmla="*/ 435077 w 435077"/>
                <a:gd name="connsiteY1" fmla="*/ 217547 h 435077"/>
                <a:gd name="connsiteX2" fmla="*/ 435077 w 435077"/>
                <a:gd name="connsiteY2" fmla="*/ 16 h 435077"/>
                <a:gd name="connsiteX3" fmla="*/ 217566 w 435077"/>
                <a:gd name="connsiteY3" fmla="*/ 16 h 435077"/>
                <a:gd name="connsiteX4" fmla="*/ 435077 w 435077"/>
                <a:gd name="connsiteY4" fmla="*/ 217547 h 435077"/>
                <a:gd name="connsiteX5" fmla="*/ 217566 w 435077"/>
                <a:gd name="connsiteY5" fmla="*/ 435077 h 435077"/>
                <a:gd name="connsiteX6" fmla="*/ 435077 w 435077"/>
                <a:gd name="connsiteY6" fmla="*/ 435077 h 435077"/>
                <a:gd name="connsiteX7" fmla="*/ 0 w 435077"/>
                <a:gd name="connsiteY7" fmla="*/ 217531 h 435077"/>
                <a:gd name="connsiteX8" fmla="*/ 0 w 435077"/>
                <a:gd name="connsiteY8" fmla="*/ 0 h 435077"/>
                <a:gd name="connsiteX9" fmla="*/ 217539 w 435077"/>
                <a:gd name="connsiteY9" fmla="*/ 217531 h 435077"/>
                <a:gd name="connsiteX10" fmla="*/ 0 w 435077"/>
                <a:gd name="connsiteY10" fmla="*/ 217531 h 435077"/>
                <a:gd name="connsiteX11" fmla="*/ 0 w 435077"/>
                <a:gd name="connsiteY11" fmla="*/ 435072 h 435077"/>
                <a:gd name="connsiteX12" fmla="*/ 0 w 435077"/>
                <a:gd name="connsiteY12" fmla="*/ 217541 h 435077"/>
                <a:gd name="connsiteX13" fmla="*/ 217539 w 435077"/>
                <a:gd name="connsiteY13" fmla="*/ 217541 h 435077"/>
                <a:gd name="connsiteX14" fmla="*/ 0 w 435077"/>
                <a:gd name="connsiteY14" fmla="*/ 43507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47"/>
                  </a:lnTo>
                  <a:lnTo>
                    <a:pt x="435077" y="16"/>
                  </a:lnTo>
                  <a:lnTo>
                    <a:pt x="217566" y="16"/>
                  </a:lnTo>
                  <a:lnTo>
                    <a:pt x="435077" y="217547"/>
                  </a:lnTo>
                  <a:lnTo>
                    <a:pt x="217566" y="435077"/>
                  </a:lnTo>
                  <a:lnTo>
                    <a:pt x="435077" y="435077"/>
                  </a:lnTo>
                  <a:close/>
                  <a:moveTo>
                    <a:pt x="0" y="217531"/>
                  </a:moveTo>
                  <a:lnTo>
                    <a:pt x="0" y="0"/>
                  </a:lnTo>
                  <a:lnTo>
                    <a:pt x="217539" y="217531"/>
                  </a:lnTo>
                  <a:lnTo>
                    <a:pt x="0" y="217531"/>
                  </a:lnTo>
                  <a:close/>
                  <a:moveTo>
                    <a:pt x="0" y="435072"/>
                  </a:moveTo>
                  <a:lnTo>
                    <a:pt x="0" y="217541"/>
                  </a:lnTo>
                  <a:lnTo>
                    <a:pt x="217539" y="217541"/>
                  </a:lnTo>
                  <a:lnTo>
                    <a:pt x="0" y="435072"/>
                  </a:lnTo>
                  <a:close/>
                </a:path>
              </a:pathLst>
            </a:custGeom>
            <a:grpFill/>
            <a:ln w="27192" cap="flat">
              <a:noFill/>
              <a:prstDash val="solid"/>
              <a:miter/>
            </a:ln>
          </p:spPr>
          <p:txBody>
            <a:bodyPr rtlCol="0" anchor="ctr"/>
            <a:lstStyle/>
            <a:p>
              <a:endParaRPr lang="uk-UA" sz="900">
                <a:solidFill>
                  <a:schemeClr val="bg1"/>
                </a:solidFill>
              </a:endParaRPr>
            </a:p>
          </p:txBody>
        </p:sp>
        <p:sp>
          <p:nvSpPr>
            <p:cNvPr id="46" name="Freeform: Shape 45">
              <a:extLst>
                <a:ext uri="{FF2B5EF4-FFF2-40B4-BE49-F238E27FC236}">
                  <a16:creationId xmlns:a16="http://schemas.microsoft.com/office/drawing/2014/main" id="{19DFF429-09D5-2FBF-FF9D-B14DF02A1B96}"/>
                </a:ext>
              </a:extLst>
            </p:cNvPr>
            <p:cNvSpPr/>
            <p:nvPr/>
          </p:nvSpPr>
          <p:spPr>
            <a:xfrm>
              <a:off x="9537399" y="1098754"/>
              <a:ext cx="435077" cy="435077"/>
            </a:xfrm>
            <a:custGeom>
              <a:avLst/>
              <a:gdLst>
                <a:gd name="connsiteX0" fmla="*/ 217539 w 435077"/>
                <a:gd name="connsiteY0" fmla="*/ 435069 h 435077"/>
                <a:gd name="connsiteX1" fmla="*/ 217539 w 435077"/>
                <a:gd name="connsiteY1" fmla="*/ 0 h 435077"/>
                <a:gd name="connsiteX2" fmla="*/ 435077 w 435077"/>
                <a:gd name="connsiteY2" fmla="*/ 217541 h 435077"/>
                <a:gd name="connsiteX3" fmla="*/ 217539 w 435077"/>
                <a:gd name="connsiteY3" fmla="*/ 435069 h 435077"/>
                <a:gd name="connsiteX4" fmla="*/ 0 w 435077"/>
                <a:gd name="connsiteY4" fmla="*/ 435077 h 435077"/>
                <a:gd name="connsiteX5" fmla="*/ 0 w 435077"/>
                <a:gd name="connsiteY5" fmla="*/ 8 h 435077"/>
                <a:gd name="connsiteX6" fmla="*/ 217539 w 435077"/>
                <a:gd name="connsiteY6" fmla="*/ 217547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69"/>
                  </a:moveTo>
                  <a:lnTo>
                    <a:pt x="217539" y="0"/>
                  </a:lnTo>
                  <a:lnTo>
                    <a:pt x="435077" y="217541"/>
                  </a:lnTo>
                  <a:lnTo>
                    <a:pt x="217539" y="435069"/>
                  </a:lnTo>
                  <a:close/>
                  <a:moveTo>
                    <a:pt x="0" y="435077"/>
                  </a:moveTo>
                  <a:lnTo>
                    <a:pt x="0" y="8"/>
                  </a:lnTo>
                  <a:lnTo>
                    <a:pt x="217539" y="217547"/>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47" name="Freeform: Shape 46">
              <a:extLst>
                <a:ext uri="{FF2B5EF4-FFF2-40B4-BE49-F238E27FC236}">
                  <a16:creationId xmlns:a16="http://schemas.microsoft.com/office/drawing/2014/main" id="{391DF034-0D81-1DFE-1969-71A42059FE95}"/>
                </a:ext>
              </a:extLst>
            </p:cNvPr>
            <p:cNvSpPr/>
            <p:nvPr/>
          </p:nvSpPr>
          <p:spPr>
            <a:xfrm>
              <a:off x="11277709" y="1098754"/>
              <a:ext cx="435077" cy="435077"/>
            </a:xfrm>
            <a:custGeom>
              <a:avLst/>
              <a:gdLst>
                <a:gd name="connsiteX0" fmla="*/ 63710 w 435077"/>
                <a:gd name="connsiteY0" fmla="*/ 153824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4 h 435077"/>
                <a:gd name="connsiteX5" fmla="*/ 217539 w 435077"/>
                <a:gd name="connsiteY5" fmla="*/ 217539 h 435077"/>
                <a:gd name="connsiteX6" fmla="*/ 63710 w 435077"/>
                <a:gd name="connsiteY6" fmla="*/ 153824 h 435077"/>
                <a:gd name="connsiteX7" fmla="*/ 63710 w 435077"/>
                <a:gd name="connsiteY7" fmla="*/ 281256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6 h 435077"/>
                <a:gd name="connsiteX12" fmla="*/ 217539 w 435077"/>
                <a:gd name="connsiteY12" fmla="*/ 217539 h 435077"/>
                <a:gd name="connsiteX13" fmla="*/ 63710 w 435077"/>
                <a:gd name="connsiteY13" fmla="*/ 281256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4"/>
                  </a:moveTo>
                  <a:cubicBezTo>
                    <a:pt x="22922" y="113028"/>
                    <a:pt x="0" y="57697"/>
                    <a:pt x="0" y="0"/>
                  </a:cubicBezTo>
                  <a:lnTo>
                    <a:pt x="217539" y="0"/>
                  </a:lnTo>
                  <a:lnTo>
                    <a:pt x="435077" y="0"/>
                  </a:lnTo>
                  <a:cubicBezTo>
                    <a:pt x="435077" y="57697"/>
                    <a:pt x="412154" y="113028"/>
                    <a:pt x="371365" y="153824"/>
                  </a:cubicBezTo>
                  <a:cubicBezTo>
                    <a:pt x="330549" y="194621"/>
                    <a:pt x="275239" y="217539"/>
                    <a:pt x="217539" y="217539"/>
                  </a:cubicBezTo>
                  <a:cubicBezTo>
                    <a:pt x="159836" y="217539"/>
                    <a:pt x="104499" y="194621"/>
                    <a:pt x="63710" y="153824"/>
                  </a:cubicBezTo>
                  <a:close/>
                  <a:moveTo>
                    <a:pt x="63710" y="281256"/>
                  </a:moveTo>
                  <a:cubicBezTo>
                    <a:pt x="22922" y="322052"/>
                    <a:pt x="0" y="377383"/>
                    <a:pt x="0" y="435077"/>
                  </a:cubicBezTo>
                  <a:lnTo>
                    <a:pt x="217539" y="435077"/>
                  </a:lnTo>
                  <a:lnTo>
                    <a:pt x="435077" y="435077"/>
                  </a:lnTo>
                  <a:cubicBezTo>
                    <a:pt x="435077" y="377383"/>
                    <a:pt x="412154" y="322052"/>
                    <a:pt x="371365" y="281256"/>
                  </a:cubicBezTo>
                  <a:cubicBezTo>
                    <a:pt x="330549" y="240459"/>
                    <a:pt x="275239" y="217539"/>
                    <a:pt x="217539" y="217539"/>
                  </a:cubicBezTo>
                  <a:cubicBezTo>
                    <a:pt x="159836" y="217539"/>
                    <a:pt x="104499" y="240459"/>
                    <a:pt x="63710" y="281256"/>
                  </a:cubicBezTo>
                  <a:close/>
                </a:path>
              </a:pathLst>
            </a:custGeom>
            <a:grpFill/>
            <a:ln w="27192" cap="flat">
              <a:noFill/>
              <a:prstDash val="solid"/>
              <a:miter/>
            </a:ln>
          </p:spPr>
          <p:txBody>
            <a:bodyPr rtlCol="0" anchor="ctr"/>
            <a:lstStyle/>
            <a:p>
              <a:endParaRPr lang="uk-UA" sz="900">
                <a:solidFill>
                  <a:schemeClr val="bg1"/>
                </a:solidFill>
              </a:endParaRPr>
            </a:p>
          </p:txBody>
        </p:sp>
        <p:sp>
          <p:nvSpPr>
            <p:cNvPr id="48" name="Freeform: Shape 47">
              <a:extLst>
                <a:ext uri="{FF2B5EF4-FFF2-40B4-BE49-F238E27FC236}">
                  <a16:creationId xmlns:a16="http://schemas.microsoft.com/office/drawing/2014/main" id="{8E2E9DF4-2675-D07D-2712-AB304F874475}"/>
                </a:ext>
              </a:extLst>
            </p:cNvPr>
            <p:cNvSpPr/>
            <p:nvPr/>
          </p:nvSpPr>
          <p:spPr>
            <a:xfrm>
              <a:off x="10407554" y="1098754"/>
              <a:ext cx="435077" cy="435077"/>
            </a:xfrm>
            <a:custGeom>
              <a:avLst/>
              <a:gdLst>
                <a:gd name="connsiteX0" fmla="*/ 435077 w 435077"/>
                <a:gd name="connsiteY0" fmla="*/ 435077 h 435077"/>
                <a:gd name="connsiteX1" fmla="*/ 435077 w 435077"/>
                <a:gd name="connsiteY1" fmla="*/ 0 h 435077"/>
                <a:gd name="connsiteX2" fmla="*/ 217539 w 435077"/>
                <a:gd name="connsiteY2" fmla="*/ 217544 h 435077"/>
                <a:gd name="connsiteX3" fmla="*/ 435077 w 435077"/>
                <a:gd name="connsiteY3" fmla="*/ 435077 h 435077"/>
                <a:gd name="connsiteX4" fmla="*/ 0 w 435077"/>
                <a:gd name="connsiteY4" fmla="*/ 435077 h 435077"/>
                <a:gd name="connsiteX5" fmla="*/ 0 w 435077"/>
                <a:gd name="connsiteY5" fmla="*/ 3 h 435077"/>
                <a:gd name="connsiteX6" fmla="*/ 217511 w 435077"/>
                <a:gd name="connsiteY6" fmla="*/ 217544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44"/>
                  </a:lnTo>
                  <a:lnTo>
                    <a:pt x="435077" y="435077"/>
                  </a:lnTo>
                  <a:close/>
                  <a:moveTo>
                    <a:pt x="0" y="435077"/>
                  </a:moveTo>
                  <a:lnTo>
                    <a:pt x="0" y="3"/>
                  </a:lnTo>
                  <a:lnTo>
                    <a:pt x="217511" y="217544"/>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49" name="Freeform: Shape 48">
              <a:extLst>
                <a:ext uri="{FF2B5EF4-FFF2-40B4-BE49-F238E27FC236}">
                  <a16:creationId xmlns:a16="http://schemas.microsoft.com/office/drawing/2014/main" id="{0F0DCED4-AE43-21A6-DD9B-B4AC987C3D1F}"/>
                </a:ext>
              </a:extLst>
            </p:cNvPr>
            <p:cNvSpPr/>
            <p:nvPr/>
          </p:nvSpPr>
          <p:spPr>
            <a:xfrm>
              <a:off x="12147864" y="1098754"/>
              <a:ext cx="435077" cy="435077"/>
            </a:xfrm>
            <a:custGeom>
              <a:avLst/>
              <a:gdLst>
                <a:gd name="connsiteX0" fmla="*/ 435077 w 435077"/>
                <a:gd name="connsiteY0" fmla="*/ 435077 h 435077"/>
                <a:gd name="connsiteX1" fmla="*/ 435077 w 435077"/>
                <a:gd name="connsiteY1" fmla="*/ 217547 h 435077"/>
                <a:gd name="connsiteX2" fmla="*/ 435077 w 435077"/>
                <a:gd name="connsiteY2" fmla="*/ 16 h 435077"/>
                <a:gd name="connsiteX3" fmla="*/ 217565 w 435077"/>
                <a:gd name="connsiteY3" fmla="*/ 16 h 435077"/>
                <a:gd name="connsiteX4" fmla="*/ 435077 w 435077"/>
                <a:gd name="connsiteY4" fmla="*/ 217547 h 435077"/>
                <a:gd name="connsiteX5" fmla="*/ 217565 w 435077"/>
                <a:gd name="connsiteY5" fmla="*/ 435077 h 435077"/>
                <a:gd name="connsiteX6" fmla="*/ 435077 w 435077"/>
                <a:gd name="connsiteY6" fmla="*/ 435077 h 435077"/>
                <a:gd name="connsiteX7" fmla="*/ 0 w 435077"/>
                <a:gd name="connsiteY7" fmla="*/ 217531 h 435077"/>
                <a:gd name="connsiteX8" fmla="*/ 0 w 435077"/>
                <a:gd name="connsiteY8" fmla="*/ 0 h 435077"/>
                <a:gd name="connsiteX9" fmla="*/ 217539 w 435077"/>
                <a:gd name="connsiteY9" fmla="*/ 217531 h 435077"/>
                <a:gd name="connsiteX10" fmla="*/ 0 w 435077"/>
                <a:gd name="connsiteY10" fmla="*/ 217531 h 435077"/>
                <a:gd name="connsiteX11" fmla="*/ 0 w 435077"/>
                <a:gd name="connsiteY11" fmla="*/ 435072 h 435077"/>
                <a:gd name="connsiteX12" fmla="*/ 0 w 435077"/>
                <a:gd name="connsiteY12" fmla="*/ 217541 h 435077"/>
                <a:gd name="connsiteX13" fmla="*/ 217539 w 435077"/>
                <a:gd name="connsiteY13" fmla="*/ 217541 h 435077"/>
                <a:gd name="connsiteX14" fmla="*/ 0 w 435077"/>
                <a:gd name="connsiteY14" fmla="*/ 43507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47"/>
                  </a:lnTo>
                  <a:lnTo>
                    <a:pt x="435077" y="16"/>
                  </a:lnTo>
                  <a:lnTo>
                    <a:pt x="217565" y="16"/>
                  </a:lnTo>
                  <a:lnTo>
                    <a:pt x="435077" y="217547"/>
                  </a:lnTo>
                  <a:lnTo>
                    <a:pt x="217565" y="435077"/>
                  </a:lnTo>
                  <a:lnTo>
                    <a:pt x="435077" y="435077"/>
                  </a:lnTo>
                  <a:close/>
                  <a:moveTo>
                    <a:pt x="0" y="217531"/>
                  </a:moveTo>
                  <a:lnTo>
                    <a:pt x="0" y="0"/>
                  </a:lnTo>
                  <a:lnTo>
                    <a:pt x="217539" y="217531"/>
                  </a:lnTo>
                  <a:lnTo>
                    <a:pt x="0" y="217531"/>
                  </a:lnTo>
                  <a:close/>
                  <a:moveTo>
                    <a:pt x="0" y="435072"/>
                  </a:moveTo>
                  <a:lnTo>
                    <a:pt x="0" y="217541"/>
                  </a:lnTo>
                  <a:lnTo>
                    <a:pt x="217539" y="217541"/>
                  </a:lnTo>
                  <a:lnTo>
                    <a:pt x="0" y="435072"/>
                  </a:lnTo>
                  <a:close/>
                </a:path>
              </a:pathLst>
            </a:custGeom>
            <a:grpFill/>
            <a:ln w="27192" cap="flat">
              <a:noFill/>
              <a:prstDash val="solid"/>
              <a:miter/>
            </a:ln>
          </p:spPr>
          <p:txBody>
            <a:bodyPr rtlCol="0" anchor="ctr"/>
            <a:lstStyle/>
            <a:p>
              <a:endParaRPr lang="uk-UA" sz="900">
                <a:solidFill>
                  <a:schemeClr val="bg1"/>
                </a:solidFill>
              </a:endParaRPr>
            </a:p>
          </p:txBody>
        </p:sp>
        <p:sp>
          <p:nvSpPr>
            <p:cNvPr id="50" name="Freeform: Shape 49">
              <a:extLst>
                <a:ext uri="{FF2B5EF4-FFF2-40B4-BE49-F238E27FC236}">
                  <a16:creationId xmlns:a16="http://schemas.microsoft.com/office/drawing/2014/main" id="{79A71A6F-7381-4A27-5347-D4202A5E32C5}"/>
                </a:ext>
              </a:extLst>
            </p:cNvPr>
            <p:cNvSpPr/>
            <p:nvPr/>
          </p:nvSpPr>
          <p:spPr>
            <a:xfrm>
              <a:off x="13018045" y="1098754"/>
              <a:ext cx="435077" cy="435077"/>
            </a:xfrm>
            <a:custGeom>
              <a:avLst/>
              <a:gdLst>
                <a:gd name="connsiteX0" fmla="*/ 217539 w 435077"/>
                <a:gd name="connsiteY0" fmla="*/ 435069 h 435077"/>
                <a:gd name="connsiteX1" fmla="*/ 217539 w 435077"/>
                <a:gd name="connsiteY1" fmla="*/ 0 h 435077"/>
                <a:gd name="connsiteX2" fmla="*/ 435077 w 435077"/>
                <a:gd name="connsiteY2" fmla="*/ 217541 h 435077"/>
                <a:gd name="connsiteX3" fmla="*/ 217539 w 435077"/>
                <a:gd name="connsiteY3" fmla="*/ 435069 h 435077"/>
                <a:gd name="connsiteX4" fmla="*/ 0 w 435077"/>
                <a:gd name="connsiteY4" fmla="*/ 435077 h 435077"/>
                <a:gd name="connsiteX5" fmla="*/ 0 w 435077"/>
                <a:gd name="connsiteY5" fmla="*/ 8 h 435077"/>
                <a:gd name="connsiteX6" fmla="*/ 217539 w 435077"/>
                <a:gd name="connsiteY6" fmla="*/ 217547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69"/>
                  </a:moveTo>
                  <a:lnTo>
                    <a:pt x="217539" y="0"/>
                  </a:lnTo>
                  <a:lnTo>
                    <a:pt x="435077" y="217541"/>
                  </a:lnTo>
                  <a:lnTo>
                    <a:pt x="217539" y="435069"/>
                  </a:lnTo>
                  <a:close/>
                  <a:moveTo>
                    <a:pt x="0" y="435077"/>
                  </a:moveTo>
                  <a:lnTo>
                    <a:pt x="0" y="8"/>
                  </a:lnTo>
                  <a:lnTo>
                    <a:pt x="217539" y="217547"/>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51" name="Freeform: Shape 50">
              <a:extLst>
                <a:ext uri="{FF2B5EF4-FFF2-40B4-BE49-F238E27FC236}">
                  <a16:creationId xmlns:a16="http://schemas.microsoft.com/office/drawing/2014/main" id="{8973D896-B394-5A82-438A-E7DF7D986942}"/>
                </a:ext>
              </a:extLst>
            </p:cNvPr>
            <p:cNvSpPr/>
            <p:nvPr/>
          </p:nvSpPr>
          <p:spPr>
            <a:xfrm>
              <a:off x="14758382" y="1098754"/>
              <a:ext cx="435077" cy="435077"/>
            </a:xfrm>
            <a:custGeom>
              <a:avLst/>
              <a:gdLst>
                <a:gd name="connsiteX0" fmla="*/ 63712 w 435077"/>
                <a:gd name="connsiteY0" fmla="*/ 153824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4 h 435077"/>
                <a:gd name="connsiteX5" fmla="*/ 217539 w 435077"/>
                <a:gd name="connsiteY5" fmla="*/ 217539 h 435077"/>
                <a:gd name="connsiteX6" fmla="*/ 63712 w 435077"/>
                <a:gd name="connsiteY6" fmla="*/ 153824 h 435077"/>
                <a:gd name="connsiteX7" fmla="*/ 63712 w 435077"/>
                <a:gd name="connsiteY7" fmla="*/ 281256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56 h 435077"/>
                <a:gd name="connsiteX12" fmla="*/ 217539 w 435077"/>
                <a:gd name="connsiteY12" fmla="*/ 217539 h 435077"/>
                <a:gd name="connsiteX13" fmla="*/ 63712 w 435077"/>
                <a:gd name="connsiteY13" fmla="*/ 281256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4"/>
                  </a:moveTo>
                  <a:cubicBezTo>
                    <a:pt x="22924" y="113028"/>
                    <a:pt x="0" y="57697"/>
                    <a:pt x="0" y="0"/>
                  </a:cubicBezTo>
                  <a:lnTo>
                    <a:pt x="217539" y="0"/>
                  </a:lnTo>
                  <a:lnTo>
                    <a:pt x="435077" y="0"/>
                  </a:lnTo>
                  <a:cubicBezTo>
                    <a:pt x="435077" y="57697"/>
                    <a:pt x="412155" y="113028"/>
                    <a:pt x="371367" y="153824"/>
                  </a:cubicBezTo>
                  <a:cubicBezTo>
                    <a:pt x="330550" y="194621"/>
                    <a:pt x="275241" y="217539"/>
                    <a:pt x="217539" y="217539"/>
                  </a:cubicBezTo>
                  <a:cubicBezTo>
                    <a:pt x="159836" y="217539"/>
                    <a:pt x="104501" y="194621"/>
                    <a:pt x="63712" y="153824"/>
                  </a:cubicBezTo>
                  <a:close/>
                  <a:moveTo>
                    <a:pt x="63712" y="281256"/>
                  </a:moveTo>
                  <a:cubicBezTo>
                    <a:pt x="22924" y="322052"/>
                    <a:pt x="0" y="377383"/>
                    <a:pt x="0" y="435077"/>
                  </a:cubicBezTo>
                  <a:lnTo>
                    <a:pt x="217539" y="435077"/>
                  </a:lnTo>
                  <a:lnTo>
                    <a:pt x="435077" y="435077"/>
                  </a:lnTo>
                  <a:cubicBezTo>
                    <a:pt x="435077" y="377383"/>
                    <a:pt x="412155" y="322052"/>
                    <a:pt x="371367" y="281256"/>
                  </a:cubicBezTo>
                  <a:cubicBezTo>
                    <a:pt x="330550" y="240459"/>
                    <a:pt x="275241" y="217539"/>
                    <a:pt x="217539" y="217539"/>
                  </a:cubicBezTo>
                  <a:cubicBezTo>
                    <a:pt x="159836" y="217539"/>
                    <a:pt x="104501" y="240459"/>
                    <a:pt x="63712" y="281256"/>
                  </a:cubicBezTo>
                  <a:close/>
                </a:path>
              </a:pathLst>
            </a:custGeom>
            <a:grpFill/>
            <a:ln w="27192" cap="flat">
              <a:noFill/>
              <a:prstDash val="solid"/>
              <a:miter/>
            </a:ln>
          </p:spPr>
          <p:txBody>
            <a:bodyPr rtlCol="0" anchor="ctr"/>
            <a:lstStyle/>
            <a:p>
              <a:endParaRPr lang="uk-UA" sz="900">
                <a:solidFill>
                  <a:schemeClr val="bg1"/>
                </a:solidFill>
              </a:endParaRPr>
            </a:p>
          </p:txBody>
        </p:sp>
        <p:sp>
          <p:nvSpPr>
            <p:cNvPr id="52" name="Freeform: Shape 51">
              <a:extLst>
                <a:ext uri="{FF2B5EF4-FFF2-40B4-BE49-F238E27FC236}">
                  <a16:creationId xmlns:a16="http://schemas.microsoft.com/office/drawing/2014/main" id="{A7EEA846-67A5-3E6A-90FA-FCE7A51A5E78}"/>
                </a:ext>
              </a:extLst>
            </p:cNvPr>
            <p:cNvSpPr/>
            <p:nvPr/>
          </p:nvSpPr>
          <p:spPr>
            <a:xfrm>
              <a:off x="13888200" y="1098754"/>
              <a:ext cx="435077" cy="435077"/>
            </a:xfrm>
            <a:custGeom>
              <a:avLst/>
              <a:gdLst>
                <a:gd name="connsiteX0" fmla="*/ 435077 w 435077"/>
                <a:gd name="connsiteY0" fmla="*/ 435077 h 435077"/>
                <a:gd name="connsiteX1" fmla="*/ 435077 w 435077"/>
                <a:gd name="connsiteY1" fmla="*/ 0 h 435077"/>
                <a:gd name="connsiteX2" fmla="*/ 217565 w 435077"/>
                <a:gd name="connsiteY2" fmla="*/ 217544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44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44"/>
                  </a:lnTo>
                  <a:lnTo>
                    <a:pt x="435077" y="435077"/>
                  </a:lnTo>
                  <a:close/>
                  <a:moveTo>
                    <a:pt x="0" y="435077"/>
                  </a:moveTo>
                  <a:lnTo>
                    <a:pt x="0" y="3"/>
                  </a:lnTo>
                  <a:lnTo>
                    <a:pt x="217539" y="217544"/>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53" name="Freeform: Shape 52">
              <a:extLst>
                <a:ext uri="{FF2B5EF4-FFF2-40B4-BE49-F238E27FC236}">
                  <a16:creationId xmlns:a16="http://schemas.microsoft.com/office/drawing/2014/main" id="{E9350975-DACE-0DAF-4258-BCE53F735A38}"/>
                </a:ext>
              </a:extLst>
            </p:cNvPr>
            <p:cNvSpPr/>
            <p:nvPr/>
          </p:nvSpPr>
          <p:spPr>
            <a:xfrm>
              <a:off x="15628536" y="1098754"/>
              <a:ext cx="435077" cy="435077"/>
            </a:xfrm>
            <a:custGeom>
              <a:avLst/>
              <a:gdLst>
                <a:gd name="connsiteX0" fmla="*/ 435077 w 435077"/>
                <a:gd name="connsiteY0" fmla="*/ 435077 h 435077"/>
                <a:gd name="connsiteX1" fmla="*/ 435077 w 435077"/>
                <a:gd name="connsiteY1" fmla="*/ 217547 h 435077"/>
                <a:gd name="connsiteX2" fmla="*/ 435077 w 435077"/>
                <a:gd name="connsiteY2" fmla="*/ 16 h 435077"/>
                <a:gd name="connsiteX3" fmla="*/ 217567 w 435077"/>
                <a:gd name="connsiteY3" fmla="*/ 16 h 435077"/>
                <a:gd name="connsiteX4" fmla="*/ 435077 w 435077"/>
                <a:gd name="connsiteY4" fmla="*/ 217547 h 435077"/>
                <a:gd name="connsiteX5" fmla="*/ 217567 w 435077"/>
                <a:gd name="connsiteY5" fmla="*/ 435077 h 435077"/>
                <a:gd name="connsiteX6" fmla="*/ 435077 w 435077"/>
                <a:gd name="connsiteY6" fmla="*/ 435077 h 435077"/>
                <a:gd name="connsiteX7" fmla="*/ 0 w 435077"/>
                <a:gd name="connsiteY7" fmla="*/ 217531 h 435077"/>
                <a:gd name="connsiteX8" fmla="*/ 0 w 435077"/>
                <a:gd name="connsiteY8" fmla="*/ 0 h 435077"/>
                <a:gd name="connsiteX9" fmla="*/ 217539 w 435077"/>
                <a:gd name="connsiteY9" fmla="*/ 217531 h 435077"/>
                <a:gd name="connsiteX10" fmla="*/ 0 w 435077"/>
                <a:gd name="connsiteY10" fmla="*/ 217531 h 435077"/>
                <a:gd name="connsiteX11" fmla="*/ 0 w 435077"/>
                <a:gd name="connsiteY11" fmla="*/ 435072 h 435077"/>
                <a:gd name="connsiteX12" fmla="*/ 0 w 435077"/>
                <a:gd name="connsiteY12" fmla="*/ 217541 h 435077"/>
                <a:gd name="connsiteX13" fmla="*/ 217539 w 435077"/>
                <a:gd name="connsiteY13" fmla="*/ 217541 h 435077"/>
                <a:gd name="connsiteX14" fmla="*/ 0 w 435077"/>
                <a:gd name="connsiteY14" fmla="*/ 43507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47"/>
                  </a:lnTo>
                  <a:lnTo>
                    <a:pt x="435077" y="16"/>
                  </a:lnTo>
                  <a:lnTo>
                    <a:pt x="217567" y="16"/>
                  </a:lnTo>
                  <a:lnTo>
                    <a:pt x="435077" y="217547"/>
                  </a:lnTo>
                  <a:lnTo>
                    <a:pt x="217567" y="435077"/>
                  </a:lnTo>
                  <a:lnTo>
                    <a:pt x="435077" y="435077"/>
                  </a:lnTo>
                  <a:close/>
                  <a:moveTo>
                    <a:pt x="0" y="217531"/>
                  </a:moveTo>
                  <a:lnTo>
                    <a:pt x="0" y="0"/>
                  </a:lnTo>
                  <a:lnTo>
                    <a:pt x="217539" y="217531"/>
                  </a:lnTo>
                  <a:lnTo>
                    <a:pt x="0" y="217531"/>
                  </a:lnTo>
                  <a:close/>
                  <a:moveTo>
                    <a:pt x="0" y="435072"/>
                  </a:moveTo>
                  <a:lnTo>
                    <a:pt x="0" y="217541"/>
                  </a:lnTo>
                  <a:lnTo>
                    <a:pt x="217539" y="217541"/>
                  </a:lnTo>
                  <a:lnTo>
                    <a:pt x="0" y="435072"/>
                  </a:lnTo>
                  <a:close/>
                </a:path>
              </a:pathLst>
            </a:custGeom>
            <a:grpFill/>
            <a:ln w="27192" cap="flat">
              <a:noFill/>
              <a:prstDash val="solid"/>
              <a:miter/>
            </a:ln>
          </p:spPr>
          <p:txBody>
            <a:bodyPr rtlCol="0" anchor="ctr"/>
            <a:lstStyle/>
            <a:p>
              <a:endParaRPr lang="uk-UA" sz="900">
                <a:solidFill>
                  <a:schemeClr val="bg1"/>
                </a:solidFill>
              </a:endParaRPr>
            </a:p>
          </p:txBody>
        </p:sp>
        <p:sp>
          <p:nvSpPr>
            <p:cNvPr id="54" name="Freeform: Shape 53">
              <a:extLst>
                <a:ext uri="{FF2B5EF4-FFF2-40B4-BE49-F238E27FC236}">
                  <a16:creationId xmlns:a16="http://schemas.microsoft.com/office/drawing/2014/main" id="{406A8E34-EE56-4789-E00C-1943A41C29AE}"/>
                </a:ext>
              </a:extLst>
            </p:cNvPr>
            <p:cNvSpPr/>
            <p:nvPr/>
          </p:nvSpPr>
          <p:spPr>
            <a:xfrm>
              <a:off x="16498719" y="1098754"/>
              <a:ext cx="435077" cy="435077"/>
            </a:xfrm>
            <a:custGeom>
              <a:avLst/>
              <a:gdLst>
                <a:gd name="connsiteX0" fmla="*/ 217539 w 435077"/>
                <a:gd name="connsiteY0" fmla="*/ 435069 h 435077"/>
                <a:gd name="connsiteX1" fmla="*/ 217539 w 435077"/>
                <a:gd name="connsiteY1" fmla="*/ 0 h 435077"/>
                <a:gd name="connsiteX2" fmla="*/ 435077 w 435077"/>
                <a:gd name="connsiteY2" fmla="*/ 217541 h 435077"/>
                <a:gd name="connsiteX3" fmla="*/ 217539 w 435077"/>
                <a:gd name="connsiteY3" fmla="*/ 435069 h 435077"/>
                <a:gd name="connsiteX4" fmla="*/ 0 w 435077"/>
                <a:gd name="connsiteY4" fmla="*/ 435077 h 435077"/>
                <a:gd name="connsiteX5" fmla="*/ 0 w 435077"/>
                <a:gd name="connsiteY5" fmla="*/ 8 h 435077"/>
                <a:gd name="connsiteX6" fmla="*/ 217539 w 435077"/>
                <a:gd name="connsiteY6" fmla="*/ 217547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69"/>
                  </a:moveTo>
                  <a:lnTo>
                    <a:pt x="217539" y="0"/>
                  </a:lnTo>
                  <a:lnTo>
                    <a:pt x="435077" y="217541"/>
                  </a:lnTo>
                  <a:lnTo>
                    <a:pt x="217539" y="435069"/>
                  </a:lnTo>
                  <a:close/>
                  <a:moveTo>
                    <a:pt x="0" y="435077"/>
                  </a:moveTo>
                  <a:lnTo>
                    <a:pt x="0" y="8"/>
                  </a:lnTo>
                  <a:lnTo>
                    <a:pt x="217539" y="217547"/>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55" name="Freeform: Shape 54">
              <a:extLst>
                <a:ext uri="{FF2B5EF4-FFF2-40B4-BE49-F238E27FC236}">
                  <a16:creationId xmlns:a16="http://schemas.microsoft.com/office/drawing/2014/main" id="{DB50D061-77DE-1D9E-015B-14A6B29547C8}"/>
                </a:ext>
              </a:extLst>
            </p:cNvPr>
            <p:cNvSpPr/>
            <p:nvPr/>
          </p:nvSpPr>
          <p:spPr>
            <a:xfrm>
              <a:off x="18239029" y="1098754"/>
              <a:ext cx="435077" cy="435077"/>
            </a:xfrm>
            <a:custGeom>
              <a:avLst/>
              <a:gdLst>
                <a:gd name="connsiteX0" fmla="*/ 63710 w 435077"/>
                <a:gd name="connsiteY0" fmla="*/ 153824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4 h 435077"/>
                <a:gd name="connsiteX5" fmla="*/ 217539 w 435077"/>
                <a:gd name="connsiteY5" fmla="*/ 217539 h 435077"/>
                <a:gd name="connsiteX6" fmla="*/ 63710 w 435077"/>
                <a:gd name="connsiteY6" fmla="*/ 153824 h 435077"/>
                <a:gd name="connsiteX7" fmla="*/ 63710 w 435077"/>
                <a:gd name="connsiteY7" fmla="*/ 281256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6 h 435077"/>
                <a:gd name="connsiteX12" fmla="*/ 217539 w 435077"/>
                <a:gd name="connsiteY12" fmla="*/ 217539 h 435077"/>
                <a:gd name="connsiteX13" fmla="*/ 63710 w 435077"/>
                <a:gd name="connsiteY13" fmla="*/ 281256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4"/>
                  </a:moveTo>
                  <a:cubicBezTo>
                    <a:pt x="22922" y="113028"/>
                    <a:pt x="0" y="57697"/>
                    <a:pt x="0" y="0"/>
                  </a:cubicBezTo>
                  <a:lnTo>
                    <a:pt x="217539" y="0"/>
                  </a:lnTo>
                  <a:lnTo>
                    <a:pt x="435077" y="0"/>
                  </a:lnTo>
                  <a:cubicBezTo>
                    <a:pt x="435077" y="57697"/>
                    <a:pt x="412154" y="113028"/>
                    <a:pt x="371365" y="153824"/>
                  </a:cubicBezTo>
                  <a:cubicBezTo>
                    <a:pt x="330577" y="194621"/>
                    <a:pt x="275241" y="217539"/>
                    <a:pt x="217539" y="217539"/>
                  </a:cubicBezTo>
                  <a:cubicBezTo>
                    <a:pt x="159836" y="217539"/>
                    <a:pt x="104527" y="194621"/>
                    <a:pt x="63710" y="153824"/>
                  </a:cubicBezTo>
                  <a:close/>
                  <a:moveTo>
                    <a:pt x="63710" y="281256"/>
                  </a:moveTo>
                  <a:cubicBezTo>
                    <a:pt x="22922" y="322052"/>
                    <a:pt x="0" y="377383"/>
                    <a:pt x="0" y="435077"/>
                  </a:cubicBezTo>
                  <a:lnTo>
                    <a:pt x="217539" y="435077"/>
                  </a:lnTo>
                  <a:lnTo>
                    <a:pt x="435077" y="435077"/>
                  </a:lnTo>
                  <a:cubicBezTo>
                    <a:pt x="435077" y="377383"/>
                    <a:pt x="412154" y="322052"/>
                    <a:pt x="371365" y="281256"/>
                  </a:cubicBezTo>
                  <a:cubicBezTo>
                    <a:pt x="330577" y="240459"/>
                    <a:pt x="275241" y="217539"/>
                    <a:pt x="217539" y="217539"/>
                  </a:cubicBezTo>
                  <a:cubicBezTo>
                    <a:pt x="159836" y="217539"/>
                    <a:pt x="104527" y="240459"/>
                    <a:pt x="63710" y="281256"/>
                  </a:cubicBezTo>
                  <a:close/>
                </a:path>
              </a:pathLst>
            </a:custGeom>
            <a:grpFill/>
            <a:ln w="27192" cap="flat">
              <a:noFill/>
              <a:prstDash val="solid"/>
              <a:miter/>
            </a:ln>
          </p:spPr>
          <p:txBody>
            <a:bodyPr rtlCol="0" anchor="ctr"/>
            <a:lstStyle/>
            <a:p>
              <a:endParaRPr lang="uk-UA" sz="900">
                <a:solidFill>
                  <a:schemeClr val="bg1"/>
                </a:solidFill>
              </a:endParaRPr>
            </a:p>
          </p:txBody>
        </p:sp>
        <p:sp>
          <p:nvSpPr>
            <p:cNvPr id="56" name="Freeform: Shape 55">
              <a:extLst>
                <a:ext uri="{FF2B5EF4-FFF2-40B4-BE49-F238E27FC236}">
                  <a16:creationId xmlns:a16="http://schemas.microsoft.com/office/drawing/2014/main" id="{DA7BC342-C3E9-DD39-6266-B27B575ACA8C}"/>
                </a:ext>
              </a:extLst>
            </p:cNvPr>
            <p:cNvSpPr/>
            <p:nvPr/>
          </p:nvSpPr>
          <p:spPr>
            <a:xfrm>
              <a:off x="17368874" y="1098754"/>
              <a:ext cx="435077" cy="435077"/>
            </a:xfrm>
            <a:custGeom>
              <a:avLst/>
              <a:gdLst>
                <a:gd name="connsiteX0" fmla="*/ 435077 w 435077"/>
                <a:gd name="connsiteY0" fmla="*/ 435077 h 435077"/>
                <a:gd name="connsiteX1" fmla="*/ 435077 w 435077"/>
                <a:gd name="connsiteY1" fmla="*/ 0 h 435077"/>
                <a:gd name="connsiteX2" fmla="*/ 217539 w 435077"/>
                <a:gd name="connsiteY2" fmla="*/ 217544 h 435077"/>
                <a:gd name="connsiteX3" fmla="*/ 435077 w 435077"/>
                <a:gd name="connsiteY3" fmla="*/ 435077 h 435077"/>
                <a:gd name="connsiteX4" fmla="*/ 0 w 435077"/>
                <a:gd name="connsiteY4" fmla="*/ 435077 h 435077"/>
                <a:gd name="connsiteX5" fmla="*/ 0 w 435077"/>
                <a:gd name="connsiteY5" fmla="*/ 3 h 435077"/>
                <a:gd name="connsiteX6" fmla="*/ 217510 w 435077"/>
                <a:gd name="connsiteY6" fmla="*/ 217544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44"/>
                  </a:lnTo>
                  <a:lnTo>
                    <a:pt x="435077" y="435077"/>
                  </a:lnTo>
                  <a:close/>
                  <a:moveTo>
                    <a:pt x="0" y="435077"/>
                  </a:moveTo>
                  <a:lnTo>
                    <a:pt x="0" y="3"/>
                  </a:lnTo>
                  <a:lnTo>
                    <a:pt x="217510" y="217544"/>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57" name="Freeform: Shape 56">
              <a:extLst>
                <a:ext uri="{FF2B5EF4-FFF2-40B4-BE49-F238E27FC236}">
                  <a16:creationId xmlns:a16="http://schemas.microsoft.com/office/drawing/2014/main" id="{86257CB5-8EE0-A208-C173-2EA0F5D80ABF}"/>
                </a:ext>
              </a:extLst>
            </p:cNvPr>
            <p:cNvSpPr/>
            <p:nvPr/>
          </p:nvSpPr>
          <p:spPr>
            <a:xfrm>
              <a:off x="19109210" y="1098754"/>
              <a:ext cx="435077" cy="435077"/>
            </a:xfrm>
            <a:custGeom>
              <a:avLst/>
              <a:gdLst>
                <a:gd name="connsiteX0" fmla="*/ 435077 w 435077"/>
                <a:gd name="connsiteY0" fmla="*/ 435077 h 435077"/>
                <a:gd name="connsiteX1" fmla="*/ 435077 w 435077"/>
                <a:gd name="connsiteY1" fmla="*/ 217547 h 435077"/>
                <a:gd name="connsiteX2" fmla="*/ 435077 w 435077"/>
                <a:gd name="connsiteY2" fmla="*/ 16 h 435077"/>
                <a:gd name="connsiteX3" fmla="*/ 217539 w 435077"/>
                <a:gd name="connsiteY3" fmla="*/ 16 h 435077"/>
                <a:gd name="connsiteX4" fmla="*/ 435077 w 435077"/>
                <a:gd name="connsiteY4" fmla="*/ 217547 h 435077"/>
                <a:gd name="connsiteX5" fmla="*/ 217539 w 435077"/>
                <a:gd name="connsiteY5" fmla="*/ 435077 h 435077"/>
                <a:gd name="connsiteX6" fmla="*/ 435077 w 435077"/>
                <a:gd name="connsiteY6" fmla="*/ 435077 h 435077"/>
                <a:gd name="connsiteX7" fmla="*/ 0 w 435077"/>
                <a:gd name="connsiteY7" fmla="*/ 217531 h 435077"/>
                <a:gd name="connsiteX8" fmla="*/ 0 w 435077"/>
                <a:gd name="connsiteY8" fmla="*/ 0 h 435077"/>
                <a:gd name="connsiteX9" fmla="*/ 217512 w 435077"/>
                <a:gd name="connsiteY9" fmla="*/ 217531 h 435077"/>
                <a:gd name="connsiteX10" fmla="*/ 0 w 435077"/>
                <a:gd name="connsiteY10" fmla="*/ 217531 h 435077"/>
                <a:gd name="connsiteX11" fmla="*/ 0 w 435077"/>
                <a:gd name="connsiteY11" fmla="*/ 435072 h 435077"/>
                <a:gd name="connsiteX12" fmla="*/ 0 w 435077"/>
                <a:gd name="connsiteY12" fmla="*/ 217541 h 435077"/>
                <a:gd name="connsiteX13" fmla="*/ 217512 w 435077"/>
                <a:gd name="connsiteY13" fmla="*/ 217541 h 435077"/>
                <a:gd name="connsiteX14" fmla="*/ 0 w 435077"/>
                <a:gd name="connsiteY14" fmla="*/ 43507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47"/>
                  </a:lnTo>
                  <a:lnTo>
                    <a:pt x="435077" y="16"/>
                  </a:lnTo>
                  <a:lnTo>
                    <a:pt x="217539" y="16"/>
                  </a:lnTo>
                  <a:lnTo>
                    <a:pt x="435077" y="217547"/>
                  </a:lnTo>
                  <a:lnTo>
                    <a:pt x="217539" y="435077"/>
                  </a:lnTo>
                  <a:lnTo>
                    <a:pt x="435077" y="435077"/>
                  </a:lnTo>
                  <a:close/>
                  <a:moveTo>
                    <a:pt x="0" y="217531"/>
                  </a:moveTo>
                  <a:lnTo>
                    <a:pt x="0" y="0"/>
                  </a:lnTo>
                  <a:lnTo>
                    <a:pt x="217512" y="217531"/>
                  </a:lnTo>
                  <a:lnTo>
                    <a:pt x="0" y="217531"/>
                  </a:lnTo>
                  <a:close/>
                  <a:moveTo>
                    <a:pt x="0" y="435072"/>
                  </a:moveTo>
                  <a:lnTo>
                    <a:pt x="0" y="217541"/>
                  </a:lnTo>
                  <a:lnTo>
                    <a:pt x="217512" y="217541"/>
                  </a:lnTo>
                  <a:lnTo>
                    <a:pt x="0" y="435072"/>
                  </a:lnTo>
                  <a:close/>
                </a:path>
              </a:pathLst>
            </a:custGeom>
            <a:grpFill/>
            <a:ln w="27192" cap="flat">
              <a:noFill/>
              <a:prstDash val="solid"/>
              <a:miter/>
            </a:ln>
          </p:spPr>
          <p:txBody>
            <a:bodyPr rtlCol="0" anchor="ctr"/>
            <a:lstStyle/>
            <a:p>
              <a:endParaRPr lang="uk-UA" sz="900">
                <a:solidFill>
                  <a:schemeClr val="bg1"/>
                </a:solidFill>
              </a:endParaRPr>
            </a:p>
          </p:txBody>
        </p:sp>
        <p:sp>
          <p:nvSpPr>
            <p:cNvPr id="58" name="Freeform: Shape 57">
              <a:extLst>
                <a:ext uri="{FF2B5EF4-FFF2-40B4-BE49-F238E27FC236}">
                  <a16:creationId xmlns:a16="http://schemas.microsoft.com/office/drawing/2014/main" id="{8BE01CCB-A722-2A16-F3F0-F5CCDB5531F1}"/>
                </a:ext>
              </a:extLst>
            </p:cNvPr>
            <p:cNvSpPr/>
            <p:nvPr/>
          </p:nvSpPr>
          <p:spPr>
            <a:xfrm>
              <a:off x="19979365" y="1098754"/>
              <a:ext cx="435077" cy="435077"/>
            </a:xfrm>
            <a:custGeom>
              <a:avLst/>
              <a:gdLst>
                <a:gd name="connsiteX0" fmla="*/ 217539 w 435077"/>
                <a:gd name="connsiteY0" fmla="*/ 435069 h 435077"/>
                <a:gd name="connsiteX1" fmla="*/ 217539 w 435077"/>
                <a:gd name="connsiteY1" fmla="*/ 0 h 435077"/>
                <a:gd name="connsiteX2" fmla="*/ 435077 w 435077"/>
                <a:gd name="connsiteY2" fmla="*/ 217541 h 435077"/>
                <a:gd name="connsiteX3" fmla="*/ 217539 w 435077"/>
                <a:gd name="connsiteY3" fmla="*/ 435069 h 435077"/>
                <a:gd name="connsiteX4" fmla="*/ 0 w 435077"/>
                <a:gd name="connsiteY4" fmla="*/ 435077 h 435077"/>
                <a:gd name="connsiteX5" fmla="*/ 0 w 435077"/>
                <a:gd name="connsiteY5" fmla="*/ 8 h 435077"/>
                <a:gd name="connsiteX6" fmla="*/ 217539 w 435077"/>
                <a:gd name="connsiteY6" fmla="*/ 217547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69"/>
                  </a:moveTo>
                  <a:lnTo>
                    <a:pt x="217539" y="0"/>
                  </a:lnTo>
                  <a:lnTo>
                    <a:pt x="435077" y="217541"/>
                  </a:lnTo>
                  <a:lnTo>
                    <a:pt x="217539" y="435069"/>
                  </a:lnTo>
                  <a:close/>
                  <a:moveTo>
                    <a:pt x="0" y="435077"/>
                  </a:moveTo>
                  <a:lnTo>
                    <a:pt x="0" y="8"/>
                  </a:lnTo>
                  <a:lnTo>
                    <a:pt x="217539" y="217547"/>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59" name="Freeform: Shape 58">
              <a:extLst>
                <a:ext uri="{FF2B5EF4-FFF2-40B4-BE49-F238E27FC236}">
                  <a16:creationId xmlns:a16="http://schemas.microsoft.com/office/drawing/2014/main" id="{F4B4F6AA-6638-8F96-2197-7C6A9042D3DE}"/>
                </a:ext>
              </a:extLst>
            </p:cNvPr>
            <p:cNvSpPr/>
            <p:nvPr/>
          </p:nvSpPr>
          <p:spPr>
            <a:xfrm>
              <a:off x="21719702" y="1098754"/>
              <a:ext cx="435077" cy="435077"/>
            </a:xfrm>
            <a:custGeom>
              <a:avLst/>
              <a:gdLst>
                <a:gd name="connsiteX0" fmla="*/ 63712 w 435077"/>
                <a:gd name="connsiteY0" fmla="*/ 153824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4 h 435077"/>
                <a:gd name="connsiteX5" fmla="*/ 217539 w 435077"/>
                <a:gd name="connsiteY5" fmla="*/ 217539 h 435077"/>
                <a:gd name="connsiteX6" fmla="*/ 63712 w 435077"/>
                <a:gd name="connsiteY6" fmla="*/ 153824 h 435077"/>
                <a:gd name="connsiteX7" fmla="*/ 63712 w 435077"/>
                <a:gd name="connsiteY7" fmla="*/ 281256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56 h 435077"/>
                <a:gd name="connsiteX12" fmla="*/ 217539 w 435077"/>
                <a:gd name="connsiteY12" fmla="*/ 217539 h 435077"/>
                <a:gd name="connsiteX13" fmla="*/ 63712 w 435077"/>
                <a:gd name="connsiteY13" fmla="*/ 281256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4"/>
                  </a:moveTo>
                  <a:cubicBezTo>
                    <a:pt x="22897" y="113028"/>
                    <a:pt x="0" y="57697"/>
                    <a:pt x="0" y="0"/>
                  </a:cubicBezTo>
                  <a:lnTo>
                    <a:pt x="217539" y="0"/>
                  </a:lnTo>
                  <a:lnTo>
                    <a:pt x="435077" y="0"/>
                  </a:lnTo>
                  <a:cubicBezTo>
                    <a:pt x="435077" y="57697"/>
                    <a:pt x="412155" y="113028"/>
                    <a:pt x="371339" y="153824"/>
                  </a:cubicBezTo>
                  <a:cubicBezTo>
                    <a:pt x="330550" y="194621"/>
                    <a:pt x="275215" y="217539"/>
                    <a:pt x="217539" y="217539"/>
                  </a:cubicBezTo>
                  <a:cubicBezTo>
                    <a:pt x="159838" y="217539"/>
                    <a:pt x="104501" y="194621"/>
                    <a:pt x="63712" y="153824"/>
                  </a:cubicBezTo>
                  <a:close/>
                  <a:moveTo>
                    <a:pt x="63712" y="281256"/>
                  </a:moveTo>
                  <a:cubicBezTo>
                    <a:pt x="22897" y="322052"/>
                    <a:pt x="0" y="377383"/>
                    <a:pt x="0" y="435077"/>
                  </a:cubicBezTo>
                  <a:lnTo>
                    <a:pt x="217539" y="435077"/>
                  </a:lnTo>
                  <a:lnTo>
                    <a:pt x="435077" y="435077"/>
                  </a:lnTo>
                  <a:cubicBezTo>
                    <a:pt x="435077" y="377383"/>
                    <a:pt x="412155" y="322052"/>
                    <a:pt x="371339" y="281256"/>
                  </a:cubicBezTo>
                  <a:cubicBezTo>
                    <a:pt x="330550" y="240459"/>
                    <a:pt x="275215" y="217539"/>
                    <a:pt x="217539" y="217539"/>
                  </a:cubicBezTo>
                  <a:cubicBezTo>
                    <a:pt x="159838" y="217539"/>
                    <a:pt x="104501" y="240459"/>
                    <a:pt x="63712" y="281256"/>
                  </a:cubicBezTo>
                  <a:close/>
                </a:path>
              </a:pathLst>
            </a:custGeom>
            <a:grpFill/>
            <a:ln w="27192" cap="flat">
              <a:noFill/>
              <a:prstDash val="solid"/>
              <a:miter/>
            </a:ln>
          </p:spPr>
          <p:txBody>
            <a:bodyPr rtlCol="0" anchor="ctr"/>
            <a:lstStyle/>
            <a:p>
              <a:endParaRPr lang="uk-UA" sz="900">
                <a:solidFill>
                  <a:schemeClr val="bg1"/>
                </a:solidFill>
              </a:endParaRPr>
            </a:p>
          </p:txBody>
        </p:sp>
        <p:sp>
          <p:nvSpPr>
            <p:cNvPr id="60" name="Freeform: Shape 59">
              <a:extLst>
                <a:ext uri="{FF2B5EF4-FFF2-40B4-BE49-F238E27FC236}">
                  <a16:creationId xmlns:a16="http://schemas.microsoft.com/office/drawing/2014/main" id="{1EDBB0C7-0D29-0DCC-EE5E-55373D6E399D}"/>
                </a:ext>
              </a:extLst>
            </p:cNvPr>
            <p:cNvSpPr/>
            <p:nvPr/>
          </p:nvSpPr>
          <p:spPr>
            <a:xfrm>
              <a:off x="20849520" y="1098754"/>
              <a:ext cx="435077" cy="435077"/>
            </a:xfrm>
            <a:custGeom>
              <a:avLst/>
              <a:gdLst>
                <a:gd name="connsiteX0" fmla="*/ 435077 w 435077"/>
                <a:gd name="connsiteY0" fmla="*/ 435077 h 435077"/>
                <a:gd name="connsiteX1" fmla="*/ 435077 w 435077"/>
                <a:gd name="connsiteY1" fmla="*/ 0 h 435077"/>
                <a:gd name="connsiteX2" fmla="*/ 217565 w 435077"/>
                <a:gd name="connsiteY2" fmla="*/ 217544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44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44"/>
                  </a:lnTo>
                  <a:lnTo>
                    <a:pt x="435077" y="435077"/>
                  </a:lnTo>
                  <a:close/>
                  <a:moveTo>
                    <a:pt x="0" y="435077"/>
                  </a:moveTo>
                  <a:lnTo>
                    <a:pt x="0" y="3"/>
                  </a:lnTo>
                  <a:lnTo>
                    <a:pt x="217539" y="217544"/>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61" name="Freeform: Shape 60">
              <a:extLst>
                <a:ext uri="{FF2B5EF4-FFF2-40B4-BE49-F238E27FC236}">
                  <a16:creationId xmlns:a16="http://schemas.microsoft.com/office/drawing/2014/main" id="{791DC09E-45EE-3C79-5C2D-1A29F34E4801}"/>
                </a:ext>
              </a:extLst>
            </p:cNvPr>
            <p:cNvSpPr/>
            <p:nvPr/>
          </p:nvSpPr>
          <p:spPr>
            <a:xfrm>
              <a:off x="22589856" y="1098754"/>
              <a:ext cx="435077" cy="435077"/>
            </a:xfrm>
            <a:custGeom>
              <a:avLst/>
              <a:gdLst>
                <a:gd name="connsiteX0" fmla="*/ 435077 w 435077"/>
                <a:gd name="connsiteY0" fmla="*/ 435077 h 435077"/>
                <a:gd name="connsiteX1" fmla="*/ 435077 w 435077"/>
                <a:gd name="connsiteY1" fmla="*/ 217547 h 435077"/>
                <a:gd name="connsiteX2" fmla="*/ 435077 w 435077"/>
                <a:gd name="connsiteY2" fmla="*/ 16 h 435077"/>
                <a:gd name="connsiteX3" fmla="*/ 217567 w 435077"/>
                <a:gd name="connsiteY3" fmla="*/ 16 h 435077"/>
                <a:gd name="connsiteX4" fmla="*/ 435077 w 435077"/>
                <a:gd name="connsiteY4" fmla="*/ 217547 h 435077"/>
                <a:gd name="connsiteX5" fmla="*/ 217567 w 435077"/>
                <a:gd name="connsiteY5" fmla="*/ 435077 h 435077"/>
                <a:gd name="connsiteX6" fmla="*/ 435077 w 435077"/>
                <a:gd name="connsiteY6" fmla="*/ 435077 h 435077"/>
                <a:gd name="connsiteX7" fmla="*/ 0 w 435077"/>
                <a:gd name="connsiteY7" fmla="*/ 217531 h 435077"/>
                <a:gd name="connsiteX8" fmla="*/ 0 w 435077"/>
                <a:gd name="connsiteY8" fmla="*/ 0 h 435077"/>
                <a:gd name="connsiteX9" fmla="*/ 217539 w 435077"/>
                <a:gd name="connsiteY9" fmla="*/ 217531 h 435077"/>
                <a:gd name="connsiteX10" fmla="*/ 0 w 435077"/>
                <a:gd name="connsiteY10" fmla="*/ 217531 h 435077"/>
                <a:gd name="connsiteX11" fmla="*/ 0 w 435077"/>
                <a:gd name="connsiteY11" fmla="*/ 435072 h 435077"/>
                <a:gd name="connsiteX12" fmla="*/ 0 w 435077"/>
                <a:gd name="connsiteY12" fmla="*/ 217541 h 435077"/>
                <a:gd name="connsiteX13" fmla="*/ 217539 w 435077"/>
                <a:gd name="connsiteY13" fmla="*/ 217541 h 435077"/>
                <a:gd name="connsiteX14" fmla="*/ 0 w 435077"/>
                <a:gd name="connsiteY14" fmla="*/ 43507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47"/>
                  </a:lnTo>
                  <a:lnTo>
                    <a:pt x="435077" y="16"/>
                  </a:lnTo>
                  <a:lnTo>
                    <a:pt x="217567" y="16"/>
                  </a:lnTo>
                  <a:lnTo>
                    <a:pt x="435077" y="217547"/>
                  </a:lnTo>
                  <a:lnTo>
                    <a:pt x="217567" y="435077"/>
                  </a:lnTo>
                  <a:lnTo>
                    <a:pt x="435077" y="435077"/>
                  </a:lnTo>
                  <a:close/>
                  <a:moveTo>
                    <a:pt x="0" y="217531"/>
                  </a:moveTo>
                  <a:lnTo>
                    <a:pt x="0" y="0"/>
                  </a:lnTo>
                  <a:lnTo>
                    <a:pt x="217539" y="217531"/>
                  </a:lnTo>
                  <a:lnTo>
                    <a:pt x="0" y="217531"/>
                  </a:lnTo>
                  <a:close/>
                  <a:moveTo>
                    <a:pt x="0" y="435072"/>
                  </a:moveTo>
                  <a:lnTo>
                    <a:pt x="0" y="217541"/>
                  </a:lnTo>
                  <a:lnTo>
                    <a:pt x="217539" y="217541"/>
                  </a:lnTo>
                  <a:lnTo>
                    <a:pt x="0" y="435072"/>
                  </a:lnTo>
                  <a:close/>
                </a:path>
              </a:pathLst>
            </a:custGeom>
            <a:grpFill/>
            <a:ln w="27192" cap="flat">
              <a:noFill/>
              <a:prstDash val="solid"/>
              <a:miter/>
            </a:ln>
          </p:spPr>
          <p:txBody>
            <a:bodyPr rtlCol="0" anchor="ctr"/>
            <a:lstStyle/>
            <a:p>
              <a:endParaRPr lang="uk-UA" sz="900">
                <a:solidFill>
                  <a:schemeClr val="bg1"/>
                </a:solidFill>
              </a:endParaRPr>
            </a:p>
          </p:txBody>
        </p:sp>
        <p:sp>
          <p:nvSpPr>
            <p:cNvPr id="62" name="Freeform: Shape 61">
              <a:extLst>
                <a:ext uri="{FF2B5EF4-FFF2-40B4-BE49-F238E27FC236}">
                  <a16:creationId xmlns:a16="http://schemas.microsoft.com/office/drawing/2014/main" id="{FA9E9B9F-3E7F-31CE-1A51-EF0CE315BE96}"/>
                </a:ext>
              </a:extLst>
            </p:cNvPr>
            <p:cNvSpPr/>
            <p:nvPr/>
          </p:nvSpPr>
          <p:spPr>
            <a:xfrm>
              <a:off x="23460039" y="1098754"/>
              <a:ext cx="435077" cy="435077"/>
            </a:xfrm>
            <a:custGeom>
              <a:avLst/>
              <a:gdLst>
                <a:gd name="connsiteX0" fmla="*/ 217539 w 435077"/>
                <a:gd name="connsiteY0" fmla="*/ 435069 h 435077"/>
                <a:gd name="connsiteX1" fmla="*/ 217539 w 435077"/>
                <a:gd name="connsiteY1" fmla="*/ 0 h 435077"/>
                <a:gd name="connsiteX2" fmla="*/ 435077 w 435077"/>
                <a:gd name="connsiteY2" fmla="*/ 217541 h 435077"/>
                <a:gd name="connsiteX3" fmla="*/ 217539 w 435077"/>
                <a:gd name="connsiteY3" fmla="*/ 435069 h 435077"/>
                <a:gd name="connsiteX4" fmla="*/ 0 w 435077"/>
                <a:gd name="connsiteY4" fmla="*/ 435077 h 435077"/>
                <a:gd name="connsiteX5" fmla="*/ 0 w 435077"/>
                <a:gd name="connsiteY5" fmla="*/ 8 h 435077"/>
                <a:gd name="connsiteX6" fmla="*/ 217539 w 435077"/>
                <a:gd name="connsiteY6" fmla="*/ 217547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69"/>
                  </a:moveTo>
                  <a:lnTo>
                    <a:pt x="217539" y="0"/>
                  </a:lnTo>
                  <a:lnTo>
                    <a:pt x="435077" y="217541"/>
                  </a:lnTo>
                  <a:lnTo>
                    <a:pt x="217539" y="435069"/>
                  </a:lnTo>
                  <a:close/>
                  <a:moveTo>
                    <a:pt x="0" y="435077"/>
                  </a:moveTo>
                  <a:lnTo>
                    <a:pt x="0" y="8"/>
                  </a:lnTo>
                  <a:lnTo>
                    <a:pt x="217539" y="217547"/>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63" name="Freeform: Shape 62">
              <a:extLst>
                <a:ext uri="{FF2B5EF4-FFF2-40B4-BE49-F238E27FC236}">
                  <a16:creationId xmlns:a16="http://schemas.microsoft.com/office/drawing/2014/main" id="{8D1D1EF4-DA4C-9C15-8080-D89F19EF4145}"/>
                </a:ext>
              </a:extLst>
            </p:cNvPr>
            <p:cNvSpPr/>
            <p:nvPr/>
          </p:nvSpPr>
          <p:spPr>
            <a:xfrm>
              <a:off x="24330194" y="1098754"/>
              <a:ext cx="435077" cy="435077"/>
            </a:xfrm>
            <a:custGeom>
              <a:avLst/>
              <a:gdLst>
                <a:gd name="connsiteX0" fmla="*/ 435077 w 435077"/>
                <a:gd name="connsiteY0" fmla="*/ 435077 h 435077"/>
                <a:gd name="connsiteX1" fmla="*/ 435077 w 435077"/>
                <a:gd name="connsiteY1" fmla="*/ 0 h 435077"/>
                <a:gd name="connsiteX2" fmla="*/ 217539 w 435077"/>
                <a:gd name="connsiteY2" fmla="*/ 217544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44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44"/>
                  </a:lnTo>
                  <a:lnTo>
                    <a:pt x="435077" y="435077"/>
                  </a:lnTo>
                  <a:close/>
                  <a:moveTo>
                    <a:pt x="0" y="435077"/>
                  </a:moveTo>
                  <a:lnTo>
                    <a:pt x="0" y="3"/>
                  </a:lnTo>
                  <a:lnTo>
                    <a:pt x="217539" y="217544"/>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64" name="Freeform: Shape 63">
              <a:extLst>
                <a:ext uri="{FF2B5EF4-FFF2-40B4-BE49-F238E27FC236}">
                  <a16:creationId xmlns:a16="http://schemas.microsoft.com/office/drawing/2014/main" id="{8157C486-36A3-3284-8570-3B188CC1F700}"/>
                </a:ext>
              </a:extLst>
            </p:cNvPr>
            <p:cNvSpPr/>
            <p:nvPr/>
          </p:nvSpPr>
          <p:spPr>
            <a:xfrm>
              <a:off x="835769" y="5449529"/>
              <a:ext cx="435077" cy="435077"/>
            </a:xfrm>
            <a:custGeom>
              <a:avLst/>
              <a:gdLst>
                <a:gd name="connsiteX0" fmla="*/ 371366 w 435077"/>
                <a:gd name="connsiteY0" fmla="*/ 63712 h 435077"/>
                <a:gd name="connsiteX1" fmla="*/ 435077 w 435077"/>
                <a:gd name="connsiteY1" fmla="*/ 217539 h 435077"/>
                <a:gd name="connsiteX2" fmla="*/ 217702 w 435077"/>
                <a:gd name="connsiteY2" fmla="*/ 217539 h 435077"/>
                <a:gd name="connsiteX3" fmla="*/ 371366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1 w 435077"/>
                <a:gd name="connsiteY7" fmla="*/ 281250 h 435077"/>
                <a:gd name="connsiteX8" fmla="*/ 217375 w 435077"/>
                <a:gd name="connsiteY8" fmla="*/ 217539 h 435077"/>
                <a:gd name="connsiteX9" fmla="*/ 0 w 435077"/>
                <a:gd name="connsiteY9" fmla="*/ 217539 h 435077"/>
                <a:gd name="connsiteX10" fmla="*/ 63711 w 435077"/>
                <a:gd name="connsiteY10" fmla="*/ 63712 h 435077"/>
                <a:gd name="connsiteX11" fmla="*/ 217539 w 435077"/>
                <a:gd name="connsiteY11" fmla="*/ 0 h 435077"/>
                <a:gd name="connsiteX12" fmla="*/ 371366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2"/>
                  </a:moveTo>
                  <a:cubicBezTo>
                    <a:pt x="412154" y="104527"/>
                    <a:pt x="435077" y="159837"/>
                    <a:pt x="435077" y="217539"/>
                  </a:cubicBezTo>
                  <a:lnTo>
                    <a:pt x="217702" y="217539"/>
                  </a:lnTo>
                  <a:cubicBezTo>
                    <a:pt x="275349" y="217593"/>
                    <a:pt x="330604" y="240489"/>
                    <a:pt x="371366" y="281250"/>
                  </a:cubicBezTo>
                  <a:cubicBezTo>
                    <a:pt x="412154" y="322066"/>
                    <a:pt x="435077" y="377375"/>
                    <a:pt x="435077" y="435077"/>
                  </a:cubicBezTo>
                  <a:lnTo>
                    <a:pt x="217539" y="435077"/>
                  </a:lnTo>
                  <a:lnTo>
                    <a:pt x="0" y="435077"/>
                  </a:lnTo>
                  <a:cubicBezTo>
                    <a:pt x="0" y="377375"/>
                    <a:pt x="22923" y="322066"/>
                    <a:pt x="63711" y="281250"/>
                  </a:cubicBezTo>
                  <a:cubicBezTo>
                    <a:pt x="104473" y="240489"/>
                    <a:pt x="159728" y="217593"/>
                    <a:pt x="217375" y="217539"/>
                  </a:cubicBezTo>
                  <a:lnTo>
                    <a:pt x="0" y="217539"/>
                  </a:lnTo>
                  <a:cubicBezTo>
                    <a:pt x="0" y="159837"/>
                    <a:pt x="22923" y="104527"/>
                    <a:pt x="63711" y="63712"/>
                  </a:cubicBezTo>
                  <a:cubicBezTo>
                    <a:pt x="104500" y="22923"/>
                    <a:pt x="159836" y="0"/>
                    <a:pt x="217539" y="0"/>
                  </a:cubicBezTo>
                  <a:cubicBezTo>
                    <a:pt x="275213" y="0"/>
                    <a:pt x="330550" y="22923"/>
                    <a:pt x="371366" y="63712"/>
                  </a:cubicBezTo>
                  <a:close/>
                </a:path>
              </a:pathLst>
            </a:custGeom>
            <a:grpFill/>
            <a:ln w="27192" cap="flat">
              <a:noFill/>
              <a:prstDash val="solid"/>
              <a:miter/>
            </a:ln>
          </p:spPr>
          <p:txBody>
            <a:bodyPr rtlCol="0" anchor="ctr"/>
            <a:lstStyle/>
            <a:p>
              <a:endParaRPr lang="uk-UA" sz="900">
                <a:solidFill>
                  <a:schemeClr val="bg1"/>
                </a:solidFill>
              </a:endParaRPr>
            </a:p>
          </p:txBody>
        </p:sp>
        <p:sp>
          <p:nvSpPr>
            <p:cNvPr id="65" name="Freeform: Shape 64">
              <a:extLst>
                <a:ext uri="{FF2B5EF4-FFF2-40B4-BE49-F238E27FC236}">
                  <a16:creationId xmlns:a16="http://schemas.microsoft.com/office/drawing/2014/main" id="{622662C1-09BD-8DAA-3BE9-D263F82E4DEA}"/>
                </a:ext>
              </a:extLst>
            </p:cNvPr>
            <p:cNvSpPr/>
            <p:nvPr/>
          </p:nvSpPr>
          <p:spPr>
            <a:xfrm>
              <a:off x="-34398" y="5449529"/>
              <a:ext cx="435090" cy="435077"/>
            </a:xfrm>
            <a:custGeom>
              <a:avLst/>
              <a:gdLst>
                <a:gd name="connsiteX0" fmla="*/ 217525 w 435090"/>
                <a:gd name="connsiteY0" fmla="*/ 0 h 435077"/>
                <a:gd name="connsiteX1" fmla="*/ 0 w 435090"/>
                <a:gd name="connsiteY1" fmla="*/ 0 h 435077"/>
                <a:gd name="connsiteX2" fmla="*/ 0 w 435090"/>
                <a:gd name="connsiteY2" fmla="*/ 217539 h 435077"/>
                <a:gd name="connsiteX3" fmla="*/ 217525 w 435090"/>
                <a:gd name="connsiteY3" fmla="*/ 0 h 435077"/>
                <a:gd name="connsiteX4" fmla="*/ 435091 w 435090"/>
                <a:gd name="connsiteY4" fmla="*/ 0 h 435077"/>
                <a:gd name="connsiteX5" fmla="*/ 435091 w 435090"/>
                <a:gd name="connsiteY5" fmla="*/ 217539 h 435077"/>
                <a:gd name="connsiteX6" fmla="*/ 217552 w 435090"/>
                <a:gd name="connsiteY6" fmla="*/ 0 h 435077"/>
                <a:gd name="connsiteX7" fmla="*/ 435091 w 435090"/>
                <a:gd name="connsiteY7" fmla="*/ 0 h 435077"/>
                <a:gd name="connsiteX8" fmla="*/ 217552 w 435090"/>
                <a:gd name="connsiteY8" fmla="*/ 435077 h 435077"/>
                <a:gd name="connsiteX9" fmla="*/ 435091 w 435090"/>
                <a:gd name="connsiteY9" fmla="*/ 217539 h 435077"/>
                <a:gd name="connsiteX10" fmla="*/ 435091 w 435090"/>
                <a:gd name="connsiteY10" fmla="*/ 435077 h 435077"/>
                <a:gd name="connsiteX11" fmla="*/ 217552 w 435090"/>
                <a:gd name="connsiteY11" fmla="*/ 435077 h 435077"/>
                <a:gd name="connsiteX12" fmla="*/ 217552 w 435090"/>
                <a:gd name="connsiteY12" fmla="*/ 435077 h 435077"/>
                <a:gd name="connsiteX13" fmla="*/ 11 w 435090"/>
                <a:gd name="connsiteY13" fmla="*/ 217539 h 435077"/>
                <a:gd name="connsiteX14" fmla="*/ 11 w 435090"/>
                <a:gd name="connsiteY14" fmla="*/ 435077 h 435077"/>
                <a:gd name="connsiteX15" fmla="*/ 217552 w 435090"/>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90" h="435077">
                  <a:moveTo>
                    <a:pt x="217525" y="0"/>
                  </a:moveTo>
                  <a:lnTo>
                    <a:pt x="0" y="0"/>
                  </a:lnTo>
                  <a:lnTo>
                    <a:pt x="0" y="217539"/>
                  </a:lnTo>
                  <a:lnTo>
                    <a:pt x="217525" y="0"/>
                  </a:lnTo>
                  <a:close/>
                  <a:moveTo>
                    <a:pt x="435091" y="0"/>
                  </a:moveTo>
                  <a:lnTo>
                    <a:pt x="435091" y="217539"/>
                  </a:lnTo>
                  <a:lnTo>
                    <a:pt x="217552" y="0"/>
                  </a:lnTo>
                  <a:lnTo>
                    <a:pt x="435091" y="0"/>
                  </a:lnTo>
                  <a:close/>
                  <a:moveTo>
                    <a:pt x="217552" y="435077"/>
                  </a:moveTo>
                  <a:lnTo>
                    <a:pt x="435091" y="217539"/>
                  </a:lnTo>
                  <a:lnTo>
                    <a:pt x="435091" y="435077"/>
                  </a:lnTo>
                  <a:lnTo>
                    <a:pt x="217552" y="435077"/>
                  </a:lnTo>
                  <a:close/>
                  <a:moveTo>
                    <a:pt x="217552" y="435077"/>
                  </a:moveTo>
                  <a:lnTo>
                    <a:pt x="11" y="217539"/>
                  </a:lnTo>
                  <a:lnTo>
                    <a:pt x="11" y="435077"/>
                  </a:lnTo>
                  <a:lnTo>
                    <a:pt x="217552"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66" name="Freeform: Shape 65">
              <a:extLst>
                <a:ext uri="{FF2B5EF4-FFF2-40B4-BE49-F238E27FC236}">
                  <a16:creationId xmlns:a16="http://schemas.microsoft.com/office/drawing/2014/main" id="{A5325DEA-FEE3-07F3-1C3B-8FC95817AE84}"/>
                </a:ext>
              </a:extLst>
            </p:cNvPr>
            <p:cNvSpPr/>
            <p:nvPr/>
          </p:nvSpPr>
          <p:spPr>
            <a:xfrm>
              <a:off x="1705924" y="544952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67" name="Freeform: Shape 66">
              <a:extLst>
                <a:ext uri="{FF2B5EF4-FFF2-40B4-BE49-F238E27FC236}">
                  <a16:creationId xmlns:a16="http://schemas.microsoft.com/office/drawing/2014/main" id="{81017002-5082-AD1C-2554-EB624FD42997}"/>
                </a:ext>
              </a:extLst>
            </p:cNvPr>
            <p:cNvSpPr/>
            <p:nvPr/>
          </p:nvSpPr>
          <p:spPr>
            <a:xfrm>
              <a:off x="2576106" y="5449529"/>
              <a:ext cx="435077" cy="435077"/>
            </a:xfrm>
            <a:custGeom>
              <a:avLst/>
              <a:gdLst>
                <a:gd name="connsiteX0" fmla="*/ 0 w 435077"/>
                <a:gd name="connsiteY0" fmla="*/ 435077 h 435077"/>
                <a:gd name="connsiteX1" fmla="*/ 217512 w 435077"/>
                <a:gd name="connsiteY1" fmla="*/ 435077 h 435077"/>
                <a:gd name="connsiteX2" fmla="*/ 217512 w 435077"/>
                <a:gd name="connsiteY2" fmla="*/ 217566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66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12" y="435077"/>
                  </a:lnTo>
                  <a:lnTo>
                    <a:pt x="217512" y="217566"/>
                  </a:lnTo>
                  <a:lnTo>
                    <a:pt x="0" y="435077"/>
                  </a:lnTo>
                  <a:close/>
                  <a:moveTo>
                    <a:pt x="217539" y="0"/>
                  </a:moveTo>
                  <a:lnTo>
                    <a:pt x="0" y="0"/>
                  </a:lnTo>
                  <a:lnTo>
                    <a:pt x="217539" y="217539"/>
                  </a:lnTo>
                  <a:lnTo>
                    <a:pt x="217539" y="0"/>
                  </a:lnTo>
                  <a:close/>
                  <a:moveTo>
                    <a:pt x="435077" y="435077"/>
                  </a:moveTo>
                  <a:lnTo>
                    <a:pt x="217539" y="435077"/>
                  </a:lnTo>
                  <a:lnTo>
                    <a:pt x="435077" y="217566"/>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solidFill>
                  <a:schemeClr val="bg1"/>
                </a:solidFill>
              </a:endParaRPr>
            </a:p>
          </p:txBody>
        </p:sp>
        <p:sp>
          <p:nvSpPr>
            <p:cNvPr id="68" name="Freeform: Shape 67">
              <a:extLst>
                <a:ext uri="{FF2B5EF4-FFF2-40B4-BE49-F238E27FC236}">
                  <a16:creationId xmlns:a16="http://schemas.microsoft.com/office/drawing/2014/main" id="{CA0AA150-9135-F781-B8A0-F6233CDB213A}"/>
                </a:ext>
              </a:extLst>
            </p:cNvPr>
            <p:cNvSpPr/>
            <p:nvPr/>
          </p:nvSpPr>
          <p:spPr>
            <a:xfrm>
              <a:off x="4316416" y="5449529"/>
              <a:ext cx="435103" cy="435077"/>
            </a:xfrm>
            <a:custGeom>
              <a:avLst/>
              <a:gdLst>
                <a:gd name="connsiteX0" fmla="*/ 371365 w 435103"/>
                <a:gd name="connsiteY0" fmla="*/ 63712 h 435077"/>
                <a:gd name="connsiteX1" fmla="*/ 435077 w 435103"/>
                <a:gd name="connsiteY1" fmla="*/ 217539 h 435077"/>
                <a:gd name="connsiteX2" fmla="*/ 217729 w 435103"/>
                <a:gd name="connsiteY2" fmla="*/ 217539 h 435077"/>
                <a:gd name="connsiteX3" fmla="*/ 371365 w 435103"/>
                <a:gd name="connsiteY3" fmla="*/ 281250 h 435077"/>
                <a:gd name="connsiteX4" fmla="*/ 435104 w 435103"/>
                <a:gd name="connsiteY4" fmla="*/ 435077 h 435077"/>
                <a:gd name="connsiteX5" fmla="*/ 217565 w 435103"/>
                <a:gd name="connsiteY5" fmla="*/ 435077 h 435077"/>
                <a:gd name="connsiteX6" fmla="*/ 27 w 435103"/>
                <a:gd name="connsiteY6" fmla="*/ 435077 h 435077"/>
                <a:gd name="connsiteX7" fmla="*/ 63739 w 435103"/>
                <a:gd name="connsiteY7" fmla="*/ 281250 h 435077"/>
                <a:gd name="connsiteX8" fmla="*/ 217375 w 435103"/>
                <a:gd name="connsiteY8" fmla="*/ 217539 h 435077"/>
                <a:gd name="connsiteX9" fmla="*/ 0 w 435103"/>
                <a:gd name="connsiteY9" fmla="*/ 217539 h 435077"/>
                <a:gd name="connsiteX10" fmla="*/ 63739 w 435103"/>
                <a:gd name="connsiteY10" fmla="*/ 63712 h 435077"/>
                <a:gd name="connsiteX11" fmla="*/ 217539 w 435103"/>
                <a:gd name="connsiteY11" fmla="*/ 0 h 435077"/>
                <a:gd name="connsiteX12" fmla="*/ 371365 w 435103"/>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3" h="435077">
                  <a:moveTo>
                    <a:pt x="371365" y="63712"/>
                  </a:moveTo>
                  <a:cubicBezTo>
                    <a:pt x="412181" y="104527"/>
                    <a:pt x="435077" y="159837"/>
                    <a:pt x="435077" y="217539"/>
                  </a:cubicBezTo>
                  <a:lnTo>
                    <a:pt x="217729" y="217539"/>
                  </a:lnTo>
                  <a:cubicBezTo>
                    <a:pt x="275349" y="217593"/>
                    <a:pt x="330632" y="240489"/>
                    <a:pt x="371365" y="281250"/>
                  </a:cubicBezTo>
                  <a:cubicBezTo>
                    <a:pt x="412181" y="322066"/>
                    <a:pt x="435104" y="377375"/>
                    <a:pt x="435104" y="435077"/>
                  </a:cubicBezTo>
                  <a:lnTo>
                    <a:pt x="217565" y="435077"/>
                  </a:lnTo>
                  <a:lnTo>
                    <a:pt x="27" y="435077"/>
                  </a:lnTo>
                  <a:cubicBezTo>
                    <a:pt x="27" y="377375"/>
                    <a:pt x="22923" y="322066"/>
                    <a:pt x="63739" y="281250"/>
                  </a:cubicBezTo>
                  <a:cubicBezTo>
                    <a:pt x="104500" y="240489"/>
                    <a:pt x="159755" y="217593"/>
                    <a:pt x="217375" y="217539"/>
                  </a:cubicBezTo>
                  <a:lnTo>
                    <a:pt x="0" y="217539"/>
                  </a:lnTo>
                  <a:cubicBezTo>
                    <a:pt x="0" y="159837"/>
                    <a:pt x="22923" y="104527"/>
                    <a:pt x="63739" y="63712"/>
                  </a:cubicBezTo>
                  <a:cubicBezTo>
                    <a:pt x="104527" y="22923"/>
                    <a:pt x="159864" y="0"/>
                    <a:pt x="217539" y="0"/>
                  </a:cubicBezTo>
                  <a:cubicBezTo>
                    <a:pt x="275240" y="0"/>
                    <a:pt x="330577" y="22923"/>
                    <a:pt x="371365" y="63712"/>
                  </a:cubicBezTo>
                  <a:close/>
                </a:path>
              </a:pathLst>
            </a:custGeom>
            <a:grpFill/>
            <a:ln w="27192" cap="flat">
              <a:noFill/>
              <a:prstDash val="solid"/>
              <a:miter/>
            </a:ln>
          </p:spPr>
          <p:txBody>
            <a:bodyPr rtlCol="0" anchor="ctr"/>
            <a:lstStyle/>
            <a:p>
              <a:endParaRPr lang="uk-UA" sz="900">
                <a:solidFill>
                  <a:schemeClr val="bg1"/>
                </a:solidFill>
              </a:endParaRPr>
            </a:p>
          </p:txBody>
        </p:sp>
        <p:sp>
          <p:nvSpPr>
            <p:cNvPr id="69" name="Freeform: Shape 68">
              <a:extLst>
                <a:ext uri="{FF2B5EF4-FFF2-40B4-BE49-F238E27FC236}">
                  <a16:creationId xmlns:a16="http://schemas.microsoft.com/office/drawing/2014/main" id="{B8BB65E0-A4C8-8C4A-A91D-18DB4B3B63CF}"/>
                </a:ext>
              </a:extLst>
            </p:cNvPr>
            <p:cNvSpPr/>
            <p:nvPr/>
          </p:nvSpPr>
          <p:spPr>
            <a:xfrm>
              <a:off x="3446261" y="5449529"/>
              <a:ext cx="435077" cy="435077"/>
            </a:xfrm>
            <a:custGeom>
              <a:avLst/>
              <a:gdLst>
                <a:gd name="connsiteX0" fmla="*/ 217566 w 435077"/>
                <a:gd name="connsiteY0" fmla="*/ 0 h 435077"/>
                <a:gd name="connsiteX1" fmla="*/ 217539 w 435077"/>
                <a:gd name="connsiteY1" fmla="*/ 0 h 435077"/>
                <a:gd name="connsiteX2" fmla="*/ 27 w 435077"/>
                <a:gd name="connsiteY2" fmla="*/ 0 h 435077"/>
                <a:gd name="connsiteX3" fmla="*/ 27 w 435077"/>
                <a:gd name="connsiteY3" fmla="*/ 217539 h 435077"/>
                <a:gd name="connsiteX4" fmla="*/ 217539 w 435077"/>
                <a:gd name="connsiteY4" fmla="*/ 0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66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66" y="0"/>
                  </a:moveTo>
                  <a:lnTo>
                    <a:pt x="217539" y="0"/>
                  </a:lnTo>
                  <a:lnTo>
                    <a:pt x="27" y="0"/>
                  </a:lnTo>
                  <a:lnTo>
                    <a:pt x="27" y="217539"/>
                  </a:lnTo>
                  <a:lnTo>
                    <a:pt x="217539" y="0"/>
                  </a:lnTo>
                  <a:lnTo>
                    <a:pt x="435077" y="217539"/>
                  </a:lnTo>
                  <a:lnTo>
                    <a:pt x="217539" y="435077"/>
                  </a:lnTo>
                  <a:lnTo>
                    <a:pt x="0" y="217539"/>
                  </a:lnTo>
                  <a:lnTo>
                    <a:pt x="0" y="435077"/>
                  </a:lnTo>
                  <a:lnTo>
                    <a:pt x="217539" y="435077"/>
                  </a:lnTo>
                  <a:lnTo>
                    <a:pt x="435077" y="435077"/>
                  </a:lnTo>
                  <a:lnTo>
                    <a:pt x="435077" y="217539"/>
                  </a:lnTo>
                  <a:lnTo>
                    <a:pt x="435077" y="0"/>
                  </a:lnTo>
                  <a:lnTo>
                    <a:pt x="217566" y="0"/>
                  </a:lnTo>
                  <a:close/>
                </a:path>
              </a:pathLst>
            </a:custGeom>
            <a:grpFill/>
            <a:ln w="27192" cap="flat">
              <a:noFill/>
              <a:prstDash val="solid"/>
              <a:miter/>
            </a:ln>
          </p:spPr>
          <p:txBody>
            <a:bodyPr rtlCol="0" anchor="ctr"/>
            <a:lstStyle/>
            <a:p>
              <a:endParaRPr lang="uk-UA" sz="900">
                <a:solidFill>
                  <a:schemeClr val="bg1"/>
                </a:solidFill>
              </a:endParaRPr>
            </a:p>
          </p:txBody>
        </p:sp>
        <p:sp>
          <p:nvSpPr>
            <p:cNvPr id="70" name="Freeform: Shape 69">
              <a:extLst>
                <a:ext uri="{FF2B5EF4-FFF2-40B4-BE49-F238E27FC236}">
                  <a16:creationId xmlns:a16="http://schemas.microsoft.com/office/drawing/2014/main" id="{E029D127-9735-F24A-E557-03C7101EA33F}"/>
                </a:ext>
              </a:extLst>
            </p:cNvPr>
            <p:cNvSpPr/>
            <p:nvPr/>
          </p:nvSpPr>
          <p:spPr>
            <a:xfrm>
              <a:off x="5186597" y="5449529"/>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0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39 h 435077"/>
                <a:gd name="connsiteX9" fmla="*/ 435077 w 435077"/>
                <a:gd name="connsiteY9" fmla="*/ 217539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0"/>
                  </a:lnTo>
                  <a:lnTo>
                    <a:pt x="435077" y="217539"/>
                  </a:lnTo>
                  <a:lnTo>
                    <a:pt x="435077" y="217539"/>
                  </a:lnTo>
                  <a:lnTo>
                    <a:pt x="435077" y="217539"/>
                  </a:lnTo>
                  <a:lnTo>
                    <a:pt x="435077" y="217539"/>
                  </a:lnTo>
                  <a:lnTo>
                    <a:pt x="435077" y="217539"/>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71" name="Freeform: Shape 70">
              <a:extLst>
                <a:ext uri="{FF2B5EF4-FFF2-40B4-BE49-F238E27FC236}">
                  <a16:creationId xmlns:a16="http://schemas.microsoft.com/office/drawing/2014/main" id="{9534F35C-01CD-9AE0-D6DF-3E82206A10A7}"/>
                </a:ext>
              </a:extLst>
            </p:cNvPr>
            <p:cNvSpPr/>
            <p:nvPr/>
          </p:nvSpPr>
          <p:spPr>
            <a:xfrm>
              <a:off x="6056752" y="5449529"/>
              <a:ext cx="435077" cy="435077"/>
            </a:xfrm>
            <a:custGeom>
              <a:avLst/>
              <a:gdLst>
                <a:gd name="connsiteX0" fmla="*/ 0 w 435077"/>
                <a:gd name="connsiteY0" fmla="*/ 435077 h 435077"/>
                <a:gd name="connsiteX1" fmla="*/ 217539 w 435077"/>
                <a:gd name="connsiteY1" fmla="*/ 435077 h 435077"/>
                <a:gd name="connsiteX2" fmla="*/ 217539 w 435077"/>
                <a:gd name="connsiteY2" fmla="*/ 217566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66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66"/>
                  </a:lnTo>
                  <a:lnTo>
                    <a:pt x="0" y="435077"/>
                  </a:lnTo>
                  <a:close/>
                  <a:moveTo>
                    <a:pt x="217539" y="0"/>
                  </a:moveTo>
                  <a:lnTo>
                    <a:pt x="0" y="0"/>
                  </a:lnTo>
                  <a:lnTo>
                    <a:pt x="217539" y="217539"/>
                  </a:lnTo>
                  <a:lnTo>
                    <a:pt x="217539" y="0"/>
                  </a:lnTo>
                  <a:close/>
                  <a:moveTo>
                    <a:pt x="435077" y="435077"/>
                  </a:moveTo>
                  <a:lnTo>
                    <a:pt x="217539" y="435077"/>
                  </a:lnTo>
                  <a:lnTo>
                    <a:pt x="435077" y="217566"/>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solidFill>
                  <a:schemeClr val="bg1"/>
                </a:solidFill>
              </a:endParaRPr>
            </a:p>
          </p:txBody>
        </p:sp>
        <p:sp>
          <p:nvSpPr>
            <p:cNvPr id="72" name="Freeform: Shape 71">
              <a:extLst>
                <a:ext uri="{FF2B5EF4-FFF2-40B4-BE49-F238E27FC236}">
                  <a16:creationId xmlns:a16="http://schemas.microsoft.com/office/drawing/2014/main" id="{AE32244E-88CD-7D0B-6D14-91FF93F1A341}"/>
                </a:ext>
              </a:extLst>
            </p:cNvPr>
            <p:cNvSpPr/>
            <p:nvPr/>
          </p:nvSpPr>
          <p:spPr>
            <a:xfrm>
              <a:off x="7797062" y="5449529"/>
              <a:ext cx="435104" cy="435077"/>
            </a:xfrm>
            <a:custGeom>
              <a:avLst/>
              <a:gdLst>
                <a:gd name="connsiteX0" fmla="*/ 371366 w 435104"/>
                <a:gd name="connsiteY0" fmla="*/ 63712 h 435077"/>
                <a:gd name="connsiteX1" fmla="*/ 435077 w 435104"/>
                <a:gd name="connsiteY1" fmla="*/ 217539 h 435077"/>
                <a:gd name="connsiteX2" fmla="*/ 217730 w 435104"/>
                <a:gd name="connsiteY2" fmla="*/ 217539 h 435077"/>
                <a:gd name="connsiteX3" fmla="*/ 371366 w 435104"/>
                <a:gd name="connsiteY3" fmla="*/ 281250 h 435077"/>
                <a:gd name="connsiteX4" fmla="*/ 435105 w 435104"/>
                <a:gd name="connsiteY4" fmla="*/ 435077 h 435077"/>
                <a:gd name="connsiteX5" fmla="*/ 217566 w 435104"/>
                <a:gd name="connsiteY5" fmla="*/ 435077 h 435077"/>
                <a:gd name="connsiteX6" fmla="*/ 27 w 435104"/>
                <a:gd name="connsiteY6" fmla="*/ 435077 h 435077"/>
                <a:gd name="connsiteX7" fmla="*/ 63739 w 435104"/>
                <a:gd name="connsiteY7" fmla="*/ 281250 h 435077"/>
                <a:gd name="connsiteX8" fmla="*/ 217376 w 435104"/>
                <a:gd name="connsiteY8" fmla="*/ 217539 h 435077"/>
                <a:gd name="connsiteX9" fmla="*/ 0 w 435104"/>
                <a:gd name="connsiteY9" fmla="*/ 217539 h 435077"/>
                <a:gd name="connsiteX10" fmla="*/ 63739 w 435104"/>
                <a:gd name="connsiteY10" fmla="*/ 63712 h 435077"/>
                <a:gd name="connsiteX11" fmla="*/ 217539 w 435104"/>
                <a:gd name="connsiteY11" fmla="*/ 0 h 435077"/>
                <a:gd name="connsiteX12" fmla="*/ 371366 w 435104"/>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4" h="435077">
                  <a:moveTo>
                    <a:pt x="371366" y="63712"/>
                  </a:moveTo>
                  <a:cubicBezTo>
                    <a:pt x="412182" y="104527"/>
                    <a:pt x="435077" y="159837"/>
                    <a:pt x="435077" y="217539"/>
                  </a:cubicBezTo>
                  <a:lnTo>
                    <a:pt x="217730" y="217539"/>
                  </a:lnTo>
                  <a:cubicBezTo>
                    <a:pt x="275350" y="217593"/>
                    <a:pt x="330632" y="240489"/>
                    <a:pt x="371366" y="281250"/>
                  </a:cubicBezTo>
                  <a:cubicBezTo>
                    <a:pt x="412182" y="322066"/>
                    <a:pt x="435105" y="377375"/>
                    <a:pt x="435105" y="435077"/>
                  </a:cubicBezTo>
                  <a:lnTo>
                    <a:pt x="217566" y="435077"/>
                  </a:lnTo>
                  <a:lnTo>
                    <a:pt x="27" y="435077"/>
                  </a:lnTo>
                  <a:cubicBezTo>
                    <a:pt x="27" y="377375"/>
                    <a:pt x="22924" y="322066"/>
                    <a:pt x="63739" y="281250"/>
                  </a:cubicBezTo>
                  <a:cubicBezTo>
                    <a:pt x="104501" y="240489"/>
                    <a:pt x="159755" y="217593"/>
                    <a:pt x="217376" y="217539"/>
                  </a:cubicBezTo>
                  <a:lnTo>
                    <a:pt x="0" y="217539"/>
                  </a:lnTo>
                  <a:cubicBezTo>
                    <a:pt x="0" y="159837"/>
                    <a:pt x="22924" y="104527"/>
                    <a:pt x="63739" y="63712"/>
                  </a:cubicBezTo>
                  <a:cubicBezTo>
                    <a:pt x="104527" y="22923"/>
                    <a:pt x="159864" y="0"/>
                    <a:pt x="217539" y="0"/>
                  </a:cubicBezTo>
                  <a:cubicBezTo>
                    <a:pt x="275241" y="0"/>
                    <a:pt x="330578" y="22923"/>
                    <a:pt x="371366" y="63712"/>
                  </a:cubicBezTo>
                  <a:close/>
                </a:path>
              </a:pathLst>
            </a:custGeom>
            <a:grpFill/>
            <a:ln w="27192" cap="flat">
              <a:noFill/>
              <a:prstDash val="solid"/>
              <a:miter/>
            </a:ln>
          </p:spPr>
          <p:txBody>
            <a:bodyPr rtlCol="0" anchor="ctr"/>
            <a:lstStyle/>
            <a:p>
              <a:endParaRPr lang="uk-UA" sz="900">
                <a:solidFill>
                  <a:schemeClr val="bg1"/>
                </a:solidFill>
              </a:endParaRPr>
            </a:p>
          </p:txBody>
        </p:sp>
        <p:sp>
          <p:nvSpPr>
            <p:cNvPr id="73" name="Freeform: Shape 72">
              <a:extLst>
                <a:ext uri="{FF2B5EF4-FFF2-40B4-BE49-F238E27FC236}">
                  <a16:creationId xmlns:a16="http://schemas.microsoft.com/office/drawing/2014/main" id="{70632FBD-73AF-0CD4-B847-E8DE05B5AFEB}"/>
                </a:ext>
              </a:extLst>
            </p:cNvPr>
            <p:cNvSpPr/>
            <p:nvPr/>
          </p:nvSpPr>
          <p:spPr>
            <a:xfrm>
              <a:off x="6926907" y="544952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solidFill>
                  <a:schemeClr val="bg1"/>
                </a:solidFill>
              </a:endParaRPr>
            </a:p>
          </p:txBody>
        </p:sp>
        <p:sp>
          <p:nvSpPr>
            <p:cNvPr id="74" name="Freeform: Shape 73">
              <a:extLst>
                <a:ext uri="{FF2B5EF4-FFF2-40B4-BE49-F238E27FC236}">
                  <a16:creationId xmlns:a16="http://schemas.microsoft.com/office/drawing/2014/main" id="{E7DC4D63-8803-0B05-2D5D-29CA15607E2B}"/>
                </a:ext>
              </a:extLst>
            </p:cNvPr>
            <p:cNvSpPr/>
            <p:nvPr/>
          </p:nvSpPr>
          <p:spPr>
            <a:xfrm>
              <a:off x="8667217" y="5449529"/>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0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39 h 435077"/>
                <a:gd name="connsiteX9" fmla="*/ 435077 w 435077"/>
                <a:gd name="connsiteY9" fmla="*/ 217539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0"/>
                  </a:lnTo>
                  <a:lnTo>
                    <a:pt x="435077" y="217539"/>
                  </a:lnTo>
                  <a:lnTo>
                    <a:pt x="435077" y="217539"/>
                  </a:lnTo>
                  <a:lnTo>
                    <a:pt x="435077" y="217539"/>
                  </a:lnTo>
                  <a:lnTo>
                    <a:pt x="435077" y="217539"/>
                  </a:lnTo>
                  <a:lnTo>
                    <a:pt x="435077" y="217539"/>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75" name="Freeform: Shape 74">
              <a:extLst>
                <a:ext uri="{FF2B5EF4-FFF2-40B4-BE49-F238E27FC236}">
                  <a16:creationId xmlns:a16="http://schemas.microsoft.com/office/drawing/2014/main" id="{D685DBD6-F01A-958A-59AC-B88C0932A560}"/>
                </a:ext>
              </a:extLst>
            </p:cNvPr>
            <p:cNvSpPr/>
            <p:nvPr/>
          </p:nvSpPr>
          <p:spPr>
            <a:xfrm>
              <a:off x="9537399" y="5449529"/>
              <a:ext cx="435077" cy="435077"/>
            </a:xfrm>
            <a:custGeom>
              <a:avLst/>
              <a:gdLst>
                <a:gd name="connsiteX0" fmla="*/ 0 w 435077"/>
                <a:gd name="connsiteY0" fmla="*/ 435077 h 435077"/>
                <a:gd name="connsiteX1" fmla="*/ 217511 w 435077"/>
                <a:gd name="connsiteY1" fmla="*/ 435077 h 435077"/>
                <a:gd name="connsiteX2" fmla="*/ 217511 w 435077"/>
                <a:gd name="connsiteY2" fmla="*/ 217539 h 435077"/>
                <a:gd name="connsiteX3" fmla="*/ 0 w 435077"/>
                <a:gd name="connsiteY3" fmla="*/ 435077 h 435077"/>
                <a:gd name="connsiteX4" fmla="*/ 217511 w 435077"/>
                <a:gd name="connsiteY4" fmla="*/ 0 h 435077"/>
                <a:gd name="connsiteX5" fmla="*/ 0 w 435077"/>
                <a:gd name="connsiteY5" fmla="*/ 0 h 435077"/>
                <a:gd name="connsiteX6" fmla="*/ 217511 w 435077"/>
                <a:gd name="connsiteY6" fmla="*/ 217539 h 435077"/>
                <a:gd name="connsiteX7" fmla="*/ 217511 w 435077"/>
                <a:gd name="connsiteY7" fmla="*/ 0 h 435077"/>
                <a:gd name="connsiteX8" fmla="*/ 435077 w 435077"/>
                <a:gd name="connsiteY8" fmla="*/ 435077 h 435077"/>
                <a:gd name="connsiteX9" fmla="*/ 217539 w 435077"/>
                <a:gd name="connsiteY9" fmla="*/ 435077 h 435077"/>
                <a:gd name="connsiteX10" fmla="*/ 435077 w 435077"/>
                <a:gd name="connsiteY10" fmla="*/ 217566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11" y="435077"/>
                  </a:lnTo>
                  <a:lnTo>
                    <a:pt x="217511" y="217539"/>
                  </a:lnTo>
                  <a:lnTo>
                    <a:pt x="0" y="435077"/>
                  </a:lnTo>
                  <a:close/>
                  <a:moveTo>
                    <a:pt x="217511" y="0"/>
                  </a:moveTo>
                  <a:lnTo>
                    <a:pt x="0" y="0"/>
                  </a:lnTo>
                  <a:lnTo>
                    <a:pt x="217511" y="217539"/>
                  </a:lnTo>
                  <a:lnTo>
                    <a:pt x="217511" y="0"/>
                  </a:lnTo>
                  <a:close/>
                  <a:moveTo>
                    <a:pt x="435077" y="435077"/>
                  </a:moveTo>
                  <a:lnTo>
                    <a:pt x="217539" y="435077"/>
                  </a:lnTo>
                  <a:lnTo>
                    <a:pt x="435077" y="217566"/>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solidFill>
                  <a:schemeClr val="bg1"/>
                </a:solidFill>
              </a:endParaRPr>
            </a:p>
          </p:txBody>
        </p:sp>
        <p:sp>
          <p:nvSpPr>
            <p:cNvPr id="76" name="Freeform: Shape 75">
              <a:extLst>
                <a:ext uri="{FF2B5EF4-FFF2-40B4-BE49-F238E27FC236}">
                  <a16:creationId xmlns:a16="http://schemas.microsoft.com/office/drawing/2014/main" id="{96DA0AE1-A468-B202-EE4C-3303BA108E2C}"/>
                </a:ext>
              </a:extLst>
            </p:cNvPr>
            <p:cNvSpPr/>
            <p:nvPr/>
          </p:nvSpPr>
          <p:spPr>
            <a:xfrm>
              <a:off x="11277709" y="5449529"/>
              <a:ext cx="435077" cy="435077"/>
            </a:xfrm>
            <a:custGeom>
              <a:avLst/>
              <a:gdLst>
                <a:gd name="connsiteX0" fmla="*/ 371365 w 435077"/>
                <a:gd name="connsiteY0" fmla="*/ 63712 h 435077"/>
                <a:gd name="connsiteX1" fmla="*/ 435077 w 435077"/>
                <a:gd name="connsiteY1" fmla="*/ 217539 h 435077"/>
                <a:gd name="connsiteX2" fmla="*/ 217701 w 435077"/>
                <a:gd name="connsiteY2" fmla="*/ 217539 h 435077"/>
                <a:gd name="connsiteX3" fmla="*/ 371365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0 w 435077"/>
                <a:gd name="connsiteY7" fmla="*/ 281250 h 435077"/>
                <a:gd name="connsiteX8" fmla="*/ 217374 w 435077"/>
                <a:gd name="connsiteY8" fmla="*/ 217539 h 435077"/>
                <a:gd name="connsiteX9" fmla="*/ 0 w 435077"/>
                <a:gd name="connsiteY9" fmla="*/ 217539 h 435077"/>
                <a:gd name="connsiteX10" fmla="*/ 63710 w 435077"/>
                <a:gd name="connsiteY10" fmla="*/ 63712 h 435077"/>
                <a:gd name="connsiteX11" fmla="*/ 217539 w 435077"/>
                <a:gd name="connsiteY11" fmla="*/ 0 h 435077"/>
                <a:gd name="connsiteX12" fmla="*/ 371365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12"/>
                  </a:moveTo>
                  <a:cubicBezTo>
                    <a:pt x="412154" y="104527"/>
                    <a:pt x="435077" y="159837"/>
                    <a:pt x="435077" y="217539"/>
                  </a:cubicBezTo>
                  <a:lnTo>
                    <a:pt x="217701" y="217539"/>
                  </a:lnTo>
                  <a:cubicBezTo>
                    <a:pt x="275349" y="217593"/>
                    <a:pt x="330603" y="240489"/>
                    <a:pt x="371365" y="281250"/>
                  </a:cubicBezTo>
                  <a:cubicBezTo>
                    <a:pt x="412154" y="322066"/>
                    <a:pt x="435077" y="377375"/>
                    <a:pt x="435077" y="435077"/>
                  </a:cubicBezTo>
                  <a:lnTo>
                    <a:pt x="217539" y="435077"/>
                  </a:lnTo>
                  <a:lnTo>
                    <a:pt x="0" y="435077"/>
                  </a:lnTo>
                  <a:cubicBezTo>
                    <a:pt x="0" y="377375"/>
                    <a:pt x="22922" y="322066"/>
                    <a:pt x="63710" y="281250"/>
                  </a:cubicBezTo>
                  <a:cubicBezTo>
                    <a:pt x="104472" y="240489"/>
                    <a:pt x="159727" y="217593"/>
                    <a:pt x="217374" y="217539"/>
                  </a:cubicBezTo>
                  <a:lnTo>
                    <a:pt x="0" y="217539"/>
                  </a:lnTo>
                  <a:cubicBezTo>
                    <a:pt x="0" y="159837"/>
                    <a:pt x="22922" y="104527"/>
                    <a:pt x="63710" y="63712"/>
                  </a:cubicBezTo>
                  <a:cubicBezTo>
                    <a:pt x="104499" y="22923"/>
                    <a:pt x="159836" y="0"/>
                    <a:pt x="217539" y="0"/>
                  </a:cubicBezTo>
                  <a:cubicBezTo>
                    <a:pt x="275239" y="0"/>
                    <a:pt x="330549" y="22923"/>
                    <a:pt x="371365" y="63712"/>
                  </a:cubicBezTo>
                  <a:close/>
                </a:path>
              </a:pathLst>
            </a:custGeom>
            <a:grpFill/>
            <a:ln w="27192" cap="flat">
              <a:noFill/>
              <a:prstDash val="solid"/>
              <a:miter/>
            </a:ln>
          </p:spPr>
          <p:txBody>
            <a:bodyPr rtlCol="0" anchor="ctr"/>
            <a:lstStyle/>
            <a:p>
              <a:endParaRPr lang="uk-UA" sz="900">
                <a:solidFill>
                  <a:schemeClr val="bg1"/>
                </a:solidFill>
              </a:endParaRPr>
            </a:p>
          </p:txBody>
        </p:sp>
        <p:sp>
          <p:nvSpPr>
            <p:cNvPr id="77" name="Freeform: Shape 76">
              <a:extLst>
                <a:ext uri="{FF2B5EF4-FFF2-40B4-BE49-F238E27FC236}">
                  <a16:creationId xmlns:a16="http://schemas.microsoft.com/office/drawing/2014/main" id="{6F810F24-9C79-8C2F-354B-F4699F43840F}"/>
                </a:ext>
              </a:extLst>
            </p:cNvPr>
            <p:cNvSpPr/>
            <p:nvPr/>
          </p:nvSpPr>
          <p:spPr>
            <a:xfrm>
              <a:off x="10407554" y="544952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78" name="Freeform: Shape 77">
              <a:extLst>
                <a:ext uri="{FF2B5EF4-FFF2-40B4-BE49-F238E27FC236}">
                  <a16:creationId xmlns:a16="http://schemas.microsoft.com/office/drawing/2014/main" id="{FB2AEC75-E597-D057-0F44-D88FF3E98117}"/>
                </a:ext>
              </a:extLst>
            </p:cNvPr>
            <p:cNvSpPr/>
            <p:nvPr/>
          </p:nvSpPr>
          <p:spPr>
            <a:xfrm>
              <a:off x="12147836" y="544952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79" name="Freeform: Shape 78">
              <a:extLst>
                <a:ext uri="{FF2B5EF4-FFF2-40B4-BE49-F238E27FC236}">
                  <a16:creationId xmlns:a16="http://schemas.microsoft.com/office/drawing/2014/main" id="{7B45A4F2-1CB9-642A-3CDA-C6CC9472B377}"/>
                </a:ext>
              </a:extLst>
            </p:cNvPr>
            <p:cNvSpPr/>
            <p:nvPr/>
          </p:nvSpPr>
          <p:spPr>
            <a:xfrm>
              <a:off x="13018045" y="5449529"/>
              <a:ext cx="435077" cy="435077"/>
            </a:xfrm>
            <a:custGeom>
              <a:avLst/>
              <a:gdLst>
                <a:gd name="connsiteX0" fmla="*/ 0 w 435077"/>
                <a:gd name="connsiteY0" fmla="*/ 435077 h 435077"/>
                <a:gd name="connsiteX1" fmla="*/ 217539 w 435077"/>
                <a:gd name="connsiteY1" fmla="*/ 435077 h 435077"/>
                <a:gd name="connsiteX2" fmla="*/ 217539 w 435077"/>
                <a:gd name="connsiteY2" fmla="*/ 217566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66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66"/>
                  </a:lnTo>
                  <a:lnTo>
                    <a:pt x="0" y="435077"/>
                  </a:lnTo>
                  <a:close/>
                  <a:moveTo>
                    <a:pt x="217539" y="0"/>
                  </a:moveTo>
                  <a:lnTo>
                    <a:pt x="0" y="0"/>
                  </a:lnTo>
                  <a:lnTo>
                    <a:pt x="217539" y="217539"/>
                  </a:lnTo>
                  <a:lnTo>
                    <a:pt x="217539" y="0"/>
                  </a:lnTo>
                  <a:close/>
                  <a:moveTo>
                    <a:pt x="435077" y="435077"/>
                  </a:moveTo>
                  <a:lnTo>
                    <a:pt x="217539" y="435077"/>
                  </a:lnTo>
                  <a:lnTo>
                    <a:pt x="435077" y="217566"/>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solidFill>
                  <a:schemeClr val="bg1"/>
                </a:solidFill>
              </a:endParaRPr>
            </a:p>
          </p:txBody>
        </p:sp>
        <p:sp>
          <p:nvSpPr>
            <p:cNvPr id="80" name="Freeform: Shape 79">
              <a:extLst>
                <a:ext uri="{FF2B5EF4-FFF2-40B4-BE49-F238E27FC236}">
                  <a16:creationId xmlns:a16="http://schemas.microsoft.com/office/drawing/2014/main" id="{078D8F70-0200-1DDB-7402-58417AA6770F}"/>
                </a:ext>
              </a:extLst>
            </p:cNvPr>
            <p:cNvSpPr/>
            <p:nvPr/>
          </p:nvSpPr>
          <p:spPr>
            <a:xfrm>
              <a:off x="14758382" y="5449529"/>
              <a:ext cx="435077" cy="435077"/>
            </a:xfrm>
            <a:custGeom>
              <a:avLst/>
              <a:gdLst>
                <a:gd name="connsiteX0" fmla="*/ 371367 w 435077"/>
                <a:gd name="connsiteY0" fmla="*/ 63712 h 435077"/>
                <a:gd name="connsiteX1" fmla="*/ 435077 w 435077"/>
                <a:gd name="connsiteY1" fmla="*/ 217539 h 435077"/>
                <a:gd name="connsiteX2" fmla="*/ 217703 w 435077"/>
                <a:gd name="connsiteY2" fmla="*/ 217539 h 435077"/>
                <a:gd name="connsiteX3" fmla="*/ 371367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7376 w 435077"/>
                <a:gd name="connsiteY8" fmla="*/ 217539 h 435077"/>
                <a:gd name="connsiteX9" fmla="*/ 0 w 435077"/>
                <a:gd name="connsiteY9" fmla="*/ 217539 h 435077"/>
                <a:gd name="connsiteX10" fmla="*/ 63712 w 435077"/>
                <a:gd name="connsiteY10" fmla="*/ 63712 h 435077"/>
                <a:gd name="connsiteX11" fmla="*/ 217539 w 435077"/>
                <a:gd name="connsiteY11" fmla="*/ 0 h 435077"/>
                <a:gd name="connsiteX12" fmla="*/ 371367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7" y="63712"/>
                  </a:moveTo>
                  <a:cubicBezTo>
                    <a:pt x="412155" y="104527"/>
                    <a:pt x="435077" y="159837"/>
                    <a:pt x="435077" y="217539"/>
                  </a:cubicBezTo>
                  <a:lnTo>
                    <a:pt x="217703" y="217539"/>
                  </a:lnTo>
                  <a:cubicBezTo>
                    <a:pt x="275351" y="217593"/>
                    <a:pt x="330605" y="240489"/>
                    <a:pt x="371367" y="281250"/>
                  </a:cubicBezTo>
                  <a:cubicBezTo>
                    <a:pt x="412155" y="322066"/>
                    <a:pt x="435077" y="377375"/>
                    <a:pt x="435077" y="435077"/>
                  </a:cubicBezTo>
                  <a:lnTo>
                    <a:pt x="217539" y="435077"/>
                  </a:lnTo>
                  <a:lnTo>
                    <a:pt x="0" y="435077"/>
                  </a:lnTo>
                  <a:cubicBezTo>
                    <a:pt x="0" y="377375"/>
                    <a:pt x="22924" y="322066"/>
                    <a:pt x="63712" y="281250"/>
                  </a:cubicBezTo>
                  <a:cubicBezTo>
                    <a:pt x="104474" y="240489"/>
                    <a:pt x="159728" y="217593"/>
                    <a:pt x="217376" y="217539"/>
                  </a:cubicBezTo>
                  <a:lnTo>
                    <a:pt x="0" y="217539"/>
                  </a:lnTo>
                  <a:cubicBezTo>
                    <a:pt x="0" y="159837"/>
                    <a:pt x="22924" y="104527"/>
                    <a:pt x="63712" y="63712"/>
                  </a:cubicBezTo>
                  <a:cubicBezTo>
                    <a:pt x="104501" y="22923"/>
                    <a:pt x="159836" y="0"/>
                    <a:pt x="217539" y="0"/>
                  </a:cubicBezTo>
                  <a:cubicBezTo>
                    <a:pt x="275241" y="0"/>
                    <a:pt x="330550" y="22923"/>
                    <a:pt x="371367" y="63712"/>
                  </a:cubicBezTo>
                  <a:close/>
                </a:path>
              </a:pathLst>
            </a:custGeom>
            <a:grpFill/>
            <a:ln w="27192" cap="flat">
              <a:noFill/>
              <a:prstDash val="solid"/>
              <a:miter/>
            </a:ln>
          </p:spPr>
          <p:txBody>
            <a:bodyPr rtlCol="0" anchor="ctr"/>
            <a:lstStyle/>
            <a:p>
              <a:endParaRPr lang="uk-UA" sz="900">
                <a:solidFill>
                  <a:schemeClr val="bg1"/>
                </a:solidFill>
              </a:endParaRPr>
            </a:p>
          </p:txBody>
        </p:sp>
        <p:sp>
          <p:nvSpPr>
            <p:cNvPr id="81" name="Freeform: Shape 80">
              <a:extLst>
                <a:ext uri="{FF2B5EF4-FFF2-40B4-BE49-F238E27FC236}">
                  <a16:creationId xmlns:a16="http://schemas.microsoft.com/office/drawing/2014/main" id="{F235B954-2D0F-5481-D6A0-5BB4B1D73BD9}"/>
                </a:ext>
              </a:extLst>
            </p:cNvPr>
            <p:cNvSpPr/>
            <p:nvPr/>
          </p:nvSpPr>
          <p:spPr>
            <a:xfrm>
              <a:off x="13888200" y="5449529"/>
              <a:ext cx="435077" cy="435077"/>
            </a:xfrm>
            <a:custGeom>
              <a:avLst/>
              <a:gdLst>
                <a:gd name="connsiteX0" fmla="*/ 217565 w 435077"/>
                <a:gd name="connsiteY0" fmla="*/ 0 h 435077"/>
                <a:gd name="connsiteX1" fmla="*/ 217539 w 435077"/>
                <a:gd name="connsiteY1" fmla="*/ 0 h 435077"/>
                <a:gd name="connsiteX2" fmla="*/ 27 w 435077"/>
                <a:gd name="connsiteY2" fmla="*/ 0 h 435077"/>
                <a:gd name="connsiteX3" fmla="*/ 27 w 435077"/>
                <a:gd name="connsiteY3" fmla="*/ 217539 h 435077"/>
                <a:gd name="connsiteX4" fmla="*/ 217565 w 435077"/>
                <a:gd name="connsiteY4" fmla="*/ 0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65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65" y="0"/>
                  </a:moveTo>
                  <a:lnTo>
                    <a:pt x="217539" y="0"/>
                  </a:lnTo>
                  <a:lnTo>
                    <a:pt x="27" y="0"/>
                  </a:lnTo>
                  <a:lnTo>
                    <a:pt x="27" y="217539"/>
                  </a:lnTo>
                  <a:lnTo>
                    <a:pt x="217565" y="0"/>
                  </a:lnTo>
                  <a:lnTo>
                    <a:pt x="435077" y="217539"/>
                  </a:lnTo>
                  <a:lnTo>
                    <a:pt x="217539" y="435077"/>
                  </a:lnTo>
                  <a:lnTo>
                    <a:pt x="0" y="217539"/>
                  </a:lnTo>
                  <a:lnTo>
                    <a:pt x="0" y="435077"/>
                  </a:lnTo>
                  <a:lnTo>
                    <a:pt x="217539" y="435077"/>
                  </a:lnTo>
                  <a:lnTo>
                    <a:pt x="435077" y="435077"/>
                  </a:lnTo>
                  <a:lnTo>
                    <a:pt x="435077" y="217539"/>
                  </a:lnTo>
                  <a:lnTo>
                    <a:pt x="435077" y="0"/>
                  </a:lnTo>
                  <a:lnTo>
                    <a:pt x="217565" y="0"/>
                  </a:lnTo>
                  <a:close/>
                </a:path>
              </a:pathLst>
            </a:custGeom>
            <a:grpFill/>
            <a:ln w="27192" cap="flat">
              <a:noFill/>
              <a:prstDash val="solid"/>
              <a:miter/>
            </a:ln>
          </p:spPr>
          <p:txBody>
            <a:bodyPr rtlCol="0" anchor="ctr"/>
            <a:lstStyle/>
            <a:p>
              <a:endParaRPr lang="uk-UA" sz="900">
                <a:solidFill>
                  <a:schemeClr val="bg1"/>
                </a:solidFill>
              </a:endParaRPr>
            </a:p>
          </p:txBody>
        </p:sp>
        <p:sp>
          <p:nvSpPr>
            <p:cNvPr id="82" name="Freeform: Shape 81">
              <a:extLst>
                <a:ext uri="{FF2B5EF4-FFF2-40B4-BE49-F238E27FC236}">
                  <a16:creationId xmlns:a16="http://schemas.microsoft.com/office/drawing/2014/main" id="{6E13BEAB-D1CA-E975-7A17-4A396C307B43}"/>
                </a:ext>
              </a:extLst>
            </p:cNvPr>
            <p:cNvSpPr/>
            <p:nvPr/>
          </p:nvSpPr>
          <p:spPr>
            <a:xfrm>
              <a:off x="15628536" y="5449529"/>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0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39 h 435077"/>
                <a:gd name="connsiteX9" fmla="*/ 435077 w 435077"/>
                <a:gd name="connsiteY9" fmla="*/ 217539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0"/>
                  </a:lnTo>
                  <a:lnTo>
                    <a:pt x="435077" y="217539"/>
                  </a:lnTo>
                  <a:lnTo>
                    <a:pt x="435077" y="217539"/>
                  </a:lnTo>
                  <a:lnTo>
                    <a:pt x="435077" y="217539"/>
                  </a:lnTo>
                  <a:lnTo>
                    <a:pt x="435077" y="217539"/>
                  </a:lnTo>
                  <a:lnTo>
                    <a:pt x="435077" y="217539"/>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83" name="Freeform: Shape 82">
              <a:extLst>
                <a:ext uri="{FF2B5EF4-FFF2-40B4-BE49-F238E27FC236}">
                  <a16:creationId xmlns:a16="http://schemas.microsoft.com/office/drawing/2014/main" id="{390C851E-41FB-50A5-3BB1-C37D7FF32B16}"/>
                </a:ext>
              </a:extLst>
            </p:cNvPr>
            <p:cNvSpPr/>
            <p:nvPr/>
          </p:nvSpPr>
          <p:spPr>
            <a:xfrm>
              <a:off x="16498719" y="5449529"/>
              <a:ext cx="435077" cy="435077"/>
            </a:xfrm>
            <a:custGeom>
              <a:avLst/>
              <a:gdLst>
                <a:gd name="connsiteX0" fmla="*/ 0 w 435077"/>
                <a:gd name="connsiteY0" fmla="*/ 435077 h 435077"/>
                <a:gd name="connsiteX1" fmla="*/ 217510 w 435077"/>
                <a:gd name="connsiteY1" fmla="*/ 435077 h 435077"/>
                <a:gd name="connsiteX2" fmla="*/ 217510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66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10" y="435077"/>
                  </a:lnTo>
                  <a:lnTo>
                    <a:pt x="217510" y="217539"/>
                  </a:lnTo>
                  <a:lnTo>
                    <a:pt x="0" y="435077"/>
                  </a:lnTo>
                  <a:close/>
                  <a:moveTo>
                    <a:pt x="217539" y="0"/>
                  </a:moveTo>
                  <a:lnTo>
                    <a:pt x="0" y="0"/>
                  </a:lnTo>
                  <a:lnTo>
                    <a:pt x="217539" y="217539"/>
                  </a:lnTo>
                  <a:lnTo>
                    <a:pt x="217539" y="0"/>
                  </a:lnTo>
                  <a:close/>
                  <a:moveTo>
                    <a:pt x="435077" y="435077"/>
                  </a:moveTo>
                  <a:lnTo>
                    <a:pt x="217539" y="435077"/>
                  </a:lnTo>
                  <a:lnTo>
                    <a:pt x="435077" y="217566"/>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solidFill>
                  <a:schemeClr val="bg1"/>
                </a:solidFill>
              </a:endParaRPr>
            </a:p>
          </p:txBody>
        </p:sp>
        <p:sp>
          <p:nvSpPr>
            <p:cNvPr id="84" name="Freeform: Shape 83">
              <a:extLst>
                <a:ext uri="{FF2B5EF4-FFF2-40B4-BE49-F238E27FC236}">
                  <a16:creationId xmlns:a16="http://schemas.microsoft.com/office/drawing/2014/main" id="{08791213-613C-C3C7-5FA3-E6BBE301DC11}"/>
                </a:ext>
              </a:extLst>
            </p:cNvPr>
            <p:cNvSpPr/>
            <p:nvPr/>
          </p:nvSpPr>
          <p:spPr>
            <a:xfrm>
              <a:off x="18239029" y="5449529"/>
              <a:ext cx="435077" cy="435077"/>
            </a:xfrm>
            <a:custGeom>
              <a:avLst/>
              <a:gdLst>
                <a:gd name="connsiteX0" fmla="*/ 371365 w 435077"/>
                <a:gd name="connsiteY0" fmla="*/ 63712 h 435077"/>
                <a:gd name="connsiteX1" fmla="*/ 435077 w 435077"/>
                <a:gd name="connsiteY1" fmla="*/ 217539 h 435077"/>
                <a:gd name="connsiteX2" fmla="*/ 217701 w 435077"/>
                <a:gd name="connsiteY2" fmla="*/ 217539 h 435077"/>
                <a:gd name="connsiteX3" fmla="*/ 371365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0 w 435077"/>
                <a:gd name="connsiteY7" fmla="*/ 281250 h 435077"/>
                <a:gd name="connsiteX8" fmla="*/ 217374 w 435077"/>
                <a:gd name="connsiteY8" fmla="*/ 217539 h 435077"/>
                <a:gd name="connsiteX9" fmla="*/ 0 w 435077"/>
                <a:gd name="connsiteY9" fmla="*/ 217539 h 435077"/>
                <a:gd name="connsiteX10" fmla="*/ 63710 w 435077"/>
                <a:gd name="connsiteY10" fmla="*/ 63712 h 435077"/>
                <a:gd name="connsiteX11" fmla="*/ 217539 w 435077"/>
                <a:gd name="connsiteY11" fmla="*/ 0 h 435077"/>
                <a:gd name="connsiteX12" fmla="*/ 371365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12"/>
                  </a:moveTo>
                  <a:cubicBezTo>
                    <a:pt x="412154" y="104527"/>
                    <a:pt x="435077" y="159837"/>
                    <a:pt x="435077" y="217539"/>
                  </a:cubicBezTo>
                  <a:lnTo>
                    <a:pt x="217701" y="217539"/>
                  </a:lnTo>
                  <a:cubicBezTo>
                    <a:pt x="275349" y="217593"/>
                    <a:pt x="330603" y="240489"/>
                    <a:pt x="371365" y="281250"/>
                  </a:cubicBezTo>
                  <a:cubicBezTo>
                    <a:pt x="412154" y="322066"/>
                    <a:pt x="435077" y="377375"/>
                    <a:pt x="435077" y="435077"/>
                  </a:cubicBezTo>
                  <a:lnTo>
                    <a:pt x="217539" y="435077"/>
                  </a:lnTo>
                  <a:lnTo>
                    <a:pt x="0" y="435077"/>
                  </a:lnTo>
                  <a:cubicBezTo>
                    <a:pt x="0" y="377375"/>
                    <a:pt x="22922" y="322066"/>
                    <a:pt x="63710" y="281250"/>
                  </a:cubicBezTo>
                  <a:cubicBezTo>
                    <a:pt x="104472" y="240489"/>
                    <a:pt x="159755" y="217593"/>
                    <a:pt x="217374" y="217539"/>
                  </a:cubicBezTo>
                  <a:lnTo>
                    <a:pt x="0" y="217539"/>
                  </a:lnTo>
                  <a:cubicBezTo>
                    <a:pt x="0" y="159837"/>
                    <a:pt x="22922" y="104527"/>
                    <a:pt x="63710" y="63712"/>
                  </a:cubicBezTo>
                  <a:cubicBezTo>
                    <a:pt x="104527" y="22923"/>
                    <a:pt x="159836" y="0"/>
                    <a:pt x="217539" y="0"/>
                  </a:cubicBezTo>
                  <a:cubicBezTo>
                    <a:pt x="275241" y="0"/>
                    <a:pt x="330577" y="22923"/>
                    <a:pt x="371365" y="63712"/>
                  </a:cubicBezTo>
                  <a:close/>
                </a:path>
              </a:pathLst>
            </a:custGeom>
            <a:grpFill/>
            <a:ln w="27192" cap="flat">
              <a:noFill/>
              <a:prstDash val="solid"/>
              <a:miter/>
            </a:ln>
          </p:spPr>
          <p:txBody>
            <a:bodyPr rtlCol="0" anchor="ctr"/>
            <a:lstStyle/>
            <a:p>
              <a:endParaRPr lang="uk-UA" sz="900">
                <a:solidFill>
                  <a:schemeClr val="bg1"/>
                </a:solidFill>
              </a:endParaRPr>
            </a:p>
          </p:txBody>
        </p:sp>
        <p:sp>
          <p:nvSpPr>
            <p:cNvPr id="85" name="Freeform: Shape 84">
              <a:extLst>
                <a:ext uri="{FF2B5EF4-FFF2-40B4-BE49-F238E27FC236}">
                  <a16:creationId xmlns:a16="http://schemas.microsoft.com/office/drawing/2014/main" id="{055CD346-B989-591B-0D4A-8E154754DD97}"/>
                </a:ext>
              </a:extLst>
            </p:cNvPr>
            <p:cNvSpPr/>
            <p:nvPr/>
          </p:nvSpPr>
          <p:spPr>
            <a:xfrm>
              <a:off x="17368874" y="544952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86" name="Freeform: Shape 85">
              <a:extLst>
                <a:ext uri="{FF2B5EF4-FFF2-40B4-BE49-F238E27FC236}">
                  <a16:creationId xmlns:a16="http://schemas.microsoft.com/office/drawing/2014/main" id="{68BF27CC-15F5-1997-B7E9-A69E5130D48F}"/>
                </a:ext>
              </a:extLst>
            </p:cNvPr>
            <p:cNvSpPr/>
            <p:nvPr/>
          </p:nvSpPr>
          <p:spPr>
            <a:xfrm>
              <a:off x="19109210" y="544952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51 w 435077"/>
                <a:gd name="connsiteY7" fmla="*/ 217539 h 435077"/>
                <a:gd name="connsiteX8" fmla="*/ 435077 w 435077"/>
                <a:gd name="connsiteY8" fmla="*/ 217539 h 435077"/>
                <a:gd name="connsiteX9" fmla="*/ 435051 w 435077"/>
                <a:gd name="connsiteY9" fmla="*/ 217539 h 435077"/>
                <a:gd name="connsiteX10" fmla="*/ 435077 w 435077"/>
                <a:gd name="connsiteY10" fmla="*/ 217539 h 435077"/>
                <a:gd name="connsiteX11" fmla="*/ 435051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51" y="217539"/>
                  </a:lnTo>
                  <a:lnTo>
                    <a:pt x="435077" y="217539"/>
                  </a:lnTo>
                  <a:lnTo>
                    <a:pt x="435051" y="217539"/>
                  </a:lnTo>
                  <a:lnTo>
                    <a:pt x="435077" y="217539"/>
                  </a:lnTo>
                  <a:lnTo>
                    <a:pt x="435051"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87" name="Freeform: Shape 86">
              <a:extLst>
                <a:ext uri="{FF2B5EF4-FFF2-40B4-BE49-F238E27FC236}">
                  <a16:creationId xmlns:a16="http://schemas.microsoft.com/office/drawing/2014/main" id="{1E15C531-00F2-D786-4354-F57244F1D97E}"/>
                </a:ext>
              </a:extLst>
            </p:cNvPr>
            <p:cNvSpPr/>
            <p:nvPr/>
          </p:nvSpPr>
          <p:spPr>
            <a:xfrm>
              <a:off x="19979365" y="5449529"/>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66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39" y="435077"/>
                  </a:lnTo>
                  <a:lnTo>
                    <a:pt x="435077" y="217566"/>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solidFill>
                  <a:schemeClr val="bg1"/>
                </a:solidFill>
              </a:endParaRPr>
            </a:p>
          </p:txBody>
        </p:sp>
        <p:sp>
          <p:nvSpPr>
            <p:cNvPr id="88" name="Freeform: Shape 87">
              <a:extLst>
                <a:ext uri="{FF2B5EF4-FFF2-40B4-BE49-F238E27FC236}">
                  <a16:creationId xmlns:a16="http://schemas.microsoft.com/office/drawing/2014/main" id="{20957669-16FF-037B-4D47-2697069D1A36}"/>
                </a:ext>
              </a:extLst>
            </p:cNvPr>
            <p:cNvSpPr/>
            <p:nvPr/>
          </p:nvSpPr>
          <p:spPr>
            <a:xfrm>
              <a:off x="21719702" y="5449529"/>
              <a:ext cx="435077" cy="435077"/>
            </a:xfrm>
            <a:custGeom>
              <a:avLst/>
              <a:gdLst>
                <a:gd name="connsiteX0" fmla="*/ 371339 w 435077"/>
                <a:gd name="connsiteY0" fmla="*/ 63712 h 435077"/>
                <a:gd name="connsiteX1" fmla="*/ 435077 w 435077"/>
                <a:gd name="connsiteY1" fmla="*/ 217539 h 435077"/>
                <a:gd name="connsiteX2" fmla="*/ 217703 w 435077"/>
                <a:gd name="connsiteY2" fmla="*/ 217539 h 435077"/>
                <a:gd name="connsiteX3" fmla="*/ 371367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7350 w 435077"/>
                <a:gd name="connsiteY8" fmla="*/ 217539 h 435077"/>
                <a:gd name="connsiteX9" fmla="*/ 0 w 435077"/>
                <a:gd name="connsiteY9" fmla="*/ 217539 h 435077"/>
                <a:gd name="connsiteX10" fmla="*/ 63712 w 435077"/>
                <a:gd name="connsiteY10" fmla="*/ 63712 h 435077"/>
                <a:gd name="connsiteX11" fmla="*/ 217539 w 435077"/>
                <a:gd name="connsiteY11" fmla="*/ 0 h 435077"/>
                <a:gd name="connsiteX12" fmla="*/ 371339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12"/>
                  </a:moveTo>
                  <a:cubicBezTo>
                    <a:pt x="412155" y="104527"/>
                    <a:pt x="435077" y="159837"/>
                    <a:pt x="435077" y="217539"/>
                  </a:cubicBezTo>
                  <a:lnTo>
                    <a:pt x="217703" y="217539"/>
                  </a:lnTo>
                  <a:cubicBezTo>
                    <a:pt x="275322" y="217593"/>
                    <a:pt x="330605" y="240489"/>
                    <a:pt x="371367" y="281250"/>
                  </a:cubicBezTo>
                  <a:cubicBezTo>
                    <a:pt x="412155" y="322066"/>
                    <a:pt x="435077" y="377375"/>
                    <a:pt x="435077" y="435077"/>
                  </a:cubicBezTo>
                  <a:lnTo>
                    <a:pt x="217539" y="435077"/>
                  </a:lnTo>
                  <a:lnTo>
                    <a:pt x="0" y="435077"/>
                  </a:lnTo>
                  <a:cubicBezTo>
                    <a:pt x="0" y="377375"/>
                    <a:pt x="22924" y="322066"/>
                    <a:pt x="63712" y="281250"/>
                  </a:cubicBezTo>
                  <a:cubicBezTo>
                    <a:pt x="104474" y="240489"/>
                    <a:pt x="159728" y="217593"/>
                    <a:pt x="217350" y="217539"/>
                  </a:cubicBezTo>
                  <a:lnTo>
                    <a:pt x="0" y="217539"/>
                  </a:lnTo>
                  <a:cubicBezTo>
                    <a:pt x="0" y="159837"/>
                    <a:pt x="22897" y="104527"/>
                    <a:pt x="63712" y="63712"/>
                  </a:cubicBezTo>
                  <a:cubicBezTo>
                    <a:pt x="104501" y="22923"/>
                    <a:pt x="159838" y="0"/>
                    <a:pt x="217539" y="0"/>
                  </a:cubicBezTo>
                  <a:cubicBezTo>
                    <a:pt x="275215" y="0"/>
                    <a:pt x="330550" y="22923"/>
                    <a:pt x="371339" y="63712"/>
                  </a:cubicBezTo>
                  <a:close/>
                </a:path>
              </a:pathLst>
            </a:custGeom>
            <a:grpFill/>
            <a:ln w="27192" cap="flat">
              <a:noFill/>
              <a:prstDash val="solid"/>
              <a:miter/>
            </a:ln>
          </p:spPr>
          <p:txBody>
            <a:bodyPr rtlCol="0" anchor="ctr"/>
            <a:lstStyle/>
            <a:p>
              <a:endParaRPr lang="uk-UA" sz="900">
                <a:solidFill>
                  <a:schemeClr val="bg1"/>
                </a:solidFill>
              </a:endParaRPr>
            </a:p>
          </p:txBody>
        </p:sp>
        <p:sp>
          <p:nvSpPr>
            <p:cNvPr id="89" name="Freeform: Shape 88">
              <a:extLst>
                <a:ext uri="{FF2B5EF4-FFF2-40B4-BE49-F238E27FC236}">
                  <a16:creationId xmlns:a16="http://schemas.microsoft.com/office/drawing/2014/main" id="{7C222123-5F82-1AC2-1C6C-FA971E177AD0}"/>
                </a:ext>
              </a:extLst>
            </p:cNvPr>
            <p:cNvSpPr/>
            <p:nvPr/>
          </p:nvSpPr>
          <p:spPr>
            <a:xfrm>
              <a:off x="20849520" y="5449529"/>
              <a:ext cx="435103" cy="435077"/>
            </a:xfrm>
            <a:custGeom>
              <a:avLst/>
              <a:gdLst>
                <a:gd name="connsiteX0" fmla="*/ 217539 w 435103"/>
                <a:gd name="connsiteY0" fmla="*/ 0 h 435077"/>
                <a:gd name="connsiteX1" fmla="*/ 0 w 435103"/>
                <a:gd name="connsiteY1" fmla="*/ 0 h 435077"/>
                <a:gd name="connsiteX2" fmla="*/ 0 w 435103"/>
                <a:gd name="connsiteY2" fmla="*/ 217539 h 435077"/>
                <a:gd name="connsiteX3" fmla="*/ 217539 w 435103"/>
                <a:gd name="connsiteY3" fmla="*/ 0 h 435077"/>
                <a:gd name="connsiteX4" fmla="*/ 435104 w 435103"/>
                <a:gd name="connsiteY4" fmla="*/ 0 h 435077"/>
                <a:gd name="connsiteX5" fmla="*/ 435104 w 435103"/>
                <a:gd name="connsiteY5" fmla="*/ 217539 h 435077"/>
                <a:gd name="connsiteX6" fmla="*/ 217565 w 435103"/>
                <a:gd name="connsiteY6" fmla="*/ 0 h 435077"/>
                <a:gd name="connsiteX7" fmla="*/ 435104 w 435103"/>
                <a:gd name="connsiteY7" fmla="*/ 0 h 435077"/>
                <a:gd name="connsiteX8" fmla="*/ 217565 w 435103"/>
                <a:gd name="connsiteY8" fmla="*/ 435077 h 435077"/>
                <a:gd name="connsiteX9" fmla="*/ 435104 w 435103"/>
                <a:gd name="connsiteY9" fmla="*/ 217539 h 435077"/>
                <a:gd name="connsiteX10" fmla="*/ 435104 w 435103"/>
                <a:gd name="connsiteY10" fmla="*/ 435077 h 435077"/>
                <a:gd name="connsiteX11" fmla="*/ 217565 w 435103"/>
                <a:gd name="connsiteY11" fmla="*/ 435077 h 435077"/>
                <a:gd name="connsiteX12" fmla="*/ 217565 w 435103"/>
                <a:gd name="connsiteY12" fmla="*/ 435077 h 435077"/>
                <a:gd name="connsiteX13" fmla="*/ 27 w 435103"/>
                <a:gd name="connsiteY13" fmla="*/ 217539 h 435077"/>
                <a:gd name="connsiteX14" fmla="*/ 27 w 435103"/>
                <a:gd name="connsiteY14" fmla="*/ 435077 h 435077"/>
                <a:gd name="connsiteX15" fmla="*/ 217565 w 435103"/>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3" h="435077">
                  <a:moveTo>
                    <a:pt x="217539" y="0"/>
                  </a:moveTo>
                  <a:lnTo>
                    <a:pt x="0" y="0"/>
                  </a:lnTo>
                  <a:lnTo>
                    <a:pt x="0" y="217539"/>
                  </a:lnTo>
                  <a:lnTo>
                    <a:pt x="217539" y="0"/>
                  </a:lnTo>
                  <a:close/>
                  <a:moveTo>
                    <a:pt x="435104" y="0"/>
                  </a:moveTo>
                  <a:lnTo>
                    <a:pt x="435104" y="217539"/>
                  </a:lnTo>
                  <a:lnTo>
                    <a:pt x="217565" y="0"/>
                  </a:lnTo>
                  <a:lnTo>
                    <a:pt x="435104" y="0"/>
                  </a:lnTo>
                  <a:close/>
                  <a:moveTo>
                    <a:pt x="217565" y="435077"/>
                  </a:moveTo>
                  <a:lnTo>
                    <a:pt x="435104" y="217539"/>
                  </a:lnTo>
                  <a:lnTo>
                    <a:pt x="435104" y="435077"/>
                  </a:lnTo>
                  <a:lnTo>
                    <a:pt x="217565" y="435077"/>
                  </a:lnTo>
                  <a:close/>
                  <a:moveTo>
                    <a:pt x="217565" y="435077"/>
                  </a:moveTo>
                  <a:lnTo>
                    <a:pt x="27" y="217539"/>
                  </a:lnTo>
                  <a:lnTo>
                    <a:pt x="27" y="435077"/>
                  </a:lnTo>
                  <a:lnTo>
                    <a:pt x="217565"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90" name="Freeform: Shape 89">
              <a:extLst>
                <a:ext uri="{FF2B5EF4-FFF2-40B4-BE49-F238E27FC236}">
                  <a16:creationId xmlns:a16="http://schemas.microsoft.com/office/drawing/2014/main" id="{C1EAD1AB-18B6-BBC7-2CCB-30202F6DB8C2}"/>
                </a:ext>
              </a:extLst>
            </p:cNvPr>
            <p:cNvSpPr/>
            <p:nvPr/>
          </p:nvSpPr>
          <p:spPr>
            <a:xfrm>
              <a:off x="22589856" y="544952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91" name="Freeform: Shape 90">
              <a:extLst>
                <a:ext uri="{FF2B5EF4-FFF2-40B4-BE49-F238E27FC236}">
                  <a16:creationId xmlns:a16="http://schemas.microsoft.com/office/drawing/2014/main" id="{D62AA7A6-1DE1-9EFE-F8E4-57EA703B456E}"/>
                </a:ext>
              </a:extLst>
            </p:cNvPr>
            <p:cNvSpPr/>
            <p:nvPr/>
          </p:nvSpPr>
          <p:spPr>
            <a:xfrm>
              <a:off x="23460039" y="5449529"/>
              <a:ext cx="435077" cy="435077"/>
            </a:xfrm>
            <a:custGeom>
              <a:avLst/>
              <a:gdLst>
                <a:gd name="connsiteX0" fmla="*/ 0 w 435077"/>
                <a:gd name="connsiteY0" fmla="*/ 435077 h 435077"/>
                <a:gd name="connsiteX1" fmla="*/ 217510 w 435077"/>
                <a:gd name="connsiteY1" fmla="*/ 435077 h 435077"/>
                <a:gd name="connsiteX2" fmla="*/ 217510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66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10" y="435077"/>
                  </a:lnTo>
                  <a:lnTo>
                    <a:pt x="217510" y="217539"/>
                  </a:lnTo>
                  <a:lnTo>
                    <a:pt x="0" y="435077"/>
                  </a:lnTo>
                  <a:close/>
                  <a:moveTo>
                    <a:pt x="217539" y="0"/>
                  </a:moveTo>
                  <a:lnTo>
                    <a:pt x="0" y="0"/>
                  </a:lnTo>
                  <a:lnTo>
                    <a:pt x="217539" y="217539"/>
                  </a:lnTo>
                  <a:lnTo>
                    <a:pt x="217539" y="0"/>
                  </a:lnTo>
                  <a:close/>
                  <a:moveTo>
                    <a:pt x="435077" y="435077"/>
                  </a:moveTo>
                  <a:lnTo>
                    <a:pt x="217539" y="435077"/>
                  </a:lnTo>
                  <a:lnTo>
                    <a:pt x="435077" y="217566"/>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solidFill>
                  <a:schemeClr val="bg1"/>
                </a:solidFill>
              </a:endParaRPr>
            </a:p>
          </p:txBody>
        </p:sp>
        <p:sp>
          <p:nvSpPr>
            <p:cNvPr id="92" name="Freeform: Shape 91">
              <a:extLst>
                <a:ext uri="{FF2B5EF4-FFF2-40B4-BE49-F238E27FC236}">
                  <a16:creationId xmlns:a16="http://schemas.microsoft.com/office/drawing/2014/main" id="{645DF68C-FB96-ABD2-2BFA-991066C6F511}"/>
                </a:ext>
              </a:extLst>
            </p:cNvPr>
            <p:cNvSpPr/>
            <p:nvPr/>
          </p:nvSpPr>
          <p:spPr>
            <a:xfrm>
              <a:off x="24330194" y="544952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solidFill>
                  <a:schemeClr val="bg1"/>
                </a:solidFill>
              </a:endParaRPr>
            </a:p>
          </p:txBody>
        </p:sp>
        <p:sp>
          <p:nvSpPr>
            <p:cNvPr id="93" name="Freeform: Shape 92">
              <a:extLst>
                <a:ext uri="{FF2B5EF4-FFF2-40B4-BE49-F238E27FC236}">
                  <a16:creationId xmlns:a16="http://schemas.microsoft.com/office/drawing/2014/main" id="{B044E2E6-8015-2E2F-BB96-EE524D88F9EA}"/>
                </a:ext>
              </a:extLst>
            </p:cNvPr>
            <p:cNvSpPr/>
            <p:nvPr/>
          </p:nvSpPr>
          <p:spPr>
            <a:xfrm>
              <a:off x="835769" y="6319683"/>
              <a:ext cx="435077" cy="435077"/>
            </a:xfrm>
            <a:custGeom>
              <a:avLst/>
              <a:gdLst>
                <a:gd name="connsiteX0" fmla="*/ 63711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1 w 435077"/>
                <a:gd name="connsiteY6" fmla="*/ 153827 h 435077"/>
                <a:gd name="connsiteX7" fmla="*/ 63711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1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1" y="153827"/>
                  </a:moveTo>
                  <a:cubicBezTo>
                    <a:pt x="22923" y="113038"/>
                    <a:pt x="0" y="57702"/>
                    <a:pt x="0" y="0"/>
                  </a:cubicBezTo>
                  <a:lnTo>
                    <a:pt x="217539" y="0"/>
                  </a:lnTo>
                  <a:lnTo>
                    <a:pt x="435077" y="0"/>
                  </a:lnTo>
                  <a:cubicBezTo>
                    <a:pt x="435077" y="57702"/>
                    <a:pt x="412154" y="113038"/>
                    <a:pt x="371366" y="153827"/>
                  </a:cubicBezTo>
                  <a:cubicBezTo>
                    <a:pt x="330550" y="194616"/>
                    <a:pt x="275213" y="217539"/>
                    <a:pt x="217539" y="217539"/>
                  </a:cubicBezTo>
                  <a:cubicBezTo>
                    <a:pt x="159836" y="217539"/>
                    <a:pt x="104500" y="194616"/>
                    <a:pt x="63711" y="153827"/>
                  </a:cubicBezTo>
                  <a:close/>
                  <a:moveTo>
                    <a:pt x="63711" y="281250"/>
                  </a:moveTo>
                  <a:cubicBezTo>
                    <a:pt x="22923" y="322066"/>
                    <a:pt x="0" y="377375"/>
                    <a:pt x="0" y="435077"/>
                  </a:cubicBezTo>
                  <a:lnTo>
                    <a:pt x="217539" y="435077"/>
                  </a:lnTo>
                  <a:lnTo>
                    <a:pt x="435077" y="435077"/>
                  </a:lnTo>
                  <a:cubicBezTo>
                    <a:pt x="435077" y="377375"/>
                    <a:pt x="412154" y="322066"/>
                    <a:pt x="371366" y="281250"/>
                  </a:cubicBezTo>
                  <a:cubicBezTo>
                    <a:pt x="330550" y="240462"/>
                    <a:pt x="275213" y="217539"/>
                    <a:pt x="217539" y="217539"/>
                  </a:cubicBezTo>
                  <a:cubicBezTo>
                    <a:pt x="159836" y="217539"/>
                    <a:pt x="104500" y="240462"/>
                    <a:pt x="63711" y="281250"/>
                  </a:cubicBezTo>
                  <a:close/>
                </a:path>
              </a:pathLst>
            </a:custGeom>
            <a:grpFill/>
            <a:ln w="27192" cap="flat">
              <a:noFill/>
              <a:prstDash val="solid"/>
              <a:miter/>
            </a:ln>
          </p:spPr>
          <p:txBody>
            <a:bodyPr rtlCol="0" anchor="ctr"/>
            <a:lstStyle/>
            <a:p>
              <a:endParaRPr lang="uk-UA" sz="900">
                <a:solidFill>
                  <a:schemeClr val="bg1"/>
                </a:solidFill>
              </a:endParaRPr>
            </a:p>
          </p:txBody>
        </p:sp>
        <p:sp>
          <p:nvSpPr>
            <p:cNvPr id="94" name="Freeform: Shape 93">
              <a:extLst>
                <a:ext uri="{FF2B5EF4-FFF2-40B4-BE49-F238E27FC236}">
                  <a16:creationId xmlns:a16="http://schemas.microsoft.com/office/drawing/2014/main" id="{2EF312FF-94D3-60F9-A6C5-9603ECC1B926}"/>
                </a:ext>
              </a:extLst>
            </p:cNvPr>
            <p:cNvSpPr/>
            <p:nvPr/>
          </p:nvSpPr>
          <p:spPr>
            <a:xfrm>
              <a:off x="-34393" y="6319683"/>
              <a:ext cx="435085" cy="435077"/>
            </a:xfrm>
            <a:custGeom>
              <a:avLst/>
              <a:gdLst>
                <a:gd name="connsiteX0" fmla="*/ 435086 w 435085"/>
                <a:gd name="connsiteY0" fmla="*/ 435077 h 435077"/>
                <a:gd name="connsiteX1" fmla="*/ 435086 w 435085"/>
                <a:gd name="connsiteY1" fmla="*/ 0 h 435077"/>
                <a:gd name="connsiteX2" fmla="*/ 217547 w 435085"/>
                <a:gd name="connsiteY2" fmla="*/ 217539 h 435077"/>
                <a:gd name="connsiteX3" fmla="*/ 435086 w 435085"/>
                <a:gd name="connsiteY3" fmla="*/ 435077 h 435077"/>
                <a:gd name="connsiteX4" fmla="*/ 0 w 435085"/>
                <a:gd name="connsiteY4" fmla="*/ 435077 h 435077"/>
                <a:gd name="connsiteX5" fmla="*/ 0 w 435085"/>
                <a:gd name="connsiteY5" fmla="*/ 0 h 435077"/>
                <a:gd name="connsiteX6" fmla="*/ 217520 w 435085"/>
                <a:gd name="connsiteY6" fmla="*/ 217539 h 435077"/>
                <a:gd name="connsiteX7" fmla="*/ 0 w 435085"/>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85" h="435077">
                  <a:moveTo>
                    <a:pt x="435086" y="435077"/>
                  </a:moveTo>
                  <a:lnTo>
                    <a:pt x="435086" y="0"/>
                  </a:lnTo>
                  <a:lnTo>
                    <a:pt x="217547" y="217539"/>
                  </a:lnTo>
                  <a:lnTo>
                    <a:pt x="435086" y="435077"/>
                  </a:lnTo>
                  <a:close/>
                  <a:moveTo>
                    <a:pt x="0" y="435077"/>
                  </a:moveTo>
                  <a:lnTo>
                    <a:pt x="0" y="0"/>
                  </a:lnTo>
                  <a:lnTo>
                    <a:pt x="217520"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95" name="Freeform: Shape 94">
              <a:extLst>
                <a:ext uri="{FF2B5EF4-FFF2-40B4-BE49-F238E27FC236}">
                  <a16:creationId xmlns:a16="http://schemas.microsoft.com/office/drawing/2014/main" id="{E03DA2D7-6B2F-4162-E977-D1C784AF569A}"/>
                </a:ext>
              </a:extLst>
            </p:cNvPr>
            <p:cNvSpPr/>
            <p:nvPr/>
          </p:nvSpPr>
          <p:spPr>
            <a:xfrm>
              <a:off x="1705924" y="6319683"/>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6 w 435077"/>
                <a:gd name="connsiteY3" fmla="*/ 27 h 435077"/>
                <a:gd name="connsiteX4" fmla="*/ 435077 w 435077"/>
                <a:gd name="connsiteY4" fmla="*/ 217539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6" y="27"/>
                  </a:lnTo>
                  <a:lnTo>
                    <a:pt x="435077" y="217539"/>
                  </a:lnTo>
                  <a:lnTo>
                    <a:pt x="217566"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96" name="Freeform: Shape 95">
              <a:extLst>
                <a:ext uri="{FF2B5EF4-FFF2-40B4-BE49-F238E27FC236}">
                  <a16:creationId xmlns:a16="http://schemas.microsoft.com/office/drawing/2014/main" id="{2D63D0D2-F8A2-8F9B-AED3-EC5A8E7A0338}"/>
                </a:ext>
              </a:extLst>
            </p:cNvPr>
            <p:cNvSpPr/>
            <p:nvPr/>
          </p:nvSpPr>
          <p:spPr>
            <a:xfrm>
              <a:off x="2576106" y="6319683"/>
              <a:ext cx="435077" cy="435077"/>
            </a:xfrm>
            <a:custGeom>
              <a:avLst/>
              <a:gdLst>
                <a:gd name="connsiteX0" fmla="*/ 0 w 435077"/>
                <a:gd name="connsiteY0" fmla="*/ 435077 h 435077"/>
                <a:gd name="connsiteX1" fmla="*/ 0 w 435077"/>
                <a:gd name="connsiteY1" fmla="*/ 0 h 435077"/>
                <a:gd name="connsiteX2" fmla="*/ 217512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12"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97" name="Freeform: Shape 96">
              <a:extLst>
                <a:ext uri="{FF2B5EF4-FFF2-40B4-BE49-F238E27FC236}">
                  <a16:creationId xmlns:a16="http://schemas.microsoft.com/office/drawing/2014/main" id="{EF49F7B6-09BF-02F8-F6A9-2B08BACFAF2C}"/>
                </a:ext>
              </a:extLst>
            </p:cNvPr>
            <p:cNvSpPr/>
            <p:nvPr/>
          </p:nvSpPr>
          <p:spPr>
            <a:xfrm>
              <a:off x="4316416" y="6319683"/>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39 w 435077"/>
                <a:gd name="connsiteY6" fmla="*/ 153827 h 435077"/>
                <a:gd name="connsiteX7" fmla="*/ 63739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0 h 435077"/>
                <a:gd name="connsiteX12" fmla="*/ 217539 w 435077"/>
                <a:gd name="connsiteY12" fmla="*/ 217539 h 435077"/>
                <a:gd name="connsiteX13" fmla="*/ 63739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3" y="113038"/>
                    <a:pt x="0" y="57702"/>
                    <a:pt x="0" y="0"/>
                  </a:cubicBezTo>
                  <a:lnTo>
                    <a:pt x="217539" y="0"/>
                  </a:lnTo>
                  <a:lnTo>
                    <a:pt x="435077" y="0"/>
                  </a:lnTo>
                  <a:cubicBezTo>
                    <a:pt x="435077" y="57702"/>
                    <a:pt x="412181" y="113038"/>
                    <a:pt x="371365" y="153827"/>
                  </a:cubicBezTo>
                  <a:cubicBezTo>
                    <a:pt x="330577" y="194616"/>
                    <a:pt x="275240" y="217539"/>
                    <a:pt x="217539" y="217539"/>
                  </a:cubicBezTo>
                  <a:cubicBezTo>
                    <a:pt x="159864" y="217539"/>
                    <a:pt x="104527" y="194616"/>
                    <a:pt x="63739" y="153827"/>
                  </a:cubicBezTo>
                  <a:close/>
                  <a:moveTo>
                    <a:pt x="63739" y="281250"/>
                  </a:moveTo>
                  <a:cubicBezTo>
                    <a:pt x="22923" y="322066"/>
                    <a:pt x="0" y="377375"/>
                    <a:pt x="0" y="435077"/>
                  </a:cubicBezTo>
                  <a:lnTo>
                    <a:pt x="217539" y="435077"/>
                  </a:lnTo>
                  <a:lnTo>
                    <a:pt x="435077" y="435077"/>
                  </a:lnTo>
                  <a:cubicBezTo>
                    <a:pt x="435077" y="377375"/>
                    <a:pt x="412181" y="322066"/>
                    <a:pt x="371365" y="281250"/>
                  </a:cubicBezTo>
                  <a:cubicBezTo>
                    <a:pt x="330577" y="240462"/>
                    <a:pt x="275240" y="217539"/>
                    <a:pt x="217539" y="217539"/>
                  </a:cubicBezTo>
                  <a:cubicBezTo>
                    <a:pt x="159864" y="217539"/>
                    <a:pt x="104527" y="240462"/>
                    <a:pt x="63739" y="281250"/>
                  </a:cubicBezTo>
                  <a:close/>
                </a:path>
              </a:pathLst>
            </a:custGeom>
            <a:grpFill/>
            <a:ln w="27192" cap="flat">
              <a:noFill/>
              <a:prstDash val="solid"/>
              <a:miter/>
            </a:ln>
          </p:spPr>
          <p:txBody>
            <a:bodyPr rtlCol="0" anchor="ctr"/>
            <a:lstStyle/>
            <a:p>
              <a:endParaRPr lang="uk-UA" sz="900">
                <a:solidFill>
                  <a:schemeClr val="bg1"/>
                </a:solidFill>
              </a:endParaRPr>
            </a:p>
          </p:txBody>
        </p:sp>
        <p:sp>
          <p:nvSpPr>
            <p:cNvPr id="98" name="Freeform: Shape 97">
              <a:extLst>
                <a:ext uri="{FF2B5EF4-FFF2-40B4-BE49-F238E27FC236}">
                  <a16:creationId xmlns:a16="http://schemas.microsoft.com/office/drawing/2014/main" id="{E072252C-3219-B2F5-DE4C-5EA30C53AA84}"/>
                </a:ext>
              </a:extLst>
            </p:cNvPr>
            <p:cNvSpPr/>
            <p:nvPr/>
          </p:nvSpPr>
          <p:spPr>
            <a:xfrm>
              <a:off x="3446261" y="6319683"/>
              <a:ext cx="435077" cy="435077"/>
            </a:xfrm>
            <a:custGeom>
              <a:avLst/>
              <a:gdLst>
                <a:gd name="connsiteX0" fmla="*/ 435077 w 435077"/>
                <a:gd name="connsiteY0" fmla="*/ 435077 h 435077"/>
                <a:gd name="connsiteX1" fmla="*/ 435077 w 435077"/>
                <a:gd name="connsiteY1" fmla="*/ 0 h 435077"/>
                <a:gd name="connsiteX2" fmla="*/ 217566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6"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99" name="Freeform: Shape 98">
              <a:extLst>
                <a:ext uri="{FF2B5EF4-FFF2-40B4-BE49-F238E27FC236}">
                  <a16:creationId xmlns:a16="http://schemas.microsoft.com/office/drawing/2014/main" id="{3FAF6E9E-788C-0537-A146-8D8E2EF36996}"/>
                </a:ext>
              </a:extLst>
            </p:cNvPr>
            <p:cNvSpPr/>
            <p:nvPr/>
          </p:nvSpPr>
          <p:spPr>
            <a:xfrm>
              <a:off x="5186597" y="6319683"/>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39 w 435077"/>
                <a:gd name="connsiteY3" fmla="*/ 27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39" y="27"/>
                  </a:lnTo>
                  <a:lnTo>
                    <a:pt x="435077" y="217539"/>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00" name="Freeform: Shape 99">
              <a:extLst>
                <a:ext uri="{FF2B5EF4-FFF2-40B4-BE49-F238E27FC236}">
                  <a16:creationId xmlns:a16="http://schemas.microsoft.com/office/drawing/2014/main" id="{063091E6-7E9B-C553-EE80-D9C8C86FB12F}"/>
                </a:ext>
              </a:extLst>
            </p:cNvPr>
            <p:cNvSpPr/>
            <p:nvPr/>
          </p:nvSpPr>
          <p:spPr>
            <a:xfrm>
              <a:off x="6056752" y="6319683"/>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01" name="Freeform: Shape 100">
              <a:extLst>
                <a:ext uri="{FF2B5EF4-FFF2-40B4-BE49-F238E27FC236}">
                  <a16:creationId xmlns:a16="http://schemas.microsoft.com/office/drawing/2014/main" id="{133D0BF2-A8CF-7D95-A530-8141B95DEEB5}"/>
                </a:ext>
              </a:extLst>
            </p:cNvPr>
            <p:cNvSpPr/>
            <p:nvPr/>
          </p:nvSpPr>
          <p:spPr>
            <a:xfrm>
              <a:off x="7797062" y="6319683"/>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39 w 435077"/>
                <a:gd name="connsiteY6" fmla="*/ 153827 h 435077"/>
                <a:gd name="connsiteX7" fmla="*/ 63739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39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4" y="113038"/>
                    <a:pt x="0" y="57702"/>
                    <a:pt x="0" y="0"/>
                  </a:cubicBezTo>
                  <a:lnTo>
                    <a:pt x="217539" y="0"/>
                  </a:lnTo>
                  <a:lnTo>
                    <a:pt x="435077" y="0"/>
                  </a:lnTo>
                  <a:cubicBezTo>
                    <a:pt x="435077" y="57702"/>
                    <a:pt x="412182" y="113038"/>
                    <a:pt x="371366" y="153827"/>
                  </a:cubicBezTo>
                  <a:cubicBezTo>
                    <a:pt x="330578" y="194616"/>
                    <a:pt x="275241" y="217539"/>
                    <a:pt x="217539" y="217539"/>
                  </a:cubicBezTo>
                  <a:cubicBezTo>
                    <a:pt x="159864" y="217539"/>
                    <a:pt x="104527" y="194616"/>
                    <a:pt x="63739" y="153827"/>
                  </a:cubicBezTo>
                  <a:close/>
                  <a:moveTo>
                    <a:pt x="63739" y="281250"/>
                  </a:moveTo>
                  <a:cubicBezTo>
                    <a:pt x="22924" y="322066"/>
                    <a:pt x="0" y="377375"/>
                    <a:pt x="0" y="435077"/>
                  </a:cubicBezTo>
                  <a:lnTo>
                    <a:pt x="217539" y="435077"/>
                  </a:lnTo>
                  <a:lnTo>
                    <a:pt x="435077" y="435077"/>
                  </a:lnTo>
                  <a:cubicBezTo>
                    <a:pt x="435077" y="377375"/>
                    <a:pt x="412182" y="322066"/>
                    <a:pt x="371366" y="281250"/>
                  </a:cubicBezTo>
                  <a:cubicBezTo>
                    <a:pt x="330578" y="240462"/>
                    <a:pt x="275241" y="217539"/>
                    <a:pt x="217539" y="217539"/>
                  </a:cubicBezTo>
                  <a:cubicBezTo>
                    <a:pt x="159864" y="217539"/>
                    <a:pt x="104527" y="240462"/>
                    <a:pt x="63739" y="281250"/>
                  </a:cubicBezTo>
                  <a:close/>
                </a:path>
              </a:pathLst>
            </a:custGeom>
            <a:grpFill/>
            <a:ln w="27192" cap="flat">
              <a:noFill/>
              <a:prstDash val="solid"/>
              <a:miter/>
            </a:ln>
          </p:spPr>
          <p:txBody>
            <a:bodyPr rtlCol="0" anchor="ctr"/>
            <a:lstStyle/>
            <a:p>
              <a:endParaRPr lang="uk-UA" sz="900">
                <a:solidFill>
                  <a:schemeClr val="bg1"/>
                </a:solidFill>
              </a:endParaRPr>
            </a:p>
          </p:txBody>
        </p:sp>
        <p:sp>
          <p:nvSpPr>
            <p:cNvPr id="102" name="Freeform: Shape 101">
              <a:extLst>
                <a:ext uri="{FF2B5EF4-FFF2-40B4-BE49-F238E27FC236}">
                  <a16:creationId xmlns:a16="http://schemas.microsoft.com/office/drawing/2014/main" id="{A1FFAAC0-CDF2-D4FE-0AB4-74C99EC7286A}"/>
                </a:ext>
              </a:extLst>
            </p:cNvPr>
            <p:cNvSpPr/>
            <p:nvPr/>
          </p:nvSpPr>
          <p:spPr>
            <a:xfrm>
              <a:off x="6926907" y="6319683"/>
              <a:ext cx="435077" cy="435077"/>
            </a:xfrm>
            <a:custGeom>
              <a:avLst/>
              <a:gdLst>
                <a:gd name="connsiteX0" fmla="*/ 435077 w 435077"/>
                <a:gd name="connsiteY0" fmla="*/ 435077 h 435077"/>
                <a:gd name="connsiteX1" fmla="*/ 435077 w 435077"/>
                <a:gd name="connsiteY1" fmla="*/ 0 h 435077"/>
                <a:gd name="connsiteX2" fmla="*/ 217566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6"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03" name="Freeform: Shape 102">
              <a:extLst>
                <a:ext uri="{FF2B5EF4-FFF2-40B4-BE49-F238E27FC236}">
                  <a16:creationId xmlns:a16="http://schemas.microsoft.com/office/drawing/2014/main" id="{17A1682F-141F-EA99-0BE3-2B55FCBA2BBD}"/>
                </a:ext>
              </a:extLst>
            </p:cNvPr>
            <p:cNvSpPr/>
            <p:nvPr/>
          </p:nvSpPr>
          <p:spPr>
            <a:xfrm>
              <a:off x="8667217" y="6319683"/>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6 w 435077"/>
                <a:gd name="connsiteY3" fmla="*/ 27 h 435077"/>
                <a:gd name="connsiteX4" fmla="*/ 435077 w 435077"/>
                <a:gd name="connsiteY4" fmla="*/ 217539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6" y="27"/>
                  </a:lnTo>
                  <a:lnTo>
                    <a:pt x="435077" y="217539"/>
                  </a:lnTo>
                  <a:lnTo>
                    <a:pt x="217566"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04" name="Freeform: Shape 103">
              <a:extLst>
                <a:ext uri="{FF2B5EF4-FFF2-40B4-BE49-F238E27FC236}">
                  <a16:creationId xmlns:a16="http://schemas.microsoft.com/office/drawing/2014/main" id="{673CE0A0-73D1-AC4F-E666-2D0AF6B196E5}"/>
                </a:ext>
              </a:extLst>
            </p:cNvPr>
            <p:cNvSpPr/>
            <p:nvPr/>
          </p:nvSpPr>
          <p:spPr>
            <a:xfrm>
              <a:off x="9537399" y="6319683"/>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05" name="Freeform: Shape 104">
              <a:extLst>
                <a:ext uri="{FF2B5EF4-FFF2-40B4-BE49-F238E27FC236}">
                  <a16:creationId xmlns:a16="http://schemas.microsoft.com/office/drawing/2014/main" id="{B8FE893E-F939-68EB-A56D-B8EADE11662C}"/>
                </a:ext>
              </a:extLst>
            </p:cNvPr>
            <p:cNvSpPr/>
            <p:nvPr/>
          </p:nvSpPr>
          <p:spPr>
            <a:xfrm>
              <a:off x="11277709" y="6319683"/>
              <a:ext cx="435077" cy="435077"/>
            </a:xfrm>
            <a:custGeom>
              <a:avLst/>
              <a:gdLst>
                <a:gd name="connsiteX0" fmla="*/ 63710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0 w 435077"/>
                <a:gd name="connsiteY6" fmla="*/ 153827 h 435077"/>
                <a:gd name="connsiteX7" fmla="*/ 63710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0 h 435077"/>
                <a:gd name="connsiteX12" fmla="*/ 217539 w 435077"/>
                <a:gd name="connsiteY12" fmla="*/ 217539 h 435077"/>
                <a:gd name="connsiteX13" fmla="*/ 63710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7"/>
                  </a:moveTo>
                  <a:cubicBezTo>
                    <a:pt x="22922" y="113038"/>
                    <a:pt x="0" y="57702"/>
                    <a:pt x="0" y="0"/>
                  </a:cubicBezTo>
                  <a:lnTo>
                    <a:pt x="217539" y="0"/>
                  </a:lnTo>
                  <a:lnTo>
                    <a:pt x="435077" y="0"/>
                  </a:lnTo>
                  <a:cubicBezTo>
                    <a:pt x="435077" y="57702"/>
                    <a:pt x="412154" y="113038"/>
                    <a:pt x="371365" y="153827"/>
                  </a:cubicBezTo>
                  <a:cubicBezTo>
                    <a:pt x="330549" y="194616"/>
                    <a:pt x="275239" y="217539"/>
                    <a:pt x="217539" y="217539"/>
                  </a:cubicBezTo>
                  <a:cubicBezTo>
                    <a:pt x="159836" y="217539"/>
                    <a:pt x="104499" y="194616"/>
                    <a:pt x="63710" y="153827"/>
                  </a:cubicBezTo>
                  <a:close/>
                  <a:moveTo>
                    <a:pt x="63710" y="281250"/>
                  </a:moveTo>
                  <a:cubicBezTo>
                    <a:pt x="22922" y="322066"/>
                    <a:pt x="0" y="377375"/>
                    <a:pt x="0" y="435077"/>
                  </a:cubicBezTo>
                  <a:lnTo>
                    <a:pt x="217539" y="435077"/>
                  </a:lnTo>
                  <a:lnTo>
                    <a:pt x="435077" y="435077"/>
                  </a:lnTo>
                  <a:cubicBezTo>
                    <a:pt x="435077" y="377375"/>
                    <a:pt x="412154" y="322066"/>
                    <a:pt x="371365" y="281250"/>
                  </a:cubicBezTo>
                  <a:cubicBezTo>
                    <a:pt x="330549" y="240462"/>
                    <a:pt x="275239" y="217539"/>
                    <a:pt x="217539" y="217539"/>
                  </a:cubicBezTo>
                  <a:cubicBezTo>
                    <a:pt x="159836" y="217539"/>
                    <a:pt x="104499" y="240462"/>
                    <a:pt x="63710" y="281250"/>
                  </a:cubicBezTo>
                  <a:close/>
                </a:path>
              </a:pathLst>
            </a:custGeom>
            <a:grpFill/>
            <a:ln w="27192" cap="flat">
              <a:noFill/>
              <a:prstDash val="solid"/>
              <a:miter/>
            </a:ln>
          </p:spPr>
          <p:txBody>
            <a:bodyPr rtlCol="0" anchor="ctr"/>
            <a:lstStyle/>
            <a:p>
              <a:endParaRPr lang="uk-UA" sz="900">
                <a:solidFill>
                  <a:schemeClr val="bg1"/>
                </a:solidFill>
              </a:endParaRPr>
            </a:p>
          </p:txBody>
        </p:sp>
        <p:sp>
          <p:nvSpPr>
            <p:cNvPr id="106" name="Freeform: Shape 105">
              <a:extLst>
                <a:ext uri="{FF2B5EF4-FFF2-40B4-BE49-F238E27FC236}">
                  <a16:creationId xmlns:a16="http://schemas.microsoft.com/office/drawing/2014/main" id="{471D94B8-5780-5631-155F-A2BA9C5FB818}"/>
                </a:ext>
              </a:extLst>
            </p:cNvPr>
            <p:cNvSpPr/>
            <p:nvPr/>
          </p:nvSpPr>
          <p:spPr>
            <a:xfrm>
              <a:off x="10407554" y="631968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1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1"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07" name="Freeform: Shape 106">
              <a:extLst>
                <a:ext uri="{FF2B5EF4-FFF2-40B4-BE49-F238E27FC236}">
                  <a16:creationId xmlns:a16="http://schemas.microsoft.com/office/drawing/2014/main" id="{457E98C1-B7EA-69C5-B2D7-7B211083EA61}"/>
                </a:ext>
              </a:extLst>
            </p:cNvPr>
            <p:cNvSpPr/>
            <p:nvPr/>
          </p:nvSpPr>
          <p:spPr>
            <a:xfrm>
              <a:off x="12147864" y="6319683"/>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5 w 435077"/>
                <a:gd name="connsiteY3" fmla="*/ 27 h 435077"/>
                <a:gd name="connsiteX4" fmla="*/ 435077 w 435077"/>
                <a:gd name="connsiteY4" fmla="*/ 217539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5" y="27"/>
                  </a:lnTo>
                  <a:lnTo>
                    <a:pt x="435077" y="217539"/>
                  </a:lnTo>
                  <a:lnTo>
                    <a:pt x="217565"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08" name="Freeform: Shape 107">
              <a:extLst>
                <a:ext uri="{FF2B5EF4-FFF2-40B4-BE49-F238E27FC236}">
                  <a16:creationId xmlns:a16="http://schemas.microsoft.com/office/drawing/2014/main" id="{B7FE09AE-7F89-51CB-4617-BBDC98162C1A}"/>
                </a:ext>
              </a:extLst>
            </p:cNvPr>
            <p:cNvSpPr/>
            <p:nvPr/>
          </p:nvSpPr>
          <p:spPr>
            <a:xfrm>
              <a:off x="13018045" y="6319683"/>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09" name="Freeform: Shape 108">
              <a:extLst>
                <a:ext uri="{FF2B5EF4-FFF2-40B4-BE49-F238E27FC236}">
                  <a16:creationId xmlns:a16="http://schemas.microsoft.com/office/drawing/2014/main" id="{FC46A15E-62F8-2A52-22A0-1985B189A039}"/>
                </a:ext>
              </a:extLst>
            </p:cNvPr>
            <p:cNvSpPr/>
            <p:nvPr/>
          </p:nvSpPr>
          <p:spPr>
            <a:xfrm>
              <a:off x="14758382" y="631968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8"/>
                    <a:pt x="0" y="57702"/>
                    <a:pt x="0" y="0"/>
                  </a:cubicBezTo>
                  <a:lnTo>
                    <a:pt x="217539" y="0"/>
                  </a:lnTo>
                  <a:lnTo>
                    <a:pt x="435077" y="0"/>
                  </a:lnTo>
                  <a:cubicBezTo>
                    <a:pt x="435077" y="57702"/>
                    <a:pt x="412155" y="113038"/>
                    <a:pt x="371367" y="153827"/>
                  </a:cubicBezTo>
                  <a:cubicBezTo>
                    <a:pt x="330550" y="194616"/>
                    <a:pt x="275241" y="217539"/>
                    <a:pt x="217539" y="217539"/>
                  </a:cubicBezTo>
                  <a:cubicBezTo>
                    <a:pt x="159836" y="217539"/>
                    <a:pt x="104501" y="194616"/>
                    <a:pt x="63712" y="153827"/>
                  </a:cubicBezTo>
                  <a:close/>
                  <a:moveTo>
                    <a:pt x="63712" y="281250"/>
                  </a:moveTo>
                  <a:cubicBezTo>
                    <a:pt x="22924" y="322066"/>
                    <a:pt x="0" y="377375"/>
                    <a:pt x="0" y="435077"/>
                  </a:cubicBezTo>
                  <a:lnTo>
                    <a:pt x="217539" y="435077"/>
                  </a:lnTo>
                  <a:lnTo>
                    <a:pt x="435077" y="435077"/>
                  </a:lnTo>
                  <a:cubicBezTo>
                    <a:pt x="435077" y="377375"/>
                    <a:pt x="412155" y="322066"/>
                    <a:pt x="371367" y="281250"/>
                  </a:cubicBezTo>
                  <a:cubicBezTo>
                    <a:pt x="330550" y="240462"/>
                    <a:pt x="275241" y="217539"/>
                    <a:pt x="217539" y="217539"/>
                  </a:cubicBezTo>
                  <a:cubicBezTo>
                    <a:pt x="159836" y="217539"/>
                    <a:pt x="104501" y="240462"/>
                    <a:pt x="63712" y="281250"/>
                  </a:cubicBezTo>
                  <a:close/>
                </a:path>
              </a:pathLst>
            </a:custGeom>
            <a:grpFill/>
            <a:ln w="27192" cap="flat">
              <a:noFill/>
              <a:prstDash val="solid"/>
              <a:miter/>
            </a:ln>
          </p:spPr>
          <p:txBody>
            <a:bodyPr rtlCol="0" anchor="ctr"/>
            <a:lstStyle/>
            <a:p>
              <a:endParaRPr lang="uk-UA" sz="900">
                <a:solidFill>
                  <a:schemeClr val="bg1"/>
                </a:solidFill>
              </a:endParaRPr>
            </a:p>
          </p:txBody>
        </p:sp>
        <p:sp>
          <p:nvSpPr>
            <p:cNvPr id="110" name="Freeform: Shape 109">
              <a:extLst>
                <a:ext uri="{FF2B5EF4-FFF2-40B4-BE49-F238E27FC236}">
                  <a16:creationId xmlns:a16="http://schemas.microsoft.com/office/drawing/2014/main" id="{06C63570-FEAE-8A09-0B5F-9699249A8FA7}"/>
                </a:ext>
              </a:extLst>
            </p:cNvPr>
            <p:cNvSpPr/>
            <p:nvPr/>
          </p:nvSpPr>
          <p:spPr>
            <a:xfrm>
              <a:off x="13888227" y="631968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2"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11" name="Freeform: Shape 110">
              <a:extLst>
                <a:ext uri="{FF2B5EF4-FFF2-40B4-BE49-F238E27FC236}">
                  <a16:creationId xmlns:a16="http://schemas.microsoft.com/office/drawing/2014/main" id="{0CB267A3-BC54-F16C-165B-08046091C69A}"/>
                </a:ext>
              </a:extLst>
            </p:cNvPr>
            <p:cNvSpPr/>
            <p:nvPr/>
          </p:nvSpPr>
          <p:spPr>
            <a:xfrm>
              <a:off x="15628536" y="6319683"/>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7 w 435077"/>
                <a:gd name="connsiteY3" fmla="*/ 27 h 435077"/>
                <a:gd name="connsiteX4" fmla="*/ 435077 w 435077"/>
                <a:gd name="connsiteY4" fmla="*/ 217539 h 435077"/>
                <a:gd name="connsiteX5" fmla="*/ 217567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7" y="27"/>
                  </a:lnTo>
                  <a:lnTo>
                    <a:pt x="435077" y="217539"/>
                  </a:lnTo>
                  <a:lnTo>
                    <a:pt x="217567"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12" name="Freeform: Shape 111">
              <a:extLst>
                <a:ext uri="{FF2B5EF4-FFF2-40B4-BE49-F238E27FC236}">
                  <a16:creationId xmlns:a16="http://schemas.microsoft.com/office/drawing/2014/main" id="{66F9CAF4-99E5-85F9-7EF2-D9C653F92A44}"/>
                </a:ext>
              </a:extLst>
            </p:cNvPr>
            <p:cNvSpPr/>
            <p:nvPr/>
          </p:nvSpPr>
          <p:spPr>
            <a:xfrm>
              <a:off x="16498719" y="6319683"/>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13" name="Freeform: Shape 112">
              <a:extLst>
                <a:ext uri="{FF2B5EF4-FFF2-40B4-BE49-F238E27FC236}">
                  <a16:creationId xmlns:a16="http://schemas.microsoft.com/office/drawing/2014/main" id="{3A42FAC6-C5B8-1C45-5BC7-2F6C26FE40F0}"/>
                </a:ext>
              </a:extLst>
            </p:cNvPr>
            <p:cNvSpPr/>
            <p:nvPr/>
          </p:nvSpPr>
          <p:spPr>
            <a:xfrm>
              <a:off x="18239029" y="6319683"/>
              <a:ext cx="435077" cy="435077"/>
            </a:xfrm>
            <a:custGeom>
              <a:avLst/>
              <a:gdLst>
                <a:gd name="connsiteX0" fmla="*/ 63710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0 w 435077"/>
                <a:gd name="connsiteY6" fmla="*/ 153827 h 435077"/>
                <a:gd name="connsiteX7" fmla="*/ 63710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0 h 435077"/>
                <a:gd name="connsiteX12" fmla="*/ 217539 w 435077"/>
                <a:gd name="connsiteY12" fmla="*/ 217539 h 435077"/>
                <a:gd name="connsiteX13" fmla="*/ 63710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7"/>
                  </a:moveTo>
                  <a:cubicBezTo>
                    <a:pt x="22922" y="113038"/>
                    <a:pt x="0" y="57702"/>
                    <a:pt x="0" y="0"/>
                  </a:cubicBezTo>
                  <a:lnTo>
                    <a:pt x="217539" y="0"/>
                  </a:lnTo>
                  <a:lnTo>
                    <a:pt x="435077" y="0"/>
                  </a:lnTo>
                  <a:cubicBezTo>
                    <a:pt x="435077" y="57702"/>
                    <a:pt x="412154" y="113038"/>
                    <a:pt x="371365" y="153827"/>
                  </a:cubicBezTo>
                  <a:cubicBezTo>
                    <a:pt x="330577" y="194616"/>
                    <a:pt x="275241" y="217539"/>
                    <a:pt x="217539" y="217539"/>
                  </a:cubicBezTo>
                  <a:cubicBezTo>
                    <a:pt x="159836" y="217539"/>
                    <a:pt x="104527" y="194616"/>
                    <a:pt x="63710" y="153827"/>
                  </a:cubicBezTo>
                  <a:close/>
                  <a:moveTo>
                    <a:pt x="63710" y="281250"/>
                  </a:moveTo>
                  <a:cubicBezTo>
                    <a:pt x="22922" y="322066"/>
                    <a:pt x="0" y="377375"/>
                    <a:pt x="0" y="435077"/>
                  </a:cubicBezTo>
                  <a:lnTo>
                    <a:pt x="217539" y="435077"/>
                  </a:lnTo>
                  <a:lnTo>
                    <a:pt x="435077" y="435077"/>
                  </a:lnTo>
                  <a:cubicBezTo>
                    <a:pt x="435077" y="377375"/>
                    <a:pt x="412154" y="322066"/>
                    <a:pt x="371365" y="281250"/>
                  </a:cubicBezTo>
                  <a:cubicBezTo>
                    <a:pt x="330577" y="240462"/>
                    <a:pt x="275241" y="217539"/>
                    <a:pt x="217539" y="217539"/>
                  </a:cubicBezTo>
                  <a:cubicBezTo>
                    <a:pt x="159836" y="217539"/>
                    <a:pt x="104527" y="240462"/>
                    <a:pt x="63710" y="281250"/>
                  </a:cubicBezTo>
                  <a:close/>
                </a:path>
              </a:pathLst>
            </a:custGeom>
            <a:grpFill/>
            <a:ln w="27192" cap="flat">
              <a:noFill/>
              <a:prstDash val="solid"/>
              <a:miter/>
            </a:ln>
          </p:spPr>
          <p:txBody>
            <a:bodyPr rtlCol="0" anchor="ctr"/>
            <a:lstStyle/>
            <a:p>
              <a:endParaRPr lang="uk-UA" sz="900">
                <a:solidFill>
                  <a:schemeClr val="bg1"/>
                </a:solidFill>
              </a:endParaRPr>
            </a:p>
          </p:txBody>
        </p:sp>
        <p:sp>
          <p:nvSpPr>
            <p:cNvPr id="114" name="Freeform: Shape 113">
              <a:extLst>
                <a:ext uri="{FF2B5EF4-FFF2-40B4-BE49-F238E27FC236}">
                  <a16:creationId xmlns:a16="http://schemas.microsoft.com/office/drawing/2014/main" id="{AA8C4562-D6A0-63BD-190F-1F32ACBE6FB7}"/>
                </a:ext>
              </a:extLst>
            </p:cNvPr>
            <p:cNvSpPr/>
            <p:nvPr/>
          </p:nvSpPr>
          <p:spPr>
            <a:xfrm>
              <a:off x="17368874" y="631968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0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0"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15" name="Freeform: Shape 114">
              <a:extLst>
                <a:ext uri="{FF2B5EF4-FFF2-40B4-BE49-F238E27FC236}">
                  <a16:creationId xmlns:a16="http://schemas.microsoft.com/office/drawing/2014/main" id="{BA446F68-56D0-27C9-7A2F-5DA768B01622}"/>
                </a:ext>
              </a:extLst>
            </p:cNvPr>
            <p:cNvSpPr/>
            <p:nvPr/>
          </p:nvSpPr>
          <p:spPr>
            <a:xfrm>
              <a:off x="19109210" y="6319683"/>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39 w 435077"/>
                <a:gd name="connsiteY3" fmla="*/ 27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39" y="27"/>
                  </a:lnTo>
                  <a:lnTo>
                    <a:pt x="435077" y="217539"/>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16" name="Freeform: Shape 115">
              <a:extLst>
                <a:ext uri="{FF2B5EF4-FFF2-40B4-BE49-F238E27FC236}">
                  <a16:creationId xmlns:a16="http://schemas.microsoft.com/office/drawing/2014/main" id="{88EEBDFB-2A43-01ED-B39C-7AADF06F286E}"/>
                </a:ext>
              </a:extLst>
            </p:cNvPr>
            <p:cNvSpPr/>
            <p:nvPr/>
          </p:nvSpPr>
          <p:spPr>
            <a:xfrm>
              <a:off x="19979365" y="6319683"/>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17" name="Freeform: Shape 116">
              <a:extLst>
                <a:ext uri="{FF2B5EF4-FFF2-40B4-BE49-F238E27FC236}">
                  <a16:creationId xmlns:a16="http://schemas.microsoft.com/office/drawing/2014/main" id="{4634CA77-E3BB-75DF-9F4C-EE28D718AAE7}"/>
                </a:ext>
              </a:extLst>
            </p:cNvPr>
            <p:cNvSpPr/>
            <p:nvPr/>
          </p:nvSpPr>
          <p:spPr>
            <a:xfrm>
              <a:off x="21719702" y="631968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897" y="113038"/>
                    <a:pt x="0" y="57702"/>
                    <a:pt x="0" y="0"/>
                  </a:cubicBezTo>
                  <a:lnTo>
                    <a:pt x="217539" y="0"/>
                  </a:lnTo>
                  <a:lnTo>
                    <a:pt x="435077" y="0"/>
                  </a:lnTo>
                  <a:cubicBezTo>
                    <a:pt x="435077" y="57702"/>
                    <a:pt x="412155" y="113038"/>
                    <a:pt x="371339" y="153827"/>
                  </a:cubicBezTo>
                  <a:cubicBezTo>
                    <a:pt x="330550" y="194616"/>
                    <a:pt x="275215" y="217539"/>
                    <a:pt x="217539" y="217539"/>
                  </a:cubicBezTo>
                  <a:cubicBezTo>
                    <a:pt x="159838" y="217539"/>
                    <a:pt x="104501" y="194616"/>
                    <a:pt x="63712" y="153827"/>
                  </a:cubicBezTo>
                  <a:close/>
                  <a:moveTo>
                    <a:pt x="63712" y="281250"/>
                  </a:moveTo>
                  <a:cubicBezTo>
                    <a:pt x="22897" y="322066"/>
                    <a:pt x="0" y="377375"/>
                    <a:pt x="0" y="435077"/>
                  </a:cubicBezTo>
                  <a:lnTo>
                    <a:pt x="217539" y="435077"/>
                  </a:lnTo>
                  <a:lnTo>
                    <a:pt x="435077" y="435077"/>
                  </a:lnTo>
                  <a:cubicBezTo>
                    <a:pt x="435077" y="377375"/>
                    <a:pt x="412155" y="322066"/>
                    <a:pt x="371339" y="281250"/>
                  </a:cubicBezTo>
                  <a:cubicBezTo>
                    <a:pt x="330550" y="240462"/>
                    <a:pt x="275215" y="217539"/>
                    <a:pt x="217539" y="217539"/>
                  </a:cubicBezTo>
                  <a:cubicBezTo>
                    <a:pt x="159838" y="217539"/>
                    <a:pt x="104501" y="240462"/>
                    <a:pt x="63712" y="281250"/>
                  </a:cubicBezTo>
                  <a:close/>
                </a:path>
              </a:pathLst>
            </a:custGeom>
            <a:grpFill/>
            <a:ln w="27192" cap="flat">
              <a:noFill/>
              <a:prstDash val="solid"/>
              <a:miter/>
            </a:ln>
          </p:spPr>
          <p:txBody>
            <a:bodyPr rtlCol="0" anchor="ctr"/>
            <a:lstStyle/>
            <a:p>
              <a:endParaRPr lang="uk-UA" sz="900">
                <a:solidFill>
                  <a:schemeClr val="bg1"/>
                </a:solidFill>
              </a:endParaRPr>
            </a:p>
          </p:txBody>
        </p:sp>
        <p:sp>
          <p:nvSpPr>
            <p:cNvPr id="118" name="Freeform: Shape 117">
              <a:extLst>
                <a:ext uri="{FF2B5EF4-FFF2-40B4-BE49-F238E27FC236}">
                  <a16:creationId xmlns:a16="http://schemas.microsoft.com/office/drawing/2014/main" id="{57E55ACB-0262-85FE-6890-F1BCE52366C8}"/>
                </a:ext>
              </a:extLst>
            </p:cNvPr>
            <p:cNvSpPr/>
            <p:nvPr/>
          </p:nvSpPr>
          <p:spPr>
            <a:xfrm>
              <a:off x="20849520" y="6319683"/>
              <a:ext cx="435077" cy="435077"/>
            </a:xfrm>
            <a:custGeom>
              <a:avLst/>
              <a:gdLst>
                <a:gd name="connsiteX0" fmla="*/ 435077 w 435077"/>
                <a:gd name="connsiteY0" fmla="*/ 435077 h 435077"/>
                <a:gd name="connsiteX1" fmla="*/ 435077 w 435077"/>
                <a:gd name="connsiteY1" fmla="*/ 0 h 435077"/>
                <a:gd name="connsiteX2" fmla="*/ 217565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19" name="Freeform: Shape 118">
              <a:extLst>
                <a:ext uri="{FF2B5EF4-FFF2-40B4-BE49-F238E27FC236}">
                  <a16:creationId xmlns:a16="http://schemas.microsoft.com/office/drawing/2014/main" id="{1C2591F2-5971-99C8-FFF4-A47A3746FAFE}"/>
                </a:ext>
              </a:extLst>
            </p:cNvPr>
            <p:cNvSpPr/>
            <p:nvPr/>
          </p:nvSpPr>
          <p:spPr>
            <a:xfrm>
              <a:off x="22589856" y="6319683"/>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7 w 435077"/>
                <a:gd name="connsiteY3" fmla="*/ 27 h 435077"/>
                <a:gd name="connsiteX4" fmla="*/ 435077 w 435077"/>
                <a:gd name="connsiteY4" fmla="*/ 217539 h 435077"/>
                <a:gd name="connsiteX5" fmla="*/ 217567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7" y="27"/>
                  </a:lnTo>
                  <a:lnTo>
                    <a:pt x="435077" y="217539"/>
                  </a:lnTo>
                  <a:lnTo>
                    <a:pt x="217567"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20" name="Freeform: Shape 119">
              <a:extLst>
                <a:ext uri="{FF2B5EF4-FFF2-40B4-BE49-F238E27FC236}">
                  <a16:creationId xmlns:a16="http://schemas.microsoft.com/office/drawing/2014/main" id="{8E1FC9FD-2646-AD50-4A44-38F216EF6BB8}"/>
                </a:ext>
              </a:extLst>
            </p:cNvPr>
            <p:cNvSpPr/>
            <p:nvPr/>
          </p:nvSpPr>
          <p:spPr>
            <a:xfrm>
              <a:off x="23460039" y="6319683"/>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21" name="Freeform: Shape 120">
              <a:extLst>
                <a:ext uri="{FF2B5EF4-FFF2-40B4-BE49-F238E27FC236}">
                  <a16:creationId xmlns:a16="http://schemas.microsoft.com/office/drawing/2014/main" id="{1EF85BAA-65DE-B39D-BF82-60958007C0A3}"/>
                </a:ext>
              </a:extLst>
            </p:cNvPr>
            <p:cNvSpPr/>
            <p:nvPr/>
          </p:nvSpPr>
          <p:spPr>
            <a:xfrm>
              <a:off x="24330194" y="631968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22" name="Freeform: Shape 121">
              <a:extLst>
                <a:ext uri="{FF2B5EF4-FFF2-40B4-BE49-F238E27FC236}">
                  <a16:creationId xmlns:a16="http://schemas.microsoft.com/office/drawing/2014/main" id="{6125FF59-EBC2-E037-08BD-C96E9E4EA69A}"/>
                </a:ext>
              </a:extLst>
            </p:cNvPr>
            <p:cNvSpPr/>
            <p:nvPr/>
          </p:nvSpPr>
          <p:spPr>
            <a:xfrm>
              <a:off x="835769" y="196890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23" name="Freeform: Shape 122">
              <a:extLst>
                <a:ext uri="{FF2B5EF4-FFF2-40B4-BE49-F238E27FC236}">
                  <a16:creationId xmlns:a16="http://schemas.microsoft.com/office/drawing/2014/main" id="{D3245FAB-03E0-42B2-07E6-D5D7444EC075}"/>
                </a:ext>
              </a:extLst>
            </p:cNvPr>
            <p:cNvSpPr/>
            <p:nvPr/>
          </p:nvSpPr>
          <p:spPr>
            <a:xfrm>
              <a:off x="-34398" y="1968909"/>
              <a:ext cx="435063" cy="435077"/>
            </a:xfrm>
            <a:custGeom>
              <a:avLst/>
              <a:gdLst>
                <a:gd name="connsiteX0" fmla="*/ 0 w 435063"/>
                <a:gd name="connsiteY0" fmla="*/ 435075 h 435077"/>
                <a:gd name="connsiteX1" fmla="*/ 217525 w 435063"/>
                <a:gd name="connsiteY1" fmla="*/ 435075 h 435077"/>
                <a:gd name="connsiteX2" fmla="*/ 217525 w 435063"/>
                <a:gd name="connsiteY2" fmla="*/ 217547 h 435077"/>
                <a:gd name="connsiteX3" fmla="*/ 0 w 435063"/>
                <a:gd name="connsiteY3" fmla="*/ 435075 h 435077"/>
                <a:gd name="connsiteX4" fmla="*/ 217525 w 435063"/>
                <a:gd name="connsiteY4" fmla="*/ 0 h 435077"/>
                <a:gd name="connsiteX5" fmla="*/ 3 w 435063"/>
                <a:gd name="connsiteY5" fmla="*/ 0 h 435077"/>
                <a:gd name="connsiteX6" fmla="*/ 217525 w 435063"/>
                <a:gd name="connsiteY6" fmla="*/ 217528 h 435077"/>
                <a:gd name="connsiteX7" fmla="*/ 217525 w 435063"/>
                <a:gd name="connsiteY7" fmla="*/ 0 h 435077"/>
                <a:gd name="connsiteX8" fmla="*/ 435064 w 435063"/>
                <a:gd name="connsiteY8" fmla="*/ 435077 h 435077"/>
                <a:gd name="connsiteX9" fmla="*/ 217552 w 435063"/>
                <a:gd name="connsiteY9" fmla="*/ 435077 h 435077"/>
                <a:gd name="connsiteX10" fmla="*/ 435064 w 435063"/>
                <a:gd name="connsiteY10" fmla="*/ 217547 h 435077"/>
                <a:gd name="connsiteX11" fmla="*/ 435064 w 435063"/>
                <a:gd name="connsiteY11" fmla="*/ 435077 h 435077"/>
                <a:gd name="connsiteX12" fmla="*/ 435064 w 435063"/>
                <a:gd name="connsiteY12" fmla="*/ 3 h 435077"/>
                <a:gd name="connsiteX13" fmla="*/ 217552 w 435063"/>
                <a:gd name="connsiteY13" fmla="*/ 3 h 435077"/>
                <a:gd name="connsiteX14" fmla="*/ 435064 w 435063"/>
                <a:gd name="connsiteY14" fmla="*/ 217531 h 435077"/>
                <a:gd name="connsiteX15" fmla="*/ 435064 w 435063"/>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63" h="435077">
                  <a:moveTo>
                    <a:pt x="0" y="435075"/>
                  </a:moveTo>
                  <a:lnTo>
                    <a:pt x="217525" y="435075"/>
                  </a:lnTo>
                  <a:lnTo>
                    <a:pt x="217525" y="217547"/>
                  </a:lnTo>
                  <a:lnTo>
                    <a:pt x="0" y="435075"/>
                  </a:lnTo>
                  <a:close/>
                  <a:moveTo>
                    <a:pt x="217525" y="0"/>
                  </a:moveTo>
                  <a:lnTo>
                    <a:pt x="3" y="0"/>
                  </a:lnTo>
                  <a:lnTo>
                    <a:pt x="217525" y="217528"/>
                  </a:lnTo>
                  <a:lnTo>
                    <a:pt x="217525" y="0"/>
                  </a:lnTo>
                  <a:close/>
                  <a:moveTo>
                    <a:pt x="435064" y="435077"/>
                  </a:moveTo>
                  <a:lnTo>
                    <a:pt x="217552" y="435077"/>
                  </a:lnTo>
                  <a:lnTo>
                    <a:pt x="435064" y="217547"/>
                  </a:lnTo>
                  <a:lnTo>
                    <a:pt x="435064" y="435077"/>
                  </a:lnTo>
                  <a:close/>
                  <a:moveTo>
                    <a:pt x="435064" y="3"/>
                  </a:moveTo>
                  <a:lnTo>
                    <a:pt x="217552" y="3"/>
                  </a:lnTo>
                  <a:lnTo>
                    <a:pt x="435064" y="217531"/>
                  </a:lnTo>
                  <a:lnTo>
                    <a:pt x="435064" y="3"/>
                  </a:lnTo>
                  <a:close/>
                </a:path>
              </a:pathLst>
            </a:custGeom>
            <a:grpFill/>
            <a:ln w="27192" cap="flat">
              <a:noFill/>
              <a:prstDash val="solid"/>
              <a:miter/>
            </a:ln>
          </p:spPr>
          <p:txBody>
            <a:bodyPr rtlCol="0" anchor="ctr"/>
            <a:lstStyle/>
            <a:p>
              <a:endParaRPr lang="uk-UA" sz="900">
                <a:solidFill>
                  <a:schemeClr val="bg1"/>
                </a:solidFill>
              </a:endParaRPr>
            </a:p>
          </p:txBody>
        </p:sp>
        <p:sp>
          <p:nvSpPr>
            <p:cNvPr id="124" name="Freeform: Shape 123">
              <a:extLst>
                <a:ext uri="{FF2B5EF4-FFF2-40B4-BE49-F238E27FC236}">
                  <a16:creationId xmlns:a16="http://schemas.microsoft.com/office/drawing/2014/main" id="{1D69E4F7-DAF9-178E-1A23-C94A8DD750C1}"/>
                </a:ext>
              </a:extLst>
            </p:cNvPr>
            <p:cNvSpPr/>
            <p:nvPr/>
          </p:nvSpPr>
          <p:spPr>
            <a:xfrm>
              <a:off x="1705924" y="1968909"/>
              <a:ext cx="435077" cy="435077"/>
            </a:xfrm>
            <a:custGeom>
              <a:avLst/>
              <a:gdLst>
                <a:gd name="connsiteX0" fmla="*/ 371366 w 435077"/>
                <a:gd name="connsiteY0" fmla="*/ 63714 h 435077"/>
                <a:gd name="connsiteX1" fmla="*/ 435077 w 435077"/>
                <a:gd name="connsiteY1" fmla="*/ 217539 h 435077"/>
                <a:gd name="connsiteX2" fmla="*/ 217729 w 435077"/>
                <a:gd name="connsiteY2" fmla="*/ 217539 h 435077"/>
                <a:gd name="connsiteX3" fmla="*/ 371366 w 435077"/>
                <a:gd name="connsiteY3" fmla="*/ 281253 h 435077"/>
                <a:gd name="connsiteX4" fmla="*/ 435077 w 435077"/>
                <a:gd name="connsiteY4" fmla="*/ 435077 h 435077"/>
                <a:gd name="connsiteX5" fmla="*/ 217539 w 435077"/>
                <a:gd name="connsiteY5" fmla="*/ 435077 h 435077"/>
                <a:gd name="connsiteX6" fmla="*/ 0 w 435077"/>
                <a:gd name="connsiteY6" fmla="*/ 435077 h 435077"/>
                <a:gd name="connsiteX7" fmla="*/ 63711 w 435077"/>
                <a:gd name="connsiteY7" fmla="*/ 281253 h 435077"/>
                <a:gd name="connsiteX8" fmla="*/ 217375 w 435077"/>
                <a:gd name="connsiteY8" fmla="*/ 217539 h 435077"/>
                <a:gd name="connsiteX9" fmla="*/ 0 w 435077"/>
                <a:gd name="connsiteY9" fmla="*/ 217539 h 435077"/>
                <a:gd name="connsiteX10" fmla="*/ 63711 w 435077"/>
                <a:gd name="connsiteY10" fmla="*/ 63714 h 435077"/>
                <a:gd name="connsiteX11" fmla="*/ 217539 w 435077"/>
                <a:gd name="connsiteY11" fmla="*/ 0 h 435077"/>
                <a:gd name="connsiteX12" fmla="*/ 371366 w 435077"/>
                <a:gd name="connsiteY12" fmla="*/ 63714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4"/>
                  </a:moveTo>
                  <a:cubicBezTo>
                    <a:pt x="412154" y="104511"/>
                    <a:pt x="435077" y="159842"/>
                    <a:pt x="435077" y="217539"/>
                  </a:cubicBezTo>
                  <a:lnTo>
                    <a:pt x="217729" y="217539"/>
                  </a:lnTo>
                  <a:cubicBezTo>
                    <a:pt x="275349" y="217582"/>
                    <a:pt x="330604" y="240497"/>
                    <a:pt x="371366" y="281253"/>
                  </a:cubicBezTo>
                  <a:cubicBezTo>
                    <a:pt x="412154" y="322050"/>
                    <a:pt x="435077" y="377381"/>
                    <a:pt x="435077" y="435077"/>
                  </a:cubicBezTo>
                  <a:lnTo>
                    <a:pt x="217539" y="435077"/>
                  </a:lnTo>
                  <a:lnTo>
                    <a:pt x="0" y="435077"/>
                  </a:lnTo>
                  <a:cubicBezTo>
                    <a:pt x="0" y="377381"/>
                    <a:pt x="22923" y="322050"/>
                    <a:pt x="63711" y="281253"/>
                  </a:cubicBezTo>
                  <a:cubicBezTo>
                    <a:pt x="104473" y="240497"/>
                    <a:pt x="159755" y="217582"/>
                    <a:pt x="217375" y="217539"/>
                  </a:cubicBezTo>
                  <a:lnTo>
                    <a:pt x="0" y="217539"/>
                  </a:lnTo>
                  <a:cubicBezTo>
                    <a:pt x="0" y="159842"/>
                    <a:pt x="22923" y="104511"/>
                    <a:pt x="63711" y="63714"/>
                  </a:cubicBezTo>
                  <a:cubicBezTo>
                    <a:pt x="104527" y="22918"/>
                    <a:pt x="159836" y="0"/>
                    <a:pt x="217539" y="0"/>
                  </a:cubicBezTo>
                  <a:cubicBezTo>
                    <a:pt x="275241" y="0"/>
                    <a:pt x="330577" y="22918"/>
                    <a:pt x="371366" y="63714"/>
                  </a:cubicBezTo>
                  <a:close/>
                </a:path>
              </a:pathLst>
            </a:custGeom>
            <a:grpFill/>
            <a:ln w="27192" cap="flat">
              <a:noFill/>
              <a:prstDash val="solid"/>
              <a:miter/>
            </a:ln>
          </p:spPr>
          <p:txBody>
            <a:bodyPr rtlCol="0" anchor="ctr"/>
            <a:lstStyle/>
            <a:p>
              <a:endParaRPr lang="uk-UA" sz="900">
                <a:solidFill>
                  <a:schemeClr val="bg1"/>
                </a:solidFill>
              </a:endParaRPr>
            </a:p>
          </p:txBody>
        </p:sp>
        <p:sp>
          <p:nvSpPr>
            <p:cNvPr id="125" name="Freeform: Shape 124">
              <a:extLst>
                <a:ext uri="{FF2B5EF4-FFF2-40B4-BE49-F238E27FC236}">
                  <a16:creationId xmlns:a16="http://schemas.microsoft.com/office/drawing/2014/main" id="{12BF24A3-CBD4-36C9-2316-EE3DADFD7180}"/>
                </a:ext>
              </a:extLst>
            </p:cNvPr>
            <p:cNvSpPr/>
            <p:nvPr/>
          </p:nvSpPr>
          <p:spPr>
            <a:xfrm>
              <a:off x="2576106" y="1968909"/>
              <a:ext cx="435077" cy="435074"/>
            </a:xfrm>
            <a:custGeom>
              <a:avLst/>
              <a:gdLst>
                <a:gd name="connsiteX0" fmla="*/ 217539 w 435077"/>
                <a:gd name="connsiteY0" fmla="*/ 217533 h 435074"/>
                <a:gd name="connsiteX1" fmla="*/ 217539 w 435077"/>
                <a:gd name="connsiteY1" fmla="*/ 0 h 435074"/>
                <a:gd name="connsiteX2" fmla="*/ 0 w 435077"/>
                <a:gd name="connsiteY2" fmla="*/ 0 h 435074"/>
                <a:gd name="connsiteX3" fmla="*/ 217539 w 435077"/>
                <a:gd name="connsiteY3" fmla="*/ 217539 h 435074"/>
                <a:gd name="connsiteX4" fmla="*/ 0 w 435077"/>
                <a:gd name="connsiteY4" fmla="*/ 435075 h 435074"/>
                <a:gd name="connsiteX5" fmla="*/ 217539 w 435077"/>
                <a:gd name="connsiteY5" fmla="*/ 435075 h 435074"/>
                <a:gd name="connsiteX6" fmla="*/ 217539 w 435077"/>
                <a:gd name="connsiteY6" fmla="*/ 435072 h 435074"/>
                <a:gd name="connsiteX7" fmla="*/ 435050 w 435077"/>
                <a:gd name="connsiteY7" fmla="*/ 217541 h 435074"/>
                <a:gd name="connsiteX8" fmla="*/ 435077 w 435077"/>
                <a:gd name="connsiteY8" fmla="*/ 217541 h 435074"/>
                <a:gd name="connsiteX9" fmla="*/ 435077 w 435077"/>
                <a:gd name="connsiteY9" fmla="*/ 217536 h 435074"/>
                <a:gd name="connsiteX10" fmla="*/ 435077 w 435077"/>
                <a:gd name="connsiteY10" fmla="*/ 217533 h 435074"/>
                <a:gd name="connsiteX11" fmla="*/ 435050 w 435077"/>
                <a:gd name="connsiteY11" fmla="*/ 217533 h 435074"/>
                <a:gd name="connsiteX12" fmla="*/ 217539 w 435077"/>
                <a:gd name="connsiteY12" fmla="*/ 3 h 435074"/>
                <a:gd name="connsiteX13" fmla="*/ 217539 w 435077"/>
                <a:gd name="connsiteY13" fmla="*/ 217533 h 435074"/>
                <a:gd name="connsiteX14" fmla="*/ 217539 w 435077"/>
                <a:gd name="connsiteY14" fmla="*/ 217533 h 43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4">
                  <a:moveTo>
                    <a:pt x="217539" y="217533"/>
                  </a:moveTo>
                  <a:lnTo>
                    <a:pt x="217539" y="0"/>
                  </a:lnTo>
                  <a:lnTo>
                    <a:pt x="0" y="0"/>
                  </a:lnTo>
                  <a:lnTo>
                    <a:pt x="217539" y="217539"/>
                  </a:lnTo>
                  <a:lnTo>
                    <a:pt x="0" y="435075"/>
                  </a:lnTo>
                  <a:lnTo>
                    <a:pt x="217539" y="435075"/>
                  </a:lnTo>
                  <a:lnTo>
                    <a:pt x="217539" y="435072"/>
                  </a:lnTo>
                  <a:lnTo>
                    <a:pt x="435050" y="217541"/>
                  </a:lnTo>
                  <a:lnTo>
                    <a:pt x="435077" y="217541"/>
                  </a:lnTo>
                  <a:lnTo>
                    <a:pt x="435077" y="217536"/>
                  </a:lnTo>
                  <a:lnTo>
                    <a:pt x="435077" y="217533"/>
                  </a:lnTo>
                  <a:lnTo>
                    <a:pt x="435050" y="217533"/>
                  </a:lnTo>
                  <a:lnTo>
                    <a:pt x="217539" y="3"/>
                  </a:lnTo>
                  <a:lnTo>
                    <a:pt x="217539" y="217533"/>
                  </a:lnTo>
                  <a:lnTo>
                    <a:pt x="217539" y="217533"/>
                  </a:lnTo>
                  <a:close/>
                </a:path>
              </a:pathLst>
            </a:custGeom>
            <a:grpFill/>
            <a:ln w="27192" cap="flat">
              <a:noFill/>
              <a:prstDash val="solid"/>
              <a:miter/>
            </a:ln>
          </p:spPr>
          <p:txBody>
            <a:bodyPr rtlCol="0" anchor="ctr"/>
            <a:lstStyle/>
            <a:p>
              <a:endParaRPr lang="uk-UA" sz="900">
                <a:solidFill>
                  <a:schemeClr val="bg1"/>
                </a:solidFill>
              </a:endParaRPr>
            </a:p>
          </p:txBody>
        </p:sp>
        <p:sp>
          <p:nvSpPr>
            <p:cNvPr id="126" name="Freeform: Shape 125">
              <a:extLst>
                <a:ext uri="{FF2B5EF4-FFF2-40B4-BE49-F238E27FC236}">
                  <a16:creationId xmlns:a16="http://schemas.microsoft.com/office/drawing/2014/main" id="{164FBE66-D1A7-06E1-F44E-295FABE4BA2B}"/>
                </a:ext>
              </a:extLst>
            </p:cNvPr>
            <p:cNvSpPr/>
            <p:nvPr/>
          </p:nvSpPr>
          <p:spPr>
            <a:xfrm>
              <a:off x="4316416" y="1968909"/>
              <a:ext cx="435077" cy="435077"/>
            </a:xfrm>
            <a:custGeom>
              <a:avLst/>
              <a:gdLst>
                <a:gd name="connsiteX0" fmla="*/ 217565 w 435077"/>
                <a:gd name="connsiteY0" fmla="*/ 0 h 435077"/>
                <a:gd name="connsiteX1" fmla="*/ 217539 w 435077"/>
                <a:gd name="connsiteY1" fmla="*/ 0 h 435077"/>
                <a:gd name="connsiteX2" fmla="*/ 27 w 435077"/>
                <a:gd name="connsiteY2" fmla="*/ 0 h 435077"/>
                <a:gd name="connsiteX3" fmla="*/ 27 w 435077"/>
                <a:gd name="connsiteY3" fmla="*/ 217539 h 435077"/>
                <a:gd name="connsiteX4" fmla="*/ 217565 w 435077"/>
                <a:gd name="connsiteY4" fmla="*/ 5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65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65" y="0"/>
                  </a:moveTo>
                  <a:lnTo>
                    <a:pt x="217539" y="0"/>
                  </a:lnTo>
                  <a:lnTo>
                    <a:pt x="27" y="0"/>
                  </a:lnTo>
                  <a:lnTo>
                    <a:pt x="27" y="217539"/>
                  </a:lnTo>
                  <a:lnTo>
                    <a:pt x="217565" y="5"/>
                  </a:lnTo>
                  <a:lnTo>
                    <a:pt x="435077" y="217539"/>
                  </a:lnTo>
                  <a:lnTo>
                    <a:pt x="217539" y="435077"/>
                  </a:lnTo>
                  <a:lnTo>
                    <a:pt x="0" y="217539"/>
                  </a:lnTo>
                  <a:lnTo>
                    <a:pt x="0" y="435077"/>
                  </a:lnTo>
                  <a:lnTo>
                    <a:pt x="217539" y="435077"/>
                  </a:lnTo>
                  <a:lnTo>
                    <a:pt x="435077" y="435077"/>
                  </a:lnTo>
                  <a:lnTo>
                    <a:pt x="435077" y="217539"/>
                  </a:lnTo>
                  <a:lnTo>
                    <a:pt x="435077" y="0"/>
                  </a:lnTo>
                  <a:lnTo>
                    <a:pt x="217565" y="0"/>
                  </a:lnTo>
                  <a:close/>
                </a:path>
              </a:pathLst>
            </a:custGeom>
            <a:grpFill/>
            <a:ln w="27192" cap="flat">
              <a:noFill/>
              <a:prstDash val="solid"/>
              <a:miter/>
            </a:ln>
          </p:spPr>
          <p:txBody>
            <a:bodyPr rtlCol="0" anchor="ctr"/>
            <a:lstStyle/>
            <a:p>
              <a:endParaRPr lang="uk-UA" sz="900">
                <a:solidFill>
                  <a:schemeClr val="bg1"/>
                </a:solidFill>
              </a:endParaRPr>
            </a:p>
          </p:txBody>
        </p:sp>
        <p:sp>
          <p:nvSpPr>
            <p:cNvPr id="127" name="Freeform: Shape 126">
              <a:extLst>
                <a:ext uri="{FF2B5EF4-FFF2-40B4-BE49-F238E27FC236}">
                  <a16:creationId xmlns:a16="http://schemas.microsoft.com/office/drawing/2014/main" id="{0D70427F-531B-ED9A-33C1-4E9723A757DF}"/>
                </a:ext>
              </a:extLst>
            </p:cNvPr>
            <p:cNvSpPr/>
            <p:nvPr/>
          </p:nvSpPr>
          <p:spPr>
            <a:xfrm>
              <a:off x="3446261" y="1968909"/>
              <a:ext cx="435077" cy="435077"/>
            </a:xfrm>
            <a:custGeom>
              <a:avLst/>
              <a:gdLst>
                <a:gd name="connsiteX0" fmla="*/ 0 w 435077"/>
                <a:gd name="connsiteY0" fmla="*/ 435077 h 435077"/>
                <a:gd name="connsiteX1" fmla="*/ 217539 w 435077"/>
                <a:gd name="connsiteY1" fmla="*/ 435077 h 435077"/>
                <a:gd name="connsiteX2" fmla="*/ 217539 w 435077"/>
                <a:gd name="connsiteY2" fmla="*/ 217547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28 h 435077"/>
                <a:gd name="connsiteX7" fmla="*/ 217539 w 435077"/>
                <a:gd name="connsiteY7" fmla="*/ 0 h 435077"/>
                <a:gd name="connsiteX8" fmla="*/ 435077 w 435077"/>
                <a:gd name="connsiteY8" fmla="*/ 435077 h 435077"/>
                <a:gd name="connsiteX9" fmla="*/ 217566 w 435077"/>
                <a:gd name="connsiteY9" fmla="*/ 435077 h 435077"/>
                <a:gd name="connsiteX10" fmla="*/ 435077 w 435077"/>
                <a:gd name="connsiteY10" fmla="*/ 217547 h 435077"/>
                <a:gd name="connsiteX11" fmla="*/ 435077 w 435077"/>
                <a:gd name="connsiteY11" fmla="*/ 435077 h 435077"/>
                <a:gd name="connsiteX12" fmla="*/ 435077 w 435077"/>
                <a:gd name="connsiteY12" fmla="*/ 3 h 435077"/>
                <a:gd name="connsiteX13" fmla="*/ 217566 w 435077"/>
                <a:gd name="connsiteY13" fmla="*/ 3 h 435077"/>
                <a:gd name="connsiteX14" fmla="*/ 435077 w 435077"/>
                <a:gd name="connsiteY14" fmla="*/ 217531 h 435077"/>
                <a:gd name="connsiteX15" fmla="*/ 435077 w 435077"/>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47"/>
                  </a:lnTo>
                  <a:lnTo>
                    <a:pt x="0" y="435077"/>
                  </a:lnTo>
                  <a:close/>
                  <a:moveTo>
                    <a:pt x="217539" y="0"/>
                  </a:moveTo>
                  <a:lnTo>
                    <a:pt x="0" y="0"/>
                  </a:lnTo>
                  <a:lnTo>
                    <a:pt x="217539" y="217528"/>
                  </a:lnTo>
                  <a:lnTo>
                    <a:pt x="217539" y="0"/>
                  </a:lnTo>
                  <a:close/>
                  <a:moveTo>
                    <a:pt x="435077" y="435077"/>
                  </a:moveTo>
                  <a:lnTo>
                    <a:pt x="217566" y="435077"/>
                  </a:lnTo>
                  <a:lnTo>
                    <a:pt x="435077" y="217547"/>
                  </a:lnTo>
                  <a:lnTo>
                    <a:pt x="435077" y="435077"/>
                  </a:lnTo>
                  <a:close/>
                  <a:moveTo>
                    <a:pt x="435077" y="3"/>
                  </a:moveTo>
                  <a:lnTo>
                    <a:pt x="217566" y="3"/>
                  </a:lnTo>
                  <a:lnTo>
                    <a:pt x="435077" y="217531"/>
                  </a:lnTo>
                  <a:lnTo>
                    <a:pt x="435077" y="3"/>
                  </a:lnTo>
                  <a:close/>
                </a:path>
              </a:pathLst>
            </a:custGeom>
            <a:grpFill/>
            <a:ln w="27192" cap="flat">
              <a:noFill/>
              <a:prstDash val="solid"/>
              <a:miter/>
            </a:ln>
          </p:spPr>
          <p:txBody>
            <a:bodyPr rtlCol="0" anchor="ctr"/>
            <a:lstStyle/>
            <a:p>
              <a:endParaRPr lang="uk-UA" sz="900">
                <a:solidFill>
                  <a:schemeClr val="bg1"/>
                </a:solidFill>
              </a:endParaRPr>
            </a:p>
          </p:txBody>
        </p:sp>
        <p:sp>
          <p:nvSpPr>
            <p:cNvPr id="128" name="Freeform: Shape 127">
              <a:extLst>
                <a:ext uri="{FF2B5EF4-FFF2-40B4-BE49-F238E27FC236}">
                  <a16:creationId xmlns:a16="http://schemas.microsoft.com/office/drawing/2014/main" id="{8DB08B4B-B618-6B42-6F57-4E4FDA4F115D}"/>
                </a:ext>
              </a:extLst>
            </p:cNvPr>
            <p:cNvSpPr/>
            <p:nvPr/>
          </p:nvSpPr>
          <p:spPr>
            <a:xfrm>
              <a:off x="5186597" y="1968909"/>
              <a:ext cx="435077" cy="435077"/>
            </a:xfrm>
            <a:custGeom>
              <a:avLst/>
              <a:gdLst>
                <a:gd name="connsiteX0" fmla="*/ 371366 w 435077"/>
                <a:gd name="connsiteY0" fmla="*/ 63714 h 435077"/>
                <a:gd name="connsiteX1" fmla="*/ 435077 w 435077"/>
                <a:gd name="connsiteY1" fmla="*/ 217539 h 435077"/>
                <a:gd name="connsiteX2" fmla="*/ 217702 w 435077"/>
                <a:gd name="connsiteY2" fmla="*/ 217539 h 435077"/>
                <a:gd name="connsiteX3" fmla="*/ 371366 w 435077"/>
                <a:gd name="connsiteY3" fmla="*/ 281253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3 h 435077"/>
                <a:gd name="connsiteX8" fmla="*/ 217376 w 435077"/>
                <a:gd name="connsiteY8" fmla="*/ 217539 h 435077"/>
                <a:gd name="connsiteX9" fmla="*/ 0 w 435077"/>
                <a:gd name="connsiteY9" fmla="*/ 217539 h 435077"/>
                <a:gd name="connsiteX10" fmla="*/ 63712 w 435077"/>
                <a:gd name="connsiteY10" fmla="*/ 63714 h 435077"/>
                <a:gd name="connsiteX11" fmla="*/ 217539 w 435077"/>
                <a:gd name="connsiteY11" fmla="*/ 0 h 435077"/>
                <a:gd name="connsiteX12" fmla="*/ 371366 w 435077"/>
                <a:gd name="connsiteY12" fmla="*/ 63714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4"/>
                  </a:moveTo>
                  <a:cubicBezTo>
                    <a:pt x="412155" y="104511"/>
                    <a:pt x="435077" y="159842"/>
                    <a:pt x="435077" y="217539"/>
                  </a:cubicBezTo>
                  <a:lnTo>
                    <a:pt x="217702" y="217539"/>
                  </a:lnTo>
                  <a:cubicBezTo>
                    <a:pt x="275350" y="217582"/>
                    <a:pt x="330605" y="240497"/>
                    <a:pt x="371366" y="281253"/>
                  </a:cubicBezTo>
                  <a:cubicBezTo>
                    <a:pt x="412155" y="322050"/>
                    <a:pt x="435077" y="377381"/>
                    <a:pt x="435077" y="435077"/>
                  </a:cubicBezTo>
                  <a:lnTo>
                    <a:pt x="217539" y="435077"/>
                  </a:lnTo>
                  <a:lnTo>
                    <a:pt x="0" y="435077"/>
                  </a:lnTo>
                  <a:cubicBezTo>
                    <a:pt x="0" y="377381"/>
                    <a:pt x="22924" y="322050"/>
                    <a:pt x="63712" y="281253"/>
                  </a:cubicBezTo>
                  <a:cubicBezTo>
                    <a:pt x="104473" y="240497"/>
                    <a:pt x="159728" y="217582"/>
                    <a:pt x="217376" y="217539"/>
                  </a:cubicBezTo>
                  <a:lnTo>
                    <a:pt x="0" y="217539"/>
                  </a:lnTo>
                  <a:cubicBezTo>
                    <a:pt x="0" y="159842"/>
                    <a:pt x="22924" y="104511"/>
                    <a:pt x="63712" y="63714"/>
                  </a:cubicBezTo>
                  <a:cubicBezTo>
                    <a:pt x="104501" y="22918"/>
                    <a:pt x="159837" y="0"/>
                    <a:pt x="217539" y="0"/>
                  </a:cubicBezTo>
                  <a:cubicBezTo>
                    <a:pt x="275241" y="0"/>
                    <a:pt x="330550" y="22918"/>
                    <a:pt x="371366" y="63714"/>
                  </a:cubicBezTo>
                  <a:close/>
                </a:path>
              </a:pathLst>
            </a:custGeom>
            <a:grpFill/>
            <a:ln w="27192" cap="flat">
              <a:noFill/>
              <a:prstDash val="solid"/>
              <a:miter/>
            </a:ln>
          </p:spPr>
          <p:txBody>
            <a:bodyPr rtlCol="0" anchor="ctr"/>
            <a:lstStyle/>
            <a:p>
              <a:endParaRPr lang="uk-UA" sz="900">
                <a:solidFill>
                  <a:schemeClr val="bg1"/>
                </a:solidFill>
              </a:endParaRPr>
            </a:p>
          </p:txBody>
        </p:sp>
        <p:sp>
          <p:nvSpPr>
            <p:cNvPr id="129" name="Freeform: Shape 128">
              <a:extLst>
                <a:ext uri="{FF2B5EF4-FFF2-40B4-BE49-F238E27FC236}">
                  <a16:creationId xmlns:a16="http://schemas.microsoft.com/office/drawing/2014/main" id="{74652AA6-3AA6-4A9F-FB92-B8EAE0443B5A}"/>
                </a:ext>
              </a:extLst>
            </p:cNvPr>
            <p:cNvSpPr/>
            <p:nvPr/>
          </p:nvSpPr>
          <p:spPr>
            <a:xfrm>
              <a:off x="6056752" y="1968909"/>
              <a:ext cx="435077" cy="435074"/>
            </a:xfrm>
            <a:custGeom>
              <a:avLst/>
              <a:gdLst>
                <a:gd name="connsiteX0" fmla="*/ 217539 w 435077"/>
                <a:gd name="connsiteY0" fmla="*/ 217539 h 435074"/>
                <a:gd name="connsiteX1" fmla="*/ 217539 w 435077"/>
                <a:gd name="connsiteY1" fmla="*/ 217536 h 435074"/>
                <a:gd name="connsiteX2" fmla="*/ 0 w 435077"/>
                <a:gd name="connsiteY2" fmla="*/ 0 h 435074"/>
                <a:gd name="connsiteX3" fmla="*/ 217539 w 435077"/>
                <a:gd name="connsiteY3" fmla="*/ 0 h 435074"/>
                <a:gd name="connsiteX4" fmla="*/ 217539 w 435077"/>
                <a:gd name="connsiteY4" fmla="*/ 5 h 435074"/>
                <a:gd name="connsiteX5" fmla="*/ 435077 w 435077"/>
                <a:gd name="connsiteY5" fmla="*/ 217533 h 435074"/>
                <a:gd name="connsiteX6" fmla="*/ 435077 w 435077"/>
                <a:gd name="connsiteY6" fmla="*/ 217533 h 435074"/>
                <a:gd name="connsiteX7" fmla="*/ 435077 w 435077"/>
                <a:gd name="connsiteY7" fmla="*/ 217539 h 435074"/>
                <a:gd name="connsiteX8" fmla="*/ 435077 w 435077"/>
                <a:gd name="connsiteY8" fmla="*/ 217541 h 435074"/>
                <a:gd name="connsiteX9" fmla="*/ 435077 w 435077"/>
                <a:gd name="connsiteY9" fmla="*/ 217541 h 435074"/>
                <a:gd name="connsiteX10" fmla="*/ 217539 w 435077"/>
                <a:gd name="connsiteY10" fmla="*/ 435072 h 435074"/>
                <a:gd name="connsiteX11" fmla="*/ 217539 w 435077"/>
                <a:gd name="connsiteY11" fmla="*/ 435075 h 435074"/>
                <a:gd name="connsiteX12" fmla="*/ 0 w 435077"/>
                <a:gd name="connsiteY12" fmla="*/ 435075 h 435074"/>
                <a:gd name="connsiteX13" fmla="*/ 217539 w 435077"/>
                <a:gd name="connsiteY13" fmla="*/ 217539 h 43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4">
                  <a:moveTo>
                    <a:pt x="217539" y="217539"/>
                  </a:moveTo>
                  <a:lnTo>
                    <a:pt x="217539" y="217536"/>
                  </a:lnTo>
                  <a:lnTo>
                    <a:pt x="0" y="0"/>
                  </a:lnTo>
                  <a:lnTo>
                    <a:pt x="217539" y="0"/>
                  </a:lnTo>
                  <a:lnTo>
                    <a:pt x="217539" y="5"/>
                  </a:lnTo>
                  <a:lnTo>
                    <a:pt x="435077" y="217533"/>
                  </a:lnTo>
                  <a:lnTo>
                    <a:pt x="435077" y="217533"/>
                  </a:lnTo>
                  <a:lnTo>
                    <a:pt x="435077" y="217539"/>
                  </a:lnTo>
                  <a:lnTo>
                    <a:pt x="435077" y="217541"/>
                  </a:lnTo>
                  <a:lnTo>
                    <a:pt x="435077" y="217541"/>
                  </a:lnTo>
                  <a:lnTo>
                    <a:pt x="217539" y="435072"/>
                  </a:lnTo>
                  <a:lnTo>
                    <a:pt x="217539" y="435075"/>
                  </a:lnTo>
                  <a:lnTo>
                    <a:pt x="0" y="435075"/>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130" name="Freeform: Shape 129">
              <a:extLst>
                <a:ext uri="{FF2B5EF4-FFF2-40B4-BE49-F238E27FC236}">
                  <a16:creationId xmlns:a16="http://schemas.microsoft.com/office/drawing/2014/main" id="{1A49FCF4-46B1-9AC9-DCA3-FE2FB03F04FE}"/>
                </a:ext>
              </a:extLst>
            </p:cNvPr>
            <p:cNvSpPr/>
            <p:nvPr/>
          </p:nvSpPr>
          <p:spPr>
            <a:xfrm>
              <a:off x="7797062" y="196890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solidFill>
                  <a:schemeClr val="bg1"/>
                </a:solidFill>
              </a:endParaRPr>
            </a:p>
          </p:txBody>
        </p:sp>
        <p:sp>
          <p:nvSpPr>
            <p:cNvPr id="131" name="Freeform: Shape 130">
              <a:extLst>
                <a:ext uri="{FF2B5EF4-FFF2-40B4-BE49-F238E27FC236}">
                  <a16:creationId xmlns:a16="http://schemas.microsoft.com/office/drawing/2014/main" id="{A7BBCB2A-FBBF-0B97-7041-0D967DCA9A37}"/>
                </a:ext>
              </a:extLst>
            </p:cNvPr>
            <p:cNvSpPr/>
            <p:nvPr/>
          </p:nvSpPr>
          <p:spPr>
            <a:xfrm>
              <a:off x="6926907" y="1968909"/>
              <a:ext cx="435077" cy="435077"/>
            </a:xfrm>
            <a:custGeom>
              <a:avLst/>
              <a:gdLst>
                <a:gd name="connsiteX0" fmla="*/ 0 w 435077"/>
                <a:gd name="connsiteY0" fmla="*/ 435077 h 435077"/>
                <a:gd name="connsiteX1" fmla="*/ 217539 w 435077"/>
                <a:gd name="connsiteY1" fmla="*/ 435077 h 435077"/>
                <a:gd name="connsiteX2" fmla="*/ 217539 w 435077"/>
                <a:gd name="connsiteY2" fmla="*/ 217547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28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47 h 435077"/>
                <a:gd name="connsiteX11" fmla="*/ 435077 w 435077"/>
                <a:gd name="connsiteY11" fmla="*/ 435077 h 435077"/>
                <a:gd name="connsiteX12" fmla="*/ 435077 w 435077"/>
                <a:gd name="connsiteY12" fmla="*/ 3 h 435077"/>
                <a:gd name="connsiteX13" fmla="*/ 217539 w 435077"/>
                <a:gd name="connsiteY13" fmla="*/ 3 h 435077"/>
                <a:gd name="connsiteX14" fmla="*/ 435077 w 435077"/>
                <a:gd name="connsiteY14" fmla="*/ 217531 h 435077"/>
                <a:gd name="connsiteX15" fmla="*/ 435077 w 435077"/>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47"/>
                  </a:lnTo>
                  <a:lnTo>
                    <a:pt x="0" y="435077"/>
                  </a:lnTo>
                  <a:close/>
                  <a:moveTo>
                    <a:pt x="217539" y="0"/>
                  </a:moveTo>
                  <a:lnTo>
                    <a:pt x="0" y="0"/>
                  </a:lnTo>
                  <a:lnTo>
                    <a:pt x="217539" y="217528"/>
                  </a:lnTo>
                  <a:lnTo>
                    <a:pt x="217539" y="0"/>
                  </a:lnTo>
                  <a:close/>
                  <a:moveTo>
                    <a:pt x="435077" y="435077"/>
                  </a:moveTo>
                  <a:lnTo>
                    <a:pt x="217539" y="435077"/>
                  </a:lnTo>
                  <a:lnTo>
                    <a:pt x="435077" y="217547"/>
                  </a:lnTo>
                  <a:lnTo>
                    <a:pt x="435077" y="435077"/>
                  </a:lnTo>
                  <a:close/>
                  <a:moveTo>
                    <a:pt x="435077" y="3"/>
                  </a:moveTo>
                  <a:lnTo>
                    <a:pt x="217539" y="3"/>
                  </a:lnTo>
                  <a:lnTo>
                    <a:pt x="435077" y="217531"/>
                  </a:lnTo>
                  <a:lnTo>
                    <a:pt x="435077" y="3"/>
                  </a:lnTo>
                  <a:close/>
                </a:path>
              </a:pathLst>
            </a:custGeom>
            <a:grpFill/>
            <a:ln w="27192" cap="flat">
              <a:noFill/>
              <a:prstDash val="solid"/>
              <a:miter/>
            </a:ln>
          </p:spPr>
          <p:txBody>
            <a:bodyPr rtlCol="0" anchor="ctr"/>
            <a:lstStyle/>
            <a:p>
              <a:endParaRPr lang="uk-UA" sz="900">
                <a:solidFill>
                  <a:schemeClr val="bg1"/>
                </a:solidFill>
              </a:endParaRPr>
            </a:p>
          </p:txBody>
        </p:sp>
        <p:sp>
          <p:nvSpPr>
            <p:cNvPr id="132" name="Freeform: Shape 131">
              <a:extLst>
                <a:ext uri="{FF2B5EF4-FFF2-40B4-BE49-F238E27FC236}">
                  <a16:creationId xmlns:a16="http://schemas.microsoft.com/office/drawing/2014/main" id="{E534CDB1-0E36-9C00-4810-3FCD1617F659}"/>
                </a:ext>
              </a:extLst>
            </p:cNvPr>
            <p:cNvSpPr/>
            <p:nvPr/>
          </p:nvSpPr>
          <p:spPr>
            <a:xfrm>
              <a:off x="8667217" y="1968909"/>
              <a:ext cx="435104" cy="435077"/>
            </a:xfrm>
            <a:custGeom>
              <a:avLst/>
              <a:gdLst>
                <a:gd name="connsiteX0" fmla="*/ 371366 w 435104"/>
                <a:gd name="connsiteY0" fmla="*/ 63714 h 435077"/>
                <a:gd name="connsiteX1" fmla="*/ 435077 w 435104"/>
                <a:gd name="connsiteY1" fmla="*/ 217539 h 435077"/>
                <a:gd name="connsiteX2" fmla="*/ 217730 w 435104"/>
                <a:gd name="connsiteY2" fmla="*/ 217539 h 435077"/>
                <a:gd name="connsiteX3" fmla="*/ 371366 w 435104"/>
                <a:gd name="connsiteY3" fmla="*/ 281253 h 435077"/>
                <a:gd name="connsiteX4" fmla="*/ 435105 w 435104"/>
                <a:gd name="connsiteY4" fmla="*/ 435077 h 435077"/>
                <a:gd name="connsiteX5" fmla="*/ 217566 w 435104"/>
                <a:gd name="connsiteY5" fmla="*/ 435077 h 435077"/>
                <a:gd name="connsiteX6" fmla="*/ 27 w 435104"/>
                <a:gd name="connsiteY6" fmla="*/ 435077 h 435077"/>
                <a:gd name="connsiteX7" fmla="*/ 63739 w 435104"/>
                <a:gd name="connsiteY7" fmla="*/ 281253 h 435077"/>
                <a:gd name="connsiteX8" fmla="*/ 217376 w 435104"/>
                <a:gd name="connsiteY8" fmla="*/ 217539 h 435077"/>
                <a:gd name="connsiteX9" fmla="*/ 0 w 435104"/>
                <a:gd name="connsiteY9" fmla="*/ 217539 h 435077"/>
                <a:gd name="connsiteX10" fmla="*/ 63739 w 435104"/>
                <a:gd name="connsiteY10" fmla="*/ 63714 h 435077"/>
                <a:gd name="connsiteX11" fmla="*/ 217539 w 435104"/>
                <a:gd name="connsiteY11" fmla="*/ 0 h 435077"/>
                <a:gd name="connsiteX12" fmla="*/ 371366 w 435104"/>
                <a:gd name="connsiteY12" fmla="*/ 63714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4" h="435077">
                  <a:moveTo>
                    <a:pt x="371366" y="63714"/>
                  </a:moveTo>
                  <a:cubicBezTo>
                    <a:pt x="412182" y="104511"/>
                    <a:pt x="435077" y="159842"/>
                    <a:pt x="435077" y="217539"/>
                  </a:cubicBezTo>
                  <a:lnTo>
                    <a:pt x="217730" y="217539"/>
                  </a:lnTo>
                  <a:cubicBezTo>
                    <a:pt x="275350" y="217582"/>
                    <a:pt x="330632" y="240497"/>
                    <a:pt x="371366" y="281253"/>
                  </a:cubicBezTo>
                  <a:cubicBezTo>
                    <a:pt x="412182" y="322050"/>
                    <a:pt x="435105" y="377381"/>
                    <a:pt x="435105" y="435077"/>
                  </a:cubicBezTo>
                  <a:lnTo>
                    <a:pt x="217566" y="435077"/>
                  </a:lnTo>
                  <a:lnTo>
                    <a:pt x="27" y="435077"/>
                  </a:lnTo>
                  <a:cubicBezTo>
                    <a:pt x="27" y="377381"/>
                    <a:pt x="22924" y="322050"/>
                    <a:pt x="63739" y="281253"/>
                  </a:cubicBezTo>
                  <a:cubicBezTo>
                    <a:pt x="104501" y="240497"/>
                    <a:pt x="159755" y="217582"/>
                    <a:pt x="217376" y="217539"/>
                  </a:cubicBezTo>
                  <a:lnTo>
                    <a:pt x="0" y="217539"/>
                  </a:lnTo>
                  <a:cubicBezTo>
                    <a:pt x="0" y="159842"/>
                    <a:pt x="22924" y="104511"/>
                    <a:pt x="63739" y="63714"/>
                  </a:cubicBezTo>
                  <a:cubicBezTo>
                    <a:pt x="104527" y="22918"/>
                    <a:pt x="159864" y="0"/>
                    <a:pt x="217539" y="0"/>
                  </a:cubicBezTo>
                  <a:cubicBezTo>
                    <a:pt x="275241" y="0"/>
                    <a:pt x="330578" y="22918"/>
                    <a:pt x="371366" y="63714"/>
                  </a:cubicBezTo>
                  <a:close/>
                </a:path>
              </a:pathLst>
            </a:custGeom>
            <a:grpFill/>
            <a:ln w="27192" cap="flat">
              <a:noFill/>
              <a:prstDash val="solid"/>
              <a:miter/>
            </a:ln>
          </p:spPr>
          <p:txBody>
            <a:bodyPr rtlCol="0" anchor="ctr"/>
            <a:lstStyle/>
            <a:p>
              <a:endParaRPr lang="uk-UA" sz="900">
                <a:solidFill>
                  <a:schemeClr val="bg1"/>
                </a:solidFill>
              </a:endParaRPr>
            </a:p>
          </p:txBody>
        </p:sp>
        <p:sp>
          <p:nvSpPr>
            <p:cNvPr id="133" name="Freeform: Shape 132">
              <a:extLst>
                <a:ext uri="{FF2B5EF4-FFF2-40B4-BE49-F238E27FC236}">
                  <a16:creationId xmlns:a16="http://schemas.microsoft.com/office/drawing/2014/main" id="{5C079C36-A366-3D54-6E17-E6BCFE4A0606}"/>
                </a:ext>
              </a:extLst>
            </p:cNvPr>
            <p:cNvSpPr/>
            <p:nvPr/>
          </p:nvSpPr>
          <p:spPr>
            <a:xfrm>
              <a:off x="9537399" y="1968909"/>
              <a:ext cx="435077" cy="435074"/>
            </a:xfrm>
            <a:custGeom>
              <a:avLst/>
              <a:gdLst>
                <a:gd name="connsiteX0" fmla="*/ 217539 w 435077"/>
                <a:gd name="connsiteY0" fmla="*/ 217539 h 435074"/>
                <a:gd name="connsiteX1" fmla="*/ 217539 w 435077"/>
                <a:gd name="connsiteY1" fmla="*/ 217536 h 435074"/>
                <a:gd name="connsiteX2" fmla="*/ 0 w 435077"/>
                <a:gd name="connsiteY2" fmla="*/ 0 h 435074"/>
                <a:gd name="connsiteX3" fmla="*/ 217539 w 435077"/>
                <a:gd name="connsiteY3" fmla="*/ 0 h 435074"/>
                <a:gd name="connsiteX4" fmla="*/ 217539 w 435077"/>
                <a:gd name="connsiteY4" fmla="*/ 5 h 435074"/>
                <a:gd name="connsiteX5" fmla="*/ 435050 w 435077"/>
                <a:gd name="connsiteY5" fmla="*/ 217533 h 435074"/>
                <a:gd name="connsiteX6" fmla="*/ 435077 w 435077"/>
                <a:gd name="connsiteY6" fmla="*/ 217533 h 435074"/>
                <a:gd name="connsiteX7" fmla="*/ 435050 w 435077"/>
                <a:gd name="connsiteY7" fmla="*/ 217539 h 435074"/>
                <a:gd name="connsiteX8" fmla="*/ 435077 w 435077"/>
                <a:gd name="connsiteY8" fmla="*/ 217541 h 435074"/>
                <a:gd name="connsiteX9" fmla="*/ 435050 w 435077"/>
                <a:gd name="connsiteY9" fmla="*/ 217541 h 435074"/>
                <a:gd name="connsiteX10" fmla="*/ 217539 w 435077"/>
                <a:gd name="connsiteY10" fmla="*/ 435072 h 435074"/>
                <a:gd name="connsiteX11" fmla="*/ 217539 w 435077"/>
                <a:gd name="connsiteY11" fmla="*/ 435075 h 435074"/>
                <a:gd name="connsiteX12" fmla="*/ 0 w 435077"/>
                <a:gd name="connsiteY12" fmla="*/ 435075 h 435074"/>
                <a:gd name="connsiteX13" fmla="*/ 217539 w 435077"/>
                <a:gd name="connsiteY13" fmla="*/ 217539 h 43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4">
                  <a:moveTo>
                    <a:pt x="217539" y="217539"/>
                  </a:moveTo>
                  <a:lnTo>
                    <a:pt x="217539" y="217536"/>
                  </a:lnTo>
                  <a:lnTo>
                    <a:pt x="0" y="0"/>
                  </a:lnTo>
                  <a:lnTo>
                    <a:pt x="217539" y="0"/>
                  </a:lnTo>
                  <a:lnTo>
                    <a:pt x="217539" y="5"/>
                  </a:lnTo>
                  <a:lnTo>
                    <a:pt x="435050" y="217533"/>
                  </a:lnTo>
                  <a:lnTo>
                    <a:pt x="435077" y="217533"/>
                  </a:lnTo>
                  <a:lnTo>
                    <a:pt x="435050" y="217539"/>
                  </a:lnTo>
                  <a:lnTo>
                    <a:pt x="435077" y="217541"/>
                  </a:lnTo>
                  <a:lnTo>
                    <a:pt x="435050" y="217541"/>
                  </a:lnTo>
                  <a:lnTo>
                    <a:pt x="217539" y="435072"/>
                  </a:lnTo>
                  <a:lnTo>
                    <a:pt x="217539" y="435075"/>
                  </a:lnTo>
                  <a:lnTo>
                    <a:pt x="0" y="435075"/>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134" name="Freeform: Shape 133">
              <a:extLst>
                <a:ext uri="{FF2B5EF4-FFF2-40B4-BE49-F238E27FC236}">
                  <a16:creationId xmlns:a16="http://schemas.microsoft.com/office/drawing/2014/main" id="{14311269-CECF-F3C6-65C2-ECA67C254A72}"/>
                </a:ext>
              </a:extLst>
            </p:cNvPr>
            <p:cNvSpPr/>
            <p:nvPr/>
          </p:nvSpPr>
          <p:spPr>
            <a:xfrm>
              <a:off x="11277709" y="196890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35" name="Freeform: Shape 134">
              <a:extLst>
                <a:ext uri="{FF2B5EF4-FFF2-40B4-BE49-F238E27FC236}">
                  <a16:creationId xmlns:a16="http://schemas.microsoft.com/office/drawing/2014/main" id="{62B5D6D0-F6DE-2E39-3D16-450A0D759871}"/>
                </a:ext>
              </a:extLst>
            </p:cNvPr>
            <p:cNvSpPr/>
            <p:nvPr/>
          </p:nvSpPr>
          <p:spPr>
            <a:xfrm>
              <a:off x="10407554" y="1968909"/>
              <a:ext cx="435077" cy="435077"/>
            </a:xfrm>
            <a:custGeom>
              <a:avLst/>
              <a:gdLst>
                <a:gd name="connsiteX0" fmla="*/ 0 w 435077"/>
                <a:gd name="connsiteY0" fmla="*/ 435075 h 435077"/>
                <a:gd name="connsiteX1" fmla="*/ 217511 w 435077"/>
                <a:gd name="connsiteY1" fmla="*/ 435075 h 435077"/>
                <a:gd name="connsiteX2" fmla="*/ 217511 w 435077"/>
                <a:gd name="connsiteY2" fmla="*/ 217547 h 435077"/>
                <a:gd name="connsiteX3" fmla="*/ 0 w 435077"/>
                <a:gd name="connsiteY3" fmla="*/ 435075 h 435077"/>
                <a:gd name="connsiteX4" fmla="*/ 217511 w 435077"/>
                <a:gd name="connsiteY4" fmla="*/ 0 h 435077"/>
                <a:gd name="connsiteX5" fmla="*/ 0 w 435077"/>
                <a:gd name="connsiteY5" fmla="*/ 0 h 435077"/>
                <a:gd name="connsiteX6" fmla="*/ 217511 w 435077"/>
                <a:gd name="connsiteY6" fmla="*/ 217528 h 435077"/>
                <a:gd name="connsiteX7" fmla="*/ 217511 w 435077"/>
                <a:gd name="connsiteY7" fmla="*/ 0 h 435077"/>
                <a:gd name="connsiteX8" fmla="*/ 435077 w 435077"/>
                <a:gd name="connsiteY8" fmla="*/ 435077 h 435077"/>
                <a:gd name="connsiteX9" fmla="*/ 217539 w 435077"/>
                <a:gd name="connsiteY9" fmla="*/ 435077 h 435077"/>
                <a:gd name="connsiteX10" fmla="*/ 435077 w 435077"/>
                <a:gd name="connsiteY10" fmla="*/ 217547 h 435077"/>
                <a:gd name="connsiteX11" fmla="*/ 435077 w 435077"/>
                <a:gd name="connsiteY11" fmla="*/ 435077 h 435077"/>
                <a:gd name="connsiteX12" fmla="*/ 435077 w 435077"/>
                <a:gd name="connsiteY12" fmla="*/ 3 h 435077"/>
                <a:gd name="connsiteX13" fmla="*/ 217539 w 435077"/>
                <a:gd name="connsiteY13" fmla="*/ 3 h 435077"/>
                <a:gd name="connsiteX14" fmla="*/ 435077 w 435077"/>
                <a:gd name="connsiteY14" fmla="*/ 217531 h 435077"/>
                <a:gd name="connsiteX15" fmla="*/ 435077 w 435077"/>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5"/>
                  </a:moveTo>
                  <a:lnTo>
                    <a:pt x="217511" y="435075"/>
                  </a:lnTo>
                  <a:lnTo>
                    <a:pt x="217511" y="217547"/>
                  </a:lnTo>
                  <a:lnTo>
                    <a:pt x="0" y="435075"/>
                  </a:lnTo>
                  <a:close/>
                  <a:moveTo>
                    <a:pt x="217511" y="0"/>
                  </a:moveTo>
                  <a:lnTo>
                    <a:pt x="0" y="0"/>
                  </a:lnTo>
                  <a:lnTo>
                    <a:pt x="217511" y="217528"/>
                  </a:lnTo>
                  <a:lnTo>
                    <a:pt x="217511" y="0"/>
                  </a:lnTo>
                  <a:close/>
                  <a:moveTo>
                    <a:pt x="435077" y="435077"/>
                  </a:moveTo>
                  <a:lnTo>
                    <a:pt x="217539" y="435077"/>
                  </a:lnTo>
                  <a:lnTo>
                    <a:pt x="435077" y="217547"/>
                  </a:lnTo>
                  <a:lnTo>
                    <a:pt x="435077" y="435077"/>
                  </a:lnTo>
                  <a:close/>
                  <a:moveTo>
                    <a:pt x="435077" y="3"/>
                  </a:moveTo>
                  <a:lnTo>
                    <a:pt x="217539" y="3"/>
                  </a:lnTo>
                  <a:lnTo>
                    <a:pt x="435077" y="217531"/>
                  </a:lnTo>
                  <a:lnTo>
                    <a:pt x="435077" y="3"/>
                  </a:lnTo>
                  <a:close/>
                </a:path>
              </a:pathLst>
            </a:custGeom>
            <a:grpFill/>
            <a:ln w="27192" cap="flat">
              <a:noFill/>
              <a:prstDash val="solid"/>
              <a:miter/>
            </a:ln>
          </p:spPr>
          <p:txBody>
            <a:bodyPr rtlCol="0" anchor="ctr"/>
            <a:lstStyle/>
            <a:p>
              <a:endParaRPr lang="uk-UA" sz="900">
                <a:solidFill>
                  <a:schemeClr val="bg1"/>
                </a:solidFill>
              </a:endParaRPr>
            </a:p>
          </p:txBody>
        </p:sp>
        <p:sp>
          <p:nvSpPr>
            <p:cNvPr id="136" name="Freeform: Shape 135">
              <a:extLst>
                <a:ext uri="{FF2B5EF4-FFF2-40B4-BE49-F238E27FC236}">
                  <a16:creationId xmlns:a16="http://schemas.microsoft.com/office/drawing/2014/main" id="{00F46930-3ACF-D992-7058-263AF4B5267D}"/>
                </a:ext>
              </a:extLst>
            </p:cNvPr>
            <p:cNvSpPr/>
            <p:nvPr/>
          </p:nvSpPr>
          <p:spPr>
            <a:xfrm>
              <a:off x="12147864" y="1968909"/>
              <a:ext cx="435103" cy="435077"/>
            </a:xfrm>
            <a:custGeom>
              <a:avLst/>
              <a:gdLst>
                <a:gd name="connsiteX0" fmla="*/ 371365 w 435103"/>
                <a:gd name="connsiteY0" fmla="*/ 63714 h 435077"/>
                <a:gd name="connsiteX1" fmla="*/ 435077 w 435103"/>
                <a:gd name="connsiteY1" fmla="*/ 217539 h 435077"/>
                <a:gd name="connsiteX2" fmla="*/ 217728 w 435103"/>
                <a:gd name="connsiteY2" fmla="*/ 217539 h 435077"/>
                <a:gd name="connsiteX3" fmla="*/ 371365 w 435103"/>
                <a:gd name="connsiteY3" fmla="*/ 281253 h 435077"/>
                <a:gd name="connsiteX4" fmla="*/ 435104 w 435103"/>
                <a:gd name="connsiteY4" fmla="*/ 435077 h 435077"/>
                <a:gd name="connsiteX5" fmla="*/ 217565 w 435103"/>
                <a:gd name="connsiteY5" fmla="*/ 435077 h 435077"/>
                <a:gd name="connsiteX6" fmla="*/ 27 w 435103"/>
                <a:gd name="connsiteY6" fmla="*/ 435077 h 435077"/>
                <a:gd name="connsiteX7" fmla="*/ 63739 w 435103"/>
                <a:gd name="connsiteY7" fmla="*/ 281253 h 435077"/>
                <a:gd name="connsiteX8" fmla="*/ 217374 w 435103"/>
                <a:gd name="connsiteY8" fmla="*/ 217539 h 435077"/>
                <a:gd name="connsiteX9" fmla="*/ 0 w 435103"/>
                <a:gd name="connsiteY9" fmla="*/ 217539 h 435077"/>
                <a:gd name="connsiteX10" fmla="*/ 63739 w 435103"/>
                <a:gd name="connsiteY10" fmla="*/ 63714 h 435077"/>
                <a:gd name="connsiteX11" fmla="*/ 217539 w 435103"/>
                <a:gd name="connsiteY11" fmla="*/ 0 h 435077"/>
                <a:gd name="connsiteX12" fmla="*/ 371365 w 435103"/>
                <a:gd name="connsiteY12" fmla="*/ 63714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3" h="435077">
                  <a:moveTo>
                    <a:pt x="371365" y="63714"/>
                  </a:moveTo>
                  <a:cubicBezTo>
                    <a:pt x="412180" y="104511"/>
                    <a:pt x="435077" y="159842"/>
                    <a:pt x="435077" y="217539"/>
                  </a:cubicBezTo>
                  <a:lnTo>
                    <a:pt x="217728" y="217539"/>
                  </a:lnTo>
                  <a:cubicBezTo>
                    <a:pt x="275349" y="217582"/>
                    <a:pt x="330632" y="240497"/>
                    <a:pt x="371365" y="281253"/>
                  </a:cubicBezTo>
                  <a:cubicBezTo>
                    <a:pt x="412180" y="322050"/>
                    <a:pt x="435104" y="377381"/>
                    <a:pt x="435104" y="435077"/>
                  </a:cubicBezTo>
                  <a:lnTo>
                    <a:pt x="217565" y="435077"/>
                  </a:lnTo>
                  <a:lnTo>
                    <a:pt x="27" y="435077"/>
                  </a:lnTo>
                  <a:cubicBezTo>
                    <a:pt x="27" y="377381"/>
                    <a:pt x="22922" y="322050"/>
                    <a:pt x="63739" y="281253"/>
                  </a:cubicBezTo>
                  <a:cubicBezTo>
                    <a:pt x="104499" y="240497"/>
                    <a:pt x="159755" y="217582"/>
                    <a:pt x="217374" y="217539"/>
                  </a:cubicBezTo>
                  <a:lnTo>
                    <a:pt x="0" y="217539"/>
                  </a:lnTo>
                  <a:cubicBezTo>
                    <a:pt x="0" y="159842"/>
                    <a:pt x="22922" y="104511"/>
                    <a:pt x="63739" y="63714"/>
                  </a:cubicBezTo>
                  <a:cubicBezTo>
                    <a:pt x="104527" y="22918"/>
                    <a:pt x="159863" y="0"/>
                    <a:pt x="217539" y="0"/>
                  </a:cubicBezTo>
                  <a:cubicBezTo>
                    <a:pt x="275239" y="0"/>
                    <a:pt x="330577" y="22918"/>
                    <a:pt x="371365" y="63714"/>
                  </a:cubicBezTo>
                  <a:close/>
                </a:path>
              </a:pathLst>
            </a:custGeom>
            <a:grpFill/>
            <a:ln w="27192" cap="flat">
              <a:noFill/>
              <a:prstDash val="solid"/>
              <a:miter/>
            </a:ln>
          </p:spPr>
          <p:txBody>
            <a:bodyPr rtlCol="0" anchor="ctr"/>
            <a:lstStyle/>
            <a:p>
              <a:endParaRPr lang="uk-UA" sz="900">
                <a:solidFill>
                  <a:schemeClr val="bg1"/>
                </a:solidFill>
              </a:endParaRPr>
            </a:p>
          </p:txBody>
        </p:sp>
        <p:sp>
          <p:nvSpPr>
            <p:cNvPr id="137" name="Freeform: Shape 136">
              <a:extLst>
                <a:ext uri="{FF2B5EF4-FFF2-40B4-BE49-F238E27FC236}">
                  <a16:creationId xmlns:a16="http://schemas.microsoft.com/office/drawing/2014/main" id="{CC6267F4-432A-BBFC-CA90-5718676F2B75}"/>
                </a:ext>
              </a:extLst>
            </p:cNvPr>
            <p:cNvSpPr/>
            <p:nvPr/>
          </p:nvSpPr>
          <p:spPr>
            <a:xfrm>
              <a:off x="13017991" y="1968906"/>
              <a:ext cx="435077" cy="435077"/>
            </a:xfrm>
            <a:custGeom>
              <a:avLst/>
              <a:gdLst>
                <a:gd name="connsiteX0" fmla="*/ 217539 w 435077"/>
                <a:gd name="connsiteY0" fmla="*/ 217533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2 h 435077"/>
                <a:gd name="connsiteX7" fmla="*/ 435077 w 435077"/>
                <a:gd name="connsiteY7" fmla="*/ 217541 h 435077"/>
                <a:gd name="connsiteX8" fmla="*/ 435077 w 435077"/>
                <a:gd name="connsiteY8" fmla="*/ 217541 h 435077"/>
                <a:gd name="connsiteX9" fmla="*/ 435077 w 435077"/>
                <a:gd name="connsiteY9" fmla="*/ 217539 h 435077"/>
                <a:gd name="connsiteX10" fmla="*/ 435077 w 435077"/>
                <a:gd name="connsiteY10" fmla="*/ 217533 h 435077"/>
                <a:gd name="connsiteX11" fmla="*/ 435077 w 435077"/>
                <a:gd name="connsiteY11" fmla="*/ 217533 h 435077"/>
                <a:gd name="connsiteX12" fmla="*/ 217539 w 435077"/>
                <a:gd name="connsiteY12" fmla="*/ 5 h 435077"/>
                <a:gd name="connsiteX13" fmla="*/ 217539 w 435077"/>
                <a:gd name="connsiteY13" fmla="*/ 217533 h 435077"/>
                <a:gd name="connsiteX14" fmla="*/ 217539 w 435077"/>
                <a:gd name="connsiteY14" fmla="*/ 21753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3"/>
                  </a:moveTo>
                  <a:lnTo>
                    <a:pt x="217539" y="0"/>
                  </a:lnTo>
                  <a:lnTo>
                    <a:pt x="0" y="0"/>
                  </a:lnTo>
                  <a:lnTo>
                    <a:pt x="217539" y="217539"/>
                  </a:lnTo>
                  <a:lnTo>
                    <a:pt x="0" y="435077"/>
                  </a:lnTo>
                  <a:lnTo>
                    <a:pt x="217539" y="435077"/>
                  </a:lnTo>
                  <a:lnTo>
                    <a:pt x="217539" y="435072"/>
                  </a:lnTo>
                  <a:lnTo>
                    <a:pt x="435077" y="217541"/>
                  </a:lnTo>
                  <a:lnTo>
                    <a:pt x="435077" y="217541"/>
                  </a:lnTo>
                  <a:lnTo>
                    <a:pt x="435077" y="217539"/>
                  </a:lnTo>
                  <a:lnTo>
                    <a:pt x="435077" y="217533"/>
                  </a:lnTo>
                  <a:lnTo>
                    <a:pt x="435077" y="217533"/>
                  </a:lnTo>
                  <a:lnTo>
                    <a:pt x="217539" y="5"/>
                  </a:lnTo>
                  <a:lnTo>
                    <a:pt x="217539" y="217533"/>
                  </a:lnTo>
                  <a:lnTo>
                    <a:pt x="217539" y="217533"/>
                  </a:lnTo>
                  <a:close/>
                </a:path>
              </a:pathLst>
            </a:custGeom>
            <a:grpFill/>
            <a:ln w="27192" cap="flat">
              <a:noFill/>
              <a:prstDash val="solid"/>
              <a:miter/>
            </a:ln>
          </p:spPr>
          <p:txBody>
            <a:bodyPr rtlCol="0" anchor="ctr"/>
            <a:lstStyle/>
            <a:p>
              <a:endParaRPr lang="uk-UA" sz="900">
                <a:solidFill>
                  <a:schemeClr val="bg1"/>
                </a:solidFill>
              </a:endParaRPr>
            </a:p>
          </p:txBody>
        </p:sp>
        <p:sp>
          <p:nvSpPr>
            <p:cNvPr id="138" name="Freeform: Shape 137">
              <a:extLst>
                <a:ext uri="{FF2B5EF4-FFF2-40B4-BE49-F238E27FC236}">
                  <a16:creationId xmlns:a16="http://schemas.microsoft.com/office/drawing/2014/main" id="{8ED3852C-1765-4B0B-2DC2-EBA4FBA814BF}"/>
                </a:ext>
              </a:extLst>
            </p:cNvPr>
            <p:cNvSpPr/>
            <p:nvPr/>
          </p:nvSpPr>
          <p:spPr>
            <a:xfrm>
              <a:off x="14758382" y="1968909"/>
              <a:ext cx="435077" cy="435077"/>
            </a:xfrm>
            <a:custGeom>
              <a:avLst/>
              <a:gdLst>
                <a:gd name="connsiteX0" fmla="*/ 217539 w 435077"/>
                <a:gd name="connsiteY0" fmla="*/ 0 h 435077"/>
                <a:gd name="connsiteX1" fmla="*/ 217539 w 435077"/>
                <a:gd name="connsiteY1" fmla="*/ 0 h 435077"/>
                <a:gd name="connsiteX2" fmla="*/ 0 w 435077"/>
                <a:gd name="connsiteY2" fmla="*/ 0 h 435077"/>
                <a:gd name="connsiteX3" fmla="*/ 0 w 435077"/>
                <a:gd name="connsiteY3" fmla="*/ 217539 h 435077"/>
                <a:gd name="connsiteX4" fmla="*/ 217539 w 435077"/>
                <a:gd name="connsiteY4" fmla="*/ 5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217539" y="0"/>
                  </a:lnTo>
                  <a:lnTo>
                    <a:pt x="0" y="0"/>
                  </a:lnTo>
                  <a:lnTo>
                    <a:pt x="0" y="217539"/>
                  </a:lnTo>
                  <a:lnTo>
                    <a:pt x="217539" y="5"/>
                  </a:lnTo>
                  <a:lnTo>
                    <a:pt x="435077" y="217539"/>
                  </a:lnTo>
                  <a:lnTo>
                    <a:pt x="217539" y="435077"/>
                  </a:lnTo>
                  <a:lnTo>
                    <a:pt x="0" y="217539"/>
                  </a:lnTo>
                  <a:lnTo>
                    <a:pt x="0" y="435077"/>
                  </a:lnTo>
                  <a:lnTo>
                    <a:pt x="217539" y="435077"/>
                  </a:lnTo>
                  <a:lnTo>
                    <a:pt x="435077" y="435077"/>
                  </a:lnTo>
                  <a:lnTo>
                    <a:pt x="435077" y="217539"/>
                  </a:lnTo>
                  <a:lnTo>
                    <a:pt x="435077" y="0"/>
                  </a:lnTo>
                  <a:lnTo>
                    <a:pt x="217539" y="0"/>
                  </a:lnTo>
                  <a:close/>
                </a:path>
              </a:pathLst>
            </a:custGeom>
            <a:grpFill/>
            <a:ln w="27192" cap="flat">
              <a:noFill/>
              <a:prstDash val="solid"/>
              <a:miter/>
            </a:ln>
          </p:spPr>
          <p:txBody>
            <a:bodyPr rtlCol="0" anchor="ctr"/>
            <a:lstStyle/>
            <a:p>
              <a:endParaRPr lang="uk-UA" sz="900">
                <a:solidFill>
                  <a:schemeClr val="bg1"/>
                </a:solidFill>
              </a:endParaRPr>
            </a:p>
          </p:txBody>
        </p:sp>
        <p:sp>
          <p:nvSpPr>
            <p:cNvPr id="139" name="Freeform: Shape 138">
              <a:extLst>
                <a:ext uri="{FF2B5EF4-FFF2-40B4-BE49-F238E27FC236}">
                  <a16:creationId xmlns:a16="http://schemas.microsoft.com/office/drawing/2014/main" id="{6C493922-126B-BA82-51A8-4BC1891EAF10}"/>
                </a:ext>
              </a:extLst>
            </p:cNvPr>
            <p:cNvSpPr/>
            <p:nvPr/>
          </p:nvSpPr>
          <p:spPr>
            <a:xfrm>
              <a:off x="13888200" y="1968909"/>
              <a:ext cx="435077" cy="435077"/>
            </a:xfrm>
            <a:custGeom>
              <a:avLst/>
              <a:gdLst>
                <a:gd name="connsiteX0" fmla="*/ 0 w 435077"/>
                <a:gd name="connsiteY0" fmla="*/ 435077 h 435077"/>
                <a:gd name="connsiteX1" fmla="*/ 217539 w 435077"/>
                <a:gd name="connsiteY1" fmla="*/ 435077 h 435077"/>
                <a:gd name="connsiteX2" fmla="*/ 217539 w 435077"/>
                <a:gd name="connsiteY2" fmla="*/ 217547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28 h 435077"/>
                <a:gd name="connsiteX7" fmla="*/ 217539 w 435077"/>
                <a:gd name="connsiteY7" fmla="*/ 0 h 435077"/>
                <a:gd name="connsiteX8" fmla="*/ 435077 w 435077"/>
                <a:gd name="connsiteY8" fmla="*/ 435077 h 435077"/>
                <a:gd name="connsiteX9" fmla="*/ 217565 w 435077"/>
                <a:gd name="connsiteY9" fmla="*/ 435077 h 435077"/>
                <a:gd name="connsiteX10" fmla="*/ 435077 w 435077"/>
                <a:gd name="connsiteY10" fmla="*/ 217547 h 435077"/>
                <a:gd name="connsiteX11" fmla="*/ 435077 w 435077"/>
                <a:gd name="connsiteY11" fmla="*/ 435077 h 435077"/>
                <a:gd name="connsiteX12" fmla="*/ 435077 w 435077"/>
                <a:gd name="connsiteY12" fmla="*/ 3 h 435077"/>
                <a:gd name="connsiteX13" fmla="*/ 217565 w 435077"/>
                <a:gd name="connsiteY13" fmla="*/ 3 h 435077"/>
                <a:gd name="connsiteX14" fmla="*/ 435077 w 435077"/>
                <a:gd name="connsiteY14" fmla="*/ 217531 h 435077"/>
                <a:gd name="connsiteX15" fmla="*/ 435077 w 435077"/>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47"/>
                  </a:lnTo>
                  <a:lnTo>
                    <a:pt x="0" y="435077"/>
                  </a:lnTo>
                  <a:close/>
                  <a:moveTo>
                    <a:pt x="217539" y="0"/>
                  </a:moveTo>
                  <a:lnTo>
                    <a:pt x="0" y="0"/>
                  </a:lnTo>
                  <a:lnTo>
                    <a:pt x="217539" y="217528"/>
                  </a:lnTo>
                  <a:lnTo>
                    <a:pt x="217539" y="0"/>
                  </a:lnTo>
                  <a:close/>
                  <a:moveTo>
                    <a:pt x="435077" y="435077"/>
                  </a:moveTo>
                  <a:lnTo>
                    <a:pt x="217565" y="435077"/>
                  </a:lnTo>
                  <a:lnTo>
                    <a:pt x="435077" y="217547"/>
                  </a:lnTo>
                  <a:lnTo>
                    <a:pt x="435077" y="435077"/>
                  </a:lnTo>
                  <a:close/>
                  <a:moveTo>
                    <a:pt x="435077" y="3"/>
                  </a:moveTo>
                  <a:lnTo>
                    <a:pt x="217565" y="3"/>
                  </a:lnTo>
                  <a:lnTo>
                    <a:pt x="435077" y="217531"/>
                  </a:lnTo>
                  <a:lnTo>
                    <a:pt x="435077" y="3"/>
                  </a:lnTo>
                  <a:close/>
                </a:path>
              </a:pathLst>
            </a:custGeom>
            <a:grpFill/>
            <a:ln w="27192" cap="flat">
              <a:noFill/>
              <a:prstDash val="solid"/>
              <a:miter/>
            </a:ln>
          </p:spPr>
          <p:txBody>
            <a:bodyPr rtlCol="0" anchor="ctr"/>
            <a:lstStyle/>
            <a:p>
              <a:endParaRPr lang="uk-UA" sz="900">
                <a:solidFill>
                  <a:schemeClr val="bg1"/>
                </a:solidFill>
              </a:endParaRPr>
            </a:p>
          </p:txBody>
        </p:sp>
        <p:sp>
          <p:nvSpPr>
            <p:cNvPr id="140" name="Freeform: Shape 139">
              <a:extLst>
                <a:ext uri="{FF2B5EF4-FFF2-40B4-BE49-F238E27FC236}">
                  <a16:creationId xmlns:a16="http://schemas.microsoft.com/office/drawing/2014/main" id="{2C7B443F-E9A4-40FE-B35B-42FFABDE5EFA}"/>
                </a:ext>
              </a:extLst>
            </p:cNvPr>
            <p:cNvSpPr/>
            <p:nvPr/>
          </p:nvSpPr>
          <p:spPr>
            <a:xfrm>
              <a:off x="15628536" y="1968909"/>
              <a:ext cx="435077" cy="435077"/>
            </a:xfrm>
            <a:custGeom>
              <a:avLst/>
              <a:gdLst>
                <a:gd name="connsiteX0" fmla="*/ 371367 w 435077"/>
                <a:gd name="connsiteY0" fmla="*/ 63714 h 435077"/>
                <a:gd name="connsiteX1" fmla="*/ 435077 w 435077"/>
                <a:gd name="connsiteY1" fmla="*/ 217539 h 435077"/>
                <a:gd name="connsiteX2" fmla="*/ 217730 w 435077"/>
                <a:gd name="connsiteY2" fmla="*/ 217539 h 435077"/>
                <a:gd name="connsiteX3" fmla="*/ 371367 w 435077"/>
                <a:gd name="connsiteY3" fmla="*/ 281253 h 435077"/>
                <a:gd name="connsiteX4" fmla="*/ 435077 w 435077"/>
                <a:gd name="connsiteY4" fmla="*/ 435077 h 435077"/>
                <a:gd name="connsiteX5" fmla="*/ 217539 w 435077"/>
                <a:gd name="connsiteY5" fmla="*/ 435077 h 435077"/>
                <a:gd name="connsiteX6" fmla="*/ 0 w 435077"/>
                <a:gd name="connsiteY6" fmla="*/ 435077 h 435077"/>
                <a:gd name="connsiteX7" fmla="*/ 63739 w 435077"/>
                <a:gd name="connsiteY7" fmla="*/ 281253 h 435077"/>
                <a:gd name="connsiteX8" fmla="*/ 217376 w 435077"/>
                <a:gd name="connsiteY8" fmla="*/ 217539 h 435077"/>
                <a:gd name="connsiteX9" fmla="*/ 0 w 435077"/>
                <a:gd name="connsiteY9" fmla="*/ 217539 h 435077"/>
                <a:gd name="connsiteX10" fmla="*/ 63712 w 435077"/>
                <a:gd name="connsiteY10" fmla="*/ 63714 h 435077"/>
                <a:gd name="connsiteX11" fmla="*/ 217539 w 435077"/>
                <a:gd name="connsiteY11" fmla="*/ 0 h 435077"/>
                <a:gd name="connsiteX12" fmla="*/ 371367 w 435077"/>
                <a:gd name="connsiteY12" fmla="*/ 63714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7" y="63714"/>
                  </a:moveTo>
                  <a:cubicBezTo>
                    <a:pt x="412155" y="104511"/>
                    <a:pt x="435077" y="159842"/>
                    <a:pt x="435077" y="217539"/>
                  </a:cubicBezTo>
                  <a:lnTo>
                    <a:pt x="217730" y="217539"/>
                  </a:lnTo>
                  <a:cubicBezTo>
                    <a:pt x="275351" y="217582"/>
                    <a:pt x="330605" y="240497"/>
                    <a:pt x="371367" y="281253"/>
                  </a:cubicBezTo>
                  <a:cubicBezTo>
                    <a:pt x="412182" y="322050"/>
                    <a:pt x="435077" y="377381"/>
                    <a:pt x="435077" y="435077"/>
                  </a:cubicBezTo>
                  <a:lnTo>
                    <a:pt x="217539" y="435077"/>
                  </a:lnTo>
                  <a:lnTo>
                    <a:pt x="0" y="435077"/>
                  </a:lnTo>
                  <a:cubicBezTo>
                    <a:pt x="0" y="377381"/>
                    <a:pt x="22924" y="322050"/>
                    <a:pt x="63739" y="281253"/>
                  </a:cubicBezTo>
                  <a:cubicBezTo>
                    <a:pt x="104474" y="240497"/>
                    <a:pt x="159755" y="217582"/>
                    <a:pt x="217376" y="217539"/>
                  </a:cubicBezTo>
                  <a:lnTo>
                    <a:pt x="0" y="217539"/>
                  </a:lnTo>
                  <a:cubicBezTo>
                    <a:pt x="0" y="159842"/>
                    <a:pt x="22924" y="104511"/>
                    <a:pt x="63712" y="63714"/>
                  </a:cubicBezTo>
                  <a:cubicBezTo>
                    <a:pt x="104527" y="22918"/>
                    <a:pt x="159865" y="0"/>
                    <a:pt x="217539" y="0"/>
                  </a:cubicBezTo>
                  <a:cubicBezTo>
                    <a:pt x="275241" y="0"/>
                    <a:pt x="330578" y="22918"/>
                    <a:pt x="371367" y="63714"/>
                  </a:cubicBezTo>
                  <a:close/>
                </a:path>
              </a:pathLst>
            </a:custGeom>
            <a:grpFill/>
            <a:ln w="27192" cap="flat">
              <a:noFill/>
              <a:prstDash val="solid"/>
              <a:miter/>
            </a:ln>
          </p:spPr>
          <p:txBody>
            <a:bodyPr rtlCol="0" anchor="ctr"/>
            <a:lstStyle/>
            <a:p>
              <a:endParaRPr lang="uk-UA" sz="900">
                <a:solidFill>
                  <a:schemeClr val="bg1"/>
                </a:solidFill>
              </a:endParaRPr>
            </a:p>
          </p:txBody>
        </p:sp>
        <p:sp>
          <p:nvSpPr>
            <p:cNvPr id="141" name="Freeform: Shape 140">
              <a:extLst>
                <a:ext uri="{FF2B5EF4-FFF2-40B4-BE49-F238E27FC236}">
                  <a16:creationId xmlns:a16="http://schemas.microsoft.com/office/drawing/2014/main" id="{8793DEF9-F31B-B73B-5AB8-4946EB9079A9}"/>
                </a:ext>
              </a:extLst>
            </p:cNvPr>
            <p:cNvSpPr/>
            <p:nvPr/>
          </p:nvSpPr>
          <p:spPr>
            <a:xfrm>
              <a:off x="16498719" y="1968909"/>
              <a:ext cx="435077" cy="435074"/>
            </a:xfrm>
            <a:custGeom>
              <a:avLst/>
              <a:gdLst>
                <a:gd name="connsiteX0" fmla="*/ 217539 w 435077"/>
                <a:gd name="connsiteY0" fmla="*/ 217533 h 435074"/>
                <a:gd name="connsiteX1" fmla="*/ 217539 w 435077"/>
                <a:gd name="connsiteY1" fmla="*/ 0 h 435074"/>
                <a:gd name="connsiteX2" fmla="*/ 0 w 435077"/>
                <a:gd name="connsiteY2" fmla="*/ 0 h 435074"/>
                <a:gd name="connsiteX3" fmla="*/ 217539 w 435077"/>
                <a:gd name="connsiteY3" fmla="*/ 217539 h 435074"/>
                <a:gd name="connsiteX4" fmla="*/ 0 w 435077"/>
                <a:gd name="connsiteY4" fmla="*/ 435075 h 435074"/>
                <a:gd name="connsiteX5" fmla="*/ 217539 w 435077"/>
                <a:gd name="connsiteY5" fmla="*/ 435075 h 435074"/>
                <a:gd name="connsiteX6" fmla="*/ 217539 w 435077"/>
                <a:gd name="connsiteY6" fmla="*/ 435072 h 435074"/>
                <a:gd name="connsiteX7" fmla="*/ 435049 w 435077"/>
                <a:gd name="connsiteY7" fmla="*/ 217541 h 435074"/>
                <a:gd name="connsiteX8" fmla="*/ 435077 w 435077"/>
                <a:gd name="connsiteY8" fmla="*/ 217541 h 435074"/>
                <a:gd name="connsiteX9" fmla="*/ 435049 w 435077"/>
                <a:gd name="connsiteY9" fmla="*/ 217536 h 435074"/>
                <a:gd name="connsiteX10" fmla="*/ 435077 w 435077"/>
                <a:gd name="connsiteY10" fmla="*/ 217533 h 435074"/>
                <a:gd name="connsiteX11" fmla="*/ 435049 w 435077"/>
                <a:gd name="connsiteY11" fmla="*/ 217533 h 435074"/>
                <a:gd name="connsiteX12" fmla="*/ 217539 w 435077"/>
                <a:gd name="connsiteY12" fmla="*/ 3 h 435074"/>
                <a:gd name="connsiteX13" fmla="*/ 217539 w 435077"/>
                <a:gd name="connsiteY13" fmla="*/ 217533 h 435074"/>
                <a:gd name="connsiteX14" fmla="*/ 217539 w 435077"/>
                <a:gd name="connsiteY14" fmla="*/ 217533 h 43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4">
                  <a:moveTo>
                    <a:pt x="217539" y="217533"/>
                  </a:moveTo>
                  <a:lnTo>
                    <a:pt x="217539" y="0"/>
                  </a:lnTo>
                  <a:lnTo>
                    <a:pt x="0" y="0"/>
                  </a:lnTo>
                  <a:lnTo>
                    <a:pt x="217539" y="217539"/>
                  </a:lnTo>
                  <a:lnTo>
                    <a:pt x="0" y="435075"/>
                  </a:lnTo>
                  <a:lnTo>
                    <a:pt x="217539" y="435075"/>
                  </a:lnTo>
                  <a:lnTo>
                    <a:pt x="217539" y="435072"/>
                  </a:lnTo>
                  <a:lnTo>
                    <a:pt x="435049" y="217541"/>
                  </a:lnTo>
                  <a:lnTo>
                    <a:pt x="435077" y="217541"/>
                  </a:lnTo>
                  <a:lnTo>
                    <a:pt x="435049" y="217536"/>
                  </a:lnTo>
                  <a:lnTo>
                    <a:pt x="435077" y="217533"/>
                  </a:lnTo>
                  <a:lnTo>
                    <a:pt x="435049" y="217533"/>
                  </a:lnTo>
                  <a:lnTo>
                    <a:pt x="217539" y="3"/>
                  </a:lnTo>
                  <a:lnTo>
                    <a:pt x="217539" y="217533"/>
                  </a:lnTo>
                  <a:lnTo>
                    <a:pt x="217539" y="217533"/>
                  </a:lnTo>
                  <a:close/>
                </a:path>
              </a:pathLst>
            </a:custGeom>
            <a:grpFill/>
            <a:ln w="27192" cap="flat">
              <a:noFill/>
              <a:prstDash val="solid"/>
              <a:miter/>
            </a:ln>
          </p:spPr>
          <p:txBody>
            <a:bodyPr rtlCol="0" anchor="ctr"/>
            <a:lstStyle/>
            <a:p>
              <a:endParaRPr lang="uk-UA" sz="900">
                <a:solidFill>
                  <a:schemeClr val="bg1"/>
                </a:solidFill>
              </a:endParaRPr>
            </a:p>
          </p:txBody>
        </p:sp>
        <p:sp>
          <p:nvSpPr>
            <p:cNvPr id="142" name="Freeform: Shape 141">
              <a:extLst>
                <a:ext uri="{FF2B5EF4-FFF2-40B4-BE49-F238E27FC236}">
                  <a16:creationId xmlns:a16="http://schemas.microsoft.com/office/drawing/2014/main" id="{3B9C4C16-D33F-FE97-0224-9CAF3238564C}"/>
                </a:ext>
              </a:extLst>
            </p:cNvPr>
            <p:cNvSpPr/>
            <p:nvPr/>
          </p:nvSpPr>
          <p:spPr>
            <a:xfrm>
              <a:off x="18239029" y="196890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43" name="Freeform: Shape 142">
              <a:extLst>
                <a:ext uri="{FF2B5EF4-FFF2-40B4-BE49-F238E27FC236}">
                  <a16:creationId xmlns:a16="http://schemas.microsoft.com/office/drawing/2014/main" id="{AE9A9FE2-F261-5564-C140-B94C5A427902}"/>
                </a:ext>
              </a:extLst>
            </p:cNvPr>
            <p:cNvSpPr/>
            <p:nvPr/>
          </p:nvSpPr>
          <p:spPr>
            <a:xfrm>
              <a:off x="17368874" y="1968909"/>
              <a:ext cx="435077" cy="435077"/>
            </a:xfrm>
            <a:custGeom>
              <a:avLst/>
              <a:gdLst>
                <a:gd name="connsiteX0" fmla="*/ 0 w 435077"/>
                <a:gd name="connsiteY0" fmla="*/ 435077 h 435077"/>
                <a:gd name="connsiteX1" fmla="*/ 217539 w 435077"/>
                <a:gd name="connsiteY1" fmla="*/ 435077 h 435077"/>
                <a:gd name="connsiteX2" fmla="*/ 217539 w 435077"/>
                <a:gd name="connsiteY2" fmla="*/ 217547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28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47 h 435077"/>
                <a:gd name="connsiteX11" fmla="*/ 435077 w 435077"/>
                <a:gd name="connsiteY11" fmla="*/ 435077 h 435077"/>
                <a:gd name="connsiteX12" fmla="*/ 435077 w 435077"/>
                <a:gd name="connsiteY12" fmla="*/ 3 h 435077"/>
                <a:gd name="connsiteX13" fmla="*/ 217539 w 435077"/>
                <a:gd name="connsiteY13" fmla="*/ 3 h 435077"/>
                <a:gd name="connsiteX14" fmla="*/ 435077 w 435077"/>
                <a:gd name="connsiteY14" fmla="*/ 217531 h 435077"/>
                <a:gd name="connsiteX15" fmla="*/ 435077 w 435077"/>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47"/>
                  </a:lnTo>
                  <a:lnTo>
                    <a:pt x="0" y="435077"/>
                  </a:lnTo>
                  <a:close/>
                  <a:moveTo>
                    <a:pt x="217539" y="0"/>
                  </a:moveTo>
                  <a:lnTo>
                    <a:pt x="0" y="0"/>
                  </a:lnTo>
                  <a:lnTo>
                    <a:pt x="217539" y="217528"/>
                  </a:lnTo>
                  <a:lnTo>
                    <a:pt x="217539" y="0"/>
                  </a:lnTo>
                  <a:close/>
                  <a:moveTo>
                    <a:pt x="435077" y="435077"/>
                  </a:moveTo>
                  <a:lnTo>
                    <a:pt x="217539" y="435077"/>
                  </a:lnTo>
                  <a:lnTo>
                    <a:pt x="435077" y="217547"/>
                  </a:lnTo>
                  <a:lnTo>
                    <a:pt x="435077" y="435077"/>
                  </a:lnTo>
                  <a:close/>
                  <a:moveTo>
                    <a:pt x="435077" y="3"/>
                  </a:moveTo>
                  <a:lnTo>
                    <a:pt x="217539" y="3"/>
                  </a:lnTo>
                  <a:lnTo>
                    <a:pt x="435077" y="217531"/>
                  </a:lnTo>
                  <a:lnTo>
                    <a:pt x="435077" y="3"/>
                  </a:lnTo>
                  <a:close/>
                </a:path>
              </a:pathLst>
            </a:custGeom>
            <a:grpFill/>
            <a:ln w="27192" cap="flat">
              <a:noFill/>
              <a:prstDash val="solid"/>
              <a:miter/>
            </a:ln>
          </p:spPr>
          <p:txBody>
            <a:bodyPr rtlCol="0" anchor="ctr"/>
            <a:lstStyle/>
            <a:p>
              <a:endParaRPr lang="uk-UA" sz="900">
                <a:solidFill>
                  <a:schemeClr val="bg1"/>
                </a:solidFill>
              </a:endParaRPr>
            </a:p>
          </p:txBody>
        </p:sp>
        <p:sp>
          <p:nvSpPr>
            <p:cNvPr id="144" name="Freeform: Shape 143">
              <a:extLst>
                <a:ext uri="{FF2B5EF4-FFF2-40B4-BE49-F238E27FC236}">
                  <a16:creationId xmlns:a16="http://schemas.microsoft.com/office/drawing/2014/main" id="{D92CAFC0-F031-403E-D0A9-554CCC78BB7F}"/>
                </a:ext>
              </a:extLst>
            </p:cNvPr>
            <p:cNvSpPr/>
            <p:nvPr/>
          </p:nvSpPr>
          <p:spPr>
            <a:xfrm>
              <a:off x="19109210" y="1968909"/>
              <a:ext cx="435077" cy="435077"/>
            </a:xfrm>
            <a:custGeom>
              <a:avLst/>
              <a:gdLst>
                <a:gd name="connsiteX0" fmla="*/ 371339 w 435077"/>
                <a:gd name="connsiteY0" fmla="*/ 63714 h 435077"/>
                <a:gd name="connsiteX1" fmla="*/ 435077 w 435077"/>
                <a:gd name="connsiteY1" fmla="*/ 217539 h 435077"/>
                <a:gd name="connsiteX2" fmla="*/ 217701 w 435077"/>
                <a:gd name="connsiteY2" fmla="*/ 217539 h 435077"/>
                <a:gd name="connsiteX3" fmla="*/ 371365 w 435077"/>
                <a:gd name="connsiteY3" fmla="*/ 281253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3 h 435077"/>
                <a:gd name="connsiteX8" fmla="*/ 217376 w 435077"/>
                <a:gd name="connsiteY8" fmla="*/ 217539 h 435077"/>
                <a:gd name="connsiteX9" fmla="*/ 0 w 435077"/>
                <a:gd name="connsiteY9" fmla="*/ 217539 h 435077"/>
                <a:gd name="connsiteX10" fmla="*/ 63712 w 435077"/>
                <a:gd name="connsiteY10" fmla="*/ 63714 h 435077"/>
                <a:gd name="connsiteX11" fmla="*/ 217539 w 435077"/>
                <a:gd name="connsiteY11" fmla="*/ 0 h 435077"/>
                <a:gd name="connsiteX12" fmla="*/ 371339 w 435077"/>
                <a:gd name="connsiteY12" fmla="*/ 63714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14"/>
                  </a:moveTo>
                  <a:cubicBezTo>
                    <a:pt x="412154" y="104511"/>
                    <a:pt x="435077" y="159842"/>
                    <a:pt x="435077" y="217539"/>
                  </a:cubicBezTo>
                  <a:lnTo>
                    <a:pt x="217701" y="217539"/>
                  </a:lnTo>
                  <a:cubicBezTo>
                    <a:pt x="275322" y="217582"/>
                    <a:pt x="330605" y="240497"/>
                    <a:pt x="371365" y="281253"/>
                  </a:cubicBezTo>
                  <a:cubicBezTo>
                    <a:pt x="412154" y="322050"/>
                    <a:pt x="435077" y="377381"/>
                    <a:pt x="435077" y="435077"/>
                  </a:cubicBezTo>
                  <a:lnTo>
                    <a:pt x="217539" y="435077"/>
                  </a:lnTo>
                  <a:lnTo>
                    <a:pt x="0" y="435077"/>
                  </a:lnTo>
                  <a:cubicBezTo>
                    <a:pt x="0" y="377381"/>
                    <a:pt x="22924" y="322050"/>
                    <a:pt x="63712" y="281253"/>
                  </a:cubicBezTo>
                  <a:cubicBezTo>
                    <a:pt x="104472" y="240497"/>
                    <a:pt x="159728" y="217582"/>
                    <a:pt x="217376" y="217539"/>
                  </a:cubicBezTo>
                  <a:lnTo>
                    <a:pt x="0" y="217539"/>
                  </a:lnTo>
                  <a:cubicBezTo>
                    <a:pt x="0" y="159842"/>
                    <a:pt x="22895" y="104511"/>
                    <a:pt x="63712" y="63714"/>
                  </a:cubicBezTo>
                  <a:cubicBezTo>
                    <a:pt x="104501" y="22918"/>
                    <a:pt x="159836" y="0"/>
                    <a:pt x="217539" y="0"/>
                  </a:cubicBezTo>
                  <a:cubicBezTo>
                    <a:pt x="275215" y="0"/>
                    <a:pt x="330550" y="22918"/>
                    <a:pt x="371339" y="63714"/>
                  </a:cubicBezTo>
                  <a:close/>
                </a:path>
              </a:pathLst>
            </a:custGeom>
            <a:grpFill/>
            <a:ln w="27192" cap="flat">
              <a:noFill/>
              <a:prstDash val="solid"/>
              <a:miter/>
            </a:ln>
          </p:spPr>
          <p:txBody>
            <a:bodyPr rtlCol="0" anchor="ctr"/>
            <a:lstStyle/>
            <a:p>
              <a:endParaRPr lang="uk-UA" sz="900">
                <a:solidFill>
                  <a:schemeClr val="bg1"/>
                </a:solidFill>
              </a:endParaRPr>
            </a:p>
          </p:txBody>
        </p:sp>
        <p:sp>
          <p:nvSpPr>
            <p:cNvPr id="145" name="Freeform: Shape 144">
              <a:extLst>
                <a:ext uri="{FF2B5EF4-FFF2-40B4-BE49-F238E27FC236}">
                  <a16:creationId xmlns:a16="http://schemas.microsoft.com/office/drawing/2014/main" id="{D24D0D68-E744-EDB2-1927-4F3D3F825BCE}"/>
                </a:ext>
              </a:extLst>
            </p:cNvPr>
            <p:cNvSpPr/>
            <p:nvPr/>
          </p:nvSpPr>
          <p:spPr>
            <a:xfrm>
              <a:off x="19979365" y="1968909"/>
              <a:ext cx="435077" cy="435074"/>
            </a:xfrm>
            <a:custGeom>
              <a:avLst/>
              <a:gdLst>
                <a:gd name="connsiteX0" fmla="*/ 217539 w 435077"/>
                <a:gd name="connsiteY0" fmla="*/ 217533 h 435074"/>
                <a:gd name="connsiteX1" fmla="*/ 217539 w 435077"/>
                <a:gd name="connsiteY1" fmla="*/ 0 h 435074"/>
                <a:gd name="connsiteX2" fmla="*/ 0 w 435077"/>
                <a:gd name="connsiteY2" fmla="*/ 0 h 435074"/>
                <a:gd name="connsiteX3" fmla="*/ 217539 w 435077"/>
                <a:gd name="connsiteY3" fmla="*/ 217539 h 435074"/>
                <a:gd name="connsiteX4" fmla="*/ 0 w 435077"/>
                <a:gd name="connsiteY4" fmla="*/ 435075 h 435074"/>
                <a:gd name="connsiteX5" fmla="*/ 217539 w 435077"/>
                <a:gd name="connsiteY5" fmla="*/ 435075 h 435074"/>
                <a:gd name="connsiteX6" fmla="*/ 217539 w 435077"/>
                <a:gd name="connsiteY6" fmla="*/ 435072 h 435074"/>
                <a:gd name="connsiteX7" fmla="*/ 435051 w 435077"/>
                <a:gd name="connsiteY7" fmla="*/ 217541 h 435074"/>
                <a:gd name="connsiteX8" fmla="*/ 435077 w 435077"/>
                <a:gd name="connsiteY8" fmla="*/ 217541 h 435074"/>
                <a:gd name="connsiteX9" fmla="*/ 435077 w 435077"/>
                <a:gd name="connsiteY9" fmla="*/ 217536 h 435074"/>
                <a:gd name="connsiteX10" fmla="*/ 435077 w 435077"/>
                <a:gd name="connsiteY10" fmla="*/ 217533 h 435074"/>
                <a:gd name="connsiteX11" fmla="*/ 435077 w 435077"/>
                <a:gd name="connsiteY11" fmla="*/ 217533 h 435074"/>
                <a:gd name="connsiteX12" fmla="*/ 217539 w 435077"/>
                <a:gd name="connsiteY12" fmla="*/ 3 h 435074"/>
                <a:gd name="connsiteX13" fmla="*/ 217539 w 435077"/>
                <a:gd name="connsiteY13" fmla="*/ 217533 h 435074"/>
                <a:gd name="connsiteX14" fmla="*/ 217539 w 435077"/>
                <a:gd name="connsiteY14" fmla="*/ 217533 h 43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4">
                  <a:moveTo>
                    <a:pt x="217539" y="217533"/>
                  </a:moveTo>
                  <a:lnTo>
                    <a:pt x="217539" y="0"/>
                  </a:lnTo>
                  <a:lnTo>
                    <a:pt x="0" y="0"/>
                  </a:lnTo>
                  <a:lnTo>
                    <a:pt x="217539" y="217539"/>
                  </a:lnTo>
                  <a:lnTo>
                    <a:pt x="0" y="435075"/>
                  </a:lnTo>
                  <a:lnTo>
                    <a:pt x="217539" y="435075"/>
                  </a:lnTo>
                  <a:lnTo>
                    <a:pt x="217539" y="435072"/>
                  </a:lnTo>
                  <a:lnTo>
                    <a:pt x="435051" y="217541"/>
                  </a:lnTo>
                  <a:lnTo>
                    <a:pt x="435077" y="217541"/>
                  </a:lnTo>
                  <a:lnTo>
                    <a:pt x="435077" y="217536"/>
                  </a:lnTo>
                  <a:lnTo>
                    <a:pt x="435077" y="217533"/>
                  </a:lnTo>
                  <a:lnTo>
                    <a:pt x="435077" y="217533"/>
                  </a:lnTo>
                  <a:lnTo>
                    <a:pt x="217539" y="3"/>
                  </a:lnTo>
                  <a:lnTo>
                    <a:pt x="217539" y="217533"/>
                  </a:lnTo>
                  <a:lnTo>
                    <a:pt x="217539" y="217533"/>
                  </a:lnTo>
                  <a:close/>
                </a:path>
              </a:pathLst>
            </a:custGeom>
            <a:grpFill/>
            <a:ln w="27192" cap="flat">
              <a:noFill/>
              <a:prstDash val="solid"/>
              <a:miter/>
            </a:ln>
          </p:spPr>
          <p:txBody>
            <a:bodyPr rtlCol="0" anchor="ctr"/>
            <a:lstStyle/>
            <a:p>
              <a:endParaRPr lang="uk-UA" sz="900">
                <a:solidFill>
                  <a:schemeClr val="bg1"/>
                </a:solidFill>
              </a:endParaRPr>
            </a:p>
          </p:txBody>
        </p:sp>
        <p:sp>
          <p:nvSpPr>
            <p:cNvPr id="146" name="Freeform: Shape 145">
              <a:extLst>
                <a:ext uri="{FF2B5EF4-FFF2-40B4-BE49-F238E27FC236}">
                  <a16:creationId xmlns:a16="http://schemas.microsoft.com/office/drawing/2014/main" id="{D45EC9B2-6D71-C05E-E1AB-A92455C91083}"/>
                </a:ext>
              </a:extLst>
            </p:cNvPr>
            <p:cNvSpPr/>
            <p:nvPr/>
          </p:nvSpPr>
          <p:spPr>
            <a:xfrm>
              <a:off x="21719702" y="196890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47" name="Freeform: Shape 146">
              <a:extLst>
                <a:ext uri="{FF2B5EF4-FFF2-40B4-BE49-F238E27FC236}">
                  <a16:creationId xmlns:a16="http://schemas.microsoft.com/office/drawing/2014/main" id="{52BC080C-F242-A10B-33EA-28FC3DA9D111}"/>
                </a:ext>
              </a:extLst>
            </p:cNvPr>
            <p:cNvSpPr/>
            <p:nvPr/>
          </p:nvSpPr>
          <p:spPr>
            <a:xfrm>
              <a:off x="20849520" y="1968909"/>
              <a:ext cx="435077" cy="435077"/>
            </a:xfrm>
            <a:custGeom>
              <a:avLst/>
              <a:gdLst>
                <a:gd name="connsiteX0" fmla="*/ 0 w 435077"/>
                <a:gd name="connsiteY0" fmla="*/ 435077 h 435077"/>
                <a:gd name="connsiteX1" fmla="*/ 217539 w 435077"/>
                <a:gd name="connsiteY1" fmla="*/ 435077 h 435077"/>
                <a:gd name="connsiteX2" fmla="*/ 217539 w 435077"/>
                <a:gd name="connsiteY2" fmla="*/ 217547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28 h 435077"/>
                <a:gd name="connsiteX7" fmla="*/ 217539 w 435077"/>
                <a:gd name="connsiteY7" fmla="*/ 0 h 435077"/>
                <a:gd name="connsiteX8" fmla="*/ 435077 w 435077"/>
                <a:gd name="connsiteY8" fmla="*/ 435077 h 435077"/>
                <a:gd name="connsiteX9" fmla="*/ 217565 w 435077"/>
                <a:gd name="connsiteY9" fmla="*/ 435077 h 435077"/>
                <a:gd name="connsiteX10" fmla="*/ 435077 w 435077"/>
                <a:gd name="connsiteY10" fmla="*/ 217547 h 435077"/>
                <a:gd name="connsiteX11" fmla="*/ 435077 w 435077"/>
                <a:gd name="connsiteY11" fmla="*/ 435077 h 435077"/>
                <a:gd name="connsiteX12" fmla="*/ 435077 w 435077"/>
                <a:gd name="connsiteY12" fmla="*/ 3 h 435077"/>
                <a:gd name="connsiteX13" fmla="*/ 217565 w 435077"/>
                <a:gd name="connsiteY13" fmla="*/ 3 h 435077"/>
                <a:gd name="connsiteX14" fmla="*/ 435077 w 435077"/>
                <a:gd name="connsiteY14" fmla="*/ 217531 h 435077"/>
                <a:gd name="connsiteX15" fmla="*/ 435077 w 435077"/>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47"/>
                  </a:lnTo>
                  <a:lnTo>
                    <a:pt x="0" y="435077"/>
                  </a:lnTo>
                  <a:close/>
                  <a:moveTo>
                    <a:pt x="217539" y="0"/>
                  </a:moveTo>
                  <a:lnTo>
                    <a:pt x="0" y="0"/>
                  </a:lnTo>
                  <a:lnTo>
                    <a:pt x="217539" y="217528"/>
                  </a:lnTo>
                  <a:lnTo>
                    <a:pt x="217539" y="0"/>
                  </a:lnTo>
                  <a:close/>
                  <a:moveTo>
                    <a:pt x="435077" y="435077"/>
                  </a:moveTo>
                  <a:lnTo>
                    <a:pt x="217565" y="435077"/>
                  </a:lnTo>
                  <a:lnTo>
                    <a:pt x="435077" y="217547"/>
                  </a:lnTo>
                  <a:lnTo>
                    <a:pt x="435077" y="435077"/>
                  </a:lnTo>
                  <a:close/>
                  <a:moveTo>
                    <a:pt x="435077" y="3"/>
                  </a:moveTo>
                  <a:lnTo>
                    <a:pt x="217565" y="3"/>
                  </a:lnTo>
                  <a:lnTo>
                    <a:pt x="435077" y="217531"/>
                  </a:lnTo>
                  <a:lnTo>
                    <a:pt x="435077" y="3"/>
                  </a:lnTo>
                  <a:close/>
                </a:path>
              </a:pathLst>
            </a:custGeom>
            <a:grpFill/>
            <a:ln w="27192" cap="flat">
              <a:noFill/>
              <a:prstDash val="solid"/>
              <a:miter/>
            </a:ln>
          </p:spPr>
          <p:txBody>
            <a:bodyPr rtlCol="0" anchor="ctr"/>
            <a:lstStyle/>
            <a:p>
              <a:endParaRPr lang="uk-UA" sz="900">
                <a:solidFill>
                  <a:schemeClr val="bg1"/>
                </a:solidFill>
              </a:endParaRPr>
            </a:p>
          </p:txBody>
        </p:sp>
        <p:sp>
          <p:nvSpPr>
            <p:cNvPr id="148" name="Freeform: Shape 147">
              <a:extLst>
                <a:ext uri="{FF2B5EF4-FFF2-40B4-BE49-F238E27FC236}">
                  <a16:creationId xmlns:a16="http://schemas.microsoft.com/office/drawing/2014/main" id="{53B73A6F-BF88-75BE-3F78-BCBB3D17ED33}"/>
                </a:ext>
              </a:extLst>
            </p:cNvPr>
            <p:cNvSpPr/>
            <p:nvPr/>
          </p:nvSpPr>
          <p:spPr>
            <a:xfrm>
              <a:off x="22589856" y="1968909"/>
              <a:ext cx="435077" cy="435077"/>
            </a:xfrm>
            <a:custGeom>
              <a:avLst/>
              <a:gdLst>
                <a:gd name="connsiteX0" fmla="*/ 371367 w 435077"/>
                <a:gd name="connsiteY0" fmla="*/ 63714 h 435077"/>
                <a:gd name="connsiteX1" fmla="*/ 435077 w 435077"/>
                <a:gd name="connsiteY1" fmla="*/ 217539 h 435077"/>
                <a:gd name="connsiteX2" fmla="*/ 217703 w 435077"/>
                <a:gd name="connsiteY2" fmla="*/ 217539 h 435077"/>
                <a:gd name="connsiteX3" fmla="*/ 371367 w 435077"/>
                <a:gd name="connsiteY3" fmla="*/ 281253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3 h 435077"/>
                <a:gd name="connsiteX8" fmla="*/ 217376 w 435077"/>
                <a:gd name="connsiteY8" fmla="*/ 217539 h 435077"/>
                <a:gd name="connsiteX9" fmla="*/ 0 w 435077"/>
                <a:gd name="connsiteY9" fmla="*/ 217539 h 435077"/>
                <a:gd name="connsiteX10" fmla="*/ 63712 w 435077"/>
                <a:gd name="connsiteY10" fmla="*/ 63714 h 435077"/>
                <a:gd name="connsiteX11" fmla="*/ 217539 w 435077"/>
                <a:gd name="connsiteY11" fmla="*/ 0 h 435077"/>
                <a:gd name="connsiteX12" fmla="*/ 371367 w 435077"/>
                <a:gd name="connsiteY12" fmla="*/ 63714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7" y="63714"/>
                  </a:moveTo>
                  <a:cubicBezTo>
                    <a:pt x="412155" y="104511"/>
                    <a:pt x="435077" y="159842"/>
                    <a:pt x="435077" y="217539"/>
                  </a:cubicBezTo>
                  <a:lnTo>
                    <a:pt x="217703" y="217539"/>
                  </a:lnTo>
                  <a:cubicBezTo>
                    <a:pt x="275351" y="217582"/>
                    <a:pt x="330605" y="240497"/>
                    <a:pt x="371367" y="281253"/>
                  </a:cubicBezTo>
                  <a:cubicBezTo>
                    <a:pt x="412155" y="322050"/>
                    <a:pt x="435077" y="377381"/>
                    <a:pt x="435077" y="435077"/>
                  </a:cubicBezTo>
                  <a:lnTo>
                    <a:pt x="217539" y="435077"/>
                  </a:lnTo>
                  <a:lnTo>
                    <a:pt x="0" y="435077"/>
                  </a:lnTo>
                  <a:cubicBezTo>
                    <a:pt x="0" y="377381"/>
                    <a:pt x="22924" y="322050"/>
                    <a:pt x="63712" y="281253"/>
                  </a:cubicBezTo>
                  <a:cubicBezTo>
                    <a:pt x="104474" y="240497"/>
                    <a:pt x="159755" y="217582"/>
                    <a:pt x="217376" y="217539"/>
                  </a:cubicBezTo>
                  <a:lnTo>
                    <a:pt x="0" y="217539"/>
                  </a:lnTo>
                  <a:cubicBezTo>
                    <a:pt x="0" y="159842"/>
                    <a:pt x="22924" y="104511"/>
                    <a:pt x="63712" y="63714"/>
                  </a:cubicBezTo>
                  <a:cubicBezTo>
                    <a:pt x="104529" y="22918"/>
                    <a:pt x="159838" y="0"/>
                    <a:pt x="217539" y="0"/>
                  </a:cubicBezTo>
                  <a:cubicBezTo>
                    <a:pt x="275241" y="0"/>
                    <a:pt x="330578" y="22918"/>
                    <a:pt x="371367" y="63714"/>
                  </a:cubicBezTo>
                  <a:close/>
                </a:path>
              </a:pathLst>
            </a:custGeom>
            <a:grpFill/>
            <a:ln w="27192" cap="flat">
              <a:noFill/>
              <a:prstDash val="solid"/>
              <a:miter/>
            </a:ln>
          </p:spPr>
          <p:txBody>
            <a:bodyPr rtlCol="0" anchor="ctr"/>
            <a:lstStyle/>
            <a:p>
              <a:endParaRPr lang="uk-UA" sz="900">
                <a:solidFill>
                  <a:schemeClr val="bg1"/>
                </a:solidFill>
              </a:endParaRPr>
            </a:p>
          </p:txBody>
        </p:sp>
        <p:sp>
          <p:nvSpPr>
            <p:cNvPr id="149" name="Freeform: Shape 148">
              <a:extLst>
                <a:ext uri="{FF2B5EF4-FFF2-40B4-BE49-F238E27FC236}">
                  <a16:creationId xmlns:a16="http://schemas.microsoft.com/office/drawing/2014/main" id="{17CE7128-6123-8C45-B583-54295BC9EAD1}"/>
                </a:ext>
              </a:extLst>
            </p:cNvPr>
            <p:cNvSpPr/>
            <p:nvPr/>
          </p:nvSpPr>
          <p:spPr>
            <a:xfrm>
              <a:off x="23460039" y="1968909"/>
              <a:ext cx="435077" cy="435074"/>
            </a:xfrm>
            <a:custGeom>
              <a:avLst/>
              <a:gdLst>
                <a:gd name="connsiteX0" fmla="*/ 217539 w 435077"/>
                <a:gd name="connsiteY0" fmla="*/ 217533 h 435074"/>
                <a:gd name="connsiteX1" fmla="*/ 217539 w 435077"/>
                <a:gd name="connsiteY1" fmla="*/ 0 h 435074"/>
                <a:gd name="connsiteX2" fmla="*/ 0 w 435077"/>
                <a:gd name="connsiteY2" fmla="*/ 0 h 435074"/>
                <a:gd name="connsiteX3" fmla="*/ 217539 w 435077"/>
                <a:gd name="connsiteY3" fmla="*/ 217539 h 435074"/>
                <a:gd name="connsiteX4" fmla="*/ 0 w 435077"/>
                <a:gd name="connsiteY4" fmla="*/ 435075 h 435074"/>
                <a:gd name="connsiteX5" fmla="*/ 217510 w 435077"/>
                <a:gd name="connsiteY5" fmla="*/ 435075 h 435074"/>
                <a:gd name="connsiteX6" fmla="*/ 217510 w 435077"/>
                <a:gd name="connsiteY6" fmla="*/ 435072 h 435074"/>
                <a:gd name="connsiteX7" fmla="*/ 435049 w 435077"/>
                <a:gd name="connsiteY7" fmla="*/ 217541 h 435074"/>
                <a:gd name="connsiteX8" fmla="*/ 435077 w 435077"/>
                <a:gd name="connsiteY8" fmla="*/ 217541 h 435074"/>
                <a:gd name="connsiteX9" fmla="*/ 435049 w 435077"/>
                <a:gd name="connsiteY9" fmla="*/ 217536 h 435074"/>
                <a:gd name="connsiteX10" fmla="*/ 435049 w 435077"/>
                <a:gd name="connsiteY10" fmla="*/ 217533 h 435074"/>
                <a:gd name="connsiteX11" fmla="*/ 435049 w 435077"/>
                <a:gd name="connsiteY11" fmla="*/ 217533 h 435074"/>
                <a:gd name="connsiteX12" fmla="*/ 217539 w 435077"/>
                <a:gd name="connsiteY12" fmla="*/ 3 h 435074"/>
                <a:gd name="connsiteX13" fmla="*/ 217539 w 435077"/>
                <a:gd name="connsiteY13" fmla="*/ 217533 h 435074"/>
                <a:gd name="connsiteX14" fmla="*/ 217539 w 435077"/>
                <a:gd name="connsiteY14" fmla="*/ 217533 h 43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4">
                  <a:moveTo>
                    <a:pt x="217539" y="217533"/>
                  </a:moveTo>
                  <a:lnTo>
                    <a:pt x="217539" y="0"/>
                  </a:lnTo>
                  <a:lnTo>
                    <a:pt x="0" y="0"/>
                  </a:lnTo>
                  <a:lnTo>
                    <a:pt x="217539" y="217539"/>
                  </a:lnTo>
                  <a:lnTo>
                    <a:pt x="0" y="435075"/>
                  </a:lnTo>
                  <a:lnTo>
                    <a:pt x="217510" y="435075"/>
                  </a:lnTo>
                  <a:lnTo>
                    <a:pt x="217510" y="435072"/>
                  </a:lnTo>
                  <a:lnTo>
                    <a:pt x="435049" y="217541"/>
                  </a:lnTo>
                  <a:lnTo>
                    <a:pt x="435077" y="217541"/>
                  </a:lnTo>
                  <a:lnTo>
                    <a:pt x="435049" y="217536"/>
                  </a:lnTo>
                  <a:lnTo>
                    <a:pt x="435049" y="217533"/>
                  </a:lnTo>
                  <a:lnTo>
                    <a:pt x="435049" y="217533"/>
                  </a:lnTo>
                  <a:lnTo>
                    <a:pt x="217539" y="3"/>
                  </a:lnTo>
                  <a:lnTo>
                    <a:pt x="217539" y="217533"/>
                  </a:lnTo>
                  <a:lnTo>
                    <a:pt x="217539" y="217533"/>
                  </a:lnTo>
                  <a:close/>
                </a:path>
              </a:pathLst>
            </a:custGeom>
            <a:grpFill/>
            <a:ln w="27192" cap="flat">
              <a:noFill/>
              <a:prstDash val="solid"/>
              <a:miter/>
            </a:ln>
          </p:spPr>
          <p:txBody>
            <a:bodyPr rtlCol="0" anchor="ctr"/>
            <a:lstStyle/>
            <a:p>
              <a:endParaRPr lang="uk-UA" sz="900">
                <a:solidFill>
                  <a:schemeClr val="bg1"/>
                </a:solidFill>
              </a:endParaRPr>
            </a:p>
          </p:txBody>
        </p:sp>
        <p:sp>
          <p:nvSpPr>
            <p:cNvPr id="150" name="Freeform: Shape 149">
              <a:extLst>
                <a:ext uri="{FF2B5EF4-FFF2-40B4-BE49-F238E27FC236}">
                  <a16:creationId xmlns:a16="http://schemas.microsoft.com/office/drawing/2014/main" id="{2ECD62C6-9EDD-B4E0-0423-D0F9FE8A863F}"/>
                </a:ext>
              </a:extLst>
            </p:cNvPr>
            <p:cNvSpPr/>
            <p:nvPr/>
          </p:nvSpPr>
          <p:spPr>
            <a:xfrm>
              <a:off x="24330194" y="1968909"/>
              <a:ext cx="435077" cy="435077"/>
            </a:xfrm>
            <a:custGeom>
              <a:avLst/>
              <a:gdLst>
                <a:gd name="connsiteX0" fmla="*/ 0 w 435077"/>
                <a:gd name="connsiteY0" fmla="*/ 435077 h 435077"/>
                <a:gd name="connsiteX1" fmla="*/ 217539 w 435077"/>
                <a:gd name="connsiteY1" fmla="*/ 435077 h 435077"/>
                <a:gd name="connsiteX2" fmla="*/ 217539 w 435077"/>
                <a:gd name="connsiteY2" fmla="*/ 217547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28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47 h 435077"/>
                <a:gd name="connsiteX11" fmla="*/ 435077 w 435077"/>
                <a:gd name="connsiteY11" fmla="*/ 435077 h 435077"/>
                <a:gd name="connsiteX12" fmla="*/ 435077 w 435077"/>
                <a:gd name="connsiteY12" fmla="*/ 3 h 435077"/>
                <a:gd name="connsiteX13" fmla="*/ 217539 w 435077"/>
                <a:gd name="connsiteY13" fmla="*/ 3 h 435077"/>
                <a:gd name="connsiteX14" fmla="*/ 435077 w 435077"/>
                <a:gd name="connsiteY14" fmla="*/ 217531 h 435077"/>
                <a:gd name="connsiteX15" fmla="*/ 435077 w 435077"/>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47"/>
                  </a:lnTo>
                  <a:lnTo>
                    <a:pt x="0" y="435077"/>
                  </a:lnTo>
                  <a:close/>
                  <a:moveTo>
                    <a:pt x="217539" y="0"/>
                  </a:moveTo>
                  <a:lnTo>
                    <a:pt x="0" y="0"/>
                  </a:lnTo>
                  <a:lnTo>
                    <a:pt x="217539" y="217528"/>
                  </a:lnTo>
                  <a:lnTo>
                    <a:pt x="217539" y="0"/>
                  </a:lnTo>
                  <a:close/>
                  <a:moveTo>
                    <a:pt x="435077" y="435077"/>
                  </a:moveTo>
                  <a:lnTo>
                    <a:pt x="217539" y="435077"/>
                  </a:lnTo>
                  <a:lnTo>
                    <a:pt x="435077" y="217547"/>
                  </a:lnTo>
                  <a:lnTo>
                    <a:pt x="435077" y="435077"/>
                  </a:lnTo>
                  <a:close/>
                  <a:moveTo>
                    <a:pt x="435077" y="3"/>
                  </a:moveTo>
                  <a:lnTo>
                    <a:pt x="217539" y="3"/>
                  </a:lnTo>
                  <a:lnTo>
                    <a:pt x="435077" y="217531"/>
                  </a:lnTo>
                  <a:lnTo>
                    <a:pt x="435077" y="3"/>
                  </a:lnTo>
                  <a:close/>
                </a:path>
              </a:pathLst>
            </a:custGeom>
            <a:grpFill/>
            <a:ln w="27192" cap="flat">
              <a:noFill/>
              <a:prstDash val="solid"/>
              <a:miter/>
            </a:ln>
          </p:spPr>
          <p:txBody>
            <a:bodyPr rtlCol="0" anchor="ctr"/>
            <a:lstStyle/>
            <a:p>
              <a:endParaRPr lang="uk-UA" sz="900">
                <a:solidFill>
                  <a:schemeClr val="bg1"/>
                </a:solidFill>
              </a:endParaRPr>
            </a:p>
          </p:txBody>
        </p:sp>
        <p:sp>
          <p:nvSpPr>
            <p:cNvPr id="151" name="Freeform: Shape 150">
              <a:extLst>
                <a:ext uri="{FF2B5EF4-FFF2-40B4-BE49-F238E27FC236}">
                  <a16:creationId xmlns:a16="http://schemas.microsoft.com/office/drawing/2014/main" id="{CDD59645-7C47-621F-30E6-6EFCB11A28B8}"/>
                </a:ext>
              </a:extLst>
            </p:cNvPr>
            <p:cNvSpPr/>
            <p:nvPr/>
          </p:nvSpPr>
          <p:spPr>
            <a:xfrm>
              <a:off x="835769" y="2839064"/>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3 h 435077"/>
                <a:gd name="connsiteX6" fmla="*/ 217511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3"/>
                  </a:lnTo>
                  <a:lnTo>
                    <a:pt x="217511"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52" name="Freeform: Shape 151">
              <a:extLst>
                <a:ext uri="{FF2B5EF4-FFF2-40B4-BE49-F238E27FC236}">
                  <a16:creationId xmlns:a16="http://schemas.microsoft.com/office/drawing/2014/main" id="{DF1387B8-618A-44FB-7DD6-7C68771A0B96}"/>
                </a:ext>
              </a:extLst>
            </p:cNvPr>
            <p:cNvSpPr/>
            <p:nvPr/>
          </p:nvSpPr>
          <p:spPr>
            <a:xfrm>
              <a:off x="-34398" y="2839064"/>
              <a:ext cx="435090" cy="435077"/>
            </a:xfrm>
            <a:custGeom>
              <a:avLst/>
              <a:gdLst>
                <a:gd name="connsiteX0" fmla="*/ 0 w 435090"/>
                <a:gd name="connsiteY0" fmla="*/ 435077 h 435077"/>
                <a:gd name="connsiteX1" fmla="*/ 0 w 435090"/>
                <a:gd name="connsiteY1" fmla="*/ 0 h 435077"/>
                <a:gd name="connsiteX2" fmla="*/ 217525 w 435090"/>
                <a:gd name="connsiteY2" fmla="*/ 217539 h 435077"/>
                <a:gd name="connsiteX3" fmla="*/ 0 w 435090"/>
                <a:gd name="connsiteY3" fmla="*/ 435077 h 435077"/>
                <a:gd name="connsiteX4" fmla="*/ 217552 w 435090"/>
                <a:gd name="connsiteY4" fmla="*/ 435077 h 435077"/>
                <a:gd name="connsiteX5" fmla="*/ 217552 w 435090"/>
                <a:gd name="connsiteY5" fmla="*/ 0 h 435077"/>
                <a:gd name="connsiteX6" fmla="*/ 435091 w 435090"/>
                <a:gd name="connsiteY6" fmla="*/ 217539 h 435077"/>
                <a:gd name="connsiteX7" fmla="*/ 217552 w 435090"/>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90" h="435077">
                  <a:moveTo>
                    <a:pt x="0" y="435077"/>
                  </a:moveTo>
                  <a:lnTo>
                    <a:pt x="0" y="0"/>
                  </a:lnTo>
                  <a:lnTo>
                    <a:pt x="217525" y="217539"/>
                  </a:lnTo>
                  <a:lnTo>
                    <a:pt x="0" y="435077"/>
                  </a:lnTo>
                  <a:close/>
                  <a:moveTo>
                    <a:pt x="217552" y="435077"/>
                  </a:moveTo>
                  <a:lnTo>
                    <a:pt x="217552" y="0"/>
                  </a:lnTo>
                  <a:lnTo>
                    <a:pt x="435091" y="217539"/>
                  </a:lnTo>
                  <a:lnTo>
                    <a:pt x="217552"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53" name="Freeform: Shape 152">
              <a:extLst>
                <a:ext uri="{FF2B5EF4-FFF2-40B4-BE49-F238E27FC236}">
                  <a16:creationId xmlns:a16="http://schemas.microsoft.com/office/drawing/2014/main" id="{0DE533B4-0F1B-CAC7-9EFC-8D51B8AB92DF}"/>
                </a:ext>
              </a:extLst>
            </p:cNvPr>
            <p:cNvSpPr/>
            <p:nvPr/>
          </p:nvSpPr>
          <p:spPr>
            <a:xfrm>
              <a:off x="1705924" y="2839064"/>
              <a:ext cx="435077" cy="435077"/>
            </a:xfrm>
            <a:custGeom>
              <a:avLst/>
              <a:gdLst>
                <a:gd name="connsiteX0" fmla="*/ 63711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1 w 435077"/>
                <a:gd name="connsiteY6" fmla="*/ 153827 h 435077"/>
                <a:gd name="connsiteX7" fmla="*/ 63711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1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1" y="153827"/>
                  </a:moveTo>
                  <a:cubicBezTo>
                    <a:pt x="22923" y="113038"/>
                    <a:pt x="0" y="57694"/>
                    <a:pt x="0" y="0"/>
                  </a:cubicBezTo>
                  <a:lnTo>
                    <a:pt x="217539" y="0"/>
                  </a:lnTo>
                  <a:lnTo>
                    <a:pt x="435077" y="0"/>
                  </a:lnTo>
                  <a:cubicBezTo>
                    <a:pt x="435077" y="57694"/>
                    <a:pt x="412154" y="113038"/>
                    <a:pt x="371366" y="153827"/>
                  </a:cubicBezTo>
                  <a:cubicBezTo>
                    <a:pt x="330577" y="194616"/>
                    <a:pt x="275241" y="217539"/>
                    <a:pt x="217539" y="217539"/>
                  </a:cubicBezTo>
                  <a:cubicBezTo>
                    <a:pt x="159836" y="217539"/>
                    <a:pt x="104527" y="194616"/>
                    <a:pt x="63711" y="153827"/>
                  </a:cubicBezTo>
                  <a:close/>
                  <a:moveTo>
                    <a:pt x="63711" y="281250"/>
                  </a:moveTo>
                  <a:cubicBezTo>
                    <a:pt x="22923" y="322039"/>
                    <a:pt x="0" y="377375"/>
                    <a:pt x="0" y="435077"/>
                  </a:cubicBezTo>
                  <a:lnTo>
                    <a:pt x="217539" y="435077"/>
                  </a:lnTo>
                  <a:lnTo>
                    <a:pt x="435077" y="435077"/>
                  </a:lnTo>
                  <a:cubicBezTo>
                    <a:pt x="435077" y="377375"/>
                    <a:pt x="412154" y="322039"/>
                    <a:pt x="371366" y="281250"/>
                  </a:cubicBezTo>
                  <a:cubicBezTo>
                    <a:pt x="330577" y="240462"/>
                    <a:pt x="275241" y="217539"/>
                    <a:pt x="217539" y="217539"/>
                  </a:cubicBezTo>
                  <a:cubicBezTo>
                    <a:pt x="159836" y="217539"/>
                    <a:pt x="104527" y="240462"/>
                    <a:pt x="63711" y="281250"/>
                  </a:cubicBezTo>
                  <a:close/>
                </a:path>
              </a:pathLst>
            </a:custGeom>
            <a:grpFill/>
            <a:ln w="27192" cap="flat">
              <a:noFill/>
              <a:prstDash val="solid"/>
              <a:miter/>
            </a:ln>
          </p:spPr>
          <p:txBody>
            <a:bodyPr rtlCol="0" anchor="ctr"/>
            <a:lstStyle/>
            <a:p>
              <a:endParaRPr lang="uk-UA" sz="900">
                <a:solidFill>
                  <a:schemeClr val="bg1"/>
                </a:solidFill>
              </a:endParaRPr>
            </a:p>
          </p:txBody>
        </p:sp>
        <p:sp>
          <p:nvSpPr>
            <p:cNvPr id="154" name="Freeform: Shape 153">
              <a:extLst>
                <a:ext uri="{FF2B5EF4-FFF2-40B4-BE49-F238E27FC236}">
                  <a16:creationId xmlns:a16="http://schemas.microsoft.com/office/drawing/2014/main" id="{10E8DA64-331D-D110-582D-17B2F555AE0B}"/>
                </a:ext>
              </a:extLst>
            </p:cNvPr>
            <p:cNvSpPr/>
            <p:nvPr/>
          </p:nvSpPr>
          <p:spPr>
            <a:xfrm>
              <a:off x="2576106" y="2839064"/>
              <a:ext cx="435077" cy="435077"/>
            </a:xfrm>
            <a:custGeom>
              <a:avLst/>
              <a:gdLst>
                <a:gd name="connsiteX0" fmla="*/ 435077 w 435077"/>
                <a:gd name="connsiteY0" fmla="*/ 435077 h 435077"/>
                <a:gd name="connsiteX1" fmla="*/ 435077 w 435077"/>
                <a:gd name="connsiteY1" fmla="*/ 217539 h 435077"/>
                <a:gd name="connsiteX2" fmla="*/ 435077 w 435077"/>
                <a:gd name="connsiteY2" fmla="*/ 14 h 435077"/>
                <a:gd name="connsiteX3" fmla="*/ 217539 w 435077"/>
                <a:gd name="connsiteY3" fmla="*/ 14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14"/>
                  </a:lnTo>
                  <a:lnTo>
                    <a:pt x="217539" y="14"/>
                  </a:lnTo>
                  <a:lnTo>
                    <a:pt x="435077" y="217539"/>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55" name="Freeform: Shape 154">
              <a:extLst>
                <a:ext uri="{FF2B5EF4-FFF2-40B4-BE49-F238E27FC236}">
                  <a16:creationId xmlns:a16="http://schemas.microsoft.com/office/drawing/2014/main" id="{DF06FF8F-E275-5DAB-4048-6C83C9D47F81}"/>
                </a:ext>
              </a:extLst>
            </p:cNvPr>
            <p:cNvSpPr/>
            <p:nvPr/>
          </p:nvSpPr>
          <p:spPr>
            <a:xfrm>
              <a:off x="4316442" y="2839064"/>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3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3"/>
                  </a:lnTo>
                  <a:lnTo>
                    <a:pt x="217512"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56" name="Freeform: Shape 155">
              <a:extLst>
                <a:ext uri="{FF2B5EF4-FFF2-40B4-BE49-F238E27FC236}">
                  <a16:creationId xmlns:a16="http://schemas.microsoft.com/office/drawing/2014/main" id="{8DFB9186-69AC-0479-CA45-EECA5F5B999C}"/>
                </a:ext>
              </a:extLst>
            </p:cNvPr>
            <p:cNvSpPr/>
            <p:nvPr/>
          </p:nvSpPr>
          <p:spPr>
            <a:xfrm>
              <a:off x="3446261" y="2839064"/>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57" name="Freeform: Shape 156">
              <a:extLst>
                <a:ext uri="{FF2B5EF4-FFF2-40B4-BE49-F238E27FC236}">
                  <a16:creationId xmlns:a16="http://schemas.microsoft.com/office/drawing/2014/main" id="{E138E7F9-43FB-400B-F2B2-CC4702FDF681}"/>
                </a:ext>
              </a:extLst>
            </p:cNvPr>
            <p:cNvSpPr/>
            <p:nvPr/>
          </p:nvSpPr>
          <p:spPr>
            <a:xfrm>
              <a:off x="5186597" y="283906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8"/>
                    <a:pt x="0" y="57694"/>
                    <a:pt x="0" y="0"/>
                  </a:cubicBezTo>
                  <a:lnTo>
                    <a:pt x="217539" y="0"/>
                  </a:lnTo>
                  <a:lnTo>
                    <a:pt x="435077" y="0"/>
                  </a:lnTo>
                  <a:cubicBezTo>
                    <a:pt x="435077" y="57694"/>
                    <a:pt x="412155" y="113038"/>
                    <a:pt x="371366" y="153827"/>
                  </a:cubicBezTo>
                  <a:cubicBezTo>
                    <a:pt x="330550" y="194616"/>
                    <a:pt x="275241" y="217539"/>
                    <a:pt x="217539" y="217539"/>
                  </a:cubicBezTo>
                  <a:cubicBezTo>
                    <a:pt x="159837" y="217539"/>
                    <a:pt x="104501" y="194616"/>
                    <a:pt x="63712" y="153827"/>
                  </a:cubicBezTo>
                  <a:close/>
                  <a:moveTo>
                    <a:pt x="63712" y="281250"/>
                  </a:moveTo>
                  <a:cubicBezTo>
                    <a:pt x="22924" y="322039"/>
                    <a:pt x="0" y="377375"/>
                    <a:pt x="0" y="435077"/>
                  </a:cubicBezTo>
                  <a:lnTo>
                    <a:pt x="217539" y="435077"/>
                  </a:lnTo>
                  <a:lnTo>
                    <a:pt x="435077" y="435077"/>
                  </a:lnTo>
                  <a:cubicBezTo>
                    <a:pt x="435077" y="377375"/>
                    <a:pt x="412155" y="322039"/>
                    <a:pt x="371366" y="281250"/>
                  </a:cubicBezTo>
                  <a:cubicBezTo>
                    <a:pt x="330550" y="240462"/>
                    <a:pt x="275241" y="217539"/>
                    <a:pt x="217539" y="217539"/>
                  </a:cubicBezTo>
                  <a:cubicBezTo>
                    <a:pt x="159837" y="217539"/>
                    <a:pt x="104501" y="240462"/>
                    <a:pt x="63712" y="281250"/>
                  </a:cubicBezTo>
                  <a:close/>
                </a:path>
              </a:pathLst>
            </a:custGeom>
            <a:grpFill/>
            <a:ln w="27192" cap="flat">
              <a:noFill/>
              <a:prstDash val="solid"/>
              <a:miter/>
            </a:ln>
          </p:spPr>
          <p:txBody>
            <a:bodyPr rtlCol="0" anchor="ctr"/>
            <a:lstStyle/>
            <a:p>
              <a:endParaRPr lang="uk-UA" sz="900">
                <a:solidFill>
                  <a:schemeClr val="bg1"/>
                </a:solidFill>
              </a:endParaRPr>
            </a:p>
          </p:txBody>
        </p:sp>
        <p:sp>
          <p:nvSpPr>
            <p:cNvPr id="158" name="Freeform: Shape 157">
              <a:extLst>
                <a:ext uri="{FF2B5EF4-FFF2-40B4-BE49-F238E27FC236}">
                  <a16:creationId xmlns:a16="http://schemas.microsoft.com/office/drawing/2014/main" id="{73B5318F-AAC9-6A69-7C88-6A91DADC0C1A}"/>
                </a:ext>
              </a:extLst>
            </p:cNvPr>
            <p:cNvSpPr/>
            <p:nvPr/>
          </p:nvSpPr>
          <p:spPr>
            <a:xfrm>
              <a:off x="6056752" y="2839064"/>
              <a:ext cx="435077" cy="435077"/>
            </a:xfrm>
            <a:custGeom>
              <a:avLst/>
              <a:gdLst>
                <a:gd name="connsiteX0" fmla="*/ 435077 w 435077"/>
                <a:gd name="connsiteY0" fmla="*/ 435077 h 435077"/>
                <a:gd name="connsiteX1" fmla="*/ 435077 w 435077"/>
                <a:gd name="connsiteY1" fmla="*/ 217539 h 435077"/>
                <a:gd name="connsiteX2" fmla="*/ 435077 w 435077"/>
                <a:gd name="connsiteY2" fmla="*/ 14 h 435077"/>
                <a:gd name="connsiteX3" fmla="*/ 217539 w 435077"/>
                <a:gd name="connsiteY3" fmla="*/ 14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14"/>
                  </a:lnTo>
                  <a:lnTo>
                    <a:pt x="217539" y="14"/>
                  </a:lnTo>
                  <a:lnTo>
                    <a:pt x="435077" y="217539"/>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59" name="Freeform: Shape 158">
              <a:extLst>
                <a:ext uri="{FF2B5EF4-FFF2-40B4-BE49-F238E27FC236}">
                  <a16:creationId xmlns:a16="http://schemas.microsoft.com/office/drawing/2014/main" id="{93AD8DA6-56D8-2520-B0B0-3A574029C2FB}"/>
                </a:ext>
              </a:extLst>
            </p:cNvPr>
            <p:cNvSpPr/>
            <p:nvPr/>
          </p:nvSpPr>
          <p:spPr>
            <a:xfrm>
              <a:off x="7797089" y="2839064"/>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3 h 435077"/>
                <a:gd name="connsiteX6" fmla="*/ 217511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3"/>
                  </a:lnTo>
                  <a:lnTo>
                    <a:pt x="217511"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60" name="Freeform: Shape 159">
              <a:extLst>
                <a:ext uri="{FF2B5EF4-FFF2-40B4-BE49-F238E27FC236}">
                  <a16:creationId xmlns:a16="http://schemas.microsoft.com/office/drawing/2014/main" id="{BAC45418-617D-63E9-1629-04109F1AF5F7}"/>
                </a:ext>
              </a:extLst>
            </p:cNvPr>
            <p:cNvSpPr/>
            <p:nvPr/>
          </p:nvSpPr>
          <p:spPr>
            <a:xfrm>
              <a:off x="6926907" y="2839064"/>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61" name="Freeform: Shape 160">
              <a:extLst>
                <a:ext uri="{FF2B5EF4-FFF2-40B4-BE49-F238E27FC236}">
                  <a16:creationId xmlns:a16="http://schemas.microsoft.com/office/drawing/2014/main" id="{2F11B8A4-5352-70D0-3508-AD6600257606}"/>
                </a:ext>
              </a:extLst>
            </p:cNvPr>
            <p:cNvSpPr/>
            <p:nvPr/>
          </p:nvSpPr>
          <p:spPr>
            <a:xfrm>
              <a:off x="8667217" y="2839064"/>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39 w 435077"/>
                <a:gd name="connsiteY6" fmla="*/ 153827 h 435077"/>
                <a:gd name="connsiteX7" fmla="*/ 63739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39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4" y="113038"/>
                    <a:pt x="0" y="57694"/>
                    <a:pt x="0" y="0"/>
                  </a:cubicBezTo>
                  <a:lnTo>
                    <a:pt x="217539" y="0"/>
                  </a:lnTo>
                  <a:lnTo>
                    <a:pt x="435077" y="0"/>
                  </a:lnTo>
                  <a:cubicBezTo>
                    <a:pt x="435077" y="57694"/>
                    <a:pt x="412182" y="113038"/>
                    <a:pt x="371366" y="153827"/>
                  </a:cubicBezTo>
                  <a:cubicBezTo>
                    <a:pt x="330578" y="194616"/>
                    <a:pt x="275241" y="217539"/>
                    <a:pt x="217539" y="217539"/>
                  </a:cubicBezTo>
                  <a:cubicBezTo>
                    <a:pt x="159864" y="217539"/>
                    <a:pt x="104527" y="194616"/>
                    <a:pt x="63739" y="153827"/>
                  </a:cubicBezTo>
                  <a:close/>
                  <a:moveTo>
                    <a:pt x="63739" y="281250"/>
                  </a:moveTo>
                  <a:cubicBezTo>
                    <a:pt x="22924" y="322039"/>
                    <a:pt x="0" y="377375"/>
                    <a:pt x="0" y="435077"/>
                  </a:cubicBezTo>
                  <a:lnTo>
                    <a:pt x="217539" y="435077"/>
                  </a:lnTo>
                  <a:lnTo>
                    <a:pt x="435077" y="435077"/>
                  </a:lnTo>
                  <a:cubicBezTo>
                    <a:pt x="435077" y="377375"/>
                    <a:pt x="412182" y="322039"/>
                    <a:pt x="371366" y="281250"/>
                  </a:cubicBezTo>
                  <a:cubicBezTo>
                    <a:pt x="330578" y="240462"/>
                    <a:pt x="275241" y="217539"/>
                    <a:pt x="217539" y="217539"/>
                  </a:cubicBezTo>
                  <a:cubicBezTo>
                    <a:pt x="159864" y="217539"/>
                    <a:pt x="104527" y="240462"/>
                    <a:pt x="63739" y="281250"/>
                  </a:cubicBezTo>
                  <a:close/>
                </a:path>
              </a:pathLst>
            </a:custGeom>
            <a:grpFill/>
            <a:ln w="27192" cap="flat">
              <a:noFill/>
              <a:prstDash val="solid"/>
              <a:miter/>
            </a:ln>
          </p:spPr>
          <p:txBody>
            <a:bodyPr rtlCol="0" anchor="ctr"/>
            <a:lstStyle/>
            <a:p>
              <a:endParaRPr lang="uk-UA" sz="900">
                <a:solidFill>
                  <a:schemeClr val="bg1"/>
                </a:solidFill>
              </a:endParaRPr>
            </a:p>
          </p:txBody>
        </p:sp>
        <p:sp>
          <p:nvSpPr>
            <p:cNvPr id="162" name="Freeform: Shape 161">
              <a:extLst>
                <a:ext uri="{FF2B5EF4-FFF2-40B4-BE49-F238E27FC236}">
                  <a16:creationId xmlns:a16="http://schemas.microsoft.com/office/drawing/2014/main" id="{56786F91-5093-8277-3916-FF4433635170}"/>
                </a:ext>
              </a:extLst>
            </p:cNvPr>
            <p:cNvSpPr/>
            <p:nvPr/>
          </p:nvSpPr>
          <p:spPr>
            <a:xfrm>
              <a:off x="9537399" y="2839064"/>
              <a:ext cx="435077" cy="435077"/>
            </a:xfrm>
            <a:custGeom>
              <a:avLst/>
              <a:gdLst>
                <a:gd name="connsiteX0" fmla="*/ 435077 w 435077"/>
                <a:gd name="connsiteY0" fmla="*/ 435077 h 435077"/>
                <a:gd name="connsiteX1" fmla="*/ 435077 w 435077"/>
                <a:gd name="connsiteY1" fmla="*/ 217539 h 435077"/>
                <a:gd name="connsiteX2" fmla="*/ 435077 w 435077"/>
                <a:gd name="connsiteY2" fmla="*/ 14 h 435077"/>
                <a:gd name="connsiteX3" fmla="*/ 217539 w 435077"/>
                <a:gd name="connsiteY3" fmla="*/ 14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1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1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14"/>
                  </a:lnTo>
                  <a:lnTo>
                    <a:pt x="217539" y="14"/>
                  </a:lnTo>
                  <a:lnTo>
                    <a:pt x="435077" y="217539"/>
                  </a:lnTo>
                  <a:lnTo>
                    <a:pt x="217539" y="435077"/>
                  </a:lnTo>
                  <a:lnTo>
                    <a:pt x="435077" y="435077"/>
                  </a:lnTo>
                  <a:close/>
                  <a:moveTo>
                    <a:pt x="0" y="217539"/>
                  </a:moveTo>
                  <a:lnTo>
                    <a:pt x="0" y="0"/>
                  </a:lnTo>
                  <a:lnTo>
                    <a:pt x="217511" y="217539"/>
                  </a:lnTo>
                  <a:lnTo>
                    <a:pt x="0" y="217539"/>
                  </a:lnTo>
                  <a:close/>
                  <a:moveTo>
                    <a:pt x="0" y="435077"/>
                  </a:moveTo>
                  <a:lnTo>
                    <a:pt x="0" y="217539"/>
                  </a:lnTo>
                  <a:lnTo>
                    <a:pt x="217511"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63" name="Freeform: Shape 162">
              <a:extLst>
                <a:ext uri="{FF2B5EF4-FFF2-40B4-BE49-F238E27FC236}">
                  <a16:creationId xmlns:a16="http://schemas.microsoft.com/office/drawing/2014/main" id="{2F195C75-7044-11B7-14BA-493795B98D09}"/>
                </a:ext>
              </a:extLst>
            </p:cNvPr>
            <p:cNvSpPr/>
            <p:nvPr/>
          </p:nvSpPr>
          <p:spPr>
            <a:xfrm>
              <a:off x="11277709" y="2839064"/>
              <a:ext cx="435077" cy="435077"/>
            </a:xfrm>
            <a:custGeom>
              <a:avLst/>
              <a:gdLst>
                <a:gd name="connsiteX0" fmla="*/ 435077 w 435077"/>
                <a:gd name="connsiteY0" fmla="*/ 435077 h 435077"/>
                <a:gd name="connsiteX1" fmla="*/ 435077 w 435077"/>
                <a:gd name="connsiteY1" fmla="*/ 0 h 435077"/>
                <a:gd name="connsiteX2" fmla="*/ 217565 w 435077"/>
                <a:gd name="connsiteY2" fmla="*/ 217539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39"/>
                  </a:lnTo>
                  <a:lnTo>
                    <a:pt x="435077" y="435077"/>
                  </a:lnTo>
                  <a:close/>
                  <a:moveTo>
                    <a:pt x="0" y="435077"/>
                  </a:moveTo>
                  <a:lnTo>
                    <a:pt x="0" y="3"/>
                  </a:lnTo>
                  <a:lnTo>
                    <a:pt x="217539"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64" name="Freeform: Shape 163">
              <a:extLst>
                <a:ext uri="{FF2B5EF4-FFF2-40B4-BE49-F238E27FC236}">
                  <a16:creationId xmlns:a16="http://schemas.microsoft.com/office/drawing/2014/main" id="{09D848EB-BE99-BA51-BCC2-60E3A346F641}"/>
                </a:ext>
              </a:extLst>
            </p:cNvPr>
            <p:cNvSpPr/>
            <p:nvPr/>
          </p:nvSpPr>
          <p:spPr>
            <a:xfrm>
              <a:off x="10407554" y="2839064"/>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65" name="Freeform: Shape 164">
              <a:extLst>
                <a:ext uri="{FF2B5EF4-FFF2-40B4-BE49-F238E27FC236}">
                  <a16:creationId xmlns:a16="http://schemas.microsoft.com/office/drawing/2014/main" id="{40E516DF-F067-D9B2-9D64-097E0AC45CAD}"/>
                </a:ext>
              </a:extLst>
            </p:cNvPr>
            <p:cNvSpPr/>
            <p:nvPr/>
          </p:nvSpPr>
          <p:spPr>
            <a:xfrm>
              <a:off x="12147864" y="2839064"/>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39 w 435077"/>
                <a:gd name="connsiteY6" fmla="*/ 153827 h 435077"/>
                <a:gd name="connsiteX7" fmla="*/ 63739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0 h 435077"/>
                <a:gd name="connsiteX12" fmla="*/ 217539 w 435077"/>
                <a:gd name="connsiteY12" fmla="*/ 217539 h 435077"/>
                <a:gd name="connsiteX13" fmla="*/ 63739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2" y="113038"/>
                    <a:pt x="0" y="57694"/>
                    <a:pt x="0" y="0"/>
                  </a:cubicBezTo>
                  <a:lnTo>
                    <a:pt x="217539" y="0"/>
                  </a:lnTo>
                  <a:lnTo>
                    <a:pt x="435077" y="0"/>
                  </a:lnTo>
                  <a:cubicBezTo>
                    <a:pt x="435077" y="57694"/>
                    <a:pt x="412180" y="113038"/>
                    <a:pt x="371365" y="153827"/>
                  </a:cubicBezTo>
                  <a:cubicBezTo>
                    <a:pt x="330577" y="194616"/>
                    <a:pt x="275239" y="217539"/>
                    <a:pt x="217539" y="217539"/>
                  </a:cubicBezTo>
                  <a:cubicBezTo>
                    <a:pt x="159863" y="217539"/>
                    <a:pt x="104527" y="194616"/>
                    <a:pt x="63739" y="153827"/>
                  </a:cubicBezTo>
                  <a:close/>
                  <a:moveTo>
                    <a:pt x="63739" y="281250"/>
                  </a:moveTo>
                  <a:cubicBezTo>
                    <a:pt x="22922" y="322039"/>
                    <a:pt x="0" y="377375"/>
                    <a:pt x="0" y="435077"/>
                  </a:cubicBezTo>
                  <a:lnTo>
                    <a:pt x="217539" y="435077"/>
                  </a:lnTo>
                  <a:lnTo>
                    <a:pt x="435077" y="435077"/>
                  </a:lnTo>
                  <a:cubicBezTo>
                    <a:pt x="435077" y="377375"/>
                    <a:pt x="412180" y="322039"/>
                    <a:pt x="371365" y="281250"/>
                  </a:cubicBezTo>
                  <a:cubicBezTo>
                    <a:pt x="330577" y="240462"/>
                    <a:pt x="275239" y="217539"/>
                    <a:pt x="217539" y="217539"/>
                  </a:cubicBezTo>
                  <a:cubicBezTo>
                    <a:pt x="159863" y="217539"/>
                    <a:pt x="104527" y="240462"/>
                    <a:pt x="63739" y="281250"/>
                  </a:cubicBezTo>
                  <a:close/>
                </a:path>
              </a:pathLst>
            </a:custGeom>
            <a:grpFill/>
            <a:ln w="27192" cap="flat">
              <a:noFill/>
              <a:prstDash val="solid"/>
              <a:miter/>
            </a:ln>
          </p:spPr>
          <p:txBody>
            <a:bodyPr rtlCol="0" anchor="ctr"/>
            <a:lstStyle/>
            <a:p>
              <a:endParaRPr lang="uk-UA" sz="900">
                <a:solidFill>
                  <a:schemeClr val="bg1"/>
                </a:solidFill>
              </a:endParaRPr>
            </a:p>
          </p:txBody>
        </p:sp>
        <p:sp>
          <p:nvSpPr>
            <p:cNvPr id="166" name="Freeform: Shape 165">
              <a:extLst>
                <a:ext uri="{FF2B5EF4-FFF2-40B4-BE49-F238E27FC236}">
                  <a16:creationId xmlns:a16="http://schemas.microsoft.com/office/drawing/2014/main" id="{D3AD36CD-D46C-4AEE-37FF-DF188FF9A971}"/>
                </a:ext>
              </a:extLst>
            </p:cNvPr>
            <p:cNvSpPr/>
            <p:nvPr/>
          </p:nvSpPr>
          <p:spPr>
            <a:xfrm>
              <a:off x="13018045" y="2839064"/>
              <a:ext cx="435077" cy="435077"/>
            </a:xfrm>
            <a:custGeom>
              <a:avLst/>
              <a:gdLst>
                <a:gd name="connsiteX0" fmla="*/ 435077 w 435077"/>
                <a:gd name="connsiteY0" fmla="*/ 435077 h 435077"/>
                <a:gd name="connsiteX1" fmla="*/ 435077 w 435077"/>
                <a:gd name="connsiteY1" fmla="*/ 217539 h 435077"/>
                <a:gd name="connsiteX2" fmla="*/ 435077 w 435077"/>
                <a:gd name="connsiteY2" fmla="*/ 14 h 435077"/>
                <a:gd name="connsiteX3" fmla="*/ 217539 w 435077"/>
                <a:gd name="connsiteY3" fmla="*/ 14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14"/>
                  </a:lnTo>
                  <a:lnTo>
                    <a:pt x="217539" y="14"/>
                  </a:lnTo>
                  <a:lnTo>
                    <a:pt x="435077" y="217539"/>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67" name="Freeform: Shape 166">
              <a:extLst>
                <a:ext uri="{FF2B5EF4-FFF2-40B4-BE49-F238E27FC236}">
                  <a16:creationId xmlns:a16="http://schemas.microsoft.com/office/drawing/2014/main" id="{9032A13C-A94E-B777-4AEA-063204EEC966}"/>
                </a:ext>
              </a:extLst>
            </p:cNvPr>
            <p:cNvSpPr/>
            <p:nvPr/>
          </p:nvSpPr>
          <p:spPr>
            <a:xfrm>
              <a:off x="14758382" y="2839064"/>
              <a:ext cx="435077" cy="435077"/>
            </a:xfrm>
            <a:custGeom>
              <a:avLst/>
              <a:gdLst>
                <a:gd name="connsiteX0" fmla="*/ 435077 w 435077"/>
                <a:gd name="connsiteY0" fmla="*/ 435077 h 435077"/>
                <a:gd name="connsiteX1" fmla="*/ 435077 w 435077"/>
                <a:gd name="connsiteY1" fmla="*/ 0 h 435077"/>
                <a:gd name="connsiteX2" fmla="*/ 217567 w 435077"/>
                <a:gd name="connsiteY2" fmla="*/ 217539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7" y="217539"/>
                  </a:lnTo>
                  <a:lnTo>
                    <a:pt x="435077" y="435077"/>
                  </a:lnTo>
                  <a:close/>
                  <a:moveTo>
                    <a:pt x="0" y="435077"/>
                  </a:moveTo>
                  <a:lnTo>
                    <a:pt x="0" y="3"/>
                  </a:lnTo>
                  <a:lnTo>
                    <a:pt x="217539"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68" name="Freeform: Shape 167">
              <a:extLst>
                <a:ext uri="{FF2B5EF4-FFF2-40B4-BE49-F238E27FC236}">
                  <a16:creationId xmlns:a16="http://schemas.microsoft.com/office/drawing/2014/main" id="{077AE9FB-5DFD-0AB8-F1E4-542AE28E8A8A}"/>
                </a:ext>
              </a:extLst>
            </p:cNvPr>
            <p:cNvSpPr/>
            <p:nvPr/>
          </p:nvSpPr>
          <p:spPr>
            <a:xfrm>
              <a:off x="13888200" y="2839064"/>
              <a:ext cx="435103" cy="435077"/>
            </a:xfrm>
            <a:custGeom>
              <a:avLst/>
              <a:gdLst>
                <a:gd name="connsiteX0" fmla="*/ 0 w 435103"/>
                <a:gd name="connsiteY0" fmla="*/ 435077 h 435077"/>
                <a:gd name="connsiteX1" fmla="*/ 0 w 435103"/>
                <a:gd name="connsiteY1" fmla="*/ 0 h 435077"/>
                <a:gd name="connsiteX2" fmla="*/ 217539 w 435103"/>
                <a:gd name="connsiteY2" fmla="*/ 217539 h 435077"/>
                <a:gd name="connsiteX3" fmla="*/ 0 w 435103"/>
                <a:gd name="connsiteY3" fmla="*/ 435077 h 435077"/>
                <a:gd name="connsiteX4" fmla="*/ 217565 w 435103"/>
                <a:gd name="connsiteY4" fmla="*/ 435077 h 435077"/>
                <a:gd name="connsiteX5" fmla="*/ 217565 w 435103"/>
                <a:gd name="connsiteY5" fmla="*/ 0 h 435077"/>
                <a:gd name="connsiteX6" fmla="*/ 435104 w 435103"/>
                <a:gd name="connsiteY6" fmla="*/ 217539 h 435077"/>
                <a:gd name="connsiteX7" fmla="*/ 217565 w 435103"/>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103" h="435077">
                  <a:moveTo>
                    <a:pt x="0" y="435077"/>
                  </a:moveTo>
                  <a:lnTo>
                    <a:pt x="0" y="0"/>
                  </a:lnTo>
                  <a:lnTo>
                    <a:pt x="217539" y="217539"/>
                  </a:lnTo>
                  <a:lnTo>
                    <a:pt x="0" y="435077"/>
                  </a:lnTo>
                  <a:close/>
                  <a:moveTo>
                    <a:pt x="217565" y="435077"/>
                  </a:moveTo>
                  <a:lnTo>
                    <a:pt x="217565" y="0"/>
                  </a:lnTo>
                  <a:lnTo>
                    <a:pt x="435104" y="217539"/>
                  </a:lnTo>
                  <a:lnTo>
                    <a:pt x="217565"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69" name="Freeform: Shape 168">
              <a:extLst>
                <a:ext uri="{FF2B5EF4-FFF2-40B4-BE49-F238E27FC236}">
                  <a16:creationId xmlns:a16="http://schemas.microsoft.com/office/drawing/2014/main" id="{8A2440D1-23FF-E8D9-9ED2-9C0263DB0644}"/>
                </a:ext>
              </a:extLst>
            </p:cNvPr>
            <p:cNvSpPr/>
            <p:nvPr/>
          </p:nvSpPr>
          <p:spPr>
            <a:xfrm>
              <a:off x="15628536" y="283906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8"/>
                    <a:pt x="0" y="57694"/>
                    <a:pt x="0" y="0"/>
                  </a:cubicBezTo>
                  <a:lnTo>
                    <a:pt x="217539" y="0"/>
                  </a:lnTo>
                  <a:lnTo>
                    <a:pt x="435077" y="0"/>
                  </a:lnTo>
                  <a:cubicBezTo>
                    <a:pt x="435077" y="57694"/>
                    <a:pt x="412155" y="113038"/>
                    <a:pt x="371367" y="153827"/>
                  </a:cubicBezTo>
                  <a:cubicBezTo>
                    <a:pt x="330578" y="194616"/>
                    <a:pt x="275241" y="217539"/>
                    <a:pt x="217539" y="217539"/>
                  </a:cubicBezTo>
                  <a:cubicBezTo>
                    <a:pt x="159865" y="217539"/>
                    <a:pt x="104527" y="194616"/>
                    <a:pt x="63712" y="153827"/>
                  </a:cubicBezTo>
                  <a:close/>
                  <a:moveTo>
                    <a:pt x="63712" y="281250"/>
                  </a:moveTo>
                  <a:cubicBezTo>
                    <a:pt x="22924" y="322039"/>
                    <a:pt x="0" y="377375"/>
                    <a:pt x="0" y="435077"/>
                  </a:cubicBezTo>
                  <a:lnTo>
                    <a:pt x="217539" y="435077"/>
                  </a:lnTo>
                  <a:lnTo>
                    <a:pt x="435077" y="435077"/>
                  </a:lnTo>
                  <a:cubicBezTo>
                    <a:pt x="435077" y="377375"/>
                    <a:pt x="412155" y="322039"/>
                    <a:pt x="371367" y="281250"/>
                  </a:cubicBezTo>
                  <a:cubicBezTo>
                    <a:pt x="330578" y="240462"/>
                    <a:pt x="275241" y="217539"/>
                    <a:pt x="217539" y="217539"/>
                  </a:cubicBezTo>
                  <a:cubicBezTo>
                    <a:pt x="159865" y="217539"/>
                    <a:pt x="104527" y="240462"/>
                    <a:pt x="63712" y="281250"/>
                  </a:cubicBezTo>
                  <a:close/>
                </a:path>
              </a:pathLst>
            </a:custGeom>
            <a:grpFill/>
            <a:ln w="27192" cap="flat">
              <a:noFill/>
              <a:prstDash val="solid"/>
              <a:miter/>
            </a:ln>
          </p:spPr>
          <p:txBody>
            <a:bodyPr rtlCol="0" anchor="ctr"/>
            <a:lstStyle/>
            <a:p>
              <a:endParaRPr lang="uk-UA" sz="900">
                <a:solidFill>
                  <a:schemeClr val="bg1"/>
                </a:solidFill>
              </a:endParaRPr>
            </a:p>
          </p:txBody>
        </p:sp>
        <p:sp>
          <p:nvSpPr>
            <p:cNvPr id="170" name="Freeform: Shape 169">
              <a:extLst>
                <a:ext uri="{FF2B5EF4-FFF2-40B4-BE49-F238E27FC236}">
                  <a16:creationId xmlns:a16="http://schemas.microsoft.com/office/drawing/2014/main" id="{2BECB4A5-39E9-0852-B855-3322423F268C}"/>
                </a:ext>
              </a:extLst>
            </p:cNvPr>
            <p:cNvSpPr/>
            <p:nvPr/>
          </p:nvSpPr>
          <p:spPr>
            <a:xfrm>
              <a:off x="16498719" y="2839064"/>
              <a:ext cx="435077" cy="435077"/>
            </a:xfrm>
            <a:custGeom>
              <a:avLst/>
              <a:gdLst>
                <a:gd name="connsiteX0" fmla="*/ 435077 w 435077"/>
                <a:gd name="connsiteY0" fmla="*/ 435077 h 435077"/>
                <a:gd name="connsiteX1" fmla="*/ 435077 w 435077"/>
                <a:gd name="connsiteY1" fmla="*/ 217539 h 435077"/>
                <a:gd name="connsiteX2" fmla="*/ 435077 w 435077"/>
                <a:gd name="connsiteY2" fmla="*/ 14 h 435077"/>
                <a:gd name="connsiteX3" fmla="*/ 217539 w 435077"/>
                <a:gd name="connsiteY3" fmla="*/ 14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0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0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14"/>
                  </a:lnTo>
                  <a:lnTo>
                    <a:pt x="217539" y="14"/>
                  </a:lnTo>
                  <a:lnTo>
                    <a:pt x="435077" y="217539"/>
                  </a:lnTo>
                  <a:lnTo>
                    <a:pt x="217539" y="435077"/>
                  </a:lnTo>
                  <a:lnTo>
                    <a:pt x="435077" y="435077"/>
                  </a:lnTo>
                  <a:close/>
                  <a:moveTo>
                    <a:pt x="0" y="217539"/>
                  </a:moveTo>
                  <a:lnTo>
                    <a:pt x="0" y="0"/>
                  </a:lnTo>
                  <a:lnTo>
                    <a:pt x="217510" y="217539"/>
                  </a:lnTo>
                  <a:lnTo>
                    <a:pt x="0" y="217539"/>
                  </a:lnTo>
                  <a:close/>
                  <a:moveTo>
                    <a:pt x="0" y="435077"/>
                  </a:moveTo>
                  <a:lnTo>
                    <a:pt x="0" y="217539"/>
                  </a:lnTo>
                  <a:lnTo>
                    <a:pt x="217510"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71" name="Freeform: Shape 170">
              <a:extLst>
                <a:ext uri="{FF2B5EF4-FFF2-40B4-BE49-F238E27FC236}">
                  <a16:creationId xmlns:a16="http://schemas.microsoft.com/office/drawing/2014/main" id="{26AA611C-D8EE-980F-E661-C144A857E328}"/>
                </a:ext>
              </a:extLst>
            </p:cNvPr>
            <p:cNvSpPr/>
            <p:nvPr/>
          </p:nvSpPr>
          <p:spPr>
            <a:xfrm>
              <a:off x="18239029" y="2839064"/>
              <a:ext cx="435077" cy="435077"/>
            </a:xfrm>
            <a:custGeom>
              <a:avLst/>
              <a:gdLst>
                <a:gd name="connsiteX0" fmla="*/ 435077 w 435077"/>
                <a:gd name="connsiteY0" fmla="*/ 435077 h 435077"/>
                <a:gd name="connsiteX1" fmla="*/ 435077 w 435077"/>
                <a:gd name="connsiteY1" fmla="*/ 0 h 435077"/>
                <a:gd name="connsiteX2" fmla="*/ 217565 w 435077"/>
                <a:gd name="connsiteY2" fmla="*/ 217539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39"/>
                  </a:lnTo>
                  <a:lnTo>
                    <a:pt x="435077" y="435077"/>
                  </a:lnTo>
                  <a:close/>
                  <a:moveTo>
                    <a:pt x="0" y="435077"/>
                  </a:moveTo>
                  <a:lnTo>
                    <a:pt x="0" y="3"/>
                  </a:lnTo>
                  <a:lnTo>
                    <a:pt x="217539"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72" name="Freeform: Shape 171">
              <a:extLst>
                <a:ext uri="{FF2B5EF4-FFF2-40B4-BE49-F238E27FC236}">
                  <a16:creationId xmlns:a16="http://schemas.microsoft.com/office/drawing/2014/main" id="{1E86AE16-B542-901E-578B-466985833B0A}"/>
                </a:ext>
              </a:extLst>
            </p:cNvPr>
            <p:cNvSpPr/>
            <p:nvPr/>
          </p:nvSpPr>
          <p:spPr>
            <a:xfrm>
              <a:off x="17368874" y="2839064"/>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73" name="Freeform: Shape 172">
              <a:extLst>
                <a:ext uri="{FF2B5EF4-FFF2-40B4-BE49-F238E27FC236}">
                  <a16:creationId xmlns:a16="http://schemas.microsoft.com/office/drawing/2014/main" id="{C05DAEA2-D790-44A1-AF5D-DF9B0160C7CC}"/>
                </a:ext>
              </a:extLst>
            </p:cNvPr>
            <p:cNvSpPr/>
            <p:nvPr/>
          </p:nvSpPr>
          <p:spPr>
            <a:xfrm>
              <a:off x="19109210" y="283906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895" y="113038"/>
                    <a:pt x="0" y="57694"/>
                    <a:pt x="0" y="0"/>
                  </a:cubicBezTo>
                  <a:lnTo>
                    <a:pt x="217539" y="0"/>
                  </a:lnTo>
                  <a:lnTo>
                    <a:pt x="435077" y="0"/>
                  </a:lnTo>
                  <a:cubicBezTo>
                    <a:pt x="435077" y="57694"/>
                    <a:pt x="412154" y="113038"/>
                    <a:pt x="371339" y="153827"/>
                  </a:cubicBezTo>
                  <a:cubicBezTo>
                    <a:pt x="330550" y="194616"/>
                    <a:pt x="275215" y="217539"/>
                    <a:pt x="217539" y="217539"/>
                  </a:cubicBezTo>
                  <a:cubicBezTo>
                    <a:pt x="159836" y="217539"/>
                    <a:pt x="104501" y="194616"/>
                    <a:pt x="63712" y="153827"/>
                  </a:cubicBezTo>
                  <a:close/>
                  <a:moveTo>
                    <a:pt x="63712" y="281250"/>
                  </a:moveTo>
                  <a:cubicBezTo>
                    <a:pt x="22895" y="322039"/>
                    <a:pt x="0" y="377375"/>
                    <a:pt x="0" y="435077"/>
                  </a:cubicBezTo>
                  <a:lnTo>
                    <a:pt x="217539" y="435077"/>
                  </a:lnTo>
                  <a:lnTo>
                    <a:pt x="435077" y="435077"/>
                  </a:lnTo>
                  <a:cubicBezTo>
                    <a:pt x="435077" y="377375"/>
                    <a:pt x="412154" y="322039"/>
                    <a:pt x="371339" y="281250"/>
                  </a:cubicBezTo>
                  <a:cubicBezTo>
                    <a:pt x="330550" y="240462"/>
                    <a:pt x="275215" y="217539"/>
                    <a:pt x="217539" y="217539"/>
                  </a:cubicBezTo>
                  <a:cubicBezTo>
                    <a:pt x="159836" y="217539"/>
                    <a:pt x="104501" y="240462"/>
                    <a:pt x="63712" y="281250"/>
                  </a:cubicBezTo>
                  <a:close/>
                </a:path>
              </a:pathLst>
            </a:custGeom>
            <a:grpFill/>
            <a:ln w="27192" cap="flat">
              <a:noFill/>
              <a:prstDash val="solid"/>
              <a:miter/>
            </a:ln>
          </p:spPr>
          <p:txBody>
            <a:bodyPr rtlCol="0" anchor="ctr"/>
            <a:lstStyle/>
            <a:p>
              <a:endParaRPr lang="uk-UA" sz="900">
                <a:solidFill>
                  <a:schemeClr val="bg1"/>
                </a:solidFill>
              </a:endParaRPr>
            </a:p>
          </p:txBody>
        </p:sp>
        <p:sp>
          <p:nvSpPr>
            <p:cNvPr id="174" name="Freeform: Shape 173">
              <a:extLst>
                <a:ext uri="{FF2B5EF4-FFF2-40B4-BE49-F238E27FC236}">
                  <a16:creationId xmlns:a16="http://schemas.microsoft.com/office/drawing/2014/main" id="{0515F0B8-C10A-0B62-1253-672D1D9C8044}"/>
                </a:ext>
              </a:extLst>
            </p:cNvPr>
            <p:cNvSpPr/>
            <p:nvPr/>
          </p:nvSpPr>
          <p:spPr>
            <a:xfrm>
              <a:off x="19979365" y="2839064"/>
              <a:ext cx="435077" cy="435077"/>
            </a:xfrm>
            <a:custGeom>
              <a:avLst/>
              <a:gdLst>
                <a:gd name="connsiteX0" fmla="*/ 435077 w 435077"/>
                <a:gd name="connsiteY0" fmla="*/ 435077 h 435077"/>
                <a:gd name="connsiteX1" fmla="*/ 435077 w 435077"/>
                <a:gd name="connsiteY1" fmla="*/ 217539 h 435077"/>
                <a:gd name="connsiteX2" fmla="*/ 435077 w 435077"/>
                <a:gd name="connsiteY2" fmla="*/ 14 h 435077"/>
                <a:gd name="connsiteX3" fmla="*/ 217539 w 435077"/>
                <a:gd name="connsiteY3" fmla="*/ 14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14"/>
                  </a:lnTo>
                  <a:lnTo>
                    <a:pt x="217539" y="14"/>
                  </a:lnTo>
                  <a:lnTo>
                    <a:pt x="435077" y="217539"/>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75" name="Freeform: Shape 174">
              <a:extLst>
                <a:ext uri="{FF2B5EF4-FFF2-40B4-BE49-F238E27FC236}">
                  <a16:creationId xmlns:a16="http://schemas.microsoft.com/office/drawing/2014/main" id="{0C5F2EAE-95F1-05E6-5A63-C3FA88C112C8}"/>
                </a:ext>
              </a:extLst>
            </p:cNvPr>
            <p:cNvSpPr/>
            <p:nvPr/>
          </p:nvSpPr>
          <p:spPr>
            <a:xfrm>
              <a:off x="21719702" y="2839064"/>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3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3"/>
                  </a:lnTo>
                  <a:lnTo>
                    <a:pt x="217512"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76" name="Freeform: Shape 175">
              <a:extLst>
                <a:ext uri="{FF2B5EF4-FFF2-40B4-BE49-F238E27FC236}">
                  <a16:creationId xmlns:a16="http://schemas.microsoft.com/office/drawing/2014/main" id="{3967789B-1451-3D33-73DE-5581E74CF147}"/>
                </a:ext>
              </a:extLst>
            </p:cNvPr>
            <p:cNvSpPr/>
            <p:nvPr/>
          </p:nvSpPr>
          <p:spPr>
            <a:xfrm>
              <a:off x="20849520" y="2839064"/>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65 w 435077"/>
                <a:gd name="connsiteY4" fmla="*/ 435077 h 435077"/>
                <a:gd name="connsiteX5" fmla="*/ 217565 w 435077"/>
                <a:gd name="connsiteY5" fmla="*/ 0 h 435077"/>
                <a:gd name="connsiteX6" fmla="*/ 435077 w 435077"/>
                <a:gd name="connsiteY6" fmla="*/ 217539 h 435077"/>
                <a:gd name="connsiteX7" fmla="*/ 217565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65" y="435077"/>
                  </a:moveTo>
                  <a:lnTo>
                    <a:pt x="217565" y="0"/>
                  </a:lnTo>
                  <a:lnTo>
                    <a:pt x="435077" y="217539"/>
                  </a:lnTo>
                  <a:lnTo>
                    <a:pt x="217565"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77" name="Freeform: Shape 176">
              <a:extLst>
                <a:ext uri="{FF2B5EF4-FFF2-40B4-BE49-F238E27FC236}">
                  <a16:creationId xmlns:a16="http://schemas.microsoft.com/office/drawing/2014/main" id="{03D30EF6-81AA-9313-3108-C9AE0CBF2CEB}"/>
                </a:ext>
              </a:extLst>
            </p:cNvPr>
            <p:cNvSpPr/>
            <p:nvPr/>
          </p:nvSpPr>
          <p:spPr>
            <a:xfrm>
              <a:off x="22589856" y="283906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8"/>
                    <a:pt x="0" y="57694"/>
                    <a:pt x="0" y="0"/>
                  </a:cubicBezTo>
                  <a:lnTo>
                    <a:pt x="217539" y="0"/>
                  </a:lnTo>
                  <a:lnTo>
                    <a:pt x="435077" y="0"/>
                  </a:lnTo>
                  <a:cubicBezTo>
                    <a:pt x="435077" y="57694"/>
                    <a:pt x="412155" y="113038"/>
                    <a:pt x="371367" y="153827"/>
                  </a:cubicBezTo>
                  <a:cubicBezTo>
                    <a:pt x="330578" y="194616"/>
                    <a:pt x="275241" y="217539"/>
                    <a:pt x="217539" y="217539"/>
                  </a:cubicBezTo>
                  <a:cubicBezTo>
                    <a:pt x="159838" y="217539"/>
                    <a:pt x="104529" y="194616"/>
                    <a:pt x="63712" y="153827"/>
                  </a:cubicBezTo>
                  <a:close/>
                  <a:moveTo>
                    <a:pt x="63712" y="281250"/>
                  </a:moveTo>
                  <a:cubicBezTo>
                    <a:pt x="22924" y="322039"/>
                    <a:pt x="0" y="377375"/>
                    <a:pt x="0" y="435077"/>
                  </a:cubicBezTo>
                  <a:lnTo>
                    <a:pt x="217539" y="435077"/>
                  </a:lnTo>
                  <a:lnTo>
                    <a:pt x="435077" y="435077"/>
                  </a:lnTo>
                  <a:cubicBezTo>
                    <a:pt x="435077" y="377375"/>
                    <a:pt x="412155" y="322039"/>
                    <a:pt x="371367" y="281250"/>
                  </a:cubicBezTo>
                  <a:cubicBezTo>
                    <a:pt x="330578" y="240462"/>
                    <a:pt x="275241" y="217539"/>
                    <a:pt x="217539" y="217539"/>
                  </a:cubicBezTo>
                  <a:cubicBezTo>
                    <a:pt x="159838" y="217539"/>
                    <a:pt x="104529" y="240462"/>
                    <a:pt x="63712" y="281250"/>
                  </a:cubicBezTo>
                  <a:close/>
                </a:path>
              </a:pathLst>
            </a:custGeom>
            <a:grpFill/>
            <a:ln w="27192" cap="flat">
              <a:noFill/>
              <a:prstDash val="solid"/>
              <a:miter/>
            </a:ln>
          </p:spPr>
          <p:txBody>
            <a:bodyPr rtlCol="0" anchor="ctr"/>
            <a:lstStyle/>
            <a:p>
              <a:endParaRPr lang="uk-UA" sz="900">
                <a:solidFill>
                  <a:schemeClr val="bg1"/>
                </a:solidFill>
              </a:endParaRPr>
            </a:p>
          </p:txBody>
        </p:sp>
        <p:sp>
          <p:nvSpPr>
            <p:cNvPr id="178" name="Freeform: Shape 177">
              <a:extLst>
                <a:ext uri="{FF2B5EF4-FFF2-40B4-BE49-F238E27FC236}">
                  <a16:creationId xmlns:a16="http://schemas.microsoft.com/office/drawing/2014/main" id="{EC75C642-4195-F8A1-8C31-88A3852F707D}"/>
                </a:ext>
              </a:extLst>
            </p:cNvPr>
            <p:cNvSpPr/>
            <p:nvPr/>
          </p:nvSpPr>
          <p:spPr>
            <a:xfrm>
              <a:off x="23460011" y="2839064"/>
              <a:ext cx="435105" cy="435077"/>
            </a:xfrm>
            <a:custGeom>
              <a:avLst/>
              <a:gdLst>
                <a:gd name="connsiteX0" fmla="*/ 435106 w 435105"/>
                <a:gd name="connsiteY0" fmla="*/ 435077 h 435077"/>
                <a:gd name="connsiteX1" fmla="*/ 435106 w 435105"/>
                <a:gd name="connsiteY1" fmla="*/ 217539 h 435077"/>
                <a:gd name="connsiteX2" fmla="*/ 435106 w 435105"/>
                <a:gd name="connsiteY2" fmla="*/ 14 h 435077"/>
                <a:gd name="connsiteX3" fmla="*/ 217567 w 435105"/>
                <a:gd name="connsiteY3" fmla="*/ 14 h 435077"/>
                <a:gd name="connsiteX4" fmla="*/ 435106 w 435105"/>
                <a:gd name="connsiteY4" fmla="*/ 217539 h 435077"/>
                <a:gd name="connsiteX5" fmla="*/ 217567 w 435105"/>
                <a:gd name="connsiteY5" fmla="*/ 435077 h 435077"/>
                <a:gd name="connsiteX6" fmla="*/ 435106 w 435105"/>
                <a:gd name="connsiteY6" fmla="*/ 435077 h 435077"/>
                <a:gd name="connsiteX7" fmla="*/ 0 w 435105"/>
                <a:gd name="connsiteY7" fmla="*/ 217539 h 435077"/>
                <a:gd name="connsiteX8" fmla="*/ 0 w 435105"/>
                <a:gd name="connsiteY8" fmla="*/ 0 h 435077"/>
                <a:gd name="connsiteX9" fmla="*/ 217539 w 435105"/>
                <a:gd name="connsiteY9" fmla="*/ 217539 h 435077"/>
                <a:gd name="connsiteX10" fmla="*/ 0 w 435105"/>
                <a:gd name="connsiteY10" fmla="*/ 217539 h 435077"/>
                <a:gd name="connsiteX11" fmla="*/ 0 w 435105"/>
                <a:gd name="connsiteY11" fmla="*/ 435077 h 435077"/>
                <a:gd name="connsiteX12" fmla="*/ 0 w 435105"/>
                <a:gd name="connsiteY12" fmla="*/ 217539 h 435077"/>
                <a:gd name="connsiteX13" fmla="*/ 217539 w 435105"/>
                <a:gd name="connsiteY13" fmla="*/ 217539 h 435077"/>
                <a:gd name="connsiteX14" fmla="*/ 0 w 435105"/>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105" h="435077">
                  <a:moveTo>
                    <a:pt x="435106" y="435077"/>
                  </a:moveTo>
                  <a:lnTo>
                    <a:pt x="435106" y="217539"/>
                  </a:lnTo>
                  <a:lnTo>
                    <a:pt x="435106" y="14"/>
                  </a:lnTo>
                  <a:lnTo>
                    <a:pt x="217567" y="14"/>
                  </a:lnTo>
                  <a:lnTo>
                    <a:pt x="435106" y="217539"/>
                  </a:lnTo>
                  <a:lnTo>
                    <a:pt x="217567" y="435077"/>
                  </a:lnTo>
                  <a:lnTo>
                    <a:pt x="435106"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79" name="Freeform: Shape 178">
              <a:extLst>
                <a:ext uri="{FF2B5EF4-FFF2-40B4-BE49-F238E27FC236}">
                  <a16:creationId xmlns:a16="http://schemas.microsoft.com/office/drawing/2014/main" id="{EFFAC151-8DDE-ABC3-C3B5-3B074C3C4A56}"/>
                </a:ext>
              </a:extLst>
            </p:cNvPr>
            <p:cNvSpPr/>
            <p:nvPr/>
          </p:nvSpPr>
          <p:spPr>
            <a:xfrm>
              <a:off x="24330194" y="2839064"/>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80" name="Freeform: Shape 179">
              <a:extLst>
                <a:ext uri="{FF2B5EF4-FFF2-40B4-BE49-F238E27FC236}">
                  <a16:creationId xmlns:a16="http://schemas.microsoft.com/office/drawing/2014/main" id="{F55E5727-6E47-9DD1-0639-49AA2B1E7617}"/>
                </a:ext>
              </a:extLst>
            </p:cNvPr>
            <p:cNvSpPr/>
            <p:nvPr/>
          </p:nvSpPr>
          <p:spPr>
            <a:xfrm>
              <a:off x="835769" y="3709219"/>
              <a:ext cx="435077" cy="435077"/>
            </a:xfrm>
            <a:custGeom>
              <a:avLst/>
              <a:gdLst>
                <a:gd name="connsiteX0" fmla="*/ 0 w 435077"/>
                <a:gd name="connsiteY0" fmla="*/ 435077 h 435077"/>
                <a:gd name="connsiteX1" fmla="*/ 217511 w 435077"/>
                <a:gd name="connsiteY1" fmla="*/ 435077 h 435077"/>
                <a:gd name="connsiteX2" fmla="*/ 217511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11" y="435077"/>
                  </a:lnTo>
                  <a:lnTo>
                    <a:pt x="217511"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solidFill>
                  <a:schemeClr val="bg1"/>
                </a:solidFill>
              </a:endParaRPr>
            </a:p>
          </p:txBody>
        </p:sp>
        <p:sp>
          <p:nvSpPr>
            <p:cNvPr id="181" name="Freeform: Shape 180">
              <a:extLst>
                <a:ext uri="{FF2B5EF4-FFF2-40B4-BE49-F238E27FC236}">
                  <a16:creationId xmlns:a16="http://schemas.microsoft.com/office/drawing/2014/main" id="{DBEEE338-09D4-E75F-9F6C-A27773B07A4E}"/>
                </a:ext>
              </a:extLst>
            </p:cNvPr>
            <p:cNvSpPr/>
            <p:nvPr/>
          </p:nvSpPr>
          <p:spPr>
            <a:xfrm>
              <a:off x="-34398" y="3709219"/>
              <a:ext cx="435063" cy="435077"/>
            </a:xfrm>
            <a:custGeom>
              <a:avLst/>
              <a:gdLst>
                <a:gd name="connsiteX0" fmla="*/ 217525 w 435063"/>
                <a:gd name="connsiteY0" fmla="*/ 217539 h 435077"/>
                <a:gd name="connsiteX1" fmla="*/ 217525 w 435063"/>
                <a:gd name="connsiteY1" fmla="*/ 0 h 435077"/>
                <a:gd name="connsiteX2" fmla="*/ 0 w 435063"/>
                <a:gd name="connsiteY2" fmla="*/ 0 h 435077"/>
                <a:gd name="connsiteX3" fmla="*/ 217525 w 435063"/>
                <a:gd name="connsiteY3" fmla="*/ 217539 h 435077"/>
                <a:gd name="connsiteX4" fmla="*/ 0 w 435063"/>
                <a:gd name="connsiteY4" fmla="*/ 435077 h 435077"/>
                <a:gd name="connsiteX5" fmla="*/ 217525 w 435063"/>
                <a:gd name="connsiteY5" fmla="*/ 435077 h 435077"/>
                <a:gd name="connsiteX6" fmla="*/ 217525 w 435063"/>
                <a:gd name="connsiteY6" fmla="*/ 435077 h 435077"/>
                <a:gd name="connsiteX7" fmla="*/ 435064 w 435063"/>
                <a:gd name="connsiteY7" fmla="*/ 217539 h 435077"/>
                <a:gd name="connsiteX8" fmla="*/ 435064 w 435063"/>
                <a:gd name="connsiteY8" fmla="*/ 217539 h 435077"/>
                <a:gd name="connsiteX9" fmla="*/ 435064 w 435063"/>
                <a:gd name="connsiteY9" fmla="*/ 217539 h 435077"/>
                <a:gd name="connsiteX10" fmla="*/ 435064 w 435063"/>
                <a:gd name="connsiteY10" fmla="*/ 217539 h 435077"/>
                <a:gd name="connsiteX11" fmla="*/ 435064 w 435063"/>
                <a:gd name="connsiteY11" fmla="*/ 217539 h 435077"/>
                <a:gd name="connsiteX12" fmla="*/ 217525 w 435063"/>
                <a:gd name="connsiteY12" fmla="*/ 0 h 435077"/>
                <a:gd name="connsiteX13" fmla="*/ 217525 w 435063"/>
                <a:gd name="connsiteY13" fmla="*/ 217539 h 435077"/>
                <a:gd name="connsiteX14" fmla="*/ 217525 w 435063"/>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63" h="435077">
                  <a:moveTo>
                    <a:pt x="217525" y="217539"/>
                  </a:moveTo>
                  <a:lnTo>
                    <a:pt x="217525" y="0"/>
                  </a:lnTo>
                  <a:lnTo>
                    <a:pt x="0" y="0"/>
                  </a:lnTo>
                  <a:lnTo>
                    <a:pt x="217525" y="217539"/>
                  </a:lnTo>
                  <a:lnTo>
                    <a:pt x="0" y="435077"/>
                  </a:lnTo>
                  <a:lnTo>
                    <a:pt x="217525" y="435077"/>
                  </a:lnTo>
                  <a:lnTo>
                    <a:pt x="217525" y="435077"/>
                  </a:lnTo>
                  <a:lnTo>
                    <a:pt x="435064" y="217539"/>
                  </a:lnTo>
                  <a:lnTo>
                    <a:pt x="435064" y="217539"/>
                  </a:lnTo>
                  <a:lnTo>
                    <a:pt x="435064" y="217539"/>
                  </a:lnTo>
                  <a:lnTo>
                    <a:pt x="435064" y="217539"/>
                  </a:lnTo>
                  <a:lnTo>
                    <a:pt x="435064" y="217539"/>
                  </a:lnTo>
                  <a:lnTo>
                    <a:pt x="217525" y="0"/>
                  </a:lnTo>
                  <a:lnTo>
                    <a:pt x="217525" y="217539"/>
                  </a:lnTo>
                  <a:lnTo>
                    <a:pt x="217525"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182" name="Freeform: Shape 181">
              <a:extLst>
                <a:ext uri="{FF2B5EF4-FFF2-40B4-BE49-F238E27FC236}">
                  <a16:creationId xmlns:a16="http://schemas.microsoft.com/office/drawing/2014/main" id="{D27A6A0D-04BE-63D6-3768-42D929C2DD18}"/>
                </a:ext>
              </a:extLst>
            </p:cNvPr>
            <p:cNvSpPr/>
            <p:nvPr/>
          </p:nvSpPr>
          <p:spPr>
            <a:xfrm>
              <a:off x="1705924" y="3709219"/>
              <a:ext cx="435104" cy="435077"/>
            </a:xfrm>
            <a:custGeom>
              <a:avLst/>
              <a:gdLst>
                <a:gd name="connsiteX0" fmla="*/ 217539 w 435104"/>
                <a:gd name="connsiteY0" fmla="*/ 0 h 435077"/>
                <a:gd name="connsiteX1" fmla="*/ 0 w 435104"/>
                <a:gd name="connsiteY1" fmla="*/ 0 h 435077"/>
                <a:gd name="connsiteX2" fmla="*/ 0 w 435104"/>
                <a:gd name="connsiteY2" fmla="*/ 217539 h 435077"/>
                <a:gd name="connsiteX3" fmla="*/ 217539 w 435104"/>
                <a:gd name="connsiteY3" fmla="*/ 0 h 435077"/>
                <a:gd name="connsiteX4" fmla="*/ 435104 w 435104"/>
                <a:gd name="connsiteY4" fmla="*/ 0 h 435077"/>
                <a:gd name="connsiteX5" fmla="*/ 435104 w 435104"/>
                <a:gd name="connsiteY5" fmla="*/ 217539 h 435077"/>
                <a:gd name="connsiteX6" fmla="*/ 217566 w 435104"/>
                <a:gd name="connsiteY6" fmla="*/ 0 h 435077"/>
                <a:gd name="connsiteX7" fmla="*/ 435104 w 435104"/>
                <a:gd name="connsiteY7" fmla="*/ 0 h 435077"/>
                <a:gd name="connsiteX8" fmla="*/ 217566 w 435104"/>
                <a:gd name="connsiteY8" fmla="*/ 435077 h 435077"/>
                <a:gd name="connsiteX9" fmla="*/ 435104 w 435104"/>
                <a:gd name="connsiteY9" fmla="*/ 217539 h 435077"/>
                <a:gd name="connsiteX10" fmla="*/ 435104 w 435104"/>
                <a:gd name="connsiteY10" fmla="*/ 435077 h 435077"/>
                <a:gd name="connsiteX11" fmla="*/ 217566 w 435104"/>
                <a:gd name="connsiteY11" fmla="*/ 435077 h 435077"/>
                <a:gd name="connsiteX12" fmla="*/ 217566 w 435104"/>
                <a:gd name="connsiteY12" fmla="*/ 435077 h 435077"/>
                <a:gd name="connsiteX13" fmla="*/ 27 w 435104"/>
                <a:gd name="connsiteY13" fmla="*/ 217539 h 435077"/>
                <a:gd name="connsiteX14" fmla="*/ 27 w 435104"/>
                <a:gd name="connsiteY14" fmla="*/ 435077 h 435077"/>
                <a:gd name="connsiteX15" fmla="*/ 217566 w 435104"/>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4" h="435077">
                  <a:moveTo>
                    <a:pt x="217539" y="0"/>
                  </a:moveTo>
                  <a:lnTo>
                    <a:pt x="0" y="0"/>
                  </a:lnTo>
                  <a:lnTo>
                    <a:pt x="0" y="217539"/>
                  </a:lnTo>
                  <a:lnTo>
                    <a:pt x="217539" y="0"/>
                  </a:lnTo>
                  <a:close/>
                  <a:moveTo>
                    <a:pt x="435104" y="0"/>
                  </a:moveTo>
                  <a:lnTo>
                    <a:pt x="435104" y="217539"/>
                  </a:lnTo>
                  <a:lnTo>
                    <a:pt x="217566" y="0"/>
                  </a:lnTo>
                  <a:lnTo>
                    <a:pt x="435104" y="0"/>
                  </a:lnTo>
                  <a:close/>
                  <a:moveTo>
                    <a:pt x="217566" y="435077"/>
                  </a:moveTo>
                  <a:lnTo>
                    <a:pt x="435104" y="217539"/>
                  </a:lnTo>
                  <a:lnTo>
                    <a:pt x="435104" y="435077"/>
                  </a:lnTo>
                  <a:lnTo>
                    <a:pt x="217566" y="435077"/>
                  </a:lnTo>
                  <a:close/>
                  <a:moveTo>
                    <a:pt x="217566" y="435077"/>
                  </a:moveTo>
                  <a:lnTo>
                    <a:pt x="27" y="217539"/>
                  </a:lnTo>
                  <a:lnTo>
                    <a:pt x="27" y="435077"/>
                  </a:lnTo>
                  <a:lnTo>
                    <a:pt x="217566"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83" name="Freeform: Shape 182">
              <a:extLst>
                <a:ext uri="{FF2B5EF4-FFF2-40B4-BE49-F238E27FC236}">
                  <a16:creationId xmlns:a16="http://schemas.microsoft.com/office/drawing/2014/main" id="{7D002844-A43F-C85A-03F4-A51CAA722DF0}"/>
                </a:ext>
              </a:extLst>
            </p:cNvPr>
            <p:cNvSpPr/>
            <p:nvPr/>
          </p:nvSpPr>
          <p:spPr>
            <a:xfrm>
              <a:off x="2576106" y="3709219"/>
              <a:ext cx="435077" cy="435077"/>
            </a:xfrm>
            <a:custGeom>
              <a:avLst/>
              <a:gdLst>
                <a:gd name="connsiteX0" fmla="*/ 371366 w 435077"/>
                <a:gd name="connsiteY0" fmla="*/ 63712 h 435077"/>
                <a:gd name="connsiteX1" fmla="*/ 435077 w 435077"/>
                <a:gd name="connsiteY1" fmla="*/ 217539 h 435077"/>
                <a:gd name="connsiteX2" fmla="*/ 218925 w 435077"/>
                <a:gd name="connsiteY2" fmla="*/ 217539 h 435077"/>
                <a:gd name="connsiteX3" fmla="*/ 371366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25 w 435077"/>
                <a:gd name="connsiteY8" fmla="*/ 217539 h 435077"/>
                <a:gd name="connsiteX9" fmla="*/ 0 w 435077"/>
                <a:gd name="connsiteY9" fmla="*/ 217539 h 435077"/>
                <a:gd name="connsiteX10" fmla="*/ 63712 w 435077"/>
                <a:gd name="connsiteY10" fmla="*/ 63712 h 435077"/>
                <a:gd name="connsiteX11" fmla="*/ 217539 w 435077"/>
                <a:gd name="connsiteY11" fmla="*/ 0 h 435077"/>
                <a:gd name="connsiteX12" fmla="*/ 371366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2"/>
                  </a:moveTo>
                  <a:cubicBezTo>
                    <a:pt x="412154" y="104500"/>
                    <a:pt x="435077" y="159837"/>
                    <a:pt x="435077" y="217539"/>
                  </a:cubicBezTo>
                  <a:lnTo>
                    <a:pt x="218925" y="217539"/>
                  </a:lnTo>
                  <a:cubicBezTo>
                    <a:pt x="276138" y="217892"/>
                    <a:pt x="330904" y="240788"/>
                    <a:pt x="371366" y="281250"/>
                  </a:cubicBezTo>
                  <a:cubicBezTo>
                    <a:pt x="412154" y="322039"/>
                    <a:pt x="435077" y="377375"/>
                    <a:pt x="435077" y="435077"/>
                  </a:cubicBezTo>
                  <a:lnTo>
                    <a:pt x="217539" y="435077"/>
                  </a:lnTo>
                  <a:lnTo>
                    <a:pt x="0" y="435077"/>
                  </a:lnTo>
                  <a:cubicBezTo>
                    <a:pt x="0" y="377375"/>
                    <a:pt x="22923" y="322039"/>
                    <a:pt x="63712" y="281250"/>
                  </a:cubicBezTo>
                  <a:cubicBezTo>
                    <a:pt x="104174" y="240788"/>
                    <a:pt x="158939" y="217892"/>
                    <a:pt x="216125" y="217539"/>
                  </a:cubicBezTo>
                  <a:lnTo>
                    <a:pt x="0" y="217539"/>
                  </a:lnTo>
                  <a:cubicBezTo>
                    <a:pt x="0" y="159837"/>
                    <a:pt x="22923" y="104500"/>
                    <a:pt x="63712" y="63712"/>
                  </a:cubicBezTo>
                  <a:cubicBezTo>
                    <a:pt x="104500" y="22923"/>
                    <a:pt x="159837" y="0"/>
                    <a:pt x="217539" y="0"/>
                  </a:cubicBezTo>
                  <a:cubicBezTo>
                    <a:pt x="275214" y="0"/>
                    <a:pt x="330550" y="22923"/>
                    <a:pt x="371366" y="63712"/>
                  </a:cubicBezTo>
                  <a:close/>
                </a:path>
              </a:pathLst>
            </a:custGeom>
            <a:grpFill/>
            <a:ln w="27192" cap="flat">
              <a:noFill/>
              <a:prstDash val="solid"/>
              <a:miter/>
            </a:ln>
          </p:spPr>
          <p:txBody>
            <a:bodyPr rtlCol="0" anchor="ctr"/>
            <a:lstStyle/>
            <a:p>
              <a:endParaRPr lang="uk-UA" sz="900">
                <a:solidFill>
                  <a:schemeClr val="bg1"/>
                </a:solidFill>
              </a:endParaRPr>
            </a:p>
          </p:txBody>
        </p:sp>
        <p:sp>
          <p:nvSpPr>
            <p:cNvPr id="184" name="Freeform: Shape 183">
              <a:extLst>
                <a:ext uri="{FF2B5EF4-FFF2-40B4-BE49-F238E27FC236}">
                  <a16:creationId xmlns:a16="http://schemas.microsoft.com/office/drawing/2014/main" id="{FD927672-BCBC-7272-AAA8-85BA0BA263AA}"/>
                </a:ext>
              </a:extLst>
            </p:cNvPr>
            <p:cNvSpPr/>
            <p:nvPr/>
          </p:nvSpPr>
          <p:spPr>
            <a:xfrm>
              <a:off x="4316442" y="3709219"/>
              <a:ext cx="435050" cy="435077"/>
            </a:xfrm>
            <a:custGeom>
              <a:avLst/>
              <a:gdLst>
                <a:gd name="connsiteX0" fmla="*/ 0 w 435050"/>
                <a:gd name="connsiteY0" fmla="*/ 435077 h 435077"/>
                <a:gd name="connsiteX1" fmla="*/ 217512 w 435050"/>
                <a:gd name="connsiteY1" fmla="*/ 435077 h 435077"/>
                <a:gd name="connsiteX2" fmla="*/ 217512 w 435050"/>
                <a:gd name="connsiteY2" fmla="*/ 217539 h 435077"/>
                <a:gd name="connsiteX3" fmla="*/ 0 w 435050"/>
                <a:gd name="connsiteY3" fmla="*/ 435077 h 435077"/>
                <a:gd name="connsiteX4" fmla="*/ 217512 w 435050"/>
                <a:gd name="connsiteY4" fmla="*/ 0 h 435077"/>
                <a:gd name="connsiteX5" fmla="*/ 0 w 435050"/>
                <a:gd name="connsiteY5" fmla="*/ 0 h 435077"/>
                <a:gd name="connsiteX6" fmla="*/ 217512 w 435050"/>
                <a:gd name="connsiteY6" fmla="*/ 217539 h 435077"/>
                <a:gd name="connsiteX7" fmla="*/ 217512 w 435050"/>
                <a:gd name="connsiteY7" fmla="*/ 0 h 435077"/>
                <a:gd name="connsiteX8" fmla="*/ 435051 w 435050"/>
                <a:gd name="connsiteY8" fmla="*/ 435077 h 435077"/>
                <a:gd name="connsiteX9" fmla="*/ 217539 w 435050"/>
                <a:gd name="connsiteY9" fmla="*/ 435077 h 435077"/>
                <a:gd name="connsiteX10" fmla="*/ 435051 w 435050"/>
                <a:gd name="connsiteY10" fmla="*/ 217539 h 435077"/>
                <a:gd name="connsiteX11" fmla="*/ 435051 w 435050"/>
                <a:gd name="connsiteY11" fmla="*/ 435077 h 435077"/>
                <a:gd name="connsiteX12" fmla="*/ 435051 w 435050"/>
                <a:gd name="connsiteY12" fmla="*/ 0 h 435077"/>
                <a:gd name="connsiteX13" fmla="*/ 217539 w 435050"/>
                <a:gd name="connsiteY13" fmla="*/ 0 h 435077"/>
                <a:gd name="connsiteX14" fmla="*/ 435051 w 435050"/>
                <a:gd name="connsiteY14" fmla="*/ 217539 h 435077"/>
                <a:gd name="connsiteX15" fmla="*/ 435051 w 435050"/>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50" h="435077">
                  <a:moveTo>
                    <a:pt x="0" y="435077"/>
                  </a:moveTo>
                  <a:lnTo>
                    <a:pt x="217512" y="435077"/>
                  </a:lnTo>
                  <a:lnTo>
                    <a:pt x="217512" y="217539"/>
                  </a:lnTo>
                  <a:lnTo>
                    <a:pt x="0" y="435077"/>
                  </a:lnTo>
                  <a:close/>
                  <a:moveTo>
                    <a:pt x="217512" y="0"/>
                  </a:moveTo>
                  <a:lnTo>
                    <a:pt x="0" y="0"/>
                  </a:lnTo>
                  <a:lnTo>
                    <a:pt x="217512" y="217539"/>
                  </a:lnTo>
                  <a:lnTo>
                    <a:pt x="217512" y="0"/>
                  </a:lnTo>
                  <a:close/>
                  <a:moveTo>
                    <a:pt x="435051" y="435077"/>
                  </a:moveTo>
                  <a:lnTo>
                    <a:pt x="217539" y="435077"/>
                  </a:lnTo>
                  <a:lnTo>
                    <a:pt x="435051" y="217539"/>
                  </a:lnTo>
                  <a:lnTo>
                    <a:pt x="435051" y="435077"/>
                  </a:lnTo>
                  <a:close/>
                  <a:moveTo>
                    <a:pt x="435051" y="0"/>
                  </a:moveTo>
                  <a:lnTo>
                    <a:pt x="217539" y="0"/>
                  </a:lnTo>
                  <a:lnTo>
                    <a:pt x="435051" y="217539"/>
                  </a:lnTo>
                  <a:lnTo>
                    <a:pt x="435051" y="0"/>
                  </a:lnTo>
                  <a:close/>
                </a:path>
              </a:pathLst>
            </a:custGeom>
            <a:grpFill/>
            <a:ln w="27192" cap="flat">
              <a:noFill/>
              <a:prstDash val="solid"/>
              <a:miter/>
            </a:ln>
          </p:spPr>
          <p:txBody>
            <a:bodyPr rtlCol="0" anchor="ctr"/>
            <a:lstStyle/>
            <a:p>
              <a:endParaRPr lang="uk-UA" sz="900">
                <a:solidFill>
                  <a:schemeClr val="bg1"/>
                </a:solidFill>
              </a:endParaRPr>
            </a:p>
          </p:txBody>
        </p:sp>
        <p:sp>
          <p:nvSpPr>
            <p:cNvPr id="185" name="Freeform: Shape 184">
              <a:extLst>
                <a:ext uri="{FF2B5EF4-FFF2-40B4-BE49-F238E27FC236}">
                  <a16:creationId xmlns:a16="http://schemas.microsoft.com/office/drawing/2014/main" id="{DC2DA49E-69E0-215C-BF44-03348F4A41DA}"/>
                </a:ext>
              </a:extLst>
            </p:cNvPr>
            <p:cNvSpPr/>
            <p:nvPr/>
          </p:nvSpPr>
          <p:spPr>
            <a:xfrm>
              <a:off x="3446261" y="370921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186" name="Freeform: Shape 185">
              <a:extLst>
                <a:ext uri="{FF2B5EF4-FFF2-40B4-BE49-F238E27FC236}">
                  <a16:creationId xmlns:a16="http://schemas.microsoft.com/office/drawing/2014/main" id="{7CD3AADB-88EC-F176-0976-79F51AE16028}"/>
                </a:ext>
              </a:extLst>
            </p:cNvPr>
            <p:cNvSpPr/>
            <p:nvPr/>
          </p:nvSpPr>
          <p:spPr>
            <a:xfrm>
              <a:off x="5186597" y="3709219"/>
              <a:ext cx="435077" cy="435077"/>
            </a:xfrm>
            <a:custGeom>
              <a:avLst/>
              <a:gdLst>
                <a:gd name="connsiteX0" fmla="*/ 217539 w 435077"/>
                <a:gd name="connsiteY0" fmla="*/ 0 h 435077"/>
                <a:gd name="connsiteX1" fmla="*/ 217539 w 435077"/>
                <a:gd name="connsiteY1" fmla="*/ 0 h 435077"/>
                <a:gd name="connsiteX2" fmla="*/ 0 w 435077"/>
                <a:gd name="connsiteY2" fmla="*/ 0 h 435077"/>
                <a:gd name="connsiteX3" fmla="*/ 0 w 435077"/>
                <a:gd name="connsiteY3" fmla="*/ 217539 h 435077"/>
                <a:gd name="connsiteX4" fmla="*/ 217539 w 435077"/>
                <a:gd name="connsiteY4" fmla="*/ 0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217539" y="0"/>
                  </a:lnTo>
                  <a:lnTo>
                    <a:pt x="0" y="0"/>
                  </a:lnTo>
                  <a:lnTo>
                    <a:pt x="0" y="217539"/>
                  </a:lnTo>
                  <a:lnTo>
                    <a:pt x="217539" y="0"/>
                  </a:lnTo>
                  <a:lnTo>
                    <a:pt x="435077" y="217539"/>
                  </a:lnTo>
                  <a:lnTo>
                    <a:pt x="217539" y="435077"/>
                  </a:lnTo>
                  <a:lnTo>
                    <a:pt x="0" y="217539"/>
                  </a:lnTo>
                  <a:lnTo>
                    <a:pt x="0" y="435077"/>
                  </a:lnTo>
                  <a:lnTo>
                    <a:pt x="217539" y="435077"/>
                  </a:lnTo>
                  <a:lnTo>
                    <a:pt x="435077" y="435077"/>
                  </a:lnTo>
                  <a:lnTo>
                    <a:pt x="435077" y="217539"/>
                  </a:lnTo>
                  <a:lnTo>
                    <a:pt x="435077" y="0"/>
                  </a:lnTo>
                  <a:lnTo>
                    <a:pt x="217539" y="0"/>
                  </a:lnTo>
                  <a:close/>
                </a:path>
              </a:pathLst>
            </a:custGeom>
            <a:grpFill/>
            <a:ln w="27192" cap="flat">
              <a:noFill/>
              <a:prstDash val="solid"/>
              <a:miter/>
            </a:ln>
          </p:spPr>
          <p:txBody>
            <a:bodyPr rtlCol="0" anchor="ctr"/>
            <a:lstStyle/>
            <a:p>
              <a:endParaRPr lang="uk-UA" sz="900">
                <a:solidFill>
                  <a:schemeClr val="bg1"/>
                </a:solidFill>
              </a:endParaRPr>
            </a:p>
          </p:txBody>
        </p:sp>
        <p:sp>
          <p:nvSpPr>
            <p:cNvPr id="187" name="Freeform: Shape 186">
              <a:extLst>
                <a:ext uri="{FF2B5EF4-FFF2-40B4-BE49-F238E27FC236}">
                  <a16:creationId xmlns:a16="http://schemas.microsoft.com/office/drawing/2014/main" id="{16448A05-01CB-F6A1-C022-658F199C3E93}"/>
                </a:ext>
              </a:extLst>
            </p:cNvPr>
            <p:cNvSpPr/>
            <p:nvPr/>
          </p:nvSpPr>
          <p:spPr>
            <a:xfrm>
              <a:off x="6056752" y="3709219"/>
              <a:ext cx="435077" cy="435077"/>
            </a:xfrm>
            <a:custGeom>
              <a:avLst/>
              <a:gdLst>
                <a:gd name="connsiteX0" fmla="*/ 371366 w 435077"/>
                <a:gd name="connsiteY0" fmla="*/ 63712 h 435077"/>
                <a:gd name="connsiteX1" fmla="*/ 435077 w 435077"/>
                <a:gd name="connsiteY1" fmla="*/ 217539 h 435077"/>
                <a:gd name="connsiteX2" fmla="*/ 218953 w 435077"/>
                <a:gd name="connsiteY2" fmla="*/ 217539 h 435077"/>
                <a:gd name="connsiteX3" fmla="*/ 371366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25 w 435077"/>
                <a:gd name="connsiteY8" fmla="*/ 217539 h 435077"/>
                <a:gd name="connsiteX9" fmla="*/ 0 w 435077"/>
                <a:gd name="connsiteY9" fmla="*/ 217539 h 435077"/>
                <a:gd name="connsiteX10" fmla="*/ 63712 w 435077"/>
                <a:gd name="connsiteY10" fmla="*/ 63712 h 435077"/>
                <a:gd name="connsiteX11" fmla="*/ 217539 w 435077"/>
                <a:gd name="connsiteY11" fmla="*/ 0 h 435077"/>
                <a:gd name="connsiteX12" fmla="*/ 371366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2"/>
                  </a:moveTo>
                  <a:cubicBezTo>
                    <a:pt x="412155" y="104500"/>
                    <a:pt x="435077" y="159837"/>
                    <a:pt x="435077" y="217539"/>
                  </a:cubicBezTo>
                  <a:lnTo>
                    <a:pt x="218953" y="217539"/>
                  </a:lnTo>
                  <a:cubicBezTo>
                    <a:pt x="276138" y="217892"/>
                    <a:pt x="330904" y="240788"/>
                    <a:pt x="371366" y="281250"/>
                  </a:cubicBezTo>
                  <a:cubicBezTo>
                    <a:pt x="412155" y="322039"/>
                    <a:pt x="435077" y="377375"/>
                    <a:pt x="435077" y="435077"/>
                  </a:cubicBezTo>
                  <a:lnTo>
                    <a:pt x="217539" y="435077"/>
                  </a:lnTo>
                  <a:lnTo>
                    <a:pt x="0" y="435077"/>
                  </a:lnTo>
                  <a:cubicBezTo>
                    <a:pt x="0" y="377375"/>
                    <a:pt x="22924" y="322039"/>
                    <a:pt x="63712" y="281250"/>
                  </a:cubicBezTo>
                  <a:cubicBezTo>
                    <a:pt x="104175" y="240788"/>
                    <a:pt x="158939" y="217892"/>
                    <a:pt x="216125" y="217539"/>
                  </a:cubicBezTo>
                  <a:lnTo>
                    <a:pt x="0" y="217539"/>
                  </a:lnTo>
                  <a:cubicBezTo>
                    <a:pt x="0" y="159837"/>
                    <a:pt x="22924" y="104500"/>
                    <a:pt x="63712" y="63712"/>
                  </a:cubicBezTo>
                  <a:cubicBezTo>
                    <a:pt x="104501" y="22923"/>
                    <a:pt x="159837" y="0"/>
                    <a:pt x="217539" y="0"/>
                  </a:cubicBezTo>
                  <a:cubicBezTo>
                    <a:pt x="275241" y="0"/>
                    <a:pt x="330550" y="22923"/>
                    <a:pt x="371366" y="63712"/>
                  </a:cubicBezTo>
                  <a:close/>
                </a:path>
              </a:pathLst>
            </a:custGeom>
            <a:grpFill/>
            <a:ln w="27192" cap="flat">
              <a:noFill/>
              <a:prstDash val="solid"/>
              <a:miter/>
            </a:ln>
          </p:spPr>
          <p:txBody>
            <a:bodyPr rtlCol="0" anchor="ctr"/>
            <a:lstStyle/>
            <a:p>
              <a:endParaRPr lang="uk-UA" sz="900">
                <a:solidFill>
                  <a:schemeClr val="bg1"/>
                </a:solidFill>
              </a:endParaRPr>
            </a:p>
          </p:txBody>
        </p:sp>
        <p:sp>
          <p:nvSpPr>
            <p:cNvPr id="188" name="Freeform: Shape 187">
              <a:extLst>
                <a:ext uri="{FF2B5EF4-FFF2-40B4-BE49-F238E27FC236}">
                  <a16:creationId xmlns:a16="http://schemas.microsoft.com/office/drawing/2014/main" id="{9162F9A2-C89C-75D2-44AD-F62F12D16BAF}"/>
                </a:ext>
              </a:extLst>
            </p:cNvPr>
            <p:cNvSpPr/>
            <p:nvPr/>
          </p:nvSpPr>
          <p:spPr>
            <a:xfrm>
              <a:off x="7797089" y="3709219"/>
              <a:ext cx="435050" cy="435077"/>
            </a:xfrm>
            <a:custGeom>
              <a:avLst/>
              <a:gdLst>
                <a:gd name="connsiteX0" fmla="*/ 0 w 435050"/>
                <a:gd name="connsiteY0" fmla="*/ 435077 h 435077"/>
                <a:gd name="connsiteX1" fmla="*/ 217511 w 435050"/>
                <a:gd name="connsiteY1" fmla="*/ 435077 h 435077"/>
                <a:gd name="connsiteX2" fmla="*/ 217511 w 435050"/>
                <a:gd name="connsiteY2" fmla="*/ 217539 h 435077"/>
                <a:gd name="connsiteX3" fmla="*/ 0 w 435050"/>
                <a:gd name="connsiteY3" fmla="*/ 435077 h 435077"/>
                <a:gd name="connsiteX4" fmla="*/ 217511 w 435050"/>
                <a:gd name="connsiteY4" fmla="*/ 0 h 435077"/>
                <a:gd name="connsiteX5" fmla="*/ 0 w 435050"/>
                <a:gd name="connsiteY5" fmla="*/ 0 h 435077"/>
                <a:gd name="connsiteX6" fmla="*/ 217511 w 435050"/>
                <a:gd name="connsiteY6" fmla="*/ 217539 h 435077"/>
                <a:gd name="connsiteX7" fmla="*/ 217511 w 435050"/>
                <a:gd name="connsiteY7" fmla="*/ 0 h 435077"/>
                <a:gd name="connsiteX8" fmla="*/ 435050 w 435050"/>
                <a:gd name="connsiteY8" fmla="*/ 435077 h 435077"/>
                <a:gd name="connsiteX9" fmla="*/ 217539 w 435050"/>
                <a:gd name="connsiteY9" fmla="*/ 435077 h 435077"/>
                <a:gd name="connsiteX10" fmla="*/ 435050 w 435050"/>
                <a:gd name="connsiteY10" fmla="*/ 217539 h 435077"/>
                <a:gd name="connsiteX11" fmla="*/ 435050 w 435050"/>
                <a:gd name="connsiteY11" fmla="*/ 435077 h 435077"/>
                <a:gd name="connsiteX12" fmla="*/ 435050 w 435050"/>
                <a:gd name="connsiteY12" fmla="*/ 0 h 435077"/>
                <a:gd name="connsiteX13" fmla="*/ 217539 w 435050"/>
                <a:gd name="connsiteY13" fmla="*/ 0 h 435077"/>
                <a:gd name="connsiteX14" fmla="*/ 435050 w 435050"/>
                <a:gd name="connsiteY14" fmla="*/ 217539 h 435077"/>
                <a:gd name="connsiteX15" fmla="*/ 435050 w 435050"/>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50" h="435077">
                  <a:moveTo>
                    <a:pt x="0" y="435077"/>
                  </a:moveTo>
                  <a:lnTo>
                    <a:pt x="217511" y="435077"/>
                  </a:lnTo>
                  <a:lnTo>
                    <a:pt x="217511" y="217539"/>
                  </a:lnTo>
                  <a:lnTo>
                    <a:pt x="0" y="435077"/>
                  </a:lnTo>
                  <a:close/>
                  <a:moveTo>
                    <a:pt x="217511" y="0"/>
                  </a:moveTo>
                  <a:lnTo>
                    <a:pt x="0" y="0"/>
                  </a:lnTo>
                  <a:lnTo>
                    <a:pt x="217511" y="217539"/>
                  </a:lnTo>
                  <a:lnTo>
                    <a:pt x="217511" y="0"/>
                  </a:lnTo>
                  <a:close/>
                  <a:moveTo>
                    <a:pt x="435050" y="435077"/>
                  </a:moveTo>
                  <a:lnTo>
                    <a:pt x="217539" y="435077"/>
                  </a:lnTo>
                  <a:lnTo>
                    <a:pt x="435050" y="217539"/>
                  </a:lnTo>
                  <a:lnTo>
                    <a:pt x="435050" y="435077"/>
                  </a:lnTo>
                  <a:close/>
                  <a:moveTo>
                    <a:pt x="435050" y="0"/>
                  </a:moveTo>
                  <a:lnTo>
                    <a:pt x="217539" y="0"/>
                  </a:lnTo>
                  <a:lnTo>
                    <a:pt x="435050" y="217539"/>
                  </a:lnTo>
                  <a:lnTo>
                    <a:pt x="435050" y="0"/>
                  </a:lnTo>
                  <a:close/>
                </a:path>
              </a:pathLst>
            </a:custGeom>
            <a:grpFill/>
            <a:ln w="27192" cap="flat">
              <a:noFill/>
              <a:prstDash val="solid"/>
              <a:miter/>
            </a:ln>
          </p:spPr>
          <p:txBody>
            <a:bodyPr rtlCol="0" anchor="ctr"/>
            <a:lstStyle/>
            <a:p>
              <a:endParaRPr lang="uk-UA" sz="900">
                <a:solidFill>
                  <a:schemeClr val="bg1"/>
                </a:solidFill>
              </a:endParaRPr>
            </a:p>
          </p:txBody>
        </p:sp>
        <p:sp>
          <p:nvSpPr>
            <p:cNvPr id="189" name="Freeform: Shape 188">
              <a:extLst>
                <a:ext uri="{FF2B5EF4-FFF2-40B4-BE49-F238E27FC236}">
                  <a16:creationId xmlns:a16="http://schemas.microsoft.com/office/drawing/2014/main" id="{A291F988-D45C-6688-598B-92E345842961}"/>
                </a:ext>
              </a:extLst>
            </p:cNvPr>
            <p:cNvSpPr/>
            <p:nvPr/>
          </p:nvSpPr>
          <p:spPr>
            <a:xfrm>
              <a:off x="6926907" y="3709219"/>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0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39 h 435077"/>
                <a:gd name="connsiteX9" fmla="*/ 435077 w 435077"/>
                <a:gd name="connsiteY9" fmla="*/ 217539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0"/>
                  </a:lnTo>
                  <a:lnTo>
                    <a:pt x="435077" y="217539"/>
                  </a:lnTo>
                  <a:lnTo>
                    <a:pt x="435077" y="217539"/>
                  </a:lnTo>
                  <a:lnTo>
                    <a:pt x="435077" y="217539"/>
                  </a:lnTo>
                  <a:lnTo>
                    <a:pt x="435077" y="217539"/>
                  </a:lnTo>
                  <a:lnTo>
                    <a:pt x="435077" y="217539"/>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190" name="Freeform: Shape 189">
              <a:extLst>
                <a:ext uri="{FF2B5EF4-FFF2-40B4-BE49-F238E27FC236}">
                  <a16:creationId xmlns:a16="http://schemas.microsoft.com/office/drawing/2014/main" id="{04C0D648-4258-E70D-1F1A-5AE9284BEB55}"/>
                </a:ext>
              </a:extLst>
            </p:cNvPr>
            <p:cNvSpPr/>
            <p:nvPr/>
          </p:nvSpPr>
          <p:spPr>
            <a:xfrm>
              <a:off x="8667217" y="370921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solidFill>
                  <a:schemeClr val="bg1"/>
                </a:solidFill>
              </a:endParaRPr>
            </a:p>
          </p:txBody>
        </p:sp>
        <p:sp>
          <p:nvSpPr>
            <p:cNvPr id="191" name="Freeform: Shape 190">
              <a:extLst>
                <a:ext uri="{FF2B5EF4-FFF2-40B4-BE49-F238E27FC236}">
                  <a16:creationId xmlns:a16="http://schemas.microsoft.com/office/drawing/2014/main" id="{2FD9AF72-D9DE-258C-57DC-C6B6886F5A51}"/>
                </a:ext>
              </a:extLst>
            </p:cNvPr>
            <p:cNvSpPr/>
            <p:nvPr/>
          </p:nvSpPr>
          <p:spPr>
            <a:xfrm>
              <a:off x="9537399" y="3709219"/>
              <a:ext cx="435077" cy="435077"/>
            </a:xfrm>
            <a:custGeom>
              <a:avLst/>
              <a:gdLst>
                <a:gd name="connsiteX0" fmla="*/ 371366 w 435077"/>
                <a:gd name="connsiteY0" fmla="*/ 63712 h 435077"/>
                <a:gd name="connsiteX1" fmla="*/ 435077 w 435077"/>
                <a:gd name="connsiteY1" fmla="*/ 217539 h 435077"/>
                <a:gd name="connsiteX2" fmla="*/ 218925 w 435077"/>
                <a:gd name="connsiteY2" fmla="*/ 217539 h 435077"/>
                <a:gd name="connsiteX3" fmla="*/ 371366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1 w 435077"/>
                <a:gd name="connsiteY7" fmla="*/ 281250 h 435077"/>
                <a:gd name="connsiteX8" fmla="*/ 216125 w 435077"/>
                <a:gd name="connsiteY8" fmla="*/ 217539 h 435077"/>
                <a:gd name="connsiteX9" fmla="*/ 0 w 435077"/>
                <a:gd name="connsiteY9" fmla="*/ 217539 h 435077"/>
                <a:gd name="connsiteX10" fmla="*/ 63711 w 435077"/>
                <a:gd name="connsiteY10" fmla="*/ 63712 h 435077"/>
                <a:gd name="connsiteX11" fmla="*/ 217539 w 435077"/>
                <a:gd name="connsiteY11" fmla="*/ 0 h 435077"/>
                <a:gd name="connsiteX12" fmla="*/ 371366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2"/>
                  </a:moveTo>
                  <a:cubicBezTo>
                    <a:pt x="412155" y="104500"/>
                    <a:pt x="435077" y="159837"/>
                    <a:pt x="435077" y="217539"/>
                  </a:cubicBezTo>
                  <a:lnTo>
                    <a:pt x="218925" y="217539"/>
                  </a:lnTo>
                  <a:cubicBezTo>
                    <a:pt x="276111" y="217892"/>
                    <a:pt x="330904" y="240788"/>
                    <a:pt x="371366" y="281250"/>
                  </a:cubicBezTo>
                  <a:cubicBezTo>
                    <a:pt x="412155" y="322039"/>
                    <a:pt x="435077" y="377375"/>
                    <a:pt x="435077" y="435077"/>
                  </a:cubicBezTo>
                  <a:lnTo>
                    <a:pt x="217539" y="435077"/>
                  </a:lnTo>
                  <a:lnTo>
                    <a:pt x="0" y="435077"/>
                  </a:lnTo>
                  <a:cubicBezTo>
                    <a:pt x="0" y="377375"/>
                    <a:pt x="22923" y="322039"/>
                    <a:pt x="63711" y="281250"/>
                  </a:cubicBezTo>
                  <a:cubicBezTo>
                    <a:pt x="104174" y="240788"/>
                    <a:pt x="158939" y="217892"/>
                    <a:pt x="216125" y="217539"/>
                  </a:cubicBezTo>
                  <a:lnTo>
                    <a:pt x="0" y="217539"/>
                  </a:lnTo>
                  <a:cubicBezTo>
                    <a:pt x="0" y="159837"/>
                    <a:pt x="22923" y="104500"/>
                    <a:pt x="63711" y="63712"/>
                  </a:cubicBezTo>
                  <a:cubicBezTo>
                    <a:pt x="104500" y="22923"/>
                    <a:pt x="159836" y="0"/>
                    <a:pt x="217539" y="0"/>
                  </a:cubicBezTo>
                  <a:cubicBezTo>
                    <a:pt x="275214" y="0"/>
                    <a:pt x="330550" y="22923"/>
                    <a:pt x="371366" y="63712"/>
                  </a:cubicBezTo>
                  <a:close/>
                </a:path>
              </a:pathLst>
            </a:custGeom>
            <a:grpFill/>
            <a:ln w="27192" cap="flat">
              <a:noFill/>
              <a:prstDash val="solid"/>
              <a:miter/>
            </a:ln>
          </p:spPr>
          <p:txBody>
            <a:bodyPr rtlCol="0" anchor="ctr"/>
            <a:lstStyle/>
            <a:p>
              <a:endParaRPr lang="uk-UA" sz="900">
                <a:solidFill>
                  <a:schemeClr val="bg1"/>
                </a:solidFill>
              </a:endParaRPr>
            </a:p>
          </p:txBody>
        </p:sp>
        <p:sp>
          <p:nvSpPr>
            <p:cNvPr id="192" name="Freeform: Shape 191">
              <a:extLst>
                <a:ext uri="{FF2B5EF4-FFF2-40B4-BE49-F238E27FC236}">
                  <a16:creationId xmlns:a16="http://schemas.microsoft.com/office/drawing/2014/main" id="{EB5DBEB7-8E6B-845C-800D-7826E15FC06A}"/>
                </a:ext>
              </a:extLst>
            </p:cNvPr>
            <p:cNvSpPr/>
            <p:nvPr/>
          </p:nvSpPr>
          <p:spPr>
            <a:xfrm>
              <a:off x="11277709" y="3709219"/>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solidFill>
                  <a:schemeClr val="bg1"/>
                </a:solidFill>
              </a:endParaRPr>
            </a:p>
          </p:txBody>
        </p:sp>
        <p:sp>
          <p:nvSpPr>
            <p:cNvPr id="193" name="Freeform: Shape 192">
              <a:extLst>
                <a:ext uri="{FF2B5EF4-FFF2-40B4-BE49-F238E27FC236}">
                  <a16:creationId xmlns:a16="http://schemas.microsoft.com/office/drawing/2014/main" id="{D62A22AB-7FBE-757F-EC7F-A95E7D09F440}"/>
                </a:ext>
              </a:extLst>
            </p:cNvPr>
            <p:cNvSpPr/>
            <p:nvPr/>
          </p:nvSpPr>
          <p:spPr>
            <a:xfrm>
              <a:off x="10407554" y="3709219"/>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0 h 435077"/>
                <a:gd name="connsiteX5" fmla="*/ 435050 w 435077"/>
                <a:gd name="connsiteY5" fmla="*/ 217539 h 435077"/>
                <a:gd name="connsiteX6" fmla="*/ 435077 w 435077"/>
                <a:gd name="connsiteY6" fmla="*/ 217539 h 435077"/>
                <a:gd name="connsiteX7" fmla="*/ 435050 w 435077"/>
                <a:gd name="connsiteY7" fmla="*/ 217539 h 435077"/>
                <a:gd name="connsiteX8" fmla="*/ 435077 w 435077"/>
                <a:gd name="connsiteY8" fmla="*/ 217539 h 435077"/>
                <a:gd name="connsiteX9" fmla="*/ 435050 w 435077"/>
                <a:gd name="connsiteY9" fmla="*/ 217539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0"/>
                  </a:lnTo>
                  <a:lnTo>
                    <a:pt x="435050" y="217539"/>
                  </a:lnTo>
                  <a:lnTo>
                    <a:pt x="435077" y="217539"/>
                  </a:lnTo>
                  <a:lnTo>
                    <a:pt x="435050" y="217539"/>
                  </a:lnTo>
                  <a:lnTo>
                    <a:pt x="435077" y="217539"/>
                  </a:lnTo>
                  <a:lnTo>
                    <a:pt x="435050" y="217539"/>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194" name="Freeform: Shape 193">
              <a:extLst>
                <a:ext uri="{FF2B5EF4-FFF2-40B4-BE49-F238E27FC236}">
                  <a16:creationId xmlns:a16="http://schemas.microsoft.com/office/drawing/2014/main" id="{8909CBE7-02A9-9E35-81F1-1D2A51403800}"/>
                </a:ext>
              </a:extLst>
            </p:cNvPr>
            <p:cNvSpPr/>
            <p:nvPr/>
          </p:nvSpPr>
          <p:spPr>
            <a:xfrm>
              <a:off x="12147864" y="3709219"/>
              <a:ext cx="435103" cy="435077"/>
            </a:xfrm>
            <a:custGeom>
              <a:avLst/>
              <a:gdLst>
                <a:gd name="connsiteX0" fmla="*/ 217539 w 435103"/>
                <a:gd name="connsiteY0" fmla="*/ 0 h 435077"/>
                <a:gd name="connsiteX1" fmla="*/ 0 w 435103"/>
                <a:gd name="connsiteY1" fmla="*/ 0 h 435077"/>
                <a:gd name="connsiteX2" fmla="*/ 0 w 435103"/>
                <a:gd name="connsiteY2" fmla="*/ 217539 h 435077"/>
                <a:gd name="connsiteX3" fmla="*/ 217539 w 435103"/>
                <a:gd name="connsiteY3" fmla="*/ 0 h 435077"/>
                <a:gd name="connsiteX4" fmla="*/ 435104 w 435103"/>
                <a:gd name="connsiteY4" fmla="*/ 0 h 435077"/>
                <a:gd name="connsiteX5" fmla="*/ 435104 w 435103"/>
                <a:gd name="connsiteY5" fmla="*/ 217539 h 435077"/>
                <a:gd name="connsiteX6" fmla="*/ 217565 w 435103"/>
                <a:gd name="connsiteY6" fmla="*/ 0 h 435077"/>
                <a:gd name="connsiteX7" fmla="*/ 435104 w 435103"/>
                <a:gd name="connsiteY7" fmla="*/ 0 h 435077"/>
                <a:gd name="connsiteX8" fmla="*/ 217565 w 435103"/>
                <a:gd name="connsiteY8" fmla="*/ 435077 h 435077"/>
                <a:gd name="connsiteX9" fmla="*/ 435104 w 435103"/>
                <a:gd name="connsiteY9" fmla="*/ 217539 h 435077"/>
                <a:gd name="connsiteX10" fmla="*/ 435104 w 435103"/>
                <a:gd name="connsiteY10" fmla="*/ 435077 h 435077"/>
                <a:gd name="connsiteX11" fmla="*/ 217565 w 435103"/>
                <a:gd name="connsiteY11" fmla="*/ 435077 h 435077"/>
                <a:gd name="connsiteX12" fmla="*/ 217565 w 435103"/>
                <a:gd name="connsiteY12" fmla="*/ 435077 h 435077"/>
                <a:gd name="connsiteX13" fmla="*/ 27 w 435103"/>
                <a:gd name="connsiteY13" fmla="*/ 217539 h 435077"/>
                <a:gd name="connsiteX14" fmla="*/ 27 w 435103"/>
                <a:gd name="connsiteY14" fmla="*/ 435077 h 435077"/>
                <a:gd name="connsiteX15" fmla="*/ 217565 w 435103"/>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3" h="435077">
                  <a:moveTo>
                    <a:pt x="217539" y="0"/>
                  </a:moveTo>
                  <a:lnTo>
                    <a:pt x="0" y="0"/>
                  </a:lnTo>
                  <a:lnTo>
                    <a:pt x="0" y="217539"/>
                  </a:lnTo>
                  <a:lnTo>
                    <a:pt x="217539" y="0"/>
                  </a:lnTo>
                  <a:close/>
                  <a:moveTo>
                    <a:pt x="435104" y="0"/>
                  </a:moveTo>
                  <a:lnTo>
                    <a:pt x="435104" y="217539"/>
                  </a:lnTo>
                  <a:lnTo>
                    <a:pt x="217565" y="0"/>
                  </a:lnTo>
                  <a:lnTo>
                    <a:pt x="435104" y="0"/>
                  </a:lnTo>
                  <a:close/>
                  <a:moveTo>
                    <a:pt x="217565" y="435077"/>
                  </a:moveTo>
                  <a:lnTo>
                    <a:pt x="435104" y="217539"/>
                  </a:lnTo>
                  <a:lnTo>
                    <a:pt x="435104" y="435077"/>
                  </a:lnTo>
                  <a:lnTo>
                    <a:pt x="217565" y="435077"/>
                  </a:lnTo>
                  <a:close/>
                  <a:moveTo>
                    <a:pt x="217565" y="435077"/>
                  </a:moveTo>
                  <a:lnTo>
                    <a:pt x="27" y="217539"/>
                  </a:lnTo>
                  <a:lnTo>
                    <a:pt x="27" y="435077"/>
                  </a:lnTo>
                  <a:lnTo>
                    <a:pt x="217565"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95" name="Freeform: Shape 194">
              <a:extLst>
                <a:ext uri="{FF2B5EF4-FFF2-40B4-BE49-F238E27FC236}">
                  <a16:creationId xmlns:a16="http://schemas.microsoft.com/office/drawing/2014/main" id="{7442BA50-A3C5-9BF3-3A5D-2BE7796009D6}"/>
                </a:ext>
              </a:extLst>
            </p:cNvPr>
            <p:cNvSpPr/>
            <p:nvPr/>
          </p:nvSpPr>
          <p:spPr>
            <a:xfrm>
              <a:off x="13018045" y="3709219"/>
              <a:ext cx="435077" cy="435077"/>
            </a:xfrm>
            <a:custGeom>
              <a:avLst/>
              <a:gdLst>
                <a:gd name="connsiteX0" fmla="*/ 371365 w 435077"/>
                <a:gd name="connsiteY0" fmla="*/ 63712 h 435077"/>
                <a:gd name="connsiteX1" fmla="*/ 435077 w 435077"/>
                <a:gd name="connsiteY1" fmla="*/ 217539 h 435077"/>
                <a:gd name="connsiteX2" fmla="*/ 218953 w 435077"/>
                <a:gd name="connsiteY2" fmla="*/ 217539 h 435077"/>
                <a:gd name="connsiteX3" fmla="*/ 371365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51 w 435077"/>
                <a:gd name="connsiteY8" fmla="*/ 217539 h 435077"/>
                <a:gd name="connsiteX9" fmla="*/ 0 w 435077"/>
                <a:gd name="connsiteY9" fmla="*/ 217539 h 435077"/>
                <a:gd name="connsiteX10" fmla="*/ 63712 w 435077"/>
                <a:gd name="connsiteY10" fmla="*/ 63712 h 435077"/>
                <a:gd name="connsiteX11" fmla="*/ 217539 w 435077"/>
                <a:gd name="connsiteY11" fmla="*/ 0 h 435077"/>
                <a:gd name="connsiteX12" fmla="*/ 371365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12"/>
                  </a:moveTo>
                  <a:cubicBezTo>
                    <a:pt x="412154" y="104500"/>
                    <a:pt x="435077" y="159837"/>
                    <a:pt x="435077" y="217539"/>
                  </a:cubicBezTo>
                  <a:lnTo>
                    <a:pt x="218953" y="217539"/>
                  </a:lnTo>
                  <a:cubicBezTo>
                    <a:pt x="276137" y="217892"/>
                    <a:pt x="330904" y="240788"/>
                    <a:pt x="371365" y="281250"/>
                  </a:cubicBezTo>
                  <a:cubicBezTo>
                    <a:pt x="412154" y="322039"/>
                    <a:pt x="435077" y="377375"/>
                    <a:pt x="435077" y="435077"/>
                  </a:cubicBezTo>
                  <a:lnTo>
                    <a:pt x="217539" y="435077"/>
                  </a:lnTo>
                  <a:lnTo>
                    <a:pt x="0" y="435077"/>
                  </a:lnTo>
                  <a:cubicBezTo>
                    <a:pt x="0" y="377375"/>
                    <a:pt x="22924" y="322039"/>
                    <a:pt x="63712" y="281250"/>
                  </a:cubicBezTo>
                  <a:cubicBezTo>
                    <a:pt x="104174" y="240788"/>
                    <a:pt x="158938" y="217892"/>
                    <a:pt x="216151" y="217539"/>
                  </a:cubicBezTo>
                  <a:lnTo>
                    <a:pt x="0" y="217539"/>
                  </a:lnTo>
                  <a:cubicBezTo>
                    <a:pt x="0" y="159837"/>
                    <a:pt x="22924" y="104500"/>
                    <a:pt x="63712" y="63712"/>
                  </a:cubicBezTo>
                  <a:cubicBezTo>
                    <a:pt x="104501" y="22923"/>
                    <a:pt x="159836" y="0"/>
                    <a:pt x="217539" y="0"/>
                  </a:cubicBezTo>
                  <a:cubicBezTo>
                    <a:pt x="275241" y="0"/>
                    <a:pt x="330550" y="22923"/>
                    <a:pt x="371365" y="63712"/>
                  </a:cubicBezTo>
                  <a:close/>
                </a:path>
              </a:pathLst>
            </a:custGeom>
            <a:grpFill/>
            <a:ln w="27192" cap="flat">
              <a:noFill/>
              <a:prstDash val="solid"/>
              <a:miter/>
            </a:ln>
          </p:spPr>
          <p:txBody>
            <a:bodyPr rtlCol="0" anchor="ctr"/>
            <a:lstStyle/>
            <a:p>
              <a:endParaRPr lang="uk-UA" sz="900">
                <a:solidFill>
                  <a:schemeClr val="bg1"/>
                </a:solidFill>
              </a:endParaRPr>
            </a:p>
          </p:txBody>
        </p:sp>
        <p:sp>
          <p:nvSpPr>
            <p:cNvPr id="196" name="Freeform: Shape 195">
              <a:extLst>
                <a:ext uri="{FF2B5EF4-FFF2-40B4-BE49-F238E27FC236}">
                  <a16:creationId xmlns:a16="http://schemas.microsoft.com/office/drawing/2014/main" id="{1FD1942C-99EB-CD14-A78E-14526F5235CD}"/>
                </a:ext>
              </a:extLst>
            </p:cNvPr>
            <p:cNvSpPr/>
            <p:nvPr/>
          </p:nvSpPr>
          <p:spPr>
            <a:xfrm>
              <a:off x="14758382" y="3709219"/>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solidFill>
                  <a:schemeClr val="bg1"/>
                </a:solidFill>
              </a:endParaRPr>
            </a:p>
          </p:txBody>
        </p:sp>
        <p:sp>
          <p:nvSpPr>
            <p:cNvPr id="197" name="Freeform: Shape 196">
              <a:extLst>
                <a:ext uri="{FF2B5EF4-FFF2-40B4-BE49-F238E27FC236}">
                  <a16:creationId xmlns:a16="http://schemas.microsoft.com/office/drawing/2014/main" id="{263BFCD2-23C7-9BF9-D9A3-147EB25EE7A5}"/>
                </a:ext>
              </a:extLst>
            </p:cNvPr>
            <p:cNvSpPr/>
            <p:nvPr/>
          </p:nvSpPr>
          <p:spPr>
            <a:xfrm>
              <a:off x="13888174" y="3709192"/>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198" name="Freeform: Shape 197">
              <a:extLst>
                <a:ext uri="{FF2B5EF4-FFF2-40B4-BE49-F238E27FC236}">
                  <a16:creationId xmlns:a16="http://schemas.microsoft.com/office/drawing/2014/main" id="{AD25AE0F-F9CD-1698-58F9-080CD945130E}"/>
                </a:ext>
              </a:extLst>
            </p:cNvPr>
            <p:cNvSpPr/>
            <p:nvPr/>
          </p:nvSpPr>
          <p:spPr>
            <a:xfrm>
              <a:off x="15628536" y="3709219"/>
              <a:ext cx="435077" cy="435077"/>
            </a:xfrm>
            <a:custGeom>
              <a:avLst/>
              <a:gdLst>
                <a:gd name="connsiteX0" fmla="*/ 217567 w 435077"/>
                <a:gd name="connsiteY0" fmla="*/ 0 h 435077"/>
                <a:gd name="connsiteX1" fmla="*/ 217539 w 435077"/>
                <a:gd name="connsiteY1" fmla="*/ 0 h 435077"/>
                <a:gd name="connsiteX2" fmla="*/ 28 w 435077"/>
                <a:gd name="connsiteY2" fmla="*/ 0 h 435077"/>
                <a:gd name="connsiteX3" fmla="*/ 28 w 435077"/>
                <a:gd name="connsiteY3" fmla="*/ 217539 h 435077"/>
                <a:gd name="connsiteX4" fmla="*/ 217567 w 435077"/>
                <a:gd name="connsiteY4" fmla="*/ 0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67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67" y="0"/>
                  </a:moveTo>
                  <a:lnTo>
                    <a:pt x="217539" y="0"/>
                  </a:lnTo>
                  <a:lnTo>
                    <a:pt x="28" y="0"/>
                  </a:lnTo>
                  <a:lnTo>
                    <a:pt x="28" y="217539"/>
                  </a:lnTo>
                  <a:lnTo>
                    <a:pt x="217567" y="0"/>
                  </a:lnTo>
                  <a:lnTo>
                    <a:pt x="435077" y="217539"/>
                  </a:lnTo>
                  <a:lnTo>
                    <a:pt x="217539" y="435077"/>
                  </a:lnTo>
                  <a:lnTo>
                    <a:pt x="0" y="217539"/>
                  </a:lnTo>
                  <a:lnTo>
                    <a:pt x="0" y="435077"/>
                  </a:lnTo>
                  <a:lnTo>
                    <a:pt x="217539" y="435077"/>
                  </a:lnTo>
                  <a:lnTo>
                    <a:pt x="435077" y="435077"/>
                  </a:lnTo>
                  <a:lnTo>
                    <a:pt x="435077" y="217539"/>
                  </a:lnTo>
                  <a:lnTo>
                    <a:pt x="435077" y="0"/>
                  </a:lnTo>
                  <a:lnTo>
                    <a:pt x="217567" y="0"/>
                  </a:lnTo>
                  <a:close/>
                </a:path>
              </a:pathLst>
            </a:custGeom>
            <a:grpFill/>
            <a:ln w="27192" cap="flat">
              <a:noFill/>
              <a:prstDash val="solid"/>
              <a:miter/>
            </a:ln>
          </p:spPr>
          <p:txBody>
            <a:bodyPr rtlCol="0" anchor="ctr"/>
            <a:lstStyle/>
            <a:p>
              <a:endParaRPr lang="uk-UA" sz="900">
                <a:solidFill>
                  <a:schemeClr val="bg1"/>
                </a:solidFill>
              </a:endParaRPr>
            </a:p>
          </p:txBody>
        </p:sp>
        <p:sp>
          <p:nvSpPr>
            <p:cNvPr id="199" name="Freeform: Shape 198">
              <a:extLst>
                <a:ext uri="{FF2B5EF4-FFF2-40B4-BE49-F238E27FC236}">
                  <a16:creationId xmlns:a16="http://schemas.microsoft.com/office/drawing/2014/main" id="{098FEF7E-B200-EFE0-A99D-685104ABDC34}"/>
                </a:ext>
              </a:extLst>
            </p:cNvPr>
            <p:cNvSpPr/>
            <p:nvPr/>
          </p:nvSpPr>
          <p:spPr>
            <a:xfrm>
              <a:off x="16498719" y="3709219"/>
              <a:ext cx="435077" cy="435077"/>
            </a:xfrm>
            <a:custGeom>
              <a:avLst/>
              <a:gdLst>
                <a:gd name="connsiteX0" fmla="*/ 371339 w 435077"/>
                <a:gd name="connsiteY0" fmla="*/ 63712 h 435077"/>
                <a:gd name="connsiteX1" fmla="*/ 435077 w 435077"/>
                <a:gd name="connsiteY1" fmla="*/ 217539 h 435077"/>
                <a:gd name="connsiteX2" fmla="*/ 218925 w 435077"/>
                <a:gd name="connsiteY2" fmla="*/ 217539 h 435077"/>
                <a:gd name="connsiteX3" fmla="*/ 371365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0 w 435077"/>
                <a:gd name="connsiteY7" fmla="*/ 281250 h 435077"/>
                <a:gd name="connsiteX8" fmla="*/ 216125 w 435077"/>
                <a:gd name="connsiteY8" fmla="*/ 217539 h 435077"/>
                <a:gd name="connsiteX9" fmla="*/ 0 w 435077"/>
                <a:gd name="connsiteY9" fmla="*/ 217539 h 435077"/>
                <a:gd name="connsiteX10" fmla="*/ 63710 w 435077"/>
                <a:gd name="connsiteY10" fmla="*/ 63712 h 435077"/>
                <a:gd name="connsiteX11" fmla="*/ 217539 w 435077"/>
                <a:gd name="connsiteY11" fmla="*/ 0 h 435077"/>
                <a:gd name="connsiteX12" fmla="*/ 371339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12"/>
                  </a:moveTo>
                  <a:cubicBezTo>
                    <a:pt x="412154" y="104500"/>
                    <a:pt x="435077" y="159837"/>
                    <a:pt x="435077" y="217539"/>
                  </a:cubicBezTo>
                  <a:lnTo>
                    <a:pt x="218925" y="217539"/>
                  </a:lnTo>
                  <a:cubicBezTo>
                    <a:pt x="276111" y="217892"/>
                    <a:pt x="330876" y="240788"/>
                    <a:pt x="371365" y="281250"/>
                  </a:cubicBezTo>
                  <a:cubicBezTo>
                    <a:pt x="412154" y="322039"/>
                    <a:pt x="435077" y="377375"/>
                    <a:pt x="435077" y="435077"/>
                  </a:cubicBezTo>
                  <a:lnTo>
                    <a:pt x="217539" y="435077"/>
                  </a:lnTo>
                  <a:lnTo>
                    <a:pt x="0" y="435077"/>
                  </a:lnTo>
                  <a:cubicBezTo>
                    <a:pt x="0" y="377375"/>
                    <a:pt x="22922" y="322039"/>
                    <a:pt x="63710" y="281250"/>
                  </a:cubicBezTo>
                  <a:cubicBezTo>
                    <a:pt x="104174" y="240788"/>
                    <a:pt x="158938" y="217892"/>
                    <a:pt x="216125" y="217539"/>
                  </a:cubicBezTo>
                  <a:lnTo>
                    <a:pt x="0" y="217539"/>
                  </a:lnTo>
                  <a:cubicBezTo>
                    <a:pt x="0" y="159837"/>
                    <a:pt x="22895" y="104500"/>
                    <a:pt x="63710" y="63712"/>
                  </a:cubicBezTo>
                  <a:cubicBezTo>
                    <a:pt x="104499" y="22923"/>
                    <a:pt x="159836" y="0"/>
                    <a:pt x="217539" y="0"/>
                  </a:cubicBezTo>
                  <a:cubicBezTo>
                    <a:pt x="275213" y="0"/>
                    <a:pt x="330550" y="22923"/>
                    <a:pt x="371339" y="63712"/>
                  </a:cubicBezTo>
                  <a:close/>
                </a:path>
              </a:pathLst>
            </a:custGeom>
            <a:grpFill/>
            <a:ln w="27192" cap="flat">
              <a:noFill/>
              <a:prstDash val="solid"/>
              <a:miter/>
            </a:ln>
          </p:spPr>
          <p:txBody>
            <a:bodyPr rtlCol="0" anchor="ctr"/>
            <a:lstStyle/>
            <a:p>
              <a:endParaRPr lang="uk-UA" sz="900">
                <a:solidFill>
                  <a:schemeClr val="bg1"/>
                </a:solidFill>
              </a:endParaRPr>
            </a:p>
          </p:txBody>
        </p:sp>
        <p:sp>
          <p:nvSpPr>
            <p:cNvPr id="200" name="Freeform: Shape 199">
              <a:extLst>
                <a:ext uri="{FF2B5EF4-FFF2-40B4-BE49-F238E27FC236}">
                  <a16:creationId xmlns:a16="http://schemas.microsoft.com/office/drawing/2014/main" id="{243A49E7-500B-5124-D577-D89ABB9DA693}"/>
                </a:ext>
              </a:extLst>
            </p:cNvPr>
            <p:cNvSpPr/>
            <p:nvPr/>
          </p:nvSpPr>
          <p:spPr>
            <a:xfrm>
              <a:off x="18239029" y="3709219"/>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65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65" y="0"/>
                  </a:lnTo>
                  <a:lnTo>
                    <a:pt x="435077" y="217539"/>
                  </a:lnTo>
                  <a:lnTo>
                    <a:pt x="435077" y="0"/>
                  </a:lnTo>
                  <a:close/>
                </a:path>
              </a:pathLst>
            </a:custGeom>
            <a:grpFill/>
            <a:ln w="27192" cap="flat">
              <a:noFill/>
              <a:prstDash val="solid"/>
              <a:miter/>
            </a:ln>
          </p:spPr>
          <p:txBody>
            <a:bodyPr rtlCol="0" anchor="ctr"/>
            <a:lstStyle/>
            <a:p>
              <a:endParaRPr lang="uk-UA" sz="900">
                <a:solidFill>
                  <a:schemeClr val="bg1"/>
                </a:solidFill>
              </a:endParaRPr>
            </a:p>
          </p:txBody>
        </p:sp>
        <p:sp>
          <p:nvSpPr>
            <p:cNvPr id="201" name="Freeform: Shape 200">
              <a:extLst>
                <a:ext uri="{FF2B5EF4-FFF2-40B4-BE49-F238E27FC236}">
                  <a16:creationId xmlns:a16="http://schemas.microsoft.com/office/drawing/2014/main" id="{43CB143B-CCDA-4DC8-58E0-DC70DF9F838D}"/>
                </a:ext>
              </a:extLst>
            </p:cNvPr>
            <p:cNvSpPr/>
            <p:nvPr/>
          </p:nvSpPr>
          <p:spPr>
            <a:xfrm>
              <a:off x="17368874" y="370921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202" name="Freeform: Shape 201">
              <a:extLst>
                <a:ext uri="{FF2B5EF4-FFF2-40B4-BE49-F238E27FC236}">
                  <a16:creationId xmlns:a16="http://schemas.microsoft.com/office/drawing/2014/main" id="{2CC6671E-C570-0E69-7C22-47AA396C3563}"/>
                </a:ext>
              </a:extLst>
            </p:cNvPr>
            <p:cNvSpPr/>
            <p:nvPr/>
          </p:nvSpPr>
          <p:spPr>
            <a:xfrm>
              <a:off x="19109210" y="370921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03" name="Freeform: Shape 202">
              <a:extLst>
                <a:ext uri="{FF2B5EF4-FFF2-40B4-BE49-F238E27FC236}">
                  <a16:creationId xmlns:a16="http://schemas.microsoft.com/office/drawing/2014/main" id="{5A63391C-E3E7-96AA-1972-3CA3C7ABC6E7}"/>
                </a:ext>
              </a:extLst>
            </p:cNvPr>
            <p:cNvSpPr/>
            <p:nvPr/>
          </p:nvSpPr>
          <p:spPr>
            <a:xfrm>
              <a:off x="19979365" y="3709219"/>
              <a:ext cx="435077" cy="435077"/>
            </a:xfrm>
            <a:custGeom>
              <a:avLst/>
              <a:gdLst>
                <a:gd name="connsiteX0" fmla="*/ 371365 w 435077"/>
                <a:gd name="connsiteY0" fmla="*/ 63712 h 435077"/>
                <a:gd name="connsiteX1" fmla="*/ 435077 w 435077"/>
                <a:gd name="connsiteY1" fmla="*/ 217539 h 435077"/>
                <a:gd name="connsiteX2" fmla="*/ 218953 w 435077"/>
                <a:gd name="connsiteY2" fmla="*/ 217539 h 435077"/>
                <a:gd name="connsiteX3" fmla="*/ 371365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25 w 435077"/>
                <a:gd name="connsiteY8" fmla="*/ 217539 h 435077"/>
                <a:gd name="connsiteX9" fmla="*/ 0 w 435077"/>
                <a:gd name="connsiteY9" fmla="*/ 217539 h 435077"/>
                <a:gd name="connsiteX10" fmla="*/ 63712 w 435077"/>
                <a:gd name="connsiteY10" fmla="*/ 63712 h 435077"/>
                <a:gd name="connsiteX11" fmla="*/ 217539 w 435077"/>
                <a:gd name="connsiteY11" fmla="*/ 0 h 435077"/>
                <a:gd name="connsiteX12" fmla="*/ 371365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12"/>
                  </a:moveTo>
                  <a:cubicBezTo>
                    <a:pt x="412154" y="104500"/>
                    <a:pt x="435077" y="159837"/>
                    <a:pt x="435077" y="217539"/>
                  </a:cubicBezTo>
                  <a:lnTo>
                    <a:pt x="218953" y="217539"/>
                  </a:lnTo>
                  <a:cubicBezTo>
                    <a:pt x="276139" y="217892"/>
                    <a:pt x="330904" y="240788"/>
                    <a:pt x="371365" y="281250"/>
                  </a:cubicBezTo>
                  <a:cubicBezTo>
                    <a:pt x="412154" y="322039"/>
                    <a:pt x="435077" y="377375"/>
                    <a:pt x="435077" y="435077"/>
                  </a:cubicBezTo>
                  <a:lnTo>
                    <a:pt x="217539" y="435077"/>
                  </a:lnTo>
                  <a:lnTo>
                    <a:pt x="0" y="435077"/>
                  </a:lnTo>
                  <a:cubicBezTo>
                    <a:pt x="0" y="377375"/>
                    <a:pt x="22924" y="322039"/>
                    <a:pt x="63712" y="281250"/>
                  </a:cubicBezTo>
                  <a:cubicBezTo>
                    <a:pt x="104174" y="240788"/>
                    <a:pt x="158940" y="217892"/>
                    <a:pt x="216125" y="217539"/>
                  </a:cubicBezTo>
                  <a:lnTo>
                    <a:pt x="0" y="217539"/>
                  </a:lnTo>
                  <a:cubicBezTo>
                    <a:pt x="0" y="159837"/>
                    <a:pt x="22924" y="104500"/>
                    <a:pt x="63712" y="63712"/>
                  </a:cubicBezTo>
                  <a:cubicBezTo>
                    <a:pt x="104501" y="22923"/>
                    <a:pt x="159836" y="0"/>
                    <a:pt x="217539" y="0"/>
                  </a:cubicBezTo>
                  <a:cubicBezTo>
                    <a:pt x="275241" y="0"/>
                    <a:pt x="330550" y="22923"/>
                    <a:pt x="371365" y="63712"/>
                  </a:cubicBezTo>
                  <a:close/>
                </a:path>
              </a:pathLst>
            </a:custGeom>
            <a:grpFill/>
            <a:ln w="27192" cap="flat">
              <a:noFill/>
              <a:prstDash val="solid"/>
              <a:miter/>
            </a:ln>
          </p:spPr>
          <p:txBody>
            <a:bodyPr rtlCol="0" anchor="ctr"/>
            <a:lstStyle/>
            <a:p>
              <a:endParaRPr lang="uk-UA" sz="900">
                <a:solidFill>
                  <a:schemeClr val="bg1"/>
                </a:solidFill>
              </a:endParaRPr>
            </a:p>
          </p:txBody>
        </p:sp>
        <p:sp>
          <p:nvSpPr>
            <p:cNvPr id="204" name="Freeform: Shape 203">
              <a:extLst>
                <a:ext uri="{FF2B5EF4-FFF2-40B4-BE49-F238E27FC236}">
                  <a16:creationId xmlns:a16="http://schemas.microsoft.com/office/drawing/2014/main" id="{C525159C-DA39-41AB-006C-C68310D7ECA9}"/>
                </a:ext>
              </a:extLst>
            </p:cNvPr>
            <p:cNvSpPr/>
            <p:nvPr/>
          </p:nvSpPr>
          <p:spPr>
            <a:xfrm>
              <a:off x="21719702" y="3709219"/>
              <a:ext cx="435077" cy="435077"/>
            </a:xfrm>
            <a:custGeom>
              <a:avLst/>
              <a:gdLst>
                <a:gd name="connsiteX0" fmla="*/ 0 w 435077"/>
                <a:gd name="connsiteY0" fmla="*/ 435077 h 435077"/>
                <a:gd name="connsiteX1" fmla="*/ 217512 w 435077"/>
                <a:gd name="connsiteY1" fmla="*/ 435077 h 435077"/>
                <a:gd name="connsiteX2" fmla="*/ 217512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12" y="435077"/>
                  </a:lnTo>
                  <a:lnTo>
                    <a:pt x="217512"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solidFill>
                  <a:schemeClr val="bg1"/>
                </a:solidFill>
              </a:endParaRPr>
            </a:p>
          </p:txBody>
        </p:sp>
        <p:sp>
          <p:nvSpPr>
            <p:cNvPr id="205" name="Freeform: Shape 204">
              <a:extLst>
                <a:ext uri="{FF2B5EF4-FFF2-40B4-BE49-F238E27FC236}">
                  <a16:creationId xmlns:a16="http://schemas.microsoft.com/office/drawing/2014/main" id="{976DF766-4774-4F8B-8499-016FB8FEF251}"/>
                </a:ext>
              </a:extLst>
            </p:cNvPr>
            <p:cNvSpPr/>
            <p:nvPr/>
          </p:nvSpPr>
          <p:spPr>
            <a:xfrm>
              <a:off x="20849520" y="370921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206" name="Freeform: Shape 205">
              <a:extLst>
                <a:ext uri="{FF2B5EF4-FFF2-40B4-BE49-F238E27FC236}">
                  <a16:creationId xmlns:a16="http://schemas.microsoft.com/office/drawing/2014/main" id="{57E6F4E4-E0A1-B4B3-3B3A-717B7D8A47E2}"/>
                </a:ext>
              </a:extLst>
            </p:cNvPr>
            <p:cNvSpPr/>
            <p:nvPr/>
          </p:nvSpPr>
          <p:spPr>
            <a:xfrm>
              <a:off x="22589856" y="370921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07" name="Freeform: Shape 206">
              <a:extLst>
                <a:ext uri="{FF2B5EF4-FFF2-40B4-BE49-F238E27FC236}">
                  <a16:creationId xmlns:a16="http://schemas.microsoft.com/office/drawing/2014/main" id="{DE63E59F-29EA-191A-9A73-ED31123F33F2}"/>
                </a:ext>
              </a:extLst>
            </p:cNvPr>
            <p:cNvSpPr/>
            <p:nvPr/>
          </p:nvSpPr>
          <p:spPr>
            <a:xfrm>
              <a:off x="23460039" y="3709219"/>
              <a:ext cx="435077" cy="435077"/>
            </a:xfrm>
            <a:custGeom>
              <a:avLst/>
              <a:gdLst>
                <a:gd name="connsiteX0" fmla="*/ 371339 w 435077"/>
                <a:gd name="connsiteY0" fmla="*/ 63712 h 435077"/>
                <a:gd name="connsiteX1" fmla="*/ 435077 w 435077"/>
                <a:gd name="connsiteY1" fmla="*/ 217539 h 435077"/>
                <a:gd name="connsiteX2" fmla="*/ 218925 w 435077"/>
                <a:gd name="connsiteY2" fmla="*/ 217539 h 435077"/>
                <a:gd name="connsiteX3" fmla="*/ 371339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25 w 435077"/>
                <a:gd name="connsiteY8" fmla="*/ 217539 h 435077"/>
                <a:gd name="connsiteX9" fmla="*/ 0 w 435077"/>
                <a:gd name="connsiteY9" fmla="*/ 217539 h 435077"/>
                <a:gd name="connsiteX10" fmla="*/ 63712 w 435077"/>
                <a:gd name="connsiteY10" fmla="*/ 63712 h 435077"/>
                <a:gd name="connsiteX11" fmla="*/ 217539 w 435077"/>
                <a:gd name="connsiteY11" fmla="*/ 0 h 435077"/>
                <a:gd name="connsiteX12" fmla="*/ 371339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12"/>
                  </a:moveTo>
                  <a:cubicBezTo>
                    <a:pt x="412154" y="104500"/>
                    <a:pt x="435077" y="159837"/>
                    <a:pt x="435077" y="217539"/>
                  </a:cubicBezTo>
                  <a:lnTo>
                    <a:pt x="218925" y="217539"/>
                  </a:lnTo>
                  <a:cubicBezTo>
                    <a:pt x="276111" y="217892"/>
                    <a:pt x="330876" y="240788"/>
                    <a:pt x="371339" y="281250"/>
                  </a:cubicBezTo>
                  <a:cubicBezTo>
                    <a:pt x="412154" y="322039"/>
                    <a:pt x="435077" y="377375"/>
                    <a:pt x="435077" y="435077"/>
                  </a:cubicBezTo>
                  <a:lnTo>
                    <a:pt x="217539" y="435077"/>
                  </a:lnTo>
                  <a:lnTo>
                    <a:pt x="0" y="435077"/>
                  </a:lnTo>
                  <a:cubicBezTo>
                    <a:pt x="0" y="377375"/>
                    <a:pt x="22895" y="322039"/>
                    <a:pt x="63712" y="281250"/>
                  </a:cubicBezTo>
                  <a:cubicBezTo>
                    <a:pt x="104174" y="240788"/>
                    <a:pt x="158938" y="217892"/>
                    <a:pt x="216125" y="217539"/>
                  </a:cubicBezTo>
                  <a:lnTo>
                    <a:pt x="0" y="217539"/>
                  </a:lnTo>
                  <a:cubicBezTo>
                    <a:pt x="0" y="159837"/>
                    <a:pt x="22895" y="104500"/>
                    <a:pt x="63712" y="63712"/>
                  </a:cubicBezTo>
                  <a:cubicBezTo>
                    <a:pt x="104501" y="22923"/>
                    <a:pt x="159836" y="0"/>
                    <a:pt x="217539" y="0"/>
                  </a:cubicBezTo>
                  <a:cubicBezTo>
                    <a:pt x="275213" y="0"/>
                    <a:pt x="330550" y="22923"/>
                    <a:pt x="371339" y="63712"/>
                  </a:cubicBezTo>
                  <a:close/>
                </a:path>
              </a:pathLst>
            </a:custGeom>
            <a:grpFill/>
            <a:ln w="27192" cap="flat">
              <a:noFill/>
              <a:prstDash val="solid"/>
              <a:miter/>
            </a:ln>
          </p:spPr>
          <p:txBody>
            <a:bodyPr rtlCol="0" anchor="ctr"/>
            <a:lstStyle/>
            <a:p>
              <a:endParaRPr lang="uk-UA" sz="900">
                <a:solidFill>
                  <a:schemeClr val="bg1"/>
                </a:solidFill>
              </a:endParaRPr>
            </a:p>
          </p:txBody>
        </p:sp>
        <p:sp>
          <p:nvSpPr>
            <p:cNvPr id="208" name="Freeform: Shape 207">
              <a:extLst>
                <a:ext uri="{FF2B5EF4-FFF2-40B4-BE49-F238E27FC236}">
                  <a16:creationId xmlns:a16="http://schemas.microsoft.com/office/drawing/2014/main" id="{8120F300-4036-35EA-C6F2-F8A27D14C77B}"/>
                </a:ext>
              </a:extLst>
            </p:cNvPr>
            <p:cNvSpPr/>
            <p:nvPr/>
          </p:nvSpPr>
          <p:spPr>
            <a:xfrm>
              <a:off x="24330194" y="370921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209" name="Freeform: Shape 208">
              <a:extLst>
                <a:ext uri="{FF2B5EF4-FFF2-40B4-BE49-F238E27FC236}">
                  <a16:creationId xmlns:a16="http://schemas.microsoft.com/office/drawing/2014/main" id="{F50BB731-BD41-4BC7-051F-B858E01C15E1}"/>
                </a:ext>
              </a:extLst>
            </p:cNvPr>
            <p:cNvSpPr/>
            <p:nvPr/>
          </p:nvSpPr>
          <p:spPr>
            <a:xfrm>
              <a:off x="835769" y="4579374"/>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10" name="Freeform: Shape 209">
              <a:extLst>
                <a:ext uri="{FF2B5EF4-FFF2-40B4-BE49-F238E27FC236}">
                  <a16:creationId xmlns:a16="http://schemas.microsoft.com/office/drawing/2014/main" id="{34210FB9-2715-E7CB-D25E-317AD9296FF9}"/>
                </a:ext>
              </a:extLst>
            </p:cNvPr>
            <p:cNvSpPr/>
            <p:nvPr/>
          </p:nvSpPr>
          <p:spPr>
            <a:xfrm>
              <a:off x="-34398" y="4579374"/>
              <a:ext cx="435063" cy="435077"/>
            </a:xfrm>
            <a:custGeom>
              <a:avLst/>
              <a:gdLst>
                <a:gd name="connsiteX0" fmla="*/ 435064 w 435063"/>
                <a:gd name="connsiteY0" fmla="*/ 435077 h 435077"/>
                <a:gd name="connsiteX1" fmla="*/ 435064 w 435063"/>
                <a:gd name="connsiteY1" fmla="*/ 217539 h 435077"/>
                <a:gd name="connsiteX2" fmla="*/ 435064 w 435063"/>
                <a:gd name="connsiteY2" fmla="*/ 27 h 435077"/>
                <a:gd name="connsiteX3" fmla="*/ 217552 w 435063"/>
                <a:gd name="connsiteY3" fmla="*/ 27 h 435077"/>
                <a:gd name="connsiteX4" fmla="*/ 435064 w 435063"/>
                <a:gd name="connsiteY4" fmla="*/ 217539 h 435077"/>
                <a:gd name="connsiteX5" fmla="*/ 217552 w 435063"/>
                <a:gd name="connsiteY5" fmla="*/ 435077 h 435077"/>
                <a:gd name="connsiteX6" fmla="*/ 435064 w 435063"/>
                <a:gd name="connsiteY6" fmla="*/ 435077 h 435077"/>
                <a:gd name="connsiteX7" fmla="*/ 0 w 435063"/>
                <a:gd name="connsiteY7" fmla="*/ 217539 h 435077"/>
                <a:gd name="connsiteX8" fmla="*/ 0 w 435063"/>
                <a:gd name="connsiteY8" fmla="*/ 0 h 435077"/>
                <a:gd name="connsiteX9" fmla="*/ 217525 w 435063"/>
                <a:gd name="connsiteY9" fmla="*/ 217539 h 435077"/>
                <a:gd name="connsiteX10" fmla="*/ 0 w 435063"/>
                <a:gd name="connsiteY10" fmla="*/ 217539 h 435077"/>
                <a:gd name="connsiteX11" fmla="*/ 0 w 435063"/>
                <a:gd name="connsiteY11" fmla="*/ 435077 h 435077"/>
                <a:gd name="connsiteX12" fmla="*/ 0 w 435063"/>
                <a:gd name="connsiteY12" fmla="*/ 217539 h 435077"/>
                <a:gd name="connsiteX13" fmla="*/ 217525 w 435063"/>
                <a:gd name="connsiteY13" fmla="*/ 217539 h 435077"/>
                <a:gd name="connsiteX14" fmla="*/ 0 w 435063"/>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63" h="435077">
                  <a:moveTo>
                    <a:pt x="435064" y="435077"/>
                  </a:moveTo>
                  <a:lnTo>
                    <a:pt x="435064" y="217539"/>
                  </a:lnTo>
                  <a:lnTo>
                    <a:pt x="435064" y="27"/>
                  </a:lnTo>
                  <a:lnTo>
                    <a:pt x="217552" y="27"/>
                  </a:lnTo>
                  <a:lnTo>
                    <a:pt x="435064" y="217539"/>
                  </a:lnTo>
                  <a:lnTo>
                    <a:pt x="217552" y="435077"/>
                  </a:lnTo>
                  <a:lnTo>
                    <a:pt x="435064" y="435077"/>
                  </a:lnTo>
                  <a:close/>
                  <a:moveTo>
                    <a:pt x="0" y="217539"/>
                  </a:moveTo>
                  <a:lnTo>
                    <a:pt x="0" y="0"/>
                  </a:lnTo>
                  <a:lnTo>
                    <a:pt x="217525" y="217539"/>
                  </a:lnTo>
                  <a:lnTo>
                    <a:pt x="0" y="217539"/>
                  </a:lnTo>
                  <a:close/>
                  <a:moveTo>
                    <a:pt x="0" y="435077"/>
                  </a:moveTo>
                  <a:lnTo>
                    <a:pt x="0" y="217539"/>
                  </a:lnTo>
                  <a:lnTo>
                    <a:pt x="217525"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11" name="Freeform: Shape 210">
              <a:extLst>
                <a:ext uri="{FF2B5EF4-FFF2-40B4-BE49-F238E27FC236}">
                  <a16:creationId xmlns:a16="http://schemas.microsoft.com/office/drawing/2014/main" id="{F1FDE67A-19A0-17C3-3C77-EF9C25B6BD19}"/>
                </a:ext>
              </a:extLst>
            </p:cNvPr>
            <p:cNvSpPr/>
            <p:nvPr/>
          </p:nvSpPr>
          <p:spPr>
            <a:xfrm>
              <a:off x="1705924" y="4579374"/>
              <a:ext cx="435077" cy="435077"/>
            </a:xfrm>
            <a:custGeom>
              <a:avLst/>
              <a:gdLst>
                <a:gd name="connsiteX0" fmla="*/ 435077 w 435077"/>
                <a:gd name="connsiteY0" fmla="*/ 435077 h 435077"/>
                <a:gd name="connsiteX1" fmla="*/ 435077 w 435077"/>
                <a:gd name="connsiteY1" fmla="*/ 0 h 435077"/>
                <a:gd name="connsiteX2" fmla="*/ 217566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6"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12" name="Freeform: Shape 211">
              <a:extLst>
                <a:ext uri="{FF2B5EF4-FFF2-40B4-BE49-F238E27FC236}">
                  <a16:creationId xmlns:a16="http://schemas.microsoft.com/office/drawing/2014/main" id="{3DDF1560-4F4F-917B-6C1F-081BE325C103}"/>
                </a:ext>
              </a:extLst>
            </p:cNvPr>
            <p:cNvSpPr/>
            <p:nvPr/>
          </p:nvSpPr>
          <p:spPr>
            <a:xfrm>
              <a:off x="2576106" y="457937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3" y="113038"/>
                    <a:pt x="0" y="57702"/>
                    <a:pt x="0" y="0"/>
                  </a:cubicBezTo>
                  <a:lnTo>
                    <a:pt x="217539" y="0"/>
                  </a:lnTo>
                  <a:lnTo>
                    <a:pt x="435077" y="0"/>
                  </a:lnTo>
                  <a:cubicBezTo>
                    <a:pt x="435077" y="57702"/>
                    <a:pt x="412154" y="113038"/>
                    <a:pt x="371366" y="153827"/>
                  </a:cubicBezTo>
                  <a:cubicBezTo>
                    <a:pt x="330550" y="194616"/>
                    <a:pt x="275214" y="217539"/>
                    <a:pt x="217539" y="217539"/>
                  </a:cubicBezTo>
                  <a:cubicBezTo>
                    <a:pt x="159837" y="217539"/>
                    <a:pt x="104500" y="194616"/>
                    <a:pt x="63712" y="153827"/>
                  </a:cubicBezTo>
                  <a:close/>
                  <a:moveTo>
                    <a:pt x="63712" y="281250"/>
                  </a:moveTo>
                  <a:cubicBezTo>
                    <a:pt x="22923" y="322066"/>
                    <a:pt x="0" y="377375"/>
                    <a:pt x="0" y="435077"/>
                  </a:cubicBezTo>
                  <a:lnTo>
                    <a:pt x="217539" y="435077"/>
                  </a:lnTo>
                  <a:lnTo>
                    <a:pt x="435077" y="435077"/>
                  </a:lnTo>
                  <a:cubicBezTo>
                    <a:pt x="435077" y="377375"/>
                    <a:pt x="412154" y="322066"/>
                    <a:pt x="371366" y="281250"/>
                  </a:cubicBezTo>
                  <a:cubicBezTo>
                    <a:pt x="330550" y="240462"/>
                    <a:pt x="275214" y="217539"/>
                    <a:pt x="217539" y="217539"/>
                  </a:cubicBezTo>
                  <a:cubicBezTo>
                    <a:pt x="159837" y="217539"/>
                    <a:pt x="104500" y="240462"/>
                    <a:pt x="63712" y="281250"/>
                  </a:cubicBezTo>
                  <a:close/>
                </a:path>
              </a:pathLst>
            </a:custGeom>
            <a:grpFill/>
            <a:ln w="27192" cap="flat">
              <a:noFill/>
              <a:prstDash val="solid"/>
              <a:miter/>
            </a:ln>
          </p:spPr>
          <p:txBody>
            <a:bodyPr rtlCol="0" anchor="ctr"/>
            <a:lstStyle/>
            <a:p>
              <a:endParaRPr lang="uk-UA" sz="900">
                <a:solidFill>
                  <a:schemeClr val="bg1"/>
                </a:solidFill>
              </a:endParaRPr>
            </a:p>
          </p:txBody>
        </p:sp>
        <p:sp>
          <p:nvSpPr>
            <p:cNvPr id="213" name="Freeform: Shape 212">
              <a:extLst>
                <a:ext uri="{FF2B5EF4-FFF2-40B4-BE49-F238E27FC236}">
                  <a16:creationId xmlns:a16="http://schemas.microsoft.com/office/drawing/2014/main" id="{FA96A067-8923-ABEC-634D-CC07C5432E64}"/>
                </a:ext>
              </a:extLst>
            </p:cNvPr>
            <p:cNvSpPr/>
            <p:nvPr/>
          </p:nvSpPr>
          <p:spPr>
            <a:xfrm>
              <a:off x="4316416" y="4579374"/>
              <a:ext cx="435077" cy="435077"/>
            </a:xfrm>
            <a:custGeom>
              <a:avLst/>
              <a:gdLst>
                <a:gd name="connsiteX0" fmla="*/ 217565 w 435077"/>
                <a:gd name="connsiteY0" fmla="*/ 435077 h 435077"/>
                <a:gd name="connsiteX1" fmla="*/ 217565 w 435077"/>
                <a:gd name="connsiteY1" fmla="*/ 0 h 435077"/>
                <a:gd name="connsiteX2" fmla="*/ 435077 w 435077"/>
                <a:gd name="connsiteY2" fmla="*/ 217539 h 435077"/>
                <a:gd name="connsiteX3" fmla="*/ 217565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65" y="435077"/>
                  </a:moveTo>
                  <a:lnTo>
                    <a:pt x="217565" y="0"/>
                  </a:lnTo>
                  <a:lnTo>
                    <a:pt x="435077" y="217539"/>
                  </a:lnTo>
                  <a:lnTo>
                    <a:pt x="217565"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14" name="Freeform: Shape 213">
              <a:extLst>
                <a:ext uri="{FF2B5EF4-FFF2-40B4-BE49-F238E27FC236}">
                  <a16:creationId xmlns:a16="http://schemas.microsoft.com/office/drawing/2014/main" id="{AE26D3DE-4669-25AC-C79D-F824E29CF39E}"/>
                </a:ext>
              </a:extLst>
            </p:cNvPr>
            <p:cNvSpPr/>
            <p:nvPr/>
          </p:nvSpPr>
          <p:spPr>
            <a:xfrm>
              <a:off x="3446261" y="4579374"/>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6 w 435077"/>
                <a:gd name="connsiteY3" fmla="*/ 27 h 435077"/>
                <a:gd name="connsiteX4" fmla="*/ 435077 w 435077"/>
                <a:gd name="connsiteY4" fmla="*/ 217539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6" y="27"/>
                  </a:lnTo>
                  <a:lnTo>
                    <a:pt x="435077" y="217539"/>
                  </a:lnTo>
                  <a:lnTo>
                    <a:pt x="217566"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15" name="Freeform: Shape 214">
              <a:extLst>
                <a:ext uri="{FF2B5EF4-FFF2-40B4-BE49-F238E27FC236}">
                  <a16:creationId xmlns:a16="http://schemas.microsoft.com/office/drawing/2014/main" id="{0F1F5298-E920-A58C-9B01-70C5C7B41446}"/>
                </a:ext>
              </a:extLst>
            </p:cNvPr>
            <p:cNvSpPr/>
            <p:nvPr/>
          </p:nvSpPr>
          <p:spPr>
            <a:xfrm>
              <a:off x="5186597" y="4579374"/>
              <a:ext cx="435077" cy="435077"/>
            </a:xfrm>
            <a:custGeom>
              <a:avLst/>
              <a:gdLst>
                <a:gd name="connsiteX0" fmla="*/ 435077 w 435077"/>
                <a:gd name="connsiteY0" fmla="*/ 435077 h 435077"/>
                <a:gd name="connsiteX1" fmla="*/ 435077 w 435077"/>
                <a:gd name="connsiteY1" fmla="*/ 0 h 435077"/>
                <a:gd name="connsiteX2" fmla="*/ 217566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6"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16" name="Freeform: Shape 215">
              <a:extLst>
                <a:ext uri="{FF2B5EF4-FFF2-40B4-BE49-F238E27FC236}">
                  <a16:creationId xmlns:a16="http://schemas.microsoft.com/office/drawing/2014/main" id="{98AE2493-0B99-09AB-7479-258B331C53CF}"/>
                </a:ext>
              </a:extLst>
            </p:cNvPr>
            <p:cNvSpPr/>
            <p:nvPr/>
          </p:nvSpPr>
          <p:spPr>
            <a:xfrm>
              <a:off x="6056752" y="457937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8"/>
                    <a:pt x="0" y="57702"/>
                    <a:pt x="0" y="0"/>
                  </a:cubicBezTo>
                  <a:lnTo>
                    <a:pt x="217539" y="0"/>
                  </a:lnTo>
                  <a:lnTo>
                    <a:pt x="435077" y="0"/>
                  </a:lnTo>
                  <a:cubicBezTo>
                    <a:pt x="435077" y="57702"/>
                    <a:pt x="412155" y="113038"/>
                    <a:pt x="371366" y="153827"/>
                  </a:cubicBezTo>
                  <a:cubicBezTo>
                    <a:pt x="330550" y="194616"/>
                    <a:pt x="275241" y="217539"/>
                    <a:pt x="217539" y="217539"/>
                  </a:cubicBezTo>
                  <a:cubicBezTo>
                    <a:pt x="159837" y="217539"/>
                    <a:pt x="104501" y="194616"/>
                    <a:pt x="63712" y="153827"/>
                  </a:cubicBezTo>
                  <a:close/>
                  <a:moveTo>
                    <a:pt x="63712" y="281250"/>
                  </a:moveTo>
                  <a:cubicBezTo>
                    <a:pt x="22924" y="322066"/>
                    <a:pt x="0" y="377375"/>
                    <a:pt x="0" y="435077"/>
                  </a:cubicBezTo>
                  <a:lnTo>
                    <a:pt x="217539" y="435077"/>
                  </a:lnTo>
                  <a:lnTo>
                    <a:pt x="435077" y="435077"/>
                  </a:lnTo>
                  <a:cubicBezTo>
                    <a:pt x="435077" y="377375"/>
                    <a:pt x="412155" y="322066"/>
                    <a:pt x="371366" y="281250"/>
                  </a:cubicBezTo>
                  <a:cubicBezTo>
                    <a:pt x="330550" y="240462"/>
                    <a:pt x="275241" y="217539"/>
                    <a:pt x="217539" y="217539"/>
                  </a:cubicBezTo>
                  <a:cubicBezTo>
                    <a:pt x="159837" y="217539"/>
                    <a:pt x="104501" y="240462"/>
                    <a:pt x="63712" y="281250"/>
                  </a:cubicBezTo>
                  <a:close/>
                </a:path>
              </a:pathLst>
            </a:custGeom>
            <a:grpFill/>
            <a:ln w="27192" cap="flat">
              <a:noFill/>
              <a:prstDash val="solid"/>
              <a:miter/>
            </a:ln>
          </p:spPr>
          <p:txBody>
            <a:bodyPr rtlCol="0" anchor="ctr"/>
            <a:lstStyle/>
            <a:p>
              <a:endParaRPr lang="uk-UA" sz="900">
                <a:solidFill>
                  <a:schemeClr val="bg1"/>
                </a:solidFill>
              </a:endParaRPr>
            </a:p>
          </p:txBody>
        </p:sp>
        <p:sp>
          <p:nvSpPr>
            <p:cNvPr id="217" name="Freeform: Shape 216">
              <a:extLst>
                <a:ext uri="{FF2B5EF4-FFF2-40B4-BE49-F238E27FC236}">
                  <a16:creationId xmlns:a16="http://schemas.microsoft.com/office/drawing/2014/main" id="{7A03552B-6A6D-1633-1AF2-AAF704F611EA}"/>
                </a:ext>
              </a:extLst>
            </p:cNvPr>
            <p:cNvSpPr/>
            <p:nvPr/>
          </p:nvSpPr>
          <p:spPr>
            <a:xfrm>
              <a:off x="7797062" y="4579374"/>
              <a:ext cx="435077" cy="435077"/>
            </a:xfrm>
            <a:custGeom>
              <a:avLst/>
              <a:gdLst>
                <a:gd name="connsiteX0" fmla="*/ 217566 w 435077"/>
                <a:gd name="connsiteY0" fmla="*/ 435077 h 435077"/>
                <a:gd name="connsiteX1" fmla="*/ 217566 w 435077"/>
                <a:gd name="connsiteY1" fmla="*/ 0 h 435077"/>
                <a:gd name="connsiteX2" fmla="*/ 435077 w 435077"/>
                <a:gd name="connsiteY2" fmla="*/ 217539 h 435077"/>
                <a:gd name="connsiteX3" fmla="*/ 217566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66" y="435077"/>
                  </a:moveTo>
                  <a:lnTo>
                    <a:pt x="217566" y="0"/>
                  </a:lnTo>
                  <a:lnTo>
                    <a:pt x="435077" y="217539"/>
                  </a:lnTo>
                  <a:lnTo>
                    <a:pt x="217566"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18" name="Freeform: Shape 217">
              <a:extLst>
                <a:ext uri="{FF2B5EF4-FFF2-40B4-BE49-F238E27FC236}">
                  <a16:creationId xmlns:a16="http://schemas.microsoft.com/office/drawing/2014/main" id="{A7B9F7F5-3F65-A09C-285F-411069BFF328}"/>
                </a:ext>
              </a:extLst>
            </p:cNvPr>
            <p:cNvSpPr/>
            <p:nvPr/>
          </p:nvSpPr>
          <p:spPr>
            <a:xfrm>
              <a:off x="6926907" y="4579374"/>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6 w 435077"/>
                <a:gd name="connsiteY3" fmla="*/ 27 h 435077"/>
                <a:gd name="connsiteX4" fmla="*/ 435077 w 435077"/>
                <a:gd name="connsiteY4" fmla="*/ 217539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6" y="27"/>
                  </a:lnTo>
                  <a:lnTo>
                    <a:pt x="435077" y="217539"/>
                  </a:lnTo>
                  <a:lnTo>
                    <a:pt x="217566"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19" name="Freeform: Shape 218">
              <a:extLst>
                <a:ext uri="{FF2B5EF4-FFF2-40B4-BE49-F238E27FC236}">
                  <a16:creationId xmlns:a16="http://schemas.microsoft.com/office/drawing/2014/main" id="{182A580E-14E8-A02A-867B-9D772939206A}"/>
                </a:ext>
              </a:extLst>
            </p:cNvPr>
            <p:cNvSpPr/>
            <p:nvPr/>
          </p:nvSpPr>
          <p:spPr>
            <a:xfrm>
              <a:off x="8667217" y="4579374"/>
              <a:ext cx="435104" cy="435077"/>
            </a:xfrm>
            <a:custGeom>
              <a:avLst/>
              <a:gdLst>
                <a:gd name="connsiteX0" fmla="*/ 435105 w 435104"/>
                <a:gd name="connsiteY0" fmla="*/ 435077 h 435077"/>
                <a:gd name="connsiteX1" fmla="*/ 435105 w 435104"/>
                <a:gd name="connsiteY1" fmla="*/ 0 h 435077"/>
                <a:gd name="connsiteX2" fmla="*/ 217566 w 435104"/>
                <a:gd name="connsiteY2" fmla="*/ 217539 h 435077"/>
                <a:gd name="connsiteX3" fmla="*/ 435105 w 435104"/>
                <a:gd name="connsiteY3" fmla="*/ 435077 h 435077"/>
                <a:gd name="connsiteX4" fmla="*/ 0 w 435104"/>
                <a:gd name="connsiteY4" fmla="*/ 435077 h 435077"/>
                <a:gd name="connsiteX5" fmla="*/ 0 w 435104"/>
                <a:gd name="connsiteY5" fmla="*/ 0 h 435077"/>
                <a:gd name="connsiteX6" fmla="*/ 217539 w 435104"/>
                <a:gd name="connsiteY6" fmla="*/ 217539 h 435077"/>
                <a:gd name="connsiteX7" fmla="*/ 0 w 435104"/>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104" h="435077">
                  <a:moveTo>
                    <a:pt x="435105" y="435077"/>
                  </a:moveTo>
                  <a:lnTo>
                    <a:pt x="435105" y="0"/>
                  </a:lnTo>
                  <a:lnTo>
                    <a:pt x="217566" y="217539"/>
                  </a:lnTo>
                  <a:lnTo>
                    <a:pt x="435105"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20" name="Freeform: Shape 219">
              <a:extLst>
                <a:ext uri="{FF2B5EF4-FFF2-40B4-BE49-F238E27FC236}">
                  <a16:creationId xmlns:a16="http://schemas.microsoft.com/office/drawing/2014/main" id="{87E4D78B-37AD-D05B-32E8-2BA17FF907A5}"/>
                </a:ext>
              </a:extLst>
            </p:cNvPr>
            <p:cNvSpPr/>
            <p:nvPr/>
          </p:nvSpPr>
          <p:spPr>
            <a:xfrm>
              <a:off x="9537399" y="4579374"/>
              <a:ext cx="435077" cy="435077"/>
            </a:xfrm>
            <a:custGeom>
              <a:avLst/>
              <a:gdLst>
                <a:gd name="connsiteX0" fmla="*/ 63711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1 w 435077"/>
                <a:gd name="connsiteY6" fmla="*/ 153827 h 435077"/>
                <a:gd name="connsiteX7" fmla="*/ 63711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1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1" y="153827"/>
                  </a:moveTo>
                  <a:cubicBezTo>
                    <a:pt x="22923" y="113038"/>
                    <a:pt x="0" y="57702"/>
                    <a:pt x="0" y="0"/>
                  </a:cubicBezTo>
                  <a:lnTo>
                    <a:pt x="217539" y="0"/>
                  </a:lnTo>
                  <a:lnTo>
                    <a:pt x="435077" y="0"/>
                  </a:lnTo>
                  <a:cubicBezTo>
                    <a:pt x="435077" y="57702"/>
                    <a:pt x="412155" y="113038"/>
                    <a:pt x="371366" y="153827"/>
                  </a:cubicBezTo>
                  <a:cubicBezTo>
                    <a:pt x="330550" y="194616"/>
                    <a:pt x="275214" y="217539"/>
                    <a:pt x="217539" y="217539"/>
                  </a:cubicBezTo>
                  <a:cubicBezTo>
                    <a:pt x="159836" y="217539"/>
                    <a:pt x="104500" y="194616"/>
                    <a:pt x="63711" y="153827"/>
                  </a:cubicBezTo>
                  <a:close/>
                  <a:moveTo>
                    <a:pt x="63711" y="281250"/>
                  </a:moveTo>
                  <a:cubicBezTo>
                    <a:pt x="22923" y="322066"/>
                    <a:pt x="0" y="377375"/>
                    <a:pt x="0" y="435077"/>
                  </a:cubicBezTo>
                  <a:lnTo>
                    <a:pt x="217539" y="435077"/>
                  </a:lnTo>
                  <a:lnTo>
                    <a:pt x="435077" y="435077"/>
                  </a:lnTo>
                  <a:cubicBezTo>
                    <a:pt x="435077" y="377375"/>
                    <a:pt x="412155" y="322066"/>
                    <a:pt x="371366" y="281250"/>
                  </a:cubicBezTo>
                  <a:cubicBezTo>
                    <a:pt x="330550" y="240462"/>
                    <a:pt x="275214" y="217539"/>
                    <a:pt x="217539" y="217539"/>
                  </a:cubicBezTo>
                  <a:cubicBezTo>
                    <a:pt x="159836" y="217539"/>
                    <a:pt x="104500" y="240462"/>
                    <a:pt x="63711" y="281250"/>
                  </a:cubicBezTo>
                  <a:close/>
                </a:path>
              </a:pathLst>
            </a:custGeom>
            <a:grpFill/>
            <a:ln w="27192" cap="flat">
              <a:noFill/>
              <a:prstDash val="solid"/>
              <a:miter/>
            </a:ln>
          </p:spPr>
          <p:txBody>
            <a:bodyPr rtlCol="0" anchor="ctr"/>
            <a:lstStyle/>
            <a:p>
              <a:endParaRPr lang="uk-UA" sz="900">
                <a:solidFill>
                  <a:schemeClr val="bg1"/>
                </a:solidFill>
              </a:endParaRPr>
            </a:p>
          </p:txBody>
        </p:sp>
        <p:sp>
          <p:nvSpPr>
            <p:cNvPr id="221" name="Freeform: Shape 220">
              <a:extLst>
                <a:ext uri="{FF2B5EF4-FFF2-40B4-BE49-F238E27FC236}">
                  <a16:creationId xmlns:a16="http://schemas.microsoft.com/office/drawing/2014/main" id="{2FDEB98D-4B6A-EAF1-F481-96C738075D2E}"/>
                </a:ext>
              </a:extLst>
            </p:cNvPr>
            <p:cNvSpPr/>
            <p:nvPr/>
          </p:nvSpPr>
          <p:spPr>
            <a:xfrm>
              <a:off x="11277709" y="4579374"/>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22" name="Freeform: Shape 221">
              <a:extLst>
                <a:ext uri="{FF2B5EF4-FFF2-40B4-BE49-F238E27FC236}">
                  <a16:creationId xmlns:a16="http://schemas.microsoft.com/office/drawing/2014/main" id="{4811B8F3-AB4C-030C-A74A-0B6938EB5EFF}"/>
                </a:ext>
              </a:extLst>
            </p:cNvPr>
            <p:cNvSpPr/>
            <p:nvPr/>
          </p:nvSpPr>
          <p:spPr>
            <a:xfrm>
              <a:off x="10407554" y="4579374"/>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39 w 435077"/>
                <a:gd name="connsiteY3" fmla="*/ 27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1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1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39" y="27"/>
                  </a:lnTo>
                  <a:lnTo>
                    <a:pt x="435077" y="217539"/>
                  </a:lnTo>
                  <a:lnTo>
                    <a:pt x="217539" y="435077"/>
                  </a:lnTo>
                  <a:lnTo>
                    <a:pt x="435077" y="435077"/>
                  </a:lnTo>
                  <a:close/>
                  <a:moveTo>
                    <a:pt x="0" y="217539"/>
                  </a:moveTo>
                  <a:lnTo>
                    <a:pt x="0" y="0"/>
                  </a:lnTo>
                  <a:lnTo>
                    <a:pt x="217511" y="217539"/>
                  </a:lnTo>
                  <a:lnTo>
                    <a:pt x="0" y="217539"/>
                  </a:lnTo>
                  <a:close/>
                  <a:moveTo>
                    <a:pt x="0" y="435077"/>
                  </a:moveTo>
                  <a:lnTo>
                    <a:pt x="0" y="217539"/>
                  </a:lnTo>
                  <a:lnTo>
                    <a:pt x="217511"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23" name="Freeform: Shape 222">
              <a:extLst>
                <a:ext uri="{FF2B5EF4-FFF2-40B4-BE49-F238E27FC236}">
                  <a16:creationId xmlns:a16="http://schemas.microsoft.com/office/drawing/2014/main" id="{E58BB161-F150-FBAA-6E25-A17D990A78C2}"/>
                </a:ext>
              </a:extLst>
            </p:cNvPr>
            <p:cNvSpPr/>
            <p:nvPr/>
          </p:nvSpPr>
          <p:spPr>
            <a:xfrm>
              <a:off x="12147891" y="4579374"/>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2"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24" name="Freeform: Shape 223">
              <a:extLst>
                <a:ext uri="{FF2B5EF4-FFF2-40B4-BE49-F238E27FC236}">
                  <a16:creationId xmlns:a16="http://schemas.microsoft.com/office/drawing/2014/main" id="{272B17A7-19CA-28F4-04B4-9353163AC71B}"/>
                </a:ext>
              </a:extLst>
            </p:cNvPr>
            <p:cNvSpPr/>
            <p:nvPr/>
          </p:nvSpPr>
          <p:spPr>
            <a:xfrm>
              <a:off x="13018045" y="457937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8"/>
                    <a:pt x="0" y="57702"/>
                    <a:pt x="0" y="0"/>
                  </a:cubicBezTo>
                  <a:lnTo>
                    <a:pt x="217539" y="0"/>
                  </a:lnTo>
                  <a:lnTo>
                    <a:pt x="435077" y="0"/>
                  </a:lnTo>
                  <a:cubicBezTo>
                    <a:pt x="435077" y="57702"/>
                    <a:pt x="412154" y="113038"/>
                    <a:pt x="371365" y="153827"/>
                  </a:cubicBezTo>
                  <a:cubicBezTo>
                    <a:pt x="330550" y="194616"/>
                    <a:pt x="275241" y="217539"/>
                    <a:pt x="217539" y="217539"/>
                  </a:cubicBezTo>
                  <a:cubicBezTo>
                    <a:pt x="159836" y="217539"/>
                    <a:pt x="104501" y="194616"/>
                    <a:pt x="63712" y="153827"/>
                  </a:cubicBezTo>
                  <a:close/>
                  <a:moveTo>
                    <a:pt x="63712" y="281250"/>
                  </a:moveTo>
                  <a:cubicBezTo>
                    <a:pt x="22924" y="322066"/>
                    <a:pt x="0" y="377375"/>
                    <a:pt x="0" y="435077"/>
                  </a:cubicBezTo>
                  <a:lnTo>
                    <a:pt x="217539" y="435077"/>
                  </a:lnTo>
                  <a:lnTo>
                    <a:pt x="435077" y="435077"/>
                  </a:lnTo>
                  <a:cubicBezTo>
                    <a:pt x="435077" y="377375"/>
                    <a:pt x="412154" y="322066"/>
                    <a:pt x="371365" y="281250"/>
                  </a:cubicBezTo>
                  <a:cubicBezTo>
                    <a:pt x="330550" y="240462"/>
                    <a:pt x="275241" y="217539"/>
                    <a:pt x="217539" y="217539"/>
                  </a:cubicBezTo>
                  <a:cubicBezTo>
                    <a:pt x="159836" y="217539"/>
                    <a:pt x="104501" y="240462"/>
                    <a:pt x="63712" y="281250"/>
                  </a:cubicBezTo>
                  <a:close/>
                </a:path>
              </a:pathLst>
            </a:custGeom>
            <a:grpFill/>
            <a:ln w="27192" cap="flat">
              <a:noFill/>
              <a:prstDash val="solid"/>
              <a:miter/>
            </a:ln>
          </p:spPr>
          <p:txBody>
            <a:bodyPr rtlCol="0" anchor="ctr"/>
            <a:lstStyle/>
            <a:p>
              <a:endParaRPr lang="uk-UA" sz="900">
                <a:solidFill>
                  <a:schemeClr val="bg1"/>
                </a:solidFill>
              </a:endParaRPr>
            </a:p>
          </p:txBody>
        </p:sp>
        <p:sp>
          <p:nvSpPr>
            <p:cNvPr id="225" name="Freeform: Shape 224">
              <a:extLst>
                <a:ext uri="{FF2B5EF4-FFF2-40B4-BE49-F238E27FC236}">
                  <a16:creationId xmlns:a16="http://schemas.microsoft.com/office/drawing/2014/main" id="{13B012E3-BE44-C8D5-C778-C42F66D39E5F}"/>
                </a:ext>
              </a:extLst>
            </p:cNvPr>
            <p:cNvSpPr/>
            <p:nvPr/>
          </p:nvSpPr>
          <p:spPr>
            <a:xfrm>
              <a:off x="14758382" y="4579374"/>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26" name="Freeform: Shape 225">
              <a:extLst>
                <a:ext uri="{FF2B5EF4-FFF2-40B4-BE49-F238E27FC236}">
                  <a16:creationId xmlns:a16="http://schemas.microsoft.com/office/drawing/2014/main" id="{94A0D686-EA7C-F028-1DB5-7716510E4F60}"/>
                </a:ext>
              </a:extLst>
            </p:cNvPr>
            <p:cNvSpPr/>
            <p:nvPr/>
          </p:nvSpPr>
          <p:spPr>
            <a:xfrm>
              <a:off x="13888200" y="4579374"/>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5 w 435077"/>
                <a:gd name="connsiteY3" fmla="*/ 27 h 435077"/>
                <a:gd name="connsiteX4" fmla="*/ 435077 w 435077"/>
                <a:gd name="connsiteY4" fmla="*/ 217539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5" y="27"/>
                  </a:lnTo>
                  <a:lnTo>
                    <a:pt x="435077" y="217539"/>
                  </a:lnTo>
                  <a:lnTo>
                    <a:pt x="217565"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27" name="Freeform: Shape 226">
              <a:extLst>
                <a:ext uri="{FF2B5EF4-FFF2-40B4-BE49-F238E27FC236}">
                  <a16:creationId xmlns:a16="http://schemas.microsoft.com/office/drawing/2014/main" id="{6523CE49-92DF-6F47-AFC7-FEC4DBDA8524}"/>
                </a:ext>
              </a:extLst>
            </p:cNvPr>
            <p:cNvSpPr/>
            <p:nvPr/>
          </p:nvSpPr>
          <p:spPr>
            <a:xfrm>
              <a:off x="15628565" y="4579374"/>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0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0"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28" name="Freeform: Shape 227">
              <a:extLst>
                <a:ext uri="{FF2B5EF4-FFF2-40B4-BE49-F238E27FC236}">
                  <a16:creationId xmlns:a16="http://schemas.microsoft.com/office/drawing/2014/main" id="{DFBAF60C-34E3-4BF2-B2A0-5F8E11617F3B}"/>
                </a:ext>
              </a:extLst>
            </p:cNvPr>
            <p:cNvSpPr/>
            <p:nvPr/>
          </p:nvSpPr>
          <p:spPr>
            <a:xfrm>
              <a:off x="16498719" y="4579374"/>
              <a:ext cx="435077" cy="435077"/>
            </a:xfrm>
            <a:custGeom>
              <a:avLst/>
              <a:gdLst>
                <a:gd name="connsiteX0" fmla="*/ 63710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0 w 435077"/>
                <a:gd name="connsiteY6" fmla="*/ 153827 h 435077"/>
                <a:gd name="connsiteX7" fmla="*/ 63710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50 h 435077"/>
                <a:gd name="connsiteX12" fmla="*/ 217539 w 435077"/>
                <a:gd name="connsiteY12" fmla="*/ 217539 h 435077"/>
                <a:gd name="connsiteX13" fmla="*/ 63710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7"/>
                  </a:moveTo>
                  <a:cubicBezTo>
                    <a:pt x="22895" y="113038"/>
                    <a:pt x="0" y="57702"/>
                    <a:pt x="0" y="0"/>
                  </a:cubicBezTo>
                  <a:lnTo>
                    <a:pt x="217539" y="0"/>
                  </a:lnTo>
                  <a:lnTo>
                    <a:pt x="435077" y="0"/>
                  </a:lnTo>
                  <a:cubicBezTo>
                    <a:pt x="435077" y="57702"/>
                    <a:pt x="412154" y="113038"/>
                    <a:pt x="371339" y="153827"/>
                  </a:cubicBezTo>
                  <a:cubicBezTo>
                    <a:pt x="330550" y="194616"/>
                    <a:pt x="275213" y="217539"/>
                    <a:pt x="217539" y="217539"/>
                  </a:cubicBezTo>
                  <a:cubicBezTo>
                    <a:pt x="159836" y="217539"/>
                    <a:pt x="104499" y="194616"/>
                    <a:pt x="63710" y="153827"/>
                  </a:cubicBezTo>
                  <a:close/>
                  <a:moveTo>
                    <a:pt x="63710" y="281250"/>
                  </a:moveTo>
                  <a:cubicBezTo>
                    <a:pt x="22895" y="322066"/>
                    <a:pt x="0" y="377375"/>
                    <a:pt x="0" y="435077"/>
                  </a:cubicBezTo>
                  <a:lnTo>
                    <a:pt x="217539" y="435077"/>
                  </a:lnTo>
                  <a:lnTo>
                    <a:pt x="435077" y="435077"/>
                  </a:lnTo>
                  <a:cubicBezTo>
                    <a:pt x="435077" y="377375"/>
                    <a:pt x="412154" y="322066"/>
                    <a:pt x="371339" y="281250"/>
                  </a:cubicBezTo>
                  <a:cubicBezTo>
                    <a:pt x="330550" y="240462"/>
                    <a:pt x="275213" y="217539"/>
                    <a:pt x="217539" y="217539"/>
                  </a:cubicBezTo>
                  <a:cubicBezTo>
                    <a:pt x="159836" y="217539"/>
                    <a:pt x="104499" y="240462"/>
                    <a:pt x="63710" y="281250"/>
                  </a:cubicBezTo>
                  <a:close/>
                </a:path>
              </a:pathLst>
            </a:custGeom>
            <a:grpFill/>
            <a:ln w="27192" cap="flat">
              <a:noFill/>
              <a:prstDash val="solid"/>
              <a:miter/>
            </a:ln>
          </p:spPr>
          <p:txBody>
            <a:bodyPr rtlCol="0" anchor="ctr"/>
            <a:lstStyle/>
            <a:p>
              <a:endParaRPr lang="uk-UA" sz="900">
                <a:solidFill>
                  <a:schemeClr val="bg1"/>
                </a:solidFill>
              </a:endParaRPr>
            </a:p>
          </p:txBody>
        </p:sp>
        <p:sp>
          <p:nvSpPr>
            <p:cNvPr id="229" name="Freeform: Shape 228">
              <a:extLst>
                <a:ext uri="{FF2B5EF4-FFF2-40B4-BE49-F238E27FC236}">
                  <a16:creationId xmlns:a16="http://schemas.microsoft.com/office/drawing/2014/main" id="{65BA4D5C-8249-5B14-598B-394106E3CDF2}"/>
                </a:ext>
              </a:extLst>
            </p:cNvPr>
            <p:cNvSpPr/>
            <p:nvPr/>
          </p:nvSpPr>
          <p:spPr>
            <a:xfrm>
              <a:off x="18239029" y="4579374"/>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30" name="Freeform: Shape 229">
              <a:extLst>
                <a:ext uri="{FF2B5EF4-FFF2-40B4-BE49-F238E27FC236}">
                  <a16:creationId xmlns:a16="http://schemas.microsoft.com/office/drawing/2014/main" id="{6992B157-23DD-CFE0-FC4F-75C40E85BD74}"/>
                </a:ext>
              </a:extLst>
            </p:cNvPr>
            <p:cNvSpPr/>
            <p:nvPr/>
          </p:nvSpPr>
          <p:spPr>
            <a:xfrm>
              <a:off x="17368874" y="4579374"/>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39 w 435077"/>
                <a:gd name="connsiteY3" fmla="*/ 27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0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0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39" y="27"/>
                  </a:lnTo>
                  <a:lnTo>
                    <a:pt x="435077" y="217539"/>
                  </a:lnTo>
                  <a:lnTo>
                    <a:pt x="217539" y="435077"/>
                  </a:lnTo>
                  <a:lnTo>
                    <a:pt x="435077" y="435077"/>
                  </a:lnTo>
                  <a:close/>
                  <a:moveTo>
                    <a:pt x="0" y="217539"/>
                  </a:moveTo>
                  <a:lnTo>
                    <a:pt x="0" y="0"/>
                  </a:lnTo>
                  <a:lnTo>
                    <a:pt x="217510" y="217539"/>
                  </a:lnTo>
                  <a:lnTo>
                    <a:pt x="0" y="217539"/>
                  </a:lnTo>
                  <a:close/>
                  <a:moveTo>
                    <a:pt x="0" y="435077"/>
                  </a:moveTo>
                  <a:lnTo>
                    <a:pt x="0" y="217539"/>
                  </a:lnTo>
                  <a:lnTo>
                    <a:pt x="217510"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31" name="Freeform: Shape 230">
              <a:extLst>
                <a:ext uri="{FF2B5EF4-FFF2-40B4-BE49-F238E27FC236}">
                  <a16:creationId xmlns:a16="http://schemas.microsoft.com/office/drawing/2014/main" id="{23377B14-B30B-1947-EC88-72323468F493}"/>
                </a:ext>
              </a:extLst>
            </p:cNvPr>
            <p:cNvSpPr/>
            <p:nvPr/>
          </p:nvSpPr>
          <p:spPr>
            <a:xfrm>
              <a:off x="19109210" y="4579374"/>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2"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32" name="Freeform: Shape 231">
              <a:extLst>
                <a:ext uri="{FF2B5EF4-FFF2-40B4-BE49-F238E27FC236}">
                  <a16:creationId xmlns:a16="http://schemas.microsoft.com/office/drawing/2014/main" id="{B5C2FEDD-BBF2-3A95-6FE9-27D27E9DCA82}"/>
                </a:ext>
              </a:extLst>
            </p:cNvPr>
            <p:cNvSpPr/>
            <p:nvPr/>
          </p:nvSpPr>
          <p:spPr>
            <a:xfrm>
              <a:off x="19979365" y="457937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8"/>
                    <a:pt x="0" y="57702"/>
                    <a:pt x="0" y="0"/>
                  </a:cubicBezTo>
                  <a:lnTo>
                    <a:pt x="217539" y="0"/>
                  </a:lnTo>
                  <a:lnTo>
                    <a:pt x="435077" y="0"/>
                  </a:lnTo>
                  <a:cubicBezTo>
                    <a:pt x="435077" y="57702"/>
                    <a:pt x="412154" y="113038"/>
                    <a:pt x="371365" y="153827"/>
                  </a:cubicBezTo>
                  <a:cubicBezTo>
                    <a:pt x="330550" y="194616"/>
                    <a:pt x="275241" y="217539"/>
                    <a:pt x="217539" y="217539"/>
                  </a:cubicBezTo>
                  <a:cubicBezTo>
                    <a:pt x="159836" y="217539"/>
                    <a:pt x="104501" y="194616"/>
                    <a:pt x="63712" y="153827"/>
                  </a:cubicBezTo>
                  <a:close/>
                  <a:moveTo>
                    <a:pt x="63712" y="281250"/>
                  </a:moveTo>
                  <a:cubicBezTo>
                    <a:pt x="22924" y="322066"/>
                    <a:pt x="0" y="377375"/>
                    <a:pt x="0" y="435077"/>
                  </a:cubicBezTo>
                  <a:lnTo>
                    <a:pt x="217539" y="435077"/>
                  </a:lnTo>
                  <a:lnTo>
                    <a:pt x="435077" y="435077"/>
                  </a:lnTo>
                  <a:cubicBezTo>
                    <a:pt x="435077" y="377375"/>
                    <a:pt x="412154" y="322066"/>
                    <a:pt x="371365" y="281250"/>
                  </a:cubicBezTo>
                  <a:cubicBezTo>
                    <a:pt x="330550" y="240462"/>
                    <a:pt x="275241" y="217539"/>
                    <a:pt x="217539" y="217539"/>
                  </a:cubicBezTo>
                  <a:cubicBezTo>
                    <a:pt x="159836" y="217539"/>
                    <a:pt x="104501" y="240462"/>
                    <a:pt x="63712" y="281250"/>
                  </a:cubicBezTo>
                  <a:close/>
                </a:path>
              </a:pathLst>
            </a:custGeom>
            <a:grpFill/>
            <a:ln w="27192" cap="flat">
              <a:noFill/>
              <a:prstDash val="solid"/>
              <a:miter/>
            </a:ln>
          </p:spPr>
          <p:txBody>
            <a:bodyPr rtlCol="0" anchor="ctr"/>
            <a:lstStyle/>
            <a:p>
              <a:endParaRPr lang="uk-UA" sz="900">
                <a:solidFill>
                  <a:schemeClr val="bg1"/>
                </a:solidFill>
              </a:endParaRPr>
            </a:p>
          </p:txBody>
        </p:sp>
        <p:sp>
          <p:nvSpPr>
            <p:cNvPr id="233" name="Freeform: Shape 232">
              <a:extLst>
                <a:ext uri="{FF2B5EF4-FFF2-40B4-BE49-F238E27FC236}">
                  <a16:creationId xmlns:a16="http://schemas.microsoft.com/office/drawing/2014/main" id="{C78DFC0D-DFCA-C239-659D-EDB7C53C61D7}"/>
                </a:ext>
              </a:extLst>
            </p:cNvPr>
            <p:cNvSpPr/>
            <p:nvPr/>
          </p:nvSpPr>
          <p:spPr>
            <a:xfrm>
              <a:off x="21719702" y="4579374"/>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0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0"/>
                  </a:lnTo>
                  <a:lnTo>
                    <a:pt x="217512"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34" name="Freeform: Shape 233">
              <a:extLst>
                <a:ext uri="{FF2B5EF4-FFF2-40B4-BE49-F238E27FC236}">
                  <a16:creationId xmlns:a16="http://schemas.microsoft.com/office/drawing/2014/main" id="{F4B00406-302A-6F76-D99B-5705E1D1FFF8}"/>
                </a:ext>
              </a:extLst>
            </p:cNvPr>
            <p:cNvSpPr/>
            <p:nvPr/>
          </p:nvSpPr>
          <p:spPr>
            <a:xfrm>
              <a:off x="20849520" y="4579374"/>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5 w 435077"/>
                <a:gd name="connsiteY3" fmla="*/ 27 h 435077"/>
                <a:gd name="connsiteX4" fmla="*/ 435077 w 435077"/>
                <a:gd name="connsiteY4" fmla="*/ 217539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5" y="27"/>
                  </a:lnTo>
                  <a:lnTo>
                    <a:pt x="435077" y="217539"/>
                  </a:lnTo>
                  <a:lnTo>
                    <a:pt x="217565"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35" name="Freeform: Shape 234">
              <a:extLst>
                <a:ext uri="{FF2B5EF4-FFF2-40B4-BE49-F238E27FC236}">
                  <a16:creationId xmlns:a16="http://schemas.microsoft.com/office/drawing/2014/main" id="{3C229242-6206-E5F2-B539-B89259F93A8A}"/>
                </a:ext>
              </a:extLst>
            </p:cNvPr>
            <p:cNvSpPr/>
            <p:nvPr/>
          </p:nvSpPr>
          <p:spPr>
            <a:xfrm>
              <a:off x="22589856" y="4579374"/>
              <a:ext cx="435077" cy="435077"/>
            </a:xfrm>
            <a:custGeom>
              <a:avLst/>
              <a:gdLst>
                <a:gd name="connsiteX0" fmla="*/ 435077 w 435077"/>
                <a:gd name="connsiteY0" fmla="*/ 435077 h 435077"/>
                <a:gd name="connsiteX1" fmla="*/ 435077 w 435077"/>
                <a:gd name="connsiteY1" fmla="*/ 0 h 435077"/>
                <a:gd name="connsiteX2" fmla="*/ 217567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7"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36" name="Freeform: Shape 235">
              <a:extLst>
                <a:ext uri="{FF2B5EF4-FFF2-40B4-BE49-F238E27FC236}">
                  <a16:creationId xmlns:a16="http://schemas.microsoft.com/office/drawing/2014/main" id="{6E529A83-4FDD-0610-A851-C8730D1D817B}"/>
                </a:ext>
              </a:extLst>
            </p:cNvPr>
            <p:cNvSpPr/>
            <p:nvPr/>
          </p:nvSpPr>
          <p:spPr>
            <a:xfrm>
              <a:off x="23460039" y="457937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895" y="113038"/>
                    <a:pt x="0" y="57702"/>
                    <a:pt x="0" y="0"/>
                  </a:cubicBezTo>
                  <a:lnTo>
                    <a:pt x="217539" y="0"/>
                  </a:lnTo>
                  <a:lnTo>
                    <a:pt x="435077" y="0"/>
                  </a:lnTo>
                  <a:cubicBezTo>
                    <a:pt x="435077" y="57702"/>
                    <a:pt x="412154" y="113038"/>
                    <a:pt x="371339" y="153827"/>
                  </a:cubicBezTo>
                  <a:cubicBezTo>
                    <a:pt x="330550" y="194616"/>
                    <a:pt x="275213" y="217539"/>
                    <a:pt x="217539" y="217539"/>
                  </a:cubicBezTo>
                  <a:cubicBezTo>
                    <a:pt x="159836" y="217539"/>
                    <a:pt x="104501" y="194616"/>
                    <a:pt x="63712" y="153827"/>
                  </a:cubicBezTo>
                  <a:close/>
                  <a:moveTo>
                    <a:pt x="63712" y="281250"/>
                  </a:moveTo>
                  <a:cubicBezTo>
                    <a:pt x="22895" y="322066"/>
                    <a:pt x="0" y="377375"/>
                    <a:pt x="0" y="435077"/>
                  </a:cubicBezTo>
                  <a:lnTo>
                    <a:pt x="217539" y="435077"/>
                  </a:lnTo>
                  <a:lnTo>
                    <a:pt x="435077" y="435077"/>
                  </a:lnTo>
                  <a:cubicBezTo>
                    <a:pt x="435077" y="377375"/>
                    <a:pt x="412154" y="322066"/>
                    <a:pt x="371339" y="281250"/>
                  </a:cubicBezTo>
                  <a:cubicBezTo>
                    <a:pt x="330550" y="240462"/>
                    <a:pt x="275213" y="217539"/>
                    <a:pt x="217539" y="217539"/>
                  </a:cubicBezTo>
                  <a:cubicBezTo>
                    <a:pt x="159836" y="217539"/>
                    <a:pt x="104501" y="240462"/>
                    <a:pt x="63712" y="281250"/>
                  </a:cubicBezTo>
                  <a:close/>
                </a:path>
              </a:pathLst>
            </a:custGeom>
            <a:grpFill/>
            <a:ln w="27192" cap="flat">
              <a:noFill/>
              <a:prstDash val="solid"/>
              <a:miter/>
            </a:ln>
          </p:spPr>
          <p:txBody>
            <a:bodyPr rtlCol="0" anchor="ctr"/>
            <a:lstStyle/>
            <a:p>
              <a:endParaRPr lang="uk-UA" sz="900">
                <a:solidFill>
                  <a:schemeClr val="bg1"/>
                </a:solidFill>
              </a:endParaRPr>
            </a:p>
          </p:txBody>
        </p:sp>
        <p:sp>
          <p:nvSpPr>
            <p:cNvPr id="237" name="Freeform: Shape 236">
              <a:extLst>
                <a:ext uri="{FF2B5EF4-FFF2-40B4-BE49-F238E27FC236}">
                  <a16:creationId xmlns:a16="http://schemas.microsoft.com/office/drawing/2014/main" id="{069509CA-74E3-B077-3B23-5971A5290B81}"/>
                </a:ext>
              </a:extLst>
            </p:cNvPr>
            <p:cNvSpPr/>
            <p:nvPr/>
          </p:nvSpPr>
          <p:spPr>
            <a:xfrm>
              <a:off x="24330194" y="4579374"/>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39 w 435077"/>
                <a:gd name="connsiteY3" fmla="*/ 27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39" y="27"/>
                  </a:lnTo>
                  <a:lnTo>
                    <a:pt x="435077" y="217539"/>
                  </a:lnTo>
                  <a:lnTo>
                    <a:pt x="217539"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38" name="Freeform: Shape 237">
              <a:extLst>
                <a:ext uri="{FF2B5EF4-FFF2-40B4-BE49-F238E27FC236}">
                  <a16:creationId xmlns:a16="http://schemas.microsoft.com/office/drawing/2014/main" id="{14D5C593-DEC1-8850-4490-F7643075BD95}"/>
                </a:ext>
              </a:extLst>
            </p:cNvPr>
            <p:cNvSpPr/>
            <p:nvPr/>
          </p:nvSpPr>
          <p:spPr>
            <a:xfrm>
              <a:off x="835769" y="718983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39" name="Freeform: Shape 238">
              <a:extLst>
                <a:ext uri="{FF2B5EF4-FFF2-40B4-BE49-F238E27FC236}">
                  <a16:creationId xmlns:a16="http://schemas.microsoft.com/office/drawing/2014/main" id="{9DC4D929-2359-69D2-F337-80D784FC3FEB}"/>
                </a:ext>
              </a:extLst>
            </p:cNvPr>
            <p:cNvSpPr/>
            <p:nvPr/>
          </p:nvSpPr>
          <p:spPr>
            <a:xfrm>
              <a:off x="-34398" y="7189838"/>
              <a:ext cx="435090" cy="435077"/>
            </a:xfrm>
            <a:custGeom>
              <a:avLst/>
              <a:gdLst>
                <a:gd name="connsiteX0" fmla="*/ 0 w 435090"/>
                <a:gd name="connsiteY0" fmla="*/ 435077 h 435077"/>
                <a:gd name="connsiteX1" fmla="*/ 217525 w 435090"/>
                <a:gd name="connsiteY1" fmla="*/ 435077 h 435077"/>
                <a:gd name="connsiteX2" fmla="*/ 217525 w 435090"/>
                <a:gd name="connsiteY2" fmla="*/ 217539 h 435077"/>
                <a:gd name="connsiteX3" fmla="*/ 0 w 435090"/>
                <a:gd name="connsiteY3" fmla="*/ 435077 h 435077"/>
                <a:gd name="connsiteX4" fmla="*/ 217525 w 435090"/>
                <a:gd name="connsiteY4" fmla="*/ 0 h 435077"/>
                <a:gd name="connsiteX5" fmla="*/ 3 w 435090"/>
                <a:gd name="connsiteY5" fmla="*/ 0 h 435077"/>
                <a:gd name="connsiteX6" fmla="*/ 217525 w 435090"/>
                <a:gd name="connsiteY6" fmla="*/ 217539 h 435077"/>
                <a:gd name="connsiteX7" fmla="*/ 217525 w 435090"/>
                <a:gd name="connsiteY7" fmla="*/ 0 h 435077"/>
                <a:gd name="connsiteX8" fmla="*/ 435091 w 435090"/>
                <a:gd name="connsiteY8" fmla="*/ 435077 h 435077"/>
                <a:gd name="connsiteX9" fmla="*/ 217552 w 435090"/>
                <a:gd name="connsiteY9" fmla="*/ 435077 h 435077"/>
                <a:gd name="connsiteX10" fmla="*/ 435091 w 435090"/>
                <a:gd name="connsiteY10" fmla="*/ 217539 h 435077"/>
                <a:gd name="connsiteX11" fmla="*/ 435091 w 435090"/>
                <a:gd name="connsiteY11" fmla="*/ 435077 h 435077"/>
                <a:gd name="connsiteX12" fmla="*/ 435091 w 435090"/>
                <a:gd name="connsiteY12" fmla="*/ 0 h 435077"/>
                <a:gd name="connsiteX13" fmla="*/ 217552 w 435090"/>
                <a:gd name="connsiteY13" fmla="*/ 0 h 435077"/>
                <a:gd name="connsiteX14" fmla="*/ 435091 w 435090"/>
                <a:gd name="connsiteY14" fmla="*/ 217539 h 435077"/>
                <a:gd name="connsiteX15" fmla="*/ 435091 w 435090"/>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90" h="435077">
                  <a:moveTo>
                    <a:pt x="0" y="435077"/>
                  </a:moveTo>
                  <a:lnTo>
                    <a:pt x="217525" y="435077"/>
                  </a:lnTo>
                  <a:lnTo>
                    <a:pt x="217525" y="217539"/>
                  </a:lnTo>
                  <a:lnTo>
                    <a:pt x="0" y="435077"/>
                  </a:lnTo>
                  <a:close/>
                  <a:moveTo>
                    <a:pt x="217525" y="0"/>
                  </a:moveTo>
                  <a:lnTo>
                    <a:pt x="3" y="0"/>
                  </a:lnTo>
                  <a:lnTo>
                    <a:pt x="217525" y="217539"/>
                  </a:lnTo>
                  <a:lnTo>
                    <a:pt x="217525" y="0"/>
                  </a:lnTo>
                  <a:close/>
                  <a:moveTo>
                    <a:pt x="435091" y="435077"/>
                  </a:moveTo>
                  <a:lnTo>
                    <a:pt x="217552" y="435077"/>
                  </a:lnTo>
                  <a:lnTo>
                    <a:pt x="435091" y="217539"/>
                  </a:lnTo>
                  <a:lnTo>
                    <a:pt x="435091" y="435077"/>
                  </a:lnTo>
                  <a:close/>
                  <a:moveTo>
                    <a:pt x="435091" y="0"/>
                  </a:moveTo>
                  <a:lnTo>
                    <a:pt x="217552" y="0"/>
                  </a:lnTo>
                  <a:lnTo>
                    <a:pt x="435091" y="217539"/>
                  </a:lnTo>
                  <a:lnTo>
                    <a:pt x="435091" y="0"/>
                  </a:lnTo>
                  <a:close/>
                </a:path>
              </a:pathLst>
            </a:custGeom>
            <a:grpFill/>
            <a:ln w="27192" cap="flat">
              <a:noFill/>
              <a:prstDash val="solid"/>
              <a:miter/>
            </a:ln>
          </p:spPr>
          <p:txBody>
            <a:bodyPr rtlCol="0" anchor="ctr"/>
            <a:lstStyle/>
            <a:p>
              <a:endParaRPr lang="uk-UA" sz="900">
                <a:solidFill>
                  <a:schemeClr val="bg1"/>
                </a:solidFill>
              </a:endParaRPr>
            </a:p>
          </p:txBody>
        </p:sp>
        <p:sp>
          <p:nvSpPr>
            <p:cNvPr id="240" name="Freeform: Shape 239">
              <a:extLst>
                <a:ext uri="{FF2B5EF4-FFF2-40B4-BE49-F238E27FC236}">
                  <a16:creationId xmlns:a16="http://schemas.microsoft.com/office/drawing/2014/main" id="{6480F02E-401B-2275-BC70-52144BD4F0CC}"/>
                </a:ext>
              </a:extLst>
            </p:cNvPr>
            <p:cNvSpPr/>
            <p:nvPr/>
          </p:nvSpPr>
          <p:spPr>
            <a:xfrm>
              <a:off x="1705924" y="7189838"/>
              <a:ext cx="435077" cy="435077"/>
            </a:xfrm>
            <a:custGeom>
              <a:avLst/>
              <a:gdLst>
                <a:gd name="connsiteX0" fmla="*/ 371366 w 435077"/>
                <a:gd name="connsiteY0" fmla="*/ 63711 h 435077"/>
                <a:gd name="connsiteX1" fmla="*/ 435077 w 435077"/>
                <a:gd name="connsiteY1" fmla="*/ 217539 h 435077"/>
                <a:gd name="connsiteX2" fmla="*/ 218952 w 435077"/>
                <a:gd name="connsiteY2" fmla="*/ 217539 h 435077"/>
                <a:gd name="connsiteX3" fmla="*/ 371366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1 w 435077"/>
                <a:gd name="connsiteY7" fmla="*/ 281250 h 435077"/>
                <a:gd name="connsiteX8" fmla="*/ 216152 w 435077"/>
                <a:gd name="connsiteY8" fmla="*/ 217539 h 435077"/>
                <a:gd name="connsiteX9" fmla="*/ 0 w 435077"/>
                <a:gd name="connsiteY9" fmla="*/ 217539 h 435077"/>
                <a:gd name="connsiteX10" fmla="*/ 63711 w 435077"/>
                <a:gd name="connsiteY10" fmla="*/ 63711 h 435077"/>
                <a:gd name="connsiteX11" fmla="*/ 217539 w 435077"/>
                <a:gd name="connsiteY11" fmla="*/ 0 h 435077"/>
                <a:gd name="connsiteX12" fmla="*/ 371366 w 435077"/>
                <a:gd name="connsiteY12" fmla="*/ 63711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1"/>
                  </a:moveTo>
                  <a:cubicBezTo>
                    <a:pt x="412154" y="104527"/>
                    <a:pt x="435077" y="159836"/>
                    <a:pt x="435077" y="217539"/>
                  </a:cubicBezTo>
                  <a:lnTo>
                    <a:pt x="218952" y="217539"/>
                  </a:lnTo>
                  <a:cubicBezTo>
                    <a:pt x="276138" y="217920"/>
                    <a:pt x="330903" y="240788"/>
                    <a:pt x="371366" y="281250"/>
                  </a:cubicBezTo>
                  <a:cubicBezTo>
                    <a:pt x="412154" y="322039"/>
                    <a:pt x="435077" y="377375"/>
                    <a:pt x="435077" y="435077"/>
                  </a:cubicBezTo>
                  <a:lnTo>
                    <a:pt x="217539" y="435077"/>
                  </a:lnTo>
                  <a:lnTo>
                    <a:pt x="0" y="435077"/>
                  </a:lnTo>
                  <a:cubicBezTo>
                    <a:pt x="0" y="377375"/>
                    <a:pt x="22923" y="322039"/>
                    <a:pt x="63711" y="281250"/>
                  </a:cubicBezTo>
                  <a:cubicBezTo>
                    <a:pt x="104201" y="240788"/>
                    <a:pt x="158966" y="217920"/>
                    <a:pt x="216152" y="217539"/>
                  </a:cubicBezTo>
                  <a:lnTo>
                    <a:pt x="0" y="217539"/>
                  </a:lnTo>
                  <a:cubicBezTo>
                    <a:pt x="0" y="159836"/>
                    <a:pt x="22923" y="104527"/>
                    <a:pt x="63711" y="63711"/>
                  </a:cubicBezTo>
                  <a:cubicBezTo>
                    <a:pt x="104527" y="22923"/>
                    <a:pt x="159836" y="0"/>
                    <a:pt x="217539" y="0"/>
                  </a:cubicBezTo>
                  <a:cubicBezTo>
                    <a:pt x="275241" y="0"/>
                    <a:pt x="330577" y="22923"/>
                    <a:pt x="371366" y="63711"/>
                  </a:cubicBezTo>
                  <a:close/>
                </a:path>
              </a:pathLst>
            </a:custGeom>
            <a:grpFill/>
            <a:ln w="27192" cap="flat">
              <a:noFill/>
              <a:prstDash val="solid"/>
              <a:miter/>
            </a:ln>
          </p:spPr>
          <p:txBody>
            <a:bodyPr rtlCol="0" anchor="ctr"/>
            <a:lstStyle/>
            <a:p>
              <a:endParaRPr lang="uk-UA" sz="900">
                <a:solidFill>
                  <a:schemeClr val="bg1"/>
                </a:solidFill>
              </a:endParaRPr>
            </a:p>
          </p:txBody>
        </p:sp>
        <p:sp>
          <p:nvSpPr>
            <p:cNvPr id="241" name="Freeform: Shape 240">
              <a:extLst>
                <a:ext uri="{FF2B5EF4-FFF2-40B4-BE49-F238E27FC236}">
                  <a16:creationId xmlns:a16="http://schemas.microsoft.com/office/drawing/2014/main" id="{2773E8F4-3190-CA5D-8C13-A693077DF392}"/>
                </a:ext>
              </a:extLst>
            </p:cNvPr>
            <p:cNvSpPr/>
            <p:nvPr/>
          </p:nvSpPr>
          <p:spPr>
            <a:xfrm>
              <a:off x="2576106" y="718983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50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50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50" y="217539"/>
                  </a:lnTo>
                  <a:lnTo>
                    <a:pt x="435077" y="217539"/>
                  </a:lnTo>
                  <a:lnTo>
                    <a:pt x="435077" y="217539"/>
                  </a:lnTo>
                  <a:lnTo>
                    <a:pt x="435077" y="217539"/>
                  </a:lnTo>
                  <a:lnTo>
                    <a:pt x="435050"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242" name="Freeform: Shape 241">
              <a:extLst>
                <a:ext uri="{FF2B5EF4-FFF2-40B4-BE49-F238E27FC236}">
                  <a16:creationId xmlns:a16="http://schemas.microsoft.com/office/drawing/2014/main" id="{5D4B4103-29BB-EE15-A876-879B4AE0000D}"/>
                </a:ext>
              </a:extLst>
            </p:cNvPr>
            <p:cNvSpPr/>
            <p:nvPr/>
          </p:nvSpPr>
          <p:spPr>
            <a:xfrm>
              <a:off x="4316416" y="7189838"/>
              <a:ext cx="435077" cy="435077"/>
            </a:xfrm>
            <a:custGeom>
              <a:avLst/>
              <a:gdLst>
                <a:gd name="connsiteX0" fmla="*/ 217565 w 435077"/>
                <a:gd name="connsiteY0" fmla="*/ 0 h 435077"/>
                <a:gd name="connsiteX1" fmla="*/ 217539 w 435077"/>
                <a:gd name="connsiteY1" fmla="*/ 0 h 435077"/>
                <a:gd name="connsiteX2" fmla="*/ 27 w 435077"/>
                <a:gd name="connsiteY2" fmla="*/ 0 h 435077"/>
                <a:gd name="connsiteX3" fmla="*/ 27 w 435077"/>
                <a:gd name="connsiteY3" fmla="*/ 217539 h 435077"/>
                <a:gd name="connsiteX4" fmla="*/ 217565 w 435077"/>
                <a:gd name="connsiteY4" fmla="*/ 0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65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65" y="0"/>
                  </a:moveTo>
                  <a:lnTo>
                    <a:pt x="217539" y="0"/>
                  </a:lnTo>
                  <a:lnTo>
                    <a:pt x="27" y="0"/>
                  </a:lnTo>
                  <a:lnTo>
                    <a:pt x="27" y="217539"/>
                  </a:lnTo>
                  <a:lnTo>
                    <a:pt x="217565" y="0"/>
                  </a:lnTo>
                  <a:lnTo>
                    <a:pt x="435077" y="217539"/>
                  </a:lnTo>
                  <a:lnTo>
                    <a:pt x="217539" y="435077"/>
                  </a:lnTo>
                  <a:lnTo>
                    <a:pt x="0" y="217539"/>
                  </a:lnTo>
                  <a:lnTo>
                    <a:pt x="0" y="435077"/>
                  </a:lnTo>
                  <a:lnTo>
                    <a:pt x="217539" y="435077"/>
                  </a:lnTo>
                  <a:lnTo>
                    <a:pt x="435077" y="435077"/>
                  </a:lnTo>
                  <a:lnTo>
                    <a:pt x="435077" y="217539"/>
                  </a:lnTo>
                  <a:lnTo>
                    <a:pt x="435077" y="0"/>
                  </a:lnTo>
                  <a:lnTo>
                    <a:pt x="217565" y="0"/>
                  </a:lnTo>
                  <a:close/>
                </a:path>
              </a:pathLst>
            </a:custGeom>
            <a:grpFill/>
            <a:ln w="27192" cap="flat">
              <a:noFill/>
              <a:prstDash val="solid"/>
              <a:miter/>
            </a:ln>
          </p:spPr>
          <p:txBody>
            <a:bodyPr rtlCol="0" anchor="ctr"/>
            <a:lstStyle/>
            <a:p>
              <a:endParaRPr lang="uk-UA" sz="900">
                <a:solidFill>
                  <a:schemeClr val="bg1"/>
                </a:solidFill>
              </a:endParaRPr>
            </a:p>
          </p:txBody>
        </p:sp>
        <p:sp>
          <p:nvSpPr>
            <p:cNvPr id="243" name="Freeform: Shape 242">
              <a:extLst>
                <a:ext uri="{FF2B5EF4-FFF2-40B4-BE49-F238E27FC236}">
                  <a16:creationId xmlns:a16="http://schemas.microsoft.com/office/drawing/2014/main" id="{6D170570-D51A-6C68-273B-E76C9C9462B3}"/>
                </a:ext>
              </a:extLst>
            </p:cNvPr>
            <p:cNvSpPr/>
            <p:nvPr/>
          </p:nvSpPr>
          <p:spPr>
            <a:xfrm>
              <a:off x="3446261" y="7189838"/>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66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66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66" y="435077"/>
                  </a:lnTo>
                  <a:lnTo>
                    <a:pt x="435077" y="217539"/>
                  </a:lnTo>
                  <a:lnTo>
                    <a:pt x="435077" y="435077"/>
                  </a:lnTo>
                  <a:close/>
                  <a:moveTo>
                    <a:pt x="435077" y="0"/>
                  </a:moveTo>
                  <a:lnTo>
                    <a:pt x="217566" y="0"/>
                  </a:lnTo>
                  <a:lnTo>
                    <a:pt x="435077" y="217539"/>
                  </a:lnTo>
                  <a:lnTo>
                    <a:pt x="435077" y="0"/>
                  </a:lnTo>
                  <a:close/>
                </a:path>
              </a:pathLst>
            </a:custGeom>
            <a:grpFill/>
            <a:ln w="27192" cap="flat">
              <a:noFill/>
              <a:prstDash val="solid"/>
              <a:miter/>
            </a:ln>
          </p:spPr>
          <p:txBody>
            <a:bodyPr rtlCol="0" anchor="ctr"/>
            <a:lstStyle/>
            <a:p>
              <a:endParaRPr lang="uk-UA" sz="900">
                <a:solidFill>
                  <a:schemeClr val="bg1"/>
                </a:solidFill>
              </a:endParaRPr>
            </a:p>
          </p:txBody>
        </p:sp>
        <p:sp>
          <p:nvSpPr>
            <p:cNvPr id="244" name="Freeform: Shape 243">
              <a:extLst>
                <a:ext uri="{FF2B5EF4-FFF2-40B4-BE49-F238E27FC236}">
                  <a16:creationId xmlns:a16="http://schemas.microsoft.com/office/drawing/2014/main" id="{3CA358EF-0C33-67AB-618F-466884438831}"/>
                </a:ext>
              </a:extLst>
            </p:cNvPr>
            <p:cNvSpPr/>
            <p:nvPr/>
          </p:nvSpPr>
          <p:spPr>
            <a:xfrm>
              <a:off x="5186597" y="7189838"/>
              <a:ext cx="435077" cy="435077"/>
            </a:xfrm>
            <a:custGeom>
              <a:avLst/>
              <a:gdLst>
                <a:gd name="connsiteX0" fmla="*/ 371366 w 435077"/>
                <a:gd name="connsiteY0" fmla="*/ 63711 h 435077"/>
                <a:gd name="connsiteX1" fmla="*/ 435077 w 435077"/>
                <a:gd name="connsiteY1" fmla="*/ 217539 h 435077"/>
                <a:gd name="connsiteX2" fmla="*/ 218953 w 435077"/>
                <a:gd name="connsiteY2" fmla="*/ 217539 h 435077"/>
                <a:gd name="connsiteX3" fmla="*/ 371366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25 w 435077"/>
                <a:gd name="connsiteY8" fmla="*/ 217539 h 435077"/>
                <a:gd name="connsiteX9" fmla="*/ 0 w 435077"/>
                <a:gd name="connsiteY9" fmla="*/ 217539 h 435077"/>
                <a:gd name="connsiteX10" fmla="*/ 63712 w 435077"/>
                <a:gd name="connsiteY10" fmla="*/ 63711 h 435077"/>
                <a:gd name="connsiteX11" fmla="*/ 217539 w 435077"/>
                <a:gd name="connsiteY11" fmla="*/ 0 h 435077"/>
                <a:gd name="connsiteX12" fmla="*/ 371366 w 435077"/>
                <a:gd name="connsiteY12" fmla="*/ 63711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1"/>
                  </a:moveTo>
                  <a:cubicBezTo>
                    <a:pt x="412155" y="104527"/>
                    <a:pt x="435077" y="159836"/>
                    <a:pt x="435077" y="217539"/>
                  </a:cubicBezTo>
                  <a:lnTo>
                    <a:pt x="218953" y="217539"/>
                  </a:lnTo>
                  <a:cubicBezTo>
                    <a:pt x="276138" y="217920"/>
                    <a:pt x="330904" y="240788"/>
                    <a:pt x="371366" y="281250"/>
                  </a:cubicBezTo>
                  <a:cubicBezTo>
                    <a:pt x="412155" y="322039"/>
                    <a:pt x="435077" y="377375"/>
                    <a:pt x="435077" y="435077"/>
                  </a:cubicBezTo>
                  <a:lnTo>
                    <a:pt x="217539" y="435077"/>
                  </a:lnTo>
                  <a:lnTo>
                    <a:pt x="0" y="435077"/>
                  </a:lnTo>
                  <a:cubicBezTo>
                    <a:pt x="0" y="377375"/>
                    <a:pt x="22924" y="322039"/>
                    <a:pt x="63712" y="281250"/>
                  </a:cubicBezTo>
                  <a:cubicBezTo>
                    <a:pt x="104175" y="240788"/>
                    <a:pt x="158939" y="217920"/>
                    <a:pt x="216125" y="217539"/>
                  </a:cubicBezTo>
                  <a:lnTo>
                    <a:pt x="0" y="217539"/>
                  </a:lnTo>
                  <a:cubicBezTo>
                    <a:pt x="0" y="159836"/>
                    <a:pt x="22924" y="104527"/>
                    <a:pt x="63712" y="63711"/>
                  </a:cubicBezTo>
                  <a:cubicBezTo>
                    <a:pt x="104501" y="22923"/>
                    <a:pt x="159837" y="0"/>
                    <a:pt x="217539" y="0"/>
                  </a:cubicBezTo>
                  <a:cubicBezTo>
                    <a:pt x="275241" y="0"/>
                    <a:pt x="330550" y="22923"/>
                    <a:pt x="371366" y="63711"/>
                  </a:cubicBezTo>
                  <a:close/>
                </a:path>
              </a:pathLst>
            </a:custGeom>
            <a:grpFill/>
            <a:ln w="27192" cap="flat">
              <a:noFill/>
              <a:prstDash val="solid"/>
              <a:miter/>
            </a:ln>
          </p:spPr>
          <p:txBody>
            <a:bodyPr rtlCol="0" anchor="ctr"/>
            <a:lstStyle/>
            <a:p>
              <a:endParaRPr lang="uk-UA" sz="900">
                <a:solidFill>
                  <a:schemeClr val="bg1"/>
                </a:solidFill>
              </a:endParaRPr>
            </a:p>
          </p:txBody>
        </p:sp>
        <p:sp>
          <p:nvSpPr>
            <p:cNvPr id="245" name="Freeform: Shape 244">
              <a:extLst>
                <a:ext uri="{FF2B5EF4-FFF2-40B4-BE49-F238E27FC236}">
                  <a16:creationId xmlns:a16="http://schemas.microsoft.com/office/drawing/2014/main" id="{3C92F9E4-676A-7493-5B61-58387A151295}"/>
                </a:ext>
              </a:extLst>
            </p:cNvPr>
            <p:cNvSpPr/>
            <p:nvPr/>
          </p:nvSpPr>
          <p:spPr>
            <a:xfrm>
              <a:off x="6056752" y="7189838"/>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0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39 h 435077"/>
                <a:gd name="connsiteX9" fmla="*/ 435077 w 435077"/>
                <a:gd name="connsiteY9" fmla="*/ 217539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0"/>
                  </a:lnTo>
                  <a:lnTo>
                    <a:pt x="435077" y="217539"/>
                  </a:lnTo>
                  <a:lnTo>
                    <a:pt x="435077" y="217539"/>
                  </a:lnTo>
                  <a:lnTo>
                    <a:pt x="435077" y="217539"/>
                  </a:lnTo>
                  <a:lnTo>
                    <a:pt x="435077" y="217539"/>
                  </a:lnTo>
                  <a:lnTo>
                    <a:pt x="435077" y="217539"/>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246" name="Freeform: Shape 245">
              <a:extLst>
                <a:ext uri="{FF2B5EF4-FFF2-40B4-BE49-F238E27FC236}">
                  <a16:creationId xmlns:a16="http://schemas.microsoft.com/office/drawing/2014/main" id="{0D9C676D-DAF6-25A0-8189-7C644A59FAF5}"/>
                </a:ext>
              </a:extLst>
            </p:cNvPr>
            <p:cNvSpPr/>
            <p:nvPr/>
          </p:nvSpPr>
          <p:spPr>
            <a:xfrm>
              <a:off x="7797062" y="718983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solidFill>
                  <a:schemeClr val="bg1"/>
                </a:solidFill>
              </a:endParaRPr>
            </a:p>
          </p:txBody>
        </p:sp>
        <p:sp>
          <p:nvSpPr>
            <p:cNvPr id="247" name="Freeform: Shape 246">
              <a:extLst>
                <a:ext uri="{FF2B5EF4-FFF2-40B4-BE49-F238E27FC236}">
                  <a16:creationId xmlns:a16="http://schemas.microsoft.com/office/drawing/2014/main" id="{31EAAE1C-562F-B188-BF4E-390098A59776}"/>
                </a:ext>
              </a:extLst>
            </p:cNvPr>
            <p:cNvSpPr/>
            <p:nvPr/>
          </p:nvSpPr>
          <p:spPr>
            <a:xfrm>
              <a:off x="6926907" y="7189838"/>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solidFill>
                  <a:schemeClr val="bg1"/>
                </a:solidFill>
              </a:endParaRPr>
            </a:p>
          </p:txBody>
        </p:sp>
        <p:sp>
          <p:nvSpPr>
            <p:cNvPr id="248" name="Freeform: Shape 247">
              <a:extLst>
                <a:ext uri="{FF2B5EF4-FFF2-40B4-BE49-F238E27FC236}">
                  <a16:creationId xmlns:a16="http://schemas.microsoft.com/office/drawing/2014/main" id="{E061909F-AF53-68C1-5DE7-B2C6B8B6E7D5}"/>
                </a:ext>
              </a:extLst>
            </p:cNvPr>
            <p:cNvSpPr/>
            <p:nvPr/>
          </p:nvSpPr>
          <p:spPr>
            <a:xfrm>
              <a:off x="8667217" y="7189838"/>
              <a:ext cx="435104" cy="435077"/>
            </a:xfrm>
            <a:custGeom>
              <a:avLst/>
              <a:gdLst>
                <a:gd name="connsiteX0" fmla="*/ 371366 w 435104"/>
                <a:gd name="connsiteY0" fmla="*/ 63711 h 435077"/>
                <a:gd name="connsiteX1" fmla="*/ 435077 w 435104"/>
                <a:gd name="connsiteY1" fmla="*/ 217539 h 435077"/>
                <a:gd name="connsiteX2" fmla="*/ 218953 w 435104"/>
                <a:gd name="connsiteY2" fmla="*/ 217539 h 435077"/>
                <a:gd name="connsiteX3" fmla="*/ 371366 w 435104"/>
                <a:gd name="connsiteY3" fmla="*/ 281250 h 435077"/>
                <a:gd name="connsiteX4" fmla="*/ 435105 w 435104"/>
                <a:gd name="connsiteY4" fmla="*/ 435077 h 435077"/>
                <a:gd name="connsiteX5" fmla="*/ 217566 w 435104"/>
                <a:gd name="connsiteY5" fmla="*/ 435077 h 435077"/>
                <a:gd name="connsiteX6" fmla="*/ 27 w 435104"/>
                <a:gd name="connsiteY6" fmla="*/ 435077 h 435077"/>
                <a:gd name="connsiteX7" fmla="*/ 63739 w 435104"/>
                <a:gd name="connsiteY7" fmla="*/ 281250 h 435077"/>
                <a:gd name="connsiteX8" fmla="*/ 216152 w 435104"/>
                <a:gd name="connsiteY8" fmla="*/ 217539 h 435077"/>
                <a:gd name="connsiteX9" fmla="*/ 0 w 435104"/>
                <a:gd name="connsiteY9" fmla="*/ 217539 h 435077"/>
                <a:gd name="connsiteX10" fmla="*/ 63739 w 435104"/>
                <a:gd name="connsiteY10" fmla="*/ 63711 h 435077"/>
                <a:gd name="connsiteX11" fmla="*/ 217539 w 435104"/>
                <a:gd name="connsiteY11" fmla="*/ 0 h 435077"/>
                <a:gd name="connsiteX12" fmla="*/ 371366 w 435104"/>
                <a:gd name="connsiteY12" fmla="*/ 63711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4" h="435077">
                  <a:moveTo>
                    <a:pt x="371366" y="63711"/>
                  </a:moveTo>
                  <a:cubicBezTo>
                    <a:pt x="412182" y="104527"/>
                    <a:pt x="435077" y="159836"/>
                    <a:pt x="435077" y="217539"/>
                  </a:cubicBezTo>
                  <a:lnTo>
                    <a:pt x="218953" y="217539"/>
                  </a:lnTo>
                  <a:cubicBezTo>
                    <a:pt x="276138" y="217920"/>
                    <a:pt x="330904" y="240788"/>
                    <a:pt x="371366" y="281250"/>
                  </a:cubicBezTo>
                  <a:cubicBezTo>
                    <a:pt x="412182" y="322039"/>
                    <a:pt x="435105" y="377375"/>
                    <a:pt x="435105" y="435077"/>
                  </a:cubicBezTo>
                  <a:lnTo>
                    <a:pt x="217566" y="435077"/>
                  </a:lnTo>
                  <a:lnTo>
                    <a:pt x="27" y="435077"/>
                  </a:lnTo>
                  <a:cubicBezTo>
                    <a:pt x="27" y="377375"/>
                    <a:pt x="22924" y="322039"/>
                    <a:pt x="63739" y="281250"/>
                  </a:cubicBezTo>
                  <a:cubicBezTo>
                    <a:pt x="104201" y="240788"/>
                    <a:pt x="158967" y="217920"/>
                    <a:pt x="216152" y="217539"/>
                  </a:cubicBezTo>
                  <a:lnTo>
                    <a:pt x="0" y="217539"/>
                  </a:lnTo>
                  <a:cubicBezTo>
                    <a:pt x="0" y="159836"/>
                    <a:pt x="22924" y="104527"/>
                    <a:pt x="63739" y="63711"/>
                  </a:cubicBezTo>
                  <a:cubicBezTo>
                    <a:pt x="104527" y="22923"/>
                    <a:pt x="159864" y="0"/>
                    <a:pt x="217539" y="0"/>
                  </a:cubicBezTo>
                  <a:cubicBezTo>
                    <a:pt x="275241" y="0"/>
                    <a:pt x="330578" y="22923"/>
                    <a:pt x="371366" y="63711"/>
                  </a:cubicBezTo>
                  <a:close/>
                </a:path>
              </a:pathLst>
            </a:custGeom>
            <a:grpFill/>
            <a:ln w="27192" cap="flat">
              <a:noFill/>
              <a:prstDash val="solid"/>
              <a:miter/>
            </a:ln>
          </p:spPr>
          <p:txBody>
            <a:bodyPr rtlCol="0" anchor="ctr"/>
            <a:lstStyle/>
            <a:p>
              <a:endParaRPr lang="uk-UA" sz="900">
                <a:solidFill>
                  <a:schemeClr val="bg1"/>
                </a:solidFill>
              </a:endParaRPr>
            </a:p>
          </p:txBody>
        </p:sp>
        <p:sp>
          <p:nvSpPr>
            <p:cNvPr id="249" name="Freeform: Shape 248">
              <a:extLst>
                <a:ext uri="{FF2B5EF4-FFF2-40B4-BE49-F238E27FC236}">
                  <a16:creationId xmlns:a16="http://schemas.microsoft.com/office/drawing/2014/main" id="{3E3A46E8-01DF-DAD1-ED0F-2C40B3B1F4CB}"/>
                </a:ext>
              </a:extLst>
            </p:cNvPr>
            <p:cNvSpPr/>
            <p:nvPr/>
          </p:nvSpPr>
          <p:spPr>
            <a:xfrm>
              <a:off x="9537399" y="7189838"/>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0 h 435077"/>
                <a:gd name="connsiteX5" fmla="*/ 435050 w 435077"/>
                <a:gd name="connsiteY5" fmla="*/ 217539 h 435077"/>
                <a:gd name="connsiteX6" fmla="*/ 435077 w 435077"/>
                <a:gd name="connsiteY6" fmla="*/ 217539 h 435077"/>
                <a:gd name="connsiteX7" fmla="*/ 435050 w 435077"/>
                <a:gd name="connsiteY7" fmla="*/ 217539 h 435077"/>
                <a:gd name="connsiteX8" fmla="*/ 435077 w 435077"/>
                <a:gd name="connsiteY8" fmla="*/ 217539 h 435077"/>
                <a:gd name="connsiteX9" fmla="*/ 435050 w 435077"/>
                <a:gd name="connsiteY9" fmla="*/ 217539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0"/>
                  </a:lnTo>
                  <a:lnTo>
                    <a:pt x="435050" y="217539"/>
                  </a:lnTo>
                  <a:lnTo>
                    <a:pt x="435077" y="217539"/>
                  </a:lnTo>
                  <a:lnTo>
                    <a:pt x="435050" y="217539"/>
                  </a:lnTo>
                  <a:lnTo>
                    <a:pt x="435077" y="217539"/>
                  </a:lnTo>
                  <a:lnTo>
                    <a:pt x="435050" y="217539"/>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250" name="Freeform: Shape 249">
              <a:extLst>
                <a:ext uri="{FF2B5EF4-FFF2-40B4-BE49-F238E27FC236}">
                  <a16:creationId xmlns:a16="http://schemas.microsoft.com/office/drawing/2014/main" id="{BD6FFCE3-76AA-B35E-E078-0B409BFA58B3}"/>
                </a:ext>
              </a:extLst>
            </p:cNvPr>
            <p:cNvSpPr/>
            <p:nvPr/>
          </p:nvSpPr>
          <p:spPr>
            <a:xfrm>
              <a:off x="11277709" y="718983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51" name="Freeform: Shape 250">
              <a:extLst>
                <a:ext uri="{FF2B5EF4-FFF2-40B4-BE49-F238E27FC236}">
                  <a16:creationId xmlns:a16="http://schemas.microsoft.com/office/drawing/2014/main" id="{0673B9B1-15E5-B74E-B039-2FE23F89C002}"/>
                </a:ext>
              </a:extLst>
            </p:cNvPr>
            <p:cNvSpPr/>
            <p:nvPr/>
          </p:nvSpPr>
          <p:spPr>
            <a:xfrm>
              <a:off x="10407554" y="7189838"/>
              <a:ext cx="435077" cy="435077"/>
            </a:xfrm>
            <a:custGeom>
              <a:avLst/>
              <a:gdLst>
                <a:gd name="connsiteX0" fmla="*/ 0 w 435077"/>
                <a:gd name="connsiteY0" fmla="*/ 435077 h 435077"/>
                <a:gd name="connsiteX1" fmla="*/ 217511 w 435077"/>
                <a:gd name="connsiteY1" fmla="*/ 435077 h 435077"/>
                <a:gd name="connsiteX2" fmla="*/ 217511 w 435077"/>
                <a:gd name="connsiteY2" fmla="*/ 217539 h 435077"/>
                <a:gd name="connsiteX3" fmla="*/ 0 w 435077"/>
                <a:gd name="connsiteY3" fmla="*/ 435077 h 435077"/>
                <a:gd name="connsiteX4" fmla="*/ 217511 w 435077"/>
                <a:gd name="connsiteY4" fmla="*/ 0 h 435077"/>
                <a:gd name="connsiteX5" fmla="*/ 0 w 435077"/>
                <a:gd name="connsiteY5" fmla="*/ 0 h 435077"/>
                <a:gd name="connsiteX6" fmla="*/ 217511 w 435077"/>
                <a:gd name="connsiteY6" fmla="*/ 217539 h 435077"/>
                <a:gd name="connsiteX7" fmla="*/ 217511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11" y="435077"/>
                  </a:lnTo>
                  <a:lnTo>
                    <a:pt x="217511" y="217539"/>
                  </a:lnTo>
                  <a:lnTo>
                    <a:pt x="0" y="435077"/>
                  </a:lnTo>
                  <a:close/>
                  <a:moveTo>
                    <a:pt x="217511" y="0"/>
                  </a:moveTo>
                  <a:lnTo>
                    <a:pt x="0" y="0"/>
                  </a:lnTo>
                  <a:lnTo>
                    <a:pt x="217511" y="217539"/>
                  </a:lnTo>
                  <a:lnTo>
                    <a:pt x="217511"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solidFill>
                  <a:schemeClr val="bg1"/>
                </a:solidFill>
              </a:endParaRPr>
            </a:p>
          </p:txBody>
        </p:sp>
        <p:sp>
          <p:nvSpPr>
            <p:cNvPr id="252" name="Freeform: Shape 251">
              <a:extLst>
                <a:ext uri="{FF2B5EF4-FFF2-40B4-BE49-F238E27FC236}">
                  <a16:creationId xmlns:a16="http://schemas.microsoft.com/office/drawing/2014/main" id="{66F7C7CD-939A-FCEA-7F27-48B3E8D48A62}"/>
                </a:ext>
              </a:extLst>
            </p:cNvPr>
            <p:cNvSpPr/>
            <p:nvPr/>
          </p:nvSpPr>
          <p:spPr>
            <a:xfrm>
              <a:off x="12147864" y="7189838"/>
              <a:ext cx="435103" cy="435077"/>
            </a:xfrm>
            <a:custGeom>
              <a:avLst/>
              <a:gdLst>
                <a:gd name="connsiteX0" fmla="*/ 371365 w 435103"/>
                <a:gd name="connsiteY0" fmla="*/ 63711 h 435077"/>
                <a:gd name="connsiteX1" fmla="*/ 435077 w 435103"/>
                <a:gd name="connsiteY1" fmla="*/ 217539 h 435077"/>
                <a:gd name="connsiteX2" fmla="*/ 218953 w 435103"/>
                <a:gd name="connsiteY2" fmla="*/ 217539 h 435077"/>
                <a:gd name="connsiteX3" fmla="*/ 371365 w 435103"/>
                <a:gd name="connsiteY3" fmla="*/ 281250 h 435077"/>
                <a:gd name="connsiteX4" fmla="*/ 435104 w 435103"/>
                <a:gd name="connsiteY4" fmla="*/ 435077 h 435077"/>
                <a:gd name="connsiteX5" fmla="*/ 217565 w 435103"/>
                <a:gd name="connsiteY5" fmla="*/ 435077 h 435077"/>
                <a:gd name="connsiteX6" fmla="*/ 27 w 435103"/>
                <a:gd name="connsiteY6" fmla="*/ 435077 h 435077"/>
                <a:gd name="connsiteX7" fmla="*/ 63739 w 435103"/>
                <a:gd name="connsiteY7" fmla="*/ 281250 h 435077"/>
                <a:gd name="connsiteX8" fmla="*/ 216151 w 435103"/>
                <a:gd name="connsiteY8" fmla="*/ 217539 h 435077"/>
                <a:gd name="connsiteX9" fmla="*/ 0 w 435103"/>
                <a:gd name="connsiteY9" fmla="*/ 217539 h 435077"/>
                <a:gd name="connsiteX10" fmla="*/ 63739 w 435103"/>
                <a:gd name="connsiteY10" fmla="*/ 63711 h 435077"/>
                <a:gd name="connsiteX11" fmla="*/ 217539 w 435103"/>
                <a:gd name="connsiteY11" fmla="*/ 0 h 435077"/>
                <a:gd name="connsiteX12" fmla="*/ 371365 w 435103"/>
                <a:gd name="connsiteY12" fmla="*/ 63711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3" h="435077">
                  <a:moveTo>
                    <a:pt x="371365" y="63711"/>
                  </a:moveTo>
                  <a:cubicBezTo>
                    <a:pt x="412180" y="104527"/>
                    <a:pt x="435077" y="159836"/>
                    <a:pt x="435077" y="217539"/>
                  </a:cubicBezTo>
                  <a:lnTo>
                    <a:pt x="218953" y="217539"/>
                  </a:lnTo>
                  <a:cubicBezTo>
                    <a:pt x="276137" y="217920"/>
                    <a:pt x="330902" y="240788"/>
                    <a:pt x="371365" y="281250"/>
                  </a:cubicBezTo>
                  <a:cubicBezTo>
                    <a:pt x="412180" y="322039"/>
                    <a:pt x="435104" y="377375"/>
                    <a:pt x="435104" y="435077"/>
                  </a:cubicBezTo>
                  <a:lnTo>
                    <a:pt x="217565" y="435077"/>
                  </a:lnTo>
                  <a:lnTo>
                    <a:pt x="27" y="435077"/>
                  </a:lnTo>
                  <a:cubicBezTo>
                    <a:pt x="27" y="377375"/>
                    <a:pt x="22922" y="322039"/>
                    <a:pt x="63739" y="281250"/>
                  </a:cubicBezTo>
                  <a:cubicBezTo>
                    <a:pt x="104200" y="240788"/>
                    <a:pt x="158965" y="217920"/>
                    <a:pt x="216151" y="217539"/>
                  </a:cubicBezTo>
                  <a:lnTo>
                    <a:pt x="0" y="217539"/>
                  </a:lnTo>
                  <a:cubicBezTo>
                    <a:pt x="0" y="159836"/>
                    <a:pt x="22922" y="104527"/>
                    <a:pt x="63739" y="63711"/>
                  </a:cubicBezTo>
                  <a:cubicBezTo>
                    <a:pt x="104527" y="22923"/>
                    <a:pt x="159863" y="0"/>
                    <a:pt x="217539" y="0"/>
                  </a:cubicBezTo>
                  <a:cubicBezTo>
                    <a:pt x="275239" y="0"/>
                    <a:pt x="330577" y="22923"/>
                    <a:pt x="371365" y="63711"/>
                  </a:cubicBezTo>
                  <a:close/>
                </a:path>
              </a:pathLst>
            </a:custGeom>
            <a:grpFill/>
            <a:ln w="27192" cap="flat">
              <a:noFill/>
              <a:prstDash val="solid"/>
              <a:miter/>
            </a:ln>
          </p:spPr>
          <p:txBody>
            <a:bodyPr rtlCol="0" anchor="ctr"/>
            <a:lstStyle/>
            <a:p>
              <a:endParaRPr lang="uk-UA" sz="900">
                <a:solidFill>
                  <a:schemeClr val="bg1"/>
                </a:solidFill>
              </a:endParaRPr>
            </a:p>
          </p:txBody>
        </p:sp>
        <p:sp>
          <p:nvSpPr>
            <p:cNvPr id="253" name="Freeform: Shape 252">
              <a:extLst>
                <a:ext uri="{FF2B5EF4-FFF2-40B4-BE49-F238E27FC236}">
                  <a16:creationId xmlns:a16="http://schemas.microsoft.com/office/drawing/2014/main" id="{48FAFDAC-D040-6F5B-98F0-EA563843871B}"/>
                </a:ext>
              </a:extLst>
            </p:cNvPr>
            <p:cNvSpPr/>
            <p:nvPr/>
          </p:nvSpPr>
          <p:spPr>
            <a:xfrm>
              <a:off x="13017991" y="7189811"/>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254" name="Freeform: Shape 253">
              <a:extLst>
                <a:ext uri="{FF2B5EF4-FFF2-40B4-BE49-F238E27FC236}">
                  <a16:creationId xmlns:a16="http://schemas.microsoft.com/office/drawing/2014/main" id="{795FA222-3493-42A7-695F-1584CC3B8CBF}"/>
                </a:ext>
              </a:extLst>
            </p:cNvPr>
            <p:cNvSpPr/>
            <p:nvPr/>
          </p:nvSpPr>
          <p:spPr>
            <a:xfrm>
              <a:off x="14758382" y="7189838"/>
              <a:ext cx="435077" cy="435077"/>
            </a:xfrm>
            <a:custGeom>
              <a:avLst/>
              <a:gdLst>
                <a:gd name="connsiteX0" fmla="*/ 217539 w 435077"/>
                <a:gd name="connsiteY0" fmla="*/ 0 h 435077"/>
                <a:gd name="connsiteX1" fmla="*/ 217539 w 435077"/>
                <a:gd name="connsiteY1" fmla="*/ 0 h 435077"/>
                <a:gd name="connsiteX2" fmla="*/ 0 w 435077"/>
                <a:gd name="connsiteY2" fmla="*/ 0 h 435077"/>
                <a:gd name="connsiteX3" fmla="*/ 0 w 435077"/>
                <a:gd name="connsiteY3" fmla="*/ 217539 h 435077"/>
                <a:gd name="connsiteX4" fmla="*/ 217539 w 435077"/>
                <a:gd name="connsiteY4" fmla="*/ 0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217539" y="0"/>
                  </a:lnTo>
                  <a:lnTo>
                    <a:pt x="0" y="0"/>
                  </a:lnTo>
                  <a:lnTo>
                    <a:pt x="0" y="217539"/>
                  </a:lnTo>
                  <a:lnTo>
                    <a:pt x="217539" y="0"/>
                  </a:lnTo>
                  <a:lnTo>
                    <a:pt x="435077" y="217539"/>
                  </a:lnTo>
                  <a:lnTo>
                    <a:pt x="217539" y="435077"/>
                  </a:lnTo>
                  <a:lnTo>
                    <a:pt x="0" y="217539"/>
                  </a:lnTo>
                  <a:lnTo>
                    <a:pt x="0" y="435077"/>
                  </a:lnTo>
                  <a:lnTo>
                    <a:pt x="217539" y="435077"/>
                  </a:lnTo>
                  <a:lnTo>
                    <a:pt x="435077" y="435077"/>
                  </a:lnTo>
                  <a:lnTo>
                    <a:pt x="435077" y="217539"/>
                  </a:lnTo>
                  <a:lnTo>
                    <a:pt x="435077" y="0"/>
                  </a:lnTo>
                  <a:lnTo>
                    <a:pt x="217539" y="0"/>
                  </a:lnTo>
                  <a:close/>
                </a:path>
              </a:pathLst>
            </a:custGeom>
            <a:grpFill/>
            <a:ln w="27192" cap="flat">
              <a:noFill/>
              <a:prstDash val="solid"/>
              <a:miter/>
            </a:ln>
          </p:spPr>
          <p:txBody>
            <a:bodyPr rtlCol="0" anchor="ctr"/>
            <a:lstStyle/>
            <a:p>
              <a:endParaRPr lang="uk-UA" sz="900">
                <a:solidFill>
                  <a:schemeClr val="bg1"/>
                </a:solidFill>
              </a:endParaRPr>
            </a:p>
          </p:txBody>
        </p:sp>
        <p:sp>
          <p:nvSpPr>
            <p:cNvPr id="255" name="Freeform: Shape 254">
              <a:extLst>
                <a:ext uri="{FF2B5EF4-FFF2-40B4-BE49-F238E27FC236}">
                  <a16:creationId xmlns:a16="http://schemas.microsoft.com/office/drawing/2014/main" id="{109E33D7-B077-522E-AFD0-FA35145B8A1D}"/>
                </a:ext>
              </a:extLst>
            </p:cNvPr>
            <p:cNvSpPr/>
            <p:nvPr/>
          </p:nvSpPr>
          <p:spPr>
            <a:xfrm>
              <a:off x="13888200" y="7189838"/>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65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65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65" y="435077"/>
                  </a:lnTo>
                  <a:lnTo>
                    <a:pt x="435077" y="217539"/>
                  </a:lnTo>
                  <a:lnTo>
                    <a:pt x="435077" y="435077"/>
                  </a:lnTo>
                  <a:close/>
                  <a:moveTo>
                    <a:pt x="435077" y="0"/>
                  </a:moveTo>
                  <a:lnTo>
                    <a:pt x="217565" y="0"/>
                  </a:lnTo>
                  <a:lnTo>
                    <a:pt x="435077" y="217539"/>
                  </a:lnTo>
                  <a:lnTo>
                    <a:pt x="435077" y="0"/>
                  </a:lnTo>
                  <a:close/>
                </a:path>
              </a:pathLst>
            </a:custGeom>
            <a:grpFill/>
            <a:ln w="27192" cap="flat">
              <a:noFill/>
              <a:prstDash val="solid"/>
              <a:miter/>
            </a:ln>
          </p:spPr>
          <p:txBody>
            <a:bodyPr rtlCol="0" anchor="ctr"/>
            <a:lstStyle/>
            <a:p>
              <a:endParaRPr lang="uk-UA" sz="900">
                <a:solidFill>
                  <a:schemeClr val="bg1"/>
                </a:solidFill>
              </a:endParaRPr>
            </a:p>
          </p:txBody>
        </p:sp>
        <p:sp>
          <p:nvSpPr>
            <p:cNvPr id="256" name="Freeform: Shape 255">
              <a:extLst>
                <a:ext uri="{FF2B5EF4-FFF2-40B4-BE49-F238E27FC236}">
                  <a16:creationId xmlns:a16="http://schemas.microsoft.com/office/drawing/2014/main" id="{07780E74-9A2F-9B80-0DA9-8562E70022D2}"/>
                </a:ext>
              </a:extLst>
            </p:cNvPr>
            <p:cNvSpPr/>
            <p:nvPr/>
          </p:nvSpPr>
          <p:spPr>
            <a:xfrm>
              <a:off x="15628536" y="7189838"/>
              <a:ext cx="435077" cy="435077"/>
            </a:xfrm>
            <a:custGeom>
              <a:avLst/>
              <a:gdLst>
                <a:gd name="connsiteX0" fmla="*/ 371367 w 435077"/>
                <a:gd name="connsiteY0" fmla="*/ 63711 h 435077"/>
                <a:gd name="connsiteX1" fmla="*/ 435077 w 435077"/>
                <a:gd name="connsiteY1" fmla="*/ 217539 h 435077"/>
                <a:gd name="connsiteX2" fmla="*/ 218953 w 435077"/>
                <a:gd name="connsiteY2" fmla="*/ 217539 h 435077"/>
                <a:gd name="connsiteX3" fmla="*/ 371367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39 w 435077"/>
                <a:gd name="connsiteY7" fmla="*/ 281250 h 435077"/>
                <a:gd name="connsiteX8" fmla="*/ 216153 w 435077"/>
                <a:gd name="connsiteY8" fmla="*/ 217539 h 435077"/>
                <a:gd name="connsiteX9" fmla="*/ 0 w 435077"/>
                <a:gd name="connsiteY9" fmla="*/ 217539 h 435077"/>
                <a:gd name="connsiteX10" fmla="*/ 63712 w 435077"/>
                <a:gd name="connsiteY10" fmla="*/ 63711 h 435077"/>
                <a:gd name="connsiteX11" fmla="*/ 217539 w 435077"/>
                <a:gd name="connsiteY11" fmla="*/ 0 h 435077"/>
                <a:gd name="connsiteX12" fmla="*/ 371367 w 435077"/>
                <a:gd name="connsiteY12" fmla="*/ 63711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7" y="63711"/>
                  </a:moveTo>
                  <a:cubicBezTo>
                    <a:pt x="412155" y="104527"/>
                    <a:pt x="435077" y="159836"/>
                    <a:pt x="435077" y="217539"/>
                  </a:cubicBezTo>
                  <a:lnTo>
                    <a:pt x="218953" y="217539"/>
                  </a:lnTo>
                  <a:cubicBezTo>
                    <a:pt x="276139" y="217920"/>
                    <a:pt x="330904" y="240788"/>
                    <a:pt x="371367" y="281250"/>
                  </a:cubicBezTo>
                  <a:cubicBezTo>
                    <a:pt x="412182" y="322039"/>
                    <a:pt x="435077" y="377375"/>
                    <a:pt x="435077" y="435077"/>
                  </a:cubicBezTo>
                  <a:lnTo>
                    <a:pt x="217539" y="435077"/>
                  </a:lnTo>
                  <a:lnTo>
                    <a:pt x="0" y="435077"/>
                  </a:lnTo>
                  <a:cubicBezTo>
                    <a:pt x="0" y="377375"/>
                    <a:pt x="22924" y="322039"/>
                    <a:pt x="63739" y="281250"/>
                  </a:cubicBezTo>
                  <a:cubicBezTo>
                    <a:pt x="104202" y="240788"/>
                    <a:pt x="158967" y="217920"/>
                    <a:pt x="216153" y="217539"/>
                  </a:cubicBezTo>
                  <a:lnTo>
                    <a:pt x="0" y="217539"/>
                  </a:lnTo>
                  <a:cubicBezTo>
                    <a:pt x="0" y="159836"/>
                    <a:pt x="22924" y="104527"/>
                    <a:pt x="63712" y="63711"/>
                  </a:cubicBezTo>
                  <a:cubicBezTo>
                    <a:pt x="104527" y="22923"/>
                    <a:pt x="159865" y="0"/>
                    <a:pt x="217539" y="0"/>
                  </a:cubicBezTo>
                  <a:cubicBezTo>
                    <a:pt x="275241" y="0"/>
                    <a:pt x="330578" y="22923"/>
                    <a:pt x="371367" y="63711"/>
                  </a:cubicBezTo>
                  <a:close/>
                </a:path>
              </a:pathLst>
            </a:custGeom>
            <a:grpFill/>
            <a:ln w="27192" cap="flat">
              <a:noFill/>
              <a:prstDash val="solid"/>
              <a:miter/>
            </a:ln>
          </p:spPr>
          <p:txBody>
            <a:bodyPr rtlCol="0" anchor="ctr"/>
            <a:lstStyle/>
            <a:p>
              <a:endParaRPr lang="uk-UA" sz="900">
                <a:solidFill>
                  <a:schemeClr val="bg1"/>
                </a:solidFill>
              </a:endParaRPr>
            </a:p>
          </p:txBody>
        </p:sp>
        <p:sp>
          <p:nvSpPr>
            <p:cNvPr id="257" name="Freeform: Shape 256">
              <a:extLst>
                <a:ext uri="{FF2B5EF4-FFF2-40B4-BE49-F238E27FC236}">
                  <a16:creationId xmlns:a16="http://schemas.microsoft.com/office/drawing/2014/main" id="{27831E10-CFEC-4A62-0141-C03B35AF42D4}"/>
                </a:ext>
              </a:extLst>
            </p:cNvPr>
            <p:cNvSpPr/>
            <p:nvPr/>
          </p:nvSpPr>
          <p:spPr>
            <a:xfrm>
              <a:off x="16498719" y="718983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49 w 435077"/>
                <a:gd name="connsiteY7" fmla="*/ 217539 h 435077"/>
                <a:gd name="connsiteX8" fmla="*/ 435077 w 435077"/>
                <a:gd name="connsiteY8" fmla="*/ 217539 h 435077"/>
                <a:gd name="connsiteX9" fmla="*/ 435049 w 435077"/>
                <a:gd name="connsiteY9" fmla="*/ 217539 h 435077"/>
                <a:gd name="connsiteX10" fmla="*/ 435077 w 435077"/>
                <a:gd name="connsiteY10" fmla="*/ 217539 h 435077"/>
                <a:gd name="connsiteX11" fmla="*/ 435049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49" y="217539"/>
                  </a:lnTo>
                  <a:lnTo>
                    <a:pt x="435077" y="217539"/>
                  </a:lnTo>
                  <a:lnTo>
                    <a:pt x="435049" y="217539"/>
                  </a:lnTo>
                  <a:lnTo>
                    <a:pt x="435077" y="217539"/>
                  </a:lnTo>
                  <a:lnTo>
                    <a:pt x="435049"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258" name="Freeform: Shape 257">
              <a:extLst>
                <a:ext uri="{FF2B5EF4-FFF2-40B4-BE49-F238E27FC236}">
                  <a16:creationId xmlns:a16="http://schemas.microsoft.com/office/drawing/2014/main" id="{8FF471B5-9678-70C0-D9C1-3D747423214C}"/>
                </a:ext>
              </a:extLst>
            </p:cNvPr>
            <p:cNvSpPr/>
            <p:nvPr/>
          </p:nvSpPr>
          <p:spPr>
            <a:xfrm>
              <a:off x="18239029" y="718983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59" name="Freeform: Shape 258">
              <a:extLst>
                <a:ext uri="{FF2B5EF4-FFF2-40B4-BE49-F238E27FC236}">
                  <a16:creationId xmlns:a16="http://schemas.microsoft.com/office/drawing/2014/main" id="{113CE4D6-0649-0B8E-2955-57A7EDBCF439}"/>
                </a:ext>
              </a:extLst>
            </p:cNvPr>
            <p:cNvSpPr/>
            <p:nvPr/>
          </p:nvSpPr>
          <p:spPr>
            <a:xfrm>
              <a:off x="17368874" y="7189838"/>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solidFill>
                  <a:schemeClr val="bg1"/>
                </a:solidFill>
              </a:endParaRPr>
            </a:p>
          </p:txBody>
        </p:sp>
        <p:sp>
          <p:nvSpPr>
            <p:cNvPr id="260" name="Freeform: Shape 259">
              <a:extLst>
                <a:ext uri="{FF2B5EF4-FFF2-40B4-BE49-F238E27FC236}">
                  <a16:creationId xmlns:a16="http://schemas.microsoft.com/office/drawing/2014/main" id="{F1B56048-B593-C6C9-9BA0-1307520AF32B}"/>
                </a:ext>
              </a:extLst>
            </p:cNvPr>
            <p:cNvSpPr/>
            <p:nvPr/>
          </p:nvSpPr>
          <p:spPr>
            <a:xfrm>
              <a:off x="19109210" y="7189838"/>
              <a:ext cx="435077" cy="435077"/>
            </a:xfrm>
            <a:custGeom>
              <a:avLst/>
              <a:gdLst>
                <a:gd name="connsiteX0" fmla="*/ 371339 w 435077"/>
                <a:gd name="connsiteY0" fmla="*/ 63711 h 435077"/>
                <a:gd name="connsiteX1" fmla="*/ 435077 w 435077"/>
                <a:gd name="connsiteY1" fmla="*/ 217539 h 435077"/>
                <a:gd name="connsiteX2" fmla="*/ 218926 w 435077"/>
                <a:gd name="connsiteY2" fmla="*/ 217539 h 435077"/>
                <a:gd name="connsiteX3" fmla="*/ 371365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25 w 435077"/>
                <a:gd name="connsiteY8" fmla="*/ 217539 h 435077"/>
                <a:gd name="connsiteX9" fmla="*/ 0 w 435077"/>
                <a:gd name="connsiteY9" fmla="*/ 217539 h 435077"/>
                <a:gd name="connsiteX10" fmla="*/ 63712 w 435077"/>
                <a:gd name="connsiteY10" fmla="*/ 63711 h 435077"/>
                <a:gd name="connsiteX11" fmla="*/ 217539 w 435077"/>
                <a:gd name="connsiteY11" fmla="*/ 0 h 435077"/>
                <a:gd name="connsiteX12" fmla="*/ 371339 w 435077"/>
                <a:gd name="connsiteY12" fmla="*/ 63711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11"/>
                  </a:moveTo>
                  <a:cubicBezTo>
                    <a:pt x="412154" y="104527"/>
                    <a:pt x="435077" y="159836"/>
                    <a:pt x="435077" y="217539"/>
                  </a:cubicBezTo>
                  <a:lnTo>
                    <a:pt x="218926" y="217539"/>
                  </a:lnTo>
                  <a:cubicBezTo>
                    <a:pt x="276111" y="217920"/>
                    <a:pt x="330877" y="240788"/>
                    <a:pt x="371365" y="281250"/>
                  </a:cubicBezTo>
                  <a:cubicBezTo>
                    <a:pt x="412154" y="322039"/>
                    <a:pt x="435077" y="377375"/>
                    <a:pt x="435077" y="435077"/>
                  </a:cubicBezTo>
                  <a:lnTo>
                    <a:pt x="217539" y="435077"/>
                  </a:lnTo>
                  <a:lnTo>
                    <a:pt x="0" y="435077"/>
                  </a:lnTo>
                  <a:cubicBezTo>
                    <a:pt x="0" y="377375"/>
                    <a:pt x="22924" y="322039"/>
                    <a:pt x="63712" y="281250"/>
                  </a:cubicBezTo>
                  <a:cubicBezTo>
                    <a:pt x="104174" y="240788"/>
                    <a:pt x="158940" y="217920"/>
                    <a:pt x="216125" y="217539"/>
                  </a:cubicBezTo>
                  <a:lnTo>
                    <a:pt x="0" y="217539"/>
                  </a:lnTo>
                  <a:cubicBezTo>
                    <a:pt x="0" y="159836"/>
                    <a:pt x="22895" y="104527"/>
                    <a:pt x="63712" y="63711"/>
                  </a:cubicBezTo>
                  <a:cubicBezTo>
                    <a:pt x="104501" y="22923"/>
                    <a:pt x="159836" y="0"/>
                    <a:pt x="217539" y="0"/>
                  </a:cubicBezTo>
                  <a:cubicBezTo>
                    <a:pt x="275215" y="0"/>
                    <a:pt x="330550" y="22923"/>
                    <a:pt x="371339" y="63711"/>
                  </a:cubicBezTo>
                  <a:close/>
                </a:path>
              </a:pathLst>
            </a:custGeom>
            <a:grpFill/>
            <a:ln w="27192" cap="flat">
              <a:noFill/>
              <a:prstDash val="solid"/>
              <a:miter/>
            </a:ln>
          </p:spPr>
          <p:txBody>
            <a:bodyPr rtlCol="0" anchor="ctr"/>
            <a:lstStyle/>
            <a:p>
              <a:endParaRPr lang="uk-UA" sz="900">
                <a:solidFill>
                  <a:schemeClr val="bg1"/>
                </a:solidFill>
              </a:endParaRPr>
            </a:p>
          </p:txBody>
        </p:sp>
        <p:sp>
          <p:nvSpPr>
            <p:cNvPr id="261" name="Freeform: Shape 260">
              <a:extLst>
                <a:ext uri="{FF2B5EF4-FFF2-40B4-BE49-F238E27FC236}">
                  <a16:creationId xmlns:a16="http://schemas.microsoft.com/office/drawing/2014/main" id="{80617A65-22F4-1EC4-0DDA-912836097304}"/>
                </a:ext>
              </a:extLst>
            </p:cNvPr>
            <p:cNvSpPr/>
            <p:nvPr/>
          </p:nvSpPr>
          <p:spPr>
            <a:xfrm>
              <a:off x="19979365" y="718983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51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51"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262" name="Freeform: Shape 261">
              <a:extLst>
                <a:ext uri="{FF2B5EF4-FFF2-40B4-BE49-F238E27FC236}">
                  <a16:creationId xmlns:a16="http://schemas.microsoft.com/office/drawing/2014/main" id="{98281A03-B8B8-C1CE-FCD5-318169E97869}"/>
                </a:ext>
              </a:extLst>
            </p:cNvPr>
            <p:cNvSpPr/>
            <p:nvPr/>
          </p:nvSpPr>
          <p:spPr>
            <a:xfrm>
              <a:off x="21719702" y="718983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63" name="Freeform: Shape 262">
              <a:extLst>
                <a:ext uri="{FF2B5EF4-FFF2-40B4-BE49-F238E27FC236}">
                  <a16:creationId xmlns:a16="http://schemas.microsoft.com/office/drawing/2014/main" id="{06B3F0FE-10C9-617E-48FD-3A13629B48D9}"/>
                </a:ext>
              </a:extLst>
            </p:cNvPr>
            <p:cNvSpPr/>
            <p:nvPr/>
          </p:nvSpPr>
          <p:spPr>
            <a:xfrm>
              <a:off x="20849520" y="7189838"/>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65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65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65" y="435077"/>
                  </a:lnTo>
                  <a:lnTo>
                    <a:pt x="435077" y="217539"/>
                  </a:lnTo>
                  <a:lnTo>
                    <a:pt x="435077" y="435077"/>
                  </a:lnTo>
                  <a:close/>
                  <a:moveTo>
                    <a:pt x="435077" y="0"/>
                  </a:moveTo>
                  <a:lnTo>
                    <a:pt x="217565" y="0"/>
                  </a:lnTo>
                  <a:lnTo>
                    <a:pt x="435077" y="217539"/>
                  </a:lnTo>
                  <a:lnTo>
                    <a:pt x="435077" y="0"/>
                  </a:lnTo>
                  <a:close/>
                </a:path>
              </a:pathLst>
            </a:custGeom>
            <a:grpFill/>
            <a:ln w="27192" cap="flat">
              <a:noFill/>
              <a:prstDash val="solid"/>
              <a:miter/>
            </a:ln>
          </p:spPr>
          <p:txBody>
            <a:bodyPr rtlCol="0" anchor="ctr"/>
            <a:lstStyle/>
            <a:p>
              <a:endParaRPr lang="uk-UA" sz="900">
                <a:solidFill>
                  <a:schemeClr val="bg1"/>
                </a:solidFill>
              </a:endParaRPr>
            </a:p>
          </p:txBody>
        </p:sp>
        <p:sp>
          <p:nvSpPr>
            <p:cNvPr id="264" name="Freeform: Shape 263">
              <a:extLst>
                <a:ext uri="{FF2B5EF4-FFF2-40B4-BE49-F238E27FC236}">
                  <a16:creationId xmlns:a16="http://schemas.microsoft.com/office/drawing/2014/main" id="{ED46BFB5-3542-4A89-ED03-571AAEB8AC0F}"/>
                </a:ext>
              </a:extLst>
            </p:cNvPr>
            <p:cNvSpPr/>
            <p:nvPr/>
          </p:nvSpPr>
          <p:spPr>
            <a:xfrm>
              <a:off x="22589856" y="7189838"/>
              <a:ext cx="435077" cy="435077"/>
            </a:xfrm>
            <a:custGeom>
              <a:avLst/>
              <a:gdLst>
                <a:gd name="connsiteX0" fmla="*/ 371367 w 435077"/>
                <a:gd name="connsiteY0" fmla="*/ 63711 h 435077"/>
                <a:gd name="connsiteX1" fmla="*/ 435077 w 435077"/>
                <a:gd name="connsiteY1" fmla="*/ 217539 h 435077"/>
                <a:gd name="connsiteX2" fmla="*/ 218953 w 435077"/>
                <a:gd name="connsiteY2" fmla="*/ 217539 h 435077"/>
                <a:gd name="connsiteX3" fmla="*/ 371367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53 w 435077"/>
                <a:gd name="connsiteY8" fmla="*/ 217539 h 435077"/>
                <a:gd name="connsiteX9" fmla="*/ 0 w 435077"/>
                <a:gd name="connsiteY9" fmla="*/ 217539 h 435077"/>
                <a:gd name="connsiteX10" fmla="*/ 63712 w 435077"/>
                <a:gd name="connsiteY10" fmla="*/ 63711 h 435077"/>
                <a:gd name="connsiteX11" fmla="*/ 217539 w 435077"/>
                <a:gd name="connsiteY11" fmla="*/ 0 h 435077"/>
                <a:gd name="connsiteX12" fmla="*/ 371367 w 435077"/>
                <a:gd name="connsiteY12" fmla="*/ 63711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7" y="63711"/>
                  </a:moveTo>
                  <a:cubicBezTo>
                    <a:pt x="412155" y="104527"/>
                    <a:pt x="435077" y="159836"/>
                    <a:pt x="435077" y="217539"/>
                  </a:cubicBezTo>
                  <a:lnTo>
                    <a:pt x="218953" y="217539"/>
                  </a:lnTo>
                  <a:cubicBezTo>
                    <a:pt x="276139" y="217920"/>
                    <a:pt x="330904" y="240788"/>
                    <a:pt x="371367" y="281250"/>
                  </a:cubicBezTo>
                  <a:cubicBezTo>
                    <a:pt x="412155" y="322039"/>
                    <a:pt x="435077" y="377375"/>
                    <a:pt x="435077" y="435077"/>
                  </a:cubicBezTo>
                  <a:lnTo>
                    <a:pt x="217539" y="435077"/>
                  </a:lnTo>
                  <a:lnTo>
                    <a:pt x="0" y="435077"/>
                  </a:lnTo>
                  <a:cubicBezTo>
                    <a:pt x="0" y="377375"/>
                    <a:pt x="22924" y="322039"/>
                    <a:pt x="63712" y="281250"/>
                  </a:cubicBezTo>
                  <a:cubicBezTo>
                    <a:pt x="104202" y="240788"/>
                    <a:pt x="158967" y="217920"/>
                    <a:pt x="216153" y="217539"/>
                  </a:cubicBezTo>
                  <a:lnTo>
                    <a:pt x="0" y="217539"/>
                  </a:lnTo>
                  <a:cubicBezTo>
                    <a:pt x="0" y="159836"/>
                    <a:pt x="22924" y="104527"/>
                    <a:pt x="63712" y="63711"/>
                  </a:cubicBezTo>
                  <a:cubicBezTo>
                    <a:pt x="104529" y="22923"/>
                    <a:pt x="159838" y="0"/>
                    <a:pt x="217539" y="0"/>
                  </a:cubicBezTo>
                  <a:cubicBezTo>
                    <a:pt x="275241" y="0"/>
                    <a:pt x="330578" y="22923"/>
                    <a:pt x="371367" y="63711"/>
                  </a:cubicBezTo>
                  <a:close/>
                </a:path>
              </a:pathLst>
            </a:custGeom>
            <a:grpFill/>
            <a:ln w="27192" cap="flat">
              <a:noFill/>
              <a:prstDash val="solid"/>
              <a:miter/>
            </a:ln>
          </p:spPr>
          <p:txBody>
            <a:bodyPr rtlCol="0" anchor="ctr"/>
            <a:lstStyle/>
            <a:p>
              <a:endParaRPr lang="uk-UA" sz="900">
                <a:solidFill>
                  <a:schemeClr val="bg1"/>
                </a:solidFill>
              </a:endParaRPr>
            </a:p>
          </p:txBody>
        </p:sp>
        <p:sp>
          <p:nvSpPr>
            <p:cNvPr id="265" name="Freeform: Shape 264">
              <a:extLst>
                <a:ext uri="{FF2B5EF4-FFF2-40B4-BE49-F238E27FC236}">
                  <a16:creationId xmlns:a16="http://schemas.microsoft.com/office/drawing/2014/main" id="{6599184E-8381-42DF-745D-1665EFF7BFB6}"/>
                </a:ext>
              </a:extLst>
            </p:cNvPr>
            <p:cNvSpPr/>
            <p:nvPr/>
          </p:nvSpPr>
          <p:spPr>
            <a:xfrm>
              <a:off x="23460039" y="718983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10 w 435077"/>
                <a:gd name="connsiteY5" fmla="*/ 435077 h 435077"/>
                <a:gd name="connsiteX6" fmla="*/ 217510 w 435077"/>
                <a:gd name="connsiteY6" fmla="*/ 435077 h 435077"/>
                <a:gd name="connsiteX7" fmla="*/ 435049 w 435077"/>
                <a:gd name="connsiteY7" fmla="*/ 217539 h 435077"/>
                <a:gd name="connsiteX8" fmla="*/ 435077 w 435077"/>
                <a:gd name="connsiteY8" fmla="*/ 217539 h 435077"/>
                <a:gd name="connsiteX9" fmla="*/ 435049 w 435077"/>
                <a:gd name="connsiteY9" fmla="*/ 217539 h 435077"/>
                <a:gd name="connsiteX10" fmla="*/ 435049 w 435077"/>
                <a:gd name="connsiteY10" fmla="*/ 217539 h 435077"/>
                <a:gd name="connsiteX11" fmla="*/ 435049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10" y="435077"/>
                  </a:lnTo>
                  <a:lnTo>
                    <a:pt x="217510" y="435077"/>
                  </a:lnTo>
                  <a:lnTo>
                    <a:pt x="435049" y="217539"/>
                  </a:lnTo>
                  <a:lnTo>
                    <a:pt x="435077" y="217539"/>
                  </a:lnTo>
                  <a:lnTo>
                    <a:pt x="435049" y="217539"/>
                  </a:lnTo>
                  <a:lnTo>
                    <a:pt x="435049" y="217539"/>
                  </a:lnTo>
                  <a:lnTo>
                    <a:pt x="435049"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266" name="Freeform: Shape 265">
              <a:extLst>
                <a:ext uri="{FF2B5EF4-FFF2-40B4-BE49-F238E27FC236}">
                  <a16:creationId xmlns:a16="http://schemas.microsoft.com/office/drawing/2014/main" id="{2535C708-7D03-3411-79E2-3C2F8DD2E42D}"/>
                </a:ext>
              </a:extLst>
            </p:cNvPr>
            <p:cNvSpPr/>
            <p:nvPr/>
          </p:nvSpPr>
          <p:spPr>
            <a:xfrm>
              <a:off x="24330194" y="7189838"/>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solidFill>
                  <a:schemeClr val="bg1"/>
                </a:solidFill>
              </a:endParaRPr>
            </a:p>
          </p:txBody>
        </p:sp>
        <p:sp>
          <p:nvSpPr>
            <p:cNvPr id="267" name="Freeform: Shape 266">
              <a:extLst>
                <a:ext uri="{FF2B5EF4-FFF2-40B4-BE49-F238E27FC236}">
                  <a16:creationId xmlns:a16="http://schemas.microsoft.com/office/drawing/2014/main" id="{1806D26D-8065-F515-8CF9-6402EE3071C8}"/>
                </a:ext>
              </a:extLst>
            </p:cNvPr>
            <p:cNvSpPr/>
            <p:nvPr/>
          </p:nvSpPr>
          <p:spPr>
            <a:xfrm>
              <a:off x="835769" y="805999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1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1"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68" name="Freeform: Shape 267">
              <a:extLst>
                <a:ext uri="{FF2B5EF4-FFF2-40B4-BE49-F238E27FC236}">
                  <a16:creationId xmlns:a16="http://schemas.microsoft.com/office/drawing/2014/main" id="{C4B485B1-2C19-DD7C-E41C-9C2CF6CBAA34}"/>
                </a:ext>
              </a:extLst>
            </p:cNvPr>
            <p:cNvSpPr/>
            <p:nvPr/>
          </p:nvSpPr>
          <p:spPr>
            <a:xfrm>
              <a:off x="-34398" y="8059993"/>
              <a:ext cx="435090" cy="435077"/>
            </a:xfrm>
            <a:custGeom>
              <a:avLst/>
              <a:gdLst>
                <a:gd name="connsiteX0" fmla="*/ 217552 w 435090"/>
                <a:gd name="connsiteY0" fmla="*/ 435077 h 435077"/>
                <a:gd name="connsiteX1" fmla="*/ 217552 w 435090"/>
                <a:gd name="connsiteY1" fmla="*/ 0 h 435077"/>
                <a:gd name="connsiteX2" fmla="*/ 435091 w 435090"/>
                <a:gd name="connsiteY2" fmla="*/ 217539 h 435077"/>
                <a:gd name="connsiteX3" fmla="*/ 217552 w 435090"/>
                <a:gd name="connsiteY3" fmla="*/ 435077 h 435077"/>
                <a:gd name="connsiteX4" fmla="*/ 0 w 435090"/>
                <a:gd name="connsiteY4" fmla="*/ 435077 h 435077"/>
                <a:gd name="connsiteX5" fmla="*/ 0 w 435090"/>
                <a:gd name="connsiteY5" fmla="*/ 27 h 435077"/>
                <a:gd name="connsiteX6" fmla="*/ 217525 w 435090"/>
                <a:gd name="connsiteY6" fmla="*/ 217566 h 435077"/>
                <a:gd name="connsiteX7" fmla="*/ 0 w 435090"/>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90" h="435077">
                  <a:moveTo>
                    <a:pt x="217552" y="435077"/>
                  </a:moveTo>
                  <a:lnTo>
                    <a:pt x="217552" y="0"/>
                  </a:lnTo>
                  <a:lnTo>
                    <a:pt x="435091" y="217539"/>
                  </a:lnTo>
                  <a:lnTo>
                    <a:pt x="217552" y="435077"/>
                  </a:lnTo>
                  <a:close/>
                  <a:moveTo>
                    <a:pt x="0" y="435077"/>
                  </a:moveTo>
                  <a:lnTo>
                    <a:pt x="0" y="27"/>
                  </a:lnTo>
                  <a:lnTo>
                    <a:pt x="217525"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69" name="Freeform: Shape 268">
              <a:extLst>
                <a:ext uri="{FF2B5EF4-FFF2-40B4-BE49-F238E27FC236}">
                  <a16:creationId xmlns:a16="http://schemas.microsoft.com/office/drawing/2014/main" id="{D9C5F67A-2F21-3C87-7F00-4AA94D404C45}"/>
                </a:ext>
              </a:extLst>
            </p:cNvPr>
            <p:cNvSpPr/>
            <p:nvPr/>
          </p:nvSpPr>
          <p:spPr>
            <a:xfrm>
              <a:off x="1705924" y="8059993"/>
              <a:ext cx="435077" cy="435077"/>
            </a:xfrm>
            <a:custGeom>
              <a:avLst/>
              <a:gdLst>
                <a:gd name="connsiteX0" fmla="*/ 63711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1 w 435077"/>
                <a:gd name="connsiteY6" fmla="*/ 153827 h 435077"/>
                <a:gd name="connsiteX7" fmla="*/ 63711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1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1" y="153827"/>
                  </a:moveTo>
                  <a:cubicBezTo>
                    <a:pt x="22923" y="113039"/>
                    <a:pt x="0" y="57702"/>
                    <a:pt x="0" y="0"/>
                  </a:cubicBezTo>
                  <a:lnTo>
                    <a:pt x="217539" y="0"/>
                  </a:lnTo>
                  <a:lnTo>
                    <a:pt x="435077" y="0"/>
                  </a:lnTo>
                  <a:cubicBezTo>
                    <a:pt x="435077" y="57702"/>
                    <a:pt x="412154" y="113039"/>
                    <a:pt x="371366" y="153827"/>
                  </a:cubicBezTo>
                  <a:cubicBezTo>
                    <a:pt x="330577" y="194616"/>
                    <a:pt x="275241" y="217539"/>
                    <a:pt x="217539" y="217539"/>
                  </a:cubicBezTo>
                  <a:cubicBezTo>
                    <a:pt x="159836" y="217539"/>
                    <a:pt x="104527" y="194616"/>
                    <a:pt x="63711" y="153827"/>
                  </a:cubicBezTo>
                  <a:close/>
                  <a:moveTo>
                    <a:pt x="63711" y="281250"/>
                  </a:moveTo>
                  <a:cubicBezTo>
                    <a:pt x="22923" y="322066"/>
                    <a:pt x="0" y="377402"/>
                    <a:pt x="0" y="435077"/>
                  </a:cubicBezTo>
                  <a:lnTo>
                    <a:pt x="217539" y="435077"/>
                  </a:lnTo>
                  <a:lnTo>
                    <a:pt x="435077" y="435077"/>
                  </a:lnTo>
                  <a:cubicBezTo>
                    <a:pt x="435077" y="377402"/>
                    <a:pt x="412154" y="322066"/>
                    <a:pt x="371366" y="281250"/>
                  </a:cubicBezTo>
                  <a:cubicBezTo>
                    <a:pt x="330577" y="240462"/>
                    <a:pt x="275241" y="217539"/>
                    <a:pt x="217539" y="217539"/>
                  </a:cubicBezTo>
                  <a:cubicBezTo>
                    <a:pt x="159836" y="217539"/>
                    <a:pt x="104527" y="240462"/>
                    <a:pt x="63711" y="281250"/>
                  </a:cubicBezTo>
                  <a:close/>
                </a:path>
              </a:pathLst>
            </a:custGeom>
            <a:grpFill/>
            <a:ln w="27192" cap="flat">
              <a:noFill/>
              <a:prstDash val="solid"/>
              <a:miter/>
            </a:ln>
          </p:spPr>
          <p:txBody>
            <a:bodyPr rtlCol="0" anchor="ctr"/>
            <a:lstStyle/>
            <a:p>
              <a:endParaRPr lang="uk-UA" sz="900">
                <a:solidFill>
                  <a:schemeClr val="bg1"/>
                </a:solidFill>
              </a:endParaRPr>
            </a:p>
          </p:txBody>
        </p:sp>
        <p:sp>
          <p:nvSpPr>
            <p:cNvPr id="270" name="Freeform: Shape 269">
              <a:extLst>
                <a:ext uri="{FF2B5EF4-FFF2-40B4-BE49-F238E27FC236}">
                  <a16:creationId xmlns:a16="http://schemas.microsoft.com/office/drawing/2014/main" id="{3E409AAD-E452-8729-E823-55FD9C9B5E80}"/>
                </a:ext>
              </a:extLst>
            </p:cNvPr>
            <p:cNvSpPr/>
            <p:nvPr/>
          </p:nvSpPr>
          <p:spPr>
            <a:xfrm>
              <a:off x="2576106" y="805999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71" name="Freeform: Shape 270">
              <a:extLst>
                <a:ext uri="{FF2B5EF4-FFF2-40B4-BE49-F238E27FC236}">
                  <a16:creationId xmlns:a16="http://schemas.microsoft.com/office/drawing/2014/main" id="{48206257-C177-E9F5-F6D6-B90C13D154CE}"/>
                </a:ext>
              </a:extLst>
            </p:cNvPr>
            <p:cNvSpPr/>
            <p:nvPr/>
          </p:nvSpPr>
          <p:spPr>
            <a:xfrm>
              <a:off x="4316416" y="8059993"/>
              <a:ext cx="435077" cy="435077"/>
            </a:xfrm>
            <a:custGeom>
              <a:avLst/>
              <a:gdLst>
                <a:gd name="connsiteX0" fmla="*/ 435077 w 435077"/>
                <a:gd name="connsiteY0" fmla="*/ 435077 h 435077"/>
                <a:gd name="connsiteX1" fmla="*/ 435077 w 435077"/>
                <a:gd name="connsiteY1" fmla="*/ 0 h 435077"/>
                <a:gd name="connsiteX2" fmla="*/ 217565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72" name="Freeform: Shape 271">
              <a:extLst>
                <a:ext uri="{FF2B5EF4-FFF2-40B4-BE49-F238E27FC236}">
                  <a16:creationId xmlns:a16="http://schemas.microsoft.com/office/drawing/2014/main" id="{48FBEA84-A691-AF7A-C689-5CD4C4C56F40}"/>
                </a:ext>
              </a:extLst>
            </p:cNvPr>
            <p:cNvSpPr/>
            <p:nvPr/>
          </p:nvSpPr>
          <p:spPr>
            <a:xfrm>
              <a:off x="3446261" y="8059993"/>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27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27"/>
                  </a:lnTo>
                  <a:lnTo>
                    <a:pt x="217539"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73" name="Freeform: Shape 272">
              <a:extLst>
                <a:ext uri="{FF2B5EF4-FFF2-40B4-BE49-F238E27FC236}">
                  <a16:creationId xmlns:a16="http://schemas.microsoft.com/office/drawing/2014/main" id="{F6B0AFEC-9A2D-0EF6-A472-8FD63CD3FCE2}"/>
                </a:ext>
              </a:extLst>
            </p:cNvPr>
            <p:cNvSpPr/>
            <p:nvPr/>
          </p:nvSpPr>
          <p:spPr>
            <a:xfrm>
              <a:off x="5186597" y="805999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6" y="153827"/>
                  </a:cubicBezTo>
                  <a:cubicBezTo>
                    <a:pt x="330550" y="194616"/>
                    <a:pt x="275241" y="217539"/>
                    <a:pt x="217539" y="217539"/>
                  </a:cubicBezTo>
                  <a:cubicBezTo>
                    <a:pt x="159837" y="217539"/>
                    <a:pt x="104501" y="194616"/>
                    <a:pt x="63712" y="153827"/>
                  </a:cubicBezTo>
                  <a:close/>
                  <a:moveTo>
                    <a:pt x="63712" y="281250"/>
                  </a:moveTo>
                  <a:cubicBezTo>
                    <a:pt x="22924" y="322066"/>
                    <a:pt x="0" y="377402"/>
                    <a:pt x="0" y="435077"/>
                  </a:cubicBezTo>
                  <a:lnTo>
                    <a:pt x="217539" y="435077"/>
                  </a:lnTo>
                  <a:lnTo>
                    <a:pt x="435077" y="435077"/>
                  </a:lnTo>
                  <a:cubicBezTo>
                    <a:pt x="435077" y="377402"/>
                    <a:pt x="412155" y="322066"/>
                    <a:pt x="371366" y="281250"/>
                  </a:cubicBezTo>
                  <a:cubicBezTo>
                    <a:pt x="330550" y="240462"/>
                    <a:pt x="275241" y="217539"/>
                    <a:pt x="217539" y="217539"/>
                  </a:cubicBezTo>
                  <a:cubicBezTo>
                    <a:pt x="159837" y="217539"/>
                    <a:pt x="104501" y="240462"/>
                    <a:pt x="63712" y="281250"/>
                  </a:cubicBezTo>
                  <a:close/>
                </a:path>
              </a:pathLst>
            </a:custGeom>
            <a:grpFill/>
            <a:ln w="27192" cap="flat">
              <a:noFill/>
              <a:prstDash val="solid"/>
              <a:miter/>
            </a:ln>
          </p:spPr>
          <p:txBody>
            <a:bodyPr rtlCol="0" anchor="ctr"/>
            <a:lstStyle/>
            <a:p>
              <a:endParaRPr lang="uk-UA" sz="900">
                <a:solidFill>
                  <a:schemeClr val="bg1"/>
                </a:solidFill>
              </a:endParaRPr>
            </a:p>
          </p:txBody>
        </p:sp>
        <p:sp>
          <p:nvSpPr>
            <p:cNvPr id="274" name="Freeform: Shape 273">
              <a:extLst>
                <a:ext uri="{FF2B5EF4-FFF2-40B4-BE49-F238E27FC236}">
                  <a16:creationId xmlns:a16="http://schemas.microsoft.com/office/drawing/2014/main" id="{846C56C6-05EB-D9B1-660E-D1FE8678761F}"/>
                </a:ext>
              </a:extLst>
            </p:cNvPr>
            <p:cNvSpPr/>
            <p:nvPr/>
          </p:nvSpPr>
          <p:spPr>
            <a:xfrm>
              <a:off x="6056752" y="805999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75" name="Freeform: Shape 274">
              <a:extLst>
                <a:ext uri="{FF2B5EF4-FFF2-40B4-BE49-F238E27FC236}">
                  <a16:creationId xmlns:a16="http://schemas.microsoft.com/office/drawing/2014/main" id="{DFEE5370-9C8F-6102-E73A-C9396B79209B}"/>
                </a:ext>
              </a:extLst>
            </p:cNvPr>
            <p:cNvSpPr/>
            <p:nvPr/>
          </p:nvSpPr>
          <p:spPr>
            <a:xfrm>
              <a:off x="7797062" y="8059993"/>
              <a:ext cx="435077" cy="435077"/>
            </a:xfrm>
            <a:custGeom>
              <a:avLst/>
              <a:gdLst>
                <a:gd name="connsiteX0" fmla="*/ 435077 w 435077"/>
                <a:gd name="connsiteY0" fmla="*/ 435077 h 435077"/>
                <a:gd name="connsiteX1" fmla="*/ 435077 w 435077"/>
                <a:gd name="connsiteY1" fmla="*/ 0 h 435077"/>
                <a:gd name="connsiteX2" fmla="*/ 217566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6"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76" name="Freeform: Shape 275">
              <a:extLst>
                <a:ext uri="{FF2B5EF4-FFF2-40B4-BE49-F238E27FC236}">
                  <a16:creationId xmlns:a16="http://schemas.microsoft.com/office/drawing/2014/main" id="{589DD3FA-F7EE-DB13-40FF-E65407A18FB1}"/>
                </a:ext>
              </a:extLst>
            </p:cNvPr>
            <p:cNvSpPr/>
            <p:nvPr/>
          </p:nvSpPr>
          <p:spPr>
            <a:xfrm>
              <a:off x="6926907" y="8059993"/>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27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27"/>
                  </a:lnTo>
                  <a:lnTo>
                    <a:pt x="217539"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77" name="Freeform: Shape 276">
              <a:extLst>
                <a:ext uri="{FF2B5EF4-FFF2-40B4-BE49-F238E27FC236}">
                  <a16:creationId xmlns:a16="http://schemas.microsoft.com/office/drawing/2014/main" id="{97AE84CD-1C85-E7FB-0134-1BDB5E27F985}"/>
                </a:ext>
              </a:extLst>
            </p:cNvPr>
            <p:cNvSpPr/>
            <p:nvPr/>
          </p:nvSpPr>
          <p:spPr>
            <a:xfrm>
              <a:off x="8667217" y="8059993"/>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39 w 435077"/>
                <a:gd name="connsiteY6" fmla="*/ 153827 h 435077"/>
                <a:gd name="connsiteX7" fmla="*/ 63739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39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4" y="113039"/>
                    <a:pt x="0" y="57702"/>
                    <a:pt x="0" y="0"/>
                  </a:cubicBezTo>
                  <a:lnTo>
                    <a:pt x="217539" y="0"/>
                  </a:lnTo>
                  <a:lnTo>
                    <a:pt x="435077" y="0"/>
                  </a:lnTo>
                  <a:cubicBezTo>
                    <a:pt x="435077" y="57702"/>
                    <a:pt x="412182" y="113039"/>
                    <a:pt x="371366" y="153827"/>
                  </a:cubicBezTo>
                  <a:cubicBezTo>
                    <a:pt x="330578" y="194616"/>
                    <a:pt x="275241" y="217539"/>
                    <a:pt x="217539" y="217539"/>
                  </a:cubicBezTo>
                  <a:cubicBezTo>
                    <a:pt x="159864" y="217539"/>
                    <a:pt x="104527" y="194616"/>
                    <a:pt x="63739" y="153827"/>
                  </a:cubicBezTo>
                  <a:close/>
                  <a:moveTo>
                    <a:pt x="63739" y="281250"/>
                  </a:moveTo>
                  <a:cubicBezTo>
                    <a:pt x="22924" y="322066"/>
                    <a:pt x="0" y="377402"/>
                    <a:pt x="0" y="435077"/>
                  </a:cubicBezTo>
                  <a:lnTo>
                    <a:pt x="217539" y="435077"/>
                  </a:lnTo>
                  <a:lnTo>
                    <a:pt x="435077" y="435077"/>
                  </a:lnTo>
                  <a:cubicBezTo>
                    <a:pt x="435077" y="377402"/>
                    <a:pt x="412182" y="322066"/>
                    <a:pt x="371366" y="281250"/>
                  </a:cubicBezTo>
                  <a:cubicBezTo>
                    <a:pt x="330578" y="240462"/>
                    <a:pt x="275241" y="217539"/>
                    <a:pt x="217539" y="217539"/>
                  </a:cubicBezTo>
                  <a:cubicBezTo>
                    <a:pt x="159864" y="217539"/>
                    <a:pt x="104527" y="240462"/>
                    <a:pt x="63739" y="281250"/>
                  </a:cubicBezTo>
                  <a:close/>
                </a:path>
              </a:pathLst>
            </a:custGeom>
            <a:grpFill/>
            <a:ln w="27192" cap="flat">
              <a:noFill/>
              <a:prstDash val="solid"/>
              <a:miter/>
            </a:ln>
          </p:spPr>
          <p:txBody>
            <a:bodyPr rtlCol="0" anchor="ctr"/>
            <a:lstStyle/>
            <a:p>
              <a:endParaRPr lang="uk-UA" sz="900">
                <a:solidFill>
                  <a:schemeClr val="bg1"/>
                </a:solidFill>
              </a:endParaRPr>
            </a:p>
          </p:txBody>
        </p:sp>
        <p:sp>
          <p:nvSpPr>
            <p:cNvPr id="278" name="Freeform: Shape 277">
              <a:extLst>
                <a:ext uri="{FF2B5EF4-FFF2-40B4-BE49-F238E27FC236}">
                  <a16:creationId xmlns:a16="http://schemas.microsoft.com/office/drawing/2014/main" id="{1BD8892B-D91A-80A7-857F-EEB6ABC15B34}"/>
                </a:ext>
              </a:extLst>
            </p:cNvPr>
            <p:cNvSpPr/>
            <p:nvPr/>
          </p:nvSpPr>
          <p:spPr>
            <a:xfrm>
              <a:off x="9537399" y="805999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1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1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1" y="217539"/>
                  </a:lnTo>
                  <a:lnTo>
                    <a:pt x="0" y="217539"/>
                  </a:lnTo>
                  <a:close/>
                  <a:moveTo>
                    <a:pt x="0" y="435077"/>
                  </a:moveTo>
                  <a:lnTo>
                    <a:pt x="0" y="217539"/>
                  </a:lnTo>
                  <a:lnTo>
                    <a:pt x="217511"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79" name="Freeform: Shape 278">
              <a:extLst>
                <a:ext uri="{FF2B5EF4-FFF2-40B4-BE49-F238E27FC236}">
                  <a16:creationId xmlns:a16="http://schemas.microsoft.com/office/drawing/2014/main" id="{CE516960-B56E-0394-B180-AD9F14B5329B}"/>
                </a:ext>
              </a:extLst>
            </p:cNvPr>
            <p:cNvSpPr/>
            <p:nvPr/>
          </p:nvSpPr>
          <p:spPr>
            <a:xfrm>
              <a:off x="11277709" y="805999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0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0"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80" name="Freeform: Shape 279">
              <a:extLst>
                <a:ext uri="{FF2B5EF4-FFF2-40B4-BE49-F238E27FC236}">
                  <a16:creationId xmlns:a16="http://schemas.microsoft.com/office/drawing/2014/main" id="{1FDE3508-EDAD-9049-33AD-09E9BA35926A}"/>
                </a:ext>
              </a:extLst>
            </p:cNvPr>
            <p:cNvSpPr/>
            <p:nvPr/>
          </p:nvSpPr>
          <p:spPr>
            <a:xfrm>
              <a:off x="10407554" y="8059993"/>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27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27"/>
                  </a:lnTo>
                  <a:lnTo>
                    <a:pt x="217539"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81" name="Freeform: Shape 280">
              <a:extLst>
                <a:ext uri="{FF2B5EF4-FFF2-40B4-BE49-F238E27FC236}">
                  <a16:creationId xmlns:a16="http://schemas.microsoft.com/office/drawing/2014/main" id="{04D54B80-C134-9A6B-972B-C0CF13911D54}"/>
                </a:ext>
              </a:extLst>
            </p:cNvPr>
            <p:cNvSpPr/>
            <p:nvPr/>
          </p:nvSpPr>
          <p:spPr>
            <a:xfrm>
              <a:off x="12147864" y="8059993"/>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39 w 435077"/>
                <a:gd name="connsiteY6" fmla="*/ 153827 h 435077"/>
                <a:gd name="connsiteX7" fmla="*/ 63739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0 h 435077"/>
                <a:gd name="connsiteX12" fmla="*/ 217539 w 435077"/>
                <a:gd name="connsiteY12" fmla="*/ 217539 h 435077"/>
                <a:gd name="connsiteX13" fmla="*/ 63739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2" y="113039"/>
                    <a:pt x="0" y="57702"/>
                    <a:pt x="0" y="0"/>
                  </a:cubicBezTo>
                  <a:lnTo>
                    <a:pt x="217539" y="0"/>
                  </a:lnTo>
                  <a:lnTo>
                    <a:pt x="435077" y="0"/>
                  </a:lnTo>
                  <a:cubicBezTo>
                    <a:pt x="435077" y="57702"/>
                    <a:pt x="412180" y="113039"/>
                    <a:pt x="371365" y="153827"/>
                  </a:cubicBezTo>
                  <a:cubicBezTo>
                    <a:pt x="330577" y="194616"/>
                    <a:pt x="275239" y="217539"/>
                    <a:pt x="217539" y="217539"/>
                  </a:cubicBezTo>
                  <a:cubicBezTo>
                    <a:pt x="159863" y="217539"/>
                    <a:pt x="104527" y="194616"/>
                    <a:pt x="63739" y="153827"/>
                  </a:cubicBezTo>
                  <a:close/>
                  <a:moveTo>
                    <a:pt x="63739" y="281250"/>
                  </a:moveTo>
                  <a:cubicBezTo>
                    <a:pt x="22922" y="322066"/>
                    <a:pt x="0" y="377402"/>
                    <a:pt x="0" y="435077"/>
                  </a:cubicBezTo>
                  <a:lnTo>
                    <a:pt x="217539" y="435077"/>
                  </a:lnTo>
                  <a:lnTo>
                    <a:pt x="435077" y="435077"/>
                  </a:lnTo>
                  <a:cubicBezTo>
                    <a:pt x="435077" y="377402"/>
                    <a:pt x="412180" y="322066"/>
                    <a:pt x="371365" y="281250"/>
                  </a:cubicBezTo>
                  <a:cubicBezTo>
                    <a:pt x="330577" y="240462"/>
                    <a:pt x="275239" y="217539"/>
                    <a:pt x="217539" y="217539"/>
                  </a:cubicBezTo>
                  <a:cubicBezTo>
                    <a:pt x="159863" y="217539"/>
                    <a:pt x="104527" y="240462"/>
                    <a:pt x="63739" y="281250"/>
                  </a:cubicBezTo>
                  <a:close/>
                </a:path>
              </a:pathLst>
            </a:custGeom>
            <a:grpFill/>
            <a:ln w="27192" cap="flat">
              <a:noFill/>
              <a:prstDash val="solid"/>
              <a:miter/>
            </a:ln>
          </p:spPr>
          <p:txBody>
            <a:bodyPr rtlCol="0" anchor="ctr"/>
            <a:lstStyle/>
            <a:p>
              <a:endParaRPr lang="uk-UA" sz="900">
                <a:solidFill>
                  <a:schemeClr val="bg1"/>
                </a:solidFill>
              </a:endParaRPr>
            </a:p>
          </p:txBody>
        </p:sp>
        <p:sp>
          <p:nvSpPr>
            <p:cNvPr id="282" name="Freeform: Shape 281">
              <a:extLst>
                <a:ext uri="{FF2B5EF4-FFF2-40B4-BE49-F238E27FC236}">
                  <a16:creationId xmlns:a16="http://schemas.microsoft.com/office/drawing/2014/main" id="{93A4D39C-7A85-4CBD-879E-8D2A0EDCC5C4}"/>
                </a:ext>
              </a:extLst>
            </p:cNvPr>
            <p:cNvSpPr/>
            <p:nvPr/>
          </p:nvSpPr>
          <p:spPr>
            <a:xfrm>
              <a:off x="13018045" y="805999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83" name="Freeform: Shape 282">
              <a:extLst>
                <a:ext uri="{FF2B5EF4-FFF2-40B4-BE49-F238E27FC236}">
                  <a16:creationId xmlns:a16="http://schemas.microsoft.com/office/drawing/2014/main" id="{A338F298-FEB1-E57A-0634-2CE9107D3D5C}"/>
                </a:ext>
              </a:extLst>
            </p:cNvPr>
            <p:cNvSpPr/>
            <p:nvPr/>
          </p:nvSpPr>
          <p:spPr>
            <a:xfrm>
              <a:off x="14758382" y="805999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2"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84" name="Freeform: Shape 283">
              <a:extLst>
                <a:ext uri="{FF2B5EF4-FFF2-40B4-BE49-F238E27FC236}">
                  <a16:creationId xmlns:a16="http://schemas.microsoft.com/office/drawing/2014/main" id="{4D45B50A-63F7-97DF-EBD8-4ACAE4D1E5E9}"/>
                </a:ext>
              </a:extLst>
            </p:cNvPr>
            <p:cNvSpPr/>
            <p:nvPr/>
          </p:nvSpPr>
          <p:spPr>
            <a:xfrm>
              <a:off x="13888200" y="8059993"/>
              <a:ext cx="435103" cy="435077"/>
            </a:xfrm>
            <a:custGeom>
              <a:avLst/>
              <a:gdLst>
                <a:gd name="connsiteX0" fmla="*/ 217565 w 435103"/>
                <a:gd name="connsiteY0" fmla="*/ 435077 h 435077"/>
                <a:gd name="connsiteX1" fmla="*/ 217565 w 435103"/>
                <a:gd name="connsiteY1" fmla="*/ 0 h 435077"/>
                <a:gd name="connsiteX2" fmla="*/ 435104 w 435103"/>
                <a:gd name="connsiteY2" fmla="*/ 217539 h 435077"/>
                <a:gd name="connsiteX3" fmla="*/ 217565 w 435103"/>
                <a:gd name="connsiteY3" fmla="*/ 435077 h 435077"/>
                <a:gd name="connsiteX4" fmla="*/ 0 w 435103"/>
                <a:gd name="connsiteY4" fmla="*/ 435077 h 435077"/>
                <a:gd name="connsiteX5" fmla="*/ 0 w 435103"/>
                <a:gd name="connsiteY5" fmla="*/ 27 h 435077"/>
                <a:gd name="connsiteX6" fmla="*/ 217539 w 435103"/>
                <a:gd name="connsiteY6" fmla="*/ 217566 h 435077"/>
                <a:gd name="connsiteX7" fmla="*/ 0 w 435103"/>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103" h="435077">
                  <a:moveTo>
                    <a:pt x="217565" y="435077"/>
                  </a:moveTo>
                  <a:lnTo>
                    <a:pt x="217565" y="0"/>
                  </a:lnTo>
                  <a:lnTo>
                    <a:pt x="435104" y="217539"/>
                  </a:lnTo>
                  <a:lnTo>
                    <a:pt x="217565" y="435077"/>
                  </a:lnTo>
                  <a:close/>
                  <a:moveTo>
                    <a:pt x="0" y="435077"/>
                  </a:moveTo>
                  <a:lnTo>
                    <a:pt x="0" y="27"/>
                  </a:lnTo>
                  <a:lnTo>
                    <a:pt x="217539"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85" name="Freeform: Shape 284">
              <a:extLst>
                <a:ext uri="{FF2B5EF4-FFF2-40B4-BE49-F238E27FC236}">
                  <a16:creationId xmlns:a16="http://schemas.microsoft.com/office/drawing/2014/main" id="{6E4DB89D-29D1-2692-8E8B-242BE9D5390C}"/>
                </a:ext>
              </a:extLst>
            </p:cNvPr>
            <p:cNvSpPr/>
            <p:nvPr/>
          </p:nvSpPr>
          <p:spPr>
            <a:xfrm>
              <a:off x="15628536" y="805999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7" y="153827"/>
                  </a:cubicBezTo>
                  <a:cubicBezTo>
                    <a:pt x="330578" y="194616"/>
                    <a:pt x="275241" y="217539"/>
                    <a:pt x="217539" y="217539"/>
                  </a:cubicBezTo>
                  <a:cubicBezTo>
                    <a:pt x="159865" y="217539"/>
                    <a:pt x="104527" y="194616"/>
                    <a:pt x="63712" y="153827"/>
                  </a:cubicBezTo>
                  <a:close/>
                  <a:moveTo>
                    <a:pt x="63712" y="281250"/>
                  </a:moveTo>
                  <a:cubicBezTo>
                    <a:pt x="22924" y="322066"/>
                    <a:pt x="0" y="377402"/>
                    <a:pt x="0" y="435077"/>
                  </a:cubicBezTo>
                  <a:lnTo>
                    <a:pt x="217539" y="435077"/>
                  </a:lnTo>
                  <a:lnTo>
                    <a:pt x="435077" y="435077"/>
                  </a:lnTo>
                  <a:cubicBezTo>
                    <a:pt x="435077" y="377402"/>
                    <a:pt x="412155" y="322066"/>
                    <a:pt x="371367" y="281250"/>
                  </a:cubicBezTo>
                  <a:cubicBezTo>
                    <a:pt x="330578" y="240462"/>
                    <a:pt x="275241" y="217539"/>
                    <a:pt x="217539" y="217539"/>
                  </a:cubicBezTo>
                  <a:cubicBezTo>
                    <a:pt x="159865" y="217539"/>
                    <a:pt x="104527" y="240462"/>
                    <a:pt x="63712" y="281250"/>
                  </a:cubicBezTo>
                  <a:close/>
                </a:path>
              </a:pathLst>
            </a:custGeom>
            <a:grpFill/>
            <a:ln w="27192" cap="flat">
              <a:noFill/>
              <a:prstDash val="solid"/>
              <a:miter/>
            </a:ln>
          </p:spPr>
          <p:txBody>
            <a:bodyPr rtlCol="0" anchor="ctr"/>
            <a:lstStyle/>
            <a:p>
              <a:endParaRPr lang="uk-UA" sz="900">
                <a:solidFill>
                  <a:schemeClr val="bg1"/>
                </a:solidFill>
              </a:endParaRPr>
            </a:p>
          </p:txBody>
        </p:sp>
        <p:sp>
          <p:nvSpPr>
            <p:cNvPr id="286" name="Freeform: Shape 285">
              <a:extLst>
                <a:ext uri="{FF2B5EF4-FFF2-40B4-BE49-F238E27FC236}">
                  <a16:creationId xmlns:a16="http://schemas.microsoft.com/office/drawing/2014/main" id="{68BF470E-7491-3A16-15CB-D923A1B72AE8}"/>
                </a:ext>
              </a:extLst>
            </p:cNvPr>
            <p:cNvSpPr/>
            <p:nvPr/>
          </p:nvSpPr>
          <p:spPr>
            <a:xfrm>
              <a:off x="16498719" y="805999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0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0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0" y="217539"/>
                  </a:lnTo>
                  <a:lnTo>
                    <a:pt x="0" y="217539"/>
                  </a:lnTo>
                  <a:close/>
                  <a:moveTo>
                    <a:pt x="0" y="435077"/>
                  </a:moveTo>
                  <a:lnTo>
                    <a:pt x="0" y="217539"/>
                  </a:lnTo>
                  <a:lnTo>
                    <a:pt x="217510"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87" name="Freeform: Shape 286">
              <a:extLst>
                <a:ext uri="{FF2B5EF4-FFF2-40B4-BE49-F238E27FC236}">
                  <a16:creationId xmlns:a16="http://schemas.microsoft.com/office/drawing/2014/main" id="{1F86149C-A3EF-E9BF-CC02-70F54F718645}"/>
                </a:ext>
              </a:extLst>
            </p:cNvPr>
            <p:cNvSpPr/>
            <p:nvPr/>
          </p:nvSpPr>
          <p:spPr>
            <a:xfrm>
              <a:off x="18239029" y="8059993"/>
              <a:ext cx="435077" cy="435077"/>
            </a:xfrm>
            <a:custGeom>
              <a:avLst/>
              <a:gdLst>
                <a:gd name="connsiteX0" fmla="*/ 435077 w 435077"/>
                <a:gd name="connsiteY0" fmla="*/ 435077 h 435077"/>
                <a:gd name="connsiteX1" fmla="*/ 435077 w 435077"/>
                <a:gd name="connsiteY1" fmla="*/ 0 h 435077"/>
                <a:gd name="connsiteX2" fmla="*/ 217565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88" name="Freeform: Shape 287">
              <a:extLst>
                <a:ext uri="{FF2B5EF4-FFF2-40B4-BE49-F238E27FC236}">
                  <a16:creationId xmlns:a16="http://schemas.microsoft.com/office/drawing/2014/main" id="{C43356F1-358F-891B-FB2B-1343945D6DBE}"/>
                </a:ext>
              </a:extLst>
            </p:cNvPr>
            <p:cNvSpPr/>
            <p:nvPr/>
          </p:nvSpPr>
          <p:spPr>
            <a:xfrm>
              <a:off x="17368874" y="8059993"/>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27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27"/>
                  </a:lnTo>
                  <a:lnTo>
                    <a:pt x="217539"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89" name="Freeform: Shape 288">
              <a:extLst>
                <a:ext uri="{FF2B5EF4-FFF2-40B4-BE49-F238E27FC236}">
                  <a16:creationId xmlns:a16="http://schemas.microsoft.com/office/drawing/2014/main" id="{6C9809AE-A24C-C819-F254-B9E0C99A54A0}"/>
                </a:ext>
              </a:extLst>
            </p:cNvPr>
            <p:cNvSpPr/>
            <p:nvPr/>
          </p:nvSpPr>
          <p:spPr>
            <a:xfrm>
              <a:off x="19109210" y="805999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895" y="113039"/>
                    <a:pt x="0" y="57702"/>
                    <a:pt x="0" y="0"/>
                  </a:cubicBezTo>
                  <a:lnTo>
                    <a:pt x="217539" y="0"/>
                  </a:lnTo>
                  <a:lnTo>
                    <a:pt x="435077" y="0"/>
                  </a:lnTo>
                  <a:cubicBezTo>
                    <a:pt x="435077" y="57702"/>
                    <a:pt x="412154" y="113039"/>
                    <a:pt x="371339" y="153827"/>
                  </a:cubicBezTo>
                  <a:cubicBezTo>
                    <a:pt x="330550" y="194616"/>
                    <a:pt x="275215" y="217539"/>
                    <a:pt x="217539" y="217539"/>
                  </a:cubicBezTo>
                  <a:cubicBezTo>
                    <a:pt x="159836" y="217539"/>
                    <a:pt x="104501" y="194616"/>
                    <a:pt x="63712" y="153827"/>
                  </a:cubicBezTo>
                  <a:close/>
                  <a:moveTo>
                    <a:pt x="63712" y="281250"/>
                  </a:moveTo>
                  <a:cubicBezTo>
                    <a:pt x="22895" y="322066"/>
                    <a:pt x="0" y="377402"/>
                    <a:pt x="0" y="435077"/>
                  </a:cubicBezTo>
                  <a:lnTo>
                    <a:pt x="217539" y="435077"/>
                  </a:lnTo>
                  <a:lnTo>
                    <a:pt x="435077" y="435077"/>
                  </a:lnTo>
                  <a:cubicBezTo>
                    <a:pt x="435077" y="377402"/>
                    <a:pt x="412154" y="322066"/>
                    <a:pt x="371339" y="281250"/>
                  </a:cubicBezTo>
                  <a:cubicBezTo>
                    <a:pt x="330550" y="240462"/>
                    <a:pt x="275215" y="217539"/>
                    <a:pt x="217539" y="217539"/>
                  </a:cubicBezTo>
                  <a:cubicBezTo>
                    <a:pt x="159836" y="217539"/>
                    <a:pt x="104501" y="240462"/>
                    <a:pt x="63712" y="281250"/>
                  </a:cubicBezTo>
                  <a:close/>
                </a:path>
              </a:pathLst>
            </a:custGeom>
            <a:grpFill/>
            <a:ln w="27192" cap="flat">
              <a:noFill/>
              <a:prstDash val="solid"/>
              <a:miter/>
            </a:ln>
          </p:spPr>
          <p:txBody>
            <a:bodyPr rtlCol="0" anchor="ctr"/>
            <a:lstStyle/>
            <a:p>
              <a:endParaRPr lang="uk-UA" sz="900">
                <a:solidFill>
                  <a:schemeClr val="bg1"/>
                </a:solidFill>
              </a:endParaRPr>
            </a:p>
          </p:txBody>
        </p:sp>
        <p:sp>
          <p:nvSpPr>
            <p:cNvPr id="290" name="Freeform: Shape 289">
              <a:extLst>
                <a:ext uri="{FF2B5EF4-FFF2-40B4-BE49-F238E27FC236}">
                  <a16:creationId xmlns:a16="http://schemas.microsoft.com/office/drawing/2014/main" id="{2467DC7F-0C17-0C24-7913-1655EE6D3E21}"/>
                </a:ext>
              </a:extLst>
            </p:cNvPr>
            <p:cNvSpPr/>
            <p:nvPr/>
          </p:nvSpPr>
          <p:spPr>
            <a:xfrm>
              <a:off x="19979365" y="805999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91" name="Freeform: Shape 290">
              <a:extLst>
                <a:ext uri="{FF2B5EF4-FFF2-40B4-BE49-F238E27FC236}">
                  <a16:creationId xmlns:a16="http://schemas.microsoft.com/office/drawing/2014/main" id="{51DFB981-9C2D-FB29-E258-D0D3505C76E7}"/>
                </a:ext>
              </a:extLst>
            </p:cNvPr>
            <p:cNvSpPr/>
            <p:nvPr/>
          </p:nvSpPr>
          <p:spPr>
            <a:xfrm>
              <a:off x="21719702" y="805999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2"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92" name="Freeform: Shape 291">
              <a:extLst>
                <a:ext uri="{FF2B5EF4-FFF2-40B4-BE49-F238E27FC236}">
                  <a16:creationId xmlns:a16="http://schemas.microsoft.com/office/drawing/2014/main" id="{BB9F65C0-5D72-C915-E9AD-AA0240DC1D76}"/>
                </a:ext>
              </a:extLst>
            </p:cNvPr>
            <p:cNvSpPr/>
            <p:nvPr/>
          </p:nvSpPr>
          <p:spPr>
            <a:xfrm>
              <a:off x="20849520" y="8059993"/>
              <a:ext cx="435077" cy="435077"/>
            </a:xfrm>
            <a:custGeom>
              <a:avLst/>
              <a:gdLst>
                <a:gd name="connsiteX0" fmla="*/ 217565 w 435077"/>
                <a:gd name="connsiteY0" fmla="*/ 435077 h 435077"/>
                <a:gd name="connsiteX1" fmla="*/ 217565 w 435077"/>
                <a:gd name="connsiteY1" fmla="*/ 0 h 435077"/>
                <a:gd name="connsiteX2" fmla="*/ 435077 w 435077"/>
                <a:gd name="connsiteY2" fmla="*/ 217539 h 435077"/>
                <a:gd name="connsiteX3" fmla="*/ 217565 w 435077"/>
                <a:gd name="connsiteY3" fmla="*/ 435077 h 435077"/>
                <a:gd name="connsiteX4" fmla="*/ 0 w 435077"/>
                <a:gd name="connsiteY4" fmla="*/ 435077 h 435077"/>
                <a:gd name="connsiteX5" fmla="*/ 0 w 435077"/>
                <a:gd name="connsiteY5" fmla="*/ 27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65" y="435077"/>
                  </a:moveTo>
                  <a:lnTo>
                    <a:pt x="217565" y="0"/>
                  </a:lnTo>
                  <a:lnTo>
                    <a:pt x="435077" y="217539"/>
                  </a:lnTo>
                  <a:lnTo>
                    <a:pt x="217565" y="435077"/>
                  </a:lnTo>
                  <a:close/>
                  <a:moveTo>
                    <a:pt x="0" y="435077"/>
                  </a:moveTo>
                  <a:lnTo>
                    <a:pt x="0" y="27"/>
                  </a:lnTo>
                  <a:lnTo>
                    <a:pt x="217539"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93" name="Freeform: Shape 292">
              <a:extLst>
                <a:ext uri="{FF2B5EF4-FFF2-40B4-BE49-F238E27FC236}">
                  <a16:creationId xmlns:a16="http://schemas.microsoft.com/office/drawing/2014/main" id="{9902B549-22A9-01AA-8F83-DD39CC6E3BB1}"/>
                </a:ext>
              </a:extLst>
            </p:cNvPr>
            <p:cNvSpPr/>
            <p:nvPr/>
          </p:nvSpPr>
          <p:spPr>
            <a:xfrm>
              <a:off x="22589856" y="805999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7" y="153827"/>
                  </a:cubicBezTo>
                  <a:cubicBezTo>
                    <a:pt x="330578" y="194616"/>
                    <a:pt x="275241" y="217539"/>
                    <a:pt x="217539" y="217539"/>
                  </a:cubicBezTo>
                  <a:cubicBezTo>
                    <a:pt x="159838" y="217539"/>
                    <a:pt x="104529" y="194616"/>
                    <a:pt x="63712" y="153827"/>
                  </a:cubicBezTo>
                  <a:close/>
                  <a:moveTo>
                    <a:pt x="63712" y="281250"/>
                  </a:moveTo>
                  <a:cubicBezTo>
                    <a:pt x="22924" y="322066"/>
                    <a:pt x="0" y="377402"/>
                    <a:pt x="0" y="435077"/>
                  </a:cubicBezTo>
                  <a:lnTo>
                    <a:pt x="217539" y="435077"/>
                  </a:lnTo>
                  <a:lnTo>
                    <a:pt x="435077" y="435077"/>
                  </a:lnTo>
                  <a:cubicBezTo>
                    <a:pt x="435077" y="377402"/>
                    <a:pt x="412155" y="322066"/>
                    <a:pt x="371367" y="281250"/>
                  </a:cubicBezTo>
                  <a:cubicBezTo>
                    <a:pt x="330578" y="240462"/>
                    <a:pt x="275241" y="217539"/>
                    <a:pt x="217539" y="217539"/>
                  </a:cubicBezTo>
                  <a:cubicBezTo>
                    <a:pt x="159838" y="217539"/>
                    <a:pt x="104529" y="240462"/>
                    <a:pt x="63712" y="281250"/>
                  </a:cubicBezTo>
                  <a:close/>
                </a:path>
              </a:pathLst>
            </a:custGeom>
            <a:grpFill/>
            <a:ln w="27192" cap="flat">
              <a:noFill/>
              <a:prstDash val="solid"/>
              <a:miter/>
            </a:ln>
          </p:spPr>
          <p:txBody>
            <a:bodyPr rtlCol="0" anchor="ctr"/>
            <a:lstStyle/>
            <a:p>
              <a:endParaRPr lang="uk-UA" sz="900">
                <a:solidFill>
                  <a:schemeClr val="bg1"/>
                </a:solidFill>
              </a:endParaRPr>
            </a:p>
          </p:txBody>
        </p:sp>
        <p:sp>
          <p:nvSpPr>
            <p:cNvPr id="294" name="Freeform: Shape 293">
              <a:extLst>
                <a:ext uri="{FF2B5EF4-FFF2-40B4-BE49-F238E27FC236}">
                  <a16:creationId xmlns:a16="http://schemas.microsoft.com/office/drawing/2014/main" id="{1F5CB98A-8B57-778B-E4B8-9647175C2C5E}"/>
                </a:ext>
              </a:extLst>
            </p:cNvPr>
            <p:cNvSpPr/>
            <p:nvPr/>
          </p:nvSpPr>
          <p:spPr>
            <a:xfrm>
              <a:off x="23460011" y="8059993"/>
              <a:ext cx="435105" cy="435077"/>
            </a:xfrm>
            <a:custGeom>
              <a:avLst/>
              <a:gdLst>
                <a:gd name="connsiteX0" fmla="*/ 435106 w 435105"/>
                <a:gd name="connsiteY0" fmla="*/ 435077 h 435077"/>
                <a:gd name="connsiteX1" fmla="*/ 435106 w 435105"/>
                <a:gd name="connsiteY1" fmla="*/ 217566 h 435077"/>
                <a:gd name="connsiteX2" fmla="*/ 435106 w 435105"/>
                <a:gd name="connsiteY2" fmla="*/ 27 h 435077"/>
                <a:gd name="connsiteX3" fmla="*/ 217567 w 435105"/>
                <a:gd name="connsiteY3" fmla="*/ 27 h 435077"/>
                <a:gd name="connsiteX4" fmla="*/ 435106 w 435105"/>
                <a:gd name="connsiteY4" fmla="*/ 217566 h 435077"/>
                <a:gd name="connsiteX5" fmla="*/ 217567 w 435105"/>
                <a:gd name="connsiteY5" fmla="*/ 435077 h 435077"/>
                <a:gd name="connsiteX6" fmla="*/ 435106 w 435105"/>
                <a:gd name="connsiteY6" fmla="*/ 435077 h 435077"/>
                <a:gd name="connsiteX7" fmla="*/ 0 w 435105"/>
                <a:gd name="connsiteY7" fmla="*/ 217539 h 435077"/>
                <a:gd name="connsiteX8" fmla="*/ 0 w 435105"/>
                <a:gd name="connsiteY8" fmla="*/ 0 h 435077"/>
                <a:gd name="connsiteX9" fmla="*/ 217539 w 435105"/>
                <a:gd name="connsiteY9" fmla="*/ 217539 h 435077"/>
                <a:gd name="connsiteX10" fmla="*/ 0 w 435105"/>
                <a:gd name="connsiteY10" fmla="*/ 217539 h 435077"/>
                <a:gd name="connsiteX11" fmla="*/ 0 w 435105"/>
                <a:gd name="connsiteY11" fmla="*/ 435077 h 435077"/>
                <a:gd name="connsiteX12" fmla="*/ 0 w 435105"/>
                <a:gd name="connsiteY12" fmla="*/ 217539 h 435077"/>
                <a:gd name="connsiteX13" fmla="*/ 217539 w 435105"/>
                <a:gd name="connsiteY13" fmla="*/ 217539 h 435077"/>
                <a:gd name="connsiteX14" fmla="*/ 0 w 435105"/>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105" h="435077">
                  <a:moveTo>
                    <a:pt x="435106" y="435077"/>
                  </a:moveTo>
                  <a:lnTo>
                    <a:pt x="435106" y="217566"/>
                  </a:lnTo>
                  <a:lnTo>
                    <a:pt x="435106" y="27"/>
                  </a:lnTo>
                  <a:lnTo>
                    <a:pt x="217567" y="27"/>
                  </a:lnTo>
                  <a:lnTo>
                    <a:pt x="435106" y="217566"/>
                  </a:lnTo>
                  <a:lnTo>
                    <a:pt x="217567" y="435077"/>
                  </a:lnTo>
                  <a:lnTo>
                    <a:pt x="435106"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95" name="Freeform: Shape 294">
              <a:extLst>
                <a:ext uri="{FF2B5EF4-FFF2-40B4-BE49-F238E27FC236}">
                  <a16:creationId xmlns:a16="http://schemas.microsoft.com/office/drawing/2014/main" id="{DFF37818-17C4-6D3B-857F-FA0B61BA6EE2}"/>
                </a:ext>
              </a:extLst>
            </p:cNvPr>
            <p:cNvSpPr/>
            <p:nvPr/>
          </p:nvSpPr>
          <p:spPr>
            <a:xfrm>
              <a:off x="24330194" y="8059993"/>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27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27"/>
                  </a:lnTo>
                  <a:lnTo>
                    <a:pt x="217539"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96" name="Freeform: Shape 295">
              <a:extLst>
                <a:ext uri="{FF2B5EF4-FFF2-40B4-BE49-F238E27FC236}">
                  <a16:creationId xmlns:a16="http://schemas.microsoft.com/office/drawing/2014/main" id="{CB0CEF15-88FB-4FC1-FEB0-25DDD0D84C55}"/>
                </a:ext>
              </a:extLst>
            </p:cNvPr>
            <p:cNvSpPr/>
            <p:nvPr/>
          </p:nvSpPr>
          <p:spPr>
            <a:xfrm>
              <a:off x="835769" y="8930148"/>
              <a:ext cx="435077" cy="435104"/>
            </a:xfrm>
            <a:custGeom>
              <a:avLst/>
              <a:gdLst>
                <a:gd name="connsiteX0" fmla="*/ 0 w 435077"/>
                <a:gd name="connsiteY0" fmla="*/ 435077 h 435104"/>
                <a:gd name="connsiteX1" fmla="*/ 217511 w 435077"/>
                <a:gd name="connsiteY1" fmla="*/ 435077 h 435104"/>
                <a:gd name="connsiteX2" fmla="*/ 217511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11" y="435077"/>
                  </a:lnTo>
                  <a:lnTo>
                    <a:pt x="217511"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solidFill>
                  <a:schemeClr val="bg1"/>
                </a:solidFill>
              </a:endParaRPr>
            </a:p>
          </p:txBody>
        </p:sp>
        <p:sp>
          <p:nvSpPr>
            <p:cNvPr id="297" name="Freeform: Shape 296">
              <a:extLst>
                <a:ext uri="{FF2B5EF4-FFF2-40B4-BE49-F238E27FC236}">
                  <a16:creationId xmlns:a16="http://schemas.microsoft.com/office/drawing/2014/main" id="{28F9EC96-C988-1222-BC77-DE1D9778E99B}"/>
                </a:ext>
              </a:extLst>
            </p:cNvPr>
            <p:cNvSpPr/>
            <p:nvPr/>
          </p:nvSpPr>
          <p:spPr>
            <a:xfrm>
              <a:off x="-34398" y="8930148"/>
              <a:ext cx="435063" cy="435077"/>
            </a:xfrm>
            <a:custGeom>
              <a:avLst/>
              <a:gdLst>
                <a:gd name="connsiteX0" fmla="*/ 217525 w 435063"/>
                <a:gd name="connsiteY0" fmla="*/ 217539 h 435077"/>
                <a:gd name="connsiteX1" fmla="*/ 217525 w 435063"/>
                <a:gd name="connsiteY1" fmla="*/ 0 h 435077"/>
                <a:gd name="connsiteX2" fmla="*/ 0 w 435063"/>
                <a:gd name="connsiteY2" fmla="*/ 0 h 435077"/>
                <a:gd name="connsiteX3" fmla="*/ 217525 w 435063"/>
                <a:gd name="connsiteY3" fmla="*/ 217539 h 435077"/>
                <a:gd name="connsiteX4" fmla="*/ 0 w 435063"/>
                <a:gd name="connsiteY4" fmla="*/ 435077 h 435077"/>
                <a:gd name="connsiteX5" fmla="*/ 217525 w 435063"/>
                <a:gd name="connsiteY5" fmla="*/ 435077 h 435077"/>
                <a:gd name="connsiteX6" fmla="*/ 217525 w 435063"/>
                <a:gd name="connsiteY6" fmla="*/ 435077 h 435077"/>
                <a:gd name="connsiteX7" fmla="*/ 435064 w 435063"/>
                <a:gd name="connsiteY7" fmla="*/ 217566 h 435077"/>
                <a:gd name="connsiteX8" fmla="*/ 435064 w 435063"/>
                <a:gd name="connsiteY8" fmla="*/ 217566 h 435077"/>
                <a:gd name="connsiteX9" fmla="*/ 435064 w 435063"/>
                <a:gd name="connsiteY9" fmla="*/ 217539 h 435077"/>
                <a:gd name="connsiteX10" fmla="*/ 435064 w 435063"/>
                <a:gd name="connsiteY10" fmla="*/ 217539 h 435077"/>
                <a:gd name="connsiteX11" fmla="*/ 435064 w 435063"/>
                <a:gd name="connsiteY11" fmla="*/ 217539 h 435077"/>
                <a:gd name="connsiteX12" fmla="*/ 217525 w 435063"/>
                <a:gd name="connsiteY12" fmla="*/ 27 h 435077"/>
                <a:gd name="connsiteX13" fmla="*/ 217525 w 435063"/>
                <a:gd name="connsiteY13" fmla="*/ 217539 h 435077"/>
                <a:gd name="connsiteX14" fmla="*/ 217525 w 435063"/>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63" h="435077">
                  <a:moveTo>
                    <a:pt x="217525" y="217539"/>
                  </a:moveTo>
                  <a:lnTo>
                    <a:pt x="217525" y="0"/>
                  </a:lnTo>
                  <a:lnTo>
                    <a:pt x="0" y="0"/>
                  </a:lnTo>
                  <a:lnTo>
                    <a:pt x="217525" y="217539"/>
                  </a:lnTo>
                  <a:lnTo>
                    <a:pt x="0" y="435077"/>
                  </a:lnTo>
                  <a:lnTo>
                    <a:pt x="217525" y="435077"/>
                  </a:lnTo>
                  <a:lnTo>
                    <a:pt x="217525" y="435077"/>
                  </a:lnTo>
                  <a:lnTo>
                    <a:pt x="435064" y="217566"/>
                  </a:lnTo>
                  <a:lnTo>
                    <a:pt x="435064" y="217566"/>
                  </a:lnTo>
                  <a:lnTo>
                    <a:pt x="435064" y="217539"/>
                  </a:lnTo>
                  <a:lnTo>
                    <a:pt x="435064" y="217539"/>
                  </a:lnTo>
                  <a:lnTo>
                    <a:pt x="435064" y="217539"/>
                  </a:lnTo>
                  <a:lnTo>
                    <a:pt x="217525" y="27"/>
                  </a:lnTo>
                  <a:lnTo>
                    <a:pt x="217525" y="217539"/>
                  </a:lnTo>
                  <a:lnTo>
                    <a:pt x="217525"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298" name="Freeform: Shape 297">
              <a:extLst>
                <a:ext uri="{FF2B5EF4-FFF2-40B4-BE49-F238E27FC236}">
                  <a16:creationId xmlns:a16="http://schemas.microsoft.com/office/drawing/2014/main" id="{9B74DBFE-75BC-4642-E426-6C7A39757628}"/>
                </a:ext>
              </a:extLst>
            </p:cNvPr>
            <p:cNvSpPr/>
            <p:nvPr/>
          </p:nvSpPr>
          <p:spPr>
            <a:xfrm>
              <a:off x="1705924" y="8930148"/>
              <a:ext cx="435104" cy="435077"/>
            </a:xfrm>
            <a:custGeom>
              <a:avLst/>
              <a:gdLst>
                <a:gd name="connsiteX0" fmla="*/ 217539 w 435104"/>
                <a:gd name="connsiteY0" fmla="*/ 0 h 435077"/>
                <a:gd name="connsiteX1" fmla="*/ 0 w 435104"/>
                <a:gd name="connsiteY1" fmla="*/ 0 h 435077"/>
                <a:gd name="connsiteX2" fmla="*/ 0 w 435104"/>
                <a:gd name="connsiteY2" fmla="*/ 217539 h 435077"/>
                <a:gd name="connsiteX3" fmla="*/ 217539 w 435104"/>
                <a:gd name="connsiteY3" fmla="*/ 0 h 435077"/>
                <a:gd name="connsiteX4" fmla="*/ 435104 w 435104"/>
                <a:gd name="connsiteY4" fmla="*/ 27 h 435077"/>
                <a:gd name="connsiteX5" fmla="*/ 435104 w 435104"/>
                <a:gd name="connsiteY5" fmla="*/ 217566 h 435077"/>
                <a:gd name="connsiteX6" fmla="*/ 217566 w 435104"/>
                <a:gd name="connsiteY6" fmla="*/ 27 h 435077"/>
                <a:gd name="connsiteX7" fmla="*/ 435104 w 435104"/>
                <a:gd name="connsiteY7" fmla="*/ 27 h 435077"/>
                <a:gd name="connsiteX8" fmla="*/ 217566 w 435104"/>
                <a:gd name="connsiteY8" fmla="*/ 435077 h 435077"/>
                <a:gd name="connsiteX9" fmla="*/ 435104 w 435104"/>
                <a:gd name="connsiteY9" fmla="*/ 217566 h 435077"/>
                <a:gd name="connsiteX10" fmla="*/ 435104 w 435104"/>
                <a:gd name="connsiteY10" fmla="*/ 435077 h 435077"/>
                <a:gd name="connsiteX11" fmla="*/ 217566 w 435104"/>
                <a:gd name="connsiteY11" fmla="*/ 435077 h 435077"/>
                <a:gd name="connsiteX12" fmla="*/ 217566 w 435104"/>
                <a:gd name="connsiteY12" fmla="*/ 435077 h 435077"/>
                <a:gd name="connsiteX13" fmla="*/ 27 w 435104"/>
                <a:gd name="connsiteY13" fmla="*/ 217566 h 435077"/>
                <a:gd name="connsiteX14" fmla="*/ 27 w 435104"/>
                <a:gd name="connsiteY14" fmla="*/ 435077 h 435077"/>
                <a:gd name="connsiteX15" fmla="*/ 217566 w 435104"/>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4" h="435077">
                  <a:moveTo>
                    <a:pt x="217539" y="0"/>
                  </a:moveTo>
                  <a:lnTo>
                    <a:pt x="0" y="0"/>
                  </a:lnTo>
                  <a:lnTo>
                    <a:pt x="0" y="217539"/>
                  </a:lnTo>
                  <a:lnTo>
                    <a:pt x="217539" y="0"/>
                  </a:lnTo>
                  <a:close/>
                  <a:moveTo>
                    <a:pt x="435104" y="27"/>
                  </a:moveTo>
                  <a:lnTo>
                    <a:pt x="435104" y="217566"/>
                  </a:lnTo>
                  <a:lnTo>
                    <a:pt x="217566" y="27"/>
                  </a:lnTo>
                  <a:lnTo>
                    <a:pt x="435104" y="27"/>
                  </a:lnTo>
                  <a:close/>
                  <a:moveTo>
                    <a:pt x="217566" y="435077"/>
                  </a:moveTo>
                  <a:lnTo>
                    <a:pt x="435104" y="217566"/>
                  </a:lnTo>
                  <a:lnTo>
                    <a:pt x="435104" y="435077"/>
                  </a:lnTo>
                  <a:lnTo>
                    <a:pt x="217566" y="435077"/>
                  </a:lnTo>
                  <a:close/>
                  <a:moveTo>
                    <a:pt x="217566" y="435077"/>
                  </a:moveTo>
                  <a:lnTo>
                    <a:pt x="27" y="217566"/>
                  </a:lnTo>
                  <a:lnTo>
                    <a:pt x="27" y="435077"/>
                  </a:lnTo>
                  <a:lnTo>
                    <a:pt x="217566"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99" name="Freeform: Shape 298">
              <a:extLst>
                <a:ext uri="{FF2B5EF4-FFF2-40B4-BE49-F238E27FC236}">
                  <a16:creationId xmlns:a16="http://schemas.microsoft.com/office/drawing/2014/main" id="{91D0DB6E-87CB-4DE3-6CED-50778164910B}"/>
                </a:ext>
              </a:extLst>
            </p:cNvPr>
            <p:cNvSpPr/>
            <p:nvPr/>
          </p:nvSpPr>
          <p:spPr>
            <a:xfrm>
              <a:off x="2576106" y="8930148"/>
              <a:ext cx="435077" cy="435077"/>
            </a:xfrm>
            <a:custGeom>
              <a:avLst/>
              <a:gdLst>
                <a:gd name="connsiteX0" fmla="*/ 371366 w 435077"/>
                <a:gd name="connsiteY0" fmla="*/ 63739 h 435077"/>
                <a:gd name="connsiteX1" fmla="*/ 435077 w 435077"/>
                <a:gd name="connsiteY1" fmla="*/ 217539 h 435077"/>
                <a:gd name="connsiteX2" fmla="*/ 217702 w 435077"/>
                <a:gd name="connsiteY2" fmla="*/ 217539 h 435077"/>
                <a:gd name="connsiteX3" fmla="*/ 371366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6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39"/>
                  </a:moveTo>
                  <a:cubicBezTo>
                    <a:pt x="412154" y="104527"/>
                    <a:pt x="435077" y="159864"/>
                    <a:pt x="435077" y="217539"/>
                  </a:cubicBezTo>
                  <a:lnTo>
                    <a:pt x="217702" y="217539"/>
                  </a:lnTo>
                  <a:cubicBezTo>
                    <a:pt x="275350" y="217593"/>
                    <a:pt x="330605" y="240516"/>
                    <a:pt x="371366" y="281277"/>
                  </a:cubicBezTo>
                  <a:cubicBezTo>
                    <a:pt x="412154" y="322066"/>
                    <a:pt x="435077" y="377402"/>
                    <a:pt x="435077" y="435077"/>
                  </a:cubicBezTo>
                  <a:lnTo>
                    <a:pt x="217539" y="435077"/>
                  </a:lnTo>
                  <a:lnTo>
                    <a:pt x="0" y="435077"/>
                  </a:lnTo>
                  <a:cubicBezTo>
                    <a:pt x="0" y="377402"/>
                    <a:pt x="22923" y="322066"/>
                    <a:pt x="63712" y="281277"/>
                  </a:cubicBezTo>
                  <a:cubicBezTo>
                    <a:pt x="104473" y="240516"/>
                    <a:pt x="159728" y="217593"/>
                    <a:pt x="217376" y="217539"/>
                  </a:cubicBezTo>
                  <a:lnTo>
                    <a:pt x="0" y="217539"/>
                  </a:lnTo>
                  <a:cubicBezTo>
                    <a:pt x="0" y="159864"/>
                    <a:pt x="22923" y="104527"/>
                    <a:pt x="63712" y="63739"/>
                  </a:cubicBezTo>
                  <a:cubicBezTo>
                    <a:pt x="104500" y="22923"/>
                    <a:pt x="159837" y="0"/>
                    <a:pt x="217539" y="0"/>
                  </a:cubicBezTo>
                  <a:cubicBezTo>
                    <a:pt x="275214" y="0"/>
                    <a:pt x="330550" y="22923"/>
                    <a:pt x="371366" y="63739"/>
                  </a:cubicBezTo>
                  <a:close/>
                </a:path>
              </a:pathLst>
            </a:custGeom>
            <a:grpFill/>
            <a:ln w="27192" cap="flat">
              <a:noFill/>
              <a:prstDash val="solid"/>
              <a:miter/>
            </a:ln>
          </p:spPr>
          <p:txBody>
            <a:bodyPr rtlCol="0" anchor="ctr"/>
            <a:lstStyle/>
            <a:p>
              <a:endParaRPr lang="uk-UA" sz="900">
                <a:solidFill>
                  <a:schemeClr val="bg1"/>
                </a:solidFill>
              </a:endParaRPr>
            </a:p>
          </p:txBody>
        </p:sp>
        <p:sp>
          <p:nvSpPr>
            <p:cNvPr id="300" name="Freeform: Shape 299">
              <a:extLst>
                <a:ext uri="{FF2B5EF4-FFF2-40B4-BE49-F238E27FC236}">
                  <a16:creationId xmlns:a16="http://schemas.microsoft.com/office/drawing/2014/main" id="{1CFDAF73-4C6F-636A-864E-C1F672192C6F}"/>
                </a:ext>
              </a:extLst>
            </p:cNvPr>
            <p:cNvSpPr/>
            <p:nvPr/>
          </p:nvSpPr>
          <p:spPr>
            <a:xfrm>
              <a:off x="4316442" y="8930148"/>
              <a:ext cx="435050" cy="435104"/>
            </a:xfrm>
            <a:custGeom>
              <a:avLst/>
              <a:gdLst>
                <a:gd name="connsiteX0" fmla="*/ 0 w 435050"/>
                <a:gd name="connsiteY0" fmla="*/ 435077 h 435104"/>
                <a:gd name="connsiteX1" fmla="*/ 217512 w 435050"/>
                <a:gd name="connsiteY1" fmla="*/ 435077 h 435104"/>
                <a:gd name="connsiteX2" fmla="*/ 217512 w 435050"/>
                <a:gd name="connsiteY2" fmla="*/ 217566 h 435104"/>
                <a:gd name="connsiteX3" fmla="*/ 0 w 435050"/>
                <a:gd name="connsiteY3" fmla="*/ 435077 h 435104"/>
                <a:gd name="connsiteX4" fmla="*/ 217512 w 435050"/>
                <a:gd name="connsiteY4" fmla="*/ 0 h 435104"/>
                <a:gd name="connsiteX5" fmla="*/ 0 w 435050"/>
                <a:gd name="connsiteY5" fmla="*/ 0 h 435104"/>
                <a:gd name="connsiteX6" fmla="*/ 217512 w 435050"/>
                <a:gd name="connsiteY6" fmla="*/ 217539 h 435104"/>
                <a:gd name="connsiteX7" fmla="*/ 217512 w 435050"/>
                <a:gd name="connsiteY7" fmla="*/ 0 h 435104"/>
                <a:gd name="connsiteX8" fmla="*/ 435051 w 435050"/>
                <a:gd name="connsiteY8" fmla="*/ 435105 h 435104"/>
                <a:gd name="connsiteX9" fmla="*/ 217539 w 435050"/>
                <a:gd name="connsiteY9" fmla="*/ 435105 h 435104"/>
                <a:gd name="connsiteX10" fmla="*/ 435051 w 435050"/>
                <a:gd name="connsiteY10" fmla="*/ 217566 h 435104"/>
                <a:gd name="connsiteX11" fmla="*/ 435051 w 435050"/>
                <a:gd name="connsiteY11" fmla="*/ 435105 h 435104"/>
                <a:gd name="connsiteX12" fmla="*/ 435051 w 435050"/>
                <a:gd name="connsiteY12" fmla="*/ 27 h 435104"/>
                <a:gd name="connsiteX13" fmla="*/ 217539 w 435050"/>
                <a:gd name="connsiteY13" fmla="*/ 27 h 435104"/>
                <a:gd name="connsiteX14" fmla="*/ 435051 w 435050"/>
                <a:gd name="connsiteY14" fmla="*/ 217539 h 435104"/>
                <a:gd name="connsiteX15" fmla="*/ 435051 w 435050"/>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50" h="435104">
                  <a:moveTo>
                    <a:pt x="0" y="435077"/>
                  </a:moveTo>
                  <a:lnTo>
                    <a:pt x="217512" y="435077"/>
                  </a:lnTo>
                  <a:lnTo>
                    <a:pt x="217512" y="217566"/>
                  </a:lnTo>
                  <a:lnTo>
                    <a:pt x="0" y="435077"/>
                  </a:lnTo>
                  <a:close/>
                  <a:moveTo>
                    <a:pt x="217512" y="0"/>
                  </a:moveTo>
                  <a:lnTo>
                    <a:pt x="0" y="0"/>
                  </a:lnTo>
                  <a:lnTo>
                    <a:pt x="217512" y="217539"/>
                  </a:lnTo>
                  <a:lnTo>
                    <a:pt x="217512" y="0"/>
                  </a:lnTo>
                  <a:close/>
                  <a:moveTo>
                    <a:pt x="435051" y="435105"/>
                  </a:moveTo>
                  <a:lnTo>
                    <a:pt x="217539" y="435105"/>
                  </a:lnTo>
                  <a:lnTo>
                    <a:pt x="435051" y="217566"/>
                  </a:lnTo>
                  <a:lnTo>
                    <a:pt x="435051" y="435105"/>
                  </a:lnTo>
                  <a:close/>
                  <a:moveTo>
                    <a:pt x="435051" y="27"/>
                  </a:moveTo>
                  <a:lnTo>
                    <a:pt x="217539" y="27"/>
                  </a:lnTo>
                  <a:lnTo>
                    <a:pt x="435051" y="217539"/>
                  </a:lnTo>
                  <a:lnTo>
                    <a:pt x="435051" y="27"/>
                  </a:lnTo>
                  <a:close/>
                </a:path>
              </a:pathLst>
            </a:custGeom>
            <a:grpFill/>
            <a:ln w="27192" cap="flat">
              <a:noFill/>
              <a:prstDash val="solid"/>
              <a:miter/>
            </a:ln>
          </p:spPr>
          <p:txBody>
            <a:bodyPr rtlCol="0" anchor="ctr"/>
            <a:lstStyle/>
            <a:p>
              <a:endParaRPr lang="uk-UA" sz="900">
                <a:solidFill>
                  <a:schemeClr val="bg1"/>
                </a:solidFill>
              </a:endParaRPr>
            </a:p>
          </p:txBody>
        </p:sp>
        <p:sp>
          <p:nvSpPr>
            <p:cNvPr id="301" name="Freeform: Shape 300">
              <a:extLst>
                <a:ext uri="{FF2B5EF4-FFF2-40B4-BE49-F238E27FC236}">
                  <a16:creationId xmlns:a16="http://schemas.microsoft.com/office/drawing/2014/main" id="{418776E1-1FED-9CC9-14E0-8E1A481B810C}"/>
                </a:ext>
              </a:extLst>
            </p:cNvPr>
            <p:cNvSpPr/>
            <p:nvPr/>
          </p:nvSpPr>
          <p:spPr>
            <a:xfrm>
              <a:off x="3446261" y="893014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302" name="Freeform: Shape 301">
              <a:extLst>
                <a:ext uri="{FF2B5EF4-FFF2-40B4-BE49-F238E27FC236}">
                  <a16:creationId xmlns:a16="http://schemas.microsoft.com/office/drawing/2014/main" id="{31B4E590-C2F5-0F37-714F-9CA161A3F477}"/>
                </a:ext>
              </a:extLst>
            </p:cNvPr>
            <p:cNvSpPr/>
            <p:nvPr/>
          </p:nvSpPr>
          <p:spPr>
            <a:xfrm>
              <a:off x="5186597" y="8930148"/>
              <a:ext cx="435077" cy="435077"/>
            </a:xfrm>
            <a:custGeom>
              <a:avLst/>
              <a:gdLst>
                <a:gd name="connsiteX0" fmla="*/ 217539 w 435077"/>
                <a:gd name="connsiteY0" fmla="*/ 0 h 435077"/>
                <a:gd name="connsiteX1" fmla="*/ 217539 w 435077"/>
                <a:gd name="connsiteY1" fmla="*/ 0 h 435077"/>
                <a:gd name="connsiteX2" fmla="*/ 0 w 435077"/>
                <a:gd name="connsiteY2" fmla="*/ 0 h 435077"/>
                <a:gd name="connsiteX3" fmla="*/ 0 w 435077"/>
                <a:gd name="connsiteY3" fmla="*/ 217539 h 435077"/>
                <a:gd name="connsiteX4" fmla="*/ 217539 w 435077"/>
                <a:gd name="connsiteY4" fmla="*/ 27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217539" y="0"/>
                  </a:lnTo>
                  <a:lnTo>
                    <a:pt x="0" y="0"/>
                  </a:lnTo>
                  <a:lnTo>
                    <a:pt x="0" y="217539"/>
                  </a:lnTo>
                  <a:lnTo>
                    <a:pt x="217539" y="27"/>
                  </a:lnTo>
                  <a:lnTo>
                    <a:pt x="435077" y="217539"/>
                  </a:lnTo>
                  <a:lnTo>
                    <a:pt x="217539" y="435077"/>
                  </a:lnTo>
                  <a:lnTo>
                    <a:pt x="0" y="217539"/>
                  </a:lnTo>
                  <a:lnTo>
                    <a:pt x="0" y="435077"/>
                  </a:lnTo>
                  <a:lnTo>
                    <a:pt x="217539" y="435077"/>
                  </a:lnTo>
                  <a:lnTo>
                    <a:pt x="435077" y="435077"/>
                  </a:lnTo>
                  <a:lnTo>
                    <a:pt x="435077" y="217539"/>
                  </a:lnTo>
                  <a:lnTo>
                    <a:pt x="435077" y="0"/>
                  </a:lnTo>
                  <a:lnTo>
                    <a:pt x="217539" y="0"/>
                  </a:lnTo>
                  <a:close/>
                </a:path>
              </a:pathLst>
            </a:custGeom>
            <a:grpFill/>
            <a:ln w="27192" cap="flat">
              <a:noFill/>
              <a:prstDash val="solid"/>
              <a:miter/>
            </a:ln>
          </p:spPr>
          <p:txBody>
            <a:bodyPr rtlCol="0" anchor="ctr"/>
            <a:lstStyle/>
            <a:p>
              <a:endParaRPr lang="uk-UA" sz="900">
                <a:solidFill>
                  <a:schemeClr val="bg1"/>
                </a:solidFill>
              </a:endParaRPr>
            </a:p>
          </p:txBody>
        </p:sp>
        <p:sp>
          <p:nvSpPr>
            <p:cNvPr id="303" name="Freeform: Shape 302">
              <a:extLst>
                <a:ext uri="{FF2B5EF4-FFF2-40B4-BE49-F238E27FC236}">
                  <a16:creationId xmlns:a16="http://schemas.microsoft.com/office/drawing/2014/main" id="{E96B6B02-8A83-3B76-5D8D-F7D867E52F7A}"/>
                </a:ext>
              </a:extLst>
            </p:cNvPr>
            <p:cNvSpPr/>
            <p:nvPr/>
          </p:nvSpPr>
          <p:spPr>
            <a:xfrm>
              <a:off x="6056752" y="8930148"/>
              <a:ext cx="435077" cy="435077"/>
            </a:xfrm>
            <a:custGeom>
              <a:avLst/>
              <a:gdLst>
                <a:gd name="connsiteX0" fmla="*/ 371366 w 435077"/>
                <a:gd name="connsiteY0" fmla="*/ 63739 h 435077"/>
                <a:gd name="connsiteX1" fmla="*/ 435077 w 435077"/>
                <a:gd name="connsiteY1" fmla="*/ 217539 h 435077"/>
                <a:gd name="connsiteX2" fmla="*/ 217702 w 435077"/>
                <a:gd name="connsiteY2" fmla="*/ 217539 h 435077"/>
                <a:gd name="connsiteX3" fmla="*/ 371366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6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39"/>
                  </a:moveTo>
                  <a:cubicBezTo>
                    <a:pt x="412155" y="104527"/>
                    <a:pt x="435077" y="159864"/>
                    <a:pt x="435077" y="217539"/>
                  </a:cubicBezTo>
                  <a:lnTo>
                    <a:pt x="217702" y="217539"/>
                  </a:lnTo>
                  <a:cubicBezTo>
                    <a:pt x="275350" y="217593"/>
                    <a:pt x="330605" y="240516"/>
                    <a:pt x="371366" y="281277"/>
                  </a:cubicBezTo>
                  <a:cubicBezTo>
                    <a:pt x="412155" y="322066"/>
                    <a:pt x="435077" y="377402"/>
                    <a:pt x="435077" y="435077"/>
                  </a:cubicBezTo>
                  <a:lnTo>
                    <a:pt x="217539" y="435077"/>
                  </a:lnTo>
                  <a:lnTo>
                    <a:pt x="0" y="435077"/>
                  </a:lnTo>
                  <a:cubicBezTo>
                    <a:pt x="0" y="377402"/>
                    <a:pt x="22924" y="322066"/>
                    <a:pt x="63712" y="281277"/>
                  </a:cubicBezTo>
                  <a:cubicBezTo>
                    <a:pt x="104473" y="240516"/>
                    <a:pt x="159728" y="217593"/>
                    <a:pt x="217376" y="217539"/>
                  </a:cubicBezTo>
                  <a:lnTo>
                    <a:pt x="0" y="217539"/>
                  </a:lnTo>
                  <a:cubicBezTo>
                    <a:pt x="0" y="159864"/>
                    <a:pt x="22924" y="104527"/>
                    <a:pt x="63712" y="63739"/>
                  </a:cubicBezTo>
                  <a:cubicBezTo>
                    <a:pt x="104501" y="22923"/>
                    <a:pt x="159837" y="0"/>
                    <a:pt x="217539" y="0"/>
                  </a:cubicBezTo>
                  <a:cubicBezTo>
                    <a:pt x="275241" y="0"/>
                    <a:pt x="330550" y="22923"/>
                    <a:pt x="371366" y="63739"/>
                  </a:cubicBezTo>
                  <a:close/>
                </a:path>
              </a:pathLst>
            </a:custGeom>
            <a:grpFill/>
            <a:ln w="27192" cap="flat">
              <a:noFill/>
              <a:prstDash val="solid"/>
              <a:miter/>
            </a:ln>
          </p:spPr>
          <p:txBody>
            <a:bodyPr rtlCol="0" anchor="ctr"/>
            <a:lstStyle/>
            <a:p>
              <a:endParaRPr lang="uk-UA" sz="900">
                <a:solidFill>
                  <a:schemeClr val="bg1"/>
                </a:solidFill>
              </a:endParaRPr>
            </a:p>
          </p:txBody>
        </p:sp>
        <p:sp>
          <p:nvSpPr>
            <p:cNvPr id="304" name="Freeform: Shape 303">
              <a:extLst>
                <a:ext uri="{FF2B5EF4-FFF2-40B4-BE49-F238E27FC236}">
                  <a16:creationId xmlns:a16="http://schemas.microsoft.com/office/drawing/2014/main" id="{47F7E29E-D9FE-470D-2EBC-75008B0E5A56}"/>
                </a:ext>
              </a:extLst>
            </p:cNvPr>
            <p:cNvSpPr/>
            <p:nvPr/>
          </p:nvSpPr>
          <p:spPr>
            <a:xfrm>
              <a:off x="7797089" y="8930148"/>
              <a:ext cx="435050" cy="435104"/>
            </a:xfrm>
            <a:custGeom>
              <a:avLst/>
              <a:gdLst>
                <a:gd name="connsiteX0" fmla="*/ 0 w 435050"/>
                <a:gd name="connsiteY0" fmla="*/ 435077 h 435104"/>
                <a:gd name="connsiteX1" fmla="*/ 217511 w 435050"/>
                <a:gd name="connsiteY1" fmla="*/ 435077 h 435104"/>
                <a:gd name="connsiteX2" fmla="*/ 217511 w 435050"/>
                <a:gd name="connsiteY2" fmla="*/ 217566 h 435104"/>
                <a:gd name="connsiteX3" fmla="*/ 0 w 435050"/>
                <a:gd name="connsiteY3" fmla="*/ 435077 h 435104"/>
                <a:gd name="connsiteX4" fmla="*/ 217511 w 435050"/>
                <a:gd name="connsiteY4" fmla="*/ 0 h 435104"/>
                <a:gd name="connsiteX5" fmla="*/ 0 w 435050"/>
                <a:gd name="connsiteY5" fmla="*/ 0 h 435104"/>
                <a:gd name="connsiteX6" fmla="*/ 217511 w 435050"/>
                <a:gd name="connsiteY6" fmla="*/ 217539 h 435104"/>
                <a:gd name="connsiteX7" fmla="*/ 217511 w 435050"/>
                <a:gd name="connsiteY7" fmla="*/ 0 h 435104"/>
                <a:gd name="connsiteX8" fmla="*/ 435050 w 435050"/>
                <a:gd name="connsiteY8" fmla="*/ 435105 h 435104"/>
                <a:gd name="connsiteX9" fmla="*/ 217539 w 435050"/>
                <a:gd name="connsiteY9" fmla="*/ 435105 h 435104"/>
                <a:gd name="connsiteX10" fmla="*/ 435050 w 435050"/>
                <a:gd name="connsiteY10" fmla="*/ 217566 h 435104"/>
                <a:gd name="connsiteX11" fmla="*/ 435050 w 435050"/>
                <a:gd name="connsiteY11" fmla="*/ 435105 h 435104"/>
                <a:gd name="connsiteX12" fmla="*/ 435050 w 435050"/>
                <a:gd name="connsiteY12" fmla="*/ 27 h 435104"/>
                <a:gd name="connsiteX13" fmla="*/ 217539 w 435050"/>
                <a:gd name="connsiteY13" fmla="*/ 27 h 435104"/>
                <a:gd name="connsiteX14" fmla="*/ 435050 w 435050"/>
                <a:gd name="connsiteY14" fmla="*/ 217539 h 435104"/>
                <a:gd name="connsiteX15" fmla="*/ 435050 w 435050"/>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50" h="435104">
                  <a:moveTo>
                    <a:pt x="0" y="435077"/>
                  </a:moveTo>
                  <a:lnTo>
                    <a:pt x="217511" y="435077"/>
                  </a:lnTo>
                  <a:lnTo>
                    <a:pt x="217511" y="217566"/>
                  </a:lnTo>
                  <a:lnTo>
                    <a:pt x="0" y="435077"/>
                  </a:lnTo>
                  <a:close/>
                  <a:moveTo>
                    <a:pt x="217511" y="0"/>
                  </a:moveTo>
                  <a:lnTo>
                    <a:pt x="0" y="0"/>
                  </a:lnTo>
                  <a:lnTo>
                    <a:pt x="217511" y="217539"/>
                  </a:lnTo>
                  <a:lnTo>
                    <a:pt x="217511" y="0"/>
                  </a:lnTo>
                  <a:close/>
                  <a:moveTo>
                    <a:pt x="435050" y="435105"/>
                  </a:moveTo>
                  <a:lnTo>
                    <a:pt x="217539" y="435105"/>
                  </a:lnTo>
                  <a:lnTo>
                    <a:pt x="435050" y="217566"/>
                  </a:lnTo>
                  <a:lnTo>
                    <a:pt x="435050" y="435105"/>
                  </a:lnTo>
                  <a:close/>
                  <a:moveTo>
                    <a:pt x="435050" y="27"/>
                  </a:moveTo>
                  <a:lnTo>
                    <a:pt x="217539" y="27"/>
                  </a:lnTo>
                  <a:lnTo>
                    <a:pt x="435050" y="217539"/>
                  </a:lnTo>
                  <a:lnTo>
                    <a:pt x="435050" y="27"/>
                  </a:lnTo>
                  <a:close/>
                </a:path>
              </a:pathLst>
            </a:custGeom>
            <a:grpFill/>
            <a:ln w="27192" cap="flat">
              <a:noFill/>
              <a:prstDash val="solid"/>
              <a:miter/>
            </a:ln>
          </p:spPr>
          <p:txBody>
            <a:bodyPr rtlCol="0" anchor="ctr"/>
            <a:lstStyle/>
            <a:p>
              <a:endParaRPr lang="uk-UA" sz="900">
                <a:solidFill>
                  <a:schemeClr val="bg1"/>
                </a:solidFill>
              </a:endParaRPr>
            </a:p>
          </p:txBody>
        </p:sp>
        <p:sp>
          <p:nvSpPr>
            <p:cNvPr id="305" name="Freeform: Shape 304">
              <a:extLst>
                <a:ext uri="{FF2B5EF4-FFF2-40B4-BE49-F238E27FC236}">
                  <a16:creationId xmlns:a16="http://schemas.microsoft.com/office/drawing/2014/main" id="{A0EF2E33-655E-6367-CC9D-1A98D2340C33}"/>
                </a:ext>
              </a:extLst>
            </p:cNvPr>
            <p:cNvSpPr/>
            <p:nvPr/>
          </p:nvSpPr>
          <p:spPr>
            <a:xfrm>
              <a:off x="6926907" y="8930148"/>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27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66 h 435077"/>
                <a:gd name="connsiteX9" fmla="*/ 435077 w 435077"/>
                <a:gd name="connsiteY9" fmla="*/ 217566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27"/>
                  </a:lnTo>
                  <a:lnTo>
                    <a:pt x="435077" y="217539"/>
                  </a:lnTo>
                  <a:lnTo>
                    <a:pt x="435077" y="217539"/>
                  </a:lnTo>
                  <a:lnTo>
                    <a:pt x="435077" y="217539"/>
                  </a:lnTo>
                  <a:lnTo>
                    <a:pt x="435077" y="217566"/>
                  </a:lnTo>
                  <a:lnTo>
                    <a:pt x="435077" y="217566"/>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306" name="Freeform: Shape 305">
              <a:extLst>
                <a:ext uri="{FF2B5EF4-FFF2-40B4-BE49-F238E27FC236}">
                  <a16:creationId xmlns:a16="http://schemas.microsoft.com/office/drawing/2014/main" id="{5DADD265-44B7-13DF-2D08-3070A3B34287}"/>
                </a:ext>
              </a:extLst>
            </p:cNvPr>
            <p:cNvSpPr/>
            <p:nvPr/>
          </p:nvSpPr>
          <p:spPr>
            <a:xfrm>
              <a:off x="8667217" y="893014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solidFill>
                  <a:schemeClr val="bg1"/>
                </a:solidFill>
              </a:endParaRPr>
            </a:p>
          </p:txBody>
        </p:sp>
        <p:sp>
          <p:nvSpPr>
            <p:cNvPr id="307" name="Freeform: Shape 306">
              <a:extLst>
                <a:ext uri="{FF2B5EF4-FFF2-40B4-BE49-F238E27FC236}">
                  <a16:creationId xmlns:a16="http://schemas.microsoft.com/office/drawing/2014/main" id="{8ED5AC38-1B51-84A8-CDD2-493C136CAB5B}"/>
                </a:ext>
              </a:extLst>
            </p:cNvPr>
            <p:cNvSpPr/>
            <p:nvPr/>
          </p:nvSpPr>
          <p:spPr>
            <a:xfrm>
              <a:off x="9537399" y="8930148"/>
              <a:ext cx="435077" cy="435077"/>
            </a:xfrm>
            <a:custGeom>
              <a:avLst/>
              <a:gdLst>
                <a:gd name="connsiteX0" fmla="*/ 371366 w 435077"/>
                <a:gd name="connsiteY0" fmla="*/ 63739 h 435077"/>
                <a:gd name="connsiteX1" fmla="*/ 435077 w 435077"/>
                <a:gd name="connsiteY1" fmla="*/ 217539 h 435077"/>
                <a:gd name="connsiteX2" fmla="*/ 217702 w 435077"/>
                <a:gd name="connsiteY2" fmla="*/ 217539 h 435077"/>
                <a:gd name="connsiteX3" fmla="*/ 371366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1 w 435077"/>
                <a:gd name="connsiteY7" fmla="*/ 281277 h 435077"/>
                <a:gd name="connsiteX8" fmla="*/ 217375 w 435077"/>
                <a:gd name="connsiteY8" fmla="*/ 217539 h 435077"/>
                <a:gd name="connsiteX9" fmla="*/ 0 w 435077"/>
                <a:gd name="connsiteY9" fmla="*/ 217539 h 435077"/>
                <a:gd name="connsiteX10" fmla="*/ 63711 w 435077"/>
                <a:gd name="connsiteY10" fmla="*/ 63739 h 435077"/>
                <a:gd name="connsiteX11" fmla="*/ 217539 w 435077"/>
                <a:gd name="connsiteY11" fmla="*/ 0 h 435077"/>
                <a:gd name="connsiteX12" fmla="*/ 371366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39"/>
                  </a:moveTo>
                  <a:cubicBezTo>
                    <a:pt x="412155" y="104527"/>
                    <a:pt x="435077" y="159864"/>
                    <a:pt x="435077" y="217539"/>
                  </a:cubicBezTo>
                  <a:lnTo>
                    <a:pt x="217702" y="217539"/>
                  </a:lnTo>
                  <a:cubicBezTo>
                    <a:pt x="275322" y="217593"/>
                    <a:pt x="330604" y="240516"/>
                    <a:pt x="371366" y="281277"/>
                  </a:cubicBezTo>
                  <a:cubicBezTo>
                    <a:pt x="412155" y="322066"/>
                    <a:pt x="435077" y="377402"/>
                    <a:pt x="435077" y="435077"/>
                  </a:cubicBezTo>
                  <a:lnTo>
                    <a:pt x="217539" y="435077"/>
                  </a:lnTo>
                  <a:lnTo>
                    <a:pt x="0" y="435077"/>
                  </a:lnTo>
                  <a:cubicBezTo>
                    <a:pt x="0" y="377402"/>
                    <a:pt x="22923" y="322066"/>
                    <a:pt x="63711" y="281277"/>
                  </a:cubicBezTo>
                  <a:cubicBezTo>
                    <a:pt x="104473" y="240516"/>
                    <a:pt x="159728" y="217593"/>
                    <a:pt x="217375" y="217539"/>
                  </a:cubicBezTo>
                  <a:lnTo>
                    <a:pt x="0" y="217539"/>
                  </a:lnTo>
                  <a:cubicBezTo>
                    <a:pt x="0" y="159864"/>
                    <a:pt x="22923" y="104527"/>
                    <a:pt x="63711" y="63739"/>
                  </a:cubicBezTo>
                  <a:cubicBezTo>
                    <a:pt x="104500" y="22923"/>
                    <a:pt x="159836" y="0"/>
                    <a:pt x="217539" y="0"/>
                  </a:cubicBezTo>
                  <a:cubicBezTo>
                    <a:pt x="275214" y="0"/>
                    <a:pt x="330550" y="22923"/>
                    <a:pt x="371366" y="63739"/>
                  </a:cubicBezTo>
                  <a:close/>
                </a:path>
              </a:pathLst>
            </a:custGeom>
            <a:grpFill/>
            <a:ln w="27192" cap="flat">
              <a:noFill/>
              <a:prstDash val="solid"/>
              <a:miter/>
            </a:ln>
          </p:spPr>
          <p:txBody>
            <a:bodyPr rtlCol="0" anchor="ctr"/>
            <a:lstStyle/>
            <a:p>
              <a:endParaRPr lang="uk-UA" sz="900">
                <a:solidFill>
                  <a:schemeClr val="bg1"/>
                </a:solidFill>
              </a:endParaRPr>
            </a:p>
          </p:txBody>
        </p:sp>
        <p:sp>
          <p:nvSpPr>
            <p:cNvPr id="308" name="Freeform: Shape 307">
              <a:extLst>
                <a:ext uri="{FF2B5EF4-FFF2-40B4-BE49-F238E27FC236}">
                  <a16:creationId xmlns:a16="http://schemas.microsoft.com/office/drawing/2014/main" id="{E9AE34A6-0114-CFDA-CCD1-FE9E44A0F2C4}"/>
                </a:ext>
              </a:extLst>
            </p:cNvPr>
            <p:cNvSpPr/>
            <p:nvPr/>
          </p:nvSpPr>
          <p:spPr>
            <a:xfrm>
              <a:off x="11277709" y="893014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solidFill>
                  <a:schemeClr val="bg1"/>
                </a:solidFill>
              </a:endParaRPr>
            </a:p>
          </p:txBody>
        </p:sp>
        <p:sp>
          <p:nvSpPr>
            <p:cNvPr id="309" name="Freeform: Shape 308">
              <a:extLst>
                <a:ext uri="{FF2B5EF4-FFF2-40B4-BE49-F238E27FC236}">
                  <a16:creationId xmlns:a16="http://schemas.microsoft.com/office/drawing/2014/main" id="{03334361-F957-9B76-F7C7-F670E293D684}"/>
                </a:ext>
              </a:extLst>
            </p:cNvPr>
            <p:cNvSpPr/>
            <p:nvPr/>
          </p:nvSpPr>
          <p:spPr>
            <a:xfrm>
              <a:off x="10407554" y="8930148"/>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27 h 435077"/>
                <a:gd name="connsiteX5" fmla="*/ 435050 w 435077"/>
                <a:gd name="connsiteY5" fmla="*/ 217539 h 435077"/>
                <a:gd name="connsiteX6" fmla="*/ 435077 w 435077"/>
                <a:gd name="connsiteY6" fmla="*/ 217539 h 435077"/>
                <a:gd name="connsiteX7" fmla="*/ 435050 w 435077"/>
                <a:gd name="connsiteY7" fmla="*/ 217539 h 435077"/>
                <a:gd name="connsiteX8" fmla="*/ 435077 w 435077"/>
                <a:gd name="connsiteY8" fmla="*/ 217566 h 435077"/>
                <a:gd name="connsiteX9" fmla="*/ 435050 w 435077"/>
                <a:gd name="connsiteY9" fmla="*/ 217566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27"/>
                  </a:lnTo>
                  <a:lnTo>
                    <a:pt x="435050" y="217539"/>
                  </a:lnTo>
                  <a:lnTo>
                    <a:pt x="435077" y="217539"/>
                  </a:lnTo>
                  <a:lnTo>
                    <a:pt x="435050" y="217539"/>
                  </a:lnTo>
                  <a:lnTo>
                    <a:pt x="435077" y="217566"/>
                  </a:lnTo>
                  <a:lnTo>
                    <a:pt x="435050" y="217566"/>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310" name="Freeform: Shape 309">
              <a:extLst>
                <a:ext uri="{FF2B5EF4-FFF2-40B4-BE49-F238E27FC236}">
                  <a16:creationId xmlns:a16="http://schemas.microsoft.com/office/drawing/2014/main" id="{DE905CF5-8641-525A-17C0-267E5EDB0905}"/>
                </a:ext>
              </a:extLst>
            </p:cNvPr>
            <p:cNvSpPr/>
            <p:nvPr/>
          </p:nvSpPr>
          <p:spPr>
            <a:xfrm>
              <a:off x="12147864" y="8930148"/>
              <a:ext cx="435103" cy="435077"/>
            </a:xfrm>
            <a:custGeom>
              <a:avLst/>
              <a:gdLst>
                <a:gd name="connsiteX0" fmla="*/ 217539 w 435103"/>
                <a:gd name="connsiteY0" fmla="*/ 0 h 435077"/>
                <a:gd name="connsiteX1" fmla="*/ 0 w 435103"/>
                <a:gd name="connsiteY1" fmla="*/ 0 h 435077"/>
                <a:gd name="connsiteX2" fmla="*/ 0 w 435103"/>
                <a:gd name="connsiteY2" fmla="*/ 217539 h 435077"/>
                <a:gd name="connsiteX3" fmla="*/ 217539 w 435103"/>
                <a:gd name="connsiteY3" fmla="*/ 0 h 435077"/>
                <a:gd name="connsiteX4" fmla="*/ 435104 w 435103"/>
                <a:gd name="connsiteY4" fmla="*/ 27 h 435077"/>
                <a:gd name="connsiteX5" fmla="*/ 435104 w 435103"/>
                <a:gd name="connsiteY5" fmla="*/ 217566 h 435077"/>
                <a:gd name="connsiteX6" fmla="*/ 217565 w 435103"/>
                <a:gd name="connsiteY6" fmla="*/ 27 h 435077"/>
                <a:gd name="connsiteX7" fmla="*/ 435104 w 435103"/>
                <a:gd name="connsiteY7" fmla="*/ 27 h 435077"/>
                <a:gd name="connsiteX8" fmla="*/ 217565 w 435103"/>
                <a:gd name="connsiteY8" fmla="*/ 435077 h 435077"/>
                <a:gd name="connsiteX9" fmla="*/ 435104 w 435103"/>
                <a:gd name="connsiteY9" fmla="*/ 217566 h 435077"/>
                <a:gd name="connsiteX10" fmla="*/ 435104 w 435103"/>
                <a:gd name="connsiteY10" fmla="*/ 435077 h 435077"/>
                <a:gd name="connsiteX11" fmla="*/ 217565 w 435103"/>
                <a:gd name="connsiteY11" fmla="*/ 435077 h 435077"/>
                <a:gd name="connsiteX12" fmla="*/ 217565 w 435103"/>
                <a:gd name="connsiteY12" fmla="*/ 435077 h 435077"/>
                <a:gd name="connsiteX13" fmla="*/ 27 w 435103"/>
                <a:gd name="connsiteY13" fmla="*/ 217566 h 435077"/>
                <a:gd name="connsiteX14" fmla="*/ 27 w 435103"/>
                <a:gd name="connsiteY14" fmla="*/ 435077 h 435077"/>
                <a:gd name="connsiteX15" fmla="*/ 217565 w 435103"/>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3" h="435077">
                  <a:moveTo>
                    <a:pt x="217539" y="0"/>
                  </a:moveTo>
                  <a:lnTo>
                    <a:pt x="0" y="0"/>
                  </a:lnTo>
                  <a:lnTo>
                    <a:pt x="0" y="217539"/>
                  </a:lnTo>
                  <a:lnTo>
                    <a:pt x="217539" y="0"/>
                  </a:lnTo>
                  <a:close/>
                  <a:moveTo>
                    <a:pt x="435104" y="27"/>
                  </a:moveTo>
                  <a:lnTo>
                    <a:pt x="435104" y="217566"/>
                  </a:lnTo>
                  <a:lnTo>
                    <a:pt x="217565" y="27"/>
                  </a:lnTo>
                  <a:lnTo>
                    <a:pt x="435104" y="27"/>
                  </a:lnTo>
                  <a:close/>
                  <a:moveTo>
                    <a:pt x="217565" y="435077"/>
                  </a:moveTo>
                  <a:lnTo>
                    <a:pt x="435104" y="217566"/>
                  </a:lnTo>
                  <a:lnTo>
                    <a:pt x="435104" y="435077"/>
                  </a:lnTo>
                  <a:lnTo>
                    <a:pt x="217565" y="435077"/>
                  </a:lnTo>
                  <a:close/>
                  <a:moveTo>
                    <a:pt x="217565" y="435077"/>
                  </a:moveTo>
                  <a:lnTo>
                    <a:pt x="27" y="217566"/>
                  </a:lnTo>
                  <a:lnTo>
                    <a:pt x="27" y="435077"/>
                  </a:lnTo>
                  <a:lnTo>
                    <a:pt x="217565"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11" name="Freeform: Shape 310">
              <a:extLst>
                <a:ext uri="{FF2B5EF4-FFF2-40B4-BE49-F238E27FC236}">
                  <a16:creationId xmlns:a16="http://schemas.microsoft.com/office/drawing/2014/main" id="{EF43AEDE-CC2A-0835-E5A6-7A1E431E6D86}"/>
                </a:ext>
              </a:extLst>
            </p:cNvPr>
            <p:cNvSpPr/>
            <p:nvPr/>
          </p:nvSpPr>
          <p:spPr>
            <a:xfrm>
              <a:off x="13018045" y="8930148"/>
              <a:ext cx="435077" cy="435077"/>
            </a:xfrm>
            <a:custGeom>
              <a:avLst/>
              <a:gdLst>
                <a:gd name="connsiteX0" fmla="*/ 371365 w 435077"/>
                <a:gd name="connsiteY0" fmla="*/ 63739 h 435077"/>
                <a:gd name="connsiteX1" fmla="*/ 435077 w 435077"/>
                <a:gd name="connsiteY1" fmla="*/ 217539 h 435077"/>
                <a:gd name="connsiteX2" fmla="*/ 217701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5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39"/>
                  </a:moveTo>
                  <a:cubicBezTo>
                    <a:pt x="412154" y="104527"/>
                    <a:pt x="435077" y="159864"/>
                    <a:pt x="435077" y="217539"/>
                  </a:cubicBezTo>
                  <a:lnTo>
                    <a:pt x="217701" y="217539"/>
                  </a:lnTo>
                  <a:cubicBezTo>
                    <a:pt x="275349" y="217593"/>
                    <a:pt x="330605" y="240516"/>
                    <a:pt x="371365" y="281277"/>
                  </a:cubicBezTo>
                  <a:cubicBezTo>
                    <a:pt x="412154" y="322066"/>
                    <a:pt x="435077" y="377402"/>
                    <a:pt x="435077" y="435077"/>
                  </a:cubicBezTo>
                  <a:lnTo>
                    <a:pt x="217539" y="435077"/>
                  </a:lnTo>
                  <a:lnTo>
                    <a:pt x="0" y="435077"/>
                  </a:lnTo>
                  <a:cubicBezTo>
                    <a:pt x="0" y="377402"/>
                    <a:pt x="22924" y="322066"/>
                    <a:pt x="63712" y="281277"/>
                  </a:cubicBezTo>
                  <a:cubicBezTo>
                    <a:pt x="104472" y="240516"/>
                    <a:pt x="159728" y="217593"/>
                    <a:pt x="217376" y="217539"/>
                  </a:cubicBezTo>
                  <a:lnTo>
                    <a:pt x="0" y="217539"/>
                  </a:lnTo>
                  <a:cubicBezTo>
                    <a:pt x="0" y="159864"/>
                    <a:pt x="22924" y="104527"/>
                    <a:pt x="63712" y="63739"/>
                  </a:cubicBezTo>
                  <a:cubicBezTo>
                    <a:pt x="104501" y="22923"/>
                    <a:pt x="159836" y="0"/>
                    <a:pt x="217539" y="0"/>
                  </a:cubicBezTo>
                  <a:cubicBezTo>
                    <a:pt x="275241" y="0"/>
                    <a:pt x="330550" y="22923"/>
                    <a:pt x="371365" y="63739"/>
                  </a:cubicBezTo>
                  <a:close/>
                </a:path>
              </a:pathLst>
            </a:custGeom>
            <a:grpFill/>
            <a:ln w="27192" cap="flat">
              <a:noFill/>
              <a:prstDash val="solid"/>
              <a:miter/>
            </a:ln>
          </p:spPr>
          <p:txBody>
            <a:bodyPr rtlCol="0" anchor="ctr"/>
            <a:lstStyle/>
            <a:p>
              <a:endParaRPr lang="uk-UA" sz="900">
                <a:solidFill>
                  <a:schemeClr val="bg1"/>
                </a:solidFill>
              </a:endParaRPr>
            </a:p>
          </p:txBody>
        </p:sp>
        <p:sp>
          <p:nvSpPr>
            <p:cNvPr id="312" name="Freeform: Shape 311">
              <a:extLst>
                <a:ext uri="{FF2B5EF4-FFF2-40B4-BE49-F238E27FC236}">
                  <a16:creationId xmlns:a16="http://schemas.microsoft.com/office/drawing/2014/main" id="{363BACDC-604E-640D-B542-E96A928AE84D}"/>
                </a:ext>
              </a:extLst>
            </p:cNvPr>
            <p:cNvSpPr/>
            <p:nvPr/>
          </p:nvSpPr>
          <p:spPr>
            <a:xfrm>
              <a:off x="14758382" y="893014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solidFill>
                  <a:schemeClr val="bg1"/>
                </a:solidFill>
              </a:endParaRPr>
            </a:p>
          </p:txBody>
        </p:sp>
        <p:sp>
          <p:nvSpPr>
            <p:cNvPr id="313" name="Freeform: Shape 312">
              <a:extLst>
                <a:ext uri="{FF2B5EF4-FFF2-40B4-BE49-F238E27FC236}">
                  <a16:creationId xmlns:a16="http://schemas.microsoft.com/office/drawing/2014/main" id="{03947404-5EE3-2952-DC59-B9110AE0FD11}"/>
                </a:ext>
              </a:extLst>
            </p:cNvPr>
            <p:cNvSpPr/>
            <p:nvPr/>
          </p:nvSpPr>
          <p:spPr>
            <a:xfrm>
              <a:off x="13888174" y="893014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314" name="Freeform: Shape 313">
              <a:extLst>
                <a:ext uri="{FF2B5EF4-FFF2-40B4-BE49-F238E27FC236}">
                  <a16:creationId xmlns:a16="http://schemas.microsoft.com/office/drawing/2014/main" id="{D4A52663-170E-AB78-33F5-9455AB9A7CDD}"/>
                </a:ext>
              </a:extLst>
            </p:cNvPr>
            <p:cNvSpPr/>
            <p:nvPr/>
          </p:nvSpPr>
          <p:spPr>
            <a:xfrm>
              <a:off x="15628536" y="8930148"/>
              <a:ext cx="435077" cy="435077"/>
            </a:xfrm>
            <a:custGeom>
              <a:avLst/>
              <a:gdLst>
                <a:gd name="connsiteX0" fmla="*/ 217567 w 435077"/>
                <a:gd name="connsiteY0" fmla="*/ 0 h 435077"/>
                <a:gd name="connsiteX1" fmla="*/ 217539 w 435077"/>
                <a:gd name="connsiteY1" fmla="*/ 0 h 435077"/>
                <a:gd name="connsiteX2" fmla="*/ 28 w 435077"/>
                <a:gd name="connsiteY2" fmla="*/ 0 h 435077"/>
                <a:gd name="connsiteX3" fmla="*/ 28 w 435077"/>
                <a:gd name="connsiteY3" fmla="*/ 217539 h 435077"/>
                <a:gd name="connsiteX4" fmla="*/ 217567 w 435077"/>
                <a:gd name="connsiteY4" fmla="*/ 27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67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67" y="0"/>
                  </a:moveTo>
                  <a:lnTo>
                    <a:pt x="217539" y="0"/>
                  </a:lnTo>
                  <a:lnTo>
                    <a:pt x="28" y="0"/>
                  </a:lnTo>
                  <a:lnTo>
                    <a:pt x="28" y="217539"/>
                  </a:lnTo>
                  <a:lnTo>
                    <a:pt x="217567" y="27"/>
                  </a:lnTo>
                  <a:lnTo>
                    <a:pt x="435077" y="217539"/>
                  </a:lnTo>
                  <a:lnTo>
                    <a:pt x="217539" y="435077"/>
                  </a:lnTo>
                  <a:lnTo>
                    <a:pt x="0" y="217539"/>
                  </a:lnTo>
                  <a:lnTo>
                    <a:pt x="0" y="435077"/>
                  </a:lnTo>
                  <a:lnTo>
                    <a:pt x="217539" y="435077"/>
                  </a:lnTo>
                  <a:lnTo>
                    <a:pt x="435077" y="435077"/>
                  </a:lnTo>
                  <a:lnTo>
                    <a:pt x="435077" y="217539"/>
                  </a:lnTo>
                  <a:lnTo>
                    <a:pt x="435077" y="0"/>
                  </a:lnTo>
                  <a:lnTo>
                    <a:pt x="217567" y="0"/>
                  </a:lnTo>
                  <a:close/>
                </a:path>
              </a:pathLst>
            </a:custGeom>
            <a:grpFill/>
            <a:ln w="27192" cap="flat">
              <a:noFill/>
              <a:prstDash val="solid"/>
              <a:miter/>
            </a:ln>
          </p:spPr>
          <p:txBody>
            <a:bodyPr rtlCol="0" anchor="ctr"/>
            <a:lstStyle/>
            <a:p>
              <a:endParaRPr lang="uk-UA" sz="900">
                <a:solidFill>
                  <a:schemeClr val="bg1"/>
                </a:solidFill>
              </a:endParaRPr>
            </a:p>
          </p:txBody>
        </p:sp>
        <p:sp>
          <p:nvSpPr>
            <p:cNvPr id="315" name="Freeform: Shape 314">
              <a:extLst>
                <a:ext uri="{FF2B5EF4-FFF2-40B4-BE49-F238E27FC236}">
                  <a16:creationId xmlns:a16="http://schemas.microsoft.com/office/drawing/2014/main" id="{3E8CD250-032E-BE7B-1D1F-5BCA321B88C8}"/>
                </a:ext>
              </a:extLst>
            </p:cNvPr>
            <p:cNvSpPr/>
            <p:nvPr/>
          </p:nvSpPr>
          <p:spPr>
            <a:xfrm>
              <a:off x="16498719" y="8930148"/>
              <a:ext cx="435077" cy="435077"/>
            </a:xfrm>
            <a:custGeom>
              <a:avLst/>
              <a:gdLst>
                <a:gd name="connsiteX0" fmla="*/ 371339 w 435077"/>
                <a:gd name="connsiteY0" fmla="*/ 63739 h 435077"/>
                <a:gd name="connsiteX1" fmla="*/ 435077 w 435077"/>
                <a:gd name="connsiteY1" fmla="*/ 217539 h 435077"/>
                <a:gd name="connsiteX2" fmla="*/ 217701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0 w 435077"/>
                <a:gd name="connsiteY7" fmla="*/ 281277 h 435077"/>
                <a:gd name="connsiteX8" fmla="*/ 217374 w 435077"/>
                <a:gd name="connsiteY8" fmla="*/ 217539 h 435077"/>
                <a:gd name="connsiteX9" fmla="*/ 0 w 435077"/>
                <a:gd name="connsiteY9" fmla="*/ 217539 h 435077"/>
                <a:gd name="connsiteX10" fmla="*/ 63710 w 435077"/>
                <a:gd name="connsiteY10" fmla="*/ 63739 h 435077"/>
                <a:gd name="connsiteX11" fmla="*/ 217539 w 435077"/>
                <a:gd name="connsiteY11" fmla="*/ 0 h 435077"/>
                <a:gd name="connsiteX12" fmla="*/ 371339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39"/>
                  </a:moveTo>
                  <a:cubicBezTo>
                    <a:pt x="412154" y="104527"/>
                    <a:pt x="435077" y="159864"/>
                    <a:pt x="435077" y="217539"/>
                  </a:cubicBezTo>
                  <a:lnTo>
                    <a:pt x="217701" y="217539"/>
                  </a:lnTo>
                  <a:cubicBezTo>
                    <a:pt x="275322" y="217593"/>
                    <a:pt x="330603" y="240516"/>
                    <a:pt x="371365" y="281277"/>
                  </a:cubicBezTo>
                  <a:cubicBezTo>
                    <a:pt x="412154" y="322066"/>
                    <a:pt x="435077" y="377402"/>
                    <a:pt x="435077" y="435077"/>
                  </a:cubicBezTo>
                  <a:lnTo>
                    <a:pt x="217539" y="435077"/>
                  </a:lnTo>
                  <a:lnTo>
                    <a:pt x="0" y="435077"/>
                  </a:lnTo>
                  <a:cubicBezTo>
                    <a:pt x="0" y="377402"/>
                    <a:pt x="22922" y="322066"/>
                    <a:pt x="63710" y="281277"/>
                  </a:cubicBezTo>
                  <a:cubicBezTo>
                    <a:pt x="104472" y="240516"/>
                    <a:pt x="159727" y="217593"/>
                    <a:pt x="217374" y="217539"/>
                  </a:cubicBezTo>
                  <a:lnTo>
                    <a:pt x="0" y="217539"/>
                  </a:lnTo>
                  <a:cubicBezTo>
                    <a:pt x="0" y="159864"/>
                    <a:pt x="22895" y="104527"/>
                    <a:pt x="63710" y="63739"/>
                  </a:cubicBezTo>
                  <a:cubicBezTo>
                    <a:pt x="104499" y="22923"/>
                    <a:pt x="159836" y="0"/>
                    <a:pt x="217539" y="0"/>
                  </a:cubicBezTo>
                  <a:cubicBezTo>
                    <a:pt x="275213" y="0"/>
                    <a:pt x="330550" y="22923"/>
                    <a:pt x="371339" y="63739"/>
                  </a:cubicBezTo>
                  <a:close/>
                </a:path>
              </a:pathLst>
            </a:custGeom>
            <a:grpFill/>
            <a:ln w="27192" cap="flat">
              <a:noFill/>
              <a:prstDash val="solid"/>
              <a:miter/>
            </a:ln>
          </p:spPr>
          <p:txBody>
            <a:bodyPr rtlCol="0" anchor="ctr"/>
            <a:lstStyle/>
            <a:p>
              <a:endParaRPr lang="uk-UA" sz="900">
                <a:solidFill>
                  <a:schemeClr val="bg1"/>
                </a:solidFill>
              </a:endParaRPr>
            </a:p>
          </p:txBody>
        </p:sp>
        <p:sp>
          <p:nvSpPr>
            <p:cNvPr id="316" name="Freeform: Shape 315">
              <a:extLst>
                <a:ext uri="{FF2B5EF4-FFF2-40B4-BE49-F238E27FC236}">
                  <a16:creationId xmlns:a16="http://schemas.microsoft.com/office/drawing/2014/main" id="{403D6D21-CDD7-3AA1-5378-C2B2F031CA22}"/>
                </a:ext>
              </a:extLst>
            </p:cNvPr>
            <p:cNvSpPr/>
            <p:nvPr/>
          </p:nvSpPr>
          <p:spPr>
            <a:xfrm>
              <a:off x="18239029" y="893014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solidFill>
                  <a:schemeClr val="bg1"/>
                </a:solidFill>
              </a:endParaRPr>
            </a:p>
          </p:txBody>
        </p:sp>
        <p:sp>
          <p:nvSpPr>
            <p:cNvPr id="317" name="Freeform: Shape 316">
              <a:extLst>
                <a:ext uri="{FF2B5EF4-FFF2-40B4-BE49-F238E27FC236}">
                  <a16:creationId xmlns:a16="http://schemas.microsoft.com/office/drawing/2014/main" id="{66A01B90-B39F-A2C6-315F-CB7A38D168C3}"/>
                </a:ext>
              </a:extLst>
            </p:cNvPr>
            <p:cNvSpPr/>
            <p:nvPr/>
          </p:nvSpPr>
          <p:spPr>
            <a:xfrm>
              <a:off x="17368874" y="893014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318" name="Freeform: Shape 317">
              <a:extLst>
                <a:ext uri="{FF2B5EF4-FFF2-40B4-BE49-F238E27FC236}">
                  <a16:creationId xmlns:a16="http://schemas.microsoft.com/office/drawing/2014/main" id="{119E78C0-8396-016D-E3C8-4161F3927CBB}"/>
                </a:ext>
              </a:extLst>
            </p:cNvPr>
            <p:cNvSpPr/>
            <p:nvPr/>
          </p:nvSpPr>
          <p:spPr>
            <a:xfrm>
              <a:off x="19109210" y="893014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27 h 435077"/>
                <a:gd name="connsiteX5" fmla="*/ 435077 w 435077"/>
                <a:gd name="connsiteY5" fmla="*/ 217566 h 435077"/>
                <a:gd name="connsiteX6" fmla="*/ 217539 w 435077"/>
                <a:gd name="connsiteY6" fmla="*/ 27 h 435077"/>
                <a:gd name="connsiteX7" fmla="*/ 435077 w 435077"/>
                <a:gd name="connsiteY7" fmla="*/ 27 h 435077"/>
                <a:gd name="connsiteX8" fmla="*/ 217539 w 435077"/>
                <a:gd name="connsiteY8" fmla="*/ 435077 h 435077"/>
                <a:gd name="connsiteX9" fmla="*/ 435077 w 435077"/>
                <a:gd name="connsiteY9" fmla="*/ 217566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66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27"/>
                  </a:moveTo>
                  <a:lnTo>
                    <a:pt x="435077" y="217566"/>
                  </a:lnTo>
                  <a:lnTo>
                    <a:pt x="217539" y="27"/>
                  </a:lnTo>
                  <a:lnTo>
                    <a:pt x="435077" y="27"/>
                  </a:lnTo>
                  <a:close/>
                  <a:moveTo>
                    <a:pt x="217539" y="435077"/>
                  </a:moveTo>
                  <a:lnTo>
                    <a:pt x="435077" y="217566"/>
                  </a:lnTo>
                  <a:lnTo>
                    <a:pt x="435077" y="435077"/>
                  </a:lnTo>
                  <a:lnTo>
                    <a:pt x="217539" y="435077"/>
                  </a:lnTo>
                  <a:close/>
                  <a:moveTo>
                    <a:pt x="217539" y="435077"/>
                  </a:moveTo>
                  <a:lnTo>
                    <a:pt x="0" y="217566"/>
                  </a:lnTo>
                  <a:lnTo>
                    <a:pt x="0" y="435077"/>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19" name="Freeform: Shape 318">
              <a:extLst>
                <a:ext uri="{FF2B5EF4-FFF2-40B4-BE49-F238E27FC236}">
                  <a16:creationId xmlns:a16="http://schemas.microsoft.com/office/drawing/2014/main" id="{7E121A1C-F0E5-AC7A-A5A1-67199E63A18C}"/>
                </a:ext>
              </a:extLst>
            </p:cNvPr>
            <p:cNvSpPr/>
            <p:nvPr/>
          </p:nvSpPr>
          <p:spPr>
            <a:xfrm>
              <a:off x="19979365" y="8930148"/>
              <a:ext cx="435077" cy="435077"/>
            </a:xfrm>
            <a:custGeom>
              <a:avLst/>
              <a:gdLst>
                <a:gd name="connsiteX0" fmla="*/ 371365 w 435077"/>
                <a:gd name="connsiteY0" fmla="*/ 63739 h 435077"/>
                <a:gd name="connsiteX1" fmla="*/ 435077 w 435077"/>
                <a:gd name="connsiteY1" fmla="*/ 217539 h 435077"/>
                <a:gd name="connsiteX2" fmla="*/ 217701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5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39"/>
                  </a:moveTo>
                  <a:cubicBezTo>
                    <a:pt x="412154" y="104527"/>
                    <a:pt x="435077" y="159864"/>
                    <a:pt x="435077" y="217539"/>
                  </a:cubicBezTo>
                  <a:lnTo>
                    <a:pt x="217701" y="217539"/>
                  </a:lnTo>
                  <a:cubicBezTo>
                    <a:pt x="275349" y="217593"/>
                    <a:pt x="330605" y="240516"/>
                    <a:pt x="371365" y="281277"/>
                  </a:cubicBezTo>
                  <a:cubicBezTo>
                    <a:pt x="412154" y="322066"/>
                    <a:pt x="435077" y="377402"/>
                    <a:pt x="435077" y="435077"/>
                  </a:cubicBezTo>
                  <a:lnTo>
                    <a:pt x="217539" y="435077"/>
                  </a:lnTo>
                  <a:lnTo>
                    <a:pt x="0" y="435077"/>
                  </a:lnTo>
                  <a:cubicBezTo>
                    <a:pt x="0" y="377402"/>
                    <a:pt x="22924" y="322066"/>
                    <a:pt x="63712" y="281277"/>
                  </a:cubicBezTo>
                  <a:cubicBezTo>
                    <a:pt x="104472" y="240516"/>
                    <a:pt x="159728" y="217593"/>
                    <a:pt x="217376" y="217539"/>
                  </a:cubicBezTo>
                  <a:lnTo>
                    <a:pt x="0" y="217539"/>
                  </a:lnTo>
                  <a:cubicBezTo>
                    <a:pt x="0" y="159864"/>
                    <a:pt x="22924" y="104527"/>
                    <a:pt x="63712" y="63739"/>
                  </a:cubicBezTo>
                  <a:cubicBezTo>
                    <a:pt x="104501" y="22923"/>
                    <a:pt x="159836" y="0"/>
                    <a:pt x="217539" y="0"/>
                  </a:cubicBezTo>
                  <a:cubicBezTo>
                    <a:pt x="275241" y="0"/>
                    <a:pt x="330550" y="22923"/>
                    <a:pt x="371365" y="63739"/>
                  </a:cubicBezTo>
                  <a:close/>
                </a:path>
              </a:pathLst>
            </a:custGeom>
            <a:grpFill/>
            <a:ln w="27192" cap="flat">
              <a:noFill/>
              <a:prstDash val="solid"/>
              <a:miter/>
            </a:ln>
          </p:spPr>
          <p:txBody>
            <a:bodyPr rtlCol="0" anchor="ctr"/>
            <a:lstStyle/>
            <a:p>
              <a:endParaRPr lang="uk-UA" sz="900">
                <a:solidFill>
                  <a:schemeClr val="bg1"/>
                </a:solidFill>
              </a:endParaRPr>
            </a:p>
          </p:txBody>
        </p:sp>
        <p:sp>
          <p:nvSpPr>
            <p:cNvPr id="320" name="Freeform: Shape 319">
              <a:extLst>
                <a:ext uri="{FF2B5EF4-FFF2-40B4-BE49-F238E27FC236}">
                  <a16:creationId xmlns:a16="http://schemas.microsoft.com/office/drawing/2014/main" id="{CD7F3344-DAB8-60B4-88C6-C23BA308B1E2}"/>
                </a:ext>
              </a:extLst>
            </p:cNvPr>
            <p:cNvSpPr/>
            <p:nvPr/>
          </p:nvSpPr>
          <p:spPr>
            <a:xfrm>
              <a:off x="21719702" y="8930148"/>
              <a:ext cx="435077" cy="435104"/>
            </a:xfrm>
            <a:custGeom>
              <a:avLst/>
              <a:gdLst>
                <a:gd name="connsiteX0" fmla="*/ 0 w 435077"/>
                <a:gd name="connsiteY0" fmla="*/ 435077 h 435104"/>
                <a:gd name="connsiteX1" fmla="*/ 217512 w 435077"/>
                <a:gd name="connsiteY1" fmla="*/ 435077 h 435104"/>
                <a:gd name="connsiteX2" fmla="*/ 217512 w 435077"/>
                <a:gd name="connsiteY2" fmla="*/ 217566 h 435104"/>
                <a:gd name="connsiteX3" fmla="*/ 0 w 435077"/>
                <a:gd name="connsiteY3" fmla="*/ 435077 h 435104"/>
                <a:gd name="connsiteX4" fmla="*/ 217512 w 435077"/>
                <a:gd name="connsiteY4" fmla="*/ 0 h 435104"/>
                <a:gd name="connsiteX5" fmla="*/ 0 w 435077"/>
                <a:gd name="connsiteY5" fmla="*/ 0 h 435104"/>
                <a:gd name="connsiteX6" fmla="*/ 217512 w 435077"/>
                <a:gd name="connsiteY6" fmla="*/ 217539 h 435104"/>
                <a:gd name="connsiteX7" fmla="*/ 217512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12" y="435077"/>
                  </a:lnTo>
                  <a:lnTo>
                    <a:pt x="217512" y="217566"/>
                  </a:lnTo>
                  <a:lnTo>
                    <a:pt x="0" y="435077"/>
                  </a:lnTo>
                  <a:close/>
                  <a:moveTo>
                    <a:pt x="217512" y="0"/>
                  </a:moveTo>
                  <a:lnTo>
                    <a:pt x="0" y="0"/>
                  </a:lnTo>
                  <a:lnTo>
                    <a:pt x="217512" y="217539"/>
                  </a:lnTo>
                  <a:lnTo>
                    <a:pt x="217512"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solidFill>
                  <a:schemeClr val="bg1"/>
                </a:solidFill>
              </a:endParaRPr>
            </a:p>
          </p:txBody>
        </p:sp>
        <p:sp>
          <p:nvSpPr>
            <p:cNvPr id="321" name="Freeform: Shape 320">
              <a:extLst>
                <a:ext uri="{FF2B5EF4-FFF2-40B4-BE49-F238E27FC236}">
                  <a16:creationId xmlns:a16="http://schemas.microsoft.com/office/drawing/2014/main" id="{9E40E507-406A-853B-6EFD-6C08CE6E4A0F}"/>
                </a:ext>
              </a:extLst>
            </p:cNvPr>
            <p:cNvSpPr/>
            <p:nvPr/>
          </p:nvSpPr>
          <p:spPr>
            <a:xfrm>
              <a:off x="20849520" y="893014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322" name="Freeform: Shape 321">
              <a:extLst>
                <a:ext uri="{FF2B5EF4-FFF2-40B4-BE49-F238E27FC236}">
                  <a16:creationId xmlns:a16="http://schemas.microsoft.com/office/drawing/2014/main" id="{C0E2A7E9-6496-BA66-9299-8B9D167CED42}"/>
                </a:ext>
              </a:extLst>
            </p:cNvPr>
            <p:cNvSpPr/>
            <p:nvPr/>
          </p:nvSpPr>
          <p:spPr>
            <a:xfrm>
              <a:off x="22589856" y="893014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27 h 435077"/>
                <a:gd name="connsiteX5" fmla="*/ 435077 w 435077"/>
                <a:gd name="connsiteY5" fmla="*/ 217566 h 435077"/>
                <a:gd name="connsiteX6" fmla="*/ 217539 w 435077"/>
                <a:gd name="connsiteY6" fmla="*/ 27 h 435077"/>
                <a:gd name="connsiteX7" fmla="*/ 435077 w 435077"/>
                <a:gd name="connsiteY7" fmla="*/ 27 h 435077"/>
                <a:gd name="connsiteX8" fmla="*/ 217539 w 435077"/>
                <a:gd name="connsiteY8" fmla="*/ 435077 h 435077"/>
                <a:gd name="connsiteX9" fmla="*/ 435077 w 435077"/>
                <a:gd name="connsiteY9" fmla="*/ 217566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66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27"/>
                  </a:moveTo>
                  <a:lnTo>
                    <a:pt x="435077" y="217566"/>
                  </a:lnTo>
                  <a:lnTo>
                    <a:pt x="217539" y="27"/>
                  </a:lnTo>
                  <a:lnTo>
                    <a:pt x="435077" y="27"/>
                  </a:lnTo>
                  <a:close/>
                  <a:moveTo>
                    <a:pt x="217539" y="435077"/>
                  </a:moveTo>
                  <a:lnTo>
                    <a:pt x="435077" y="217566"/>
                  </a:lnTo>
                  <a:lnTo>
                    <a:pt x="435077" y="435077"/>
                  </a:lnTo>
                  <a:lnTo>
                    <a:pt x="217539" y="435077"/>
                  </a:lnTo>
                  <a:close/>
                  <a:moveTo>
                    <a:pt x="217539" y="435077"/>
                  </a:moveTo>
                  <a:lnTo>
                    <a:pt x="0" y="217566"/>
                  </a:lnTo>
                  <a:lnTo>
                    <a:pt x="0" y="435077"/>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23" name="Freeform: Shape 322">
              <a:extLst>
                <a:ext uri="{FF2B5EF4-FFF2-40B4-BE49-F238E27FC236}">
                  <a16:creationId xmlns:a16="http://schemas.microsoft.com/office/drawing/2014/main" id="{760CA787-ACEA-AD50-289A-54BB4E626574}"/>
                </a:ext>
              </a:extLst>
            </p:cNvPr>
            <p:cNvSpPr/>
            <p:nvPr/>
          </p:nvSpPr>
          <p:spPr>
            <a:xfrm>
              <a:off x="23460039" y="8930148"/>
              <a:ext cx="435077" cy="435077"/>
            </a:xfrm>
            <a:custGeom>
              <a:avLst/>
              <a:gdLst>
                <a:gd name="connsiteX0" fmla="*/ 371339 w 435077"/>
                <a:gd name="connsiteY0" fmla="*/ 63739 h 435077"/>
                <a:gd name="connsiteX1" fmla="*/ 435077 w 435077"/>
                <a:gd name="connsiteY1" fmla="*/ 217539 h 435077"/>
                <a:gd name="connsiteX2" fmla="*/ 217701 w 435077"/>
                <a:gd name="connsiteY2" fmla="*/ 217539 h 435077"/>
                <a:gd name="connsiteX3" fmla="*/ 371339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48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39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39"/>
                  </a:moveTo>
                  <a:cubicBezTo>
                    <a:pt x="412154" y="104527"/>
                    <a:pt x="435077" y="159864"/>
                    <a:pt x="435077" y="217539"/>
                  </a:cubicBezTo>
                  <a:lnTo>
                    <a:pt x="217701" y="217539"/>
                  </a:lnTo>
                  <a:cubicBezTo>
                    <a:pt x="275322" y="217593"/>
                    <a:pt x="330605" y="240516"/>
                    <a:pt x="371339" y="281277"/>
                  </a:cubicBezTo>
                  <a:cubicBezTo>
                    <a:pt x="412154" y="322066"/>
                    <a:pt x="435077" y="377402"/>
                    <a:pt x="435077" y="435077"/>
                  </a:cubicBezTo>
                  <a:lnTo>
                    <a:pt x="217539" y="435077"/>
                  </a:lnTo>
                  <a:lnTo>
                    <a:pt x="0" y="435077"/>
                  </a:lnTo>
                  <a:cubicBezTo>
                    <a:pt x="0" y="377402"/>
                    <a:pt x="22895" y="322066"/>
                    <a:pt x="63712" y="281277"/>
                  </a:cubicBezTo>
                  <a:cubicBezTo>
                    <a:pt x="104472" y="240516"/>
                    <a:pt x="159727" y="217593"/>
                    <a:pt x="217348" y="217539"/>
                  </a:cubicBezTo>
                  <a:lnTo>
                    <a:pt x="0" y="217539"/>
                  </a:lnTo>
                  <a:cubicBezTo>
                    <a:pt x="0" y="159864"/>
                    <a:pt x="22895" y="104527"/>
                    <a:pt x="63712" y="63739"/>
                  </a:cubicBezTo>
                  <a:cubicBezTo>
                    <a:pt x="104501" y="22923"/>
                    <a:pt x="159836" y="0"/>
                    <a:pt x="217539" y="0"/>
                  </a:cubicBezTo>
                  <a:cubicBezTo>
                    <a:pt x="275213" y="0"/>
                    <a:pt x="330550" y="22923"/>
                    <a:pt x="371339" y="63739"/>
                  </a:cubicBezTo>
                  <a:close/>
                </a:path>
              </a:pathLst>
            </a:custGeom>
            <a:grpFill/>
            <a:ln w="27192" cap="flat">
              <a:noFill/>
              <a:prstDash val="solid"/>
              <a:miter/>
            </a:ln>
          </p:spPr>
          <p:txBody>
            <a:bodyPr rtlCol="0" anchor="ctr"/>
            <a:lstStyle/>
            <a:p>
              <a:endParaRPr lang="uk-UA" sz="900">
                <a:solidFill>
                  <a:schemeClr val="bg1"/>
                </a:solidFill>
              </a:endParaRPr>
            </a:p>
          </p:txBody>
        </p:sp>
        <p:sp>
          <p:nvSpPr>
            <p:cNvPr id="324" name="Freeform: Shape 323">
              <a:extLst>
                <a:ext uri="{FF2B5EF4-FFF2-40B4-BE49-F238E27FC236}">
                  <a16:creationId xmlns:a16="http://schemas.microsoft.com/office/drawing/2014/main" id="{83D6A5B8-F0FB-1D4A-5EF2-A8256ED80F9B}"/>
                </a:ext>
              </a:extLst>
            </p:cNvPr>
            <p:cNvSpPr/>
            <p:nvPr/>
          </p:nvSpPr>
          <p:spPr>
            <a:xfrm>
              <a:off x="24330194" y="893014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325" name="Freeform: Shape 324">
              <a:extLst>
                <a:ext uri="{FF2B5EF4-FFF2-40B4-BE49-F238E27FC236}">
                  <a16:creationId xmlns:a16="http://schemas.microsoft.com/office/drawing/2014/main" id="{5ACE7B13-5825-F1FF-5396-488C11EC2305}"/>
                </a:ext>
              </a:extLst>
            </p:cNvPr>
            <p:cNvSpPr/>
            <p:nvPr/>
          </p:nvSpPr>
          <p:spPr>
            <a:xfrm>
              <a:off x="835769" y="9800303"/>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26" name="Freeform: Shape 325">
              <a:extLst>
                <a:ext uri="{FF2B5EF4-FFF2-40B4-BE49-F238E27FC236}">
                  <a16:creationId xmlns:a16="http://schemas.microsoft.com/office/drawing/2014/main" id="{0DEC4C09-89D4-3DD4-7032-F94D61F6CC8D}"/>
                </a:ext>
              </a:extLst>
            </p:cNvPr>
            <p:cNvSpPr/>
            <p:nvPr/>
          </p:nvSpPr>
          <p:spPr>
            <a:xfrm>
              <a:off x="-34398" y="9800303"/>
              <a:ext cx="435063" cy="435077"/>
            </a:xfrm>
            <a:custGeom>
              <a:avLst/>
              <a:gdLst>
                <a:gd name="connsiteX0" fmla="*/ 435064 w 435063"/>
                <a:gd name="connsiteY0" fmla="*/ 435077 h 435077"/>
                <a:gd name="connsiteX1" fmla="*/ 435064 w 435063"/>
                <a:gd name="connsiteY1" fmla="*/ 217566 h 435077"/>
                <a:gd name="connsiteX2" fmla="*/ 435064 w 435063"/>
                <a:gd name="connsiteY2" fmla="*/ 27 h 435077"/>
                <a:gd name="connsiteX3" fmla="*/ 217552 w 435063"/>
                <a:gd name="connsiteY3" fmla="*/ 27 h 435077"/>
                <a:gd name="connsiteX4" fmla="*/ 435064 w 435063"/>
                <a:gd name="connsiteY4" fmla="*/ 217566 h 435077"/>
                <a:gd name="connsiteX5" fmla="*/ 217552 w 435063"/>
                <a:gd name="connsiteY5" fmla="*/ 435077 h 435077"/>
                <a:gd name="connsiteX6" fmla="*/ 435064 w 435063"/>
                <a:gd name="connsiteY6" fmla="*/ 435077 h 435077"/>
                <a:gd name="connsiteX7" fmla="*/ 0 w 435063"/>
                <a:gd name="connsiteY7" fmla="*/ 217539 h 435077"/>
                <a:gd name="connsiteX8" fmla="*/ 0 w 435063"/>
                <a:gd name="connsiteY8" fmla="*/ 0 h 435077"/>
                <a:gd name="connsiteX9" fmla="*/ 217525 w 435063"/>
                <a:gd name="connsiteY9" fmla="*/ 217539 h 435077"/>
                <a:gd name="connsiteX10" fmla="*/ 0 w 435063"/>
                <a:gd name="connsiteY10" fmla="*/ 217539 h 435077"/>
                <a:gd name="connsiteX11" fmla="*/ 0 w 435063"/>
                <a:gd name="connsiteY11" fmla="*/ 435077 h 435077"/>
                <a:gd name="connsiteX12" fmla="*/ 0 w 435063"/>
                <a:gd name="connsiteY12" fmla="*/ 217566 h 435077"/>
                <a:gd name="connsiteX13" fmla="*/ 217525 w 435063"/>
                <a:gd name="connsiteY13" fmla="*/ 217566 h 435077"/>
                <a:gd name="connsiteX14" fmla="*/ 0 w 435063"/>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63" h="435077">
                  <a:moveTo>
                    <a:pt x="435064" y="435077"/>
                  </a:moveTo>
                  <a:lnTo>
                    <a:pt x="435064" y="217566"/>
                  </a:lnTo>
                  <a:lnTo>
                    <a:pt x="435064" y="27"/>
                  </a:lnTo>
                  <a:lnTo>
                    <a:pt x="217552" y="27"/>
                  </a:lnTo>
                  <a:lnTo>
                    <a:pt x="435064" y="217566"/>
                  </a:lnTo>
                  <a:lnTo>
                    <a:pt x="217552" y="435077"/>
                  </a:lnTo>
                  <a:lnTo>
                    <a:pt x="435064" y="435077"/>
                  </a:lnTo>
                  <a:close/>
                  <a:moveTo>
                    <a:pt x="0" y="217539"/>
                  </a:moveTo>
                  <a:lnTo>
                    <a:pt x="0" y="0"/>
                  </a:lnTo>
                  <a:lnTo>
                    <a:pt x="217525" y="217539"/>
                  </a:lnTo>
                  <a:lnTo>
                    <a:pt x="0" y="217539"/>
                  </a:lnTo>
                  <a:close/>
                  <a:moveTo>
                    <a:pt x="0" y="435077"/>
                  </a:moveTo>
                  <a:lnTo>
                    <a:pt x="0" y="217566"/>
                  </a:lnTo>
                  <a:lnTo>
                    <a:pt x="217525"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27" name="Freeform: Shape 326">
              <a:extLst>
                <a:ext uri="{FF2B5EF4-FFF2-40B4-BE49-F238E27FC236}">
                  <a16:creationId xmlns:a16="http://schemas.microsoft.com/office/drawing/2014/main" id="{82BC875C-9BC1-5EF8-DF83-FDEFA11B264E}"/>
                </a:ext>
              </a:extLst>
            </p:cNvPr>
            <p:cNvSpPr/>
            <p:nvPr/>
          </p:nvSpPr>
          <p:spPr>
            <a:xfrm>
              <a:off x="1705924" y="9800330"/>
              <a:ext cx="435077" cy="435050"/>
            </a:xfrm>
            <a:custGeom>
              <a:avLst/>
              <a:gdLst>
                <a:gd name="connsiteX0" fmla="*/ 435077 w 435077"/>
                <a:gd name="connsiteY0" fmla="*/ 435050 h 435050"/>
                <a:gd name="connsiteX1" fmla="*/ 435077 w 435077"/>
                <a:gd name="connsiteY1" fmla="*/ 0 h 435050"/>
                <a:gd name="connsiteX2" fmla="*/ 217566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39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66" y="217539"/>
                  </a:lnTo>
                  <a:lnTo>
                    <a:pt x="435077" y="435050"/>
                  </a:lnTo>
                  <a:close/>
                  <a:moveTo>
                    <a:pt x="0" y="435050"/>
                  </a:moveTo>
                  <a:lnTo>
                    <a:pt x="0" y="0"/>
                  </a:lnTo>
                  <a:lnTo>
                    <a:pt x="217539" y="217539"/>
                  </a:lnTo>
                  <a:lnTo>
                    <a:pt x="0" y="435050"/>
                  </a:lnTo>
                  <a:close/>
                </a:path>
              </a:pathLst>
            </a:custGeom>
            <a:grpFill/>
            <a:ln w="27192" cap="flat">
              <a:noFill/>
              <a:prstDash val="solid"/>
              <a:miter/>
            </a:ln>
          </p:spPr>
          <p:txBody>
            <a:bodyPr rtlCol="0" anchor="ctr"/>
            <a:lstStyle/>
            <a:p>
              <a:endParaRPr lang="uk-UA" sz="900">
                <a:solidFill>
                  <a:schemeClr val="bg1"/>
                </a:solidFill>
              </a:endParaRPr>
            </a:p>
          </p:txBody>
        </p:sp>
        <p:sp>
          <p:nvSpPr>
            <p:cNvPr id="328" name="Freeform: Shape 327">
              <a:extLst>
                <a:ext uri="{FF2B5EF4-FFF2-40B4-BE49-F238E27FC236}">
                  <a16:creationId xmlns:a16="http://schemas.microsoft.com/office/drawing/2014/main" id="{532E509D-C009-7D57-1234-E0E9FBE626B8}"/>
                </a:ext>
              </a:extLst>
            </p:cNvPr>
            <p:cNvSpPr/>
            <p:nvPr/>
          </p:nvSpPr>
          <p:spPr>
            <a:xfrm>
              <a:off x="2576106" y="980030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3" y="113039"/>
                    <a:pt x="0" y="57702"/>
                    <a:pt x="0" y="0"/>
                  </a:cubicBezTo>
                  <a:lnTo>
                    <a:pt x="217539" y="0"/>
                  </a:lnTo>
                  <a:lnTo>
                    <a:pt x="435077" y="0"/>
                  </a:lnTo>
                  <a:cubicBezTo>
                    <a:pt x="435077" y="57702"/>
                    <a:pt x="412154" y="113039"/>
                    <a:pt x="371366" y="153827"/>
                  </a:cubicBezTo>
                  <a:cubicBezTo>
                    <a:pt x="330550" y="194642"/>
                    <a:pt x="275214" y="217539"/>
                    <a:pt x="217539" y="217539"/>
                  </a:cubicBezTo>
                  <a:cubicBezTo>
                    <a:pt x="159837" y="217539"/>
                    <a:pt x="104500" y="194642"/>
                    <a:pt x="63712" y="153827"/>
                  </a:cubicBezTo>
                  <a:close/>
                  <a:moveTo>
                    <a:pt x="63712" y="281277"/>
                  </a:moveTo>
                  <a:cubicBezTo>
                    <a:pt x="22923" y="322066"/>
                    <a:pt x="0" y="377402"/>
                    <a:pt x="0" y="435077"/>
                  </a:cubicBezTo>
                  <a:lnTo>
                    <a:pt x="217539" y="435077"/>
                  </a:lnTo>
                  <a:lnTo>
                    <a:pt x="435077" y="435077"/>
                  </a:lnTo>
                  <a:cubicBezTo>
                    <a:pt x="435077" y="377402"/>
                    <a:pt x="412154" y="322066"/>
                    <a:pt x="371366" y="281277"/>
                  </a:cubicBezTo>
                  <a:cubicBezTo>
                    <a:pt x="330550" y="240462"/>
                    <a:pt x="275214" y="217539"/>
                    <a:pt x="217539" y="217539"/>
                  </a:cubicBezTo>
                  <a:cubicBezTo>
                    <a:pt x="159837" y="217539"/>
                    <a:pt x="104500" y="240462"/>
                    <a:pt x="63712" y="281277"/>
                  </a:cubicBezTo>
                  <a:close/>
                </a:path>
              </a:pathLst>
            </a:custGeom>
            <a:grpFill/>
            <a:ln w="27192" cap="flat">
              <a:noFill/>
              <a:prstDash val="solid"/>
              <a:miter/>
            </a:ln>
          </p:spPr>
          <p:txBody>
            <a:bodyPr rtlCol="0" anchor="ctr"/>
            <a:lstStyle/>
            <a:p>
              <a:endParaRPr lang="uk-UA" sz="900">
                <a:solidFill>
                  <a:schemeClr val="bg1"/>
                </a:solidFill>
              </a:endParaRPr>
            </a:p>
          </p:txBody>
        </p:sp>
        <p:sp>
          <p:nvSpPr>
            <p:cNvPr id="329" name="Freeform: Shape 328">
              <a:extLst>
                <a:ext uri="{FF2B5EF4-FFF2-40B4-BE49-F238E27FC236}">
                  <a16:creationId xmlns:a16="http://schemas.microsoft.com/office/drawing/2014/main" id="{21E01DD0-0886-612A-5B5B-7A5C6A78AFBB}"/>
                </a:ext>
              </a:extLst>
            </p:cNvPr>
            <p:cNvSpPr/>
            <p:nvPr/>
          </p:nvSpPr>
          <p:spPr>
            <a:xfrm>
              <a:off x="4316416" y="9800303"/>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65 w 435077"/>
                <a:gd name="connsiteY4" fmla="*/ 435077 h 435077"/>
                <a:gd name="connsiteX5" fmla="*/ 217565 w 435077"/>
                <a:gd name="connsiteY5" fmla="*/ 0 h 435077"/>
                <a:gd name="connsiteX6" fmla="*/ 435077 w 435077"/>
                <a:gd name="connsiteY6" fmla="*/ 217566 h 435077"/>
                <a:gd name="connsiteX7" fmla="*/ 217565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65" y="435077"/>
                  </a:moveTo>
                  <a:lnTo>
                    <a:pt x="217565" y="0"/>
                  </a:lnTo>
                  <a:lnTo>
                    <a:pt x="435077" y="217566"/>
                  </a:lnTo>
                  <a:lnTo>
                    <a:pt x="217565"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30" name="Freeform: Shape 329">
              <a:extLst>
                <a:ext uri="{FF2B5EF4-FFF2-40B4-BE49-F238E27FC236}">
                  <a16:creationId xmlns:a16="http://schemas.microsoft.com/office/drawing/2014/main" id="{94F36915-5BDD-40D5-E0BB-7FF577ECF0FB}"/>
                </a:ext>
              </a:extLst>
            </p:cNvPr>
            <p:cNvSpPr/>
            <p:nvPr/>
          </p:nvSpPr>
          <p:spPr>
            <a:xfrm>
              <a:off x="3446261" y="980030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6 w 435077"/>
                <a:gd name="connsiteY3" fmla="*/ 27 h 435077"/>
                <a:gd name="connsiteX4" fmla="*/ 435077 w 435077"/>
                <a:gd name="connsiteY4" fmla="*/ 217566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6" y="27"/>
                  </a:lnTo>
                  <a:lnTo>
                    <a:pt x="435077" y="217566"/>
                  </a:lnTo>
                  <a:lnTo>
                    <a:pt x="217566"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31" name="Freeform: Shape 330">
              <a:extLst>
                <a:ext uri="{FF2B5EF4-FFF2-40B4-BE49-F238E27FC236}">
                  <a16:creationId xmlns:a16="http://schemas.microsoft.com/office/drawing/2014/main" id="{8FF31911-3268-D217-1580-5342A5423BDB}"/>
                </a:ext>
              </a:extLst>
            </p:cNvPr>
            <p:cNvSpPr/>
            <p:nvPr/>
          </p:nvSpPr>
          <p:spPr>
            <a:xfrm>
              <a:off x="5186597" y="9800330"/>
              <a:ext cx="435077" cy="435050"/>
            </a:xfrm>
            <a:custGeom>
              <a:avLst/>
              <a:gdLst>
                <a:gd name="connsiteX0" fmla="*/ 435077 w 435077"/>
                <a:gd name="connsiteY0" fmla="*/ 435050 h 435050"/>
                <a:gd name="connsiteX1" fmla="*/ 435077 w 435077"/>
                <a:gd name="connsiteY1" fmla="*/ 0 h 435050"/>
                <a:gd name="connsiteX2" fmla="*/ 217566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39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66" y="217539"/>
                  </a:lnTo>
                  <a:lnTo>
                    <a:pt x="435077" y="435050"/>
                  </a:lnTo>
                  <a:close/>
                  <a:moveTo>
                    <a:pt x="0" y="435050"/>
                  </a:moveTo>
                  <a:lnTo>
                    <a:pt x="0" y="0"/>
                  </a:lnTo>
                  <a:lnTo>
                    <a:pt x="217539" y="217539"/>
                  </a:lnTo>
                  <a:lnTo>
                    <a:pt x="0" y="435050"/>
                  </a:lnTo>
                  <a:close/>
                </a:path>
              </a:pathLst>
            </a:custGeom>
            <a:grpFill/>
            <a:ln w="27192" cap="flat">
              <a:noFill/>
              <a:prstDash val="solid"/>
              <a:miter/>
            </a:ln>
          </p:spPr>
          <p:txBody>
            <a:bodyPr rtlCol="0" anchor="ctr"/>
            <a:lstStyle/>
            <a:p>
              <a:endParaRPr lang="uk-UA" sz="900">
                <a:solidFill>
                  <a:schemeClr val="bg1"/>
                </a:solidFill>
              </a:endParaRPr>
            </a:p>
          </p:txBody>
        </p:sp>
        <p:sp>
          <p:nvSpPr>
            <p:cNvPr id="332" name="Freeform: Shape 331">
              <a:extLst>
                <a:ext uri="{FF2B5EF4-FFF2-40B4-BE49-F238E27FC236}">
                  <a16:creationId xmlns:a16="http://schemas.microsoft.com/office/drawing/2014/main" id="{43281393-12FF-7DA6-82D0-2FD1DA3EE36F}"/>
                </a:ext>
              </a:extLst>
            </p:cNvPr>
            <p:cNvSpPr/>
            <p:nvPr/>
          </p:nvSpPr>
          <p:spPr>
            <a:xfrm>
              <a:off x="6056752" y="980030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6" y="153827"/>
                  </a:cubicBezTo>
                  <a:cubicBezTo>
                    <a:pt x="330550" y="194642"/>
                    <a:pt x="275241" y="217539"/>
                    <a:pt x="217539" y="217539"/>
                  </a:cubicBezTo>
                  <a:cubicBezTo>
                    <a:pt x="159837"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5" y="322066"/>
                    <a:pt x="371366" y="281277"/>
                  </a:cubicBezTo>
                  <a:cubicBezTo>
                    <a:pt x="330550" y="240462"/>
                    <a:pt x="275241" y="217539"/>
                    <a:pt x="217539" y="217539"/>
                  </a:cubicBezTo>
                  <a:cubicBezTo>
                    <a:pt x="159837" y="217539"/>
                    <a:pt x="104501" y="240462"/>
                    <a:pt x="63712" y="281277"/>
                  </a:cubicBezTo>
                  <a:close/>
                </a:path>
              </a:pathLst>
            </a:custGeom>
            <a:grpFill/>
            <a:ln w="27192" cap="flat">
              <a:noFill/>
              <a:prstDash val="solid"/>
              <a:miter/>
            </a:ln>
          </p:spPr>
          <p:txBody>
            <a:bodyPr rtlCol="0" anchor="ctr"/>
            <a:lstStyle/>
            <a:p>
              <a:endParaRPr lang="uk-UA" sz="900">
                <a:solidFill>
                  <a:schemeClr val="bg1"/>
                </a:solidFill>
              </a:endParaRPr>
            </a:p>
          </p:txBody>
        </p:sp>
        <p:sp>
          <p:nvSpPr>
            <p:cNvPr id="333" name="Freeform: Shape 332">
              <a:extLst>
                <a:ext uri="{FF2B5EF4-FFF2-40B4-BE49-F238E27FC236}">
                  <a16:creationId xmlns:a16="http://schemas.microsoft.com/office/drawing/2014/main" id="{16490DCC-7A27-6FEC-BB26-2D4F28A71E7D}"/>
                </a:ext>
              </a:extLst>
            </p:cNvPr>
            <p:cNvSpPr/>
            <p:nvPr/>
          </p:nvSpPr>
          <p:spPr>
            <a:xfrm>
              <a:off x="7797062" y="9800303"/>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66 w 435077"/>
                <a:gd name="connsiteY4" fmla="*/ 435077 h 435077"/>
                <a:gd name="connsiteX5" fmla="*/ 217566 w 435077"/>
                <a:gd name="connsiteY5" fmla="*/ 0 h 435077"/>
                <a:gd name="connsiteX6" fmla="*/ 435077 w 435077"/>
                <a:gd name="connsiteY6" fmla="*/ 217566 h 435077"/>
                <a:gd name="connsiteX7" fmla="*/ 217566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66" y="435077"/>
                  </a:moveTo>
                  <a:lnTo>
                    <a:pt x="217566" y="0"/>
                  </a:lnTo>
                  <a:lnTo>
                    <a:pt x="435077" y="217566"/>
                  </a:lnTo>
                  <a:lnTo>
                    <a:pt x="217566"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34" name="Freeform: Shape 333">
              <a:extLst>
                <a:ext uri="{FF2B5EF4-FFF2-40B4-BE49-F238E27FC236}">
                  <a16:creationId xmlns:a16="http://schemas.microsoft.com/office/drawing/2014/main" id="{D18595AD-838F-006E-9E0B-52E27F747FE3}"/>
                </a:ext>
              </a:extLst>
            </p:cNvPr>
            <p:cNvSpPr/>
            <p:nvPr/>
          </p:nvSpPr>
          <p:spPr>
            <a:xfrm>
              <a:off x="6926907" y="980030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6 w 435077"/>
                <a:gd name="connsiteY3" fmla="*/ 27 h 435077"/>
                <a:gd name="connsiteX4" fmla="*/ 435077 w 435077"/>
                <a:gd name="connsiteY4" fmla="*/ 217566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6" y="27"/>
                  </a:lnTo>
                  <a:lnTo>
                    <a:pt x="435077" y="217566"/>
                  </a:lnTo>
                  <a:lnTo>
                    <a:pt x="217566"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35" name="Freeform: Shape 334">
              <a:extLst>
                <a:ext uri="{FF2B5EF4-FFF2-40B4-BE49-F238E27FC236}">
                  <a16:creationId xmlns:a16="http://schemas.microsoft.com/office/drawing/2014/main" id="{DF2FEC66-6661-FB82-FA0E-1A833CE57DB7}"/>
                </a:ext>
              </a:extLst>
            </p:cNvPr>
            <p:cNvSpPr/>
            <p:nvPr/>
          </p:nvSpPr>
          <p:spPr>
            <a:xfrm>
              <a:off x="8667244" y="980033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1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1" y="217539"/>
                  </a:lnTo>
                  <a:lnTo>
                    <a:pt x="0" y="435050"/>
                  </a:lnTo>
                  <a:close/>
                </a:path>
              </a:pathLst>
            </a:custGeom>
            <a:grpFill/>
            <a:ln w="27192" cap="flat">
              <a:noFill/>
              <a:prstDash val="solid"/>
              <a:miter/>
            </a:ln>
          </p:spPr>
          <p:txBody>
            <a:bodyPr rtlCol="0" anchor="ctr"/>
            <a:lstStyle/>
            <a:p>
              <a:endParaRPr lang="uk-UA" sz="900">
                <a:solidFill>
                  <a:schemeClr val="bg1"/>
                </a:solidFill>
              </a:endParaRPr>
            </a:p>
          </p:txBody>
        </p:sp>
        <p:sp>
          <p:nvSpPr>
            <p:cNvPr id="336" name="Freeform: Shape 335">
              <a:extLst>
                <a:ext uri="{FF2B5EF4-FFF2-40B4-BE49-F238E27FC236}">
                  <a16:creationId xmlns:a16="http://schemas.microsoft.com/office/drawing/2014/main" id="{AF2CA520-F36D-8437-6427-2B93B28A08DB}"/>
                </a:ext>
              </a:extLst>
            </p:cNvPr>
            <p:cNvSpPr/>
            <p:nvPr/>
          </p:nvSpPr>
          <p:spPr>
            <a:xfrm>
              <a:off x="9537399" y="9800303"/>
              <a:ext cx="435077" cy="435077"/>
            </a:xfrm>
            <a:custGeom>
              <a:avLst/>
              <a:gdLst>
                <a:gd name="connsiteX0" fmla="*/ 63711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1 w 435077"/>
                <a:gd name="connsiteY6" fmla="*/ 153827 h 435077"/>
                <a:gd name="connsiteX7" fmla="*/ 63711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11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1" y="153827"/>
                  </a:moveTo>
                  <a:cubicBezTo>
                    <a:pt x="22923" y="113039"/>
                    <a:pt x="0" y="57702"/>
                    <a:pt x="0" y="0"/>
                  </a:cubicBezTo>
                  <a:lnTo>
                    <a:pt x="217539" y="0"/>
                  </a:lnTo>
                  <a:lnTo>
                    <a:pt x="435077" y="0"/>
                  </a:lnTo>
                  <a:cubicBezTo>
                    <a:pt x="435077" y="57702"/>
                    <a:pt x="412155" y="113039"/>
                    <a:pt x="371366" y="153827"/>
                  </a:cubicBezTo>
                  <a:cubicBezTo>
                    <a:pt x="330550" y="194642"/>
                    <a:pt x="275214" y="217539"/>
                    <a:pt x="217539" y="217539"/>
                  </a:cubicBezTo>
                  <a:cubicBezTo>
                    <a:pt x="159836" y="217539"/>
                    <a:pt x="104500" y="194642"/>
                    <a:pt x="63711" y="153827"/>
                  </a:cubicBezTo>
                  <a:close/>
                  <a:moveTo>
                    <a:pt x="63711" y="281277"/>
                  </a:moveTo>
                  <a:cubicBezTo>
                    <a:pt x="22923" y="322066"/>
                    <a:pt x="0" y="377402"/>
                    <a:pt x="0" y="435077"/>
                  </a:cubicBezTo>
                  <a:lnTo>
                    <a:pt x="217539" y="435077"/>
                  </a:lnTo>
                  <a:lnTo>
                    <a:pt x="435077" y="435077"/>
                  </a:lnTo>
                  <a:cubicBezTo>
                    <a:pt x="435077" y="377402"/>
                    <a:pt x="412155" y="322066"/>
                    <a:pt x="371366" y="281277"/>
                  </a:cubicBezTo>
                  <a:cubicBezTo>
                    <a:pt x="330550" y="240462"/>
                    <a:pt x="275214" y="217539"/>
                    <a:pt x="217539" y="217539"/>
                  </a:cubicBezTo>
                  <a:cubicBezTo>
                    <a:pt x="159836" y="217539"/>
                    <a:pt x="104500" y="240462"/>
                    <a:pt x="63711" y="281277"/>
                  </a:cubicBezTo>
                  <a:close/>
                </a:path>
              </a:pathLst>
            </a:custGeom>
            <a:grpFill/>
            <a:ln w="27192" cap="flat">
              <a:noFill/>
              <a:prstDash val="solid"/>
              <a:miter/>
            </a:ln>
          </p:spPr>
          <p:txBody>
            <a:bodyPr rtlCol="0" anchor="ctr"/>
            <a:lstStyle/>
            <a:p>
              <a:endParaRPr lang="uk-UA" sz="900">
                <a:solidFill>
                  <a:schemeClr val="bg1"/>
                </a:solidFill>
              </a:endParaRPr>
            </a:p>
          </p:txBody>
        </p:sp>
        <p:sp>
          <p:nvSpPr>
            <p:cNvPr id="337" name="Freeform: Shape 336">
              <a:extLst>
                <a:ext uri="{FF2B5EF4-FFF2-40B4-BE49-F238E27FC236}">
                  <a16:creationId xmlns:a16="http://schemas.microsoft.com/office/drawing/2014/main" id="{E3797CC7-2868-1F90-DFB1-44BD012FB913}"/>
                </a:ext>
              </a:extLst>
            </p:cNvPr>
            <p:cNvSpPr/>
            <p:nvPr/>
          </p:nvSpPr>
          <p:spPr>
            <a:xfrm>
              <a:off x="11277709" y="9800303"/>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38" name="Freeform: Shape 337">
              <a:extLst>
                <a:ext uri="{FF2B5EF4-FFF2-40B4-BE49-F238E27FC236}">
                  <a16:creationId xmlns:a16="http://schemas.microsoft.com/office/drawing/2014/main" id="{1877A40E-36BD-C38F-0D9F-9C093A1EA51B}"/>
                </a:ext>
              </a:extLst>
            </p:cNvPr>
            <p:cNvSpPr/>
            <p:nvPr/>
          </p:nvSpPr>
          <p:spPr>
            <a:xfrm>
              <a:off x="10407554" y="980030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1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11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1" y="217539"/>
                  </a:lnTo>
                  <a:lnTo>
                    <a:pt x="0" y="217539"/>
                  </a:lnTo>
                  <a:close/>
                  <a:moveTo>
                    <a:pt x="0" y="435077"/>
                  </a:moveTo>
                  <a:lnTo>
                    <a:pt x="0" y="217566"/>
                  </a:lnTo>
                  <a:lnTo>
                    <a:pt x="217511"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39" name="Freeform: Shape 338">
              <a:extLst>
                <a:ext uri="{FF2B5EF4-FFF2-40B4-BE49-F238E27FC236}">
                  <a16:creationId xmlns:a16="http://schemas.microsoft.com/office/drawing/2014/main" id="{713DB60A-37B1-F4EC-2430-61190686F342}"/>
                </a:ext>
              </a:extLst>
            </p:cNvPr>
            <p:cNvSpPr/>
            <p:nvPr/>
          </p:nvSpPr>
          <p:spPr>
            <a:xfrm>
              <a:off x="12147891" y="980033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2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2" y="217539"/>
                  </a:lnTo>
                  <a:lnTo>
                    <a:pt x="0" y="435050"/>
                  </a:lnTo>
                  <a:close/>
                </a:path>
              </a:pathLst>
            </a:custGeom>
            <a:grpFill/>
            <a:ln w="27192" cap="flat">
              <a:noFill/>
              <a:prstDash val="solid"/>
              <a:miter/>
            </a:ln>
          </p:spPr>
          <p:txBody>
            <a:bodyPr rtlCol="0" anchor="ctr"/>
            <a:lstStyle/>
            <a:p>
              <a:endParaRPr lang="uk-UA" sz="900">
                <a:solidFill>
                  <a:schemeClr val="bg1"/>
                </a:solidFill>
              </a:endParaRPr>
            </a:p>
          </p:txBody>
        </p:sp>
        <p:sp>
          <p:nvSpPr>
            <p:cNvPr id="340" name="Freeform: Shape 339">
              <a:extLst>
                <a:ext uri="{FF2B5EF4-FFF2-40B4-BE49-F238E27FC236}">
                  <a16:creationId xmlns:a16="http://schemas.microsoft.com/office/drawing/2014/main" id="{9D3E7827-7BE9-AFCF-AB6C-C29E5983EA9B}"/>
                </a:ext>
              </a:extLst>
            </p:cNvPr>
            <p:cNvSpPr/>
            <p:nvPr/>
          </p:nvSpPr>
          <p:spPr>
            <a:xfrm>
              <a:off x="13018045" y="980030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4" y="113039"/>
                    <a:pt x="371365" y="153827"/>
                  </a:cubicBezTo>
                  <a:cubicBezTo>
                    <a:pt x="330550" y="194642"/>
                    <a:pt x="275241" y="217539"/>
                    <a:pt x="217539" y="217539"/>
                  </a:cubicBezTo>
                  <a:cubicBezTo>
                    <a:pt x="159836"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4" y="322066"/>
                    <a:pt x="371365" y="281277"/>
                  </a:cubicBezTo>
                  <a:cubicBezTo>
                    <a:pt x="330550" y="240462"/>
                    <a:pt x="275241" y="217539"/>
                    <a:pt x="217539" y="217539"/>
                  </a:cubicBezTo>
                  <a:cubicBezTo>
                    <a:pt x="159836" y="217539"/>
                    <a:pt x="104501" y="240462"/>
                    <a:pt x="63712" y="281277"/>
                  </a:cubicBezTo>
                  <a:close/>
                </a:path>
              </a:pathLst>
            </a:custGeom>
            <a:grpFill/>
            <a:ln w="27192" cap="flat">
              <a:noFill/>
              <a:prstDash val="solid"/>
              <a:miter/>
            </a:ln>
          </p:spPr>
          <p:txBody>
            <a:bodyPr rtlCol="0" anchor="ctr"/>
            <a:lstStyle/>
            <a:p>
              <a:endParaRPr lang="uk-UA" sz="900">
                <a:solidFill>
                  <a:schemeClr val="bg1"/>
                </a:solidFill>
              </a:endParaRPr>
            </a:p>
          </p:txBody>
        </p:sp>
        <p:sp>
          <p:nvSpPr>
            <p:cNvPr id="341" name="Freeform: Shape 340">
              <a:extLst>
                <a:ext uri="{FF2B5EF4-FFF2-40B4-BE49-F238E27FC236}">
                  <a16:creationId xmlns:a16="http://schemas.microsoft.com/office/drawing/2014/main" id="{668C3F80-1759-968E-5415-861A6F6FD18E}"/>
                </a:ext>
              </a:extLst>
            </p:cNvPr>
            <p:cNvSpPr/>
            <p:nvPr/>
          </p:nvSpPr>
          <p:spPr>
            <a:xfrm>
              <a:off x="14758382" y="9800303"/>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42" name="Freeform: Shape 341">
              <a:extLst>
                <a:ext uri="{FF2B5EF4-FFF2-40B4-BE49-F238E27FC236}">
                  <a16:creationId xmlns:a16="http://schemas.microsoft.com/office/drawing/2014/main" id="{3A83F544-EC75-D7A2-10E9-AF91A0D9E971}"/>
                </a:ext>
              </a:extLst>
            </p:cNvPr>
            <p:cNvSpPr/>
            <p:nvPr/>
          </p:nvSpPr>
          <p:spPr>
            <a:xfrm>
              <a:off x="13888200" y="980030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5 w 435077"/>
                <a:gd name="connsiteY3" fmla="*/ 27 h 435077"/>
                <a:gd name="connsiteX4" fmla="*/ 435077 w 435077"/>
                <a:gd name="connsiteY4" fmla="*/ 217566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5" y="27"/>
                  </a:lnTo>
                  <a:lnTo>
                    <a:pt x="435077" y="217566"/>
                  </a:lnTo>
                  <a:lnTo>
                    <a:pt x="217565"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43" name="Freeform: Shape 342">
              <a:extLst>
                <a:ext uri="{FF2B5EF4-FFF2-40B4-BE49-F238E27FC236}">
                  <a16:creationId xmlns:a16="http://schemas.microsoft.com/office/drawing/2014/main" id="{7F497FC4-AAB8-C5D2-DED5-FA785EFB356A}"/>
                </a:ext>
              </a:extLst>
            </p:cNvPr>
            <p:cNvSpPr/>
            <p:nvPr/>
          </p:nvSpPr>
          <p:spPr>
            <a:xfrm>
              <a:off x="15628565" y="980033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0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0" y="217539"/>
                  </a:lnTo>
                  <a:lnTo>
                    <a:pt x="0" y="435050"/>
                  </a:lnTo>
                  <a:close/>
                </a:path>
              </a:pathLst>
            </a:custGeom>
            <a:grpFill/>
            <a:ln w="27192" cap="flat">
              <a:noFill/>
              <a:prstDash val="solid"/>
              <a:miter/>
            </a:ln>
          </p:spPr>
          <p:txBody>
            <a:bodyPr rtlCol="0" anchor="ctr"/>
            <a:lstStyle/>
            <a:p>
              <a:endParaRPr lang="uk-UA" sz="900">
                <a:solidFill>
                  <a:schemeClr val="bg1"/>
                </a:solidFill>
              </a:endParaRPr>
            </a:p>
          </p:txBody>
        </p:sp>
        <p:sp>
          <p:nvSpPr>
            <p:cNvPr id="344" name="Freeform: Shape 343">
              <a:extLst>
                <a:ext uri="{FF2B5EF4-FFF2-40B4-BE49-F238E27FC236}">
                  <a16:creationId xmlns:a16="http://schemas.microsoft.com/office/drawing/2014/main" id="{DA94EE3C-1408-9C2B-B7D4-26B30FE111A4}"/>
                </a:ext>
              </a:extLst>
            </p:cNvPr>
            <p:cNvSpPr/>
            <p:nvPr/>
          </p:nvSpPr>
          <p:spPr>
            <a:xfrm>
              <a:off x="16498719" y="9800303"/>
              <a:ext cx="435077" cy="435077"/>
            </a:xfrm>
            <a:custGeom>
              <a:avLst/>
              <a:gdLst>
                <a:gd name="connsiteX0" fmla="*/ 63710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0 w 435077"/>
                <a:gd name="connsiteY6" fmla="*/ 153827 h 435077"/>
                <a:gd name="connsiteX7" fmla="*/ 63710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77 h 435077"/>
                <a:gd name="connsiteX12" fmla="*/ 217539 w 435077"/>
                <a:gd name="connsiteY12" fmla="*/ 217539 h 435077"/>
                <a:gd name="connsiteX13" fmla="*/ 63710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7"/>
                  </a:moveTo>
                  <a:cubicBezTo>
                    <a:pt x="22895" y="113039"/>
                    <a:pt x="0" y="57702"/>
                    <a:pt x="0" y="0"/>
                  </a:cubicBezTo>
                  <a:lnTo>
                    <a:pt x="217539" y="0"/>
                  </a:lnTo>
                  <a:lnTo>
                    <a:pt x="435077" y="0"/>
                  </a:lnTo>
                  <a:cubicBezTo>
                    <a:pt x="435077" y="57702"/>
                    <a:pt x="412154" y="113039"/>
                    <a:pt x="371339" y="153827"/>
                  </a:cubicBezTo>
                  <a:cubicBezTo>
                    <a:pt x="330550" y="194642"/>
                    <a:pt x="275213" y="217539"/>
                    <a:pt x="217539" y="217539"/>
                  </a:cubicBezTo>
                  <a:cubicBezTo>
                    <a:pt x="159836" y="217539"/>
                    <a:pt x="104499" y="194642"/>
                    <a:pt x="63710" y="153827"/>
                  </a:cubicBezTo>
                  <a:close/>
                  <a:moveTo>
                    <a:pt x="63710" y="281277"/>
                  </a:moveTo>
                  <a:cubicBezTo>
                    <a:pt x="22895" y="322066"/>
                    <a:pt x="0" y="377402"/>
                    <a:pt x="0" y="435077"/>
                  </a:cubicBezTo>
                  <a:lnTo>
                    <a:pt x="217539" y="435077"/>
                  </a:lnTo>
                  <a:lnTo>
                    <a:pt x="435077" y="435077"/>
                  </a:lnTo>
                  <a:cubicBezTo>
                    <a:pt x="435077" y="377402"/>
                    <a:pt x="412154" y="322066"/>
                    <a:pt x="371339" y="281277"/>
                  </a:cubicBezTo>
                  <a:cubicBezTo>
                    <a:pt x="330550" y="240462"/>
                    <a:pt x="275213" y="217539"/>
                    <a:pt x="217539" y="217539"/>
                  </a:cubicBezTo>
                  <a:cubicBezTo>
                    <a:pt x="159836" y="217539"/>
                    <a:pt x="104499" y="240462"/>
                    <a:pt x="63710" y="281277"/>
                  </a:cubicBezTo>
                  <a:close/>
                </a:path>
              </a:pathLst>
            </a:custGeom>
            <a:grpFill/>
            <a:ln w="27192" cap="flat">
              <a:noFill/>
              <a:prstDash val="solid"/>
              <a:miter/>
            </a:ln>
          </p:spPr>
          <p:txBody>
            <a:bodyPr rtlCol="0" anchor="ctr"/>
            <a:lstStyle/>
            <a:p>
              <a:endParaRPr lang="uk-UA" sz="900">
                <a:solidFill>
                  <a:schemeClr val="bg1"/>
                </a:solidFill>
              </a:endParaRPr>
            </a:p>
          </p:txBody>
        </p:sp>
        <p:sp>
          <p:nvSpPr>
            <p:cNvPr id="345" name="Freeform: Shape 344">
              <a:extLst>
                <a:ext uri="{FF2B5EF4-FFF2-40B4-BE49-F238E27FC236}">
                  <a16:creationId xmlns:a16="http://schemas.microsoft.com/office/drawing/2014/main" id="{ED3CA553-41D3-18B7-9C51-F61A4332304C}"/>
                </a:ext>
              </a:extLst>
            </p:cNvPr>
            <p:cNvSpPr/>
            <p:nvPr/>
          </p:nvSpPr>
          <p:spPr>
            <a:xfrm>
              <a:off x="18239029" y="9800303"/>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46" name="Freeform: Shape 345">
              <a:extLst>
                <a:ext uri="{FF2B5EF4-FFF2-40B4-BE49-F238E27FC236}">
                  <a16:creationId xmlns:a16="http://schemas.microsoft.com/office/drawing/2014/main" id="{B8DDF294-C87E-629E-50DE-9E2A35C85788}"/>
                </a:ext>
              </a:extLst>
            </p:cNvPr>
            <p:cNvSpPr/>
            <p:nvPr/>
          </p:nvSpPr>
          <p:spPr>
            <a:xfrm>
              <a:off x="17368874" y="980030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0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10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0" y="217539"/>
                  </a:lnTo>
                  <a:lnTo>
                    <a:pt x="0" y="217539"/>
                  </a:lnTo>
                  <a:close/>
                  <a:moveTo>
                    <a:pt x="0" y="435077"/>
                  </a:moveTo>
                  <a:lnTo>
                    <a:pt x="0" y="217566"/>
                  </a:lnTo>
                  <a:lnTo>
                    <a:pt x="217510"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47" name="Freeform: Shape 346">
              <a:extLst>
                <a:ext uri="{FF2B5EF4-FFF2-40B4-BE49-F238E27FC236}">
                  <a16:creationId xmlns:a16="http://schemas.microsoft.com/office/drawing/2014/main" id="{590226C7-E094-BF47-3FF3-8117315C8EEC}"/>
                </a:ext>
              </a:extLst>
            </p:cNvPr>
            <p:cNvSpPr/>
            <p:nvPr/>
          </p:nvSpPr>
          <p:spPr>
            <a:xfrm>
              <a:off x="19109210" y="9800303"/>
              <a:ext cx="435077" cy="435077"/>
            </a:xfrm>
            <a:custGeom>
              <a:avLst/>
              <a:gdLst>
                <a:gd name="connsiteX0" fmla="*/ 435077 w 435077"/>
                <a:gd name="connsiteY0" fmla="*/ 435077 h 435077"/>
                <a:gd name="connsiteX1" fmla="*/ 435077 w 435077"/>
                <a:gd name="connsiteY1" fmla="*/ 0 h 435077"/>
                <a:gd name="connsiteX2" fmla="*/ 217539 w 435077"/>
                <a:gd name="connsiteY2" fmla="*/ 217566 h 435077"/>
                <a:gd name="connsiteX3" fmla="*/ 435077 w 435077"/>
                <a:gd name="connsiteY3" fmla="*/ 435077 h 435077"/>
                <a:gd name="connsiteX4" fmla="*/ 0 w 435077"/>
                <a:gd name="connsiteY4" fmla="*/ 435077 h 435077"/>
                <a:gd name="connsiteX5" fmla="*/ 0 w 435077"/>
                <a:gd name="connsiteY5" fmla="*/ 0 h 435077"/>
                <a:gd name="connsiteX6" fmla="*/ 217512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66"/>
                  </a:lnTo>
                  <a:lnTo>
                    <a:pt x="435077" y="435077"/>
                  </a:lnTo>
                  <a:close/>
                  <a:moveTo>
                    <a:pt x="0" y="435077"/>
                  </a:moveTo>
                  <a:lnTo>
                    <a:pt x="0" y="0"/>
                  </a:lnTo>
                  <a:lnTo>
                    <a:pt x="217512"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48" name="Freeform: Shape 347">
              <a:extLst>
                <a:ext uri="{FF2B5EF4-FFF2-40B4-BE49-F238E27FC236}">
                  <a16:creationId xmlns:a16="http://schemas.microsoft.com/office/drawing/2014/main" id="{B0A0B840-C082-DABF-7FF8-1B3263317A1D}"/>
                </a:ext>
              </a:extLst>
            </p:cNvPr>
            <p:cNvSpPr/>
            <p:nvPr/>
          </p:nvSpPr>
          <p:spPr>
            <a:xfrm>
              <a:off x="19979365" y="980030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4" y="113039"/>
                    <a:pt x="371365" y="153827"/>
                  </a:cubicBezTo>
                  <a:cubicBezTo>
                    <a:pt x="330550" y="194642"/>
                    <a:pt x="275241" y="217539"/>
                    <a:pt x="217539" y="217539"/>
                  </a:cubicBezTo>
                  <a:cubicBezTo>
                    <a:pt x="159836"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4" y="322066"/>
                    <a:pt x="371365" y="281277"/>
                  </a:cubicBezTo>
                  <a:cubicBezTo>
                    <a:pt x="330550" y="240462"/>
                    <a:pt x="275241" y="217539"/>
                    <a:pt x="217539" y="217539"/>
                  </a:cubicBezTo>
                  <a:cubicBezTo>
                    <a:pt x="159836" y="217539"/>
                    <a:pt x="104501" y="240462"/>
                    <a:pt x="63712" y="281277"/>
                  </a:cubicBezTo>
                  <a:close/>
                </a:path>
              </a:pathLst>
            </a:custGeom>
            <a:grpFill/>
            <a:ln w="27192" cap="flat">
              <a:noFill/>
              <a:prstDash val="solid"/>
              <a:miter/>
            </a:ln>
          </p:spPr>
          <p:txBody>
            <a:bodyPr rtlCol="0" anchor="ctr"/>
            <a:lstStyle/>
            <a:p>
              <a:endParaRPr lang="uk-UA" sz="900">
                <a:solidFill>
                  <a:schemeClr val="bg1"/>
                </a:solidFill>
              </a:endParaRPr>
            </a:p>
          </p:txBody>
        </p:sp>
        <p:sp>
          <p:nvSpPr>
            <p:cNvPr id="349" name="Freeform: Shape 348">
              <a:extLst>
                <a:ext uri="{FF2B5EF4-FFF2-40B4-BE49-F238E27FC236}">
                  <a16:creationId xmlns:a16="http://schemas.microsoft.com/office/drawing/2014/main" id="{C858F33C-0103-5971-5CA1-781AAE593C57}"/>
                </a:ext>
              </a:extLst>
            </p:cNvPr>
            <p:cNvSpPr/>
            <p:nvPr/>
          </p:nvSpPr>
          <p:spPr>
            <a:xfrm>
              <a:off x="21719702" y="9800303"/>
              <a:ext cx="435077" cy="435077"/>
            </a:xfrm>
            <a:custGeom>
              <a:avLst/>
              <a:gdLst>
                <a:gd name="connsiteX0" fmla="*/ 0 w 435077"/>
                <a:gd name="connsiteY0" fmla="*/ 435077 h 435077"/>
                <a:gd name="connsiteX1" fmla="*/ 0 w 435077"/>
                <a:gd name="connsiteY1" fmla="*/ 0 h 435077"/>
                <a:gd name="connsiteX2" fmla="*/ 217512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12"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50" name="Freeform: Shape 349">
              <a:extLst>
                <a:ext uri="{FF2B5EF4-FFF2-40B4-BE49-F238E27FC236}">
                  <a16:creationId xmlns:a16="http://schemas.microsoft.com/office/drawing/2014/main" id="{DCC021A4-18C0-4C61-D047-02DFD33E428C}"/>
                </a:ext>
              </a:extLst>
            </p:cNvPr>
            <p:cNvSpPr/>
            <p:nvPr/>
          </p:nvSpPr>
          <p:spPr>
            <a:xfrm>
              <a:off x="20849520" y="980030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5 w 435077"/>
                <a:gd name="connsiteY3" fmla="*/ 27 h 435077"/>
                <a:gd name="connsiteX4" fmla="*/ 435077 w 435077"/>
                <a:gd name="connsiteY4" fmla="*/ 217566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5" y="27"/>
                  </a:lnTo>
                  <a:lnTo>
                    <a:pt x="435077" y="217566"/>
                  </a:lnTo>
                  <a:lnTo>
                    <a:pt x="217565"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51" name="Freeform: Shape 350">
              <a:extLst>
                <a:ext uri="{FF2B5EF4-FFF2-40B4-BE49-F238E27FC236}">
                  <a16:creationId xmlns:a16="http://schemas.microsoft.com/office/drawing/2014/main" id="{AC1C2F0D-5358-CCC4-84BF-703BF93ACCF0}"/>
                </a:ext>
              </a:extLst>
            </p:cNvPr>
            <p:cNvSpPr/>
            <p:nvPr/>
          </p:nvSpPr>
          <p:spPr>
            <a:xfrm>
              <a:off x="22589856" y="9800303"/>
              <a:ext cx="435077" cy="435077"/>
            </a:xfrm>
            <a:custGeom>
              <a:avLst/>
              <a:gdLst>
                <a:gd name="connsiteX0" fmla="*/ 435077 w 435077"/>
                <a:gd name="connsiteY0" fmla="*/ 435077 h 435077"/>
                <a:gd name="connsiteX1" fmla="*/ 435077 w 435077"/>
                <a:gd name="connsiteY1" fmla="*/ 0 h 435077"/>
                <a:gd name="connsiteX2" fmla="*/ 217567 w 435077"/>
                <a:gd name="connsiteY2" fmla="*/ 217566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7" y="217566"/>
                  </a:lnTo>
                  <a:lnTo>
                    <a:pt x="435077" y="435077"/>
                  </a:lnTo>
                  <a:close/>
                  <a:moveTo>
                    <a:pt x="0" y="435077"/>
                  </a:moveTo>
                  <a:lnTo>
                    <a:pt x="0" y="0"/>
                  </a:lnTo>
                  <a:lnTo>
                    <a:pt x="217539"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52" name="Freeform: Shape 351">
              <a:extLst>
                <a:ext uri="{FF2B5EF4-FFF2-40B4-BE49-F238E27FC236}">
                  <a16:creationId xmlns:a16="http://schemas.microsoft.com/office/drawing/2014/main" id="{05E7F346-6A11-55E7-0A56-28D28986937F}"/>
                </a:ext>
              </a:extLst>
            </p:cNvPr>
            <p:cNvSpPr/>
            <p:nvPr/>
          </p:nvSpPr>
          <p:spPr>
            <a:xfrm>
              <a:off x="23460039" y="980030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895" y="113039"/>
                    <a:pt x="0" y="57702"/>
                    <a:pt x="0" y="0"/>
                  </a:cubicBezTo>
                  <a:lnTo>
                    <a:pt x="217539" y="0"/>
                  </a:lnTo>
                  <a:lnTo>
                    <a:pt x="435077" y="0"/>
                  </a:lnTo>
                  <a:cubicBezTo>
                    <a:pt x="435077" y="57702"/>
                    <a:pt x="412154" y="113039"/>
                    <a:pt x="371339" y="153827"/>
                  </a:cubicBezTo>
                  <a:cubicBezTo>
                    <a:pt x="330550" y="194642"/>
                    <a:pt x="275213" y="217539"/>
                    <a:pt x="217539" y="217539"/>
                  </a:cubicBezTo>
                  <a:cubicBezTo>
                    <a:pt x="159836" y="217539"/>
                    <a:pt x="104501" y="194642"/>
                    <a:pt x="63712" y="153827"/>
                  </a:cubicBezTo>
                  <a:close/>
                  <a:moveTo>
                    <a:pt x="63712" y="281277"/>
                  </a:moveTo>
                  <a:cubicBezTo>
                    <a:pt x="22895" y="322066"/>
                    <a:pt x="0" y="377402"/>
                    <a:pt x="0" y="435077"/>
                  </a:cubicBezTo>
                  <a:lnTo>
                    <a:pt x="217539" y="435077"/>
                  </a:lnTo>
                  <a:lnTo>
                    <a:pt x="435077" y="435077"/>
                  </a:lnTo>
                  <a:cubicBezTo>
                    <a:pt x="435077" y="377402"/>
                    <a:pt x="412154" y="322066"/>
                    <a:pt x="371339" y="281277"/>
                  </a:cubicBezTo>
                  <a:cubicBezTo>
                    <a:pt x="330550" y="240462"/>
                    <a:pt x="275213" y="217539"/>
                    <a:pt x="217539" y="217539"/>
                  </a:cubicBezTo>
                  <a:cubicBezTo>
                    <a:pt x="159836" y="217539"/>
                    <a:pt x="104501" y="240462"/>
                    <a:pt x="63712" y="281277"/>
                  </a:cubicBezTo>
                  <a:close/>
                </a:path>
              </a:pathLst>
            </a:custGeom>
            <a:grpFill/>
            <a:ln w="27192" cap="flat">
              <a:noFill/>
              <a:prstDash val="solid"/>
              <a:miter/>
            </a:ln>
          </p:spPr>
          <p:txBody>
            <a:bodyPr rtlCol="0" anchor="ctr"/>
            <a:lstStyle/>
            <a:p>
              <a:endParaRPr lang="uk-UA" sz="900">
                <a:solidFill>
                  <a:schemeClr val="bg1"/>
                </a:solidFill>
              </a:endParaRPr>
            </a:p>
          </p:txBody>
        </p:sp>
        <p:sp>
          <p:nvSpPr>
            <p:cNvPr id="353" name="Freeform: Shape 352">
              <a:extLst>
                <a:ext uri="{FF2B5EF4-FFF2-40B4-BE49-F238E27FC236}">
                  <a16:creationId xmlns:a16="http://schemas.microsoft.com/office/drawing/2014/main" id="{29F7E3A9-8FE0-A661-D291-6CF50D1B6CF4}"/>
                </a:ext>
              </a:extLst>
            </p:cNvPr>
            <p:cNvSpPr/>
            <p:nvPr/>
          </p:nvSpPr>
          <p:spPr>
            <a:xfrm>
              <a:off x="24330194" y="980030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54" name="Freeform: Shape 353">
              <a:extLst>
                <a:ext uri="{FF2B5EF4-FFF2-40B4-BE49-F238E27FC236}">
                  <a16:creationId xmlns:a16="http://schemas.microsoft.com/office/drawing/2014/main" id="{63E1A72E-93D4-468D-6891-4C6355D21BAF}"/>
                </a:ext>
              </a:extLst>
            </p:cNvPr>
            <p:cNvSpPr/>
            <p:nvPr/>
          </p:nvSpPr>
          <p:spPr>
            <a:xfrm>
              <a:off x="835742" y="1067045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355" name="Freeform: Shape 354">
              <a:extLst>
                <a:ext uri="{FF2B5EF4-FFF2-40B4-BE49-F238E27FC236}">
                  <a16:creationId xmlns:a16="http://schemas.microsoft.com/office/drawing/2014/main" id="{0373C252-F76A-186E-45AE-8D09D50E1551}"/>
                </a:ext>
              </a:extLst>
            </p:cNvPr>
            <p:cNvSpPr/>
            <p:nvPr/>
          </p:nvSpPr>
          <p:spPr>
            <a:xfrm>
              <a:off x="-34407" y="10670458"/>
              <a:ext cx="435072" cy="435077"/>
            </a:xfrm>
            <a:custGeom>
              <a:avLst/>
              <a:gdLst>
                <a:gd name="connsiteX0" fmla="*/ 371360 w 435072"/>
                <a:gd name="connsiteY0" fmla="*/ 63739 h 435077"/>
                <a:gd name="connsiteX1" fmla="*/ 435072 w 435072"/>
                <a:gd name="connsiteY1" fmla="*/ 217539 h 435077"/>
                <a:gd name="connsiteX2" fmla="*/ 217724 w 435072"/>
                <a:gd name="connsiteY2" fmla="*/ 217539 h 435077"/>
                <a:gd name="connsiteX3" fmla="*/ 371360 w 435072"/>
                <a:gd name="connsiteY3" fmla="*/ 281277 h 435077"/>
                <a:gd name="connsiteX4" fmla="*/ 435072 w 435072"/>
                <a:gd name="connsiteY4" fmla="*/ 435077 h 435077"/>
                <a:gd name="connsiteX5" fmla="*/ 217533 w 435072"/>
                <a:gd name="connsiteY5" fmla="*/ 435077 h 435077"/>
                <a:gd name="connsiteX6" fmla="*/ 5 w 435072"/>
                <a:gd name="connsiteY6" fmla="*/ 435077 h 435077"/>
                <a:gd name="connsiteX7" fmla="*/ 63720 w 435072"/>
                <a:gd name="connsiteY7" fmla="*/ 281277 h 435077"/>
                <a:gd name="connsiteX8" fmla="*/ 217370 w 435072"/>
                <a:gd name="connsiteY8" fmla="*/ 217539 h 435077"/>
                <a:gd name="connsiteX9" fmla="*/ 0 w 435072"/>
                <a:gd name="connsiteY9" fmla="*/ 217539 h 435077"/>
                <a:gd name="connsiteX10" fmla="*/ 63717 w 435072"/>
                <a:gd name="connsiteY10" fmla="*/ 63739 h 435077"/>
                <a:gd name="connsiteX11" fmla="*/ 217533 w 435072"/>
                <a:gd name="connsiteY11" fmla="*/ 0 h 435077"/>
                <a:gd name="connsiteX12" fmla="*/ 371360 w 435072"/>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2" h="435077">
                  <a:moveTo>
                    <a:pt x="371360" y="63739"/>
                  </a:moveTo>
                  <a:cubicBezTo>
                    <a:pt x="412149" y="104527"/>
                    <a:pt x="435072" y="159864"/>
                    <a:pt x="435072" y="217539"/>
                  </a:cubicBezTo>
                  <a:lnTo>
                    <a:pt x="217724" y="217539"/>
                  </a:lnTo>
                  <a:cubicBezTo>
                    <a:pt x="275344" y="217593"/>
                    <a:pt x="330599" y="240516"/>
                    <a:pt x="371360" y="281277"/>
                  </a:cubicBezTo>
                  <a:cubicBezTo>
                    <a:pt x="412176" y="322066"/>
                    <a:pt x="435072" y="377402"/>
                    <a:pt x="435072" y="435077"/>
                  </a:cubicBezTo>
                  <a:lnTo>
                    <a:pt x="217533" y="435077"/>
                  </a:lnTo>
                  <a:lnTo>
                    <a:pt x="5" y="435077"/>
                  </a:lnTo>
                  <a:cubicBezTo>
                    <a:pt x="5" y="377402"/>
                    <a:pt x="22923" y="322066"/>
                    <a:pt x="63720" y="281277"/>
                  </a:cubicBezTo>
                  <a:cubicBezTo>
                    <a:pt x="104476" y="240516"/>
                    <a:pt x="159750" y="217593"/>
                    <a:pt x="217370" y="217539"/>
                  </a:cubicBezTo>
                  <a:lnTo>
                    <a:pt x="0" y="217539"/>
                  </a:lnTo>
                  <a:cubicBezTo>
                    <a:pt x="0" y="159864"/>
                    <a:pt x="22921" y="104527"/>
                    <a:pt x="63717" y="63739"/>
                  </a:cubicBezTo>
                  <a:cubicBezTo>
                    <a:pt x="104514" y="22923"/>
                    <a:pt x="159858" y="0"/>
                    <a:pt x="217533" y="0"/>
                  </a:cubicBezTo>
                  <a:cubicBezTo>
                    <a:pt x="275236" y="0"/>
                    <a:pt x="330572" y="22923"/>
                    <a:pt x="371360" y="63739"/>
                  </a:cubicBezTo>
                  <a:close/>
                </a:path>
              </a:pathLst>
            </a:custGeom>
            <a:grpFill/>
            <a:ln w="27192" cap="flat">
              <a:noFill/>
              <a:prstDash val="solid"/>
              <a:miter/>
            </a:ln>
          </p:spPr>
          <p:txBody>
            <a:bodyPr rtlCol="0" anchor="ctr"/>
            <a:lstStyle/>
            <a:p>
              <a:endParaRPr lang="uk-UA" sz="900">
                <a:solidFill>
                  <a:schemeClr val="bg1"/>
                </a:solidFill>
              </a:endParaRPr>
            </a:p>
          </p:txBody>
        </p:sp>
        <p:sp>
          <p:nvSpPr>
            <p:cNvPr id="356" name="Freeform: Shape 355">
              <a:extLst>
                <a:ext uri="{FF2B5EF4-FFF2-40B4-BE49-F238E27FC236}">
                  <a16:creationId xmlns:a16="http://schemas.microsoft.com/office/drawing/2014/main" id="{6684C527-079A-19B7-A09D-CA0C03964420}"/>
                </a:ext>
              </a:extLst>
            </p:cNvPr>
            <p:cNvSpPr/>
            <p:nvPr/>
          </p:nvSpPr>
          <p:spPr>
            <a:xfrm>
              <a:off x="1705924" y="1067045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solidFill>
                  <a:schemeClr val="bg1"/>
                </a:solidFill>
              </a:endParaRPr>
            </a:p>
          </p:txBody>
        </p:sp>
        <p:sp>
          <p:nvSpPr>
            <p:cNvPr id="357" name="Freeform: Shape 356">
              <a:extLst>
                <a:ext uri="{FF2B5EF4-FFF2-40B4-BE49-F238E27FC236}">
                  <a16:creationId xmlns:a16="http://schemas.microsoft.com/office/drawing/2014/main" id="{4B5C2571-CB05-0493-AEF4-2273B08E4E97}"/>
                </a:ext>
              </a:extLst>
            </p:cNvPr>
            <p:cNvSpPr/>
            <p:nvPr/>
          </p:nvSpPr>
          <p:spPr>
            <a:xfrm>
              <a:off x="2576079" y="10670458"/>
              <a:ext cx="435104" cy="435077"/>
            </a:xfrm>
            <a:custGeom>
              <a:avLst/>
              <a:gdLst>
                <a:gd name="connsiteX0" fmla="*/ 217539 w 435104"/>
                <a:gd name="connsiteY0" fmla="*/ 0 h 435077"/>
                <a:gd name="connsiteX1" fmla="*/ 0 w 435104"/>
                <a:gd name="connsiteY1" fmla="*/ 0 h 435077"/>
                <a:gd name="connsiteX2" fmla="*/ 0 w 435104"/>
                <a:gd name="connsiteY2" fmla="*/ 217539 h 435077"/>
                <a:gd name="connsiteX3" fmla="*/ 217539 w 435104"/>
                <a:gd name="connsiteY3" fmla="*/ 0 h 435077"/>
                <a:gd name="connsiteX4" fmla="*/ 435104 w 435104"/>
                <a:gd name="connsiteY4" fmla="*/ 0 h 435077"/>
                <a:gd name="connsiteX5" fmla="*/ 435104 w 435104"/>
                <a:gd name="connsiteY5" fmla="*/ 217539 h 435077"/>
                <a:gd name="connsiteX6" fmla="*/ 217566 w 435104"/>
                <a:gd name="connsiteY6" fmla="*/ 0 h 435077"/>
                <a:gd name="connsiteX7" fmla="*/ 435104 w 435104"/>
                <a:gd name="connsiteY7" fmla="*/ 0 h 435077"/>
                <a:gd name="connsiteX8" fmla="*/ 217566 w 435104"/>
                <a:gd name="connsiteY8" fmla="*/ 435077 h 435077"/>
                <a:gd name="connsiteX9" fmla="*/ 435104 w 435104"/>
                <a:gd name="connsiteY9" fmla="*/ 217539 h 435077"/>
                <a:gd name="connsiteX10" fmla="*/ 435104 w 435104"/>
                <a:gd name="connsiteY10" fmla="*/ 435077 h 435077"/>
                <a:gd name="connsiteX11" fmla="*/ 217566 w 435104"/>
                <a:gd name="connsiteY11" fmla="*/ 435077 h 435077"/>
                <a:gd name="connsiteX12" fmla="*/ 217566 w 435104"/>
                <a:gd name="connsiteY12" fmla="*/ 435077 h 435077"/>
                <a:gd name="connsiteX13" fmla="*/ 27 w 435104"/>
                <a:gd name="connsiteY13" fmla="*/ 217539 h 435077"/>
                <a:gd name="connsiteX14" fmla="*/ 27 w 435104"/>
                <a:gd name="connsiteY14" fmla="*/ 435077 h 435077"/>
                <a:gd name="connsiteX15" fmla="*/ 217566 w 435104"/>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4" h="435077">
                  <a:moveTo>
                    <a:pt x="217539" y="0"/>
                  </a:moveTo>
                  <a:lnTo>
                    <a:pt x="0" y="0"/>
                  </a:lnTo>
                  <a:lnTo>
                    <a:pt x="0" y="217539"/>
                  </a:lnTo>
                  <a:lnTo>
                    <a:pt x="217539" y="0"/>
                  </a:lnTo>
                  <a:close/>
                  <a:moveTo>
                    <a:pt x="435104" y="0"/>
                  </a:moveTo>
                  <a:lnTo>
                    <a:pt x="435104" y="217539"/>
                  </a:lnTo>
                  <a:lnTo>
                    <a:pt x="217566" y="0"/>
                  </a:lnTo>
                  <a:lnTo>
                    <a:pt x="435104" y="0"/>
                  </a:lnTo>
                  <a:close/>
                  <a:moveTo>
                    <a:pt x="217566" y="435077"/>
                  </a:moveTo>
                  <a:lnTo>
                    <a:pt x="435104" y="217539"/>
                  </a:lnTo>
                  <a:lnTo>
                    <a:pt x="435104" y="435077"/>
                  </a:lnTo>
                  <a:lnTo>
                    <a:pt x="217566" y="435077"/>
                  </a:lnTo>
                  <a:close/>
                  <a:moveTo>
                    <a:pt x="217566" y="435077"/>
                  </a:moveTo>
                  <a:lnTo>
                    <a:pt x="27" y="217539"/>
                  </a:lnTo>
                  <a:lnTo>
                    <a:pt x="27" y="435077"/>
                  </a:lnTo>
                  <a:lnTo>
                    <a:pt x="217566"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58" name="Freeform: Shape 357">
              <a:extLst>
                <a:ext uri="{FF2B5EF4-FFF2-40B4-BE49-F238E27FC236}">
                  <a16:creationId xmlns:a16="http://schemas.microsoft.com/office/drawing/2014/main" id="{C765200D-2085-CCF8-07A6-7F40F1F9FD50}"/>
                </a:ext>
              </a:extLst>
            </p:cNvPr>
            <p:cNvSpPr/>
            <p:nvPr/>
          </p:nvSpPr>
          <p:spPr>
            <a:xfrm>
              <a:off x="4316416" y="1067045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359" name="Freeform: Shape 358">
              <a:extLst>
                <a:ext uri="{FF2B5EF4-FFF2-40B4-BE49-F238E27FC236}">
                  <a16:creationId xmlns:a16="http://schemas.microsoft.com/office/drawing/2014/main" id="{EA6B9719-5C69-8167-2450-FC9D508DDF11}"/>
                </a:ext>
              </a:extLst>
            </p:cNvPr>
            <p:cNvSpPr/>
            <p:nvPr/>
          </p:nvSpPr>
          <p:spPr>
            <a:xfrm>
              <a:off x="3446261" y="10670458"/>
              <a:ext cx="435077" cy="435077"/>
            </a:xfrm>
            <a:custGeom>
              <a:avLst/>
              <a:gdLst>
                <a:gd name="connsiteX0" fmla="*/ 371366 w 435077"/>
                <a:gd name="connsiteY0" fmla="*/ 63739 h 435077"/>
                <a:gd name="connsiteX1" fmla="*/ 435077 w 435077"/>
                <a:gd name="connsiteY1" fmla="*/ 217539 h 435077"/>
                <a:gd name="connsiteX2" fmla="*/ 217702 w 435077"/>
                <a:gd name="connsiteY2" fmla="*/ 217539 h 435077"/>
                <a:gd name="connsiteX3" fmla="*/ 371366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6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39"/>
                  </a:moveTo>
                  <a:cubicBezTo>
                    <a:pt x="412154" y="104527"/>
                    <a:pt x="435077" y="159864"/>
                    <a:pt x="435077" y="217539"/>
                  </a:cubicBezTo>
                  <a:lnTo>
                    <a:pt x="217702" y="217539"/>
                  </a:lnTo>
                  <a:cubicBezTo>
                    <a:pt x="275350" y="217593"/>
                    <a:pt x="330605" y="240516"/>
                    <a:pt x="371366" y="281277"/>
                  </a:cubicBezTo>
                  <a:cubicBezTo>
                    <a:pt x="412154" y="322066"/>
                    <a:pt x="435077" y="377402"/>
                    <a:pt x="435077" y="435077"/>
                  </a:cubicBezTo>
                  <a:lnTo>
                    <a:pt x="217539" y="435077"/>
                  </a:lnTo>
                  <a:lnTo>
                    <a:pt x="0" y="435077"/>
                  </a:lnTo>
                  <a:cubicBezTo>
                    <a:pt x="0" y="377402"/>
                    <a:pt x="22923" y="322066"/>
                    <a:pt x="63712" y="281277"/>
                  </a:cubicBezTo>
                  <a:cubicBezTo>
                    <a:pt x="104473" y="240516"/>
                    <a:pt x="159728" y="217593"/>
                    <a:pt x="217376" y="217539"/>
                  </a:cubicBezTo>
                  <a:lnTo>
                    <a:pt x="0" y="217539"/>
                  </a:lnTo>
                  <a:cubicBezTo>
                    <a:pt x="0" y="159864"/>
                    <a:pt x="22923" y="104527"/>
                    <a:pt x="63712" y="63739"/>
                  </a:cubicBezTo>
                  <a:cubicBezTo>
                    <a:pt x="104500" y="22923"/>
                    <a:pt x="159837" y="0"/>
                    <a:pt x="217539" y="0"/>
                  </a:cubicBezTo>
                  <a:cubicBezTo>
                    <a:pt x="275241" y="0"/>
                    <a:pt x="330577" y="22923"/>
                    <a:pt x="371366" y="63739"/>
                  </a:cubicBezTo>
                  <a:close/>
                </a:path>
              </a:pathLst>
            </a:custGeom>
            <a:grpFill/>
            <a:ln w="27192" cap="flat">
              <a:noFill/>
              <a:prstDash val="solid"/>
              <a:miter/>
            </a:ln>
          </p:spPr>
          <p:txBody>
            <a:bodyPr rtlCol="0" anchor="ctr"/>
            <a:lstStyle/>
            <a:p>
              <a:endParaRPr lang="uk-UA" sz="900">
                <a:solidFill>
                  <a:schemeClr val="bg1"/>
                </a:solidFill>
              </a:endParaRPr>
            </a:p>
          </p:txBody>
        </p:sp>
        <p:sp>
          <p:nvSpPr>
            <p:cNvPr id="360" name="Freeform: Shape 359">
              <a:extLst>
                <a:ext uri="{FF2B5EF4-FFF2-40B4-BE49-F238E27FC236}">
                  <a16:creationId xmlns:a16="http://schemas.microsoft.com/office/drawing/2014/main" id="{0A19EC82-7F1D-1707-60BA-E7145185319B}"/>
                </a:ext>
              </a:extLst>
            </p:cNvPr>
            <p:cNvSpPr/>
            <p:nvPr/>
          </p:nvSpPr>
          <p:spPr>
            <a:xfrm>
              <a:off x="5186597" y="10670458"/>
              <a:ext cx="435077" cy="435104"/>
            </a:xfrm>
            <a:custGeom>
              <a:avLst/>
              <a:gdLst>
                <a:gd name="connsiteX0" fmla="*/ 0 w 435077"/>
                <a:gd name="connsiteY0" fmla="*/ 435077 h 435104"/>
                <a:gd name="connsiteX1" fmla="*/ 217512 w 435077"/>
                <a:gd name="connsiteY1" fmla="*/ 435077 h 435104"/>
                <a:gd name="connsiteX2" fmla="*/ 217512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12" y="435077"/>
                  </a:lnTo>
                  <a:lnTo>
                    <a:pt x="217512"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solidFill>
                  <a:schemeClr val="bg1"/>
                </a:solidFill>
              </a:endParaRPr>
            </a:p>
          </p:txBody>
        </p:sp>
        <p:sp>
          <p:nvSpPr>
            <p:cNvPr id="361" name="Freeform: Shape 360">
              <a:extLst>
                <a:ext uri="{FF2B5EF4-FFF2-40B4-BE49-F238E27FC236}">
                  <a16:creationId xmlns:a16="http://schemas.microsoft.com/office/drawing/2014/main" id="{CAA49BD4-0FCB-5FC9-DE74-64335CA8222C}"/>
                </a:ext>
              </a:extLst>
            </p:cNvPr>
            <p:cNvSpPr/>
            <p:nvPr/>
          </p:nvSpPr>
          <p:spPr>
            <a:xfrm>
              <a:off x="6056752" y="10670458"/>
              <a:ext cx="435077" cy="435077"/>
            </a:xfrm>
            <a:custGeom>
              <a:avLst/>
              <a:gdLst>
                <a:gd name="connsiteX0" fmla="*/ 217539 w 435077"/>
                <a:gd name="connsiteY0" fmla="*/ 0 h 435077"/>
                <a:gd name="connsiteX1" fmla="*/ 217539 w 435077"/>
                <a:gd name="connsiteY1" fmla="*/ 0 h 435077"/>
                <a:gd name="connsiteX2" fmla="*/ 0 w 435077"/>
                <a:gd name="connsiteY2" fmla="*/ 0 h 435077"/>
                <a:gd name="connsiteX3" fmla="*/ 0 w 435077"/>
                <a:gd name="connsiteY3" fmla="*/ 217539 h 435077"/>
                <a:gd name="connsiteX4" fmla="*/ 217539 w 435077"/>
                <a:gd name="connsiteY4" fmla="*/ 27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217539" y="0"/>
                  </a:lnTo>
                  <a:lnTo>
                    <a:pt x="0" y="0"/>
                  </a:lnTo>
                  <a:lnTo>
                    <a:pt x="0" y="217539"/>
                  </a:lnTo>
                  <a:lnTo>
                    <a:pt x="217539" y="27"/>
                  </a:lnTo>
                  <a:lnTo>
                    <a:pt x="435077" y="217539"/>
                  </a:lnTo>
                  <a:lnTo>
                    <a:pt x="217539" y="435077"/>
                  </a:lnTo>
                  <a:lnTo>
                    <a:pt x="0" y="217539"/>
                  </a:lnTo>
                  <a:lnTo>
                    <a:pt x="0" y="435077"/>
                  </a:lnTo>
                  <a:lnTo>
                    <a:pt x="217539" y="435077"/>
                  </a:lnTo>
                  <a:lnTo>
                    <a:pt x="435077" y="435077"/>
                  </a:lnTo>
                  <a:lnTo>
                    <a:pt x="435077" y="217539"/>
                  </a:lnTo>
                  <a:lnTo>
                    <a:pt x="435077" y="0"/>
                  </a:lnTo>
                  <a:lnTo>
                    <a:pt x="217539" y="0"/>
                  </a:lnTo>
                  <a:close/>
                </a:path>
              </a:pathLst>
            </a:custGeom>
            <a:grpFill/>
            <a:ln w="27192" cap="flat">
              <a:noFill/>
              <a:prstDash val="solid"/>
              <a:miter/>
            </a:ln>
          </p:spPr>
          <p:txBody>
            <a:bodyPr rtlCol="0" anchor="ctr"/>
            <a:lstStyle/>
            <a:p>
              <a:endParaRPr lang="uk-UA" sz="900">
                <a:solidFill>
                  <a:schemeClr val="bg1"/>
                </a:solidFill>
              </a:endParaRPr>
            </a:p>
          </p:txBody>
        </p:sp>
        <p:sp>
          <p:nvSpPr>
            <p:cNvPr id="362" name="Freeform: Shape 361">
              <a:extLst>
                <a:ext uri="{FF2B5EF4-FFF2-40B4-BE49-F238E27FC236}">
                  <a16:creationId xmlns:a16="http://schemas.microsoft.com/office/drawing/2014/main" id="{D2A851E8-28C3-0136-F57B-51CE0CEC9D5E}"/>
                </a:ext>
              </a:extLst>
            </p:cNvPr>
            <p:cNvSpPr/>
            <p:nvPr/>
          </p:nvSpPr>
          <p:spPr>
            <a:xfrm>
              <a:off x="7797062" y="10670458"/>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27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66 h 435077"/>
                <a:gd name="connsiteX9" fmla="*/ 435077 w 435077"/>
                <a:gd name="connsiteY9" fmla="*/ 217566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27"/>
                  </a:lnTo>
                  <a:lnTo>
                    <a:pt x="435077" y="217539"/>
                  </a:lnTo>
                  <a:lnTo>
                    <a:pt x="435077" y="217539"/>
                  </a:lnTo>
                  <a:lnTo>
                    <a:pt x="435077" y="217539"/>
                  </a:lnTo>
                  <a:lnTo>
                    <a:pt x="435077" y="217566"/>
                  </a:lnTo>
                  <a:lnTo>
                    <a:pt x="435077" y="217566"/>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363" name="Freeform: Shape 362">
              <a:extLst>
                <a:ext uri="{FF2B5EF4-FFF2-40B4-BE49-F238E27FC236}">
                  <a16:creationId xmlns:a16="http://schemas.microsoft.com/office/drawing/2014/main" id="{512C2AFB-B161-4C89-1C51-D2F321015561}"/>
                </a:ext>
              </a:extLst>
            </p:cNvPr>
            <p:cNvSpPr/>
            <p:nvPr/>
          </p:nvSpPr>
          <p:spPr>
            <a:xfrm>
              <a:off x="6926907" y="10670458"/>
              <a:ext cx="435077" cy="435077"/>
            </a:xfrm>
            <a:custGeom>
              <a:avLst/>
              <a:gdLst>
                <a:gd name="connsiteX0" fmla="*/ 371366 w 435077"/>
                <a:gd name="connsiteY0" fmla="*/ 63739 h 435077"/>
                <a:gd name="connsiteX1" fmla="*/ 435077 w 435077"/>
                <a:gd name="connsiteY1" fmla="*/ 217539 h 435077"/>
                <a:gd name="connsiteX2" fmla="*/ 217702 w 435077"/>
                <a:gd name="connsiteY2" fmla="*/ 217539 h 435077"/>
                <a:gd name="connsiteX3" fmla="*/ 371366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6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39"/>
                  </a:moveTo>
                  <a:cubicBezTo>
                    <a:pt x="412155" y="104527"/>
                    <a:pt x="435077" y="159864"/>
                    <a:pt x="435077" y="217539"/>
                  </a:cubicBezTo>
                  <a:lnTo>
                    <a:pt x="217702" y="217539"/>
                  </a:lnTo>
                  <a:cubicBezTo>
                    <a:pt x="275350" y="217593"/>
                    <a:pt x="330605" y="240516"/>
                    <a:pt x="371366" y="281277"/>
                  </a:cubicBezTo>
                  <a:cubicBezTo>
                    <a:pt x="412155" y="322066"/>
                    <a:pt x="435077" y="377402"/>
                    <a:pt x="435077" y="435077"/>
                  </a:cubicBezTo>
                  <a:lnTo>
                    <a:pt x="217539" y="435077"/>
                  </a:lnTo>
                  <a:lnTo>
                    <a:pt x="0" y="435077"/>
                  </a:lnTo>
                  <a:cubicBezTo>
                    <a:pt x="0" y="377402"/>
                    <a:pt x="22924" y="322066"/>
                    <a:pt x="63712" y="281277"/>
                  </a:cubicBezTo>
                  <a:cubicBezTo>
                    <a:pt x="104473" y="240516"/>
                    <a:pt x="159728" y="217593"/>
                    <a:pt x="217376" y="217539"/>
                  </a:cubicBezTo>
                  <a:lnTo>
                    <a:pt x="0" y="217539"/>
                  </a:lnTo>
                  <a:cubicBezTo>
                    <a:pt x="0" y="159864"/>
                    <a:pt x="22924" y="104527"/>
                    <a:pt x="63712" y="63739"/>
                  </a:cubicBezTo>
                  <a:cubicBezTo>
                    <a:pt x="104501" y="22923"/>
                    <a:pt x="159837" y="0"/>
                    <a:pt x="217539" y="0"/>
                  </a:cubicBezTo>
                  <a:cubicBezTo>
                    <a:pt x="275241" y="0"/>
                    <a:pt x="330550" y="22923"/>
                    <a:pt x="371366" y="63739"/>
                  </a:cubicBezTo>
                  <a:close/>
                </a:path>
              </a:pathLst>
            </a:custGeom>
            <a:grpFill/>
            <a:ln w="27192" cap="flat">
              <a:noFill/>
              <a:prstDash val="solid"/>
              <a:miter/>
            </a:ln>
          </p:spPr>
          <p:txBody>
            <a:bodyPr rtlCol="0" anchor="ctr"/>
            <a:lstStyle/>
            <a:p>
              <a:endParaRPr lang="uk-UA" sz="900">
                <a:solidFill>
                  <a:schemeClr val="bg1"/>
                </a:solidFill>
              </a:endParaRPr>
            </a:p>
          </p:txBody>
        </p:sp>
        <p:sp>
          <p:nvSpPr>
            <p:cNvPr id="364" name="Freeform: Shape 363">
              <a:extLst>
                <a:ext uri="{FF2B5EF4-FFF2-40B4-BE49-F238E27FC236}">
                  <a16:creationId xmlns:a16="http://schemas.microsoft.com/office/drawing/2014/main" id="{F2A76674-C937-BF5A-7CC2-1E415A82834C}"/>
                </a:ext>
              </a:extLst>
            </p:cNvPr>
            <p:cNvSpPr/>
            <p:nvPr/>
          </p:nvSpPr>
          <p:spPr>
            <a:xfrm>
              <a:off x="8667217" y="1067045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solidFill>
                  <a:schemeClr val="bg1"/>
                </a:solidFill>
              </a:endParaRPr>
            </a:p>
          </p:txBody>
        </p:sp>
        <p:sp>
          <p:nvSpPr>
            <p:cNvPr id="365" name="Freeform: Shape 364">
              <a:extLst>
                <a:ext uri="{FF2B5EF4-FFF2-40B4-BE49-F238E27FC236}">
                  <a16:creationId xmlns:a16="http://schemas.microsoft.com/office/drawing/2014/main" id="{7058116F-9085-84FD-3A9F-EC9365D86212}"/>
                </a:ext>
              </a:extLst>
            </p:cNvPr>
            <p:cNvSpPr/>
            <p:nvPr/>
          </p:nvSpPr>
          <p:spPr>
            <a:xfrm>
              <a:off x="9537371" y="1067045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solidFill>
                  <a:schemeClr val="bg1"/>
                </a:solidFill>
              </a:endParaRPr>
            </a:p>
          </p:txBody>
        </p:sp>
        <p:sp>
          <p:nvSpPr>
            <p:cNvPr id="366" name="Freeform: Shape 365">
              <a:extLst>
                <a:ext uri="{FF2B5EF4-FFF2-40B4-BE49-F238E27FC236}">
                  <a16:creationId xmlns:a16="http://schemas.microsoft.com/office/drawing/2014/main" id="{C4F8F77C-74DB-5348-917D-9EFCE949D61B}"/>
                </a:ext>
              </a:extLst>
            </p:cNvPr>
            <p:cNvSpPr/>
            <p:nvPr/>
          </p:nvSpPr>
          <p:spPr>
            <a:xfrm>
              <a:off x="11277709" y="10670458"/>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27 h 435077"/>
                <a:gd name="connsiteX5" fmla="*/ 435049 w 435077"/>
                <a:gd name="connsiteY5" fmla="*/ 217539 h 435077"/>
                <a:gd name="connsiteX6" fmla="*/ 435077 w 435077"/>
                <a:gd name="connsiteY6" fmla="*/ 217539 h 435077"/>
                <a:gd name="connsiteX7" fmla="*/ 435049 w 435077"/>
                <a:gd name="connsiteY7" fmla="*/ 217539 h 435077"/>
                <a:gd name="connsiteX8" fmla="*/ 435077 w 435077"/>
                <a:gd name="connsiteY8" fmla="*/ 217566 h 435077"/>
                <a:gd name="connsiteX9" fmla="*/ 435049 w 435077"/>
                <a:gd name="connsiteY9" fmla="*/ 217566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27"/>
                  </a:lnTo>
                  <a:lnTo>
                    <a:pt x="435049" y="217539"/>
                  </a:lnTo>
                  <a:lnTo>
                    <a:pt x="435077" y="217539"/>
                  </a:lnTo>
                  <a:lnTo>
                    <a:pt x="435049" y="217539"/>
                  </a:lnTo>
                  <a:lnTo>
                    <a:pt x="435077" y="217566"/>
                  </a:lnTo>
                  <a:lnTo>
                    <a:pt x="435049" y="217566"/>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367" name="Freeform: Shape 366">
              <a:extLst>
                <a:ext uri="{FF2B5EF4-FFF2-40B4-BE49-F238E27FC236}">
                  <a16:creationId xmlns:a16="http://schemas.microsoft.com/office/drawing/2014/main" id="{ADCF52F2-F877-A635-45AE-76322816E2E1}"/>
                </a:ext>
              </a:extLst>
            </p:cNvPr>
            <p:cNvSpPr/>
            <p:nvPr/>
          </p:nvSpPr>
          <p:spPr>
            <a:xfrm>
              <a:off x="10407526" y="10670458"/>
              <a:ext cx="435104" cy="435077"/>
            </a:xfrm>
            <a:custGeom>
              <a:avLst/>
              <a:gdLst>
                <a:gd name="connsiteX0" fmla="*/ 371366 w 435104"/>
                <a:gd name="connsiteY0" fmla="*/ 63739 h 435077"/>
                <a:gd name="connsiteX1" fmla="*/ 435077 w 435104"/>
                <a:gd name="connsiteY1" fmla="*/ 217539 h 435077"/>
                <a:gd name="connsiteX2" fmla="*/ 217730 w 435104"/>
                <a:gd name="connsiteY2" fmla="*/ 217539 h 435077"/>
                <a:gd name="connsiteX3" fmla="*/ 371366 w 435104"/>
                <a:gd name="connsiteY3" fmla="*/ 281277 h 435077"/>
                <a:gd name="connsiteX4" fmla="*/ 435105 w 435104"/>
                <a:gd name="connsiteY4" fmla="*/ 435077 h 435077"/>
                <a:gd name="connsiteX5" fmla="*/ 217566 w 435104"/>
                <a:gd name="connsiteY5" fmla="*/ 435077 h 435077"/>
                <a:gd name="connsiteX6" fmla="*/ 27 w 435104"/>
                <a:gd name="connsiteY6" fmla="*/ 435077 h 435077"/>
                <a:gd name="connsiteX7" fmla="*/ 63739 w 435104"/>
                <a:gd name="connsiteY7" fmla="*/ 281277 h 435077"/>
                <a:gd name="connsiteX8" fmla="*/ 217376 w 435104"/>
                <a:gd name="connsiteY8" fmla="*/ 217539 h 435077"/>
                <a:gd name="connsiteX9" fmla="*/ 0 w 435104"/>
                <a:gd name="connsiteY9" fmla="*/ 217539 h 435077"/>
                <a:gd name="connsiteX10" fmla="*/ 63739 w 435104"/>
                <a:gd name="connsiteY10" fmla="*/ 63739 h 435077"/>
                <a:gd name="connsiteX11" fmla="*/ 217539 w 435104"/>
                <a:gd name="connsiteY11" fmla="*/ 0 h 435077"/>
                <a:gd name="connsiteX12" fmla="*/ 371366 w 435104"/>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4" h="435077">
                  <a:moveTo>
                    <a:pt x="371366" y="63739"/>
                  </a:moveTo>
                  <a:cubicBezTo>
                    <a:pt x="412182" y="104527"/>
                    <a:pt x="435077" y="159864"/>
                    <a:pt x="435077" y="217539"/>
                  </a:cubicBezTo>
                  <a:lnTo>
                    <a:pt x="217730" y="217539"/>
                  </a:lnTo>
                  <a:cubicBezTo>
                    <a:pt x="275350" y="217593"/>
                    <a:pt x="330632" y="240516"/>
                    <a:pt x="371366" y="281277"/>
                  </a:cubicBezTo>
                  <a:cubicBezTo>
                    <a:pt x="412182" y="322066"/>
                    <a:pt x="435105" y="377402"/>
                    <a:pt x="435105" y="435077"/>
                  </a:cubicBezTo>
                  <a:lnTo>
                    <a:pt x="217566" y="435077"/>
                  </a:lnTo>
                  <a:lnTo>
                    <a:pt x="27" y="435077"/>
                  </a:lnTo>
                  <a:cubicBezTo>
                    <a:pt x="27" y="377402"/>
                    <a:pt x="22924" y="322066"/>
                    <a:pt x="63739" y="281277"/>
                  </a:cubicBezTo>
                  <a:cubicBezTo>
                    <a:pt x="104501" y="240516"/>
                    <a:pt x="159755" y="217593"/>
                    <a:pt x="217376" y="217539"/>
                  </a:cubicBezTo>
                  <a:lnTo>
                    <a:pt x="0" y="217539"/>
                  </a:lnTo>
                  <a:cubicBezTo>
                    <a:pt x="0" y="159864"/>
                    <a:pt x="22924" y="104527"/>
                    <a:pt x="63739" y="63739"/>
                  </a:cubicBezTo>
                  <a:cubicBezTo>
                    <a:pt x="104527" y="22923"/>
                    <a:pt x="159864" y="0"/>
                    <a:pt x="217539" y="0"/>
                  </a:cubicBezTo>
                  <a:cubicBezTo>
                    <a:pt x="275241" y="0"/>
                    <a:pt x="330578" y="22923"/>
                    <a:pt x="371366" y="63739"/>
                  </a:cubicBezTo>
                  <a:close/>
                </a:path>
              </a:pathLst>
            </a:custGeom>
            <a:grpFill/>
            <a:ln w="27192" cap="flat">
              <a:noFill/>
              <a:prstDash val="solid"/>
              <a:miter/>
            </a:ln>
          </p:spPr>
          <p:txBody>
            <a:bodyPr rtlCol="0" anchor="ctr"/>
            <a:lstStyle/>
            <a:p>
              <a:endParaRPr lang="uk-UA" sz="900">
                <a:solidFill>
                  <a:schemeClr val="bg1"/>
                </a:solidFill>
              </a:endParaRPr>
            </a:p>
          </p:txBody>
        </p:sp>
        <p:sp>
          <p:nvSpPr>
            <p:cNvPr id="368" name="Freeform: Shape 367">
              <a:extLst>
                <a:ext uri="{FF2B5EF4-FFF2-40B4-BE49-F238E27FC236}">
                  <a16:creationId xmlns:a16="http://schemas.microsoft.com/office/drawing/2014/main" id="{35503C9C-7BB7-FB69-C754-15CCF9CCF28D}"/>
                </a:ext>
              </a:extLst>
            </p:cNvPr>
            <p:cNvSpPr/>
            <p:nvPr/>
          </p:nvSpPr>
          <p:spPr>
            <a:xfrm>
              <a:off x="12147864" y="1067045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solidFill>
                  <a:schemeClr val="bg1"/>
                </a:solidFill>
              </a:endParaRPr>
            </a:p>
          </p:txBody>
        </p:sp>
        <p:sp>
          <p:nvSpPr>
            <p:cNvPr id="369" name="Freeform: Shape 368">
              <a:extLst>
                <a:ext uri="{FF2B5EF4-FFF2-40B4-BE49-F238E27FC236}">
                  <a16:creationId xmlns:a16="http://schemas.microsoft.com/office/drawing/2014/main" id="{DCDAC3A2-FF5B-E9CB-731D-82469264B4C9}"/>
                </a:ext>
              </a:extLst>
            </p:cNvPr>
            <p:cNvSpPr/>
            <p:nvPr/>
          </p:nvSpPr>
          <p:spPr>
            <a:xfrm>
              <a:off x="13018045" y="1067045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70" name="Freeform: Shape 369">
              <a:extLst>
                <a:ext uri="{FF2B5EF4-FFF2-40B4-BE49-F238E27FC236}">
                  <a16:creationId xmlns:a16="http://schemas.microsoft.com/office/drawing/2014/main" id="{7DE9480B-DA54-C4D5-1963-9426B3D65FB6}"/>
                </a:ext>
              </a:extLst>
            </p:cNvPr>
            <p:cNvSpPr/>
            <p:nvPr/>
          </p:nvSpPr>
          <p:spPr>
            <a:xfrm>
              <a:off x="14758328" y="1067045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371" name="Freeform: Shape 370">
              <a:extLst>
                <a:ext uri="{FF2B5EF4-FFF2-40B4-BE49-F238E27FC236}">
                  <a16:creationId xmlns:a16="http://schemas.microsoft.com/office/drawing/2014/main" id="{5009285F-F612-BE83-5197-489FB20457CF}"/>
                </a:ext>
              </a:extLst>
            </p:cNvPr>
            <p:cNvSpPr/>
            <p:nvPr/>
          </p:nvSpPr>
          <p:spPr>
            <a:xfrm>
              <a:off x="13888200" y="10670458"/>
              <a:ext cx="435077" cy="435077"/>
            </a:xfrm>
            <a:custGeom>
              <a:avLst/>
              <a:gdLst>
                <a:gd name="connsiteX0" fmla="*/ 371365 w 435077"/>
                <a:gd name="connsiteY0" fmla="*/ 63739 h 435077"/>
                <a:gd name="connsiteX1" fmla="*/ 435077 w 435077"/>
                <a:gd name="connsiteY1" fmla="*/ 217539 h 435077"/>
                <a:gd name="connsiteX2" fmla="*/ 217730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39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5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39"/>
                  </a:moveTo>
                  <a:cubicBezTo>
                    <a:pt x="412154" y="104527"/>
                    <a:pt x="435077" y="159864"/>
                    <a:pt x="435077" y="217539"/>
                  </a:cubicBezTo>
                  <a:lnTo>
                    <a:pt x="217730" y="217539"/>
                  </a:lnTo>
                  <a:cubicBezTo>
                    <a:pt x="275349" y="217593"/>
                    <a:pt x="330605" y="240516"/>
                    <a:pt x="371365" y="281277"/>
                  </a:cubicBezTo>
                  <a:cubicBezTo>
                    <a:pt x="412182" y="322066"/>
                    <a:pt x="435077" y="377402"/>
                    <a:pt x="435077" y="435077"/>
                  </a:cubicBezTo>
                  <a:lnTo>
                    <a:pt x="217539" y="435077"/>
                  </a:lnTo>
                  <a:lnTo>
                    <a:pt x="0" y="435077"/>
                  </a:lnTo>
                  <a:cubicBezTo>
                    <a:pt x="0" y="377402"/>
                    <a:pt x="22924" y="322066"/>
                    <a:pt x="63739" y="281277"/>
                  </a:cubicBezTo>
                  <a:cubicBezTo>
                    <a:pt x="104472" y="240516"/>
                    <a:pt x="159755" y="217593"/>
                    <a:pt x="217376" y="217539"/>
                  </a:cubicBezTo>
                  <a:lnTo>
                    <a:pt x="0" y="217539"/>
                  </a:lnTo>
                  <a:cubicBezTo>
                    <a:pt x="0" y="159864"/>
                    <a:pt x="22924" y="104527"/>
                    <a:pt x="63712" y="63739"/>
                  </a:cubicBezTo>
                  <a:cubicBezTo>
                    <a:pt x="104527" y="22923"/>
                    <a:pt x="159836" y="0"/>
                    <a:pt x="217539" y="0"/>
                  </a:cubicBezTo>
                  <a:cubicBezTo>
                    <a:pt x="275241" y="0"/>
                    <a:pt x="330577" y="22923"/>
                    <a:pt x="371365" y="63739"/>
                  </a:cubicBezTo>
                  <a:close/>
                </a:path>
              </a:pathLst>
            </a:custGeom>
            <a:grpFill/>
            <a:ln w="27192" cap="flat">
              <a:noFill/>
              <a:prstDash val="solid"/>
              <a:miter/>
            </a:ln>
          </p:spPr>
          <p:txBody>
            <a:bodyPr rtlCol="0" anchor="ctr"/>
            <a:lstStyle/>
            <a:p>
              <a:endParaRPr lang="uk-UA" sz="900">
                <a:solidFill>
                  <a:schemeClr val="bg1"/>
                </a:solidFill>
              </a:endParaRPr>
            </a:p>
          </p:txBody>
        </p:sp>
        <p:sp>
          <p:nvSpPr>
            <p:cNvPr id="372" name="Freeform: Shape 371">
              <a:extLst>
                <a:ext uri="{FF2B5EF4-FFF2-40B4-BE49-F238E27FC236}">
                  <a16:creationId xmlns:a16="http://schemas.microsoft.com/office/drawing/2014/main" id="{0F857BDA-AD66-9D72-D2C4-A074ED68105D}"/>
                </a:ext>
              </a:extLst>
            </p:cNvPr>
            <p:cNvSpPr/>
            <p:nvPr/>
          </p:nvSpPr>
          <p:spPr>
            <a:xfrm>
              <a:off x="15628536" y="1067045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solidFill>
                  <a:schemeClr val="bg1"/>
                </a:solidFill>
              </a:endParaRPr>
            </a:p>
          </p:txBody>
        </p:sp>
        <p:sp>
          <p:nvSpPr>
            <p:cNvPr id="373" name="Freeform: Shape 372">
              <a:extLst>
                <a:ext uri="{FF2B5EF4-FFF2-40B4-BE49-F238E27FC236}">
                  <a16:creationId xmlns:a16="http://schemas.microsoft.com/office/drawing/2014/main" id="{52110BEE-00FA-A6B6-E2E5-8323B2F1F35C}"/>
                </a:ext>
              </a:extLst>
            </p:cNvPr>
            <p:cNvSpPr/>
            <p:nvPr/>
          </p:nvSpPr>
          <p:spPr>
            <a:xfrm>
              <a:off x="16498691" y="10670458"/>
              <a:ext cx="435077" cy="435077"/>
            </a:xfrm>
            <a:custGeom>
              <a:avLst/>
              <a:gdLst>
                <a:gd name="connsiteX0" fmla="*/ 217567 w 435077"/>
                <a:gd name="connsiteY0" fmla="*/ 0 h 435077"/>
                <a:gd name="connsiteX1" fmla="*/ 217539 w 435077"/>
                <a:gd name="connsiteY1" fmla="*/ 0 h 435077"/>
                <a:gd name="connsiteX2" fmla="*/ 28 w 435077"/>
                <a:gd name="connsiteY2" fmla="*/ 0 h 435077"/>
                <a:gd name="connsiteX3" fmla="*/ 28 w 435077"/>
                <a:gd name="connsiteY3" fmla="*/ 217539 h 435077"/>
                <a:gd name="connsiteX4" fmla="*/ 217567 w 435077"/>
                <a:gd name="connsiteY4" fmla="*/ 27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67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67" y="0"/>
                  </a:moveTo>
                  <a:lnTo>
                    <a:pt x="217539" y="0"/>
                  </a:lnTo>
                  <a:lnTo>
                    <a:pt x="28" y="0"/>
                  </a:lnTo>
                  <a:lnTo>
                    <a:pt x="28" y="217539"/>
                  </a:lnTo>
                  <a:lnTo>
                    <a:pt x="217567" y="27"/>
                  </a:lnTo>
                  <a:lnTo>
                    <a:pt x="435077" y="217539"/>
                  </a:lnTo>
                  <a:lnTo>
                    <a:pt x="217539" y="435077"/>
                  </a:lnTo>
                  <a:lnTo>
                    <a:pt x="0" y="217539"/>
                  </a:lnTo>
                  <a:lnTo>
                    <a:pt x="0" y="435077"/>
                  </a:lnTo>
                  <a:lnTo>
                    <a:pt x="217539" y="435077"/>
                  </a:lnTo>
                  <a:lnTo>
                    <a:pt x="435077" y="435077"/>
                  </a:lnTo>
                  <a:lnTo>
                    <a:pt x="435077" y="217539"/>
                  </a:lnTo>
                  <a:lnTo>
                    <a:pt x="435077" y="0"/>
                  </a:lnTo>
                  <a:lnTo>
                    <a:pt x="217567" y="0"/>
                  </a:lnTo>
                  <a:close/>
                </a:path>
              </a:pathLst>
            </a:custGeom>
            <a:grpFill/>
            <a:ln w="27192" cap="flat">
              <a:noFill/>
              <a:prstDash val="solid"/>
              <a:miter/>
            </a:ln>
          </p:spPr>
          <p:txBody>
            <a:bodyPr rtlCol="0" anchor="ctr"/>
            <a:lstStyle/>
            <a:p>
              <a:endParaRPr lang="uk-UA" sz="900">
                <a:solidFill>
                  <a:schemeClr val="bg1"/>
                </a:solidFill>
              </a:endParaRPr>
            </a:p>
          </p:txBody>
        </p:sp>
        <p:sp>
          <p:nvSpPr>
            <p:cNvPr id="374" name="Freeform: Shape 373">
              <a:extLst>
                <a:ext uri="{FF2B5EF4-FFF2-40B4-BE49-F238E27FC236}">
                  <a16:creationId xmlns:a16="http://schemas.microsoft.com/office/drawing/2014/main" id="{24575F50-AEA6-629A-1677-821837E91929}"/>
                </a:ext>
              </a:extLst>
            </p:cNvPr>
            <p:cNvSpPr/>
            <p:nvPr/>
          </p:nvSpPr>
          <p:spPr>
            <a:xfrm>
              <a:off x="18239029" y="1067045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375" name="Freeform: Shape 374">
              <a:extLst>
                <a:ext uri="{FF2B5EF4-FFF2-40B4-BE49-F238E27FC236}">
                  <a16:creationId xmlns:a16="http://schemas.microsoft.com/office/drawing/2014/main" id="{C4A57B27-7D05-AE3D-4B6A-AB2CBA97B255}"/>
                </a:ext>
              </a:extLst>
            </p:cNvPr>
            <p:cNvSpPr/>
            <p:nvPr/>
          </p:nvSpPr>
          <p:spPr>
            <a:xfrm>
              <a:off x="17368874" y="10670458"/>
              <a:ext cx="435077" cy="435077"/>
            </a:xfrm>
            <a:custGeom>
              <a:avLst/>
              <a:gdLst>
                <a:gd name="connsiteX0" fmla="*/ 371339 w 435077"/>
                <a:gd name="connsiteY0" fmla="*/ 63739 h 435077"/>
                <a:gd name="connsiteX1" fmla="*/ 435077 w 435077"/>
                <a:gd name="connsiteY1" fmla="*/ 217539 h 435077"/>
                <a:gd name="connsiteX2" fmla="*/ 217701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0 w 435077"/>
                <a:gd name="connsiteY7" fmla="*/ 281277 h 435077"/>
                <a:gd name="connsiteX8" fmla="*/ 217374 w 435077"/>
                <a:gd name="connsiteY8" fmla="*/ 217539 h 435077"/>
                <a:gd name="connsiteX9" fmla="*/ 0 w 435077"/>
                <a:gd name="connsiteY9" fmla="*/ 217539 h 435077"/>
                <a:gd name="connsiteX10" fmla="*/ 63710 w 435077"/>
                <a:gd name="connsiteY10" fmla="*/ 63739 h 435077"/>
                <a:gd name="connsiteX11" fmla="*/ 217539 w 435077"/>
                <a:gd name="connsiteY11" fmla="*/ 0 h 435077"/>
                <a:gd name="connsiteX12" fmla="*/ 371339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39"/>
                  </a:moveTo>
                  <a:cubicBezTo>
                    <a:pt x="412154" y="104527"/>
                    <a:pt x="435077" y="159864"/>
                    <a:pt x="435077" y="217539"/>
                  </a:cubicBezTo>
                  <a:lnTo>
                    <a:pt x="217701" y="217539"/>
                  </a:lnTo>
                  <a:cubicBezTo>
                    <a:pt x="275322" y="217593"/>
                    <a:pt x="330603" y="240516"/>
                    <a:pt x="371365" y="281277"/>
                  </a:cubicBezTo>
                  <a:cubicBezTo>
                    <a:pt x="412154" y="322066"/>
                    <a:pt x="435077" y="377402"/>
                    <a:pt x="435077" y="435077"/>
                  </a:cubicBezTo>
                  <a:lnTo>
                    <a:pt x="217539" y="435077"/>
                  </a:lnTo>
                  <a:lnTo>
                    <a:pt x="0" y="435077"/>
                  </a:lnTo>
                  <a:cubicBezTo>
                    <a:pt x="0" y="377402"/>
                    <a:pt x="22922" y="322066"/>
                    <a:pt x="63710" y="281277"/>
                  </a:cubicBezTo>
                  <a:cubicBezTo>
                    <a:pt x="104472" y="240516"/>
                    <a:pt x="159727" y="217593"/>
                    <a:pt x="217374" y="217539"/>
                  </a:cubicBezTo>
                  <a:lnTo>
                    <a:pt x="0" y="217539"/>
                  </a:lnTo>
                  <a:cubicBezTo>
                    <a:pt x="0" y="159864"/>
                    <a:pt x="22895" y="104527"/>
                    <a:pt x="63710" y="63739"/>
                  </a:cubicBezTo>
                  <a:cubicBezTo>
                    <a:pt x="104499" y="22923"/>
                    <a:pt x="159836" y="0"/>
                    <a:pt x="217539" y="0"/>
                  </a:cubicBezTo>
                  <a:cubicBezTo>
                    <a:pt x="275213" y="0"/>
                    <a:pt x="330550" y="22923"/>
                    <a:pt x="371339" y="63739"/>
                  </a:cubicBezTo>
                  <a:close/>
                </a:path>
              </a:pathLst>
            </a:custGeom>
            <a:grpFill/>
            <a:ln w="27192" cap="flat">
              <a:noFill/>
              <a:prstDash val="solid"/>
              <a:miter/>
            </a:ln>
          </p:spPr>
          <p:txBody>
            <a:bodyPr rtlCol="0" anchor="ctr"/>
            <a:lstStyle/>
            <a:p>
              <a:endParaRPr lang="uk-UA" sz="900">
                <a:solidFill>
                  <a:schemeClr val="bg1"/>
                </a:solidFill>
              </a:endParaRPr>
            </a:p>
          </p:txBody>
        </p:sp>
        <p:sp>
          <p:nvSpPr>
            <p:cNvPr id="376" name="Freeform: Shape 375">
              <a:extLst>
                <a:ext uri="{FF2B5EF4-FFF2-40B4-BE49-F238E27FC236}">
                  <a16:creationId xmlns:a16="http://schemas.microsoft.com/office/drawing/2014/main" id="{29972F46-DB60-F6A8-9D21-890E62E355F3}"/>
                </a:ext>
              </a:extLst>
            </p:cNvPr>
            <p:cNvSpPr/>
            <p:nvPr/>
          </p:nvSpPr>
          <p:spPr>
            <a:xfrm>
              <a:off x="19109184" y="1067045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65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65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65" y="435105"/>
                  </a:lnTo>
                  <a:lnTo>
                    <a:pt x="435077" y="217566"/>
                  </a:lnTo>
                  <a:lnTo>
                    <a:pt x="435077" y="435105"/>
                  </a:lnTo>
                  <a:close/>
                  <a:moveTo>
                    <a:pt x="435077" y="27"/>
                  </a:moveTo>
                  <a:lnTo>
                    <a:pt x="217565" y="27"/>
                  </a:lnTo>
                  <a:lnTo>
                    <a:pt x="435077" y="217539"/>
                  </a:lnTo>
                  <a:lnTo>
                    <a:pt x="435077" y="27"/>
                  </a:lnTo>
                  <a:close/>
                </a:path>
              </a:pathLst>
            </a:custGeom>
            <a:grpFill/>
            <a:ln w="27192" cap="flat">
              <a:noFill/>
              <a:prstDash val="solid"/>
              <a:miter/>
            </a:ln>
          </p:spPr>
          <p:txBody>
            <a:bodyPr rtlCol="0" anchor="ctr"/>
            <a:lstStyle/>
            <a:p>
              <a:endParaRPr lang="uk-UA" sz="900">
                <a:solidFill>
                  <a:schemeClr val="bg1"/>
                </a:solidFill>
              </a:endParaRPr>
            </a:p>
          </p:txBody>
        </p:sp>
        <p:sp>
          <p:nvSpPr>
            <p:cNvPr id="377" name="Freeform: Shape 376">
              <a:extLst>
                <a:ext uri="{FF2B5EF4-FFF2-40B4-BE49-F238E27FC236}">
                  <a16:creationId xmlns:a16="http://schemas.microsoft.com/office/drawing/2014/main" id="{D89EAA55-50F6-EF7F-E333-D3D2C01E6AA6}"/>
                </a:ext>
              </a:extLst>
            </p:cNvPr>
            <p:cNvSpPr/>
            <p:nvPr/>
          </p:nvSpPr>
          <p:spPr>
            <a:xfrm>
              <a:off x="19979365" y="1067045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78" name="Freeform: Shape 377">
              <a:extLst>
                <a:ext uri="{FF2B5EF4-FFF2-40B4-BE49-F238E27FC236}">
                  <a16:creationId xmlns:a16="http://schemas.microsoft.com/office/drawing/2014/main" id="{388FDFFC-A259-E869-FF5D-C75196E0E3DC}"/>
                </a:ext>
              </a:extLst>
            </p:cNvPr>
            <p:cNvSpPr/>
            <p:nvPr/>
          </p:nvSpPr>
          <p:spPr>
            <a:xfrm>
              <a:off x="21719675" y="1067045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379" name="Freeform: Shape 378">
              <a:extLst>
                <a:ext uri="{FF2B5EF4-FFF2-40B4-BE49-F238E27FC236}">
                  <a16:creationId xmlns:a16="http://schemas.microsoft.com/office/drawing/2014/main" id="{A68B8D4D-205E-099E-B532-97D18AC56645}"/>
                </a:ext>
              </a:extLst>
            </p:cNvPr>
            <p:cNvSpPr/>
            <p:nvPr/>
          </p:nvSpPr>
          <p:spPr>
            <a:xfrm>
              <a:off x="20849520" y="10670458"/>
              <a:ext cx="435077" cy="435077"/>
            </a:xfrm>
            <a:custGeom>
              <a:avLst/>
              <a:gdLst>
                <a:gd name="connsiteX0" fmla="*/ 371365 w 435077"/>
                <a:gd name="connsiteY0" fmla="*/ 63739 h 435077"/>
                <a:gd name="connsiteX1" fmla="*/ 435077 w 435077"/>
                <a:gd name="connsiteY1" fmla="*/ 217539 h 435077"/>
                <a:gd name="connsiteX2" fmla="*/ 217701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5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39"/>
                  </a:moveTo>
                  <a:cubicBezTo>
                    <a:pt x="412154" y="104527"/>
                    <a:pt x="435077" y="159864"/>
                    <a:pt x="435077" y="217539"/>
                  </a:cubicBezTo>
                  <a:lnTo>
                    <a:pt x="217701" y="217539"/>
                  </a:lnTo>
                  <a:cubicBezTo>
                    <a:pt x="275349" y="217593"/>
                    <a:pt x="330605" y="240516"/>
                    <a:pt x="371365" y="281277"/>
                  </a:cubicBezTo>
                  <a:cubicBezTo>
                    <a:pt x="412154" y="322066"/>
                    <a:pt x="435077" y="377402"/>
                    <a:pt x="435077" y="435077"/>
                  </a:cubicBezTo>
                  <a:lnTo>
                    <a:pt x="217539" y="435077"/>
                  </a:lnTo>
                  <a:lnTo>
                    <a:pt x="0" y="435077"/>
                  </a:lnTo>
                  <a:cubicBezTo>
                    <a:pt x="0" y="377402"/>
                    <a:pt x="22924" y="322066"/>
                    <a:pt x="63712" y="281277"/>
                  </a:cubicBezTo>
                  <a:cubicBezTo>
                    <a:pt x="104472" y="240516"/>
                    <a:pt x="159755" y="217593"/>
                    <a:pt x="217376" y="217539"/>
                  </a:cubicBezTo>
                  <a:lnTo>
                    <a:pt x="0" y="217539"/>
                  </a:lnTo>
                  <a:cubicBezTo>
                    <a:pt x="0" y="159864"/>
                    <a:pt x="22924" y="104527"/>
                    <a:pt x="63712" y="63739"/>
                  </a:cubicBezTo>
                  <a:cubicBezTo>
                    <a:pt x="104501" y="22923"/>
                    <a:pt x="159836" y="0"/>
                    <a:pt x="217539" y="0"/>
                  </a:cubicBezTo>
                  <a:cubicBezTo>
                    <a:pt x="275241" y="0"/>
                    <a:pt x="330577" y="22923"/>
                    <a:pt x="371365" y="63739"/>
                  </a:cubicBezTo>
                  <a:close/>
                </a:path>
              </a:pathLst>
            </a:custGeom>
            <a:grpFill/>
            <a:ln w="27192" cap="flat">
              <a:noFill/>
              <a:prstDash val="solid"/>
              <a:miter/>
            </a:ln>
          </p:spPr>
          <p:txBody>
            <a:bodyPr rtlCol="0" anchor="ctr"/>
            <a:lstStyle/>
            <a:p>
              <a:endParaRPr lang="uk-UA" sz="900">
                <a:solidFill>
                  <a:schemeClr val="bg1"/>
                </a:solidFill>
              </a:endParaRPr>
            </a:p>
          </p:txBody>
        </p:sp>
        <p:sp>
          <p:nvSpPr>
            <p:cNvPr id="380" name="Freeform: Shape 379">
              <a:extLst>
                <a:ext uri="{FF2B5EF4-FFF2-40B4-BE49-F238E27FC236}">
                  <a16:creationId xmlns:a16="http://schemas.microsoft.com/office/drawing/2014/main" id="{A7688ED4-6855-C351-15D1-A47B209584B4}"/>
                </a:ext>
              </a:extLst>
            </p:cNvPr>
            <p:cNvSpPr/>
            <p:nvPr/>
          </p:nvSpPr>
          <p:spPr>
            <a:xfrm>
              <a:off x="22589856" y="1067045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solidFill>
                  <a:schemeClr val="bg1"/>
                </a:solidFill>
              </a:endParaRPr>
            </a:p>
          </p:txBody>
        </p:sp>
        <p:sp>
          <p:nvSpPr>
            <p:cNvPr id="381" name="Freeform: Shape 380">
              <a:extLst>
                <a:ext uri="{FF2B5EF4-FFF2-40B4-BE49-F238E27FC236}">
                  <a16:creationId xmlns:a16="http://schemas.microsoft.com/office/drawing/2014/main" id="{3A2FAA1F-5C2E-1E7C-A56E-EDF13D29C57C}"/>
                </a:ext>
              </a:extLst>
            </p:cNvPr>
            <p:cNvSpPr/>
            <p:nvPr/>
          </p:nvSpPr>
          <p:spPr>
            <a:xfrm>
              <a:off x="23460011" y="10670458"/>
              <a:ext cx="435105" cy="435077"/>
            </a:xfrm>
            <a:custGeom>
              <a:avLst/>
              <a:gdLst>
                <a:gd name="connsiteX0" fmla="*/ 217539 w 435105"/>
                <a:gd name="connsiteY0" fmla="*/ 0 h 435077"/>
                <a:gd name="connsiteX1" fmla="*/ 0 w 435105"/>
                <a:gd name="connsiteY1" fmla="*/ 0 h 435077"/>
                <a:gd name="connsiteX2" fmla="*/ 0 w 435105"/>
                <a:gd name="connsiteY2" fmla="*/ 217539 h 435077"/>
                <a:gd name="connsiteX3" fmla="*/ 217539 w 435105"/>
                <a:gd name="connsiteY3" fmla="*/ 0 h 435077"/>
                <a:gd name="connsiteX4" fmla="*/ 435106 w 435105"/>
                <a:gd name="connsiteY4" fmla="*/ 27 h 435077"/>
                <a:gd name="connsiteX5" fmla="*/ 435106 w 435105"/>
                <a:gd name="connsiteY5" fmla="*/ 217566 h 435077"/>
                <a:gd name="connsiteX6" fmla="*/ 217567 w 435105"/>
                <a:gd name="connsiteY6" fmla="*/ 27 h 435077"/>
                <a:gd name="connsiteX7" fmla="*/ 435106 w 435105"/>
                <a:gd name="connsiteY7" fmla="*/ 27 h 435077"/>
                <a:gd name="connsiteX8" fmla="*/ 217567 w 435105"/>
                <a:gd name="connsiteY8" fmla="*/ 435077 h 435077"/>
                <a:gd name="connsiteX9" fmla="*/ 435106 w 435105"/>
                <a:gd name="connsiteY9" fmla="*/ 217566 h 435077"/>
                <a:gd name="connsiteX10" fmla="*/ 435106 w 435105"/>
                <a:gd name="connsiteY10" fmla="*/ 435077 h 435077"/>
                <a:gd name="connsiteX11" fmla="*/ 217567 w 435105"/>
                <a:gd name="connsiteY11" fmla="*/ 435077 h 435077"/>
                <a:gd name="connsiteX12" fmla="*/ 217567 w 435105"/>
                <a:gd name="connsiteY12" fmla="*/ 435077 h 435077"/>
                <a:gd name="connsiteX13" fmla="*/ 28 w 435105"/>
                <a:gd name="connsiteY13" fmla="*/ 217566 h 435077"/>
                <a:gd name="connsiteX14" fmla="*/ 28 w 435105"/>
                <a:gd name="connsiteY14" fmla="*/ 435077 h 435077"/>
                <a:gd name="connsiteX15" fmla="*/ 217567 w 435105"/>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5" h="435077">
                  <a:moveTo>
                    <a:pt x="217539" y="0"/>
                  </a:moveTo>
                  <a:lnTo>
                    <a:pt x="0" y="0"/>
                  </a:lnTo>
                  <a:lnTo>
                    <a:pt x="0" y="217539"/>
                  </a:lnTo>
                  <a:lnTo>
                    <a:pt x="217539" y="0"/>
                  </a:lnTo>
                  <a:close/>
                  <a:moveTo>
                    <a:pt x="435106" y="27"/>
                  </a:moveTo>
                  <a:lnTo>
                    <a:pt x="435106" y="217566"/>
                  </a:lnTo>
                  <a:lnTo>
                    <a:pt x="217567" y="27"/>
                  </a:lnTo>
                  <a:lnTo>
                    <a:pt x="435106" y="27"/>
                  </a:lnTo>
                  <a:close/>
                  <a:moveTo>
                    <a:pt x="217567" y="435077"/>
                  </a:moveTo>
                  <a:lnTo>
                    <a:pt x="435106" y="217566"/>
                  </a:lnTo>
                  <a:lnTo>
                    <a:pt x="435106" y="435077"/>
                  </a:lnTo>
                  <a:lnTo>
                    <a:pt x="217567" y="435077"/>
                  </a:lnTo>
                  <a:close/>
                  <a:moveTo>
                    <a:pt x="217567" y="435077"/>
                  </a:moveTo>
                  <a:lnTo>
                    <a:pt x="28" y="217566"/>
                  </a:lnTo>
                  <a:lnTo>
                    <a:pt x="28" y="435077"/>
                  </a:lnTo>
                  <a:lnTo>
                    <a:pt x="217567"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82" name="Freeform: Shape 381">
              <a:extLst>
                <a:ext uri="{FF2B5EF4-FFF2-40B4-BE49-F238E27FC236}">
                  <a16:creationId xmlns:a16="http://schemas.microsoft.com/office/drawing/2014/main" id="{B232E7FC-9996-91F5-F647-020856DEF30A}"/>
                </a:ext>
              </a:extLst>
            </p:cNvPr>
            <p:cNvSpPr/>
            <p:nvPr/>
          </p:nvSpPr>
          <p:spPr>
            <a:xfrm>
              <a:off x="24330194" y="10670458"/>
              <a:ext cx="435077" cy="435077"/>
            </a:xfrm>
            <a:custGeom>
              <a:avLst/>
              <a:gdLst>
                <a:gd name="connsiteX0" fmla="*/ 371447 w 435077"/>
                <a:gd name="connsiteY0" fmla="*/ 63739 h 435077"/>
                <a:gd name="connsiteX1" fmla="*/ 435077 w 435077"/>
                <a:gd name="connsiteY1" fmla="*/ 217539 h 435077"/>
                <a:gd name="connsiteX2" fmla="*/ 217811 w 435077"/>
                <a:gd name="connsiteY2" fmla="*/ 217539 h 435077"/>
                <a:gd name="connsiteX3" fmla="*/ 371447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267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447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447" y="63739"/>
                  </a:moveTo>
                  <a:cubicBezTo>
                    <a:pt x="412235" y="104527"/>
                    <a:pt x="435077" y="159864"/>
                    <a:pt x="435077" y="217539"/>
                  </a:cubicBezTo>
                  <a:lnTo>
                    <a:pt x="217811" y="217539"/>
                  </a:lnTo>
                  <a:cubicBezTo>
                    <a:pt x="275459" y="217593"/>
                    <a:pt x="330658" y="240516"/>
                    <a:pt x="371447" y="281277"/>
                  </a:cubicBezTo>
                  <a:cubicBezTo>
                    <a:pt x="412235" y="322066"/>
                    <a:pt x="435077" y="377402"/>
                    <a:pt x="435077" y="435077"/>
                  </a:cubicBezTo>
                  <a:lnTo>
                    <a:pt x="217539" y="435077"/>
                  </a:lnTo>
                  <a:lnTo>
                    <a:pt x="0" y="435077"/>
                  </a:lnTo>
                  <a:cubicBezTo>
                    <a:pt x="0" y="377402"/>
                    <a:pt x="22924" y="322066"/>
                    <a:pt x="63712" y="281277"/>
                  </a:cubicBezTo>
                  <a:cubicBezTo>
                    <a:pt x="104472" y="240516"/>
                    <a:pt x="159727" y="217593"/>
                    <a:pt x="217267" y="217539"/>
                  </a:cubicBezTo>
                  <a:lnTo>
                    <a:pt x="0" y="217539"/>
                  </a:lnTo>
                  <a:cubicBezTo>
                    <a:pt x="0" y="159864"/>
                    <a:pt x="22924" y="104527"/>
                    <a:pt x="63712" y="63739"/>
                  </a:cubicBezTo>
                  <a:cubicBezTo>
                    <a:pt x="104501" y="22923"/>
                    <a:pt x="159836" y="0"/>
                    <a:pt x="217539" y="0"/>
                  </a:cubicBezTo>
                  <a:cubicBezTo>
                    <a:pt x="275186" y="0"/>
                    <a:pt x="330658" y="22923"/>
                    <a:pt x="371447" y="63739"/>
                  </a:cubicBezTo>
                  <a:close/>
                </a:path>
              </a:pathLst>
            </a:custGeom>
            <a:grpFill/>
            <a:ln w="27192" cap="flat">
              <a:noFill/>
              <a:prstDash val="solid"/>
              <a:miter/>
            </a:ln>
          </p:spPr>
          <p:txBody>
            <a:bodyPr rtlCol="0" anchor="ctr"/>
            <a:lstStyle/>
            <a:p>
              <a:endParaRPr lang="uk-UA" sz="900">
                <a:solidFill>
                  <a:schemeClr val="bg1"/>
                </a:solidFill>
              </a:endParaRPr>
            </a:p>
          </p:txBody>
        </p:sp>
        <p:sp>
          <p:nvSpPr>
            <p:cNvPr id="383" name="Freeform: Shape 382">
              <a:extLst>
                <a:ext uri="{FF2B5EF4-FFF2-40B4-BE49-F238E27FC236}">
                  <a16:creationId xmlns:a16="http://schemas.microsoft.com/office/drawing/2014/main" id="{A09AF5B0-CBA4-007B-0B94-62C3F0DF0F98}"/>
                </a:ext>
              </a:extLst>
            </p:cNvPr>
            <p:cNvSpPr/>
            <p:nvPr/>
          </p:nvSpPr>
          <p:spPr>
            <a:xfrm>
              <a:off x="835742" y="1154061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6 w 435077"/>
                <a:gd name="connsiteY3" fmla="*/ 27 h 435077"/>
                <a:gd name="connsiteX4" fmla="*/ 435077 w 435077"/>
                <a:gd name="connsiteY4" fmla="*/ 217566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6" y="27"/>
                  </a:lnTo>
                  <a:lnTo>
                    <a:pt x="435077" y="217566"/>
                  </a:lnTo>
                  <a:lnTo>
                    <a:pt x="217566"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84" name="Freeform: Shape 383">
              <a:extLst>
                <a:ext uri="{FF2B5EF4-FFF2-40B4-BE49-F238E27FC236}">
                  <a16:creationId xmlns:a16="http://schemas.microsoft.com/office/drawing/2014/main" id="{65A999AD-89C8-9CC8-0E53-B6698A61C67D}"/>
                </a:ext>
              </a:extLst>
            </p:cNvPr>
            <p:cNvSpPr/>
            <p:nvPr/>
          </p:nvSpPr>
          <p:spPr>
            <a:xfrm>
              <a:off x="-34407" y="11540612"/>
              <a:ext cx="435072" cy="435077"/>
            </a:xfrm>
            <a:custGeom>
              <a:avLst/>
              <a:gdLst>
                <a:gd name="connsiteX0" fmla="*/ 63717 w 435072"/>
                <a:gd name="connsiteY0" fmla="*/ 153827 h 435077"/>
                <a:gd name="connsiteX1" fmla="*/ 0 w 435072"/>
                <a:gd name="connsiteY1" fmla="*/ 0 h 435077"/>
                <a:gd name="connsiteX2" fmla="*/ 217533 w 435072"/>
                <a:gd name="connsiteY2" fmla="*/ 0 h 435077"/>
                <a:gd name="connsiteX3" fmla="*/ 435072 w 435072"/>
                <a:gd name="connsiteY3" fmla="*/ 0 h 435077"/>
                <a:gd name="connsiteX4" fmla="*/ 371360 w 435072"/>
                <a:gd name="connsiteY4" fmla="*/ 153827 h 435077"/>
                <a:gd name="connsiteX5" fmla="*/ 217533 w 435072"/>
                <a:gd name="connsiteY5" fmla="*/ 217539 h 435077"/>
                <a:gd name="connsiteX6" fmla="*/ 63717 w 435072"/>
                <a:gd name="connsiteY6" fmla="*/ 153827 h 435077"/>
                <a:gd name="connsiteX7" fmla="*/ 63717 w 435072"/>
                <a:gd name="connsiteY7" fmla="*/ 281277 h 435077"/>
                <a:gd name="connsiteX8" fmla="*/ 0 w 435072"/>
                <a:gd name="connsiteY8" fmla="*/ 435077 h 435077"/>
                <a:gd name="connsiteX9" fmla="*/ 217533 w 435072"/>
                <a:gd name="connsiteY9" fmla="*/ 435077 h 435077"/>
                <a:gd name="connsiteX10" fmla="*/ 435072 w 435072"/>
                <a:gd name="connsiteY10" fmla="*/ 435077 h 435077"/>
                <a:gd name="connsiteX11" fmla="*/ 371360 w 435072"/>
                <a:gd name="connsiteY11" fmla="*/ 281277 h 435077"/>
                <a:gd name="connsiteX12" fmla="*/ 217533 w 435072"/>
                <a:gd name="connsiteY12" fmla="*/ 217539 h 435077"/>
                <a:gd name="connsiteX13" fmla="*/ 63717 w 435072"/>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2" h="435077">
                  <a:moveTo>
                    <a:pt x="63717" y="153827"/>
                  </a:moveTo>
                  <a:cubicBezTo>
                    <a:pt x="22921" y="113039"/>
                    <a:pt x="0" y="57702"/>
                    <a:pt x="0" y="0"/>
                  </a:cubicBezTo>
                  <a:lnTo>
                    <a:pt x="217533" y="0"/>
                  </a:lnTo>
                  <a:lnTo>
                    <a:pt x="435072" y="0"/>
                  </a:lnTo>
                  <a:cubicBezTo>
                    <a:pt x="435072" y="57702"/>
                    <a:pt x="412149" y="113039"/>
                    <a:pt x="371360" y="153827"/>
                  </a:cubicBezTo>
                  <a:cubicBezTo>
                    <a:pt x="330572" y="194642"/>
                    <a:pt x="275236" y="217539"/>
                    <a:pt x="217533" y="217539"/>
                  </a:cubicBezTo>
                  <a:cubicBezTo>
                    <a:pt x="159858" y="217539"/>
                    <a:pt x="104514" y="194642"/>
                    <a:pt x="63717" y="153827"/>
                  </a:cubicBezTo>
                  <a:close/>
                  <a:moveTo>
                    <a:pt x="63717" y="281277"/>
                  </a:moveTo>
                  <a:cubicBezTo>
                    <a:pt x="22921" y="322066"/>
                    <a:pt x="0" y="377402"/>
                    <a:pt x="0" y="435077"/>
                  </a:cubicBezTo>
                  <a:lnTo>
                    <a:pt x="217533" y="435077"/>
                  </a:lnTo>
                  <a:lnTo>
                    <a:pt x="435072" y="435077"/>
                  </a:lnTo>
                  <a:cubicBezTo>
                    <a:pt x="435072" y="377402"/>
                    <a:pt x="412149" y="322066"/>
                    <a:pt x="371360" y="281277"/>
                  </a:cubicBezTo>
                  <a:cubicBezTo>
                    <a:pt x="330572" y="240462"/>
                    <a:pt x="275236" y="217539"/>
                    <a:pt x="217533" y="217539"/>
                  </a:cubicBezTo>
                  <a:cubicBezTo>
                    <a:pt x="159858" y="217539"/>
                    <a:pt x="104514" y="240462"/>
                    <a:pt x="63717" y="281277"/>
                  </a:cubicBezTo>
                  <a:close/>
                </a:path>
              </a:pathLst>
            </a:custGeom>
            <a:grpFill/>
            <a:ln w="27192" cap="flat">
              <a:noFill/>
              <a:prstDash val="solid"/>
              <a:miter/>
            </a:ln>
          </p:spPr>
          <p:txBody>
            <a:bodyPr rtlCol="0" anchor="ctr"/>
            <a:lstStyle/>
            <a:p>
              <a:endParaRPr lang="uk-UA" sz="900">
                <a:solidFill>
                  <a:schemeClr val="bg1"/>
                </a:solidFill>
              </a:endParaRPr>
            </a:p>
          </p:txBody>
        </p:sp>
        <p:sp>
          <p:nvSpPr>
            <p:cNvPr id="385" name="Freeform: Shape 384">
              <a:extLst>
                <a:ext uri="{FF2B5EF4-FFF2-40B4-BE49-F238E27FC236}">
                  <a16:creationId xmlns:a16="http://schemas.microsoft.com/office/drawing/2014/main" id="{411B20AA-D1B4-874E-F1AE-8F68AF5045C5}"/>
                </a:ext>
              </a:extLst>
            </p:cNvPr>
            <p:cNvSpPr/>
            <p:nvPr/>
          </p:nvSpPr>
          <p:spPr>
            <a:xfrm>
              <a:off x="1705924" y="1154061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86" name="Freeform: Shape 385">
              <a:extLst>
                <a:ext uri="{FF2B5EF4-FFF2-40B4-BE49-F238E27FC236}">
                  <a16:creationId xmlns:a16="http://schemas.microsoft.com/office/drawing/2014/main" id="{F56872E2-95E8-140B-804E-3CDF8E4911F3}"/>
                </a:ext>
              </a:extLst>
            </p:cNvPr>
            <p:cNvSpPr/>
            <p:nvPr/>
          </p:nvSpPr>
          <p:spPr>
            <a:xfrm>
              <a:off x="2576106" y="1154064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2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2" y="217539"/>
                  </a:lnTo>
                  <a:lnTo>
                    <a:pt x="0" y="435050"/>
                  </a:lnTo>
                  <a:close/>
                </a:path>
              </a:pathLst>
            </a:custGeom>
            <a:grpFill/>
            <a:ln w="27192" cap="flat">
              <a:noFill/>
              <a:prstDash val="solid"/>
              <a:miter/>
            </a:ln>
          </p:spPr>
          <p:txBody>
            <a:bodyPr rtlCol="0" anchor="ctr"/>
            <a:lstStyle/>
            <a:p>
              <a:endParaRPr lang="uk-UA" sz="900">
                <a:solidFill>
                  <a:schemeClr val="bg1"/>
                </a:solidFill>
              </a:endParaRPr>
            </a:p>
          </p:txBody>
        </p:sp>
        <p:sp>
          <p:nvSpPr>
            <p:cNvPr id="387" name="Freeform: Shape 386">
              <a:extLst>
                <a:ext uri="{FF2B5EF4-FFF2-40B4-BE49-F238E27FC236}">
                  <a16:creationId xmlns:a16="http://schemas.microsoft.com/office/drawing/2014/main" id="{A6C97028-C320-3166-B321-829BC6FDACF4}"/>
                </a:ext>
              </a:extLst>
            </p:cNvPr>
            <p:cNvSpPr/>
            <p:nvPr/>
          </p:nvSpPr>
          <p:spPr>
            <a:xfrm>
              <a:off x="4316416" y="1154061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5 w 435077"/>
                <a:gd name="connsiteY3" fmla="*/ 27 h 435077"/>
                <a:gd name="connsiteX4" fmla="*/ 435077 w 435077"/>
                <a:gd name="connsiteY4" fmla="*/ 217566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5" y="27"/>
                  </a:lnTo>
                  <a:lnTo>
                    <a:pt x="435077" y="217566"/>
                  </a:lnTo>
                  <a:lnTo>
                    <a:pt x="217565"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88" name="Freeform: Shape 387">
              <a:extLst>
                <a:ext uri="{FF2B5EF4-FFF2-40B4-BE49-F238E27FC236}">
                  <a16:creationId xmlns:a16="http://schemas.microsoft.com/office/drawing/2014/main" id="{0B3F94D7-4762-76A8-D137-011CA6110C22}"/>
                </a:ext>
              </a:extLst>
            </p:cNvPr>
            <p:cNvSpPr/>
            <p:nvPr/>
          </p:nvSpPr>
          <p:spPr>
            <a:xfrm>
              <a:off x="3446261" y="1154061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3" y="113039"/>
                    <a:pt x="0" y="57702"/>
                    <a:pt x="0" y="0"/>
                  </a:cubicBezTo>
                  <a:lnTo>
                    <a:pt x="217539" y="0"/>
                  </a:lnTo>
                  <a:lnTo>
                    <a:pt x="435077" y="0"/>
                  </a:lnTo>
                  <a:cubicBezTo>
                    <a:pt x="435077" y="57702"/>
                    <a:pt x="412154" y="113039"/>
                    <a:pt x="371366" y="153827"/>
                  </a:cubicBezTo>
                  <a:cubicBezTo>
                    <a:pt x="330577" y="194642"/>
                    <a:pt x="275241" y="217539"/>
                    <a:pt x="217539" y="217539"/>
                  </a:cubicBezTo>
                  <a:cubicBezTo>
                    <a:pt x="159837" y="217539"/>
                    <a:pt x="104500" y="194642"/>
                    <a:pt x="63712" y="153827"/>
                  </a:cubicBezTo>
                  <a:close/>
                  <a:moveTo>
                    <a:pt x="63712" y="281277"/>
                  </a:moveTo>
                  <a:cubicBezTo>
                    <a:pt x="22923" y="322066"/>
                    <a:pt x="0" y="377402"/>
                    <a:pt x="0" y="435077"/>
                  </a:cubicBezTo>
                  <a:lnTo>
                    <a:pt x="217539" y="435077"/>
                  </a:lnTo>
                  <a:lnTo>
                    <a:pt x="435077" y="435077"/>
                  </a:lnTo>
                  <a:cubicBezTo>
                    <a:pt x="435077" y="377402"/>
                    <a:pt x="412154" y="322066"/>
                    <a:pt x="371366" y="281277"/>
                  </a:cubicBezTo>
                  <a:cubicBezTo>
                    <a:pt x="330577" y="240462"/>
                    <a:pt x="275241" y="217539"/>
                    <a:pt x="217539" y="217539"/>
                  </a:cubicBezTo>
                  <a:cubicBezTo>
                    <a:pt x="159837" y="217539"/>
                    <a:pt x="104500" y="240462"/>
                    <a:pt x="63712" y="281277"/>
                  </a:cubicBezTo>
                  <a:close/>
                </a:path>
              </a:pathLst>
            </a:custGeom>
            <a:grpFill/>
            <a:ln w="27192" cap="flat">
              <a:noFill/>
              <a:prstDash val="solid"/>
              <a:miter/>
            </a:ln>
          </p:spPr>
          <p:txBody>
            <a:bodyPr rtlCol="0" anchor="ctr"/>
            <a:lstStyle/>
            <a:p>
              <a:endParaRPr lang="uk-UA" sz="900">
                <a:solidFill>
                  <a:schemeClr val="bg1"/>
                </a:solidFill>
              </a:endParaRPr>
            </a:p>
          </p:txBody>
        </p:sp>
        <p:sp>
          <p:nvSpPr>
            <p:cNvPr id="389" name="Freeform: Shape 388">
              <a:extLst>
                <a:ext uri="{FF2B5EF4-FFF2-40B4-BE49-F238E27FC236}">
                  <a16:creationId xmlns:a16="http://schemas.microsoft.com/office/drawing/2014/main" id="{7406193C-2677-2358-8046-70300DB5ED5D}"/>
                </a:ext>
              </a:extLst>
            </p:cNvPr>
            <p:cNvSpPr/>
            <p:nvPr/>
          </p:nvSpPr>
          <p:spPr>
            <a:xfrm>
              <a:off x="5186597" y="11540612"/>
              <a:ext cx="435077" cy="435077"/>
            </a:xfrm>
            <a:custGeom>
              <a:avLst/>
              <a:gdLst>
                <a:gd name="connsiteX0" fmla="*/ 0 w 435077"/>
                <a:gd name="connsiteY0" fmla="*/ 435077 h 435077"/>
                <a:gd name="connsiteX1" fmla="*/ 0 w 435077"/>
                <a:gd name="connsiteY1" fmla="*/ 0 h 435077"/>
                <a:gd name="connsiteX2" fmla="*/ 217512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12"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90" name="Freeform: Shape 389">
              <a:extLst>
                <a:ext uri="{FF2B5EF4-FFF2-40B4-BE49-F238E27FC236}">
                  <a16:creationId xmlns:a16="http://schemas.microsoft.com/office/drawing/2014/main" id="{E48B292E-9F3E-92F1-C1EC-C3F8C6C38D47}"/>
                </a:ext>
              </a:extLst>
            </p:cNvPr>
            <p:cNvSpPr/>
            <p:nvPr/>
          </p:nvSpPr>
          <p:spPr>
            <a:xfrm>
              <a:off x="6056752" y="1154064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2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2" y="217539"/>
                  </a:lnTo>
                  <a:lnTo>
                    <a:pt x="0" y="435050"/>
                  </a:lnTo>
                  <a:close/>
                </a:path>
              </a:pathLst>
            </a:custGeom>
            <a:grpFill/>
            <a:ln w="27192" cap="flat">
              <a:noFill/>
              <a:prstDash val="solid"/>
              <a:miter/>
            </a:ln>
          </p:spPr>
          <p:txBody>
            <a:bodyPr rtlCol="0" anchor="ctr"/>
            <a:lstStyle/>
            <a:p>
              <a:endParaRPr lang="uk-UA" sz="900">
                <a:solidFill>
                  <a:schemeClr val="bg1"/>
                </a:solidFill>
              </a:endParaRPr>
            </a:p>
          </p:txBody>
        </p:sp>
        <p:sp>
          <p:nvSpPr>
            <p:cNvPr id="391" name="Freeform: Shape 390">
              <a:extLst>
                <a:ext uri="{FF2B5EF4-FFF2-40B4-BE49-F238E27FC236}">
                  <a16:creationId xmlns:a16="http://schemas.microsoft.com/office/drawing/2014/main" id="{2E10E1F7-52F0-DFF5-81A3-2C56A457AD3D}"/>
                </a:ext>
              </a:extLst>
            </p:cNvPr>
            <p:cNvSpPr/>
            <p:nvPr/>
          </p:nvSpPr>
          <p:spPr>
            <a:xfrm>
              <a:off x="7797062" y="1154061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6 w 435077"/>
                <a:gd name="connsiteY3" fmla="*/ 27 h 435077"/>
                <a:gd name="connsiteX4" fmla="*/ 435077 w 435077"/>
                <a:gd name="connsiteY4" fmla="*/ 217566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6" y="27"/>
                  </a:lnTo>
                  <a:lnTo>
                    <a:pt x="435077" y="217566"/>
                  </a:lnTo>
                  <a:lnTo>
                    <a:pt x="217566"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92" name="Freeform: Shape 391">
              <a:extLst>
                <a:ext uri="{FF2B5EF4-FFF2-40B4-BE49-F238E27FC236}">
                  <a16:creationId xmlns:a16="http://schemas.microsoft.com/office/drawing/2014/main" id="{291C7E6F-DE3E-9214-9D6E-8EDB63E22742}"/>
                </a:ext>
              </a:extLst>
            </p:cNvPr>
            <p:cNvSpPr/>
            <p:nvPr/>
          </p:nvSpPr>
          <p:spPr>
            <a:xfrm>
              <a:off x="6926907" y="1154061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6" y="153827"/>
                  </a:cubicBezTo>
                  <a:cubicBezTo>
                    <a:pt x="330550" y="194642"/>
                    <a:pt x="275241" y="217539"/>
                    <a:pt x="217539" y="217539"/>
                  </a:cubicBezTo>
                  <a:cubicBezTo>
                    <a:pt x="159837"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5" y="322066"/>
                    <a:pt x="371366" y="281277"/>
                  </a:cubicBezTo>
                  <a:cubicBezTo>
                    <a:pt x="330550" y="240462"/>
                    <a:pt x="275241" y="217539"/>
                    <a:pt x="217539" y="217539"/>
                  </a:cubicBezTo>
                  <a:cubicBezTo>
                    <a:pt x="159837" y="217539"/>
                    <a:pt x="104501" y="240462"/>
                    <a:pt x="63712" y="281277"/>
                  </a:cubicBezTo>
                  <a:close/>
                </a:path>
              </a:pathLst>
            </a:custGeom>
            <a:grpFill/>
            <a:ln w="27192" cap="flat">
              <a:noFill/>
              <a:prstDash val="solid"/>
              <a:miter/>
            </a:ln>
          </p:spPr>
          <p:txBody>
            <a:bodyPr rtlCol="0" anchor="ctr"/>
            <a:lstStyle/>
            <a:p>
              <a:endParaRPr lang="uk-UA" sz="900">
                <a:solidFill>
                  <a:schemeClr val="bg1"/>
                </a:solidFill>
              </a:endParaRPr>
            </a:p>
          </p:txBody>
        </p:sp>
        <p:sp>
          <p:nvSpPr>
            <p:cNvPr id="393" name="Freeform: Shape 392">
              <a:extLst>
                <a:ext uri="{FF2B5EF4-FFF2-40B4-BE49-F238E27FC236}">
                  <a16:creationId xmlns:a16="http://schemas.microsoft.com/office/drawing/2014/main" id="{3590CE32-D549-32FE-1F96-847C76E089FB}"/>
                </a:ext>
              </a:extLst>
            </p:cNvPr>
            <p:cNvSpPr/>
            <p:nvPr/>
          </p:nvSpPr>
          <p:spPr>
            <a:xfrm>
              <a:off x="8667217" y="1154061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94" name="Freeform: Shape 393">
              <a:extLst>
                <a:ext uri="{FF2B5EF4-FFF2-40B4-BE49-F238E27FC236}">
                  <a16:creationId xmlns:a16="http://schemas.microsoft.com/office/drawing/2014/main" id="{E8D374E5-4D95-26B3-5DFE-7F588FEB035D}"/>
                </a:ext>
              </a:extLst>
            </p:cNvPr>
            <p:cNvSpPr/>
            <p:nvPr/>
          </p:nvSpPr>
          <p:spPr>
            <a:xfrm>
              <a:off x="9537399" y="1154064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1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1" y="217539"/>
                  </a:lnTo>
                  <a:lnTo>
                    <a:pt x="0" y="435050"/>
                  </a:lnTo>
                  <a:close/>
                </a:path>
              </a:pathLst>
            </a:custGeom>
            <a:grpFill/>
            <a:ln w="27192" cap="flat">
              <a:noFill/>
              <a:prstDash val="solid"/>
              <a:miter/>
            </a:ln>
          </p:spPr>
          <p:txBody>
            <a:bodyPr rtlCol="0" anchor="ctr"/>
            <a:lstStyle/>
            <a:p>
              <a:endParaRPr lang="uk-UA" sz="900">
                <a:solidFill>
                  <a:schemeClr val="bg1"/>
                </a:solidFill>
              </a:endParaRPr>
            </a:p>
          </p:txBody>
        </p:sp>
        <p:sp>
          <p:nvSpPr>
            <p:cNvPr id="395" name="Freeform: Shape 394">
              <a:extLst>
                <a:ext uri="{FF2B5EF4-FFF2-40B4-BE49-F238E27FC236}">
                  <a16:creationId xmlns:a16="http://schemas.microsoft.com/office/drawing/2014/main" id="{29A4CBB4-0165-DDAC-960E-957998205A0E}"/>
                </a:ext>
              </a:extLst>
            </p:cNvPr>
            <p:cNvSpPr/>
            <p:nvPr/>
          </p:nvSpPr>
          <p:spPr>
            <a:xfrm>
              <a:off x="11277709" y="1154061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0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10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0" y="217539"/>
                  </a:lnTo>
                  <a:lnTo>
                    <a:pt x="0" y="217539"/>
                  </a:lnTo>
                  <a:close/>
                  <a:moveTo>
                    <a:pt x="0" y="435077"/>
                  </a:moveTo>
                  <a:lnTo>
                    <a:pt x="0" y="217566"/>
                  </a:lnTo>
                  <a:lnTo>
                    <a:pt x="217510"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96" name="Freeform: Shape 395">
              <a:extLst>
                <a:ext uri="{FF2B5EF4-FFF2-40B4-BE49-F238E27FC236}">
                  <a16:creationId xmlns:a16="http://schemas.microsoft.com/office/drawing/2014/main" id="{6F89752B-8AF9-2EC6-3D2F-2C971BE51C7F}"/>
                </a:ext>
              </a:extLst>
            </p:cNvPr>
            <p:cNvSpPr/>
            <p:nvPr/>
          </p:nvSpPr>
          <p:spPr>
            <a:xfrm>
              <a:off x="10407526" y="11540612"/>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39 w 435077"/>
                <a:gd name="connsiteY6" fmla="*/ 153827 h 435077"/>
                <a:gd name="connsiteX7" fmla="*/ 63739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39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4" y="113039"/>
                    <a:pt x="0" y="57702"/>
                    <a:pt x="0" y="0"/>
                  </a:cubicBezTo>
                  <a:lnTo>
                    <a:pt x="217539" y="0"/>
                  </a:lnTo>
                  <a:lnTo>
                    <a:pt x="435077" y="0"/>
                  </a:lnTo>
                  <a:cubicBezTo>
                    <a:pt x="435077" y="57702"/>
                    <a:pt x="412182" y="113039"/>
                    <a:pt x="371366" y="153827"/>
                  </a:cubicBezTo>
                  <a:cubicBezTo>
                    <a:pt x="330578" y="194642"/>
                    <a:pt x="275241" y="217539"/>
                    <a:pt x="217539" y="217539"/>
                  </a:cubicBezTo>
                  <a:cubicBezTo>
                    <a:pt x="159864" y="217539"/>
                    <a:pt x="104527" y="194642"/>
                    <a:pt x="63739" y="153827"/>
                  </a:cubicBezTo>
                  <a:close/>
                  <a:moveTo>
                    <a:pt x="63739" y="281277"/>
                  </a:moveTo>
                  <a:cubicBezTo>
                    <a:pt x="22924" y="322066"/>
                    <a:pt x="0" y="377402"/>
                    <a:pt x="0" y="435077"/>
                  </a:cubicBezTo>
                  <a:lnTo>
                    <a:pt x="217539" y="435077"/>
                  </a:lnTo>
                  <a:lnTo>
                    <a:pt x="435077" y="435077"/>
                  </a:lnTo>
                  <a:cubicBezTo>
                    <a:pt x="435077" y="377402"/>
                    <a:pt x="412182" y="322066"/>
                    <a:pt x="371366" y="281277"/>
                  </a:cubicBezTo>
                  <a:cubicBezTo>
                    <a:pt x="330578" y="240462"/>
                    <a:pt x="275241" y="217539"/>
                    <a:pt x="217539" y="217539"/>
                  </a:cubicBezTo>
                  <a:cubicBezTo>
                    <a:pt x="159864" y="217539"/>
                    <a:pt x="104527" y="240462"/>
                    <a:pt x="63739" y="281277"/>
                  </a:cubicBezTo>
                  <a:close/>
                </a:path>
              </a:pathLst>
            </a:custGeom>
            <a:grpFill/>
            <a:ln w="27192" cap="flat">
              <a:noFill/>
              <a:prstDash val="solid"/>
              <a:miter/>
            </a:ln>
          </p:spPr>
          <p:txBody>
            <a:bodyPr rtlCol="0" anchor="ctr"/>
            <a:lstStyle/>
            <a:p>
              <a:endParaRPr lang="uk-UA" sz="900">
                <a:solidFill>
                  <a:schemeClr val="bg1"/>
                </a:solidFill>
              </a:endParaRPr>
            </a:p>
          </p:txBody>
        </p:sp>
        <p:sp>
          <p:nvSpPr>
            <p:cNvPr id="397" name="Freeform: Shape 396">
              <a:extLst>
                <a:ext uri="{FF2B5EF4-FFF2-40B4-BE49-F238E27FC236}">
                  <a16:creationId xmlns:a16="http://schemas.microsoft.com/office/drawing/2014/main" id="{8226C79A-E645-AAA7-DE4C-E20F292C35A8}"/>
                </a:ext>
              </a:extLst>
            </p:cNvPr>
            <p:cNvSpPr/>
            <p:nvPr/>
          </p:nvSpPr>
          <p:spPr>
            <a:xfrm>
              <a:off x="12147864" y="1154061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98" name="Freeform: Shape 397">
              <a:extLst>
                <a:ext uri="{FF2B5EF4-FFF2-40B4-BE49-F238E27FC236}">
                  <a16:creationId xmlns:a16="http://schemas.microsoft.com/office/drawing/2014/main" id="{7CBB1462-0395-FC22-998E-2499E9DD7401}"/>
                </a:ext>
              </a:extLst>
            </p:cNvPr>
            <p:cNvSpPr/>
            <p:nvPr/>
          </p:nvSpPr>
          <p:spPr>
            <a:xfrm>
              <a:off x="13018045" y="1154064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2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2" y="217539"/>
                  </a:lnTo>
                  <a:lnTo>
                    <a:pt x="0" y="435050"/>
                  </a:lnTo>
                  <a:close/>
                </a:path>
              </a:pathLst>
            </a:custGeom>
            <a:grpFill/>
            <a:ln w="27192" cap="flat">
              <a:noFill/>
              <a:prstDash val="solid"/>
              <a:miter/>
            </a:ln>
          </p:spPr>
          <p:txBody>
            <a:bodyPr rtlCol="0" anchor="ctr"/>
            <a:lstStyle/>
            <a:p>
              <a:endParaRPr lang="uk-UA" sz="900">
                <a:solidFill>
                  <a:schemeClr val="bg1"/>
                </a:solidFill>
              </a:endParaRPr>
            </a:p>
          </p:txBody>
        </p:sp>
        <p:sp>
          <p:nvSpPr>
            <p:cNvPr id="399" name="Freeform: Shape 398">
              <a:extLst>
                <a:ext uri="{FF2B5EF4-FFF2-40B4-BE49-F238E27FC236}">
                  <a16:creationId xmlns:a16="http://schemas.microsoft.com/office/drawing/2014/main" id="{B0A4AFBF-F6D1-7A05-78F7-2E45BD21A285}"/>
                </a:ext>
              </a:extLst>
            </p:cNvPr>
            <p:cNvSpPr/>
            <p:nvPr/>
          </p:nvSpPr>
          <p:spPr>
            <a:xfrm>
              <a:off x="14758355" y="11540612"/>
              <a:ext cx="435103" cy="435077"/>
            </a:xfrm>
            <a:custGeom>
              <a:avLst/>
              <a:gdLst>
                <a:gd name="connsiteX0" fmla="*/ 435104 w 435103"/>
                <a:gd name="connsiteY0" fmla="*/ 435077 h 435077"/>
                <a:gd name="connsiteX1" fmla="*/ 435104 w 435103"/>
                <a:gd name="connsiteY1" fmla="*/ 217566 h 435077"/>
                <a:gd name="connsiteX2" fmla="*/ 435104 w 435103"/>
                <a:gd name="connsiteY2" fmla="*/ 27 h 435077"/>
                <a:gd name="connsiteX3" fmla="*/ 217565 w 435103"/>
                <a:gd name="connsiteY3" fmla="*/ 27 h 435077"/>
                <a:gd name="connsiteX4" fmla="*/ 435104 w 435103"/>
                <a:gd name="connsiteY4" fmla="*/ 217566 h 435077"/>
                <a:gd name="connsiteX5" fmla="*/ 217565 w 435103"/>
                <a:gd name="connsiteY5" fmla="*/ 435077 h 435077"/>
                <a:gd name="connsiteX6" fmla="*/ 435104 w 435103"/>
                <a:gd name="connsiteY6" fmla="*/ 435077 h 435077"/>
                <a:gd name="connsiteX7" fmla="*/ 0 w 435103"/>
                <a:gd name="connsiteY7" fmla="*/ 217539 h 435077"/>
                <a:gd name="connsiteX8" fmla="*/ 0 w 435103"/>
                <a:gd name="connsiteY8" fmla="*/ 0 h 435077"/>
                <a:gd name="connsiteX9" fmla="*/ 217539 w 435103"/>
                <a:gd name="connsiteY9" fmla="*/ 217539 h 435077"/>
                <a:gd name="connsiteX10" fmla="*/ 0 w 435103"/>
                <a:gd name="connsiteY10" fmla="*/ 217539 h 435077"/>
                <a:gd name="connsiteX11" fmla="*/ 27 w 435103"/>
                <a:gd name="connsiteY11" fmla="*/ 435077 h 435077"/>
                <a:gd name="connsiteX12" fmla="*/ 27 w 435103"/>
                <a:gd name="connsiteY12" fmla="*/ 217566 h 435077"/>
                <a:gd name="connsiteX13" fmla="*/ 217539 w 435103"/>
                <a:gd name="connsiteY13" fmla="*/ 217566 h 435077"/>
                <a:gd name="connsiteX14" fmla="*/ 27 w 435103"/>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103" h="435077">
                  <a:moveTo>
                    <a:pt x="435104" y="435077"/>
                  </a:moveTo>
                  <a:lnTo>
                    <a:pt x="435104" y="217566"/>
                  </a:lnTo>
                  <a:lnTo>
                    <a:pt x="435104" y="27"/>
                  </a:lnTo>
                  <a:lnTo>
                    <a:pt x="217565" y="27"/>
                  </a:lnTo>
                  <a:lnTo>
                    <a:pt x="435104" y="217566"/>
                  </a:lnTo>
                  <a:lnTo>
                    <a:pt x="217565" y="435077"/>
                  </a:lnTo>
                  <a:lnTo>
                    <a:pt x="435104" y="435077"/>
                  </a:lnTo>
                  <a:close/>
                  <a:moveTo>
                    <a:pt x="0" y="217539"/>
                  </a:moveTo>
                  <a:lnTo>
                    <a:pt x="0" y="0"/>
                  </a:lnTo>
                  <a:lnTo>
                    <a:pt x="217539" y="217539"/>
                  </a:lnTo>
                  <a:lnTo>
                    <a:pt x="0" y="217539"/>
                  </a:lnTo>
                  <a:close/>
                  <a:moveTo>
                    <a:pt x="27" y="435077"/>
                  </a:moveTo>
                  <a:lnTo>
                    <a:pt x="27" y="217566"/>
                  </a:lnTo>
                  <a:lnTo>
                    <a:pt x="217539" y="217566"/>
                  </a:lnTo>
                  <a:lnTo>
                    <a:pt x="27"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400" name="Freeform: Shape 399">
              <a:extLst>
                <a:ext uri="{FF2B5EF4-FFF2-40B4-BE49-F238E27FC236}">
                  <a16:creationId xmlns:a16="http://schemas.microsoft.com/office/drawing/2014/main" id="{35DD0247-6538-CDAE-F847-3C57ABD38DA9}"/>
                </a:ext>
              </a:extLst>
            </p:cNvPr>
            <p:cNvSpPr/>
            <p:nvPr/>
          </p:nvSpPr>
          <p:spPr>
            <a:xfrm>
              <a:off x="13888200" y="1154061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4" y="113039"/>
                    <a:pt x="371365" y="153827"/>
                  </a:cubicBezTo>
                  <a:cubicBezTo>
                    <a:pt x="330577" y="194642"/>
                    <a:pt x="275241" y="217539"/>
                    <a:pt x="217539" y="217539"/>
                  </a:cubicBezTo>
                  <a:cubicBezTo>
                    <a:pt x="159836" y="217539"/>
                    <a:pt x="104527" y="194642"/>
                    <a:pt x="63712" y="153827"/>
                  </a:cubicBezTo>
                  <a:close/>
                  <a:moveTo>
                    <a:pt x="63712" y="281277"/>
                  </a:moveTo>
                  <a:cubicBezTo>
                    <a:pt x="22924" y="322066"/>
                    <a:pt x="0" y="377402"/>
                    <a:pt x="0" y="435077"/>
                  </a:cubicBezTo>
                  <a:lnTo>
                    <a:pt x="217539" y="435077"/>
                  </a:lnTo>
                  <a:lnTo>
                    <a:pt x="435077" y="435077"/>
                  </a:lnTo>
                  <a:cubicBezTo>
                    <a:pt x="435077" y="377402"/>
                    <a:pt x="412154" y="322066"/>
                    <a:pt x="371365" y="281277"/>
                  </a:cubicBezTo>
                  <a:cubicBezTo>
                    <a:pt x="330577" y="240462"/>
                    <a:pt x="275241" y="217539"/>
                    <a:pt x="217539" y="217539"/>
                  </a:cubicBezTo>
                  <a:cubicBezTo>
                    <a:pt x="159836" y="217539"/>
                    <a:pt x="104527" y="240462"/>
                    <a:pt x="63712" y="281277"/>
                  </a:cubicBezTo>
                  <a:close/>
                </a:path>
              </a:pathLst>
            </a:custGeom>
            <a:grpFill/>
            <a:ln w="27192" cap="flat">
              <a:noFill/>
              <a:prstDash val="solid"/>
              <a:miter/>
            </a:ln>
          </p:spPr>
          <p:txBody>
            <a:bodyPr rtlCol="0" anchor="ctr"/>
            <a:lstStyle/>
            <a:p>
              <a:endParaRPr lang="uk-UA" sz="900">
                <a:solidFill>
                  <a:schemeClr val="bg1"/>
                </a:solidFill>
              </a:endParaRPr>
            </a:p>
          </p:txBody>
        </p:sp>
        <p:sp>
          <p:nvSpPr>
            <p:cNvPr id="401" name="Freeform: Shape 400">
              <a:extLst>
                <a:ext uri="{FF2B5EF4-FFF2-40B4-BE49-F238E27FC236}">
                  <a16:creationId xmlns:a16="http://schemas.microsoft.com/office/drawing/2014/main" id="{9D2B283B-3622-29B4-40AF-3B9BF91ABE3E}"/>
                </a:ext>
              </a:extLst>
            </p:cNvPr>
            <p:cNvSpPr/>
            <p:nvPr/>
          </p:nvSpPr>
          <p:spPr>
            <a:xfrm>
              <a:off x="15628536" y="1154061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402" name="Freeform: Shape 401">
              <a:extLst>
                <a:ext uri="{FF2B5EF4-FFF2-40B4-BE49-F238E27FC236}">
                  <a16:creationId xmlns:a16="http://schemas.microsoft.com/office/drawing/2014/main" id="{653FEAC6-ABEB-ABDE-A50E-31206FE7FF63}"/>
                </a:ext>
              </a:extLst>
            </p:cNvPr>
            <p:cNvSpPr/>
            <p:nvPr/>
          </p:nvSpPr>
          <p:spPr>
            <a:xfrm>
              <a:off x="16498719" y="1154064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0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0" y="217539"/>
                  </a:lnTo>
                  <a:lnTo>
                    <a:pt x="0" y="435050"/>
                  </a:lnTo>
                  <a:close/>
                </a:path>
              </a:pathLst>
            </a:custGeom>
            <a:grpFill/>
            <a:ln w="27192" cap="flat">
              <a:noFill/>
              <a:prstDash val="solid"/>
              <a:miter/>
            </a:ln>
          </p:spPr>
          <p:txBody>
            <a:bodyPr rtlCol="0" anchor="ctr"/>
            <a:lstStyle/>
            <a:p>
              <a:endParaRPr lang="uk-UA" sz="900">
                <a:solidFill>
                  <a:schemeClr val="bg1"/>
                </a:solidFill>
              </a:endParaRPr>
            </a:p>
          </p:txBody>
        </p:sp>
        <p:sp>
          <p:nvSpPr>
            <p:cNvPr id="403" name="Freeform: Shape 402">
              <a:extLst>
                <a:ext uri="{FF2B5EF4-FFF2-40B4-BE49-F238E27FC236}">
                  <a16:creationId xmlns:a16="http://schemas.microsoft.com/office/drawing/2014/main" id="{31DE3A0A-3E6C-4701-3D9E-D68FC2CE12DB}"/>
                </a:ext>
              </a:extLst>
            </p:cNvPr>
            <p:cNvSpPr/>
            <p:nvPr/>
          </p:nvSpPr>
          <p:spPr>
            <a:xfrm>
              <a:off x="18239029" y="1154061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0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10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0" y="217539"/>
                  </a:lnTo>
                  <a:lnTo>
                    <a:pt x="0" y="217539"/>
                  </a:lnTo>
                  <a:close/>
                  <a:moveTo>
                    <a:pt x="0" y="435077"/>
                  </a:moveTo>
                  <a:lnTo>
                    <a:pt x="0" y="217566"/>
                  </a:lnTo>
                  <a:lnTo>
                    <a:pt x="217510"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404" name="Freeform: Shape 403">
              <a:extLst>
                <a:ext uri="{FF2B5EF4-FFF2-40B4-BE49-F238E27FC236}">
                  <a16:creationId xmlns:a16="http://schemas.microsoft.com/office/drawing/2014/main" id="{28265539-8A3D-68C8-4B90-41CA30394342}"/>
                </a:ext>
              </a:extLst>
            </p:cNvPr>
            <p:cNvSpPr/>
            <p:nvPr/>
          </p:nvSpPr>
          <p:spPr>
            <a:xfrm>
              <a:off x="17368874" y="11540612"/>
              <a:ext cx="435077" cy="435077"/>
            </a:xfrm>
            <a:custGeom>
              <a:avLst/>
              <a:gdLst>
                <a:gd name="connsiteX0" fmla="*/ 63710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0 w 435077"/>
                <a:gd name="connsiteY6" fmla="*/ 153827 h 435077"/>
                <a:gd name="connsiteX7" fmla="*/ 63710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77 h 435077"/>
                <a:gd name="connsiteX12" fmla="*/ 217539 w 435077"/>
                <a:gd name="connsiteY12" fmla="*/ 217539 h 435077"/>
                <a:gd name="connsiteX13" fmla="*/ 63710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7"/>
                  </a:moveTo>
                  <a:cubicBezTo>
                    <a:pt x="22895" y="113039"/>
                    <a:pt x="0" y="57702"/>
                    <a:pt x="0" y="0"/>
                  </a:cubicBezTo>
                  <a:lnTo>
                    <a:pt x="217539" y="0"/>
                  </a:lnTo>
                  <a:lnTo>
                    <a:pt x="435077" y="0"/>
                  </a:lnTo>
                  <a:cubicBezTo>
                    <a:pt x="435077" y="57702"/>
                    <a:pt x="412154" y="113039"/>
                    <a:pt x="371339" y="153827"/>
                  </a:cubicBezTo>
                  <a:cubicBezTo>
                    <a:pt x="330550" y="194642"/>
                    <a:pt x="275213" y="217539"/>
                    <a:pt x="217539" y="217539"/>
                  </a:cubicBezTo>
                  <a:cubicBezTo>
                    <a:pt x="159836" y="217539"/>
                    <a:pt x="104499" y="194642"/>
                    <a:pt x="63710" y="153827"/>
                  </a:cubicBezTo>
                  <a:close/>
                  <a:moveTo>
                    <a:pt x="63710" y="281277"/>
                  </a:moveTo>
                  <a:cubicBezTo>
                    <a:pt x="22895" y="322066"/>
                    <a:pt x="0" y="377402"/>
                    <a:pt x="0" y="435077"/>
                  </a:cubicBezTo>
                  <a:lnTo>
                    <a:pt x="217539" y="435077"/>
                  </a:lnTo>
                  <a:lnTo>
                    <a:pt x="435077" y="435077"/>
                  </a:lnTo>
                  <a:cubicBezTo>
                    <a:pt x="435077" y="377402"/>
                    <a:pt x="412154" y="322066"/>
                    <a:pt x="371339" y="281277"/>
                  </a:cubicBezTo>
                  <a:cubicBezTo>
                    <a:pt x="330550" y="240462"/>
                    <a:pt x="275213" y="217539"/>
                    <a:pt x="217539" y="217539"/>
                  </a:cubicBezTo>
                  <a:cubicBezTo>
                    <a:pt x="159836" y="217539"/>
                    <a:pt x="104499" y="240462"/>
                    <a:pt x="63710" y="281277"/>
                  </a:cubicBezTo>
                  <a:close/>
                </a:path>
              </a:pathLst>
            </a:custGeom>
            <a:grpFill/>
            <a:ln w="27192" cap="flat">
              <a:noFill/>
              <a:prstDash val="solid"/>
              <a:miter/>
            </a:ln>
          </p:spPr>
          <p:txBody>
            <a:bodyPr rtlCol="0" anchor="ctr"/>
            <a:lstStyle/>
            <a:p>
              <a:endParaRPr lang="uk-UA" sz="900">
                <a:solidFill>
                  <a:schemeClr val="bg1"/>
                </a:solidFill>
              </a:endParaRPr>
            </a:p>
          </p:txBody>
        </p:sp>
        <p:sp>
          <p:nvSpPr>
            <p:cNvPr id="405" name="Freeform: Shape 404">
              <a:extLst>
                <a:ext uri="{FF2B5EF4-FFF2-40B4-BE49-F238E27FC236}">
                  <a16:creationId xmlns:a16="http://schemas.microsoft.com/office/drawing/2014/main" id="{8A51756B-E066-0483-7E94-344AF4186A30}"/>
                </a:ext>
              </a:extLst>
            </p:cNvPr>
            <p:cNvSpPr/>
            <p:nvPr/>
          </p:nvSpPr>
          <p:spPr>
            <a:xfrm>
              <a:off x="19109184" y="1154061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406" name="Freeform: Shape 405">
              <a:extLst>
                <a:ext uri="{FF2B5EF4-FFF2-40B4-BE49-F238E27FC236}">
                  <a16:creationId xmlns:a16="http://schemas.microsoft.com/office/drawing/2014/main" id="{766654E6-39FA-76C8-9A22-29E50EE333A3}"/>
                </a:ext>
              </a:extLst>
            </p:cNvPr>
            <p:cNvSpPr/>
            <p:nvPr/>
          </p:nvSpPr>
          <p:spPr>
            <a:xfrm>
              <a:off x="19979365" y="11540612"/>
              <a:ext cx="435077" cy="435077"/>
            </a:xfrm>
            <a:custGeom>
              <a:avLst/>
              <a:gdLst>
                <a:gd name="connsiteX0" fmla="*/ 435077 w 435077"/>
                <a:gd name="connsiteY0" fmla="*/ 435077 h 435077"/>
                <a:gd name="connsiteX1" fmla="*/ 435077 w 435077"/>
                <a:gd name="connsiteY1" fmla="*/ 0 h 435077"/>
                <a:gd name="connsiteX2" fmla="*/ 217539 w 435077"/>
                <a:gd name="connsiteY2" fmla="*/ 217566 h 435077"/>
                <a:gd name="connsiteX3" fmla="*/ 435077 w 435077"/>
                <a:gd name="connsiteY3" fmla="*/ 435077 h 435077"/>
                <a:gd name="connsiteX4" fmla="*/ 0 w 435077"/>
                <a:gd name="connsiteY4" fmla="*/ 435077 h 435077"/>
                <a:gd name="connsiteX5" fmla="*/ 0 w 435077"/>
                <a:gd name="connsiteY5" fmla="*/ 0 h 435077"/>
                <a:gd name="connsiteX6" fmla="*/ 217512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66"/>
                  </a:lnTo>
                  <a:lnTo>
                    <a:pt x="435077" y="435077"/>
                  </a:lnTo>
                  <a:close/>
                  <a:moveTo>
                    <a:pt x="0" y="435077"/>
                  </a:moveTo>
                  <a:lnTo>
                    <a:pt x="0" y="0"/>
                  </a:lnTo>
                  <a:lnTo>
                    <a:pt x="217512"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407" name="Freeform: Shape 406">
              <a:extLst>
                <a:ext uri="{FF2B5EF4-FFF2-40B4-BE49-F238E27FC236}">
                  <a16:creationId xmlns:a16="http://schemas.microsoft.com/office/drawing/2014/main" id="{AB8E66DE-41B7-E0AE-E121-8CFDE7E8729A}"/>
                </a:ext>
              </a:extLst>
            </p:cNvPr>
            <p:cNvSpPr/>
            <p:nvPr/>
          </p:nvSpPr>
          <p:spPr>
            <a:xfrm>
              <a:off x="21719675" y="1154061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5 w 435077"/>
                <a:gd name="connsiteY3" fmla="*/ 27 h 435077"/>
                <a:gd name="connsiteX4" fmla="*/ 435077 w 435077"/>
                <a:gd name="connsiteY4" fmla="*/ 217566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5" y="27"/>
                  </a:lnTo>
                  <a:lnTo>
                    <a:pt x="435077" y="217566"/>
                  </a:lnTo>
                  <a:lnTo>
                    <a:pt x="217565"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408" name="Freeform: Shape 407">
              <a:extLst>
                <a:ext uri="{FF2B5EF4-FFF2-40B4-BE49-F238E27FC236}">
                  <a16:creationId xmlns:a16="http://schemas.microsoft.com/office/drawing/2014/main" id="{2AEFF285-4D93-43BA-16E9-65CE7416416A}"/>
                </a:ext>
              </a:extLst>
            </p:cNvPr>
            <p:cNvSpPr/>
            <p:nvPr/>
          </p:nvSpPr>
          <p:spPr>
            <a:xfrm>
              <a:off x="20849520" y="1154061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4" y="113039"/>
                    <a:pt x="371365" y="153827"/>
                  </a:cubicBezTo>
                  <a:cubicBezTo>
                    <a:pt x="330577" y="194642"/>
                    <a:pt x="275241" y="217539"/>
                    <a:pt x="217539" y="217539"/>
                  </a:cubicBezTo>
                  <a:cubicBezTo>
                    <a:pt x="159836"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4" y="322066"/>
                    <a:pt x="371365" y="281277"/>
                  </a:cubicBezTo>
                  <a:cubicBezTo>
                    <a:pt x="330577" y="240462"/>
                    <a:pt x="275241" y="217539"/>
                    <a:pt x="217539" y="217539"/>
                  </a:cubicBezTo>
                  <a:cubicBezTo>
                    <a:pt x="159836" y="217539"/>
                    <a:pt x="104501" y="240462"/>
                    <a:pt x="63712" y="281277"/>
                  </a:cubicBezTo>
                  <a:close/>
                </a:path>
              </a:pathLst>
            </a:custGeom>
            <a:grpFill/>
            <a:ln w="27192" cap="flat">
              <a:noFill/>
              <a:prstDash val="solid"/>
              <a:miter/>
            </a:ln>
          </p:spPr>
          <p:txBody>
            <a:bodyPr rtlCol="0" anchor="ctr"/>
            <a:lstStyle/>
            <a:p>
              <a:endParaRPr lang="uk-UA" sz="900">
                <a:solidFill>
                  <a:schemeClr val="bg1"/>
                </a:solidFill>
              </a:endParaRPr>
            </a:p>
          </p:txBody>
        </p:sp>
        <p:sp>
          <p:nvSpPr>
            <p:cNvPr id="409" name="Freeform: Shape 408">
              <a:extLst>
                <a:ext uri="{FF2B5EF4-FFF2-40B4-BE49-F238E27FC236}">
                  <a16:creationId xmlns:a16="http://schemas.microsoft.com/office/drawing/2014/main" id="{C5CB468B-0E03-3A71-F501-270B7AD3951F}"/>
                </a:ext>
              </a:extLst>
            </p:cNvPr>
            <p:cNvSpPr/>
            <p:nvPr/>
          </p:nvSpPr>
          <p:spPr>
            <a:xfrm>
              <a:off x="22589856" y="1154061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410" name="Freeform: Shape 409">
              <a:extLst>
                <a:ext uri="{FF2B5EF4-FFF2-40B4-BE49-F238E27FC236}">
                  <a16:creationId xmlns:a16="http://schemas.microsoft.com/office/drawing/2014/main" id="{0FCABCB7-9EA0-BDBD-0622-A35C387422E4}"/>
                </a:ext>
              </a:extLst>
            </p:cNvPr>
            <p:cNvSpPr/>
            <p:nvPr/>
          </p:nvSpPr>
          <p:spPr>
            <a:xfrm>
              <a:off x="23460011" y="11540612"/>
              <a:ext cx="435077" cy="435077"/>
            </a:xfrm>
            <a:custGeom>
              <a:avLst/>
              <a:gdLst>
                <a:gd name="connsiteX0" fmla="*/ 435077 w 435077"/>
                <a:gd name="connsiteY0" fmla="*/ 435077 h 435077"/>
                <a:gd name="connsiteX1" fmla="*/ 435077 w 435077"/>
                <a:gd name="connsiteY1" fmla="*/ 0 h 435077"/>
                <a:gd name="connsiteX2" fmla="*/ 217567 w 435077"/>
                <a:gd name="connsiteY2" fmla="*/ 217566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7" y="217566"/>
                  </a:lnTo>
                  <a:lnTo>
                    <a:pt x="435077" y="435077"/>
                  </a:lnTo>
                  <a:close/>
                  <a:moveTo>
                    <a:pt x="0" y="435077"/>
                  </a:moveTo>
                  <a:lnTo>
                    <a:pt x="0" y="0"/>
                  </a:lnTo>
                  <a:lnTo>
                    <a:pt x="217539"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411" name="Freeform: Shape 410">
              <a:extLst>
                <a:ext uri="{FF2B5EF4-FFF2-40B4-BE49-F238E27FC236}">
                  <a16:creationId xmlns:a16="http://schemas.microsoft.com/office/drawing/2014/main" id="{16577509-E437-C154-1BF1-990C5D7A6C92}"/>
                </a:ext>
              </a:extLst>
            </p:cNvPr>
            <p:cNvSpPr/>
            <p:nvPr/>
          </p:nvSpPr>
          <p:spPr>
            <a:xfrm>
              <a:off x="24330194" y="1154061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447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447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235" y="113039"/>
                    <a:pt x="371447" y="153827"/>
                  </a:cubicBezTo>
                  <a:cubicBezTo>
                    <a:pt x="330658" y="194642"/>
                    <a:pt x="275186" y="217539"/>
                    <a:pt x="217539" y="217539"/>
                  </a:cubicBezTo>
                  <a:cubicBezTo>
                    <a:pt x="159836" y="217539"/>
                    <a:pt x="104501" y="194642"/>
                    <a:pt x="63712" y="153827"/>
                  </a:cubicBezTo>
                  <a:close/>
                  <a:moveTo>
                    <a:pt x="63712" y="281277"/>
                  </a:moveTo>
                  <a:cubicBezTo>
                    <a:pt x="22924" y="322066"/>
                    <a:pt x="0" y="377402"/>
                    <a:pt x="0" y="435077"/>
                  </a:cubicBezTo>
                  <a:lnTo>
                    <a:pt x="217539" y="435077"/>
                  </a:lnTo>
                  <a:lnTo>
                    <a:pt x="435077" y="435077"/>
                  </a:lnTo>
                  <a:cubicBezTo>
                    <a:pt x="435077" y="377402"/>
                    <a:pt x="412235" y="322066"/>
                    <a:pt x="371447" y="281277"/>
                  </a:cubicBezTo>
                  <a:cubicBezTo>
                    <a:pt x="330658" y="240462"/>
                    <a:pt x="275186" y="217539"/>
                    <a:pt x="217539" y="217539"/>
                  </a:cubicBezTo>
                  <a:cubicBezTo>
                    <a:pt x="159836" y="217539"/>
                    <a:pt x="104501" y="240462"/>
                    <a:pt x="63712" y="281277"/>
                  </a:cubicBezTo>
                  <a:close/>
                </a:path>
              </a:pathLst>
            </a:custGeom>
            <a:grpFill/>
            <a:ln w="27192" cap="flat">
              <a:noFill/>
              <a:prstDash val="solid"/>
              <a:miter/>
            </a:ln>
          </p:spPr>
          <p:txBody>
            <a:bodyPr rtlCol="0" anchor="ctr"/>
            <a:lstStyle/>
            <a:p>
              <a:endParaRPr lang="uk-UA" sz="900">
                <a:solidFill>
                  <a:schemeClr val="bg1"/>
                </a:solidFill>
              </a:endParaRPr>
            </a:p>
          </p:txBody>
        </p:sp>
        <p:sp>
          <p:nvSpPr>
            <p:cNvPr id="412" name="Freeform: Shape 411">
              <a:extLst>
                <a:ext uri="{FF2B5EF4-FFF2-40B4-BE49-F238E27FC236}">
                  <a16:creationId xmlns:a16="http://schemas.microsoft.com/office/drawing/2014/main" id="{69C4FA61-5497-9D69-DC46-8C31EAC7F158}"/>
                </a:ext>
              </a:extLst>
            </p:cNvPr>
            <p:cNvSpPr/>
            <p:nvPr/>
          </p:nvSpPr>
          <p:spPr>
            <a:xfrm>
              <a:off x="835742" y="12410767"/>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solidFill>
                  <a:schemeClr val="bg1"/>
                </a:solidFill>
              </a:endParaRPr>
            </a:p>
          </p:txBody>
        </p:sp>
        <p:sp>
          <p:nvSpPr>
            <p:cNvPr id="413" name="Freeform: Shape 412">
              <a:extLst>
                <a:ext uri="{FF2B5EF4-FFF2-40B4-BE49-F238E27FC236}">
                  <a16:creationId xmlns:a16="http://schemas.microsoft.com/office/drawing/2014/main" id="{E22FBE22-F32D-60A9-E68A-E8605FAC8228}"/>
                </a:ext>
              </a:extLst>
            </p:cNvPr>
            <p:cNvSpPr/>
            <p:nvPr/>
          </p:nvSpPr>
          <p:spPr>
            <a:xfrm>
              <a:off x="-34409" y="12410767"/>
              <a:ext cx="435074" cy="435104"/>
            </a:xfrm>
            <a:custGeom>
              <a:avLst/>
              <a:gdLst>
                <a:gd name="connsiteX0" fmla="*/ 0 w 435074"/>
                <a:gd name="connsiteY0" fmla="*/ 435077 h 435104"/>
                <a:gd name="connsiteX1" fmla="*/ 217536 w 435074"/>
                <a:gd name="connsiteY1" fmla="*/ 435077 h 435104"/>
                <a:gd name="connsiteX2" fmla="*/ 217536 w 435074"/>
                <a:gd name="connsiteY2" fmla="*/ 217566 h 435104"/>
                <a:gd name="connsiteX3" fmla="*/ 0 w 435074"/>
                <a:gd name="connsiteY3" fmla="*/ 435077 h 435104"/>
                <a:gd name="connsiteX4" fmla="*/ 217536 w 435074"/>
                <a:gd name="connsiteY4" fmla="*/ 0 h 435104"/>
                <a:gd name="connsiteX5" fmla="*/ 3 w 435074"/>
                <a:gd name="connsiteY5" fmla="*/ 0 h 435104"/>
                <a:gd name="connsiteX6" fmla="*/ 217536 w 435074"/>
                <a:gd name="connsiteY6" fmla="*/ 217539 h 435104"/>
                <a:gd name="connsiteX7" fmla="*/ 217536 w 435074"/>
                <a:gd name="connsiteY7" fmla="*/ 0 h 435104"/>
                <a:gd name="connsiteX8" fmla="*/ 435075 w 435074"/>
                <a:gd name="connsiteY8" fmla="*/ 435105 h 435104"/>
                <a:gd name="connsiteX9" fmla="*/ 217536 w 435074"/>
                <a:gd name="connsiteY9" fmla="*/ 435105 h 435104"/>
                <a:gd name="connsiteX10" fmla="*/ 435075 w 435074"/>
                <a:gd name="connsiteY10" fmla="*/ 217566 h 435104"/>
                <a:gd name="connsiteX11" fmla="*/ 435075 w 435074"/>
                <a:gd name="connsiteY11" fmla="*/ 435105 h 435104"/>
                <a:gd name="connsiteX12" fmla="*/ 435075 w 435074"/>
                <a:gd name="connsiteY12" fmla="*/ 27 h 435104"/>
                <a:gd name="connsiteX13" fmla="*/ 217536 w 435074"/>
                <a:gd name="connsiteY13" fmla="*/ 27 h 435104"/>
                <a:gd name="connsiteX14" fmla="*/ 435075 w 435074"/>
                <a:gd name="connsiteY14" fmla="*/ 217539 h 435104"/>
                <a:gd name="connsiteX15" fmla="*/ 435075 w 435074"/>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4" h="435104">
                  <a:moveTo>
                    <a:pt x="0" y="435077"/>
                  </a:moveTo>
                  <a:lnTo>
                    <a:pt x="217536" y="435077"/>
                  </a:lnTo>
                  <a:lnTo>
                    <a:pt x="217536" y="217566"/>
                  </a:lnTo>
                  <a:lnTo>
                    <a:pt x="0" y="435077"/>
                  </a:lnTo>
                  <a:close/>
                  <a:moveTo>
                    <a:pt x="217536" y="0"/>
                  </a:moveTo>
                  <a:lnTo>
                    <a:pt x="3" y="0"/>
                  </a:lnTo>
                  <a:lnTo>
                    <a:pt x="217536" y="217539"/>
                  </a:lnTo>
                  <a:lnTo>
                    <a:pt x="217536" y="0"/>
                  </a:lnTo>
                  <a:close/>
                  <a:moveTo>
                    <a:pt x="435075" y="435105"/>
                  </a:moveTo>
                  <a:lnTo>
                    <a:pt x="217536" y="435105"/>
                  </a:lnTo>
                  <a:lnTo>
                    <a:pt x="435075" y="217566"/>
                  </a:lnTo>
                  <a:lnTo>
                    <a:pt x="435075" y="435105"/>
                  </a:lnTo>
                  <a:close/>
                  <a:moveTo>
                    <a:pt x="435075" y="27"/>
                  </a:moveTo>
                  <a:lnTo>
                    <a:pt x="217536" y="27"/>
                  </a:lnTo>
                  <a:lnTo>
                    <a:pt x="435075" y="217539"/>
                  </a:lnTo>
                  <a:lnTo>
                    <a:pt x="435075" y="27"/>
                  </a:lnTo>
                  <a:close/>
                </a:path>
              </a:pathLst>
            </a:custGeom>
            <a:grpFill/>
            <a:ln w="27192" cap="flat">
              <a:noFill/>
              <a:prstDash val="solid"/>
              <a:miter/>
            </a:ln>
          </p:spPr>
          <p:txBody>
            <a:bodyPr rtlCol="0" anchor="ctr"/>
            <a:lstStyle/>
            <a:p>
              <a:endParaRPr lang="uk-UA" sz="900">
                <a:solidFill>
                  <a:schemeClr val="bg1"/>
                </a:solidFill>
              </a:endParaRPr>
            </a:p>
          </p:txBody>
        </p:sp>
        <p:sp>
          <p:nvSpPr>
            <p:cNvPr id="414" name="Freeform: Shape 413">
              <a:extLst>
                <a:ext uri="{FF2B5EF4-FFF2-40B4-BE49-F238E27FC236}">
                  <a16:creationId xmlns:a16="http://schemas.microsoft.com/office/drawing/2014/main" id="{C9C85416-AA2B-A51F-4ED3-F85006D93824}"/>
                </a:ext>
              </a:extLst>
            </p:cNvPr>
            <p:cNvSpPr/>
            <p:nvPr/>
          </p:nvSpPr>
          <p:spPr>
            <a:xfrm>
              <a:off x="1705924" y="12410767"/>
              <a:ext cx="435077" cy="435077"/>
            </a:xfrm>
            <a:custGeom>
              <a:avLst/>
              <a:gdLst>
                <a:gd name="connsiteX0" fmla="*/ 371366 w 435077"/>
                <a:gd name="connsiteY0" fmla="*/ 63739 h 435077"/>
                <a:gd name="connsiteX1" fmla="*/ 435077 w 435077"/>
                <a:gd name="connsiteY1" fmla="*/ 217539 h 435077"/>
                <a:gd name="connsiteX2" fmla="*/ 217702 w 435077"/>
                <a:gd name="connsiteY2" fmla="*/ 217539 h 435077"/>
                <a:gd name="connsiteX3" fmla="*/ 371366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1 w 435077"/>
                <a:gd name="connsiteY7" fmla="*/ 281277 h 435077"/>
                <a:gd name="connsiteX8" fmla="*/ 217375 w 435077"/>
                <a:gd name="connsiteY8" fmla="*/ 217539 h 435077"/>
                <a:gd name="connsiteX9" fmla="*/ 0 w 435077"/>
                <a:gd name="connsiteY9" fmla="*/ 217539 h 435077"/>
                <a:gd name="connsiteX10" fmla="*/ 63711 w 435077"/>
                <a:gd name="connsiteY10" fmla="*/ 63739 h 435077"/>
                <a:gd name="connsiteX11" fmla="*/ 217539 w 435077"/>
                <a:gd name="connsiteY11" fmla="*/ 0 h 435077"/>
                <a:gd name="connsiteX12" fmla="*/ 371366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39"/>
                  </a:moveTo>
                  <a:cubicBezTo>
                    <a:pt x="412154" y="104527"/>
                    <a:pt x="435077" y="159864"/>
                    <a:pt x="435077" y="217539"/>
                  </a:cubicBezTo>
                  <a:lnTo>
                    <a:pt x="217702" y="217539"/>
                  </a:lnTo>
                  <a:cubicBezTo>
                    <a:pt x="275349" y="217593"/>
                    <a:pt x="330604" y="240516"/>
                    <a:pt x="371366" y="281277"/>
                  </a:cubicBezTo>
                  <a:cubicBezTo>
                    <a:pt x="412154" y="322066"/>
                    <a:pt x="435077" y="377402"/>
                    <a:pt x="435077" y="435077"/>
                  </a:cubicBezTo>
                  <a:lnTo>
                    <a:pt x="217539" y="435077"/>
                  </a:lnTo>
                  <a:lnTo>
                    <a:pt x="0" y="435077"/>
                  </a:lnTo>
                  <a:cubicBezTo>
                    <a:pt x="0" y="377402"/>
                    <a:pt x="22923" y="322066"/>
                    <a:pt x="63711" y="281277"/>
                  </a:cubicBezTo>
                  <a:cubicBezTo>
                    <a:pt x="104473" y="240516"/>
                    <a:pt x="159728" y="217593"/>
                    <a:pt x="217375" y="217539"/>
                  </a:cubicBezTo>
                  <a:lnTo>
                    <a:pt x="0" y="217539"/>
                  </a:lnTo>
                  <a:cubicBezTo>
                    <a:pt x="0" y="159864"/>
                    <a:pt x="22923" y="104527"/>
                    <a:pt x="63711" y="63739"/>
                  </a:cubicBezTo>
                  <a:cubicBezTo>
                    <a:pt x="104500" y="22923"/>
                    <a:pt x="159836" y="0"/>
                    <a:pt x="217539" y="0"/>
                  </a:cubicBezTo>
                  <a:cubicBezTo>
                    <a:pt x="275213" y="0"/>
                    <a:pt x="330550" y="22923"/>
                    <a:pt x="371366" y="63739"/>
                  </a:cubicBezTo>
                  <a:close/>
                </a:path>
              </a:pathLst>
            </a:custGeom>
            <a:grpFill/>
            <a:ln w="27192" cap="flat">
              <a:noFill/>
              <a:prstDash val="solid"/>
              <a:miter/>
            </a:ln>
          </p:spPr>
          <p:txBody>
            <a:bodyPr rtlCol="0" anchor="ctr"/>
            <a:lstStyle/>
            <a:p>
              <a:endParaRPr lang="uk-UA" sz="900">
                <a:solidFill>
                  <a:schemeClr val="bg1"/>
                </a:solidFill>
              </a:endParaRPr>
            </a:p>
          </p:txBody>
        </p:sp>
        <p:sp>
          <p:nvSpPr>
            <p:cNvPr id="415" name="Freeform: Shape 414">
              <a:extLst>
                <a:ext uri="{FF2B5EF4-FFF2-40B4-BE49-F238E27FC236}">
                  <a16:creationId xmlns:a16="http://schemas.microsoft.com/office/drawing/2014/main" id="{BAF137D4-DA77-2B19-3BDF-F9E673A6182A}"/>
                </a:ext>
              </a:extLst>
            </p:cNvPr>
            <p:cNvSpPr/>
            <p:nvPr/>
          </p:nvSpPr>
          <p:spPr>
            <a:xfrm>
              <a:off x="2576079" y="12410767"/>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416" name="Freeform: Shape 415">
              <a:extLst>
                <a:ext uri="{FF2B5EF4-FFF2-40B4-BE49-F238E27FC236}">
                  <a16:creationId xmlns:a16="http://schemas.microsoft.com/office/drawing/2014/main" id="{41B62BB9-D5D4-644E-B43F-9CB26D951879}"/>
                </a:ext>
              </a:extLst>
            </p:cNvPr>
            <p:cNvSpPr/>
            <p:nvPr/>
          </p:nvSpPr>
          <p:spPr>
            <a:xfrm>
              <a:off x="4316416" y="12410767"/>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417" name="Freeform: Shape 416">
              <a:extLst>
                <a:ext uri="{FF2B5EF4-FFF2-40B4-BE49-F238E27FC236}">
                  <a16:creationId xmlns:a16="http://schemas.microsoft.com/office/drawing/2014/main" id="{5A25CB35-8E66-901F-A0B4-7D93D4B9EA09}"/>
                </a:ext>
              </a:extLst>
            </p:cNvPr>
            <p:cNvSpPr/>
            <p:nvPr/>
          </p:nvSpPr>
          <p:spPr>
            <a:xfrm>
              <a:off x="3446261" y="12410767"/>
              <a:ext cx="435077" cy="435104"/>
            </a:xfrm>
            <a:custGeom>
              <a:avLst/>
              <a:gdLst>
                <a:gd name="connsiteX0" fmla="*/ 0 w 435077"/>
                <a:gd name="connsiteY0" fmla="*/ 435077 h 435104"/>
                <a:gd name="connsiteX1" fmla="*/ 217512 w 435077"/>
                <a:gd name="connsiteY1" fmla="*/ 435077 h 435104"/>
                <a:gd name="connsiteX2" fmla="*/ 217512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12" y="435077"/>
                  </a:lnTo>
                  <a:lnTo>
                    <a:pt x="217512"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solidFill>
                  <a:schemeClr val="bg1"/>
                </a:solidFill>
              </a:endParaRPr>
            </a:p>
          </p:txBody>
        </p:sp>
        <p:sp>
          <p:nvSpPr>
            <p:cNvPr id="418" name="Freeform: Shape 417">
              <a:extLst>
                <a:ext uri="{FF2B5EF4-FFF2-40B4-BE49-F238E27FC236}">
                  <a16:creationId xmlns:a16="http://schemas.microsoft.com/office/drawing/2014/main" id="{51105B3E-0567-6CFD-D0E3-521D36D8B76A}"/>
                </a:ext>
              </a:extLst>
            </p:cNvPr>
            <p:cNvSpPr/>
            <p:nvPr/>
          </p:nvSpPr>
          <p:spPr>
            <a:xfrm>
              <a:off x="5186571" y="12410767"/>
              <a:ext cx="435103" cy="435077"/>
            </a:xfrm>
            <a:custGeom>
              <a:avLst/>
              <a:gdLst>
                <a:gd name="connsiteX0" fmla="*/ 371365 w 435103"/>
                <a:gd name="connsiteY0" fmla="*/ 63739 h 435077"/>
                <a:gd name="connsiteX1" fmla="*/ 435077 w 435103"/>
                <a:gd name="connsiteY1" fmla="*/ 217539 h 435077"/>
                <a:gd name="connsiteX2" fmla="*/ 217729 w 435103"/>
                <a:gd name="connsiteY2" fmla="*/ 217539 h 435077"/>
                <a:gd name="connsiteX3" fmla="*/ 371365 w 435103"/>
                <a:gd name="connsiteY3" fmla="*/ 281277 h 435077"/>
                <a:gd name="connsiteX4" fmla="*/ 435104 w 435103"/>
                <a:gd name="connsiteY4" fmla="*/ 435077 h 435077"/>
                <a:gd name="connsiteX5" fmla="*/ 217565 w 435103"/>
                <a:gd name="connsiteY5" fmla="*/ 435077 h 435077"/>
                <a:gd name="connsiteX6" fmla="*/ 27 w 435103"/>
                <a:gd name="connsiteY6" fmla="*/ 435077 h 435077"/>
                <a:gd name="connsiteX7" fmla="*/ 63739 w 435103"/>
                <a:gd name="connsiteY7" fmla="*/ 281277 h 435077"/>
                <a:gd name="connsiteX8" fmla="*/ 217375 w 435103"/>
                <a:gd name="connsiteY8" fmla="*/ 217539 h 435077"/>
                <a:gd name="connsiteX9" fmla="*/ 0 w 435103"/>
                <a:gd name="connsiteY9" fmla="*/ 217539 h 435077"/>
                <a:gd name="connsiteX10" fmla="*/ 63739 w 435103"/>
                <a:gd name="connsiteY10" fmla="*/ 63739 h 435077"/>
                <a:gd name="connsiteX11" fmla="*/ 217539 w 435103"/>
                <a:gd name="connsiteY11" fmla="*/ 0 h 435077"/>
                <a:gd name="connsiteX12" fmla="*/ 371365 w 435103"/>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3" h="435077">
                  <a:moveTo>
                    <a:pt x="371365" y="63739"/>
                  </a:moveTo>
                  <a:cubicBezTo>
                    <a:pt x="412181" y="104527"/>
                    <a:pt x="435077" y="159864"/>
                    <a:pt x="435077" y="217539"/>
                  </a:cubicBezTo>
                  <a:lnTo>
                    <a:pt x="217729" y="217539"/>
                  </a:lnTo>
                  <a:cubicBezTo>
                    <a:pt x="275349" y="217593"/>
                    <a:pt x="330632" y="240516"/>
                    <a:pt x="371365" y="281277"/>
                  </a:cubicBezTo>
                  <a:cubicBezTo>
                    <a:pt x="412181" y="322066"/>
                    <a:pt x="435104" y="377402"/>
                    <a:pt x="435104" y="435077"/>
                  </a:cubicBezTo>
                  <a:lnTo>
                    <a:pt x="217565" y="435077"/>
                  </a:lnTo>
                  <a:lnTo>
                    <a:pt x="27" y="435077"/>
                  </a:lnTo>
                  <a:cubicBezTo>
                    <a:pt x="27" y="377402"/>
                    <a:pt x="22923" y="322066"/>
                    <a:pt x="63739" y="281277"/>
                  </a:cubicBezTo>
                  <a:cubicBezTo>
                    <a:pt x="104500" y="240516"/>
                    <a:pt x="159755" y="217593"/>
                    <a:pt x="217375" y="217539"/>
                  </a:cubicBezTo>
                  <a:lnTo>
                    <a:pt x="0" y="217539"/>
                  </a:lnTo>
                  <a:cubicBezTo>
                    <a:pt x="0" y="159864"/>
                    <a:pt x="22923" y="104527"/>
                    <a:pt x="63739" y="63739"/>
                  </a:cubicBezTo>
                  <a:cubicBezTo>
                    <a:pt x="104527" y="22923"/>
                    <a:pt x="159864" y="0"/>
                    <a:pt x="217539" y="0"/>
                  </a:cubicBezTo>
                  <a:cubicBezTo>
                    <a:pt x="275240" y="0"/>
                    <a:pt x="330577" y="22923"/>
                    <a:pt x="371365" y="63739"/>
                  </a:cubicBezTo>
                  <a:close/>
                </a:path>
              </a:pathLst>
            </a:custGeom>
            <a:grpFill/>
            <a:ln w="27192" cap="flat">
              <a:noFill/>
              <a:prstDash val="solid"/>
              <a:miter/>
            </a:ln>
          </p:spPr>
          <p:txBody>
            <a:bodyPr rtlCol="0" anchor="ctr"/>
            <a:lstStyle/>
            <a:p>
              <a:endParaRPr lang="uk-UA" sz="900">
                <a:solidFill>
                  <a:schemeClr val="bg1"/>
                </a:solidFill>
              </a:endParaRPr>
            </a:p>
          </p:txBody>
        </p:sp>
        <p:sp>
          <p:nvSpPr>
            <p:cNvPr id="419" name="Freeform: Shape 418">
              <a:extLst>
                <a:ext uri="{FF2B5EF4-FFF2-40B4-BE49-F238E27FC236}">
                  <a16:creationId xmlns:a16="http://schemas.microsoft.com/office/drawing/2014/main" id="{128A87E2-1D3B-1032-47B9-D6E693F4AC72}"/>
                </a:ext>
              </a:extLst>
            </p:cNvPr>
            <p:cNvSpPr/>
            <p:nvPr/>
          </p:nvSpPr>
          <p:spPr>
            <a:xfrm>
              <a:off x="6056725" y="12410767"/>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420" name="Freeform: Shape 419">
              <a:extLst>
                <a:ext uri="{FF2B5EF4-FFF2-40B4-BE49-F238E27FC236}">
                  <a16:creationId xmlns:a16="http://schemas.microsoft.com/office/drawing/2014/main" id="{621C556F-F5BF-B7BC-2FEC-4FBAD89D1AC9}"/>
                </a:ext>
              </a:extLst>
            </p:cNvPr>
            <p:cNvSpPr/>
            <p:nvPr/>
          </p:nvSpPr>
          <p:spPr>
            <a:xfrm>
              <a:off x="7797062" y="12410767"/>
              <a:ext cx="435077" cy="435077"/>
            </a:xfrm>
            <a:custGeom>
              <a:avLst/>
              <a:gdLst>
                <a:gd name="connsiteX0" fmla="*/ 217539 w 435077"/>
                <a:gd name="connsiteY0" fmla="*/ 0 h 435077"/>
                <a:gd name="connsiteX1" fmla="*/ 217539 w 435077"/>
                <a:gd name="connsiteY1" fmla="*/ 0 h 435077"/>
                <a:gd name="connsiteX2" fmla="*/ 0 w 435077"/>
                <a:gd name="connsiteY2" fmla="*/ 0 h 435077"/>
                <a:gd name="connsiteX3" fmla="*/ 0 w 435077"/>
                <a:gd name="connsiteY3" fmla="*/ 217539 h 435077"/>
                <a:gd name="connsiteX4" fmla="*/ 217539 w 435077"/>
                <a:gd name="connsiteY4" fmla="*/ 27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217539" y="0"/>
                  </a:lnTo>
                  <a:lnTo>
                    <a:pt x="0" y="0"/>
                  </a:lnTo>
                  <a:lnTo>
                    <a:pt x="0" y="217539"/>
                  </a:lnTo>
                  <a:lnTo>
                    <a:pt x="217539" y="27"/>
                  </a:lnTo>
                  <a:lnTo>
                    <a:pt x="435077" y="217539"/>
                  </a:lnTo>
                  <a:lnTo>
                    <a:pt x="217539" y="435077"/>
                  </a:lnTo>
                  <a:lnTo>
                    <a:pt x="0" y="217539"/>
                  </a:lnTo>
                  <a:lnTo>
                    <a:pt x="0" y="435077"/>
                  </a:lnTo>
                  <a:lnTo>
                    <a:pt x="217539" y="435077"/>
                  </a:lnTo>
                  <a:lnTo>
                    <a:pt x="435077" y="435077"/>
                  </a:lnTo>
                  <a:lnTo>
                    <a:pt x="435077" y="217539"/>
                  </a:lnTo>
                  <a:lnTo>
                    <a:pt x="435077" y="0"/>
                  </a:lnTo>
                  <a:lnTo>
                    <a:pt x="217539" y="0"/>
                  </a:lnTo>
                  <a:close/>
                </a:path>
              </a:pathLst>
            </a:custGeom>
            <a:grpFill/>
            <a:ln w="27192" cap="flat">
              <a:noFill/>
              <a:prstDash val="solid"/>
              <a:miter/>
            </a:ln>
          </p:spPr>
          <p:txBody>
            <a:bodyPr rtlCol="0" anchor="ctr"/>
            <a:lstStyle/>
            <a:p>
              <a:endParaRPr lang="uk-UA" sz="900">
                <a:solidFill>
                  <a:schemeClr val="bg1"/>
                </a:solidFill>
              </a:endParaRPr>
            </a:p>
          </p:txBody>
        </p:sp>
        <p:sp>
          <p:nvSpPr>
            <p:cNvPr id="421" name="Freeform: Shape 420">
              <a:extLst>
                <a:ext uri="{FF2B5EF4-FFF2-40B4-BE49-F238E27FC236}">
                  <a16:creationId xmlns:a16="http://schemas.microsoft.com/office/drawing/2014/main" id="{3680DE3D-94BE-549A-1DB9-14D8909FE210}"/>
                </a:ext>
              </a:extLst>
            </p:cNvPr>
            <p:cNvSpPr/>
            <p:nvPr/>
          </p:nvSpPr>
          <p:spPr>
            <a:xfrm>
              <a:off x="6926907" y="12410767"/>
              <a:ext cx="435077" cy="435104"/>
            </a:xfrm>
            <a:custGeom>
              <a:avLst/>
              <a:gdLst>
                <a:gd name="connsiteX0" fmla="*/ 0 w 435077"/>
                <a:gd name="connsiteY0" fmla="*/ 435077 h 435104"/>
                <a:gd name="connsiteX1" fmla="*/ 217512 w 435077"/>
                <a:gd name="connsiteY1" fmla="*/ 435077 h 435104"/>
                <a:gd name="connsiteX2" fmla="*/ 217512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12" y="435077"/>
                  </a:lnTo>
                  <a:lnTo>
                    <a:pt x="217512"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solidFill>
                  <a:schemeClr val="bg1"/>
                </a:solidFill>
              </a:endParaRPr>
            </a:p>
          </p:txBody>
        </p:sp>
        <p:sp>
          <p:nvSpPr>
            <p:cNvPr id="422" name="Freeform: Shape 421">
              <a:extLst>
                <a:ext uri="{FF2B5EF4-FFF2-40B4-BE49-F238E27FC236}">
                  <a16:creationId xmlns:a16="http://schemas.microsoft.com/office/drawing/2014/main" id="{2270DB4A-BAAE-91D4-66A9-3B64DAE9F9D3}"/>
                </a:ext>
              </a:extLst>
            </p:cNvPr>
            <p:cNvSpPr/>
            <p:nvPr/>
          </p:nvSpPr>
          <p:spPr>
            <a:xfrm>
              <a:off x="8667217" y="12410767"/>
              <a:ext cx="435077" cy="435077"/>
            </a:xfrm>
            <a:custGeom>
              <a:avLst/>
              <a:gdLst>
                <a:gd name="connsiteX0" fmla="*/ 371366 w 435077"/>
                <a:gd name="connsiteY0" fmla="*/ 63739 h 435077"/>
                <a:gd name="connsiteX1" fmla="*/ 435077 w 435077"/>
                <a:gd name="connsiteY1" fmla="*/ 217539 h 435077"/>
                <a:gd name="connsiteX2" fmla="*/ 217702 w 435077"/>
                <a:gd name="connsiteY2" fmla="*/ 217539 h 435077"/>
                <a:gd name="connsiteX3" fmla="*/ 371366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6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39"/>
                  </a:moveTo>
                  <a:cubicBezTo>
                    <a:pt x="412155" y="104527"/>
                    <a:pt x="435077" y="159864"/>
                    <a:pt x="435077" y="217539"/>
                  </a:cubicBezTo>
                  <a:lnTo>
                    <a:pt x="217702" y="217539"/>
                  </a:lnTo>
                  <a:cubicBezTo>
                    <a:pt x="275350" y="217593"/>
                    <a:pt x="330605" y="240516"/>
                    <a:pt x="371366" y="281277"/>
                  </a:cubicBezTo>
                  <a:cubicBezTo>
                    <a:pt x="412155" y="322066"/>
                    <a:pt x="435077" y="377402"/>
                    <a:pt x="435077" y="435077"/>
                  </a:cubicBezTo>
                  <a:lnTo>
                    <a:pt x="217539" y="435077"/>
                  </a:lnTo>
                  <a:lnTo>
                    <a:pt x="0" y="435077"/>
                  </a:lnTo>
                  <a:cubicBezTo>
                    <a:pt x="0" y="377402"/>
                    <a:pt x="22924" y="322066"/>
                    <a:pt x="63712" y="281277"/>
                  </a:cubicBezTo>
                  <a:cubicBezTo>
                    <a:pt x="104473" y="240516"/>
                    <a:pt x="159728" y="217593"/>
                    <a:pt x="217376" y="217539"/>
                  </a:cubicBezTo>
                  <a:lnTo>
                    <a:pt x="0" y="217539"/>
                  </a:lnTo>
                  <a:cubicBezTo>
                    <a:pt x="0" y="159864"/>
                    <a:pt x="22924" y="104527"/>
                    <a:pt x="63712" y="63739"/>
                  </a:cubicBezTo>
                  <a:cubicBezTo>
                    <a:pt x="104501" y="22923"/>
                    <a:pt x="159837" y="0"/>
                    <a:pt x="217539" y="0"/>
                  </a:cubicBezTo>
                  <a:cubicBezTo>
                    <a:pt x="275241" y="0"/>
                    <a:pt x="330550" y="22923"/>
                    <a:pt x="371366" y="63739"/>
                  </a:cubicBezTo>
                  <a:close/>
                </a:path>
              </a:pathLst>
            </a:custGeom>
            <a:grpFill/>
            <a:ln w="27192" cap="flat">
              <a:noFill/>
              <a:prstDash val="solid"/>
              <a:miter/>
            </a:ln>
          </p:spPr>
          <p:txBody>
            <a:bodyPr rtlCol="0" anchor="ctr"/>
            <a:lstStyle/>
            <a:p>
              <a:endParaRPr lang="uk-UA" sz="900">
                <a:solidFill>
                  <a:schemeClr val="bg1"/>
                </a:solidFill>
              </a:endParaRPr>
            </a:p>
          </p:txBody>
        </p:sp>
        <p:sp>
          <p:nvSpPr>
            <p:cNvPr id="423" name="Freeform: Shape 422">
              <a:extLst>
                <a:ext uri="{FF2B5EF4-FFF2-40B4-BE49-F238E27FC236}">
                  <a16:creationId xmlns:a16="http://schemas.microsoft.com/office/drawing/2014/main" id="{73C8AC9E-4971-3D95-C51D-4AFB07AD1883}"/>
                </a:ext>
              </a:extLst>
            </p:cNvPr>
            <p:cNvSpPr/>
            <p:nvPr/>
          </p:nvSpPr>
          <p:spPr>
            <a:xfrm>
              <a:off x="9537371" y="12410767"/>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27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66 h 435077"/>
                <a:gd name="connsiteX9" fmla="*/ 435077 w 435077"/>
                <a:gd name="connsiteY9" fmla="*/ 217566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27"/>
                  </a:lnTo>
                  <a:lnTo>
                    <a:pt x="435077" y="217539"/>
                  </a:lnTo>
                  <a:lnTo>
                    <a:pt x="435077" y="217539"/>
                  </a:lnTo>
                  <a:lnTo>
                    <a:pt x="435077" y="217539"/>
                  </a:lnTo>
                  <a:lnTo>
                    <a:pt x="435077" y="217566"/>
                  </a:lnTo>
                  <a:lnTo>
                    <a:pt x="435077" y="217566"/>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424" name="Freeform: Shape 423">
              <a:extLst>
                <a:ext uri="{FF2B5EF4-FFF2-40B4-BE49-F238E27FC236}">
                  <a16:creationId xmlns:a16="http://schemas.microsoft.com/office/drawing/2014/main" id="{3E2020E1-4F9E-52C1-370F-D1554B620624}"/>
                </a:ext>
              </a:extLst>
            </p:cNvPr>
            <p:cNvSpPr/>
            <p:nvPr/>
          </p:nvSpPr>
          <p:spPr>
            <a:xfrm>
              <a:off x="11277681" y="12410767"/>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solidFill>
                  <a:schemeClr val="bg1"/>
                </a:solidFill>
              </a:endParaRPr>
            </a:p>
          </p:txBody>
        </p:sp>
        <p:sp>
          <p:nvSpPr>
            <p:cNvPr id="425" name="Freeform: Shape 424">
              <a:extLst>
                <a:ext uri="{FF2B5EF4-FFF2-40B4-BE49-F238E27FC236}">
                  <a16:creationId xmlns:a16="http://schemas.microsoft.com/office/drawing/2014/main" id="{58F06816-A0A3-2182-67F3-E2F64950078C}"/>
                </a:ext>
              </a:extLst>
            </p:cNvPr>
            <p:cNvSpPr/>
            <p:nvPr/>
          </p:nvSpPr>
          <p:spPr>
            <a:xfrm>
              <a:off x="10407526" y="12410767"/>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solidFill>
                  <a:schemeClr val="bg1"/>
                </a:solidFill>
              </a:endParaRPr>
            </a:p>
          </p:txBody>
        </p:sp>
        <p:sp>
          <p:nvSpPr>
            <p:cNvPr id="426" name="Freeform: Shape 425">
              <a:extLst>
                <a:ext uri="{FF2B5EF4-FFF2-40B4-BE49-F238E27FC236}">
                  <a16:creationId xmlns:a16="http://schemas.microsoft.com/office/drawing/2014/main" id="{E55009C5-C16F-51BA-DE94-343F7CA372F1}"/>
                </a:ext>
              </a:extLst>
            </p:cNvPr>
            <p:cNvSpPr/>
            <p:nvPr/>
          </p:nvSpPr>
          <p:spPr>
            <a:xfrm>
              <a:off x="12147864" y="12410767"/>
              <a:ext cx="435077" cy="435077"/>
            </a:xfrm>
            <a:custGeom>
              <a:avLst/>
              <a:gdLst>
                <a:gd name="connsiteX0" fmla="*/ 371365 w 435077"/>
                <a:gd name="connsiteY0" fmla="*/ 63739 h 435077"/>
                <a:gd name="connsiteX1" fmla="*/ 435077 w 435077"/>
                <a:gd name="connsiteY1" fmla="*/ 217539 h 435077"/>
                <a:gd name="connsiteX2" fmla="*/ 217701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0 w 435077"/>
                <a:gd name="connsiteY7" fmla="*/ 281277 h 435077"/>
                <a:gd name="connsiteX8" fmla="*/ 217374 w 435077"/>
                <a:gd name="connsiteY8" fmla="*/ 217539 h 435077"/>
                <a:gd name="connsiteX9" fmla="*/ 0 w 435077"/>
                <a:gd name="connsiteY9" fmla="*/ 217539 h 435077"/>
                <a:gd name="connsiteX10" fmla="*/ 63710 w 435077"/>
                <a:gd name="connsiteY10" fmla="*/ 63739 h 435077"/>
                <a:gd name="connsiteX11" fmla="*/ 217539 w 435077"/>
                <a:gd name="connsiteY11" fmla="*/ 0 h 435077"/>
                <a:gd name="connsiteX12" fmla="*/ 371365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39"/>
                  </a:moveTo>
                  <a:cubicBezTo>
                    <a:pt x="412154" y="104527"/>
                    <a:pt x="435077" y="159864"/>
                    <a:pt x="435077" y="217539"/>
                  </a:cubicBezTo>
                  <a:lnTo>
                    <a:pt x="217701" y="217539"/>
                  </a:lnTo>
                  <a:cubicBezTo>
                    <a:pt x="275349" y="217593"/>
                    <a:pt x="330603" y="240516"/>
                    <a:pt x="371365" y="281277"/>
                  </a:cubicBezTo>
                  <a:cubicBezTo>
                    <a:pt x="412154" y="322066"/>
                    <a:pt x="435077" y="377402"/>
                    <a:pt x="435077" y="435077"/>
                  </a:cubicBezTo>
                  <a:lnTo>
                    <a:pt x="217539" y="435077"/>
                  </a:lnTo>
                  <a:lnTo>
                    <a:pt x="0" y="435077"/>
                  </a:lnTo>
                  <a:cubicBezTo>
                    <a:pt x="0" y="377402"/>
                    <a:pt x="22922" y="322066"/>
                    <a:pt x="63710" y="281277"/>
                  </a:cubicBezTo>
                  <a:cubicBezTo>
                    <a:pt x="104472" y="240516"/>
                    <a:pt x="159727" y="217593"/>
                    <a:pt x="217374" y="217539"/>
                  </a:cubicBezTo>
                  <a:lnTo>
                    <a:pt x="0" y="217539"/>
                  </a:lnTo>
                  <a:cubicBezTo>
                    <a:pt x="0" y="159864"/>
                    <a:pt x="22922" y="104527"/>
                    <a:pt x="63710" y="63739"/>
                  </a:cubicBezTo>
                  <a:cubicBezTo>
                    <a:pt x="104499" y="22923"/>
                    <a:pt x="159836" y="0"/>
                    <a:pt x="217539" y="0"/>
                  </a:cubicBezTo>
                  <a:cubicBezTo>
                    <a:pt x="275239" y="0"/>
                    <a:pt x="330549" y="22923"/>
                    <a:pt x="371365" y="63739"/>
                  </a:cubicBezTo>
                  <a:close/>
                </a:path>
              </a:pathLst>
            </a:custGeom>
            <a:grpFill/>
            <a:ln w="27192" cap="flat">
              <a:noFill/>
              <a:prstDash val="solid"/>
              <a:miter/>
            </a:ln>
          </p:spPr>
          <p:txBody>
            <a:bodyPr rtlCol="0" anchor="ctr"/>
            <a:lstStyle/>
            <a:p>
              <a:endParaRPr lang="uk-UA" sz="900">
                <a:solidFill>
                  <a:schemeClr val="bg1"/>
                </a:solidFill>
              </a:endParaRPr>
            </a:p>
          </p:txBody>
        </p:sp>
        <p:sp>
          <p:nvSpPr>
            <p:cNvPr id="427" name="Freeform: Shape 426">
              <a:extLst>
                <a:ext uri="{FF2B5EF4-FFF2-40B4-BE49-F238E27FC236}">
                  <a16:creationId xmlns:a16="http://schemas.microsoft.com/office/drawing/2014/main" id="{EFF10FD9-426F-FD29-8292-C6C28C54296F}"/>
                </a:ext>
              </a:extLst>
            </p:cNvPr>
            <p:cNvSpPr/>
            <p:nvPr/>
          </p:nvSpPr>
          <p:spPr>
            <a:xfrm>
              <a:off x="13018019" y="12410767"/>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27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66 h 435077"/>
                <a:gd name="connsiteX9" fmla="*/ 435077 w 435077"/>
                <a:gd name="connsiteY9" fmla="*/ 217566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27"/>
                  </a:lnTo>
                  <a:lnTo>
                    <a:pt x="435077" y="217539"/>
                  </a:lnTo>
                  <a:lnTo>
                    <a:pt x="435077" y="217539"/>
                  </a:lnTo>
                  <a:lnTo>
                    <a:pt x="435077" y="217539"/>
                  </a:lnTo>
                  <a:lnTo>
                    <a:pt x="435077" y="217566"/>
                  </a:lnTo>
                  <a:lnTo>
                    <a:pt x="435077" y="217566"/>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428" name="Freeform: Shape 427">
              <a:extLst>
                <a:ext uri="{FF2B5EF4-FFF2-40B4-BE49-F238E27FC236}">
                  <a16:creationId xmlns:a16="http://schemas.microsoft.com/office/drawing/2014/main" id="{A2A721F7-F524-4032-A9D7-52A8B0BB2AE6}"/>
                </a:ext>
              </a:extLst>
            </p:cNvPr>
            <p:cNvSpPr/>
            <p:nvPr/>
          </p:nvSpPr>
          <p:spPr>
            <a:xfrm>
              <a:off x="14758355" y="12410767"/>
              <a:ext cx="435103" cy="435077"/>
            </a:xfrm>
            <a:custGeom>
              <a:avLst/>
              <a:gdLst>
                <a:gd name="connsiteX0" fmla="*/ 217539 w 435103"/>
                <a:gd name="connsiteY0" fmla="*/ 0 h 435077"/>
                <a:gd name="connsiteX1" fmla="*/ 0 w 435103"/>
                <a:gd name="connsiteY1" fmla="*/ 0 h 435077"/>
                <a:gd name="connsiteX2" fmla="*/ 0 w 435103"/>
                <a:gd name="connsiteY2" fmla="*/ 217539 h 435077"/>
                <a:gd name="connsiteX3" fmla="*/ 217539 w 435103"/>
                <a:gd name="connsiteY3" fmla="*/ 0 h 435077"/>
                <a:gd name="connsiteX4" fmla="*/ 435104 w 435103"/>
                <a:gd name="connsiteY4" fmla="*/ 0 h 435077"/>
                <a:gd name="connsiteX5" fmla="*/ 435104 w 435103"/>
                <a:gd name="connsiteY5" fmla="*/ 217539 h 435077"/>
                <a:gd name="connsiteX6" fmla="*/ 217565 w 435103"/>
                <a:gd name="connsiteY6" fmla="*/ 0 h 435077"/>
                <a:gd name="connsiteX7" fmla="*/ 435104 w 435103"/>
                <a:gd name="connsiteY7" fmla="*/ 0 h 435077"/>
                <a:gd name="connsiteX8" fmla="*/ 217565 w 435103"/>
                <a:gd name="connsiteY8" fmla="*/ 435077 h 435077"/>
                <a:gd name="connsiteX9" fmla="*/ 435104 w 435103"/>
                <a:gd name="connsiteY9" fmla="*/ 217539 h 435077"/>
                <a:gd name="connsiteX10" fmla="*/ 435104 w 435103"/>
                <a:gd name="connsiteY10" fmla="*/ 435077 h 435077"/>
                <a:gd name="connsiteX11" fmla="*/ 217565 w 435103"/>
                <a:gd name="connsiteY11" fmla="*/ 435077 h 435077"/>
                <a:gd name="connsiteX12" fmla="*/ 217565 w 435103"/>
                <a:gd name="connsiteY12" fmla="*/ 435077 h 435077"/>
                <a:gd name="connsiteX13" fmla="*/ 27 w 435103"/>
                <a:gd name="connsiteY13" fmla="*/ 217539 h 435077"/>
                <a:gd name="connsiteX14" fmla="*/ 27 w 435103"/>
                <a:gd name="connsiteY14" fmla="*/ 435077 h 435077"/>
                <a:gd name="connsiteX15" fmla="*/ 217565 w 435103"/>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3" h="435077">
                  <a:moveTo>
                    <a:pt x="217539" y="0"/>
                  </a:moveTo>
                  <a:lnTo>
                    <a:pt x="0" y="0"/>
                  </a:lnTo>
                  <a:lnTo>
                    <a:pt x="0" y="217539"/>
                  </a:lnTo>
                  <a:lnTo>
                    <a:pt x="217539" y="0"/>
                  </a:lnTo>
                  <a:close/>
                  <a:moveTo>
                    <a:pt x="435104" y="0"/>
                  </a:moveTo>
                  <a:lnTo>
                    <a:pt x="435104" y="217539"/>
                  </a:lnTo>
                  <a:lnTo>
                    <a:pt x="217565" y="0"/>
                  </a:lnTo>
                  <a:lnTo>
                    <a:pt x="435104" y="0"/>
                  </a:lnTo>
                  <a:close/>
                  <a:moveTo>
                    <a:pt x="217565" y="435077"/>
                  </a:moveTo>
                  <a:lnTo>
                    <a:pt x="435104" y="217539"/>
                  </a:lnTo>
                  <a:lnTo>
                    <a:pt x="435104" y="435077"/>
                  </a:lnTo>
                  <a:lnTo>
                    <a:pt x="217565" y="435077"/>
                  </a:lnTo>
                  <a:close/>
                  <a:moveTo>
                    <a:pt x="217565" y="435077"/>
                  </a:moveTo>
                  <a:lnTo>
                    <a:pt x="27" y="217539"/>
                  </a:lnTo>
                  <a:lnTo>
                    <a:pt x="27" y="435077"/>
                  </a:lnTo>
                  <a:lnTo>
                    <a:pt x="217565"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429" name="Freeform: Shape 428">
              <a:extLst>
                <a:ext uri="{FF2B5EF4-FFF2-40B4-BE49-F238E27FC236}">
                  <a16:creationId xmlns:a16="http://schemas.microsoft.com/office/drawing/2014/main" id="{B45C9269-A28C-54D1-30CB-462A3EF75D06}"/>
                </a:ext>
              </a:extLst>
            </p:cNvPr>
            <p:cNvSpPr/>
            <p:nvPr/>
          </p:nvSpPr>
          <p:spPr>
            <a:xfrm>
              <a:off x="13888200" y="12410767"/>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solidFill>
                  <a:schemeClr val="bg1"/>
                </a:solidFill>
              </a:endParaRPr>
            </a:p>
          </p:txBody>
        </p:sp>
        <p:sp>
          <p:nvSpPr>
            <p:cNvPr id="430" name="Freeform: Shape 429">
              <a:extLst>
                <a:ext uri="{FF2B5EF4-FFF2-40B4-BE49-F238E27FC236}">
                  <a16:creationId xmlns:a16="http://schemas.microsoft.com/office/drawing/2014/main" id="{7FDB60BA-2C0E-EB47-AC4F-A715B6B09D43}"/>
                </a:ext>
              </a:extLst>
            </p:cNvPr>
            <p:cNvSpPr/>
            <p:nvPr/>
          </p:nvSpPr>
          <p:spPr>
            <a:xfrm>
              <a:off x="15628536" y="12410767"/>
              <a:ext cx="435077" cy="435077"/>
            </a:xfrm>
            <a:custGeom>
              <a:avLst/>
              <a:gdLst>
                <a:gd name="connsiteX0" fmla="*/ 371367 w 435077"/>
                <a:gd name="connsiteY0" fmla="*/ 63739 h 435077"/>
                <a:gd name="connsiteX1" fmla="*/ 435077 w 435077"/>
                <a:gd name="connsiteY1" fmla="*/ 217539 h 435077"/>
                <a:gd name="connsiteX2" fmla="*/ 217703 w 435077"/>
                <a:gd name="connsiteY2" fmla="*/ 217539 h 435077"/>
                <a:gd name="connsiteX3" fmla="*/ 371367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7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7" y="63739"/>
                  </a:moveTo>
                  <a:cubicBezTo>
                    <a:pt x="412155" y="104527"/>
                    <a:pt x="435077" y="159864"/>
                    <a:pt x="435077" y="217539"/>
                  </a:cubicBezTo>
                  <a:lnTo>
                    <a:pt x="217703" y="217539"/>
                  </a:lnTo>
                  <a:cubicBezTo>
                    <a:pt x="275351" y="217593"/>
                    <a:pt x="330605" y="240516"/>
                    <a:pt x="371367" y="281277"/>
                  </a:cubicBezTo>
                  <a:cubicBezTo>
                    <a:pt x="412155" y="322066"/>
                    <a:pt x="435077" y="377402"/>
                    <a:pt x="435077" y="435077"/>
                  </a:cubicBezTo>
                  <a:lnTo>
                    <a:pt x="217539" y="435077"/>
                  </a:lnTo>
                  <a:lnTo>
                    <a:pt x="0" y="435077"/>
                  </a:lnTo>
                  <a:cubicBezTo>
                    <a:pt x="0" y="377402"/>
                    <a:pt x="22924" y="322066"/>
                    <a:pt x="63712" y="281277"/>
                  </a:cubicBezTo>
                  <a:cubicBezTo>
                    <a:pt x="104474" y="240516"/>
                    <a:pt x="159728" y="217593"/>
                    <a:pt x="217376" y="217539"/>
                  </a:cubicBezTo>
                  <a:lnTo>
                    <a:pt x="0" y="217539"/>
                  </a:lnTo>
                  <a:cubicBezTo>
                    <a:pt x="0" y="159864"/>
                    <a:pt x="22924" y="104527"/>
                    <a:pt x="63712" y="63739"/>
                  </a:cubicBezTo>
                  <a:cubicBezTo>
                    <a:pt x="104501" y="22923"/>
                    <a:pt x="159836" y="0"/>
                    <a:pt x="217539" y="0"/>
                  </a:cubicBezTo>
                  <a:cubicBezTo>
                    <a:pt x="275241" y="0"/>
                    <a:pt x="330550" y="22923"/>
                    <a:pt x="371367" y="63739"/>
                  </a:cubicBezTo>
                  <a:close/>
                </a:path>
              </a:pathLst>
            </a:custGeom>
            <a:grpFill/>
            <a:ln w="27192" cap="flat">
              <a:noFill/>
              <a:prstDash val="solid"/>
              <a:miter/>
            </a:ln>
          </p:spPr>
          <p:txBody>
            <a:bodyPr rtlCol="0" anchor="ctr"/>
            <a:lstStyle/>
            <a:p>
              <a:endParaRPr lang="uk-UA" sz="900">
                <a:solidFill>
                  <a:schemeClr val="bg1"/>
                </a:solidFill>
              </a:endParaRPr>
            </a:p>
          </p:txBody>
        </p:sp>
        <p:sp>
          <p:nvSpPr>
            <p:cNvPr id="431" name="Freeform: Shape 430">
              <a:extLst>
                <a:ext uri="{FF2B5EF4-FFF2-40B4-BE49-F238E27FC236}">
                  <a16:creationId xmlns:a16="http://schemas.microsoft.com/office/drawing/2014/main" id="{3F9BAB94-3A02-B297-03D1-7A1861AFCF5C}"/>
                </a:ext>
              </a:extLst>
            </p:cNvPr>
            <p:cNvSpPr/>
            <p:nvPr/>
          </p:nvSpPr>
          <p:spPr>
            <a:xfrm>
              <a:off x="16498665" y="12410767"/>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51 w 435077"/>
                <a:gd name="connsiteY7" fmla="*/ 217566 h 435077"/>
                <a:gd name="connsiteX8" fmla="*/ 435077 w 435077"/>
                <a:gd name="connsiteY8" fmla="*/ 217566 h 435077"/>
                <a:gd name="connsiteX9" fmla="*/ 435051 w 435077"/>
                <a:gd name="connsiteY9" fmla="*/ 217539 h 435077"/>
                <a:gd name="connsiteX10" fmla="*/ 435077 w 435077"/>
                <a:gd name="connsiteY10" fmla="*/ 217539 h 435077"/>
                <a:gd name="connsiteX11" fmla="*/ 435051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51" y="217566"/>
                  </a:lnTo>
                  <a:lnTo>
                    <a:pt x="435077" y="217566"/>
                  </a:lnTo>
                  <a:lnTo>
                    <a:pt x="435051" y="217539"/>
                  </a:lnTo>
                  <a:lnTo>
                    <a:pt x="435077" y="217539"/>
                  </a:lnTo>
                  <a:lnTo>
                    <a:pt x="435051"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432" name="Freeform: Shape 431">
              <a:extLst>
                <a:ext uri="{FF2B5EF4-FFF2-40B4-BE49-F238E27FC236}">
                  <a16:creationId xmlns:a16="http://schemas.microsoft.com/office/drawing/2014/main" id="{76C4A6E1-118C-1F37-A647-698F9222748E}"/>
                </a:ext>
              </a:extLst>
            </p:cNvPr>
            <p:cNvSpPr/>
            <p:nvPr/>
          </p:nvSpPr>
          <p:spPr>
            <a:xfrm>
              <a:off x="18239029" y="12410767"/>
              <a:ext cx="435077" cy="435077"/>
            </a:xfrm>
            <a:custGeom>
              <a:avLst/>
              <a:gdLst>
                <a:gd name="connsiteX0" fmla="*/ 217539 w 435077"/>
                <a:gd name="connsiteY0" fmla="*/ 0 h 435077"/>
                <a:gd name="connsiteX1" fmla="*/ 217539 w 435077"/>
                <a:gd name="connsiteY1" fmla="*/ 0 h 435077"/>
                <a:gd name="connsiteX2" fmla="*/ 0 w 435077"/>
                <a:gd name="connsiteY2" fmla="*/ 0 h 435077"/>
                <a:gd name="connsiteX3" fmla="*/ 0 w 435077"/>
                <a:gd name="connsiteY3" fmla="*/ 217539 h 435077"/>
                <a:gd name="connsiteX4" fmla="*/ 217539 w 435077"/>
                <a:gd name="connsiteY4" fmla="*/ 27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217539" y="0"/>
                  </a:lnTo>
                  <a:lnTo>
                    <a:pt x="0" y="0"/>
                  </a:lnTo>
                  <a:lnTo>
                    <a:pt x="0" y="217539"/>
                  </a:lnTo>
                  <a:lnTo>
                    <a:pt x="217539" y="27"/>
                  </a:lnTo>
                  <a:lnTo>
                    <a:pt x="435077" y="217539"/>
                  </a:lnTo>
                  <a:lnTo>
                    <a:pt x="217539" y="435077"/>
                  </a:lnTo>
                  <a:lnTo>
                    <a:pt x="0" y="217539"/>
                  </a:lnTo>
                  <a:lnTo>
                    <a:pt x="0" y="435077"/>
                  </a:lnTo>
                  <a:lnTo>
                    <a:pt x="217539" y="435077"/>
                  </a:lnTo>
                  <a:lnTo>
                    <a:pt x="435077" y="435077"/>
                  </a:lnTo>
                  <a:lnTo>
                    <a:pt x="435077" y="217539"/>
                  </a:lnTo>
                  <a:lnTo>
                    <a:pt x="435077" y="0"/>
                  </a:lnTo>
                  <a:lnTo>
                    <a:pt x="217539" y="0"/>
                  </a:lnTo>
                  <a:close/>
                </a:path>
              </a:pathLst>
            </a:custGeom>
            <a:grpFill/>
            <a:ln w="27192" cap="flat">
              <a:noFill/>
              <a:prstDash val="solid"/>
              <a:miter/>
            </a:ln>
          </p:spPr>
          <p:txBody>
            <a:bodyPr rtlCol="0" anchor="ctr"/>
            <a:lstStyle/>
            <a:p>
              <a:endParaRPr lang="uk-UA" sz="900">
                <a:solidFill>
                  <a:schemeClr val="bg1"/>
                </a:solidFill>
              </a:endParaRPr>
            </a:p>
          </p:txBody>
        </p:sp>
        <p:sp>
          <p:nvSpPr>
            <p:cNvPr id="433" name="Freeform: Shape 432">
              <a:extLst>
                <a:ext uri="{FF2B5EF4-FFF2-40B4-BE49-F238E27FC236}">
                  <a16:creationId xmlns:a16="http://schemas.microsoft.com/office/drawing/2014/main" id="{CDC0EB47-AC24-E88C-BD8A-F671457F3FF0}"/>
                </a:ext>
              </a:extLst>
            </p:cNvPr>
            <p:cNvSpPr/>
            <p:nvPr/>
          </p:nvSpPr>
          <p:spPr>
            <a:xfrm>
              <a:off x="17368846" y="12410767"/>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67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67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67" y="435105"/>
                  </a:lnTo>
                  <a:lnTo>
                    <a:pt x="435077" y="217566"/>
                  </a:lnTo>
                  <a:lnTo>
                    <a:pt x="435077" y="435105"/>
                  </a:lnTo>
                  <a:close/>
                  <a:moveTo>
                    <a:pt x="435077" y="27"/>
                  </a:moveTo>
                  <a:lnTo>
                    <a:pt x="217567" y="27"/>
                  </a:lnTo>
                  <a:lnTo>
                    <a:pt x="435077" y="217539"/>
                  </a:lnTo>
                  <a:lnTo>
                    <a:pt x="435077" y="27"/>
                  </a:lnTo>
                  <a:close/>
                </a:path>
              </a:pathLst>
            </a:custGeom>
            <a:grpFill/>
            <a:ln w="27192" cap="flat">
              <a:noFill/>
              <a:prstDash val="solid"/>
              <a:miter/>
            </a:ln>
          </p:spPr>
          <p:txBody>
            <a:bodyPr rtlCol="0" anchor="ctr"/>
            <a:lstStyle/>
            <a:p>
              <a:endParaRPr lang="uk-UA" sz="900">
                <a:solidFill>
                  <a:schemeClr val="bg1"/>
                </a:solidFill>
              </a:endParaRPr>
            </a:p>
          </p:txBody>
        </p:sp>
        <p:sp>
          <p:nvSpPr>
            <p:cNvPr id="434" name="Freeform: Shape 433">
              <a:extLst>
                <a:ext uri="{FF2B5EF4-FFF2-40B4-BE49-F238E27FC236}">
                  <a16:creationId xmlns:a16="http://schemas.microsoft.com/office/drawing/2014/main" id="{AEFC9E4F-97C2-5748-0CFE-E7C2E4A38289}"/>
                </a:ext>
              </a:extLst>
            </p:cNvPr>
            <p:cNvSpPr/>
            <p:nvPr/>
          </p:nvSpPr>
          <p:spPr>
            <a:xfrm>
              <a:off x="19109184" y="12410767"/>
              <a:ext cx="435077" cy="435077"/>
            </a:xfrm>
            <a:custGeom>
              <a:avLst/>
              <a:gdLst>
                <a:gd name="connsiteX0" fmla="*/ 371365 w 435077"/>
                <a:gd name="connsiteY0" fmla="*/ 63739 h 435077"/>
                <a:gd name="connsiteX1" fmla="*/ 435077 w 435077"/>
                <a:gd name="connsiteY1" fmla="*/ 217539 h 435077"/>
                <a:gd name="connsiteX2" fmla="*/ 217701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0 w 435077"/>
                <a:gd name="connsiteY7" fmla="*/ 281277 h 435077"/>
                <a:gd name="connsiteX8" fmla="*/ 217374 w 435077"/>
                <a:gd name="connsiteY8" fmla="*/ 217539 h 435077"/>
                <a:gd name="connsiteX9" fmla="*/ 0 w 435077"/>
                <a:gd name="connsiteY9" fmla="*/ 217539 h 435077"/>
                <a:gd name="connsiteX10" fmla="*/ 63710 w 435077"/>
                <a:gd name="connsiteY10" fmla="*/ 63739 h 435077"/>
                <a:gd name="connsiteX11" fmla="*/ 217539 w 435077"/>
                <a:gd name="connsiteY11" fmla="*/ 0 h 435077"/>
                <a:gd name="connsiteX12" fmla="*/ 371365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39"/>
                  </a:moveTo>
                  <a:cubicBezTo>
                    <a:pt x="412154" y="104527"/>
                    <a:pt x="435077" y="159864"/>
                    <a:pt x="435077" y="217539"/>
                  </a:cubicBezTo>
                  <a:lnTo>
                    <a:pt x="217701" y="217539"/>
                  </a:lnTo>
                  <a:cubicBezTo>
                    <a:pt x="275349" y="217593"/>
                    <a:pt x="330603" y="240516"/>
                    <a:pt x="371365" y="281277"/>
                  </a:cubicBezTo>
                  <a:cubicBezTo>
                    <a:pt x="412154" y="322066"/>
                    <a:pt x="435077" y="377402"/>
                    <a:pt x="435077" y="435077"/>
                  </a:cubicBezTo>
                  <a:lnTo>
                    <a:pt x="217539" y="435077"/>
                  </a:lnTo>
                  <a:lnTo>
                    <a:pt x="0" y="435077"/>
                  </a:lnTo>
                  <a:cubicBezTo>
                    <a:pt x="0" y="377402"/>
                    <a:pt x="22922" y="322066"/>
                    <a:pt x="63710" y="281277"/>
                  </a:cubicBezTo>
                  <a:cubicBezTo>
                    <a:pt x="104472" y="240516"/>
                    <a:pt x="159755" y="217593"/>
                    <a:pt x="217374" y="217539"/>
                  </a:cubicBezTo>
                  <a:lnTo>
                    <a:pt x="0" y="217539"/>
                  </a:lnTo>
                  <a:cubicBezTo>
                    <a:pt x="0" y="159864"/>
                    <a:pt x="22922" y="104527"/>
                    <a:pt x="63710" y="63739"/>
                  </a:cubicBezTo>
                  <a:cubicBezTo>
                    <a:pt x="104527" y="22923"/>
                    <a:pt x="159836" y="0"/>
                    <a:pt x="217539" y="0"/>
                  </a:cubicBezTo>
                  <a:cubicBezTo>
                    <a:pt x="275241" y="0"/>
                    <a:pt x="330577" y="22923"/>
                    <a:pt x="371365" y="63739"/>
                  </a:cubicBezTo>
                  <a:close/>
                </a:path>
              </a:pathLst>
            </a:custGeom>
            <a:grpFill/>
            <a:ln w="27192" cap="flat">
              <a:noFill/>
              <a:prstDash val="solid"/>
              <a:miter/>
            </a:ln>
          </p:spPr>
          <p:txBody>
            <a:bodyPr rtlCol="0" anchor="ctr"/>
            <a:lstStyle/>
            <a:p>
              <a:endParaRPr lang="uk-UA" sz="900">
                <a:solidFill>
                  <a:schemeClr val="bg1"/>
                </a:solidFill>
              </a:endParaRPr>
            </a:p>
          </p:txBody>
        </p:sp>
        <p:sp>
          <p:nvSpPr>
            <p:cNvPr id="435" name="Freeform: Shape 434">
              <a:extLst>
                <a:ext uri="{FF2B5EF4-FFF2-40B4-BE49-F238E27FC236}">
                  <a16:creationId xmlns:a16="http://schemas.microsoft.com/office/drawing/2014/main" id="{3072A194-D332-85F2-4FDA-AC29E8022D3F}"/>
                </a:ext>
              </a:extLst>
            </p:cNvPr>
            <p:cNvSpPr/>
            <p:nvPr/>
          </p:nvSpPr>
          <p:spPr>
            <a:xfrm>
              <a:off x="19979339" y="12410767"/>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436" name="Freeform: Shape 435">
              <a:extLst>
                <a:ext uri="{FF2B5EF4-FFF2-40B4-BE49-F238E27FC236}">
                  <a16:creationId xmlns:a16="http://schemas.microsoft.com/office/drawing/2014/main" id="{B7B76DD0-C9BA-3C48-7E72-3F5639744FDF}"/>
                </a:ext>
              </a:extLst>
            </p:cNvPr>
            <p:cNvSpPr/>
            <p:nvPr/>
          </p:nvSpPr>
          <p:spPr>
            <a:xfrm>
              <a:off x="21719675" y="12410767"/>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437" name="Freeform: Shape 436">
              <a:extLst>
                <a:ext uri="{FF2B5EF4-FFF2-40B4-BE49-F238E27FC236}">
                  <a16:creationId xmlns:a16="http://schemas.microsoft.com/office/drawing/2014/main" id="{7DCAFB0E-D368-5DD7-5D8F-B97E5F2A4DCC}"/>
                </a:ext>
              </a:extLst>
            </p:cNvPr>
            <p:cNvSpPr/>
            <p:nvPr/>
          </p:nvSpPr>
          <p:spPr>
            <a:xfrm>
              <a:off x="20849520" y="12410767"/>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solidFill>
                  <a:schemeClr val="bg1"/>
                </a:solidFill>
              </a:endParaRPr>
            </a:p>
          </p:txBody>
        </p:sp>
        <p:sp>
          <p:nvSpPr>
            <p:cNvPr id="438" name="Freeform: Shape 437">
              <a:extLst>
                <a:ext uri="{FF2B5EF4-FFF2-40B4-BE49-F238E27FC236}">
                  <a16:creationId xmlns:a16="http://schemas.microsoft.com/office/drawing/2014/main" id="{98C0C4E3-B8E0-CA28-65E8-1DDEC84AEC37}"/>
                </a:ext>
              </a:extLst>
            </p:cNvPr>
            <p:cNvSpPr/>
            <p:nvPr/>
          </p:nvSpPr>
          <p:spPr>
            <a:xfrm>
              <a:off x="22589856" y="12410767"/>
              <a:ext cx="435077" cy="435077"/>
            </a:xfrm>
            <a:custGeom>
              <a:avLst/>
              <a:gdLst>
                <a:gd name="connsiteX0" fmla="*/ 371367 w 435077"/>
                <a:gd name="connsiteY0" fmla="*/ 63739 h 435077"/>
                <a:gd name="connsiteX1" fmla="*/ 435077 w 435077"/>
                <a:gd name="connsiteY1" fmla="*/ 217539 h 435077"/>
                <a:gd name="connsiteX2" fmla="*/ 217703 w 435077"/>
                <a:gd name="connsiteY2" fmla="*/ 217539 h 435077"/>
                <a:gd name="connsiteX3" fmla="*/ 371367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7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7" y="63739"/>
                  </a:moveTo>
                  <a:cubicBezTo>
                    <a:pt x="412155" y="104527"/>
                    <a:pt x="435077" y="159864"/>
                    <a:pt x="435077" y="217539"/>
                  </a:cubicBezTo>
                  <a:lnTo>
                    <a:pt x="217703" y="217539"/>
                  </a:lnTo>
                  <a:cubicBezTo>
                    <a:pt x="275351" y="217593"/>
                    <a:pt x="330605" y="240516"/>
                    <a:pt x="371367" y="281277"/>
                  </a:cubicBezTo>
                  <a:cubicBezTo>
                    <a:pt x="412155" y="322066"/>
                    <a:pt x="435077" y="377402"/>
                    <a:pt x="435077" y="435077"/>
                  </a:cubicBezTo>
                  <a:lnTo>
                    <a:pt x="217539" y="435077"/>
                  </a:lnTo>
                  <a:lnTo>
                    <a:pt x="0" y="435077"/>
                  </a:lnTo>
                  <a:cubicBezTo>
                    <a:pt x="0" y="377402"/>
                    <a:pt x="22924" y="322066"/>
                    <a:pt x="63712" y="281277"/>
                  </a:cubicBezTo>
                  <a:cubicBezTo>
                    <a:pt x="104474" y="240516"/>
                    <a:pt x="159728" y="217593"/>
                    <a:pt x="217376" y="217539"/>
                  </a:cubicBezTo>
                  <a:lnTo>
                    <a:pt x="0" y="217539"/>
                  </a:lnTo>
                  <a:cubicBezTo>
                    <a:pt x="0" y="159864"/>
                    <a:pt x="22924" y="104527"/>
                    <a:pt x="63712" y="63739"/>
                  </a:cubicBezTo>
                  <a:cubicBezTo>
                    <a:pt x="104501" y="22923"/>
                    <a:pt x="159838" y="0"/>
                    <a:pt x="217539" y="0"/>
                  </a:cubicBezTo>
                  <a:cubicBezTo>
                    <a:pt x="275215" y="0"/>
                    <a:pt x="330550" y="22923"/>
                    <a:pt x="371367" y="63739"/>
                  </a:cubicBezTo>
                  <a:close/>
                </a:path>
              </a:pathLst>
            </a:custGeom>
            <a:grpFill/>
            <a:ln w="27192" cap="flat">
              <a:noFill/>
              <a:prstDash val="solid"/>
              <a:miter/>
            </a:ln>
          </p:spPr>
          <p:txBody>
            <a:bodyPr rtlCol="0" anchor="ctr"/>
            <a:lstStyle/>
            <a:p>
              <a:endParaRPr lang="uk-UA" sz="900">
                <a:solidFill>
                  <a:schemeClr val="bg1"/>
                </a:solidFill>
              </a:endParaRPr>
            </a:p>
          </p:txBody>
        </p:sp>
        <p:sp>
          <p:nvSpPr>
            <p:cNvPr id="439" name="Freeform: Shape 438">
              <a:extLst>
                <a:ext uri="{FF2B5EF4-FFF2-40B4-BE49-F238E27FC236}">
                  <a16:creationId xmlns:a16="http://schemas.microsoft.com/office/drawing/2014/main" id="{7044D05F-42F5-8242-65B7-4F203B534234}"/>
                </a:ext>
              </a:extLst>
            </p:cNvPr>
            <p:cNvSpPr/>
            <p:nvPr/>
          </p:nvSpPr>
          <p:spPr>
            <a:xfrm>
              <a:off x="23460011" y="12410767"/>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440" name="Freeform: Shape 439">
              <a:extLst>
                <a:ext uri="{FF2B5EF4-FFF2-40B4-BE49-F238E27FC236}">
                  <a16:creationId xmlns:a16="http://schemas.microsoft.com/office/drawing/2014/main" id="{8E6063B4-CCC8-71CB-29F4-DBA6304841EC}"/>
                </a:ext>
              </a:extLst>
            </p:cNvPr>
            <p:cNvSpPr/>
            <p:nvPr/>
          </p:nvSpPr>
          <p:spPr>
            <a:xfrm>
              <a:off x="24330194" y="12410767"/>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solidFill>
                  <a:schemeClr val="bg1"/>
                </a:solidFill>
              </a:endParaRPr>
            </a:p>
          </p:txBody>
        </p:sp>
        <p:sp>
          <p:nvSpPr>
            <p:cNvPr id="441" name="Freeform: Shape 440">
              <a:extLst>
                <a:ext uri="{FF2B5EF4-FFF2-40B4-BE49-F238E27FC236}">
                  <a16:creationId xmlns:a16="http://schemas.microsoft.com/office/drawing/2014/main" id="{1552FA34-31AC-0F44-BC76-8B259E70CA9D}"/>
                </a:ext>
              </a:extLst>
            </p:cNvPr>
            <p:cNvSpPr/>
            <p:nvPr/>
          </p:nvSpPr>
          <p:spPr>
            <a:xfrm>
              <a:off x="835742" y="13280949"/>
              <a:ext cx="435077" cy="435050"/>
            </a:xfrm>
            <a:custGeom>
              <a:avLst/>
              <a:gdLst>
                <a:gd name="connsiteX0" fmla="*/ 435077 w 435077"/>
                <a:gd name="connsiteY0" fmla="*/ 435050 h 435050"/>
                <a:gd name="connsiteX1" fmla="*/ 435077 w 435077"/>
                <a:gd name="connsiteY1" fmla="*/ 0 h 435050"/>
                <a:gd name="connsiteX2" fmla="*/ 217566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39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66" y="217539"/>
                  </a:lnTo>
                  <a:lnTo>
                    <a:pt x="435077" y="435050"/>
                  </a:lnTo>
                  <a:close/>
                  <a:moveTo>
                    <a:pt x="0" y="435050"/>
                  </a:moveTo>
                  <a:lnTo>
                    <a:pt x="0" y="0"/>
                  </a:lnTo>
                  <a:lnTo>
                    <a:pt x="217539" y="217539"/>
                  </a:lnTo>
                  <a:lnTo>
                    <a:pt x="0" y="435050"/>
                  </a:lnTo>
                  <a:close/>
                </a:path>
              </a:pathLst>
            </a:custGeom>
            <a:grpFill/>
            <a:ln w="27192" cap="flat">
              <a:noFill/>
              <a:prstDash val="solid"/>
              <a:miter/>
            </a:ln>
          </p:spPr>
          <p:txBody>
            <a:bodyPr rtlCol="0" anchor="ctr"/>
            <a:lstStyle/>
            <a:p>
              <a:endParaRPr lang="uk-UA" sz="900">
                <a:solidFill>
                  <a:schemeClr val="bg1"/>
                </a:solidFill>
              </a:endParaRPr>
            </a:p>
          </p:txBody>
        </p:sp>
        <p:sp>
          <p:nvSpPr>
            <p:cNvPr id="442" name="Freeform: Shape 441">
              <a:extLst>
                <a:ext uri="{FF2B5EF4-FFF2-40B4-BE49-F238E27FC236}">
                  <a16:creationId xmlns:a16="http://schemas.microsoft.com/office/drawing/2014/main" id="{A1F35D1D-2D59-F4BD-E52D-763E4625D955}"/>
                </a:ext>
              </a:extLst>
            </p:cNvPr>
            <p:cNvSpPr/>
            <p:nvPr/>
          </p:nvSpPr>
          <p:spPr>
            <a:xfrm>
              <a:off x="-34412" y="1328092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443" name="Freeform: Shape 442">
              <a:extLst>
                <a:ext uri="{FF2B5EF4-FFF2-40B4-BE49-F238E27FC236}">
                  <a16:creationId xmlns:a16="http://schemas.microsoft.com/office/drawing/2014/main" id="{863A5D8B-0EFA-75DE-37BC-EFD1DF2A8CE1}"/>
                </a:ext>
              </a:extLst>
            </p:cNvPr>
            <p:cNvSpPr/>
            <p:nvPr/>
          </p:nvSpPr>
          <p:spPr>
            <a:xfrm>
              <a:off x="1705924" y="13280922"/>
              <a:ext cx="435077" cy="435077"/>
            </a:xfrm>
            <a:custGeom>
              <a:avLst/>
              <a:gdLst>
                <a:gd name="connsiteX0" fmla="*/ 63711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1 w 435077"/>
                <a:gd name="connsiteY6" fmla="*/ 153827 h 435077"/>
                <a:gd name="connsiteX7" fmla="*/ 63711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11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1" y="153827"/>
                  </a:moveTo>
                  <a:cubicBezTo>
                    <a:pt x="22923" y="113039"/>
                    <a:pt x="0" y="57702"/>
                    <a:pt x="0" y="0"/>
                  </a:cubicBezTo>
                  <a:lnTo>
                    <a:pt x="217539" y="0"/>
                  </a:lnTo>
                  <a:lnTo>
                    <a:pt x="435077" y="0"/>
                  </a:lnTo>
                  <a:cubicBezTo>
                    <a:pt x="435077" y="57702"/>
                    <a:pt x="412154" y="113039"/>
                    <a:pt x="371366" y="153827"/>
                  </a:cubicBezTo>
                  <a:cubicBezTo>
                    <a:pt x="330550" y="194642"/>
                    <a:pt x="275213" y="217539"/>
                    <a:pt x="217539" y="217539"/>
                  </a:cubicBezTo>
                  <a:cubicBezTo>
                    <a:pt x="159836" y="217539"/>
                    <a:pt x="104500" y="194642"/>
                    <a:pt x="63711" y="153827"/>
                  </a:cubicBezTo>
                  <a:close/>
                  <a:moveTo>
                    <a:pt x="63711" y="281277"/>
                  </a:moveTo>
                  <a:cubicBezTo>
                    <a:pt x="22923" y="322066"/>
                    <a:pt x="0" y="377402"/>
                    <a:pt x="0" y="435077"/>
                  </a:cubicBezTo>
                  <a:lnTo>
                    <a:pt x="217539" y="435077"/>
                  </a:lnTo>
                  <a:lnTo>
                    <a:pt x="435077" y="435077"/>
                  </a:lnTo>
                  <a:cubicBezTo>
                    <a:pt x="435077" y="377402"/>
                    <a:pt x="412154" y="322066"/>
                    <a:pt x="371366" y="281277"/>
                  </a:cubicBezTo>
                  <a:cubicBezTo>
                    <a:pt x="330550" y="240462"/>
                    <a:pt x="275213" y="217539"/>
                    <a:pt x="217539" y="217539"/>
                  </a:cubicBezTo>
                  <a:cubicBezTo>
                    <a:pt x="159836" y="217539"/>
                    <a:pt x="104500" y="240462"/>
                    <a:pt x="63711" y="281277"/>
                  </a:cubicBezTo>
                  <a:close/>
                </a:path>
              </a:pathLst>
            </a:custGeom>
            <a:grpFill/>
            <a:ln w="27192" cap="flat">
              <a:noFill/>
              <a:prstDash val="solid"/>
              <a:miter/>
            </a:ln>
          </p:spPr>
          <p:txBody>
            <a:bodyPr rtlCol="0" anchor="ctr"/>
            <a:lstStyle/>
            <a:p>
              <a:endParaRPr lang="uk-UA" sz="900">
                <a:solidFill>
                  <a:schemeClr val="bg1"/>
                </a:solidFill>
              </a:endParaRPr>
            </a:p>
          </p:txBody>
        </p:sp>
        <p:sp>
          <p:nvSpPr>
            <p:cNvPr id="444" name="Freeform: Shape 443">
              <a:extLst>
                <a:ext uri="{FF2B5EF4-FFF2-40B4-BE49-F238E27FC236}">
                  <a16:creationId xmlns:a16="http://schemas.microsoft.com/office/drawing/2014/main" id="{D2EF4A04-380E-3C2E-37FA-41FBA96838BF}"/>
                </a:ext>
              </a:extLst>
            </p:cNvPr>
            <p:cNvSpPr/>
            <p:nvPr/>
          </p:nvSpPr>
          <p:spPr>
            <a:xfrm>
              <a:off x="2576079" y="1328092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6 w 435077"/>
                <a:gd name="connsiteY3" fmla="*/ 27 h 435077"/>
                <a:gd name="connsiteX4" fmla="*/ 435077 w 435077"/>
                <a:gd name="connsiteY4" fmla="*/ 217566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6" y="27"/>
                  </a:lnTo>
                  <a:lnTo>
                    <a:pt x="435077" y="217566"/>
                  </a:lnTo>
                  <a:lnTo>
                    <a:pt x="217566"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445" name="Freeform: Shape 444">
              <a:extLst>
                <a:ext uri="{FF2B5EF4-FFF2-40B4-BE49-F238E27FC236}">
                  <a16:creationId xmlns:a16="http://schemas.microsoft.com/office/drawing/2014/main" id="{A4AF5279-29D9-D82C-B448-64233B40D0D7}"/>
                </a:ext>
              </a:extLst>
            </p:cNvPr>
            <p:cNvSpPr/>
            <p:nvPr/>
          </p:nvSpPr>
          <p:spPr>
            <a:xfrm>
              <a:off x="4316416" y="13280949"/>
              <a:ext cx="435077" cy="435050"/>
            </a:xfrm>
            <a:custGeom>
              <a:avLst/>
              <a:gdLst>
                <a:gd name="connsiteX0" fmla="*/ 435077 w 435077"/>
                <a:gd name="connsiteY0" fmla="*/ 435050 h 435050"/>
                <a:gd name="connsiteX1" fmla="*/ 435077 w 435077"/>
                <a:gd name="connsiteY1" fmla="*/ 0 h 435050"/>
                <a:gd name="connsiteX2" fmla="*/ 217565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39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65" y="217539"/>
                  </a:lnTo>
                  <a:lnTo>
                    <a:pt x="435077" y="435050"/>
                  </a:lnTo>
                  <a:close/>
                  <a:moveTo>
                    <a:pt x="0" y="435050"/>
                  </a:moveTo>
                  <a:lnTo>
                    <a:pt x="0" y="0"/>
                  </a:lnTo>
                  <a:lnTo>
                    <a:pt x="217539" y="217539"/>
                  </a:lnTo>
                  <a:lnTo>
                    <a:pt x="0" y="435050"/>
                  </a:lnTo>
                  <a:close/>
                </a:path>
              </a:pathLst>
            </a:custGeom>
            <a:grpFill/>
            <a:ln w="27192" cap="flat">
              <a:noFill/>
              <a:prstDash val="solid"/>
              <a:miter/>
            </a:ln>
          </p:spPr>
          <p:txBody>
            <a:bodyPr rtlCol="0" anchor="ctr"/>
            <a:lstStyle/>
            <a:p>
              <a:endParaRPr lang="uk-UA" sz="900">
                <a:solidFill>
                  <a:schemeClr val="bg1"/>
                </a:solidFill>
              </a:endParaRPr>
            </a:p>
          </p:txBody>
        </p:sp>
        <p:sp>
          <p:nvSpPr>
            <p:cNvPr id="446" name="Freeform: Shape 445">
              <a:extLst>
                <a:ext uri="{FF2B5EF4-FFF2-40B4-BE49-F238E27FC236}">
                  <a16:creationId xmlns:a16="http://schemas.microsoft.com/office/drawing/2014/main" id="{A982DD53-D4BF-F95C-6C6F-ABE59A96D510}"/>
                </a:ext>
              </a:extLst>
            </p:cNvPr>
            <p:cNvSpPr/>
            <p:nvPr/>
          </p:nvSpPr>
          <p:spPr>
            <a:xfrm>
              <a:off x="3446261" y="1328092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447" name="Freeform: Shape 446">
              <a:extLst>
                <a:ext uri="{FF2B5EF4-FFF2-40B4-BE49-F238E27FC236}">
                  <a16:creationId xmlns:a16="http://schemas.microsoft.com/office/drawing/2014/main" id="{599AC7E1-D446-C934-DFFD-DFC63E6ED755}"/>
                </a:ext>
              </a:extLst>
            </p:cNvPr>
            <p:cNvSpPr/>
            <p:nvPr/>
          </p:nvSpPr>
          <p:spPr>
            <a:xfrm>
              <a:off x="5186571" y="13280922"/>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39 w 435077"/>
                <a:gd name="connsiteY6" fmla="*/ 153827 h 435077"/>
                <a:gd name="connsiteX7" fmla="*/ 63739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77 h 435077"/>
                <a:gd name="connsiteX12" fmla="*/ 217539 w 435077"/>
                <a:gd name="connsiteY12" fmla="*/ 217539 h 435077"/>
                <a:gd name="connsiteX13" fmla="*/ 63739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3" y="113039"/>
                    <a:pt x="0" y="57702"/>
                    <a:pt x="0" y="0"/>
                  </a:cubicBezTo>
                  <a:lnTo>
                    <a:pt x="217539" y="0"/>
                  </a:lnTo>
                  <a:lnTo>
                    <a:pt x="435077" y="0"/>
                  </a:lnTo>
                  <a:cubicBezTo>
                    <a:pt x="435077" y="57702"/>
                    <a:pt x="412181" y="113039"/>
                    <a:pt x="371365" y="153827"/>
                  </a:cubicBezTo>
                  <a:cubicBezTo>
                    <a:pt x="330577" y="194642"/>
                    <a:pt x="275240" y="217539"/>
                    <a:pt x="217539" y="217539"/>
                  </a:cubicBezTo>
                  <a:cubicBezTo>
                    <a:pt x="159864" y="217539"/>
                    <a:pt x="104527" y="194642"/>
                    <a:pt x="63739" y="153827"/>
                  </a:cubicBezTo>
                  <a:close/>
                  <a:moveTo>
                    <a:pt x="63739" y="281277"/>
                  </a:moveTo>
                  <a:cubicBezTo>
                    <a:pt x="22923" y="322066"/>
                    <a:pt x="0" y="377402"/>
                    <a:pt x="0" y="435077"/>
                  </a:cubicBezTo>
                  <a:lnTo>
                    <a:pt x="217539" y="435077"/>
                  </a:lnTo>
                  <a:lnTo>
                    <a:pt x="435077" y="435077"/>
                  </a:lnTo>
                  <a:cubicBezTo>
                    <a:pt x="435077" y="377402"/>
                    <a:pt x="412181" y="322066"/>
                    <a:pt x="371365" y="281277"/>
                  </a:cubicBezTo>
                  <a:cubicBezTo>
                    <a:pt x="330577" y="240462"/>
                    <a:pt x="275240" y="217539"/>
                    <a:pt x="217539" y="217539"/>
                  </a:cubicBezTo>
                  <a:cubicBezTo>
                    <a:pt x="159864" y="217539"/>
                    <a:pt x="104527" y="240462"/>
                    <a:pt x="63739" y="281277"/>
                  </a:cubicBezTo>
                  <a:close/>
                </a:path>
              </a:pathLst>
            </a:custGeom>
            <a:grpFill/>
            <a:ln w="27192" cap="flat">
              <a:noFill/>
              <a:prstDash val="solid"/>
              <a:miter/>
            </a:ln>
          </p:spPr>
          <p:txBody>
            <a:bodyPr rtlCol="0" anchor="ctr"/>
            <a:lstStyle/>
            <a:p>
              <a:endParaRPr lang="uk-UA" sz="900">
                <a:solidFill>
                  <a:schemeClr val="bg1"/>
                </a:solidFill>
              </a:endParaRPr>
            </a:p>
          </p:txBody>
        </p:sp>
        <p:sp>
          <p:nvSpPr>
            <p:cNvPr id="448" name="Freeform: Shape 447">
              <a:extLst>
                <a:ext uri="{FF2B5EF4-FFF2-40B4-BE49-F238E27FC236}">
                  <a16:creationId xmlns:a16="http://schemas.microsoft.com/office/drawing/2014/main" id="{04493991-34F6-A542-1B52-7BCE89ED31EE}"/>
                </a:ext>
              </a:extLst>
            </p:cNvPr>
            <p:cNvSpPr/>
            <p:nvPr/>
          </p:nvSpPr>
          <p:spPr>
            <a:xfrm>
              <a:off x="6056725" y="1328092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5 w 435077"/>
                <a:gd name="connsiteY3" fmla="*/ 27 h 435077"/>
                <a:gd name="connsiteX4" fmla="*/ 435077 w 435077"/>
                <a:gd name="connsiteY4" fmla="*/ 217566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5" y="27"/>
                  </a:lnTo>
                  <a:lnTo>
                    <a:pt x="435077" y="217566"/>
                  </a:lnTo>
                  <a:lnTo>
                    <a:pt x="217565"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449" name="Freeform: Shape 448">
              <a:extLst>
                <a:ext uri="{FF2B5EF4-FFF2-40B4-BE49-F238E27FC236}">
                  <a16:creationId xmlns:a16="http://schemas.microsoft.com/office/drawing/2014/main" id="{10368CBB-21F8-7AC3-33A6-091B6C878E97}"/>
                </a:ext>
              </a:extLst>
            </p:cNvPr>
            <p:cNvSpPr/>
            <p:nvPr/>
          </p:nvSpPr>
          <p:spPr>
            <a:xfrm>
              <a:off x="7797062" y="13280949"/>
              <a:ext cx="435077" cy="435050"/>
            </a:xfrm>
            <a:custGeom>
              <a:avLst/>
              <a:gdLst>
                <a:gd name="connsiteX0" fmla="*/ 435077 w 435077"/>
                <a:gd name="connsiteY0" fmla="*/ 435050 h 435050"/>
                <a:gd name="connsiteX1" fmla="*/ 435077 w 435077"/>
                <a:gd name="connsiteY1" fmla="*/ 0 h 435050"/>
                <a:gd name="connsiteX2" fmla="*/ 217566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39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66" y="217539"/>
                  </a:lnTo>
                  <a:lnTo>
                    <a:pt x="435077" y="435050"/>
                  </a:lnTo>
                  <a:close/>
                  <a:moveTo>
                    <a:pt x="0" y="435050"/>
                  </a:moveTo>
                  <a:lnTo>
                    <a:pt x="0" y="0"/>
                  </a:lnTo>
                  <a:lnTo>
                    <a:pt x="217539" y="217539"/>
                  </a:lnTo>
                  <a:lnTo>
                    <a:pt x="0" y="435050"/>
                  </a:lnTo>
                  <a:close/>
                </a:path>
              </a:pathLst>
            </a:custGeom>
            <a:grpFill/>
            <a:ln w="27192" cap="flat">
              <a:noFill/>
              <a:prstDash val="solid"/>
              <a:miter/>
            </a:ln>
          </p:spPr>
          <p:txBody>
            <a:bodyPr rtlCol="0" anchor="ctr"/>
            <a:lstStyle/>
            <a:p>
              <a:endParaRPr lang="uk-UA" sz="900">
                <a:solidFill>
                  <a:schemeClr val="bg1"/>
                </a:solidFill>
              </a:endParaRPr>
            </a:p>
          </p:txBody>
        </p:sp>
        <p:sp>
          <p:nvSpPr>
            <p:cNvPr id="450" name="Freeform: Shape 449">
              <a:extLst>
                <a:ext uri="{FF2B5EF4-FFF2-40B4-BE49-F238E27FC236}">
                  <a16:creationId xmlns:a16="http://schemas.microsoft.com/office/drawing/2014/main" id="{585EF69B-54D8-2230-73CB-94B668CFBC7D}"/>
                </a:ext>
              </a:extLst>
            </p:cNvPr>
            <p:cNvSpPr/>
            <p:nvPr/>
          </p:nvSpPr>
          <p:spPr>
            <a:xfrm>
              <a:off x="6926907" y="13280922"/>
              <a:ext cx="435077" cy="435077"/>
            </a:xfrm>
            <a:custGeom>
              <a:avLst/>
              <a:gdLst>
                <a:gd name="connsiteX0" fmla="*/ 0 w 435077"/>
                <a:gd name="connsiteY0" fmla="*/ 435077 h 435077"/>
                <a:gd name="connsiteX1" fmla="*/ 0 w 435077"/>
                <a:gd name="connsiteY1" fmla="*/ 0 h 435077"/>
                <a:gd name="connsiteX2" fmla="*/ 217512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12"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451" name="Freeform: Shape 450">
              <a:extLst>
                <a:ext uri="{FF2B5EF4-FFF2-40B4-BE49-F238E27FC236}">
                  <a16:creationId xmlns:a16="http://schemas.microsoft.com/office/drawing/2014/main" id="{36D5F8E8-5D7C-0E0C-A2F9-16280CD5F9C8}"/>
                </a:ext>
              </a:extLst>
            </p:cNvPr>
            <p:cNvSpPr/>
            <p:nvPr/>
          </p:nvSpPr>
          <p:spPr>
            <a:xfrm>
              <a:off x="8667217" y="1328092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6" y="153827"/>
                  </a:cubicBezTo>
                  <a:cubicBezTo>
                    <a:pt x="330550" y="194642"/>
                    <a:pt x="275241" y="217539"/>
                    <a:pt x="217539" y="217539"/>
                  </a:cubicBezTo>
                  <a:cubicBezTo>
                    <a:pt x="159837"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5" y="322066"/>
                    <a:pt x="371366" y="281277"/>
                  </a:cubicBezTo>
                  <a:cubicBezTo>
                    <a:pt x="330550" y="240462"/>
                    <a:pt x="275241" y="217539"/>
                    <a:pt x="217539" y="217539"/>
                  </a:cubicBezTo>
                  <a:cubicBezTo>
                    <a:pt x="159837" y="217539"/>
                    <a:pt x="104501" y="240462"/>
                    <a:pt x="63712" y="281277"/>
                  </a:cubicBezTo>
                  <a:close/>
                </a:path>
              </a:pathLst>
            </a:custGeom>
            <a:grpFill/>
            <a:ln w="27192" cap="flat">
              <a:noFill/>
              <a:prstDash val="solid"/>
              <a:miter/>
            </a:ln>
          </p:spPr>
          <p:txBody>
            <a:bodyPr rtlCol="0" anchor="ctr"/>
            <a:lstStyle/>
            <a:p>
              <a:endParaRPr lang="uk-UA" sz="900">
                <a:solidFill>
                  <a:schemeClr val="bg1"/>
                </a:solidFill>
              </a:endParaRPr>
            </a:p>
          </p:txBody>
        </p:sp>
        <p:sp>
          <p:nvSpPr>
            <p:cNvPr id="452" name="Freeform: Shape 451">
              <a:extLst>
                <a:ext uri="{FF2B5EF4-FFF2-40B4-BE49-F238E27FC236}">
                  <a16:creationId xmlns:a16="http://schemas.microsoft.com/office/drawing/2014/main" id="{982D9EC5-D586-F28B-98FF-A073596AE49D}"/>
                </a:ext>
              </a:extLst>
            </p:cNvPr>
            <p:cNvSpPr/>
            <p:nvPr/>
          </p:nvSpPr>
          <p:spPr>
            <a:xfrm>
              <a:off x="9537371" y="1328092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6 w 435077"/>
                <a:gd name="connsiteY3" fmla="*/ 27 h 435077"/>
                <a:gd name="connsiteX4" fmla="*/ 435077 w 435077"/>
                <a:gd name="connsiteY4" fmla="*/ 217566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6" y="27"/>
                  </a:lnTo>
                  <a:lnTo>
                    <a:pt x="435077" y="217566"/>
                  </a:lnTo>
                  <a:lnTo>
                    <a:pt x="217566"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453" name="Freeform: Shape 452">
              <a:extLst>
                <a:ext uri="{FF2B5EF4-FFF2-40B4-BE49-F238E27FC236}">
                  <a16:creationId xmlns:a16="http://schemas.microsoft.com/office/drawing/2014/main" id="{79B07F5C-A6E1-5A5A-2C41-AA45FB37D858}"/>
                </a:ext>
              </a:extLst>
            </p:cNvPr>
            <p:cNvSpPr/>
            <p:nvPr/>
          </p:nvSpPr>
          <p:spPr>
            <a:xfrm>
              <a:off x="11277709" y="13280949"/>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0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0" y="217539"/>
                  </a:lnTo>
                  <a:lnTo>
                    <a:pt x="0" y="435050"/>
                  </a:lnTo>
                  <a:close/>
                </a:path>
              </a:pathLst>
            </a:custGeom>
            <a:grpFill/>
            <a:ln w="27192" cap="flat">
              <a:noFill/>
              <a:prstDash val="solid"/>
              <a:miter/>
            </a:ln>
          </p:spPr>
          <p:txBody>
            <a:bodyPr rtlCol="0" anchor="ctr"/>
            <a:lstStyle/>
            <a:p>
              <a:endParaRPr lang="uk-UA" sz="900">
                <a:solidFill>
                  <a:schemeClr val="bg1"/>
                </a:solidFill>
              </a:endParaRPr>
            </a:p>
          </p:txBody>
        </p:sp>
        <p:sp>
          <p:nvSpPr>
            <p:cNvPr id="454" name="Freeform: Shape 453">
              <a:extLst>
                <a:ext uri="{FF2B5EF4-FFF2-40B4-BE49-F238E27FC236}">
                  <a16:creationId xmlns:a16="http://schemas.microsoft.com/office/drawing/2014/main" id="{969A3BD6-7293-225D-AA86-5A3714BD6DF7}"/>
                </a:ext>
              </a:extLst>
            </p:cNvPr>
            <p:cNvSpPr/>
            <p:nvPr/>
          </p:nvSpPr>
          <p:spPr>
            <a:xfrm>
              <a:off x="10407526" y="1328092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455" name="Freeform: Shape 454">
              <a:extLst>
                <a:ext uri="{FF2B5EF4-FFF2-40B4-BE49-F238E27FC236}">
                  <a16:creationId xmlns:a16="http://schemas.microsoft.com/office/drawing/2014/main" id="{E53AEC98-F83E-A4DC-5973-F52237FB9C0C}"/>
                </a:ext>
              </a:extLst>
            </p:cNvPr>
            <p:cNvSpPr/>
            <p:nvPr/>
          </p:nvSpPr>
          <p:spPr>
            <a:xfrm>
              <a:off x="12147864" y="13280922"/>
              <a:ext cx="435077" cy="435077"/>
            </a:xfrm>
            <a:custGeom>
              <a:avLst/>
              <a:gdLst>
                <a:gd name="connsiteX0" fmla="*/ 63710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0 w 435077"/>
                <a:gd name="connsiteY6" fmla="*/ 153827 h 435077"/>
                <a:gd name="connsiteX7" fmla="*/ 63710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77 h 435077"/>
                <a:gd name="connsiteX12" fmla="*/ 217539 w 435077"/>
                <a:gd name="connsiteY12" fmla="*/ 217539 h 435077"/>
                <a:gd name="connsiteX13" fmla="*/ 63710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7"/>
                  </a:moveTo>
                  <a:cubicBezTo>
                    <a:pt x="22922" y="113039"/>
                    <a:pt x="0" y="57702"/>
                    <a:pt x="0" y="0"/>
                  </a:cubicBezTo>
                  <a:lnTo>
                    <a:pt x="217539" y="0"/>
                  </a:lnTo>
                  <a:lnTo>
                    <a:pt x="435077" y="0"/>
                  </a:lnTo>
                  <a:cubicBezTo>
                    <a:pt x="435077" y="57702"/>
                    <a:pt x="412154" y="113039"/>
                    <a:pt x="371365" y="153827"/>
                  </a:cubicBezTo>
                  <a:cubicBezTo>
                    <a:pt x="330549" y="194642"/>
                    <a:pt x="275239" y="217539"/>
                    <a:pt x="217539" y="217539"/>
                  </a:cubicBezTo>
                  <a:cubicBezTo>
                    <a:pt x="159836" y="217539"/>
                    <a:pt x="104499" y="194642"/>
                    <a:pt x="63710" y="153827"/>
                  </a:cubicBezTo>
                  <a:close/>
                  <a:moveTo>
                    <a:pt x="63710" y="281277"/>
                  </a:moveTo>
                  <a:cubicBezTo>
                    <a:pt x="22922" y="322066"/>
                    <a:pt x="0" y="377402"/>
                    <a:pt x="0" y="435077"/>
                  </a:cubicBezTo>
                  <a:lnTo>
                    <a:pt x="217539" y="435077"/>
                  </a:lnTo>
                  <a:lnTo>
                    <a:pt x="435077" y="435077"/>
                  </a:lnTo>
                  <a:cubicBezTo>
                    <a:pt x="435077" y="377402"/>
                    <a:pt x="412154" y="322066"/>
                    <a:pt x="371365" y="281277"/>
                  </a:cubicBezTo>
                  <a:cubicBezTo>
                    <a:pt x="330549" y="240462"/>
                    <a:pt x="275239" y="217539"/>
                    <a:pt x="217539" y="217539"/>
                  </a:cubicBezTo>
                  <a:cubicBezTo>
                    <a:pt x="159836" y="217539"/>
                    <a:pt x="104499" y="240462"/>
                    <a:pt x="63710" y="281277"/>
                  </a:cubicBezTo>
                  <a:close/>
                </a:path>
              </a:pathLst>
            </a:custGeom>
            <a:grpFill/>
            <a:ln w="27192" cap="flat">
              <a:noFill/>
              <a:prstDash val="solid"/>
              <a:miter/>
            </a:ln>
          </p:spPr>
          <p:txBody>
            <a:bodyPr rtlCol="0" anchor="ctr"/>
            <a:lstStyle/>
            <a:p>
              <a:endParaRPr lang="uk-UA" sz="900">
                <a:solidFill>
                  <a:schemeClr val="bg1"/>
                </a:solidFill>
              </a:endParaRPr>
            </a:p>
          </p:txBody>
        </p:sp>
        <p:sp>
          <p:nvSpPr>
            <p:cNvPr id="456" name="Freeform: Shape 455">
              <a:extLst>
                <a:ext uri="{FF2B5EF4-FFF2-40B4-BE49-F238E27FC236}">
                  <a16:creationId xmlns:a16="http://schemas.microsoft.com/office/drawing/2014/main" id="{FCD75DA3-5BFD-0CC1-966E-73FABE34A4F0}"/>
                </a:ext>
              </a:extLst>
            </p:cNvPr>
            <p:cNvSpPr/>
            <p:nvPr/>
          </p:nvSpPr>
          <p:spPr>
            <a:xfrm>
              <a:off x="13018019" y="1328092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5 w 435077"/>
                <a:gd name="connsiteY3" fmla="*/ 27 h 435077"/>
                <a:gd name="connsiteX4" fmla="*/ 435077 w 435077"/>
                <a:gd name="connsiteY4" fmla="*/ 217566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5" y="27"/>
                  </a:lnTo>
                  <a:lnTo>
                    <a:pt x="435077" y="217566"/>
                  </a:lnTo>
                  <a:lnTo>
                    <a:pt x="217565"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457" name="Freeform: Shape 456">
              <a:extLst>
                <a:ext uri="{FF2B5EF4-FFF2-40B4-BE49-F238E27FC236}">
                  <a16:creationId xmlns:a16="http://schemas.microsoft.com/office/drawing/2014/main" id="{E7D8FB4B-CF49-1516-421F-7F21A494C1C4}"/>
                </a:ext>
              </a:extLst>
            </p:cNvPr>
            <p:cNvSpPr/>
            <p:nvPr/>
          </p:nvSpPr>
          <p:spPr>
            <a:xfrm>
              <a:off x="14758382" y="13280949"/>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2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2" y="217539"/>
                  </a:lnTo>
                  <a:lnTo>
                    <a:pt x="0" y="435050"/>
                  </a:lnTo>
                  <a:close/>
                </a:path>
              </a:pathLst>
            </a:custGeom>
            <a:grpFill/>
            <a:ln w="27192" cap="flat">
              <a:noFill/>
              <a:prstDash val="solid"/>
              <a:miter/>
            </a:ln>
          </p:spPr>
          <p:txBody>
            <a:bodyPr rtlCol="0" anchor="ctr"/>
            <a:lstStyle/>
            <a:p>
              <a:endParaRPr lang="uk-UA" sz="900">
                <a:solidFill>
                  <a:schemeClr val="bg1"/>
                </a:solidFill>
              </a:endParaRPr>
            </a:p>
          </p:txBody>
        </p:sp>
        <p:sp>
          <p:nvSpPr>
            <p:cNvPr id="458" name="Freeform: Shape 457">
              <a:extLst>
                <a:ext uri="{FF2B5EF4-FFF2-40B4-BE49-F238E27FC236}">
                  <a16:creationId xmlns:a16="http://schemas.microsoft.com/office/drawing/2014/main" id="{0FC89920-7DF7-F13E-3F3F-1FDCE015F18E}"/>
                </a:ext>
              </a:extLst>
            </p:cNvPr>
            <p:cNvSpPr/>
            <p:nvPr/>
          </p:nvSpPr>
          <p:spPr>
            <a:xfrm>
              <a:off x="13888200" y="1328092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459" name="Freeform: Shape 458">
              <a:extLst>
                <a:ext uri="{FF2B5EF4-FFF2-40B4-BE49-F238E27FC236}">
                  <a16:creationId xmlns:a16="http://schemas.microsoft.com/office/drawing/2014/main" id="{E83CBF41-3C6F-15DB-C4BF-B004E4390720}"/>
                </a:ext>
              </a:extLst>
            </p:cNvPr>
            <p:cNvSpPr/>
            <p:nvPr/>
          </p:nvSpPr>
          <p:spPr>
            <a:xfrm>
              <a:off x="15628536" y="1328092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7" y="153827"/>
                  </a:cubicBezTo>
                  <a:cubicBezTo>
                    <a:pt x="330550" y="194642"/>
                    <a:pt x="275241" y="217539"/>
                    <a:pt x="217539" y="217539"/>
                  </a:cubicBezTo>
                  <a:cubicBezTo>
                    <a:pt x="159836"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5" y="322066"/>
                    <a:pt x="371367" y="281277"/>
                  </a:cubicBezTo>
                  <a:cubicBezTo>
                    <a:pt x="330550" y="240462"/>
                    <a:pt x="275241" y="217539"/>
                    <a:pt x="217539" y="217539"/>
                  </a:cubicBezTo>
                  <a:cubicBezTo>
                    <a:pt x="159836" y="217539"/>
                    <a:pt x="104501" y="240462"/>
                    <a:pt x="63712" y="281277"/>
                  </a:cubicBezTo>
                  <a:close/>
                </a:path>
              </a:pathLst>
            </a:custGeom>
            <a:grpFill/>
            <a:ln w="27192" cap="flat">
              <a:noFill/>
              <a:prstDash val="solid"/>
              <a:miter/>
            </a:ln>
          </p:spPr>
          <p:txBody>
            <a:bodyPr rtlCol="0" anchor="ctr"/>
            <a:lstStyle/>
            <a:p>
              <a:endParaRPr lang="uk-UA" sz="900">
                <a:solidFill>
                  <a:schemeClr val="bg1"/>
                </a:solidFill>
              </a:endParaRPr>
            </a:p>
          </p:txBody>
        </p:sp>
        <p:sp>
          <p:nvSpPr>
            <p:cNvPr id="460" name="Freeform: Shape 459">
              <a:extLst>
                <a:ext uri="{FF2B5EF4-FFF2-40B4-BE49-F238E27FC236}">
                  <a16:creationId xmlns:a16="http://schemas.microsoft.com/office/drawing/2014/main" id="{E82B834F-8609-A05F-FE58-EDEEDE5A8D0B}"/>
                </a:ext>
              </a:extLst>
            </p:cNvPr>
            <p:cNvSpPr/>
            <p:nvPr/>
          </p:nvSpPr>
          <p:spPr>
            <a:xfrm>
              <a:off x="16498691" y="1328092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7 w 435077"/>
                <a:gd name="connsiteY3" fmla="*/ 27 h 435077"/>
                <a:gd name="connsiteX4" fmla="*/ 435077 w 435077"/>
                <a:gd name="connsiteY4" fmla="*/ 217566 h 435077"/>
                <a:gd name="connsiteX5" fmla="*/ 217567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7" y="27"/>
                  </a:lnTo>
                  <a:lnTo>
                    <a:pt x="435077" y="217566"/>
                  </a:lnTo>
                  <a:lnTo>
                    <a:pt x="217567"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461" name="Freeform: Shape 460">
              <a:extLst>
                <a:ext uri="{FF2B5EF4-FFF2-40B4-BE49-F238E27FC236}">
                  <a16:creationId xmlns:a16="http://schemas.microsoft.com/office/drawing/2014/main" id="{28159F47-9DB4-E0F7-85F7-A987A9C08FC0}"/>
                </a:ext>
              </a:extLst>
            </p:cNvPr>
            <p:cNvSpPr/>
            <p:nvPr/>
          </p:nvSpPr>
          <p:spPr>
            <a:xfrm>
              <a:off x="18239029" y="13280949"/>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0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0" y="217539"/>
                  </a:lnTo>
                  <a:lnTo>
                    <a:pt x="0" y="435050"/>
                  </a:lnTo>
                  <a:close/>
                </a:path>
              </a:pathLst>
            </a:custGeom>
            <a:grpFill/>
            <a:ln w="27192" cap="flat">
              <a:noFill/>
              <a:prstDash val="solid"/>
              <a:miter/>
            </a:ln>
          </p:spPr>
          <p:txBody>
            <a:bodyPr rtlCol="0" anchor="ctr"/>
            <a:lstStyle/>
            <a:p>
              <a:endParaRPr lang="uk-UA" sz="900">
                <a:solidFill>
                  <a:schemeClr val="bg1"/>
                </a:solidFill>
              </a:endParaRPr>
            </a:p>
          </p:txBody>
        </p:sp>
        <p:sp>
          <p:nvSpPr>
            <p:cNvPr id="462" name="Freeform: Shape 461">
              <a:extLst>
                <a:ext uri="{FF2B5EF4-FFF2-40B4-BE49-F238E27FC236}">
                  <a16:creationId xmlns:a16="http://schemas.microsoft.com/office/drawing/2014/main" id="{E46497BA-14E8-770B-23D1-F8A9807064E1}"/>
                </a:ext>
              </a:extLst>
            </p:cNvPr>
            <p:cNvSpPr/>
            <p:nvPr/>
          </p:nvSpPr>
          <p:spPr>
            <a:xfrm>
              <a:off x="17368846" y="1328092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67 w 435077"/>
                <a:gd name="connsiteY4" fmla="*/ 435077 h 435077"/>
                <a:gd name="connsiteX5" fmla="*/ 217567 w 435077"/>
                <a:gd name="connsiteY5" fmla="*/ 0 h 435077"/>
                <a:gd name="connsiteX6" fmla="*/ 435077 w 435077"/>
                <a:gd name="connsiteY6" fmla="*/ 217566 h 435077"/>
                <a:gd name="connsiteX7" fmla="*/ 217567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67" y="435077"/>
                  </a:moveTo>
                  <a:lnTo>
                    <a:pt x="217567" y="0"/>
                  </a:lnTo>
                  <a:lnTo>
                    <a:pt x="435077" y="217566"/>
                  </a:lnTo>
                  <a:lnTo>
                    <a:pt x="217567"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463" name="Freeform: Shape 462">
              <a:extLst>
                <a:ext uri="{FF2B5EF4-FFF2-40B4-BE49-F238E27FC236}">
                  <a16:creationId xmlns:a16="http://schemas.microsoft.com/office/drawing/2014/main" id="{49DA0588-06A1-E4AD-4113-DFDB5AAAD105}"/>
                </a:ext>
              </a:extLst>
            </p:cNvPr>
            <p:cNvSpPr/>
            <p:nvPr/>
          </p:nvSpPr>
          <p:spPr>
            <a:xfrm>
              <a:off x="19109184" y="13280922"/>
              <a:ext cx="435077" cy="435077"/>
            </a:xfrm>
            <a:custGeom>
              <a:avLst/>
              <a:gdLst>
                <a:gd name="connsiteX0" fmla="*/ 63710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0 w 435077"/>
                <a:gd name="connsiteY6" fmla="*/ 153827 h 435077"/>
                <a:gd name="connsiteX7" fmla="*/ 63710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77 h 435077"/>
                <a:gd name="connsiteX12" fmla="*/ 217539 w 435077"/>
                <a:gd name="connsiteY12" fmla="*/ 217539 h 435077"/>
                <a:gd name="connsiteX13" fmla="*/ 63710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7"/>
                  </a:moveTo>
                  <a:cubicBezTo>
                    <a:pt x="22922" y="113039"/>
                    <a:pt x="0" y="57702"/>
                    <a:pt x="0" y="0"/>
                  </a:cubicBezTo>
                  <a:lnTo>
                    <a:pt x="217539" y="0"/>
                  </a:lnTo>
                  <a:lnTo>
                    <a:pt x="435077" y="0"/>
                  </a:lnTo>
                  <a:cubicBezTo>
                    <a:pt x="435077" y="57702"/>
                    <a:pt x="412154" y="113039"/>
                    <a:pt x="371365" y="153827"/>
                  </a:cubicBezTo>
                  <a:cubicBezTo>
                    <a:pt x="330577" y="194642"/>
                    <a:pt x="275241" y="217539"/>
                    <a:pt x="217539" y="217539"/>
                  </a:cubicBezTo>
                  <a:cubicBezTo>
                    <a:pt x="159836" y="217539"/>
                    <a:pt x="104527" y="194642"/>
                    <a:pt x="63710" y="153827"/>
                  </a:cubicBezTo>
                  <a:close/>
                  <a:moveTo>
                    <a:pt x="63710" y="281277"/>
                  </a:moveTo>
                  <a:cubicBezTo>
                    <a:pt x="22922" y="322066"/>
                    <a:pt x="0" y="377402"/>
                    <a:pt x="0" y="435077"/>
                  </a:cubicBezTo>
                  <a:lnTo>
                    <a:pt x="217539" y="435077"/>
                  </a:lnTo>
                  <a:lnTo>
                    <a:pt x="435077" y="435077"/>
                  </a:lnTo>
                  <a:cubicBezTo>
                    <a:pt x="435077" y="377402"/>
                    <a:pt x="412154" y="322066"/>
                    <a:pt x="371365" y="281277"/>
                  </a:cubicBezTo>
                  <a:cubicBezTo>
                    <a:pt x="330577" y="240462"/>
                    <a:pt x="275241" y="217539"/>
                    <a:pt x="217539" y="217539"/>
                  </a:cubicBezTo>
                  <a:cubicBezTo>
                    <a:pt x="159836" y="217539"/>
                    <a:pt x="104527" y="240462"/>
                    <a:pt x="63710" y="281277"/>
                  </a:cubicBezTo>
                  <a:close/>
                </a:path>
              </a:pathLst>
            </a:custGeom>
            <a:grpFill/>
            <a:ln w="27192" cap="flat">
              <a:noFill/>
              <a:prstDash val="solid"/>
              <a:miter/>
            </a:ln>
          </p:spPr>
          <p:txBody>
            <a:bodyPr rtlCol="0" anchor="ctr"/>
            <a:lstStyle/>
            <a:p>
              <a:endParaRPr lang="uk-UA" sz="900">
                <a:solidFill>
                  <a:schemeClr val="bg1"/>
                </a:solidFill>
              </a:endParaRPr>
            </a:p>
          </p:txBody>
        </p:sp>
        <p:sp>
          <p:nvSpPr>
            <p:cNvPr id="464" name="Freeform: Shape 463">
              <a:extLst>
                <a:ext uri="{FF2B5EF4-FFF2-40B4-BE49-F238E27FC236}">
                  <a16:creationId xmlns:a16="http://schemas.microsoft.com/office/drawing/2014/main" id="{4D454931-49A8-6C06-966E-B97812B9D910}"/>
                </a:ext>
              </a:extLst>
            </p:cNvPr>
            <p:cNvSpPr/>
            <p:nvPr/>
          </p:nvSpPr>
          <p:spPr>
            <a:xfrm>
              <a:off x="19979339" y="1328092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5 w 435077"/>
                <a:gd name="connsiteY3" fmla="*/ 27 h 435077"/>
                <a:gd name="connsiteX4" fmla="*/ 435077 w 435077"/>
                <a:gd name="connsiteY4" fmla="*/ 217566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5" y="27"/>
                  </a:lnTo>
                  <a:lnTo>
                    <a:pt x="435077" y="217566"/>
                  </a:lnTo>
                  <a:lnTo>
                    <a:pt x="217565"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465" name="Freeform: Shape 464">
              <a:extLst>
                <a:ext uri="{FF2B5EF4-FFF2-40B4-BE49-F238E27FC236}">
                  <a16:creationId xmlns:a16="http://schemas.microsoft.com/office/drawing/2014/main" id="{0B65D191-A80C-D4BA-B88D-D4C425D09241}"/>
                </a:ext>
              </a:extLst>
            </p:cNvPr>
            <p:cNvSpPr/>
            <p:nvPr/>
          </p:nvSpPr>
          <p:spPr>
            <a:xfrm>
              <a:off x="21719675" y="13280922"/>
              <a:ext cx="435077" cy="435077"/>
            </a:xfrm>
            <a:custGeom>
              <a:avLst/>
              <a:gdLst>
                <a:gd name="connsiteX0" fmla="*/ 435077 w 435077"/>
                <a:gd name="connsiteY0" fmla="*/ 435077 h 435077"/>
                <a:gd name="connsiteX1" fmla="*/ 435077 w 435077"/>
                <a:gd name="connsiteY1" fmla="*/ 0 h 435077"/>
                <a:gd name="connsiteX2" fmla="*/ 217565 w 435077"/>
                <a:gd name="connsiteY2" fmla="*/ 217566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66"/>
                  </a:lnTo>
                  <a:lnTo>
                    <a:pt x="435077" y="435077"/>
                  </a:lnTo>
                  <a:close/>
                  <a:moveTo>
                    <a:pt x="0" y="435077"/>
                  </a:moveTo>
                  <a:lnTo>
                    <a:pt x="0" y="0"/>
                  </a:lnTo>
                  <a:lnTo>
                    <a:pt x="217539"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466" name="Freeform: Shape 465">
              <a:extLst>
                <a:ext uri="{FF2B5EF4-FFF2-40B4-BE49-F238E27FC236}">
                  <a16:creationId xmlns:a16="http://schemas.microsoft.com/office/drawing/2014/main" id="{266B28EB-3383-D698-2E30-A63AEA0D1AA6}"/>
                </a:ext>
              </a:extLst>
            </p:cNvPr>
            <p:cNvSpPr/>
            <p:nvPr/>
          </p:nvSpPr>
          <p:spPr>
            <a:xfrm>
              <a:off x="20849520" y="1328092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467" name="Freeform: Shape 466">
              <a:extLst>
                <a:ext uri="{FF2B5EF4-FFF2-40B4-BE49-F238E27FC236}">
                  <a16:creationId xmlns:a16="http://schemas.microsoft.com/office/drawing/2014/main" id="{52F2197F-DE35-7237-7658-F04C8DB7D13B}"/>
                </a:ext>
              </a:extLst>
            </p:cNvPr>
            <p:cNvSpPr/>
            <p:nvPr/>
          </p:nvSpPr>
          <p:spPr>
            <a:xfrm>
              <a:off x="22589856" y="1328092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7" y="153827"/>
                  </a:cubicBezTo>
                  <a:cubicBezTo>
                    <a:pt x="330550" y="194642"/>
                    <a:pt x="275215" y="217539"/>
                    <a:pt x="217539" y="217539"/>
                  </a:cubicBezTo>
                  <a:cubicBezTo>
                    <a:pt x="159838"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5" y="322066"/>
                    <a:pt x="371367" y="281277"/>
                  </a:cubicBezTo>
                  <a:cubicBezTo>
                    <a:pt x="330550" y="240462"/>
                    <a:pt x="275215" y="217539"/>
                    <a:pt x="217539" y="217539"/>
                  </a:cubicBezTo>
                  <a:cubicBezTo>
                    <a:pt x="159838" y="217539"/>
                    <a:pt x="104501" y="240462"/>
                    <a:pt x="63712" y="281277"/>
                  </a:cubicBezTo>
                  <a:close/>
                </a:path>
              </a:pathLst>
            </a:custGeom>
            <a:grpFill/>
            <a:ln w="27192" cap="flat">
              <a:noFill/>
              <a:prstDash val="solid"/>
              <a:miter/>
            </a:ln>
          </p:spPr>
          <p:txBody>
            <a:bodyPr rtlCol="0" anchor="ctr"/>
            <a:lstStyle/>
            <a:p>
              <a:endParaRPr lang="uk-UA" sz="900">
                <a:solidFill>
                  <a:schemeClr val="bg1"/>
                </a:solidFill>
              </a:endParaRPr>
            </a:p>
          </p:txBody>
        </p:sp>
        <p:sp>
          <p:nvSpPr>
            <p:cNvPr id="468" name="Freeform: Shape 467">
              <a:extLst>
                <a:ext uri="{FF2B5EF4-FFF2-40B4-BE49-F238E27FC236}">
                  <a16:creationId xmlns:a16="http://schemas.microsoft.com/office/drawing/2014/main" id="{69CF7E9A-1602-D05C-FEE5-DEDAF0AA1471}"/>
                </a:ext>
              </a:extLst>
            </p:cNvPr>
            <p:cNvSpPr/>
            <p:nvPr/>
          </p:nvSpPr>
          <p:spPr>
            <a:xfrm>
              <a:off x="23460011" y="1328092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7 w 435077"/>
                <a:gd name="connsiteY3" fmla="*/ 27 h 435077"/>
                <a:gd name="connsiteX4" fmla="*/ 435077 w 435077"/>
                <a:gd name="connsiteY4" fmla="*/ 217566 h 435077"/>
                <a:gd name="connsiteX5" fmla="*/ 217567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12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7" y="27"/>
                  </a:lnTo>
                  <a:lnTo>
                    <a:pt x="435077" y="217566"/>
                  </a:lnTo>
                  <a:lnTo>
                    <a:pt x="217567" y="435077"/>
                  </a:lnTo>
                  <a:lnTo>
                    <a:pt x="435077" y="435077"/>
                  </a:lnTo>
                  <a:close/>
                  <a:moveTo>
                    <a:pt x="0" y="217539"/>
                  </a:moveTo>
                  <a:lnTo>
                    <a:pt x="0" y="0"/>
                  </a:lnTo>
                  <a:lnTo>
                    <a:pt x="217512" y="217539"/>
                  </a:lnTo>
                  <a:lnTo>
                    <a:pt x="0" y="217539"/>
                  </a:lnTo>
                  <a:close/>
                  <a:moveTo>
                    <a:pt x="0" y="435077"/>
                  </a:moveTo>
                  <a:lnTo>
                    <a:pt x="0" y="217566"/>
                  </a:lnTo>
                  <a:lnTo>
                    <a:pt x="217512"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469" name="Freeform: Shape 468">
              <a:extLst>
                <a:ext uri="{FF2B5EF4-FFF2-40B4-BE49-F238E27FC236}">
                  <a16:creationId xmlns:a16="http://schemas.microsoft.com/office/drawing/2014/main" id="{10309F4A-D838-8D2F-6B6F-D3736DDEDC64}"/>
                </a:ext>
              </a:extLst>
            </p:cNvPr>
            <p:cNvSpPr/>
            <p:nvPr/>
          </p:nvSpPr>
          <p:spPr>
            <a:xfrm>
              <a:off x="24330194" y="1328092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grpSp>
      <p:sp>
        <p:nvSpPr>
          <p:cNvPr id="470" name="TextBox 469">
            <a:extLst>
              <a:ext uri="{FF2B5EF4-FFF2-40B4-BE49-F238E27FC236}">
                <a16:creationId xmlns:a16="http://schemas.microsoft.com/office/drawing/2014/main" id="{90707BD4-B7B6-12E3-96DC-5C5CEDD6A6FF}"/>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chemeClr val="bg1"/>
                </a:solidFill>
                <a:latin typeface="IBM Plex Sans" panose="020B0503050203000203" pitchFamily="34" charset="0"/>
                <a:ea typeface="+mj-ea"/>
                <a:cs typeface="+mj-cs"/>
                <a:sym typeface="IBM Plex Sans Light"/>
              </a:rPr>
              <a:t>#IBMTechXchange</a:t>
            </a:r>
          </a:p>
        </p:txBody>
      </p:sp>
    </p:spTree>
    <p:extLst>
      <p:ext uri="{BB962C8B-B14F-4D97-AF65-F5344CB8AC3E}">
        <p14:creationId xmlns:p14="http://schemas.microsoft.com/office/powerpoint/2010/main" val="598427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allout, stand-alo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3333316" y="864168"/>
            <a:ext cx="7330121" cy="4858544"/>
          </a:xfrm>
        </p:spPr>
        <p:txBody>
          <a:bodyPr/>
          <a:lstStyle>
            <a:lvl1pPr>
              <a:lnSpc>
                <a:spcPct val="100000"/>
              </a:lnSpc>
              <a:defRPr sz="4299">
                <a:solidFill>
                  <a:schemeClr val="tx2"/>
                </a:solidFill>
              </a:defRPr>
            </a:lvl1pPr>
          </a:lstStyle>
          <a:p>
            <a:r>
              <a:rPr lang="en-US"/>
              <a:t>Click to edit Master title style</a:t>
            </a: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1">
            <a:extLst>
              <a:ext uri="{FF2B5EF4-FFF2-40B4-BE49-F238E27FC236}">
                <a16:creationId xmlns:a16="http://schemas.microsoft.com/office/drawing/2014/main" id="{BAD5B3F4-41FA-5B40-DA62-5B54E0897A82}"/>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
        <p:nvSpPr>
          <p:cNvPr id="3" name="TextBox 2">
            <a:extLst>
              <a:ext uri="{FF2B5EF4-FFF2-40B4-BE49-F238E27FC236}">
                <a16:creationId xmlns:a16="http://schemas.microsoft.com/office/drawing/2014/main" id="{F2B7A9AA-2D8D-E207-A45B-91E62B290A48}"/>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rgbClr val="000000"/>
                </a:solidFill>
                <a:latin typeface="IBM Plex Sans" panose="020B0503050203000203" pitchFamily="34" charset="0"/>
                <a:ea typeface="+mj-ea"/>
                <a:cs typeface="+mj-cs"/>
                <a:sym typeface="IBM Plex Sans Light"/>
              </a:rPr>
              <a:t>#IBMTechXchange</a:t>
            </a:r>
          </a:p>
        </p:txBody>
      </p:sp>
    </p:spTree>
    <p:extLst>
      <p:ext uri="{BB962C8B-B14F-4D97-AF65-F5344CB8AC3E}">
        <p14:creationId xmlns:p14="http://schemas.microsoft.com/office/powerpoint/2010/main" val="3507207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ig text with pattern">
    <p:bg>
      <p:bgPr>
        <a:solidFill>
          <a:schemeClr val="accent1"/>
        </a:solidFill>
        <a:effectLst/>
      </p:bgPr>
    </p:bg>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BCFA4843-2EEB-F757-826B-7080CBD95F05}"/>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bg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Title 1">
            <a:extLst>
              <a:ext uri="{FF2B5EF4-FFF2-40B4-BE49-F238E27FC236}">
                <a16:creationId xmlns:a16="http://schemas.microsoft.com/office/drawing/2014/main" id="{10904466-2B5F-6EA8-820B-F755AB4A7FC5}"/>
              </a:ext>
            </a:extLst>
          </p:cNvPr>
          <p:cNvSpPr>
            <a:spLocks noGrp="1"/>
          </p:cNvSpPr>
          <p:nvPr>
            <p:ph type="title"/>
          </p:nvPr>
        </p:nvSpPr>
        <p:spPr>
          <a:xfrm>
            <a:off x="288888" y="169655"/>
            <a:ext cx="5545750" cy="5828714"/>
          </a:xfrm>
        </p:spPr>
        <p:txBody>
          <a:bodyPr/>
          <a:lstStyle>
            <a:lvl1pPr>
              <a:lnSpc>
                <a:spcPct val="100000"/>
              </a:lnSpc>
              <a:defRPr sz="3199">
                <a:solidFill>
                  <a:schemeClr val="bg1"/>
                </a:solidFill>
              </a:defRPr>
            </a:lvl1pPr>
          </a:lstStyle>
          <a:p>
            <a:r>
              <a:rPr lang="en-US"/>
              <a:t>Click to edit Master title style</a:t>
            </a:r>
          </a:p>
        </p:txBody>
      </p:sp>
      <p:sp>
        <p:nvSpPr>
          <p:cNvPr id="32" name="Footer Placeholder 1">
            <a:extLst>
              <a:ext uri="{FF2B5EF4-FFF2-40B4-BE49-F238E27FC236}">
                <a16:creationId xmlns:a16="http://schemas.microsoft.com/office/drawing/2014/main" id="{CFB8F54E-D02B-B808-A8D0-C3C3930BBE80}"/>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bg1"/>
                </a:solidFill>
                <a:latin typeface="IBM Plex Sans" panose="020B0503050203000203" pitchFamily="34" charset="0"/>
              </a:defRPr>
            </a:lvl1pPr>
          </a:lstStyle>
          <a:p>
            <a:r>
              <a:rPr lang="en-US"/>
              <a:t>IBM TechXchange | © 2024 IBM Corporation</a:t>
            </a:r>
          </a:p>
        </p:txBody>
      </p:sp>
      <p:grpSp>
        <p:nvGrpSpPr>
          <p:cNvPr id="5" name="Group 4">
            <a:extLst>
              <a:ext uri="{FF2B5EF4-FFF2-40B4-BE49-F238E27FC236}">
                <a16:creationId xmlns:a16="http://schemas.microsoft.com/office/drawing/2014/main" id="{33C9EAAB-1DED-44F7-0DF2-E9DB6ECC6CA7}"/>
              </a:ext>
            </a:extLst>
          </p:cNvPr>
          <p:cNvGrpSpPr>
            <a:grpSpLocks noChangeAspect="1"/>
          </p:cNvGrpSpPr>
          <p:nvPr userDrawn="1"/>
        </p:nvGrpSpPr>
        <p:grpSpPr>
          <a:xfrm>
            <a:off x="254136" y="251460"/>
            <a:ext cx="11683728" cy="6355080"/>
            <a:chOff x="-34412" y="228570"/>
            <a:chExt cx="24799683" cy="13487429"/>
          </a:xfrm>
          <a:solidFill>
            <a:srgbClr val="C6C6C6">
              <a:alpha val="15000"/>
            </a:srgbClr>
          </a:solidFill>
        </p:grpSpPr>
        <p:sp>
          <p:nvSpPr>
            <p:cNvPr id="30" name="Freeform: Shape 29">
              <a:extLst>
                <a:ext uri="{FF2B5EF4-FFF2-40B4-BE49-F238E27FC236}">
                  <a16:creationId xmlns:a16="http://schemas.microsoft.com/office/drawing/2014/main" id="{98C4EE13-B436-CD50-362E-7F86B87926BB}"/>
                </a:ext>
              </a:extLst>
            </p:cNvPr>
            <p:cNvSpPr/>
            <p:nvPr/>
          </p:nvSpPr>
          <p:spPr>
            <a:xfrm>
              <a:off x="835769" y="228598"/>
              <a:ext cx="435077" cy="435073"/>
            </a:xfrm>
            <a:custGeom>
              <a:avLst/>
              <a:gdLst>
                <a:gd name="connsiteX0" fmla="*/ 371366 w 435077"/>
                <a:gd name="connsiteY0" fmla="*/ 63716 h 435073"/>
                <a:gd name="connsiteX1" fmla="*/ 435077 w 435077"/>
                <a:gd name="connsiteY1" fmla="*/ 217539 h 435073"/>
                <a:gd name="connsiteX2" fmla="*/ 218925 w 435077"/>
                <a:gd name="connsiteY2" fmla="*/ 217539 h 435073"/>
                <a:gd name="connsiteX3" fmla="*/ 371366 w 435077"/>
                <a:gd name="connsiteY3" fmla="*/ 281249 h 435073"/>
                <a:gd name="connsiteX4" fmla="*/ 435077 w 435077"/>
                <a:gd name="connsiteY4" fmla="*/ 435073 h 435073"/>
                <a:gd name="connsiteX5" fmla="*/ 217539 w 435077"/>
                <a:gd name="connsiteY5" fmla="*/ 435073 h 435073"/>
                <a:gd name="connsiteX6" fmla="*/ 0 w 435077"/>
                <a:gd name="connsiteY6" fmla="*/ 435073 h 435073"/>
                <a:gd name="connsiteX7" fmla="*/ 63711 w 435077"/>
                <a:gd name="connsiteY7" fmla="*/ 281249 h 435073"/>
                <a:gd name="connsiteX8" fmla="*/ 216125 w 435077"/>
                <a:gd name="connsiteY8" fmla="*/ 217539 h 435073"/>
                <a:gd name="connsiteX9" fmla="*/ 0 w 435077"/>
                <a:gd name="connsiteY9" fmla="*/ 217539 h 435073"/>
                <a:gd name="connsiteX10" fmla="*/ 63711 w 435077"/>
                <a:gd name="connsiteY10" fmla="*/ 63716 h 435073"/>
                <a:gd name="connsiteX11" fmla="*/ 217539 w 435077"/>
                <a:gd name="connsiteY11" fmla="*/ 0 h 435073"/>
                <a:gd name="connsiteX12" fmla="*/ 371366 w 435077"/>
                <a:gd name="connsiteY12" fmla="*/ 63716 h 43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3">
                  <a:moveTo>
                    <a:pt x="371366" y="63716"/>
                  </a:moveTo>
                  <a:cubicBezTo>
                    <a:pt x="412154" y="104512"/>
                    <a:pt x="435077" y="159844"/>
                    <a:pt x="435077" y="217539"/>
                  </a:cubicBezTo>
                  <a:lnTo>
                    <a:pt x="218925" y="217539"/>
                  </a:lnTo>
                  <a:cubicBezTo>
                    <a:pt x="276138" y="217907"/>
                    <a:pt x="330903" y="240784"/>
                    <a:pt x="371366" y="281249"/>
                  </a:cubicBezTo>
                  <a:cubicBezTo>
                    <a:pt x="412154" y="322046"/>
                    <a:pt x="435077" y="377379"/>
                    <a:pt x="435077" y="435073"/>
                  </a:cubicBezTo>
                  <a:lnTo>
                    <a:pt x="217539" y="435073"/>
                  </a:lnTo>
                  <a:lnTo>
                    <a:pt x="0" y="435073"/>
                  </a:lnTo>
                  <a:cubicBezTo>
                    <a:pt x="0" y="377379"/>
                    <a:pt x="22923" y="322046"/>
                    <a:pt x="63711" y="281249"/>
                  </a:cubicBezTo>
                  <a:cubicBezTo>
                    <a:pt x="104174" y="240784"/>
                    <a:pt x="158939" y="217907"/>
                    <a:pt x="216125" y="217539"/>
                  </a:cubicBezTo>
                  <a:lnTo>
                    <a:pt x="0" y="217539"/>
                  </a:lnTo>
                  <a:cubicBezTo>
                    <a:pt x="0" y="159844"/>
                    <a:pt x="22923" y="104512"/>
                    <a:pt x="63711" y="63716"/>
                  </a:cubicBezTo>
                  <a:cubicBezTo>
                    <a:pt x="104500" y="22919"/>
                    <a:pt x="159836" y="0"/>
                    <a:pt x="217539" y="0"/>
                  </a:cubicBezTo>
                  <a:cubicBezTo>
                    <a:pt x="275213" y="0"/>
                    <a:pt x="330550" y="22919"/>
                    <a:pt x="371366" y="63716"/>
                  </a:cubicBezTo>
                  <a:close/>
                </a:path>
              </a:pathLst>
            </a:custGeom>
            <a:grpFill/>
            <a:ln w="27192" cap="flat">
              <a:noFill/>
              <a:prstDash val="solid"/>
              <a:miter/>
            </a:ln>
          </p:spPr>
          <p:txBody>
            <a:bodyPr rtlCol="0" anchor="ctr"/>
            <a:lstStyle/>
            <a:p>
              <a:endParaRPr lang="uk-UA" sz="900"/>
            </a:p>
          </p:txBody>
        </p:sp>
        <p:sp>
          <p:nvSpPr>
            <p:cNvPr id="31" name="Freeform: Shape 30">
              <a:extLst>
                <a:ext uri="{FF2B5EF4-FFF2-40B4-BE49-F238E27FC236}">
                  <a16:creationId xmlns:a16="http://schemas.microsoft.com/office/drawing/2014/main" id="{04A2C5F0-405F-36A7-19A0-44A0A152D5A4}"/>
                </a:ext>
              </a:extLst>
            </p:cNvPr>
            <p:cNvSpPr/>
            <p:nvPr/>
          </p:nvSpPr>
          <p:spPr>
            <a:xfrm>
              <a:off x="-34398" y="228598"/>
              <a:ext cx="435090" cy="435078"/>
            </a:xfrm>
            <a:custGeom>
              <a:avLst/>
              <a:gdLst>
                <a:gd name="connsiteX0" fmla="*/ 217525 w 435090"/>
                <a:gd name="connsiteY0" fmla="*/ 0 h 435078"/>
                <a:gd name="connsiteX1" fmla="*/ 0 w 435090"/>
                <a:gd name="connsiteY1" fmla="*/ 0 h 435078"/>
                <a:gd name="connsiteX2" fmla="*/ 0 w 435090"/>
                <a:gd name="connsiteY2" fmla="*/ 217539 h 435078"/>
                <a:gd name="connsiteX3" fmla="*/ 217525 w 435090"/>
                <a:gd name="connsiteY3" fmla="*/ 0 h 435078"/>
                <a:gd name="connsiteX4" fmla="*/ 435091 w 435090"/>
                <a:gd name="connsiteY4" fmla="*/ 0 h 435078"/>
                <a:gd name="connsiteX5" fmla="*/ 435091 w 435090"/>
                <a:gd name="connsiteY5" fmla="*/ 217539 h 435078"/>
                <a:gd name="connsiteX6" fmla="*/ 217552 w 435090"/>
                <a:gd name="connsiteY6" fmla="*/ 0 h 435078"/>
                <a:gd name="connsiteX7" fmla="*/ 435091 w 435090"/>
                <a:gd name="connsiteY7" fmla="*/ 0 h 435078"/>
                <a:gd name="connsiteX8" fmla="*/ 217552 w 435090"/>
                <a:gd name="connsiteY8" fmla="*/ 435079 h 435078"/>
                <a:gd name="connsiteX9" fmla="*/ 435091 w 435090"/>
                <a:gd name="connsiteY9" fmla="*/ 217539 h 435078"/>
                <a:gd name="connsiteX10" fmla="*/ 435091 w 435090"/>
                <a:gd name="connsiteY10" fmla="*/ 435079 h 435078"/>
                <a:gd name="connsiteX11" fmla="*/ 217552 w 435090"/>
                <a:gd name="connsiteY11" fmla="*/ 435079 h 435078"/>
                <a:gd name="connsiteX12" fmla="*/ 217552 w 435090"/>
                <a:gd name="connsiteY12" fmla="*/ 435079 h 435078"/>
                <a:gd name="connsiteX13" fmla="*/ 11 w 435090"/>
                <a:gd name="connsiteY13" fmla="*/ 217539 h 435078"/>
                <a:gd name="connsiteX14" fmla="*/ 11 w 435090"/>
                <a:gd name="connsiteY14" fmla="*/ 435079 h 435078"/>
                <a:gd name="connsiteX15" fmla="*/ 217552 w 435090"/>
                <a:gd name="connsiteY15" fmla="*/ 435079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90" h="435078">
                  <a:moveTo>
                    <a:pt x="217525" y="0"/>
                  </a:moveTo>
                  <a:lnTo>
                    <a:pt x="0" y="0"/>
                  </a:lnTo>
                  <a:lnTo>
                    <a:pt x="0" y="217539"/>
                  </a:lnTo>
                  <a:lnTo>
                    <a:pt x="217525" y="0"/>
                  </a:lnTo>
                  <a:close/>
                  <a:moveTo>
                    <a:pt x="435091" y="0"/>
                  </a:moveTo>
                  <a:lnTo>
                    <a:pt x="435091" y="217539"/>
                  </a:lnTo>
                  <a:lnTo>
                    <a:pt x="217552" y="0"/>
                  </a:lnTo>
                  <a:lnTo>
                    <a:pt x="435091" y="0"/>
                  </a:lnTo>
                  <a:close/>
                  <a:moveTo>
                    <a:pt x="217552" y="435079"/>
                  </a:moveTo>
                  <a:lnTo>
                    <a:pt x="435091" y="217539"/>
                  </a:lnTo>
                  <a:lnTo>
                    <a:pt x="435091" y="435079"/>
                  </a:lnTo>
                  <a:lnTo>
                    <a:pt x="217552" y="435079"/>
                  </a:lnTo>
                  <a:close/>
                  <a:moveTo>
                    <a:pt x="217552" y="435079"/>
                  </a:moveTo>
                  <a:lnTo>
                    <a:pt x="11" y="217539"/>
                  </a:lnTo>
                  <a:lnTo>
                    <a:pt x="11" y="435079"/>
                  </a:lnTo>
                  <a:lnTo>
                    <a:pt x="217552" y="435079"/>
                  </a:lnTo>
                  <a:close/>
                </a:path>
              </a:pathLst>
            </a:custGeom>
            <a:grpFill/>
            <a:ln w="27192" cap="flat">
              <a:noFill/>
              <a:prstDash val="solid"/>
              <a:miter/>
            </a:ln>
          </p:spPr>
          <p:txBody>
            <a:bodyPr rtlCol="0" anchor="ctr"/>
            <a:lstStyle/>
            <a:p>
              <a:endParaRPr lang="uk-UA" sz="900"/>
            </a:p>
          </p:txBody>
        </p:sp>
        <p:sp>
          <p:nvSpPr>
            <p:cNvPr id="33" name="Freeform: Shape 32">
              <a:extLst>
                <a:ext uri="{FF2B5EF4-FFF2-40B4-BE49-F238E27FC236}">
                  <a16:creationId xmlns:a16="http://schemas.microsoft.com/office/drawing/2014/main" id="{C088871D-D7D1-F52F-721A-76833E14B557}"/>
                </a:ext>
              </a:extLst>
            </p:cNvPr>
            <p:cNvSpPr/>
            <p:nvPr/>
          </p:nvSpPr>
          <p:spPr>
            <a:xfrm>
              <a:off x="1705924" y="228598"/>
              <a:ext cx="435077" cy="435075"/>
            </a:xfrm>
            <a:custGeom>
              <a:avLst/>
              <a:gdLst>
                <a:gd name="connsiteX0" fmla="*/ 217539 w 435077"/>
                <a:gd name="connsiteY0" fmla="*/ 217533 h 435075"/>
                <a:gd name="connsiteX1" fmla="*/ 217539 w 435077"/>
                <a:gd name="connsiteY1" fmla="*/ 0 h 435075"/>
                <a:gd name="connsiteX2" fmla="*/ 0 w 435077"/>
                <a:gd name="connsiteY2" fmla="*/ 0 h 435075"/>
                <a:gd name="connsiteX3" fmla="*/ 217539 w 435077"/>
                <a:gd name="connsiteY3" fmla="*/ 217538 h 435075"/>
                <a:gd name="connsiteX4" fmla="*/ 0 w 435077"/>
                <a:gd name="connsiteY4" fmla="*/ 435076 h 435075"/>
                <a:gd name="connsiteX5" fmla="*/ 217539 w 435077"/>
                <a:gd name="connsiteY5" fmla="*/ 435076 h 435075"/>
                <a:gd name="connsiteX6" fmla="*/ 217539 w 435077"/>
                <a:gd name="connsiteY6" fmla="*/ 435071 h 435075"/>
                <a:gd name="connsiteX7" fmla="*/ 435077 w 435077"/>
                <a:gd name="connsiteY7" fmla="*/ 217543 h 435075"/>
                <a:gd name="connsiteX8" fmla="*/ 435077 w 435077"/>
                <a:gd name="connsiteY8" fmla="*/ 217543 h 435075"/>
                <a:gd name="connsiteX9" fmla="*/ 435077 w 435077"/>
                <a:gd name="connsiteY9" fmla="*/ 217538 h 435075"/>
                <a:gd name="connsiteX10" fmla="*/ 435077 w 435077"/>
                <a:gd name="connsiteY10" fmla="*/ 217533 h 435075"/>
                <a:gd name="connsiteX11" fmla="*/ 435077 w 435077"/>
                <a:gd name="connsiteY11" fmla="*/ 217533 h 435075"/>
                <a:gd name="connsiteX12" fmla="*/ 217539 w 435077"/>
                <a:gd name="connsiteY12" fmla="*/ 5 h 435075"/>
                <a:gd name="connsiteX13" fmla="*/ 217539 w 435077"/>
                <a:gd name="connsiteY13" fmla="*/ 217533 h 435075"/>
                <a:gd name="connsiteX14" fmla="*/ 217539 w 435077"/>
                <a:gd name="connsiteY14" fmla="*/ 217533 h 43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5">
                  <a:moveTo>
                    <a:pt x="217539" y="217533"/>
                  </a:moveTo>
                  <a:lnTo>
                    <a:pt x="217539" y="0"/>
                  </a:lnTo>
                  <a:lnTo>
                    <a:pt x="0" y="0"/>
                  </a:lnTo>
                  <a:lnTo>
                    <a:pt x="217539" y="217538"/>
                  </a:lnTo>
                  <a:lnTo>
                    <a:pt x="0" y="435076"/>
                  </a:lnTo>
                  <a:lnTo>
                    <a:pt x="217539" y="435076"/>
                  </a:lnTo>
                  <a:lnTo>
                    <a:pt x="217539" y="435071"/>
                  </a:lnTo>
                  <a:lnTo>
                    <a:pt x="435077" y="217543"/>
                  </a:lnTo>
                  <a:lnTo>
                    <a:pt x="435077" y="217543"/>
                  </a:lnTo>
                  <a:lnTo>
                    <a:pt x="435077" y="217538"/>
                  </a:lnTo>
                  <a:lnTo>
                    <a:pt x="435077" y="217533"/>
                  </a:lnTo>
                  <a:lnTo>
                    <a:pt x="435077" y="217533"/>
                  </a:lnTo>
                  <a:lnTo>
                    <a:pt x="217539" y="5"/>
                  </a:lnTo>
                  <a:lnTo>
                    <a:pt x="217539" y="217533"/>
                  </a:lnTo>
                  <a:lnTo>
                    <a:pt x="217539" y="217533"/>
                  </a:lnTo>
                  <a:close/>
                </a:path>
              </a:pathLst>
            </a:custGeom>
            <a:grpFill/>
            <a:ln w="27192" cap="flat">
              <a:noFill/>
              <a:prstDash val="solid"/>
              <a:miter/>
            </a:ln>
          </p:spPr>
          <p:txBody>
            <a:bodyPr rtlCol="0" anchor="ctr"/>
            <a:lstStyle/>
            <a:p>
              <a:endParaRPr lang="uk-UA" sz="900"/>
            </a:p>
          </p:txBody>
        </p:sp>
        <p:sp>
          <p:nvSpPr>
            <p:cNvPr id="34" name="Freeform: Shape 33">
              <a:extLst>
                <a:ext uri="{FF2B5EF4-FFF2-40B4-BE49-F238E27FC236}">
                  <a16:creationId xmlns:a16="http://schemas.microsoft.com/office/drawing/2014/main" id="{F37B66B0-A21D-3971-136D-1BAD43292D2E}"/>
                </a:ext>
              </a:extLst>
            </p:cNvPr>
            <p:cNvSpPr/>
            <p:nvPr/>
          </p:nvSpPr>
          <p:spPr>
            <a:xfrm>
              <a:off x="2576106" y="228598"/>
              <a:ext cx="435077" cy="435078"/>
            </a:xfrm>
            <a:custGeom>
              <a:avLst/>
              <a:gdLst>
                <a:gd name="connsiteX0" fmla="*/ 0 w 435077"/>
                <a:gd name="connsiteY0" fmla="*/ 435079 h 435078"/>
                <a:gd name="connsiteX1" fmla="*/ 217512 w 435077"/>
                <a:gd name="connsiteY1" fmla="*/ 435079 h 435078"/>
                <a:gd name="connsiteX2" fmla="*/ 217512 w 435077"/>
                <a:gd name="connsiteY2" fmla="*/ 217546 h 435078"/>
                <a:gd name="connsiteX3" fmla="*/ 0 w 435077"/>
                <a:gd name="connsiteY3" fmla="*/ 435079 h 435078"/>
                <a:gd name="connsiteX4" fmla="*/ 217539 w 435077"/>
                <a:gd name="connsiteY4" fmla="*/ 0 h 435078"/>
                <a:gd name="connsiteX5" fmla="*/ 0 w 435077"/>
                <a:gd name="connsiteY5" fmla="*/ 0 h 435078"/>
                <a:gd name="connsiteX6" fmla="*/ 217539 w 435077"/>
                <a:gd name="connsiteY6" fmla="*/ 217532 h 435078"/>
                <a:gd name="connsiteX7" fmla="*/ 217539 w 435077"/>
                <a:gd name="connsiteY7" fmla="*/ 0 h 435078"/>
                <a:gd name="connsiteX8" fmla="*/ 435077 w 435077"/>
                <a:gd name="connsiteY8" fmla="*/ 435079 h 435078"/>
                <a:gd name="connsiteX9" fmla="*/ 217539 w 435077"/>
                <a:gd name="connsiteY9" fmla="*/ 435079 h 435078"/>
                <a:gd name="connsiteX10" fmla="*/ 435077 w 435077"/>
                <a:gd name="connsiteY10" fmla="*/ 217546 h 435078"/>
                <a:gd name="connsiteX11" fmla="*/ 435077 w 435077"/>
                <a:gd name="connsiteY11" fmla="*/ 435079 h 435078"/>
                <a:gd name="connsiteX12" fmla="*/ 435077 w 435077"/>
                <a:gd name="connsiteY12" fmla="*/ 0 h 435078"/>
                <a:gd name="connsiteX13" fmla="*/ 217539 w 435077"/>
                <a:gd name="connsiteY13" fmla="*/ 0 h 435078"/>
                <a:gd name="connsiteX14" fmla="*/ 435077 w 435077"/>
                <a:gd name="connsiteY14" fmla="*/ 217532 h 435078"/>
                <a:gd name="connsiteX15" fmla="*/ 435077 w 435077"/>
                <a:gd name="connsiteY15"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8">
                  <a:moveTo>
                    <a:pt x="0" y="435079"/>
                  </a:moveTo>
                  <a:lnTo>
                    <a:pt x="217512" y="435079"/>
                  </a:lnTo>
                  <a:lnTo>
                    <a:pt x="217512" y="217546"/>
                  </a:lnTo>
                  <a:lnTo>
                    <a:pt x="0" y="435079"/>
                  </a:lnTo>
                  <a:close/>
                  <a:moveTo>
                    <a:pt x="217539" y="0"/>
                  </a:moveTo>
                  <a:lnTo>
                    <a:pt x="0" y="0"/>
                  </a:lnTo>
                  <a:lnTo>
                    <a:pt x="217539" y="217532"/>
                  </a:lnTo>
                  <a:lnTo>
                    <a:pt x="217539" y="0"/>
                  </a:lnTo>
                  <a:close/>
                  <a:moveTo>
                    <a:pt x="435077" y="435079"/>
                  </a:moveTo>
                  <a:lnTo>
                    <a:pt x="217539" y="435079"/>
                  </a:lnTo>
                  <a:lnTo>
                    <a:pt x="435077" y="217546"/>
                  </a:lnTo>
                  <a:lnTo>
                    <a:pt x="435077" y="435079"/>
                  </a:lnTo>
                  <a:close/>
                  <a:moveTo>
                    <a:pt x="435077" y="0"/>
                  </a:moveTo>
                  <a:lnTo>
                    <a:pt x="217539" y="0"/>
                  </a:lnTo>
                  <a:lnTo>
                    <a:pt x="435077" y="217532"/>
                  </a:lnTo>
                  <a:lnTo>
                    <a:pt x="435077" y="0"/>
                  </a:lnTo>
                  <a:close/>
                </a:path>
              </a:pathLst>
            </a:custGeom>
            <a:grpFill/>
            <a:ln w="27192" cap="flat">
              <a:noFill/>
              <a:prstDash val="solid"/>
              <a:miter/>
            </a:ln>
          </p:spPr>
          <p:txBody>
            <a:bodyPr rtlCol="0" anchor="ctr"/>
            <a:lstStyle/>
            <a:p>
              <a:endParaRPr lang="uk-UA" sz="900"/>
            </a:p>
          </p:txBody>
        </p:sp>
        <p:sp>
          <p:nvSpPr>
            <p:cNvPr id="35" name="Freeform: Shape 34">
              <a:extLst>
                <a:ext uri="{FF2B5EF4-FFF2-40B4-BE49-F238E27FC236}">
                  <a16:creationId xmlns:a16="http://schemas.microsoft.com/office/drawing/2014/main" id="{CF027849-0B3C-F2FD-43C3-98EB8EE43A42}"/>
                </a:ext>
              </a:extLst>
            </p:cNvPr>
            <p:cNvSpPr/>
            <p:nvPr/>
          </p:nvSpPr>
          <p:spPr>
            <a:xfrm>
              <a:off x="4316416" y="228598"/>
              <a:ext cx="435103" cy="435073"/>
            </a:xfrm>
            <a:custGeom>
              <a:avLst/>
              <a:gdLst>
                <a:gd name="connsiteX0" fmla="*/ 371365 w 435103"/>
                <a:gd name="connsiteY0" fmla="*/ 63716 h 435073"/>
                <a:gd name="connsiteX1" fmla="*/ 435077 w 435103"/>
                <a:gd name="connsiteY1" fmla="*/ 217539 h 435073"/>
                <a:gd name="connsiteX2" fmla="*/ 218952 w 435103"/>
                <a:gd name="connsiteY2" fmla="*/ 217539 h 435073"/>
                <a:gd name="connsiteX3" fmla="*/ 371365 w 435103"/>
                <a:gd name="connsiteY3" fmla="*/ 281249 h 435073"/>
                <a:gd name="connsiteX4" fmla="*/ 435104 w 435103"/>
                <a:gd name="connsiteY4" fmla="*/ 435073 h 435073"/>
                <a:gd name="connsiteX5" fmla="*/ 217565 w 435103"/>
                <a:gd name="connsiteY5" fmla="*/ 435073 h 435073"/>
                <a:gd name="connsiteX6" fmla="*/ 27 w 435103"/>
                <a:gd name="connsiteY6" fmla="*/ 435073 h 435073"/>
                <a:gd name="connsiteX7" fmla="*/ 63739 w 435103"/>
                <a:gd name="connsiteY7" fmla="*/ 281249 h 435073"/>
                <a:gd name="connsiteX8" fmla="*/ 216151 w 435103"/>
                <a:gd name="connsiteY8" fmla="*/ 217539 h 435073"/>
                <a:gd name="connsiteX9" fmla="*/ 0 w 435103"/>
                <a:gd name="connsiteY9" fmla="*/ 217539 h 435073"/>
                <a:gd name="connsiteX10" fmla="*/ 63739 w 435103"/>
                <a:gd name="connsiteY10" fmla="*/ 63716 h 435073"/>
                <a:gd name="connsiteX11" fmla="*/ 217539 w 435103"/>
                <a:gd name="connsiteY11" fmla="*/ 0 h 435073"/>
                <a:gd name="connsiteX12" fmla="*/ 371365 w 435103"/>
                <a:gd name="connsiteY12" fmla="*/ 63716 h 43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3" h="435073">
                  <a:moveTo>
                    <a:pt x="371365" y="63716"/>
                  </a:moveTo>
                  <a:cubicBezTo>
                    <a:pt x="412181" y="104512"/>
                    <a:pt x="435077" y="159844"/>
                    <a:pt x="435077" y="217539"/>
                  </a:cubicBezTo>
                  <a:lnTo>
                    <a:pt x="218952" y="217539"/>
                  </a:lnTo>
                  <a:cubicBezTo>
                    <a:pt x="276138" y="217907"/>
                    <a:pt x="330903" y="240784"/>
                    <a:pt x="371365" y="281249"/>
                  </a:cubicBezTo>
                  <a:cubicBezTo>
                    <a:pt x="412181" y="322046"/>
                    <a:pt x="435104" y="377379"/>
                    <a:pt x="435104" y="435073"/>
                  </a:cubicBezTo>
                  <a:lnTo>
                    <a:pt x="217565" y="435073"/>
                  </a:lnTo>
                  <a:lnTo>
                    <a:pt x="27" y="435073"/>
                  </a:lnTo>
                  <a:cubicBezTo>
                    <a:pt x="27" y="377379"/>
                    <a:pt x="22923" y="322046"/>
                    <a:pt x="63739" y="281249"/>
                  </a:cubicBezTo>
                  <a:cubicBezTo>
                    <a:pt x="104201" y="240784"/>
                    <a:pt x="158966" y="217907"/>
                    <a:pt x="216151" y="217539"/>
                  </a:cubicBezTo>
                  <a:lnTo>
                    <a:pt x="0" y="217539"/>
                  </a:lnTo>
                  <a:cubicBezTo>
                    <a:pt x="0" y="159844"/>
                    <a:pt x="22923" y="104512"/>
                    <a:pt x="63739" y="63716"/>
                  </a:cubicBezTo>
                  <a:cubicBezTo>
                    <a:pt x="104527" y="22919"/>
                    <a:pt x="159864" y="0"/>
                    <a:pt x="217539" y="0"/>
                  </a:cubicBezTo>
                  <a:cubicBezTo>
                    <a:pt x="275240" y="0"/>
                    <a:pt x="330577" y="22919"/>
                    <a:pt x="371365" y="63716"/>
                  </a:cubicBezTo>
                  <a:close/>
                </a:path>
              </a:pathLst>
            </a:custGeom>
            <a:grpFill/>
            <a:ln w="27192" cap="flat">
              <a:noFill/>
              <a:prstDash val="solid"/>
              <a:miter/>
            </a:ln>
          </p:spPr>
          <p:txBody>
            <a:bodyPr rtlCol="0" anchor="ctr"/>
            <a:lstStyle/>
            <a:p>
              <a:endParaRPr lang="uk-UA" sz="900"/>
            </a:p>
          </p:txBody>
        </p:sp>
        <p:sp>
          <p:nvSpPr>
            <p:cNvPr id="36" name="Freeform: Shape 35">
              <a:extLst>
                <a:ext uri="{FF2B5EF4-FFF2-40B4-BE49-F238E27FC236}">
                  <a16:creationId xmlns:a16="http://schemas.microsoft.com/office/drawing/2014/main" id="{C5227356-E1B7-729A-984F-DD3736C3ED9C}"/>
                </a:ext>
              </a:extLst>
            </p:cNvPr>
            <p:cNvSpPr/>
            <p:nvPr/>
          </p:nvSpPr>
          <p:spPr>
            <a:xfrm>
              <a:off x="3446261" y="228598"/>
              <a:ext cx="435077" cy="435078"/>
            </a:xfrm>
            <a:custGeom>
              <a:avLst/>
              <a:gdLst>
                <a:gd name="connsiteX0" fmla="*/ 217566 w 435077"/>
                <a:gd name="connsiteY0" fmla="*/ 0 h 435078"/>
                <a:gd name="connsiteX1" fmla="*/ 217539 w 435077"/>
                <a:gd name="connsiteY1" fmla="*/ 0 h 435078"/>
                <a:gd name="connsiteX2" fmla="*/ 27 w 435077"/>
                <a:gd name="connsiteY2" fmla="*/ 0 h 435078"/>
                <a:gd name="connsiteX3" fmla="*/ 27 w 435077"/>
                <a:gd name="connsiteY3" fmla="*/ 217539 h 435078"/>
                <a:gd name="connsiteX4" fmla="*/ 217539 w 435077"/>
                <a:gd name="connsiteY4" fmla="*/ 7 h 435078"/>
                <a:gd name="connsiteX5" fmla="*/ 435077 w 435077"/>
                <a:gd name="connsiteY5" fmla="*/ 217539 h 435078"/>
                <a:gd name="connsiteX6" fmla="*/ 217539 w 435077"/>
                <a:gd name="connsiteY6" fmla="*/ 435079 h 435078"/>
                <a:gd name="connsiteX7" fmla="*/ 0 w 435077"/>
                <a:gd name="connsiteY7" fmla="*/ 217539 h 435078"/>
                <a:gd name="connsiteX8" fmla="*/ 0 w 435077"/>
                <a:gd name="connsiteY8" fmla="*/ 435079 h 435078"/>
                <a:gd name="connsiteX9" fmla="*/ 217539 w 435077"/>
                <a:gd name="connsiteY9" fmla="*/ 435079 h 435078"/>
                <a:gd name="connsiteX10" fmla="*/ 435077 w 435077"/>
                <a:gd name="connsiteY10" fmla="*/ 435079 h 435078"/>
                <a:gd name="connsiteX11" fmla="*/ 435077 w 435077"/>
                <a:gd name="connsiteY11" fmla="*/ 217539 h 435078"/>
                <a:gd name="connsiteX12" fmla="*/ 435077 w 435077"/>
                <a:gd name="connsiteY12" fmla="*/ 0 h 435078"/>
                <a:gd name="connsiteX13" fmla="*/ 217566 w 435077"/>
                <a:gd name="connsiteY13"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8">
                  <a:moveTo>
                    <a:pt x="217566" y="0"/>
                  </a:moveTo>
                  <a:lnTo>
                    <a:pt x="217539" y="0"/>
                  </a:lnTo>
                  <a:lnTo>
                    <a:pt x="27" y="0"/>
                  </a:lnTo>
                  <a:lnTo>
                    <a:pt x="27" y="217539"/>
                  </a:lnTo>
                  <a:lnTo>
                    <a:pt x="217539" y="7"/>
                  </a:lnTo>
                  <a:lnTo>
                    <a:pt x="435077" y="217539"/>
                  </a:lnTo>
                  <a:lnTo>
                    <a:pt x="217539" y="435079"/>
                  </a:lnTo>
                  <a:lnTo>
                    <a:pt x="0" y="217539"/>
                  </a:lnTo>
                  <a:lnTo>
                    <a:pt x="0" y="435079"/>
                  </a:lnTo>
                  <a:lnTo>
                    <a:pt x="217539" y="435079"/>
                  </a:lnTo>
                  <a:lnTo>
                    <a:pt x="435077" y="435079"/>
                  </a:lnTo>
                  <a:lnTo>
                    <a:pt x="435077" y="217539"/>
                  </a:lnTo>
                  <a:lnTo>
                    <a:pt x="435077" y="0"/>
                  </a:lnTo>
                  <a:lnTo>
                    <a:pt x="217566" y="0"/>
                  </a:lnTo>
                  <a:close/>
                </a:path>
              </a:pathLst>
            </a:custGeom>
            <a:grpFill/>
            <a:ln w="27192" cap="flat">
              <a:noFill/>
              <a:prstDash val="solid"/>
              <a:miter/>
            </a:ln>
          </p:spPr>
          <p:txBody>
            <a:bodyPr rtlCol="0" anchor="ctr"/>
            <a:lstStyle/>
            <a:p>
              <a:endParaRPr lang="uk-UA" sz="900"/>
            </a:p>
          </p:txBody>
        </p:sp>
        <p:sp>
          <p:nvSpPr>
            <p:cNvPr id="37" name="Freeform: Shape 36">
              <a:extLst>
                <a:ext uri="{FF2B5EF4-FFF2-40B4-BE49-F238E27FC236}">
                  <a16:creationId xmlns:a16="http://schemas.microsoft.com/office/drawing/2014/main" id="{EF237892-868E-176E-E198-3599F652A108}"/>
                </a:ext>
              </a:extLst>
            </p:cNvPr>
            <p:cNvSpPr/>
            <p:nvPr/>
          </p:nvSpPr>
          <p:spPr>
            <a:xfrm>
              <a:off x="5186597" y="228598"/>
              <a:ext cx="435077" cy="435075"/>
            </a:xfrm>
            <a:custGeom>
              <a:avLst/>
              <a:gdLst>
                <a:gd name="connsiteX0" fmla="*/ 217539 w 435077"/>
                <a:gd name="connsiteY0" fmla="*/ 217540 h 435075"/>
                <a:gd name="connsiteX1" fmla="*/ 217539 w 435077"/>
                <a:gd name="connsiteY1" fmla="*/ 217537 h 435075"/>
                <a:gd name="connsiteX2" fmla="*/ 0 w 435077"/>
                <a:gd name="connsiteY2" fmla="*/ 0 h 435075"/>
                <a:gd name="connsiteX3" fmla="*/ 217539 w 435077"/>
                <a:gd name="connsiteY3" fmla="*/ 0 h 435075"/>
                <a:gd name="connsiteX4" fmla="*/ 217539 w 435077"/>
                <a:gd name="connsiteY4" fmla="*/ 5 h 435075"/>
                <a:gd name="connsiteX5" fmla="*/ 435077 w 435077"/>
                <a:gd name="connsiteY5" fmla="*/ 217533 h 435075"/>
                <a:gd name="connsiteX6" fmla="*/ 435077 w 435077"/>
                <a:gd name="connsiteY6" fmla="*/ 217533 h 435075"/>
                <a:gd name="connsiteX7" fmla="*/ 435077 w 435077"/>
                <a:gd name="connsiteY7" fmla="*/ 217538 h 435075"/>
                <a:gd name="connsiteX8" fmla="*/ 435077 w 435077"/>
                <a:gd name="connsiteY8" fmla="*/ 217542 h 435075"/>
                <a:gd name="connsiteX9" fmla="*/ 435077 w 435077"/>
                <a:gd name="connsiteY9" fmla="*/ 217542 h 435075"/>
                <a:gd name="connsiteX10" fmla="*/ 217539 w 435077"/>
                <a:gd name="connsiteY10" fmla="*/ 435071 h 435075"/>
                <a:gd name="connsiteX11" fmla="*/ 217539 w 435077"/>
                <a:gd name="connsiteY11" fmla="*/ 435076 h 435075"/>
                <a:gd name="connsiteX12" fmla="*/ 0 w 435077"/>
                <a:gd name="connsiteY12" fmla="*/ 435076 h 435075"/>
                <a:gd name="connsiteX13" fmla="*/ 217539 w 435077"/>
                <a:gd name="connsiteY13" fmla="*/ 217540 h 43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5">
                  <a:moveTo>
                    <a:pt x="217539" y="217540"/>
                  </a:moveTo>
                  <a:lnTo>
                    <a:pt x="217539" y="217537"/>
                  </a:lnTo>
                  <a:lnTo>
                    <a:pt x="0" y="0"/>
                  </a:lnTo>
                  <a:lnTo>
                    <a:pt x="217539" y="0"/>
                  </a:lnTo>
                  <a:lnTo>
                    <a:pt x="217539" y="5"/>
                  </a:lnTo>
                  <a:lnTo>
                    <a:pt x="435077" y="217533"/>
                  </a:lnTo>
                  <a:lnTo>
                    <a:pt x="435077" y="217533"/>
                  </a:lnTo>
                  <a:lnTo>
                    <a:pt x="435077" y="217538"/>
                  </a:lnTo>
                  <a:lnTo>
                    <a:pt x="435077" y="217542"/>
                  </a:lnTo>
                  <a:lnTo>
                    <a:pt x="435077" y="217542"/>
                  </a:lnTo>
                  <a:lnTo>
                    <a:pt x="217539" y="435071"/>
                  </a:lnTo>
                  <a:lnTo>
                    <a:pt x="217539" y="435076"/>
                  </a:lnTo>
                  <a:lnTo>
                    <a:pt x="0" y="435076"/>
                  </a:lnTo>
                  <a:lnTo>
                    <a:pt x="217539" y="217540"/>
                  </a:lnTo>
                  <a:close/>
                </a:path>
              </a:pathLst>
            </a:custGeom>
            <a:grpFill/>
            <a:ln w="27192" cap="flat">
              <a:noFill/>
              <a:prstDash val="solid"/>
              <a:miter/>
            </a:ln>
          </p:spPr>
          <p:txBody>
            <a:bodyPr rtlCol="0" anchor="ctr"/>
            <a:lstStyle/>
            <a:p>
              <a:endParaRPr lang="uk-UA" sz="900"/>
            </a:p>
          </p:txBody>
        </p:sp>
        <p:sp>
          <p:nvSpPr>
            <p:cNvPr id="38" name="Freeform: Shape 37">
              <a:extLst>
                <a:ext uri="{FF2B5EF4-FFF2-40B4-BE49-F238E27FC236}">
                  <a16:creationId xmlns:a16="http://schemas.microsoft.com/office/drawing/2014/main" id="{E18A5A8E-08E6-5068-DB17-946F0E3266FF}"/>
                </a:ext>
              </a:extLst>
            </p:cNvPr>
            <p:cNvSpPr/>
            <p:nvPr/>
          </p:nvSpPr>
          <p:spPr>
            <a:xfrm>
              <a:off x="6056752" y="228598"/>
              <a:ext cx="435077" cy="435078"/>
            </a:xfrm>
            <a:custGeom>
              <a:avLst/>
              <a:gdLst>
                <a:gd name="connsiteX0" fmla="*/ 0 w 435077"/>
                <a:gd name="connsiteY0" fmla="*/ 435079 h 435078"/>
                <a:gd name="connsiteX1" fmla="*/ 217539 w 435077"/>
                <a:gd name="connsiteY1" fmla="*/ 435079 h 435078"/>
                <a:gd name="connsiteX2" fmla="*/ 217539 w 435077"/>
                <a:gd name="connsiteY2" fmla="*/ 217546 h 435078"/>
                <a:gd name="connsiteX3" fmla="*/ 0 w 435077"/>
                <a:gd name="connsiteY3" fmla="*/ 435079 h 435078"/>
                <a:gd name="connsiteX4" fmla="*/ 217539 w 435077"/>
                <a:gd name="connsiteY4" fmla="*/ 0 h 435078"/>
                <a:gd name="connsiteX5" fmla="*/ 0 w 435077"/>
                <a:gd name="connsiteY5" fmla="*/ 0 h 435078"/>
                <a:gd name="connsiteX6" fmla="*/ 217539 w 435077"/>
                <a:gd name="connsiteY6" fmla="*/ 217532 h 435078"/>
                <a:gd name="connsiteX7" fmla="*/ 217539 w 435077"/>
                <a:gd name="connsiteY7" fmla="*/ 0 h 435078"/>
                <a:gd name="connsiteX8" fmla="*/ 435077 w 435077"/>
                <a:gd name="connsiteY8" fmla="*/ 435079 h 435078"/>
                <a:gd name="connsiteX9" fmla="*/ 217539 w 435077"/>
                <a:gd name="connsiteY9" fmla="*/ 435079 h 435078"/>
                <a:gd name="connsiteX10" fmla="*/ 435077 w 435077"/>
                <a:gd name="connsiteY10" fmla="*/ 217546 h 435078"/>
                <a:gd name="connsiteX11" fmla="*/ 435077 w 435077"/>
                <a:gd name="connsiteY11" fmla="*/ 435079 h 435078"/>
                <a:gd name="connsiteX12" fmla="*/ 435077 w 435077"/>
                <a:gd name="connsiteY12" fmla="*/ 0 h 435078"/>
                <a:gd name="connsiteX13" fmla="*/ 217539 w 435077"/>
                <a:gd name="connsiteY13" fmla="*/ 0 h 435078"/>
                <a:gd name="connsiteX14" fmla="*/ 435077 w 435077"/>
                <a:gd name="connsiteY14" fmla="*/ 217532 h 435078"/>
                <a:gd name="connsiteX15" fmla="*/ 435077 w 435077"/>
                <a:gd name="connsiteY15"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8">
                  <a:moveTo>
                    <a:pt x="0" y="435079"/>
                  </a:moveTo>
                  <a:lnTo>
                    <a:pt x="217539" y="435079"/>
                  </a:lnTo>
                  <a:lnTo>
                    <a:pt x="217539" y="217546"/>
                  </a:lnTo>
                  <a:lnTo>
                    <a:pt x="0" y="435079"/>
                  </a:lnTo>
                  <a:close/>
                  <a:moveTo>
                    <a:pt x="217539" y="0"/>
                  </a:moveTo>
                  <a:lnTo>
                    <a:pt x="0" y="0"/>
                  </a:lnTo>
                  <a:lnTo>
                    <a:pt x="217539" y="217532"/>
                  </a:lnTo>
                  <a:lnTo>
                    <a:pt x="217539" y="0"/>
                  </a:lnTo>
                  <a:close/>
                  <a:moveTo>
                    <a:pt x="435077" y="435079"/>
                  </a:moveTo>
                  <a:lnTo>
                    <a:pt x="217539" y="435079"/>
                  </a:lnTo>
                  <a:lnTo>
                    <a:pt x="435077" y="217546"/>
                  </a:lnTo>
                  <a:lnTo>
                    <a:pt x="435077" y="435079"/>
                  </a:lnTo>
                  <a:close/>
                  <a:moveTo>
                    <a:pt x="435077" y="0"/>
                  </a:moveTo>
                  <a:lnTo>
                    <a:pt x="217539" y="0"/>
                  </a:lnTo>
                  <a:lnTo>
                    <a:pt x="435077" y="217532"/>
                  </a:lnTo>
                  <a:lnTo>
                    <a:pt x="435077" y="0"/>
                  </a:lnTo>
                  <a:close/>
                </a:path>
              </a:pathLst>
            </a:custGeom>
            <a:grpFill/>
            <a:ln w="27192" cap="flat">
              <a:noFill/>
              <a:prstDash val="solid"/>
              <a:miter/>
            </a:ln>
          </p:spPr>
          <p:txBody>
            <a:bodyPr rtlCol="0" anchor="ctr"/>
            <a:lstStyle/>
            <a:p>
              <a:endParaRPr lang="uk-UA" sz="900"/>
            </a:p>
          </p:txBody>
        </p:sp>
        <p:sp>
          <p:nvSpPr>
            <p:cNvPr id="39" name="Freeform: Shape 38">
              <a:extLst>
                <a:ext uri="{FF2B5EF4-FFF2-40B4-BE49-F238E27FC236}">
                  <a16:creationId xmlns:a16="http://schemas.microsoft.com/office/drawing/2014/main" id="{A4279533-E6AF-0BD9-1844-134B40C4E0D9}"/>
                </a:ext>
              </a:extLst>
            </p:cNvPr>
            <p:cNvSpPr/>
            <p:nvPr/>
          </p:nvSpPr>
          <p:spPr>
            <a:xfrm>
              <a:off x="7797062" y="228598"/>
              <a:ext cx="435104" cy="435073"/>
            </a:xfrm>
            <a:custGeom>
              <a:avLst/>
              <a:gdLst>
                <a:gd name="connsiteX0" fmla="*/ 371366 w 435104"/>
                <a:gd name="connsiteY0" fmla="*/ 63716 h 435073"/>
                <a:gd name="connsiteX1" fmla="*/ 435077 w 435104"/>
                <a:gd name="connsiteY1" fmla="*/ 217539 h 435073"/>
                <a:gd name="connsiteX2" fmla="*/ 218953 w 435104"/>
                <a:gd name="connsiteY2" fmla="*/ 217539 h 435073"/>
                <a:gd name="connsiteX3" fmla="*/ 371366 w 435104"/>
                <a:gd name="connsiteY3" fmla="*/ 281249 h 435073"/>
                <a:gd name="connsiteX4" fmla="*/ 435105 w 435104"/>
                <a:gd name="connsiteY4" fmla="*/ 435073 h 435073"/>
                <a:gd name="connsiteX5" fmla="*/ 217566 w 435104"/>
                <a:gd name="connsiteY5" fmla="*/ 435073 h 435073"/>
                <a:gd name="connsiteX6" fmla="*/ 27 w 435104"/>
                <a:gd name="connsiteY6" fmla="*/ 435073 h 435073"/>
                <a:gd name="connsiteX7" fmla="*/ 63739 w 435104"/>
                <a:gd name="connsiteY7" fmla="*/ 281249 h 435073"/>
                <a:gd name="connsiteX8" fmla="*/ 216152 w 435104"/>
                <a:gd name="connsiteY8" fmla="*/ 217539 h 435073"/>
                <a:gd name="connsiteX9" fmla="*/ 0 w 435104"/>
                <a:gd name="connsiteY9" fmla="*/ 217539 h 435073"/>
                <a:gd name="connsiteX10" fmla="*/ 63739 w 435104"/>
                <a:gd name="connsiteY10" fmla="*/ 63716 h 435073"/>
                <a:gd name="connsiteX11" fmla="*/ 217539 w 435104"/>
                <a:gd name="connsiteY11" fmla="*/ 0 h 435073"/>
                <a:gd name="connsiteX12" fmla="*/ 371366 w 435104"/>
                <a:gd name="connsiteY12" fmla="*/ 63716 h 43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4" h="435073">
                  <a:moveTo>
                    <a:pt x="371366" y="63716"/>
                  </a:moveTo>
                  <a:cubicBezTo>
                    <a:pt x="412182" y="104512"/>
                    <a:pt x="435077" y="159844"/>
                    <a:pt x="435077" y="217539"/>
                  </a:cubicBezTo>
                  <a:lnTo>
                    <a:pt x="218953" y="217539"/>
                  </a:lnTo>
                  <a:cubicBezTo>
                    <a:pt x="276138" y="217907"/>
                    <a:pt x="330904" y="240784"/>
                    <a:pt x="371366" y="281249"/>
                  </a:cubicBezTo>
                  <a:cubicBezTo>
                    <a:pt x="412182" y="322046"/>
                    <a:pt x="435105" y="377379"/>
                    <a:pt x="435105" y="435073"/>
                  </a:cubicBezTo>
                  <a:lnTo>
                    <a:pt x="217566" y="435073"/>
                  </a:lnTo>
                  <a:lnTo>
                    <a:pt x="27" y="435073"/>
                  </a:lnTo>
                  <a:cubicBezTo>
                    <a:pt x="27" y="377379"/>
                    <a:pt x="22924" y="322046"/>
                    <a:pt x="63739" y="281249"/>
                  </a:cubicBezTo>
                  <a:cubicBezTo>
                    <a:pt x="104201" y="240784"/>
                    <a:pt x="158967" y="217907"/>
                    <a:pt x="216152" y="217539"/>
                  </a:cubicBezTo>
                  <a:lnTo>
                    <a:pt x="0" y="217539"/>
                  </a:lnTo>
                  <a:cubicBezTo>
                    <a:pt x="0" y="159844"/>
                    <a:pt x="22924" y="104512"/>
                    <a:pt x="63739" y="63716"/>
                  </a:cubicBezTo>
                  <a:cubicBezTo>
                    <a:pt x="104527" y="22919"/>
                    <a:pt x="159864" y="0"/>
                    <a:pt x="217539" y="0"/>
                  </a:cubicBezTo>
                  <a:cubicBezTo>
                    <a:pt x="275241" y="0"/>
                    <a:pt x="330578" y="22919"/>
                    <a:pt x="371366" y="63716"/>
                  </a:cubicBezTo>
                  <a:close/>
                </a:path>
              </a:pathLst>
            </a:custGeom>
            <a:grpFill/>
            <a:ln w="27192" cap="flat">
              <a:noFill/>
              <a:prstDash val="solid"/>
              <a:miter/>
            </a:ln>
          </p:spPr>
          <p:txBody>
            <a:bodyPr rtlCol="0" anchor="ctr"/>
            <a:lstStyle/>
            <a:p>
              <a:endParaRPr lang="uk-UA" sz="900"/>
            </a:p>
          </p:txBody>
        </p:sp>
        <p:sp>
          <p:nvSpPr>
            <p:cNvPr id="40" name="Freeform: Shape 39">
              <a:extLst>
                <a:ext uri="{FF2B5EF4-FFF2-40B4-BE49-F238E27FC236}">
                  <a16:creationId xmlns:a16="http://schemas.microsoft.com/office/drawing/2014/main" id="{B30AD30D-7ECF-4C06-5A63-B065D33AEE43}"/>
                </a:ext>
              </a:extLst>
            </p:cNvPr>
            <p:cNvSpPr/>
            <p:nvPr/>
          </p:nvSpPr>
          <p:spPr>
            <a:xfrm>
              <a:off x="6926907" y="228598"/>
              <a:ext cx="435077" cy="435078"/>
            </a:xfrm>
            <a:custGeom>
              <a:avLst/>
              <a:gdLst>
                <a:gd name="connsiteX0" fmla="*/ 217539 w 435077"/>
                <a:gd name="connsiteY0" fmla="*/ 0 h 435078"/>
                <a:gd name="connsiteX1" fmla="*/ 0 w 435077"/>
                <a:gd name="connsiteY1" fmla="*/ 0 h 435078"/>
                <a:gd name="connsiteX2" fmla="*/ 0 w 435077"/>
                <a:gd name="connsiteY2" fmla="*/ 217539 h 435078"/>
                <a:gd name="connsiteX3" fmla="*/ 0 w 435077"/>
                <a:gd name="connsiteY3" fmla="*/ 435079 h 435078"/>
                <a:gd name="connsiteX4" fmla="*/ 217539 w 435077"/>
                <a:gd name="connsiteY4" fmla="*/ 435079 h 435078"/>
                <a:gd name="connsiteX5" fmla="*/ 435077 w 435077"/>
                <a:gd name="connsiteY5" fmla="*/ 435079 h 435078"/>
                <a:gd name="connsiteX6" fmla="*/ 435077 w 435077"/>
                <a:gd name="connsiteY6" fmla="*/ 217539 h 435078"/>
                <a:gd name="connsiteX7" fmla="*/ 435077 w 435077"/>
                <a:gd name="connsiteY7" fmla="*/ 0 h 435078"/>
                <a:gd name="connsiteX8" fmla="*/ 217539 w 435077"/>
                <a:gd name="connsiteY8" fmla="*/ 0 h 435078"/>
                <a:gd name="connsiteX9" fmla="*/ 217539 w 435077"/>
                <a:gd name="connsiteY9" fmla="*/ 0 h 435078"/>
                <a:gd name="connsiteX10" fmla="*/ 435077 w 435077"/>
                <a:gd name="connsiteY10" fmla="*/ 217539 h 435078"/>
                <a:gd name="connsiteX11" fmla="*/ 217539 w 435077"/>
                <a:gd name="connsiteY11" fmla="*/ 435079 h 435078"/>
                <a:gd name="connsiteX12" fmla="*/ 0 w 435077"/>
                <a:gd name="connsiteY12" fmla="*/ 217539 h 435078"/>
                <a:gd name="connsiteX13" fmla="*/ 217539 w 435077"/>
                <a:gd name="connsiteY13"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8">
                  <a:moveTo>
                    <a:pt x="217539" y="0"/>
                  </a:moveTo>
                  <a:lnTo>
                    <a:pt x="0" y="0"/>
                  </a:lnTo>
                  <a:lnTo>
                    <a:pt x="0" y="217539"/>
                  </a:lnTo>
                  <a:lnTo>
                    <a:pt x="0" y="435079"/>
                  </a:lnTo>
                  <a:lnTo>
                    <a:pt x="217539" y="435079"/>
                  </a:lnTo>
                  <a:lnTo>
                    <a:pt x="435077" y="435079"/>
                  </a:lnTo>
                  <a:lnTo>
                    <a:pt x="435077" y="217539"/>
                  </a:lnTo>
                  <a:lnTo>
                    <a:pt x="435077" y="0"/>
                  </a:lnTo>
                  <a:lnTo>
                    <a:pt x="217539" y="0"/>
                  </a:lnTo>
                  <a:close/>
                  <a:moveTo>
                    <a:pt x="217539" y="0"/>
                  </a:moveTo>
                  <a:lnTo>
                    <a:pt x="435077" y="217539"/>
                  </a:lnTo>
                  <a:lnTo>
                    <a:pt x="217539" y="435079"/>
                  </a:lnTo>
                  <a:lnTo>
                    <a:pt x="0" y="217539"/>
                  </a:lnTo>
                  <a:lnTo>
                    <a:pt x="217539" y="0"/>
                  </a:lnTo>
                  <a:close/>
                </a:path>
              </a:pathLst>
            </a:custGeom>
            <a:grpFill/>
            <a:ln w="27192" cap="flat">
              <a:noFill/>
              <a:prstDash val="solid"/>
              <a:miter/>
            </a:ln>
          </p:spPr>
          <p:txBody>
            <a:bodyPr rtlCol="0" anchor="ctr"/>
            <a:lstStyle/>
            <a:p>
              <a:endParaRPr lang="uk-UA" sz="900"/>
            </a:p>
          </p:txBody>
        </p:sp>
        <p:sp>
          <p:nvSpPr>
            <p:cNvPr id="41" name="Freeform: Shape 40">
              <a:extLst>
                <a:ext uri="{FF2B5EF4-FFF2-40B4-BE49-F238E27FC236}">
                  <a16:creationId xmlns:a16="http://schemas.microsoft.com/office/drawing/2014/main" id="{E216D67F-BEF7-2A59-DEF4-6D19CE6113A4}"/>
                </a:ext>
              </a:extLst>
            </p:cNvPr>
            <p:cNvSpPr/>
            <p:nvPr/>
          </p:nvSpPr>
          <p:spPr>
            <a:xfrm>
              <a:off x="8667217" y="228598"/>
              <a:ext cx="435077" cy="435075"/>
            </a:xfrm>
            <a:custGeom>
              <a:avLst/>
              <a:gdLst>
                <a:gd name="connsiteX0" fmla="*/ 217539 w 435077"/>
                <a:gd name="connsiteY0" fmla="*/ 217540 h 435075"/>
                <a:gd name="connsiteX1" fmla="*/ 217539 w 435077"/>
                <a:gd name="connsiteY1" fmla="*/ 217537 h 435075"/>
                <a:gd name="connsiteX2" fmla="*/ 0 w 435077"/>
                <a:gd name="connsiteY2" fmla="*/ 0 h 435075"/>
                <a:gd name="connsiteX3" fmla="*/ 217539 w 435077"/>
                <a:gd name="connsiteY3" fmla="*/ 0 h 435075"/>
                <a:gd name="connsiteX4" fmla="*/ 217539 w 435077"/>
                <a:gd name="connsiteY4" fmla="*/ 5 h 435075"/>
                <a:gd name="connsiteX5" fmla="*/ 435077 w 435077"/>
                <a:gd name="connsiteY5" fmla="*/ 217533 h 435075"/>
                <a:gd name="connsiteX6" fmla="*/ 435077 w 435077"/>
                <a:gd name="connsiteY6" fmla="*/ 217533 h 435075"/>
                <a:gd name="connsiteX7" fmla="*/ 435077 w 435077"/>
                <a:gd name="connsiteY7" fmla="*/ 217538 h 435075"/>
                <a:gd name="connsiteX8" fmla="*/ 435077 w 435077"/>
                <a:gd name="connsiteY8" fmla="*/ 217542 h 435075"/>
                <a:gd name="connsiteX9" fmla="*/ 435077 w 435077"/>
                <a:gd name="connsiteY9" fmla="*/ 217542 h 435075"/>
                <a:gd name="connsiteX10" fmla="*/ 217539 w 435077"/>
                <a:gd name="connsiteY10" fmla="*/ 435071 h 435075"/>
                <a:gd name="connsiteX11" fmla="*/ 217539 w 435077"/>
                <a:gd name="connsiteY11" fmla="*/ 435076 h 435075"/>
                <a:gd name="connsiteX12" fmla="*/ 0 w 435077"/>
                <a:gd name="connsiteY12" fmla="*/ 435076 h 435075"/>
                <a:gd name="connsiteX13" fmla="*/ 217539 w 435077"/>
                <a:gd name="connsiteY13" fmla="*/ 217540 h 43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5">
                  <a:moveTo>
                    <a:pt x="217539" y="217540"/>
                  </a:moveTo>
                  <a:lnTo>
                    <a:pt x="217539" y="217537"/>
                  </a:lnTo>
                  <a:lnTo>
                    <a:pt x="0" y="0"/>
                  </a:lnTo>
                  <a:lnTo>
                    <a:pt x="217539" y="0"/>
                  </a:lnTo>
                  <a:lnTo>
                    <a:pt x="217539" y="5"/>
                  </a:lnTo>
                  <a:lnTo>
                    <a:pt x="435077" y="217533"/>
                  </a:lnTo>
                  <a:lnTo>
                    <a:pt x="435077" y="217533"/>
                  </a:lnTo>
                  <a:lnTo>
                    <a:pt x="435077" y="217538"/>
                  </a:lnTo>
                  <a:lnTo>
                    <a:pt x="435077" y="217542"/>
                  </a:lnTo>
                  <a:lnTo>
                    <a:pt x="435077" y="217542"/>
                  </a:lnTo>
                  <a:lnTo>
                    <a:pt x="217539" y="435071"/>
                  </a:lnTo>
                  <a:lnTo>
                    <a:pt x="217539" y="435076"/>
                  </a:lnTo>
                  <a:lnTo>
                    <a:pt x="0" y="435076"/>
                  </a:lnTo>
                  <a:lnTo>
                    <a:pt x="217539" y="217540"/>
                  </a:lnTo>
                  <a:close/>
                </a:path>
              </a:pathLst>
            </a:custGeom>
            <a:grpFill/>
            <a:ln w="27192" cap="flat">
              <a:noFill/>
              <a:prstDash val="solid"/>
              <a:miter/>
            </a:ln>
          </p:spPr>
          <p:txBody>
            <a:bodyPr rtlCol="0" anchor="ctr"/>
            <a:lstStyle/>
            <a:p>
              <a:endParaRPr lang="uk-UA" sz="900"/>
            </a:p>
          </p:txBody>
        </p:sp>
        <p:sp>
          <p:nvSpPr>
            <p:cNvPr id="42" name="Freeform: Shape 41">
              <a:extLst>
                <a:ext uri="{FF2B5EF4-FFF2-40B4-BE49-F238E27FC236}">
                  <a16:creationId xmlns:a16="http://schemas.microsoft.com/office/drawing/2014/main" id="{347E1790-C075-9B4A-8A51-A06A533F3248}"/>
                </a:ext>
              </a:extLst>
            </p:cNvPr>
            <p:cNvSpPr/>
            <p:nvPr/>
          </p:nvSpPr>
          <p:spPr>
            <a:xfrm>
              <a:off x="9537399" y="228598"/>
              <a:ext cx="435077" cy="435078"/>
            </a:xfrm>
            <a:custGeom>
              <a:avLst/>
              <a:gdLst>
                <a:gd name="connsiteX0" fmla="*/ 0 w 435077"/>
                <a:gd name="connsiteY0" fmla="*/ 435079 h 435078"/>
                <a:gd name="connsiteX1" fmla="*/ 217511 w 435077"/>
                <a:gd name="connsiteY1" fmla="*/ 435079 h 435078"/>
                <a:gd name="connsiteX2" fmla="*/ 217511 w 435077"/>
                <a:gd name="connsiteY2" fmla="*/ 217546 h 435078"/>
                <a:gd name="connsiteX3" fmla="*/ 0 w 435077"/>
                <a:gd name="connsiteY3" fmla="*/ 435079 h 435078"/>
                <a:gd name="connsiteX4" fmla="*/ 217511 w 435077"/>
                <a:gd name="connsiteY4" fmla="*/ 0 h 435078"/>
                <a:gd name="connsiteX5" fmla="*/ 0 w 435077"/>
                <a:gd name="connsiteY5" fmla="*/ 0 h 435078"/>
                <a:gd name="connsiteX6" fmla="*/ 217511 w 435077"/>
                <a:gd name="connsiteY6" fmla="*/ 217532 h 435078"/>
                <a:gd name="connsiteX7" fmla="*/ 217511 w 435077"/>
                <a:gd name="connsiteY7" fmla="*/ 0 h 435078"/>
                <a:gd name="connsiteX8" fmla="*/ 435077 w 435077"/>
                <a:gd name="connsiteY8" fmla="*/ 435079 h 435078"/>
                <a:gd name="connsiteX9" fmla="*/ 217539 w 435077"/>
                <a:gd name="connsiteY9" fmla="*/ 435079 h 435078"/>
                <a:gd name="connsiteX10" fmla="*/ 435077 w 435077"/>
                <a:gd name="connsiteY10" fmla="*/ 217546 h 435078"/>
                <a:gd name="connsiteX11" fmla="*/ 435077 w 435077"/>
                <a:gd name="connsiteY11" fmla="*/ 435079 h 435078"/>
                <a:gd name="connsiteX12" fmla="*/ 435077 w 435077"/>
                <a:gd name="connsiteY12" fmla="*/ 0 h 435078"/>
                <a:gd name="connsiteX13" fmla="*/ 217539 w 435077"/>
                <a:gd name="connsiteY13" fmla="*/ 0 h 435078"/>
                <a:gd name="connsiteX14" fmla="*/ 435077 w 435077"/>
                <a:gd name="connsiteY14" fmla="*/ 217532 h 435078"/>
                <a:gd name="connsiteX15" fmla="*/ 435077 w 435077"/>
                <a:gd name="connsiteY15"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8">
                  <a:moveTo>
                    <a:pt x="0" y="435079"/>
                  </a:moveTo>
                  <a:lnTo>
                    <a:pt x="217511" y="435079"/>
                  </a:lnTo>
                  <a:lnTo>
                    <a:pt x="217511" y="217546"/>
                  </a:lnTo>
                  <a:lnTo>
                    <a:pt x="0" y="435079"/>
                  </a:lnTo>
                  <a:close/>
                  <a:moveTo>
                    <a:pt x="217511" y="0"/>
                  </a:moveTo>
                  <a:lnTo>
                    <a:pt x="0" y="0"/>
                  </a:lnTo>
                  <a:lnTo>
                    <a:pt x="217511" y="217532"/>
                  </a:lnTo>
                  <a:lnTo>
                    <a:pt x="217511" y="0"/>
                  </a:lnTo>
                  <a:close/>
                  <a:moveTo>
                    <a:pt x="435077" y="435079"/>
                  </a:moveTo>
                  <a:lnTo>
                    <a:pt x="217539" y="435079"/>
                  </a:lnTo>
                  <a:lnTo>
                    <a:pt x="435077" y="217546"/>
                  </a:lnTo>
                  <a:lnTo>
                    <a:pt x="435077" y="435079"/>
                  </a:lnTo>
                  <a:close/>
                  <a:moveTo>
                    <a:pt x="435077" y="0"/>
                  </a:moveTo>
                  <a:lnTo>
                    <a:pt x="217539" y="0"/>
                  </a:lnTo>
                  <a:lnTo>
                    <a:pt x="435077" y="217532"/>
                  </a:lnTo>
                  <a:lnTo>
                    <a:pt x="435077" y="0"/>
                  </a:lnTo>
                  <a:close/>
                </a:path>
              </a:pathLst>
            </a:custGeom>
            <a:grpFill/>
            <a:ln w="27192" cap="flat">
              <a:noFill/>
              <a:prstDash val="solid"/>
              <a:miter/>
            </a:ln>
          </p:spPr>
          <p:txBody>
            <a:bodyPr rtlCol="0" anchor="ctr"/>
            <a:lstStyle/>
            <a:p>
              <a:endParaRPr lang="uk-UA" sz="900"/>
            </a:p>
          </p:txBody>
        </p:sp>
        <p:sp>
          <p:nvSpPr>
            <p:cNvPr id="43" name="Freeform: Shape 42">
              <a:extLst>
                <a:ext uri="{FF2B5EF4-FFF2-40B4-BE49-F238E27FC236}">
                  <a16:creationId xmlns:a16="http://schemas.microsoft.com/office/drawing/2014/main" id="{B0F710FC-5BEF-C112-F0BB-CD991F8EE4C7}"/>
                </a:ext>
              </a:extLst>
            </p:cNvPr>
            <p:cNvSpPr/>
            <p:nvPr/>
          </p:nvSpPr>
          <p:spPr>
            <a:xfrm>
              <a:off x="11277709" y="228598"/>
              <a:ext cx="435077" cy="435073"/>
            </a:xfrm>
            <a:custGeom>
              <a:avLst/>
              <a:gdLst>
                <a:gd name="connsiteX0" fmla="*/ 371365 w 435077"/>
                <a:gd name="connsiteY0" fmla="*/ 63716 h 435073"/>
                <a:gd name="connsiteX1" fmla="*/ 435077 w 435077"/>
                <a:gd name="connsiteY1" fmla="*/ 217539 h 435073"/>
                <a:gd name="connsiteX2" fmla="*/ 218953 w 435077"/>
                <a:gd name="connsiteY2" fmla="*/ 217539 h 435073"/>
                <a:gd name="connsiteX3" fmla="*/ 371365 w 435077"/>
                <a:gd name="connsiteY3" fmla="*/ 281249 h 435073"/>
                <a:gd name="connsiteX4" fmla="*/ 435077 w 435077"/>
                <a:gd name="connsiteY4" fmla="*/ 435073 h 435073"/>
                <a:gd name="connsiteX5" fmla="*/ 217539 w 435077"/>
                <a:gd name="connsiteY5" fmla="*/ 435073 h 435073"/>
                <a:gd name="connsiteX6" fmla="*/ 0 w 435077"/>
                <a:gd name="connsiteY6" fmla="*/ 435073 h 435073"/>
                <a:gd name="connsiteX7" fmla="*/ 63710 w 435077"/>
                <a:gd name="connsiteY7" fmla="*/ 281249 h 435073"/>
                <a:gd name="connsiteX8" fmla="*/ 216151 w 435077"/>
                <a:gd name="connsiteY8" fmla="*/ 217539 h 435073"/>
                <a:gd name="connsiteX9" fmla="*/ 0 w 435077"/>
                <a:gd name="connsiteY9" fmla="*/ 217539 h 435073"/>
                <a:gd name="connsiteX10" fmla="*/ 63710 w 435077"/>
                <a:gd name="connsiteY10" fmla="*/ 63716 h 435073"/>
                <a:gd name="connsiteX11" fmla="*/ 217539 w 435077"/>
                <a:gd name="connsiteY11" fmla="*/ 0 h 435073"/>
                <a:gd name="connsiteX12" fmla="*/ 371365 w 435077"/>
                <a:gd name="connsiteY12" fmla="*/ 63716 h 43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3">
                  <a:moveTo>
                    <a:pt x="371365" y="63716"/>
                  </a:moveTo>
                  <a:cubicBezTo>
                    <a:pt x="412154" y="104512"/>
                    <a:pt x="435077" y="159844"/>
                    <a:pt x="435077" y="217539"/>
                  </a:cubicBezTo>
                  <a:lnTo>
                    <a:pt x="218953" y="217539"/>
                  </a:lnTo>
                  <a:cubicBezTo>
                    <a:pt x="276137" y="217907"/>
                    <a:pt x="330902" y="240784"/>
                    <a:pt x="371365" y="281249"/>
                  </a:cubicBezTo>
                  <a:cubicBezTo>
                    <a:pt x="412154" y="322046"/>
                    <a:pt x="435077" y="377379"/>
                    <a:pt x="435077" y="435073"/>
                  </a:cubicBezTo>
                  <a:lnTo>
                    <a:pt x="217539" y="435073"/>
                  </a:lnTo>
                  <a:lnTo>
                    <a:pt x="0" y="435073"/>
                  </a:lnTo>
                  <a:cubicBezTo>
                    <a:pt x="0" y="377379"/>
                    <a:pt x="22922" y="322046"/>
                    <a:pt x="63710" y="281249"/>
                  </a:cubicBezTo>
                  <a:cubicBezTo>
                    <a:pt x="104174" y="240784"/>
                    <a:pt x="158938" y="217907"/>
                    <a:pt x="216151" y="217539"/>
                  </a:cubicBezTo>
                  <a:lnTo>
                    <a:pt x="0" y="217539"/>
                  </a:lnTo>
                  <a:cubicBezTo>
                    <a:pt x="0" y="159844"/>
                    <a:pt x="22922" y="104512"/>
                    <a:pt x="63710" y="63716"/>
                  </a:cubicBezTo>
                  <a:cubicBezTo>
                    <a:pt x="104499" y="22919"/>
                    <a:pt x="159836" y="0"/>
                    <a:pt x="217539" y="0"/>
                  </a:cubicBezTo>
                  <a:cubicBezTo>
                    <a:pt x="275239" y="0"/>
                    <a:pt x="330549" y="22919"/>
                    <a:pt x="371365" y="63716"/>
                  </a:cubicBezTo>
                  <a:close/>
                </a:path>
              </a:pathLst>
            </a:custGeom>
            <a:grpFill/>
            <a:ln w="27192" cap="flat">
              <a:noFill/>
              <a:prstDash val="solid"/>
              <a:miter/>
            </a:ln>
          </p:spPr>
          <p:txBody>
            <a:bodyPr rtlCol="0" anchor="ctr"/>
            <a:lstStyle/>
            <a:p>
              <a:endParaRPr lang="uk-UA" sz="900"/>
            </a:p>
          </p:txBody>
        </p:sp>
        <p:sp>
          <p:nvSpPr>
            <p:cNvPr id="44" name="Freeform: Shape 43">
              <a:extLst>
                <a:ext uri="{FF2B5EF4-FFF2-40B4-BE49-F238E27FC236}">
                  <a16:creationId xmlns:a16="http://schemas.microsoft.com/office/drawing/2014/main" id="{16CDF594-C920-BC02-89AB-8859336238D5}"/>
                </a:ext>
              </a:extLst>
            </p:cNvPr>
            <p:cNvSpPr/>
            <p:nvPr/>
          </p:nvSpPr>
          <p:spPr>
            <a:xfrm>
              <a:off x="10407554" y="228598"/>
              <a:ext cx="435077" cy="435078"/>
            </a:xfrm>
            <a:custGeom>
              <a:avLst/>
              <a:gdLst>
                <a:gd name="connsiteX0" fmla="*/ 217539 w 435077"/>
                <a:gd name="connsiteY0" fmla="*/ 0 h 435078"/>
                <a:gd name="connsiteX1" fmla="*/ 0 w 435077"/>
                <a:gd name="connsiteY1" fmla="*/ 0 h 435078"/>
                <a:gd name="connsiteX2" fmla="*/ 0 w 435077"/>
                <a:gd name="connsiteY2" fmla="*/ 217539 h 435078"/>
                <a:gd name="connsiteX3" fmla="*/ 217539 w 435077"/>
                <a:gd name="connsiteY3" fmla="*/ 0 h 435078"/>
                <a:gd name="connsiteX4" fmla="*/ 435077 w 435077"/>
                <a:gd name="connsiteY4" fmla="*/ 0 h 435078"/>
                <a:gd name="connsiteX5" fmla="*/ 435077 w 435077"/>
                <a:gd name="connsiteY5" fmla="*/ 217539 h 435078"/>
                <a:gd name="connsiteX6" fmla="*/ 217539 w 435077"/>
                <a:gd name="connsiteY6" fmla="*/ 0 h 435078"/>
                <a:gd name="connsiteX7" fmla="*/ 435077 w 435077"/>
                <a:gd name="connsiteY7" fmla="*/ 0 h 435078"/>
                <a:gd name="connsiteX8" fmla="*/ 217539 w 435077"/>
                <a:gd name="connsiteY8" fmla="*/ 435079 h 435078"/>
                <a:gd name="connsiteX9" fmla="*/ 435077 w 435077"/>
                <a:gd name="connsiteY9" fmla="*/ 217539 h 435078"/>
                <a:gd name="connsiteX10" fmla="*/ 435077 w 435077"/>
                <a:gd name="connsiteY10" fmla="*/ 435079 h 435078"/>
                <a:gd name="connsiteX11" fmla="*/ 217539 w 435077"/>
                <a:gd name="connsiteY11" fmla="*/ 435079 h 435078"/>
                <a:gd name="connsiteX12" fmla="*/ 217539 w 435077"/>
                <a:gd name="connsiteY12" fmla="*/ 435079 h 435078"/>
                <a:gd name="connsiteX13" fmla="*/ 0 w 435077"/>
                <a:gd name="connsiteY13" fmla="*/ 217539 h 435078"/>
                <a:gd name="connsiteX14" fmla="*/ 0 w 435077"/>
                <a:gd name="connsiteY14" fmla="*/ 435079 h 435078"/>
                <a:gd name="connsiteX15" fmla="*/ 217539 w 435077"/>
                <a:gd name="connsiteY15" fmla="*/ 435079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8">
                  <a:moveTo>
                    <a:pt x="217539" y="0"/>
                  </a:moveTo>
                  <a:lnTo>
                    <a:pt x="0" y="0"/>
                  </a:lnTo>
                  <a:lnTo>
                    <a:pt x="0" y="217539"/>
                  </a:lnTo>
                  <a:lnTo>
                    <a:pt x="217539" y="0"/>
                  </a:lnTo>
                  <a:close/>
                  <a:moveTo>
                    <a:pt x="435077" y="0"/>
                  </a:moveTo>
                  <a:lnTo>
                    <a:pt x="435077" y="217539"/>
                  </a:lnTo>
                  <a:lnTo>
                    <a:pt x="217539" y="0"/>
                  </a:lnTo>
                  <a:lnTo>
                    <a:pt x="435077" y="0"/>
                  </a:lnTo>
                  <a:close/>
                  <a:moveTo>
                    <a:pt x="217539" y="435079"/>
                  </a:moveTo>
                  <a:lnTo>
                    <a:pt x="435077" y="217539"/>
                  </a:lnTo>
                  <a:lnTo>
                    <a:pt x="435077" y="435079"/>
                  </a:lnTo>
                  <a:lnTo>
                    <a:pt x="217539" y="435079"/>
                  </a:lnTo>
                  <a:close/>
                  <a:moveTo>
                    <a:pt x="217539" y="435079"/>
                  </a:moveTo>
                  <a:lnTo>
                    <a:pt x="0" y="217539"/>
                  </a:lnTo>
                  <a:lnTo>
                    <a:pt x="0" y="435079"/>
                  </a:lnTo>
                  <a:lnTo>
                    <a:pt x="217539" y="435079"/>
                  </a:lnTo>
                  <a:close/>
                </a:path>
              </a:pathLst>
            </a:custGeom>
            <a:grpFill/>
            <a:ln w="27192" cap="flat">
              <a:noFill/>
              <a:prstDash val="solid"/>
              <a:miter/>
            </a:ln>
          </p:spPr>
          <p:txBody>
            <a:bodyPr rtlCol="0" anchor="ctr"/>
            <a:lstStyle/>
            <a:p>
              <a:endParaRPr lang="uk-UA" sz="900"/>
            </a:p>
          </p:txBody>
        </p:sp>
        <p:sp>
          <p:nvSpPr>
            <p:cNvPr id="45" name="Freeform: Shape 44">
              <a:extLst>
                <a:ext uri="{FF2B5EF4-FFF2-40B4-BE49-F238E27FC236}">
                  <a16:creationId xmlns:a16="http://schemas.microsoft.com/office/drawing/2014/main" id="{C74A7FAF-2382-01C7-E6A6-4BDC6D61D4E8}"/>
                </a:ext>
              </a:extLst>
            </p:cNvPr>
            <p:cNvSpPr/>
            <p:nvPr/>
          </p:nvSpPr>
          <p:spPr>
            <a:xfrm>
              <a:off x="12147836" y="228570"/>
              <a:ext cx="435077" cy="435076"/>
            </a:xfrm>
            <a:custGeom>
              <a:avLst/>
              <a:gdLst>
                <a:gd name="connsiteX0" fmla="*/ 217539 w 435077"/>
                <a:gd name="connsiteY0" fmla="*/ 217534 h 435076"/>
                <a:gd name="connsiteX1" fmla="*/ 217539 w 435077"/>
                <a:gd name="connsiteY1" fmla="*/ 0 h 435076"/>
                <a:gd name="connsiteX2" fmla="*/ 0 w 435077"/>
                <a:gd name="connsiteY2" fmla="*/ 0 h 435076"/>
                <a:gd name="connsiteX3" fmla="*/ 217539 w 435077"/>
                <a:gd name="connsiteY3" fmla="*/ 217538 h 435076"/>
                <a:gd name="connsiteX4" fmla="*/ 0 w 435077"/>
                <a:gd name="connsiteY4" fmla="*/ 435077 h 435076"/>
                <a:gd name="connsiteX5" fmla="*/ 217539 w 435077"/>
                <a:gd name="connsiteY5" fmla="*/ 435077 h 435076"/>
                <a:gd name="connsiteX6" fmla="*/ 217539 w 435077"/>
                <a:gd name="connsiteY6" fmla="*/ 435071 h 435076"/>
                <a:gd name="connsiteX7" fmla="*/ 435077 w 435077"/>
                <a:gd name="connsiteY7" fmla="*/ 217543 h 435076"/>
                <a:gd name="connsiteX8" fmla="*/ 435077 w 435077"/>
                <a:gd name="connsiteY8" fmla="*/ 217543 h 435076"/>
                <a:gd name="connsiteX9" fmla="*/ 435077 w 435077"/>
                <a:gd name="connsiteY9" fmla="*/ 217538 h 435076"/>
                <a:gd name="connsiteX10" fmla="*/ 435077 w 435077"/>
                <a:gd name="connsiteY10" fmla="*/ 217534 h 435076"/>
                <a:gd name="connsiteX11" fmla="*/ 435077 w 435077"/>
                <a:gd name="connsiteY11" fmla="*/ 217534 h 435076"/>
                <a:gd name="connsiteX12" fmla="*/ 217539 w 435077"/>
                <a:gd name="connsiteY12" fmla="*/ 5 h 435076"/>
                <a:gd name="connsiteX13" fmla="*/ 217539 w 435077"/>
                <a:gd name="connsiteY13" fmla="*/ 217534 h 435076"/>
                <a:gd name="connsiteX14" fmla="*/ 217539 w 435077"/>
                <a:gd name="connsiteY14" fmla="*/ 217534 h 435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6">
                  <a:moveTo>
                    <a:pt x="217539" y="217534"/>
                  </a:moveTo>
                  <a:lnTo>
                    <a:pt x="217539" y="0"/>
                  </a:lnTo>
                  <a:lnTo>
                    <a:pt x="0" y="0"/>
                  </a:lnTo>
                  <a:lnTo>
                    <a:pt x="217539" y="217538"/>
                  </a:lnTo>
                  <a:lnTo>
                    <a:pt x="0" y="435077"/>
                  </a:lnTo>
                  <a:lnTo>
                    <a:pt x="217539" y="435077"/>
                  </a:lnTo>
                  <a:lnTo>
                    <a:pt x="217539" y="435071"/>
                  </a:lnTo>
                  <a:lnTo>
                    <a:pt x="435077" y="217543"/>
                  </a:lnTo>
                  <a:lnTo>
                    <a:pt x="435077" y="217543"/>
                  </a:lnTo>
                  <a:lnTo>
                    <a:pt x="435077" y="217538"/>
                  </a:lnTo>
                  <a:lnTo>
                    <a:pt x="435077" y="217534"/>
                  </a:lnTo>
                  <a:lnTo>
                    <a:pt x="435077" y="217534"/>
                  </a:lnTo>
                  <a:lnTo>
                    <a:pt x="217539" y="5"/>
                  </a:lnTo>
                  <a:lnTo>
                    <a:pt x="217539" y="217534"/>
                  </a:lnTo>
                  <a:lnTo>
                    <a:pt x="217539" y="217534"/>
                  </a:lnTo>
                  <a:close/>
                </a:path>
              </a:pathLst>
            </a:custGeom>
            <a:grpFill/>
            <a:ln w="27192" cap="flat">
              <a:noFill/>
              <a:prstDash val="solid"/>
              <a:miter/>
            </a:ln>
          </p:spPr>
          <p:txBody>
            <a:bodyPr rtlCol="0" anchor="ctr"/>
            <a:lstStyle/>
            <a:p>
              <a:endParaRPr lang="uk-UA" sz="900"/>
            </a:p>
          </p:txBody>
        </p:sp>
        <p:sp>
          <p:nvSpPr>
            <p:cNvPr id="46" name="Freeform: Shape 45">
              <a:extLst>
                <a:ext uri="{FF2B5EF4-FFF2-40B4-BE49-F238E27FC236}">
                  <a16:creationId xmlns:a16="http://schemas.microsoft.com/office/drawing/2014/main" id="{5066EBDE-B82A-4233-DA52-6CDC4429CD9C}"/>
                </a:ext>
              </a:extLst>
            </p:cNvPr>
            <p:cNvSpPr/>
            <p:nvPr/>
          </p:nvSpPr>
          <p:spPr>
            <a:xfrm>
              <a:off x="13018045" y="228598"/>
              <a:ext cx="435077" cy="435078"/>
            </a:xfrm>
            <a:custGeom>
              <a:avLst/>
              <a:gdLst>
                <a:gd name="connsiteX0" fmla="*/ 0 w 435077"/>
                <a:gd name="connsiteY0" fmla="*/ 435079 h 435078"/>
                <a:gd name="connsiteX1" fmla="*/ 217539 w 435077"/>
                <a:gd name="connsiteY1" fmla="*/ 435079 h 435078"/>
                <a:gd name="connsiteX2" fmla="*/ 217539 w 435077"/>
                <a:gd name="connsiteY2" fmla="*/ 217546 h 435078"/>
                <a:gd name="connsiteX3" fmla="*/ 0 w 435077"/>
                <a:gd name="connsiteY3" fmla="*/ 435079 h 435078"/>
                <a:gd name="connsiteX4" fmla="*/ 217539 w 435077"/>
                <a:gd name="connsiteY4" fmla="*/ 0 h 435078"/>
                <a:gd name="connsiteX5" fmla="*/ 0 w 435077"/>
                <a:gd name="connsiteY5" fmla="*/ 0 h 435078"/>
                <a:gd name="connsiteX6" fmla="*/ 217539 w 435077"/>
                <a:gd name="connsiteY6" fmla="*/ 217532 h 435078"/>
                <a:gd name="connsiteX7" fmla="*/ 217539 w 435077"/>
                <a:gd name="connsiteY7" fmla="*/ 0 h 435078"/>
                <a:gd name="connsiteX8" fmla="*/ 435077 w 435077"/>
                <a:gd name="connsiteY8" fmla="*/ 435079 h 435078"/>
                <a:gd name="connsiteX9" fmla="*/ 217539 w 435077"/>
                <a:gd name="connsiteY9" fmla="*/ 435079 h 435078"/>
                <a:gd name="connsiteX10" fmla="*/ 435077 w 435077"/>
                <a:gd name="connsiteY10" fmla="*/ 217546 h 435078"/>
                <a:gd name="connsiteX11" fmla="*/ 435077 w 435077"/>
                <a:gd name="connsiteY11" fmla="*/ 435079 h 435078"/>
                <a:gd name="connsiteX12" fmla="*/ 435077 w 435077"/>
                <a:gd name="connsiteY12" fmla="*/ 0 h 435078"/>
                <a:gd name="connsiteX13" fmla="*/ 217539 w 435077"/>
                <a:gd name="connsiteY13" fmla="*/ 0 h 435078"/>
                <a:gd name="connsiteX14" fmla="*/ 435077 w 435077"/>
                <a:gd name="connsiteY14" fmla="*/ 217532 h 435078"/>
                <a:gd name="connsiteX15" fmla="*/ 435077 w 435077"/>
                <a:gd name="connsiteY15"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8">
                  <a:moveTo>
                    <a:pt x="0" y="435079"/>
                  </a:moveTo>
                  <a:lnTo>
                    <a:pt x="217539" y="435079"/>
                  </a:lnTo>
                  <a:lnTo>
                    <a:pt x="217539" y="217546"/>
                  </a:lnTo>
                  <a:lnTo>
                    <a:pt x="0" y="435079"/>
                  </a:lnTo>
                  <a:close/>
                  <a:moveTo>
                    <a:pt x="217539" y="0"/>
                  </a:moveTo>
                  <a:lnTo>
                    <a:pt x="0" y="0"/>
                  </a:lnTo>
                  <a:lnTo>
                    <a:pt x="217539" y="217532"/>
                  </a:lnTo>
                  <a:lnTo>
                    <a:pt x="217539" y="0"/>
                  </a:lnTo>
                  <a:close/>
                  <a:moveTo>
                    <a:pt x="435077" y="435079"/>
                  </a:moveTo>
                  <a:lnTo>
                    <a:pt x="217539" y="435079"/>
                  </a:lnTo>
                  <a:lnTo>
                    <a:pt x="435077" y="217546"/>
                  </a:lnTo>
                  <a:lnTo>
                    <a:pt x="435077" y="435079"/>
                  </a:lnTo>
                  <a:close/>
                  <a:moveTo>
                    <a:pt x="435077" y="0"/>
                  </a:moveTo>
                  <a:lnTo>
                    <a:pt x="217539" y="0"/>
                  </a:lnTo>
                  <a:lnTo>
                    <a:pt x="435077" y="217532"/>
                  </a:lnTo>
                  <a:lnTo>
                    <a:pt x="435077" y="0"/>
                  </a:lnTo>
                  <a:close/>
                </a:path>
              </a:pathLst>
            </a:custGeom>
            <a:grpFill/>
            <a:ln w="27192" cap="flat">
              <a:noFill/>
              <a:prstDash val="solid"/>
              <a:miter/>
            </a:ln>
          </p:spPr>
          <p:txBody>
            <a:bodyPr rtlCol="0" anchor="ctr"/>
            <a:lstStyle/>
            <a:p>
              <a:endParaRPr lang="uk-UA" sz="900"/>
            </a:p>
          </p:txBody>
        </p:sp>
        <p:sp>
          <p:nvSpPr>
            <p:cNvPr id="47" name="Freeform: Shape 46">
              <a:extLst>
                <a:ext uri="{FF2B5EF4-FFF2-40B4-BE49-F238E27FC236}">
                  <a16:creationId xmlns:a16="http://schemas.microsoft.com/office/drawing/2014/main" id="{3B73E17A-4539-E0BA-5DEB-AE9D3A746748}"/>
                </a:ext>
              </a:extLst>
            </p:cNvPr>
            <p:cNvSpPr/>
            <p:nvPr/>
          </p:nvSpPr>
          <p:spPr>
            <a:xfrm>
              <a:off x="14758382" y="228598"/>
              <a:ext cx="435077" cy="435073"/>
            </a:xfrm>
            <a:custGeom>
              <a:avLst/>
              <a:gdLst>
                <a:gd name="connsiteX0" fmla="*/ 371367 w 435077"/>
                <a:gd name="connsiteY0" fmla="*/ 63716 h 435073"/>
                <a:gd name="connsiteX1" fmla="*/ 435077 w 435077"/>
                <a:gd name="connsiteY1" fmla="*/ 217539 h 435073"/>
                <a:gd name="connsiteX2" fmla="*/ 218953 w 435077"/>
                <a:gd name="connsiteY2" fmla="*/ 217539 h 435073"/>
                <a:gd name="connsiteX3" fmla="*/ 371367 w 435077"/>
                <a:gd name="connsiteY3" fmla="*/ 281249 h 435073"/>
                <a:gd name="connsiteX4" fmla="*/ 435077 w 435077"/>
                <a:gd name="connsiteY4" fmla="*/ 435073 h 435073"/>
                <a:gd name="connsiteX5" fmla="*/ 217539 w 435077"/>
                <a:gd name="connsiteY5" fmla="*/ 435073 h 435073"/>
                <a:gd name="connsiteX6" fmla="*/ 0 w 435077"/>
                <a:gd name="connsiteY6" fmla="*/ 435073 h 435073"/>
                <a:gd name="connsiteX7" fmla="*/ 63712 w 435077"/>
                <a:gd name="connsiteY7" fmla="*/ 281249 h 435073"/>
                <a:gd name="connsiteX8" fmla="*/ 216125 w 435077"/>
                <a:gd name="connsiteY8" fmla="*/ 217539 h 435073"/>
                <a:gd name="connsiteX9" fmla="*/ 0 w 435077"/>
                <a:gd name="connsiteY9" fmla="*/ 217539 h 435073"/>
                <a:gd name="connsiteX10" fmla="*/ 63712 w 435077"/>
                <a:gd name="connsiteY10" fmla="*/ 63716 h 435073"/>
                <a:gd name="connsiteX11" fmla="*/ 217539 w 435077"/>
                <a:gd name="connsiteY11" fmla="*/ 0 h 435073"/>
                <a:gd name="connsiteX12" fmla="*/ 371367 w 435077"/>
                <a:gd name="connsiteY12" fmla="*/ 63716 h 43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3">
                  <a:moveTo>
                    <a:pt x="371367" y="63716"/>
                  </a:moveTo>
                  <a:cubicBezTo>
                    <a:pt x="412155" y="104512"/>
                    <a:pt x="435077" y="159844"/>
                    <a:pt x="435077" y="217539"/>
                  </a:cubicBezTo>
                  <a:lnTo>
                    <a:pt x="218953" y="217539"/>
                  </a:lnTo>
                  <a:cubicBezTo>
                    <a:pt x="276139" y="217907"/>
                    <a:pt x="330904" y="240784"/>
                    <a:pt x="371367" y="281249"/>
                  </a:cubicBezTo>
                  <a:cubicBezTo>
                    <a:pt x="412155" y="322046"/>
                    <a:pt x="435077" y="377379"/>
                    <a:pt x="435077" y="435073"/>
                  </a:cubicBezTo>
                  <a:lnTo>
                    <a:pt x="217539" y="435073"/>
                  </a:lnTo>
                  <a:lnTo>
                    <a:pt x="0" y="435073"/>
                  </a:lnTo>
                  <a:cubicBezTo>
                    <a:pt x="0" y="377379"/>
                    <a:pt x="22924" y="322046"/>
                    <a:pt x="63712" y="281249"/>
                  </a:cubicBezTo>
                  <a:cubicBezTo>
                    <a:pt x="104174" y="240784"/>
                    <a:pt x="158940" y="217907"/>
                    <a:pt x="216125" y="217539"/>
                  </a:cubicBezTo>
                  <a:lnTo>
                    <a:pt x="0" y="217539"/>
                  </a:lnTo>
                  <a:cubicBezTo>
                    <a:pt x="0" y="159844"/>
                    <a:pt x="22924" y="104512"/>
                    <a:pt x="63712" y="63716"/>
                  </a:cubicBezTo>
                  <a:cubicBezTo>
                    <a:pt x="104501" y="22919"/>
                    <a:pt x="159836" y="0"/>
                    <a:pt x="217539" y="0"/>
                  </a:cubicBezTo>
                  <a:cubicBezTo>
                    <a:pt x="275241" y="0"/>
                    <a:pt x="330550" y="22919"/>
                    <a:pt x="371367" y="63716"/>
                  </a:cubicBezTo>
                  <a:close/>
                </a:path>
              </a:pathLst>
            </a:custGeom>
            <a:grpFill/>
            <a:ln w="27192" cap="flat">
              <a:noFill/>
              <a:prstDash val="solid"/>
              <a:miter/>
            </a:ln>
          </p:spPr>
          <p:txBody>
            <a:bodyPr rtlCol="0" anchor="ctr"/>
            <a:lstStyle/>
            <a:p>
              <a:endParaRPr lang="uk-UA" sz="900"/>
            </a:p>
          </p:txBody>
        </p:sp>
        <p:sp>
          <p:nvSpPr>
            <p:cNvPr id="48" name="Freeform: Shape 47">
              <a:extLst>
                <a:ext uri="{FF2B5EF4-FFF2-40B4-BE49-F238E27FC236}">
                  <a16:creationId xmlns:a16="http://schemas.microsoft.com/office/drawing/2014/main" id="{6822625B-2A18-B3DA-3131-063EDD080F10}"/>
                </a:ext>
              </a:extLst>
            </p:cNvPr>
            <p:cNvSpPr/>
            <p:nvPr/>
          </p:nvSpPr>
          <p:spPr>
            <a:xfrm>
              <a:off x="13888200" y="228598"/>
              <a:ext cx="435077" cy="435078"/>
            </a:xfrm>
            <a:custGeom>
              <a:avLst/>
              <a:gdLst>
                <a:gd name="connsiteX0" fmla="*/ 217565 w 435077"/>
                <a:gd name="connsiteY0" fmla="*/ 0 h 435078"/>
                <a:gd name="connsiteX1" fmla="*/ 217539 w 435077"/>
                <a:gd name="connsiteY1" fmla="*/ 0 h 435078"/>
                <a:gd name="connsiteX2" fmla="*/ 27 w 435077"/>
                <a:gd name="connsiteY2" fmla="*/ 0 h 435078"/>
                <a:gd name="connsiteX3" fmla="*/ 27 w 435077"/>
                <a:gd name="connsiteY3" fmla="*/ 217539 h 435078"/>
                <a:gd name="connsiteX4" fmla="*/ 217565 w 435077"/>
                <a:gd name="connsiteY4" fmla="*/ 7 h 435078"/>
                <a:gd name="connsiteX5" fmla="*/ 435077 w 435077"/>
                <a:gd name="connsiteY5" fmla="*/ 217539 h 435078"/>
                <a:gd name="connsiteX6" fmla="*/ 217539 w 435077"/>
                <a:gd name="connsiteY6" fmla="*/ 435079 h 435078"/>
                <a:gd name="connsiteX7" fmla="*/ 0 w 435077"/>
                <a:gd name="connsiteY7" fmla="*/ 217539 h 435078"/>
                <a:gd name="connsiteX8" fmla="*/ 0 w 435077"/>
                <a:gd name="connsiteY8" fmla="*/ 435079 h 435078"/>
                <a:gd name="connsiteX9" fmla="*/ 217539 w 435077"/>
                <a:gd name="connsiteY9" fmla="*/ 435079 h 435078"/>
                <a:gd name="connsiteX10" fmla="*/ 435077 w 435077"/>
                <a:gd name="connsiteY10" fmla="*/ 435079 h 435078"/>
                <a:gd name="connsiteX11" fmla="*/ 435077 w 435077"/>
                <a:gd name="connsiteY11" fmla="*/ 217539 h 435078"/>
                <a:gd name="connsiteX12" fmla="*/ 435077 w 435077"/>
                <a:gd name="connsiteY12" fmla="*/ 0 h 435078"/>
                <a:gd name="connsiteX13" fmla="*/ 217565 w 435077"/>
                <a:gd name="connsiteY13"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8">
                  <a:moveTo>
                    <a:pt x="217565" y="0"/>
                  </a:moveTo>
                  <a:lnTo>
                    <a:pt x="217539" y="0"/>
                  </a:lnTo>
                  <a:lnTo>
                    <a:pt x="27" y="0"/>
                  </a:lnTo>
                  <a:lnTo>
                    <a:pt x="27" y="217539"/>
                  </a:lnTo>
                  <a:lnTo>
                    <a:pt x="217565" y="7"/>
                  </a:lnTo>
                  <a:lnTo>
                    <a:pt x="435077" y="217539"/>
                  </a:lnTo>
                  <a:lnTo>
                    <a:pt x="217539" y="435079"/>
                  </a:lnTo>
                  <a:lnTo>
                    <a:pt x="0" y="217539"/>
                  </a:lnTo>
                  <a:lnTo>
                    <a:pt x="0" y="435079"/>
                  </a:lnTo>
                  <a:lnTo>
                    <a:pt x="217539" y="435079"/>
                  </a:lnTo>
                  <a:lnTo>
                    <a:pt x="435077" y="435079"/>
                  </a:lnTo>
                  <a:lnTo>
                    <a:pt x="435077" y="217539"/>
                  </a:lnTo>
                  <a:lnTo>
                    <a:pt x="435077" y="0"/>
                  </a:lnTo>
                  <a:lnTo>
                    <a:pt x="217565" y="0"/>
                  </a:lnTo>
                  <a:close/>
                </a:path>
              </a:pathLst>
            </a:custGeom>
            <a:grpFill/>
            <a:ln w="27192" cap="flat">
              <a:noFill/>
              <a:prstDash val="solid"/>
              <a:miter/>
            </a:ln>
          </p:spPr>
          <p:txBody>
            <a:bodyPr rtlCol="0" anchor="ctr"/>
            <a:lstStyle/>
            <a:p>
              <a:endParaRPr lang="uk-UA" sz="900"/>
            </a:p>
          </p:txBody>
        </p:sp>
        <p:sp>
          <p:nvSpPr>
            <p:cNvPr id="49" name="Freeform: Shape 48">
              <a:extLst>
                <a:ext uri="{FF2B5EF4-FFF2-40B4-BE49-F238E27FC236}">
                  <a16:creationId xmlns:a16="http://schemas.microsoft.com/office/drawing/2014/main" id="{FCEC6F21-DC89-D0BB-663E-A9FBD5439D65}"/>
                </a:ext>
              </a:extLst>
            </p:cNvPr>
            <p:cNvSpPr/>
            <p:nvPr/>
          </p:nvSpPr>
          <p:spPr>
            <a:xfrm>
              <a:off x="15628536" y="228598"/>
              <a:ext cx="435077" cy="435075"/>
            </a:xfrm>
            <a:custGeom>
              <a:avLst/>
              <a:gdLst>
                <a:gd name="connsiteX0" fmla="*/ 217539 w 435077"/>
                <a:gd name="connsiteY0" fmla="*/ 217540 h 435075"/>
                <a:gd name="connsiteX1" fmla="*/ 217539 w 435077"/>
                <a:gd name="connsiteY1" fmla="*/ 217537 h 435075"/>
                <a:gd name="connsiteX2" fmla="*/ 0 w 435077"/>
                <a:gd name="connsiteY2" fmla="*/ 0 h 435075"/>
                <a:gd name="connsiteX3" fmla="*/ 217539 w 435077"/>
                <a:gd name="connsiteY3" fmla="*/ 0 h 435075"/>
                <a:gd name="connsiteX4" fmla="*/ 217539 w 435077"/>
                <a:gd name="connsiteY4" fmla="*/ 5 h 435075"/>
                <a:gd name="connsiteX5" fmla="*/ 435077 w 435077"/>
                <a:gd name="connsiteY5" fmla="*/ 217533 h 435075"/>
                <a:gd name="connsiteX6" fmla="*/ 435077 w 435077"/>
                <a:gd name="connsiteY6" fmla="*/ 217533 h 435075"/>
                <a:gd name="connsiteX7" fmla="*/ 435077 w 435077"/>
                <a:gd name="connsiteY7" fmla="*/ 217538 h 435075"/>
                <a:gd name="connsiteX8" fmla="*/ 435077 w 435077"/>
                <a:gd name="connsiteY8" fmla="*/ 217542 h 435075"/>
                <a:gd name="connsiteX9" fmla="*/ 435077 w 435077"/>
                <a:gd name="connsiteY9" fmla="*/ 217542 h 435075"/>
                <a:gd name="connsiteX10" fmla="*/ 217539 w 435077"/>
                <a:gd name="connsiteY10" fmla="*/ 435071 h 435075"/>
                <a:gd name="connsiteX11" fmla="*/ 217539 w 435077"/>
                <a:gd name="connsiteY11" fmla="*/ 435076 h 435075"/>
                <a:gd name="connsiteX12" fmla="*/ 0 w 435077"/>
                <a:gd name="connsiteY12" fmla="*/ 435076 h 435075"/>
                <a:gd name="connsiteX13" fmla="*/ 217539 w 435077"/>
                <a:gd name="connsiteY13" fmla="*/ 217540 h 43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5">
                  <a:moveTo>
                    <a:pt x="217539" y="217540"/>
                  </a:moveTo>
                  <a:lnTo>
                    <a:pt x="217539" y="217537"/>
                  </a:lnTo>
                  <a:lnTo>
                    <a:pt x="0" y="0"/>
                  </a:lnTo>
                  <a:lnTo>
                    <a:pt x="217539" y="0"/>
                  </a:lnTo>
                  <a:lnTo>
                    <a:pt x="217539" y="5"/>
                  </a:lnTo>
                  <a:lnTo>
                    <a:pt x="435077" y="217533"/>
                  </a:lnTo>
                  <a:lnTo>
                    <a:pt x="435077" y="217533"/>
                  </a:lnTo>
                  <a:lnTo>
                    <a:pt x="435077" y="217538"/>
                  </a:lnTo>
                  <a:lnTo>
                    <a:pt x="435077" y="217542"/>
                  </a:lnTo>
                  <a:lnTo>
                    <a:pt x="435077" y="217542"/>
                  </a:lnTo>
                  <a:lnTo>
                    <a:pt x="217539" y="435071"/>
                  </a:lnTo>
                  <a:lnTo>
                    <a:pt x="217539" y="435076"/>
                  </a:lnTo>
                  <a:lnTo>
                    <a:pt x="0" y="435076"/>
                  </a:lnTo>
                  <a:lnTo>
                    <a:pt x="217539" y="217540"/>
                  </a:lnTo>
                  <a:close/>
                </a:path>
              </a:pathLst>
            </a:custGeom>
            <a:grpFill/>
            <a:ln w="27192" cap="flat">
              <a:noFill/>
              <a:prstDash val="solid"/>
              <a:miter/>
            </a:ln>
          </p:spPr>
          <p:txBody>
            <a:bodyPr rtlCol="0" anchor="ctr"/>
            <a:lstStyle/>
            <a:p>
              <a:endParaRPr lang="uk-UA" sz="900"/>
            </a:p>
          </p:txBody>
        </p:sp>
        <p:sp>
          <p:nvSpPr>
            <p:cNvPr id="50" name="Freeform: Shape 49">
              <a:extLst>
                <a:ext uri="{FF2B5EF4-FFF2-40B4-BE49-F238E27FC236}">
                  <a16:creationId xmlns:a16="http://schemas.microsoft.com/office/drawing/2014/main" id="{8C3E5604-40D9-A8C7-F46A-F7B7C66DA048}"/>
                </a:ext>
              </a:extLst>
            </p:cNvPr>
            <p:cNvSpPr/>
            <p:nvPr/>
          </p:nvSpPr>
          <p:spPr>
            <a:xfrm>
              <a:off x="16498719" y="228598"/>
              <a:ext cx="435077" cy="435078"/>
            </a:xfrm>
            <a:custGeom>
              <a:avLst/>
              <a:gdLst>
                <a:gd name="connsiteX0" fmla="*/ 0 w 435077"/>
                <a:gd name="connsiteY0" fmla="*/ 435079 h 435078"/>
                <a:gd name="connsiteX1" fmla="*/ 217510 w 435077"/>
                <a:gd name="connsiteY1" fmla="*/ 435079 h 435078"/>
                <a:gd name="connsiteX2" fmla="*/ 217510 w 435077"/>
                <a:gd name="connsiteY2" fmla="*/ 217546 h 435078"/>
                <a:gd name="connsiteX3" fmla="*/ 0 w 435077"/>
                <a:gd name="connsiteY3" fmla="*/ 435079 h 435078"/>
                <a:gd name="connsiteX4" fmla="*/ 217510 w 435077"/>
                <a:gd name="connsiteY4" fmla="*/ 0 h 435078"/>
                <a:gd name="connsiteX5" fmla="*/ 0 w 435077"/>
                <a:gd name="connsiteY5" fmla="*/ 0 h 435078"/>
                <a:gd name="connsiteX6" fmla="*/ 217510 w 435077"/>
                <a:gd name="connsiteY6" fmla="*/ 217532 h 435078"/>
                <a:gd name="connsiteX7" fmla="*/ 217510 w 435077"/>
                <a:gd name="connsiteY7" fmla="*/ 0 h 435078"/>
                <a:gd name="connsiteX8" fmla="*/ 435077 w 435077"/>
                <a:gd name="connsiteY8" fmla="*/ 435079 h 435078"/>
                <a:gd name="connsiteX9" fmla="*/ 217539 w 435077"/>
                <a:gd name="connsiteY9" fmla="*/ 435079 h 435078"/>
                <a:gd name="connsiteX10" fmla="*/ 435077 w 435077"/>
                <a:gd name="connsiteY10" fmla="*/ 217546 h 435078"/>
                <a:gd name="connsiteX11" fmla="*/ 435077 w 435077"/>
                <a:gd name="connsiteY11" fmla="*/ 435079 h 435078"/>
                <a:gd name="connsiteX12" fmla="*/ 435077 w 435077"/>
                <a:gd name="connsiteY12" fmla="*/ 0 h 435078"/>
                <a:gd name="connsiteX13" fmla="*/ 217539 w 435077"/>
                <a:gd name="connsiteY13" fmla="*/ 0 h 435078"/>
                <a:gd name="connsiteX14" fmla="*/ 435077 w 435077"/>
                <a:gd name="connsiteY14" fmla="*/ 217532 h 435078"/>
                <a:gd name="connsiteX15" fmla="*/ 435077 w 435077"/>
                <a:gd name="connsiteY15"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8">
                  <a:moveTo>
                    <a:pt x="0" y="435079"/>
                  </a:moveTo>
                  <a:lnTo>
                    <a:pt x="217510" y="435079"/>
                  </a:lnTo>
                  <a:lnTo>
                    <a:pt x="217510" y="217546"/>
                  </a:lnTo>
                  <a:lnTo>
                    <a:pt x="0" y="435079"/>
                  </a:lnTo>
                  <a:close/>
                  <a:moveTo>
                    <a:pt x="217510" y="0"/>
                  </a:moveTo>
                  <a:lnTo>
                    <a:pt x="0" y="0"/>
                  </a:lnTo>
                  <a:lnTo>
                    <a:pt x="217510" y="217532"/>
                  </a:lnTo>
                  <a:lnTo>
                    <a:pt x="217510" y="0"/>
                  </a:lnTo>
                  <a:close/>
                  <a:moveTo>
                    <a:pt x="435077" y="435079"/>
                  </a:moveTo>
                  <a:lnTo>
                    <a:pt x="217539" y="435079"/>
                  </a:lnTo>
                  <a:lnTo>
                    <a:pt x="435077" y="217546"/>
                  </a:lnTo>
                  <a:lnTo>
                    <a:pt x="435077" y="435079"/>
                  </a:lnTo>
                  <a:close/>
                  <a:moveTo>
                    <a:pt x="435077" y="0"/>
                  </a:moveTo>
                  <a:lnTo>
                    <a:pt x="217539" y="0"/>
                  </a:lnTo>
                  <a:lnTo>
                    <a:pt x="435077" y="217532"/>
                  </a:lnTo>
                  <a:lnTo>
                    <a:pt x="435077" y="0"/>
                  </a:lnTo>
                  <a:close/>
                </a:path>
              </a:pathLst>
            </a:custGeom>
            <a:grpFill/>
            <a:ln w="27192" cap="flat">
              <a:noFill/>
              <a:prstDash val="solid"/>
              <a:miter/>
            </a:ln>
          </p:spPr>
          <p:txBody>
            <a:bodyPr rtlCol="0" anchor="ctr"/>
            <a:lstStyle/>
            <a:p>
              <a:endParaRPr lang="uk-UA" sz="900"/>
            </a:p>
          </p:txBody>
        </p:sp>
        <p:sp>
          <p:nvSpPr>
            <p:cNvPr id="51" name="Freeform: Shape 50">
              <a:extLst>
                <a:ext uri="{FF2B5EF4-FFF2-40B4-BE49-F238E27FC236}">
                  <a16:creationId xmlns:a16="http://schemas.microsoft.com/office/drawing/2014/main" id="{7C5242FC-351C-A2EC-F1A3-10AD7795B348}"/>
                </a:ext>
              </a:extLst>
            </p:cNvPr>
            <p:cNvSpPr/>
            <p:nvPr/>
          </p:nvSpPr>
          <p:spPr>
            <a:xfrm>
              <a:off x="18239029" y="228598"/>
              <a:ext cx="435077" cy="435073"/>
            </a:xfrm>
            <a:custGeom>
              <a:avLst/>
              <a:gdLst>
                <a:gd name="connsiteX0" fmla="*/ 371365 w 435077"/>
                <a:gd name="connsiteY0" fmla="*/ 63716 h 435073"/>
                <a:gd name="connsiteX1" fmla="*/ 435077 w 435077"/>
                <a:gd name="connsiteY1" fmla="*/ 217539 h 435073"/>
                <a:gd name="connsiteX2" fmla="*/ 218953 w 435077"/>
                <a:gd name="connsiteY2" fmla="*/ 217539 h 435073"/>
                <a:gd name="connsiteX3" fmla="*/ 371365 w 435077"/>
                <a:gd name="connsiteY3" fmla="*/ 281249 h 435073"/>
                <a:gd name="connsiteX4" fmla="*/ 435077 w 435077"/>
                <a:gd name="connsiteY4" fmla="*/ 435073 h 435073"/>
                <a:gd name="connsiteX5" fmla="*/ 217539 w 435077"/>
                <a:gd name="connsiteY5" fmla="*/ 435073 h 435073"/>
                <a:gd name="connsiteX6" fmla="*/ 0 w 435077"/>
                <a:gd name="connsiteY6" fmla="*/ 435073 h 435073"/>
                <a:gd name="connsiteX7" fmla="*/ 63710 w 435077"/>
                <a:gd name="connsiteY7" fmla="*/ 281249 h 435073"/>
                <a:gd name="connsiteX8" fmla="*/ 216151 w 435077"/>
                <a:gd name="connsiteY8" fmla="*/ 217539 h 435073"/>
                <a:gd name="connsiteX9" fmla="*/ 0 w 435077"/>
                <a:gd name="connsiteY9" fmla="*/ 217539 h 435073"/>
                <a:gd name="connsiteX10" fmla="*/ 63710 w 435077"/>
                <a:gd name="connsiteY10" fmla="*/ 63716 h 435073"/>
                <a:gd name="connsiteX11" fmla="*/ 217539 w 435077"/>
                <a:gd name="connsiteY11" fmla="*/ 0 h 435073"/>
                <a:gd name="connsiteX12" fmla="*/ 371365 w 435077"/>
                <a:gd name="connsiteY12" fmla="*/ 63716 h 43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3">
                  <a:moveTo>
                    <a:pt x="371365" y="63716"/>
                  </a:moveTo>
                  <a:cubicBezTo>
                    <a:pt x="412154" y="104512"/>
                    <a:pt x="435077" y="159844"/>
                    <a:pt x="435077" y="217539"/>
                  </a:cubicBezTo>
                  <a:lnTo>
                    <a:pt x="218953" y="217539"/>
                  </a:lnTo>
                  <a:cubicBezTo>
                    <a:pt x="276137" y="217907"/>
                    <a:pt x="330904" y="240784"/>
                    <a:pt x="371365" y="281249"/>
                  </a:cubicBezTo>
                  <a:cubicBezTo>
                    <a:pt x="412154" y="322046"/>
                    <a:pt x="435077" y="377379"/>
                    <a:pt x="435077" y="435073"/>
                  </a:cubicBezTo>
                  <a:lnTo>
                    <a:pt x="217539" y="435073"/>
                  </a:lnTo>
                  <a:lnTo>
                    <a:pt x="0" y="435073"/>
                  </a:lnTo>
                  <a:cubicBezTo>
                    <a:pt x="0" y="377379"/>
                    <a:pt x="22922" y="322046"/>
                    <a:pt x="63710" y="281249"/>
                  </a:cubicBezTo>
                  <a:cubicBezTo>
                    <a:pt x="104200" y="240784"/>
                    <a:pt x="158967" y="217907"/>
                    <a:pt x="216151" y="217539"/>
                  </a:cubicBezTo>
                  <a:lnTo>
                    <a:pt x="0" y="217539"/>
                  </a:lnTo>
                  <a:cubicBezTo>
                    <a:pt x="0" y="159844"/>
                    <a:pt x="22922" y="104512"/>
                    <a:pt x="63710" y="63716"/>
                  </a:cubicBezTo>
                  <a:cubicBezTo>
                    <a:pt x="104527" y="22919"/>
                    <a:pt x="159836" y="0"/>
                    <a:pt x="217539" y="0"/>
                  </a:cubicBezTo>
                  <a:cubicBezTo>
                    <a:pt x="275241" y="0"/>
                    <a:pt x="330577" y="22919"/>
                    <a:pt x="371365" y="63716"/>
                  </a:cubicBezTo>
                  <a:close/>
                </a:path>
              </a:pathLst>
            </a:custGeom>
            <a:grpFill/>
            <a:ln w="27192" cap="flat">
              <a:noFill/>
              <a:prstDash val="solid"/>
              <a:miter/>
            </a:ln>
          </p:spPr>
          <p:txBody>
            <a:bodyPr rtlCol="0" anchor="ctr"/>
            <a:lstStyle/>
            <a:p>
              <a:endParaRPr lang="uk-UA" sz="900"/>
            </a:p>
          </p:txBody>
        </p:sp>
        <p:sp>
          <p:nvSpPr>
            <p:cNvPr id="52" name="Freeform: Shape 51">
              <a:extLst>
                <a:ext uri="{FF2B5EF4-FFF2-40B4-BE49-F238E27FC236}">
                  <a16:creationId xmlns:a16="http://schemas.microsoft.com/office/drawing/2014/main" id="{D33E3D02-ABC4-ABFC-F264-587626861E3F}"/>
                </a:ext>
              </a:extLst>
            </p:cNvPr>
            <p:cNvSpPr/>
            <p:nvPr/>
          </p:nvSpPr>
          <p:spPr>
            <a:xfrm>
              <a:off x="17368874" y="228598"/>
              <a:ext cx="435077" cy="435078"/>
            </a:xfrm>
            <a:custGeom>
              <a:avLst/>
              <a:gdLst>
                <a:gd name="connsiteX0" fmla="*/ 217539 w 435077"/>
                <a:gd name="connsiteY0" fmla="*/ 0 h 435078"/>
                <a:gd name="connsiteX1" fmla="*/ 0 w 435077"/>
                <a:gd name="connsiteY1" fmla="*/ 0 h 435078"/>
                <a:gd name="connsiteX2" fmla="*/ 0 w 435077"/>
                <a:gd name="connsiteY2" fmla="*/ 217539 h 435078"/>
                <a:gd name="connsiteX3" fmla="*/ 217539 w 435077"/>
                <a:gd name="connsiteY3" fmla="*/ 0 h 435078"/>
                <a:gd name="connsiteX4" fmla="*/ 435077 w 435077"/>
                <a:gd name="connsiteY4" fmla="*/ 0 h 435078"/>
                <a:gd name="connsiteX5" fmla="*/ 435077 w 435077"/>
                <a:gd name="connsiteY5" fmla="*/ 217539 h 435078"/>
                <a:gd name="connsiteX6" fmla="*/ 217539 w 435077"/>
                <a:gd name="connsiteY6" fmla="*/ 0 h 435078"/>
                <a:gd name="connsiteX7" fmla="*/ 435077 w 435077"/>
                <a:gd name="connsiteY7" fmla="*/ 0 h 435078"/>
                <a:gd name="connsiteX8" fmla="*/ 217539 w 435077"/>
                <a:gd name="connsiteY8" fmla="*/ 435079 h 435078"/>
                <a:gd name="connsiteX9" fmla="*/ 435077 w 435077"/>
                <a:gd name="connsiteY9" fmla="*/ 217539 h 435078"/>
                <a:gd name="connsiteX10" fmla="*/ 435077 w 435077"/>
                <a:gd name="connsiteY10" fmla="*/ 435079 h 435078"/>
                <a:gd name="connsiteX11" fmla="*/ 217539 w 435077"/>
                <a:gd name="connsiteY11" fmla="*/ 435079 h 435078"/>
                <a:gd name="connsiteX12" fmla="*/ 217539 w 435077"/>
                <a:gd name="connsiteY12" fmla="*/ 435079 h 435078"/>
                <a:gd name="connsiteX13" fmla="*/ 0 w 435077"/>
                <a:gd name="connsiteY13" fmla="*/ 217539 h 435078"/>
                <a:gd name="connsiteX14" fmla="*/ 0 w 435077"/>
                <a:gd name="connsiteY14" fmla="*/ 435079 h 435078"/>
                <a:gd name="connsiteX15" fmla="*/ 217539 w 435077"/>
                <a:gd name="connsiteY15" fmla="*/ 435079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8">
                  <a:moveTo>
                    <a:pt x="217539" y="0"/>
                  </a:moveTo>
                  <a:lnTo>
                    <a:pt x="0" y="0"/>
                  </a:lnTo>
                  <a:lnTo>
                    <a:pt x="0" y="217539"/>
                  </a:lnTo>
                  <a:lnTo>
                    <a:pt x="217539" y="0"/>
                  </a:lnTo>
                  <a:close/>
                  <a:moveTo>
                    <a:pt x="435077" y="0"/>
                  </a:moveTo>
                  <a:lnTo>
                    <a:pt x="435077" y="217539"/>
                  </a:lnTo>
                  <a:lnTo>
                    <a:pt x="217539" y="0"/>
                  </a:lnTo>
                  <a:lnTo>
                    <a:pt x="435077" y="0"/>
                  </a:lnTo>
                  <a:close/>
                  <a:moveTo>
                    <a:pt x="217539" y="435079"/>
                  </a:moveTo>
                  <a:lnTo>
                    <a:pt x="435077" y="217539"/>
                  </a:lnTo>
                  <a:lnTo>
                    <a:pt x="435077" y="435079"/>
                  </a:lnTo>
                  <a:lnTo>
                    <a:pt x="217539" y="435079"/>
                  </a:lnTo>
                  <a:close/>
                  <a:moveTo>
                    <a:pt x="217539" y="435079"/>
                  </a:moveTo>
                  <a:lnTo>
                    <a:pt x="0" y="217539"/>
                  </a:lnTo>
                  <a:lnTo>
                    <a:pt x="0" y="435079"/>
                  </a:lnTo>
                  <a:lnTo>
                    <a:pt x="217539" y="435079"/>
                  </a:lnTo>
                  <a:close/>
                </a:path>
              </a:pathLst>
            </a:custGeom>
            <a:grpFill/>
            <a:ln w="27192" cap="flat">
              <a:noFill/>
              <a:prstDash val="solid"/>
              <a:miter/>
            </a:ln>
          </p:spPr>
          <p:txBody>
            <a:bodyPr rtlCol="0" anchor="ctr"/>
            <a:lstStyle/>
            <a:p>
              <a:endParaRPr lang="uk-UA" sz="900"/>
            </a:p>
          </p:txBody>
        </p:sp>
        <p:sp>
          <p:nvSpPr>
            <p:cNvPr id="53" name="Freeform: Shape 52">
              <a:extLst>
                <a:ext uri="{FF2B5EF4-FFF2-40B4-BE49-F238E27FC236}">
                  <a16:creationId xmlns:a16="http://schemas.microsoft.com/office/drawing/2014/main" id="{0B5B6F03-07DA-4799-A87B-55133F6F289D}"/>
                </a:ext>
              </a:extLst>
            </p:cNvPr>
            <p:cNvSpPr/>
            <p:nvPr/>
          </p:nvSpPr>
          <p:spPr>
            <a:xfrm>
              <a:off x="19109210" y="228598"/>
              <a:ext cx="435077" cy="435075"/>
            </a:xfrm>
            <a:custGeom>
              <a:avLst/>
              <a:gdLst>
                <a:gd name="connsiteX0" fmla="*/ 217539 w 435077"/>
                <a:gd name="connsiteY0" fmla="*/ 217533 h 435075"/>
                <a:gd name="connsiteX1" fmla="*/ 217539 w 435077"/>
                <a:gd name="connsiteY1" fmla="*/ 0 h 435075"/>
                <a:gd name="connsiteX2" fmla="*/ 0 w 435077"/>
                <a:gd name="connsiteY2" fmla="*/ 0 h 435075"/>
                <a:gd name="connsiteX3" fmla="*/ 217539 w 435077"/>
                <a:gd name="connsiteY3" fmla="*/ 217538 h 435075"/>
                <a:gd name="connsiteX4" fmla="*/ 0 w 435077"/>
                <a:gd name="connsiteY4" fmla="*/ 435076 h 435075"/>
                <a:gd name="connsiteX5" fmla="*/ 217539 w 435077"/>
                <a:gd name="connsiteY5" fmla="*/ 435076 h 435075"/>
                <a:gd name="connsiteX6" fmla="*/ 217539 w 435077"/>
                <a:gd name="connsiteY6" fmla="*/ 435071 h 435075"/>
                <a:gd name="connsiteX7" fmla="*/ 435051 w 435077"/>
                <a:gd name="connsiteY7" fmla="*/ 217542 h 435075"/>
                <a:gd name="connsiteX8" fmla="*/ 435077 w 435077"/>
                <a:gd name="connsiteY8" fmla="*/ 217542 h 435075"/>
                <a:gd name="connsiteX9" fmla="*/ 435051 w 435077"/>
                <a:gd name="connsiteY9" fmla="*/ 217537 h 435075"/>
                <a:gd name="connsiteX10" fmla="*/ 435077 w 435077"/>
                <a:gd name="connsiteY10" fmla="*/ 217533 h 435075"/>
                <a:gd name="connsiteX11" fmla="*/ 435051 w 435077"/>
                <a:gd name="connsiteY11" fmla="*/ 217533 h 435075"/>
                <a:gd name="connsiteX12" fmla="*/ 217539 w 435077"/>
                <a:gd name="connsiteY12" fmla="*/ 4 h 435075"/>
                <a:gd name="connsiteX13" fmla="*/ 217539 w 435077"/>
                <a:gd name="connsiteY13" fmla="*/ 217533 h 435075"/>
                <a:gd name="connsiteX14" fmla="*/ 217539 w 435077"/>
                <a:gd name="connsiteY14" fmla="*/ 217533 h 43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5">
                  <a:moveTo>
                    <a:pt x="217539" y="217533"/>
                  </a:moveTo>
                  <a:lnTo>
                    <a:pt x="217539" y="0"/>
                  </a:lnTo>
                  <a:lnTo>
                    <a:pt x="0" y="0"/>
                  </a:lnTo>
                  <a:lnTo>
                    <a:pt x="217539" y="217538"/>
                  </a:lnTo>
                  <a:lnTo>
                    <a:pt x="0" y="435076"/>
                  </a:lnTo>
                  <a:lnTo>
                    <a:pt x="217539" y="435076"/>
                  </a:lnTo>
                  <a:lnTo>
                    <a:pt x="217539" y="435071"/>
                  </a:lnTo>
                  <a:lnTo>
                    <a:pt x="435051" y="217542"/>
                  </a:lnTo>
                  <a:lnTo>
                    <a:pt x="435077" y="217542"/>
                  </a:lnTo>
                  <a:lnTo>
                    <a:pt x="435051" y="217537"/>
                  </a:lnTo>
                  <a:lnTo>
                    <a:pt x="435077" y="217533"/>
                  </a:lnTo>
                  <a:lnTo>
                    <a:pt x="435051" y="217533"/>
                  </a:lnTo>
                  <a:lnTo>
                    <a:pt x="217539" y="4"/>
                  </a:lnTo>
                  <a:lnTo>
                    <a:pt x="217539" y="217533"/>
                  </a:lnTo>
                  <a:lnTo>
                    <a:pt x="217539" y="217533"/>
                  </a:lnTo>
                  <a:close/>
                </a:path>
              </a:pathLst>
            </a:custGeom>
            <a:grpFill/>
            <a:ln w="27192" cap="flat">
              <a:noFill/>
              <a:prstDash val="solid"/>
              <a:miter/>
            </a:ln>
          </p:spPr>
          <p:txBody>
            <a:bodyPr rtlCol="0" anchor="ctr"/>
            <a:lstStyle/>
            <a:p>
              <a:endParaRPr lang="uk-UA" sz="900"/>
            </a:p>
          </p:txBody>
        </p:sp>
        <p:sp>
          <p:nvSpPr>
            <p:cNvPr id="54" name="Freeform: Shape 53">
              <a:extLst>
                <a:ext uri="{FF2B5EF4-FFF2-40B4-BE49-F238E27FC236}">
                  <a16:creationId xmlns:a16="http://schemas.microsoft.com/office/drawing/2014/main" id="{02B7E21C-4CB4-6E7C-3EEA-021857BEBF94}"/>
                </a:ext>
              </a:extLst>
            </p:cNvPr>
            <p:cNvSpPr/>
            <p:nvPr/>
          </p:nvSpPr>
          <p:spPr>
            <a:xfrm>
              <a:off x="19979365" y="228598"/>
              <a:ext cx="435077" cy="435067"/>
            </a:xfrm>
            <a:custGeom>
              <a:avLst/>
              <a:gdLst>
                <a:gd name="connsiteX0" fmla="*/ 0 w 435077"/>
                <a:gd name="connsiteY0" fmla="*/ 435068 h 435067"/>
                <a:gd name="connsiteX1" fmla="*/ 217539 w 435077"/>
                <a:gd name="connsiteY1" fmla="*/ 435068 h 435067"/>
                <a:gd name="connsiteX2" fmla="*/ 217539 w 435077"/>
                <a:gd name="connsiteY2" fmla="*/ 217535 h 435067"/>
                <a:gd name="connsiteX3" fmla="*/ 0 w 435077"/>
                <a:gd name="connsiteY3" fmla="*/ 435068 h 435067"/>
                <a:gd name="connsiteX4" fmla="*/ 217539 w 435077"/>
                <a:gd name="connsiteY4" fmla="*/ 0 h 435067"/>
                <a:gd name="connsiteX5" fmla="*/ 0 w 435077"/>
                <a:gd name="connsiteY5" fmla="*/ 0 h 435067"/>
                <a:gd name="connsiteX6" fmla="*/ 217539 w 435077"/>
                <a:gd name="connsiteY6" fmla="*/ 217532 h 435067"/>
                <a:gd name="connsiteX7" fmla="*/ 217539 w 435077"/>
                <a:gd name="connsiteY7" fmla="*/ 0 h 435067"/>
                <a:gd name="connsiteX8" fmla="*/ 435077 w 435077"/>
                <a:gd name="connsiteY8" fmla="*/ 435068 h 435067"/>
                <a:gd name="connsiteX9" fmla="*/ 217539 w 435077"/>
                <a:gd name="connsiteY9" fmla="*/ 435068 h 435067"/>
                <a:gd name="connsiteX10" fmla="*/ 435077 w 435077"/>
                <a:gd name="connsiteY10" fmla="*/ 217535 h 435067"/>
                <a:gd name="connsiteX11" fmla="*/ 435077 w 435077"/>
                <a:gd name="connsiteY11" fmla="*/ 435068 h 435067"/>
                <a:gd name="connsiteX12" fmla="*/ 435077 w 435077"/>
                <a:gd name="connsiteY12" fmla="*/ 0 h 435067"/>
                <a:gd name="connsiteX13" fmla="*/ 217539 w 435077"/>
                <a:gd name="connsiteY13" fmla="*/ 0 h 435067"/>
                <a:gd name="connsiteX14" fmla="*/ 435077 w 435077"/>
                <a:gd name="connsiteY14" fmla="*/ 217532 h 435067"/>
                <a:gd name="connsiteX15" fmla="*/ 435077 w 435077"/>
                <a:gd name="connsiteY15" fmla="*/ 0 h 435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67">
                  <a:moveTo>
                    <a:pt x="0" y="435068"/>
                  </a:moveTo>
                  <a:lnTo>
                    <a:pt x="217539" y="435068"/>
                  </a:lnTo>
                  <a:lnTo>
                    <a:pt x="217539" y="217535"/>
                  </a:lnTo>
                  <a:lnTo>
                    <a:pt x="0" y="435068"/>
                  </a:lnTo>
                  <a:close/>
                  <a:moveTo>
                    <a:pt x="217539" y="0"/>
                  </a:moveTo>
                  <a:lnTo>
                    <a:pt x="0" y="0"/>
                  </a:lnTo>
                  <a:lnTo>
                    <a:pt x="217539" y="217532"/>
                  </a:lnTo>
                  <a:lnTo>
                    <a:pt x="217539" y="0"/>
                  </a:lnTo>
                  <a:close/>
                  <a:moveTo>
                    <a:pt x="435077" y="435068"/>
                  </a:moveTo>
                  <a:lnTo>
                    <a:pt x="217539" y="435068"/>
                  </a:lnTo>
                  <a:lnTo>
                    <a:pt x="435077" y="217535"/>
                  </a:lnTo>
                  <a:lnTo>
                    <a:pt x="435077" y="435068"/>
                  </a:lnTo>
                  <a:close/>
                  <a:moveTo>
                    <a:pt x="435077" y="0"/>
                  </a:moveTo>
                  <a:lnTo>
                    <a:pt x="217539" y="0"/>
                  </a:lnTo>
                  <a:lnTo>
                    <a:pt x="435077" y="217532"/>
                  </a:lnTo>
                  <a:lnTo>
                    <a:pt x="435077" y="0"/>
                  </a:lnTo>
                  <a:close/>
                </a:path>
              </a:pathLst>
            </a:custGeom>
            <a:grpFill/>
            <a:ln w="27192" cap="flat">
              <a:noFill/>
              <a:prstDash val="solid"/>
              <a:miter/>
            </a:ln>
          </p:spPr>
          <p:txBody>
            <a:bodyPr rtlCol="0" anchor="ctr"/>
            <a:lstStyle/>
            <a:p>
              <a:endParaRPr lang="uk-UA" sz="900"/>
            </a:p>
          </p:txBody>
        </p:sp>
        <p:sp>
          <p:nvSpPr>
            <p:cNvPr id="55" name="Freeform: Shape 54">
              <a:extLst>
                <a:ext uri="{FF2B5EF4-FFF2-40B4-BE49-F238E27FC236}">
                  <a16:creationId xmlns:a16="http://schemas.microsoft.com/office/drawing/2014/main" id="{EB72E20C-B7EE-AFB4-A9FE-27BA62A3B55C}"/>
                </a:ext>
              </a:extLst>
            </p:cNvPr>
            <p:cNvSpPr/>
            <p:nvPr/>
          </p:nvSpPr>
          <p:spPr>
            <a:xfrm>
              <a:off x="21719702" y="228598"/>
              <a:ext cx="435077" cy="435073"/>
            </a:xfrm>
            <a:custGeom>
              <a:avLst/>
              <a:gdLst>
                <a:gd name="connsiteX0" fmla="*/ 371339 w 435077"/>
                <a:gd name="connsiteY0" fmla="*/ 63716 h 435073"/>
                <a:gd name="connsiteX1" fmla="*/ 435077 w 435077"/>
                <a:gd name="connsiteY1" fmla="*/ 217539 h 435073"/>
                <a:gd name="connsiteX2" fmla="*/ 218926 w 435077"/>
                <a:gd name="connsiteY2" fmla="*/ 217539 h 435073"/>
                <a:gd name="connsiteX3" fmla="*/ 371367 w 435077"/>
                <a:gd name="connsiteY3" fmla="*/ 281249 h 435073"/>
                <a:gd name="connsiteX4" fmla="*/ 435077 w 435077"/>
                <a:gd name="connsiteY4" fmla="*/ 435073 h 435073"/>
                <a:gd name="connsiteX5" fmla="*/ 217539 w 435077"/>
                <a:gd name="connsiteY5" fmla="*/ 435073 h 435073"/>
                <a:gd name="connsiteX6" fmla="*/ 0 w 435077"/>
                <a:gd name="connsiteY6" fmla="*/ 435073 h 435073"/>
                <a:gd name="connsiteX7" fmla="*/ 63712 w 435077"/>
                <a:gd name="connsiteY7" fmla="*/ 281249 h 435073"/>
                <a:gd name="connsiteX8" fmla="*/ 216125 w 435077"/>
                <a:gd name="connsiteY8" fmla="*/ 217539 h 435073"/>
                <a:gd name="connsiteX9" fmla="*/ 0 w 435077"/>
                <a:gd name="connsiteY9" fmla="*/ 217539 h 435073"/>
                <a:gd name="connsiteX10" fmla="*/ 63712 w 435077"/>
                <a:gd name="connsiteY10" fmla="*/ 63716 h 435073"/>
                <a:gd name="connsiteX11" fmla="*/ 217539 w 435077"/>
                <a:gd name="connsiteY11" fmla="*/ 0 h 435073"/>
                <a:gd name="connsiteX12" fmla="*/ 371339 w 435077"/>
                <a:gd name="connsiteY12" fmla="*/ 63716 h 43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3">
                  <a:moveTo>
                    <a:pt x="371339" y="63716"/>
                  </a:moveTo>
                  <a:cubicBezTo>
                    <a:pt x="412155" y="104512"/>
                    <a:pt x="435077" y="159844"/>
                    <a:pt x="435077" y="217539"/>
                  </a:cubicBezTo>
                  <a:lnTo>
                    <a:pt x="218926" y="217539"/>
                  </a:lnTo>
                  <a:cubicBezTo>
                    <a:pt x="276112" y="217907"/>
                    <a:pt x="330877" y="240784"/>
                    <a:pt x="371367" y="281249"/>
                  </a:cubicBezTo>
                  <a:cubicBezTo>
                    <a:pt x="412155" y="322046"/>
                    <a:pt x="435077" y="377379"/>
                    <a:pt x="435077" y="435073"/>
                  </a:cubicBezTo>
                  <a:lnTo>
                    <a:pt x="217539" y="435073"/>
                  </a:lnTo>
                  <a:lnTo>
                    <a:pt x="0" y="435073"/>
                  </a:lnTo>
                  <a:cubicBezTo>
                    <a:pt x="0" y="377379"/>
                    <a:pt x="22924" y="322046"/>
                    <a:pt x="63712" y="281249"/>
                  </a:cubicBezTo>
                  <a:cubicBezTo>
                    <a:pt x="104175" y="240784"/>
                    <a:pt x="158940" y="217907"/>
                    <a:pt x="216125" y="217539"/>
                  </a:cubicBezTo>
                  <a:lnTo>
                    <a:pt x="0" y="217539"/>
                  </a:lnTo>
                  <a:cubicBezTo>
                    <a:pt x="0" y="159844"/>
                    <a:pt x="22897" y="104512"/>
                    <a:pt x="63712" y="63716"/>
                  </a:cubicBezTo>
                  <a:cubicBezTo>
                    <a:pt x="104501" y="22919"/>
                    <a:pt x="159838" y="0"/>
                    <a:pt x="217539" y="0"/>
                  </a:cubicBezTo>
                  <a:cubicBezTo>
                    <a:pt x="275215" y="0"/>
                    <a:pt x="330550" y="22919"/>
                    <a:pt x="371339" y="63716"/>
                  </a:cubicBezTo>
                  <a:close/>
                </a:path>
              </a:pathLst>
            </a:custGeom>
            <a:grpFill/>
            <a:ln w="27192" cap="flat">
              <a:noFill/>
              <a:prstDash val="solid"/>
              <a:miter/>
            </a:ln>
          </p:spPr>
          <p:txBody>
            <a:bodyPr rtlCol="0" anchor="ctr"/>
            <a:lstStyle/>
            <a:p>
              <a:endParaRPr lang="uk-UA" sz="900"/>
            </a:p>
          </p:txBody>
        </p:sp>
        <p:sp>
          <p:nvSpPr>
            <p:cNvPr id="56" name="Freeform: Shape 55">
              <a:extLst>
                <a:ext uri="{FF2B5EF4-FFF2-40B4-BE49-F238E27FC236}">
                  <a16:creationId xmlns:a16="http://schemas.microsoft.com/office/drawing/2014/main" id="{71964562-6C57-C4F0-9537-866EA106AF08}"/>
                </a:ext>
              </a:extLst>
            </p:cNvPr>
            <p:cNvSpPr/>
            <p:nvPr/>
          </p:nvSpPr>
          <p:spPr>
            <a:xfrm>
              <a:off x="20849520" y="228598"/>
              <a:ext cx="435103" cy="435078"/>
            </a:xfrm>
            <a:custGeom>
              <a:avLst/>
              <a:gdLst>
                <a:gd name="connsiteX0" fmla="*/ 217539 w 435103"/>
                <a:gd name="connsiteY0" fmla="*/ 0 h 435078"/>
                <a:gd name="connsiteX1" fmla="*/ 0 w 435103"/>
                <a:gd name="connsiteY1" fmla="*/ 0 h 435078"/>
                <a:gd name="connsiteX2" fmla="*/ 0 w 435103"/>
                <a:gd name="connsiteY2" fmla="*/ 217539 h 435078"/>
                <a:gd name="connsiteX3" fmla="*/ 217539 w 435103"/>
                <a:gd name="connsiteY3" fmla="*/ 0 h 435078"/>
                <a:gd name="connsiteX4" fmla="*/ 435104 w 435103"/>
                <a:gd name="connsiteY4" fmla="*/ 0 h 435078"/>
                <a:gd name="connsiteX5" fmla="*/ 435104 w 435103"/>
                <a:gd name="connsiteY5" fmla="*/ 217539 h 435078"/>
                <a:gd name="connsiteX6" fmla="*/ 217565 w 435103"/>
                <a:gd name="connsiteY6" fmla="*/ 0 h 435078"/>
                <a:gd name="connsiteX7" fmla="*/ 435104 w 435103"/>
                <a:gd name="connsiteY7" fmla="*/ 0 h 435078"/>
                <a:gd name="connsiteX8" fmla="*/ 217565 w 435103"/>
                <a:gd name="connsiteY8" fmla="*/ 435079 h 435078"/>
                <a:gd name="connsiteX9" fmla="*/ 435104 w 435103"/>
                <a:gd name="connsiteY9" fmla="*/ 217539 h 435078"/>
                <a:gd name="connsiteX10" fmla="*/ 435104 w 435103"/>
                <a:gd name="connsiteY10" fmla="*/ 435079 h 435078"/>
                <a:gd name="connsiteX11" fmla="*/ 217565 w 435103"/>
                <a:gd name="connsiteY11" fmla="*/ 435079 h 435078"/>
                <a:gd name="connsiteX12" fmla="*/ 217565 w 435103"/>
                <a:gd name="connsiteY12" fmla="*/ 435079 h 435078"/>
                <a:gd name="connsiteX13" fmla="*/ 27 w 435103"/>
                <a:gd name="connsiteY13" fmla="*/ 217539 h 435078"/>
                <a:gd name="connsiteX14" fmla="*/ 27 w 435103"/>
                <a:gd name="connsiteY14" fmla="*/ 435079 h 435078"/>
                <a:gd name="connsiteX15" fmla="*/ 217565 w 435103"/>
                <a:gd name="connsiteY15" fmla="*/ 435079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3" h="435078">
                  <a:moveTo>
                    <a:pt x="217539" y="0"/>
                  </a:moveTo>
                  <a:lnTo>
                    <a:pt x="0" y="0"/>
                  </a:lnTo>
                  <a:lnTo>
                    <a:pt x="0" y="217539"/>
                  </a:lnTo>
                  <a:lnTo>
                    <a:pt x="217539" y="0"/>
                  </a:lnTo>
                  <a:close/>
                  <a:moveTo>
                    <a:pt x="435104" y="0"/>
                  </a:moveTo>
                  <a:lnTo>
                    <a:pt x="435104" y="217539"/>
                  </a:lnTo>
                  <a:lnTo>
                    <a:pt x="217565" y="0"/>
                  </a:lnTo>
                  <a:lnTo>
                    <a:pt x="435104" y="0"/>
                  </a:lnTo>
                  <a:close/>
                  <a:moveTo>
                    <a:pt x="217565" y="435079"/>
                  </a:moveTo>
                  <a:lnTo>
                    <a:pt x="435104" y="217539"/>
                  </a:lnTo>
                  <a:lnTo>
                    <a:pt x="435104" y="435079"/>
                  </a:lnTo>
                  <a:lnTo>
                    <a:pt x="217565" y="435079"/>
                  </a:lnTo>
                  <a:close/>
                  <a:moveTo>
                    <a:pt x="217565" y="435079"/>
                  </a:moveTo>
                  <a:lnTo>
                    <a:pt x="27" y="217539"/>
                  </a:lnTo>
                  <a:lnTo>
                    <a:pt x="27" y="435079"/>
                  </a:lnTo>
                  <a:lnTo>
                    <a:pt x="217565" y="435079"/>
                  </a:lnTo>
                  <a:close/>
                </a:path>
              </a:pathLst>
            </a:custGeom>
            <a:grpFill/>
            <a:ln w="27192" cap="flat">
              <a:noFill/>
              <a:prstDash val="solid"/>
              <a:miter/>
            </a:ln>
          </p:spPr>
          <p:txBody>
            <a:bodyPr rtlCol="0" anchor="ctr"/>
            <a:lstStyle/>
            <a:p>
              <a:endParaRPr lang="uk-UA" sz="900"/>
            </a:p>
          </p:txBody>
        </p:sp>
        <p:sp>
          <p:nvSpPr>
            <p:cNvPr id="57" name="Freeform: Shape 56">
              <a:extLst>
                <a:ext uri="{FF2B5EF4-FFF2-40B4-BE49-F238E27FC236}">
                  <a16:creationId xmlns:a16="http://schemas.microsoft.com/office/drawing/2014/main" id="{E0863288-197F-9A94-FAF1-162C03875A82}"/>
                </a:ext>
              </a:extLst>
            </p:cNvPr>
            <p:cNvSpPr/>
            <p:nvPr/>
          </p:nvSpPr>
          <p:spPr>
            <a:xfrm>
              <a:off x="22589856" y="228598"/>
              <a:ext cx="435077" cy="435075"/>
            </a:xfrm>
            <a:custGeom>
              <a:avLst/>
              <a:gdLst>
                <a:gd name="connsiteX0" fmla="*/ 217539 w 435077"/>
                <a:gd name="connsiteY0" fmla="*/ 217533 h 435075"/>
                <a:gd name="connsiteX1" fmla="*/ 217539 w 435077"/>
                <a:gd name="connsiteY1" fmla="*/ 0 h 435075"/>
                <a:gd name="connsiteX2" fmla="*/ 0 w 435077"/>
                <a:gd name="connsiteY2" fmla="*/ 0 h 435075"/>
                <a:gd name="connsiteX3" fmla="*/ 217539 w 435077"/>
                <a:gd name="connsiteY3" fmla="*/ 217538 h 435075"/>
                <a:gd name="connsiteX4" fmla="*/ 0 w 435077"/>
                <a:gd name="connsiteY4" fmla="*/ 435076 h 435075"/>
                <a:gd name="connsiteX5" fmla="*/ 217539 w 435077"/>
                <a:gd name="connsiteY5" fmla="*/ 435076 h 435075"/>
                <a:gd name="connsiteX6" fmla="*/ 217539 w 435077"/>
                <a:gd name="connsiteY6" fmla="*/ 435071 h 435075"/>
                <a:gd name="connsiteX7" fmla="*/ 435077 w 435077"/>
                <a:gd name="connsiteY7" fmla="*/ 217542 h 435075"/>
                <a:gd name="connsiteX8" fmla="*/ 435077 w 435077"/>
                <a:gd name="connsiteY8" fmla="*/ 217542 h 435075"/>
                <a:gd name="connsiteX9" fmla="*/ 435077 w 435077"/>
                <a:gd name="connsiteY9" fmla="*/ 217537 h 435075"/>
                <a:gd name="connsiteX10" fmla="*/ 435077 w 435077"/>
                <a:gd name="connsiteY10" fmla="*/ 217533 h 435075"/>
                <a:gd name="connsiteX11" fmla="*/ 435077 w 435077"/>
                <a:gd name="connsiteY11" fmla="*/ 217533 h 435075"/>
                <a:gd name="connsiteX12" fmla="*/ 217539 w 435077"/>
                <a:gd name="connsiteY12" fmla="*/ 4 h 435075"/>
                <a:gd name="connsiteX13" fmla="*/ 217539 w 435077"/>
                <a:gd name="connsiteY13" fmla="*/ 217533 h 435075"/>
                <a:gd name="connsiteX14" fmla="*/ 217539 w 435077"/>
                <a:gd name="connsiteY14" fmla="*/ 217533 h 43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5">
                  <a:moveTo>
                    <a:pt x="217539" y="217533"/>
                  </a:moveTo>
                  <a:lnTo>
                    <a:pt x="217539" y="0"/>
                  </a:lnTo>
                  <a:lnTo>
                    <a:pt x="0" y="0"/>
                  </a:lnTo>
                  <a:lnTo>
                    <a:pt x="217539" y="217538"/>
                  </a:lnTo>
                  <a:lnTo>
                    <a:pt x="0" y="435076"/>
                  </a:lnTo>
                  <a:lnTo>
                    <a:pt x="217539" y="435076"/>
                  </a:lnTo>
                  <a:lnTo>
                    <a:pt x="217539" y="435071"/>
                  </a:lnTo>
                  <a:lnTo>
                    <a:pt x="435077" y="217542"/>
                  </a:lnTo>
                  <a:lnTo>
                    <a:pt x="435077" y="217542"/>
                  </a:lnTo>
                  <a:lnTo>
                    <a:pt x="435077" y="217537"/>
                  </a:lnTo>
                  <a:lnTo>
                    <a:pt x="435077" y="217533"/>
                  </a:lnTo>
                  <a:lnTo>
                    <a:pt x="435077" y="217533"/>
                  </a:lnTo>
                  <a:lnTo>
                    <a:pt x="217539" y="4"/>
                  </a:lnTo>
                  <a:lnTo>
                    <a:pt x="217539" y="217533"/>
                  </a:lnTo>
                  <a:lnTo>
                    <a:pt x="217539" y="217533"/>
                  </a:lnTo>
                  <a:close/>
                </a:path>
              </a:pathLst>
            </a:custGeom>
            <a:grpFill/>
            <a:ln w="27192" cap="flat">
              <a:noFill/>
              <a:prstDash val="solid"/>
              <a:miter/>
            </a:ln>
          </p:spPr>
          <p:txBody>
            <a:bodyPr rtlCol="0" anchor="ctr"/>
            <a:lstStyle/>
            <a:p>
              <a:endParaRPr lang="uk-UA" sz="900"/>
            </a:p>
          </p:txBody>
        </p:sp>
        <p:sp>
          <p:nvSpPr>
            <p:cNvPr id="58" name="Freeform: Shape 57">
              <a:extLst>
                <a:ext uri="{FF2B5EF4-FFF2-40B4-BE49-F238E27FC236}">
                  <a16:creationId xmlns:a16="http://schemas.microsoft.com/office/drawing/2014/main" id="{2E72F664-D34A-F483-4881-C9EE4F4F1F46}"/>
                </a:ext>
              </a:extLst>
            </p:cNvPr>
            <p:cNvSpPr/>
            <p:nvPr/>
          </p:nvSpPr>
          <p:spPr>
            <a:xfrm>
              <a:off x="23460039" y="228598"/>
              <a:ext cx="435077" cy="435067"/>
            </a:xfrm>
            <a:custGeom>
              <a:avLst/>
              <a:gdLst>
                <a:gd name="connsiteX0" fmla="*/ 0 w 435077"/>
                <a:gd name="connsiteY0" fmla="*/ 435065 h 435067"/>
                <a:gd name="connsiteX1" fmla="*/ 217510 w 435077"/>
                <a:gd name="connsiteY1" fmla="*/ 435068 h 435067"/>
                <a:gd name="connsiteX2" fmla="*/ 217510 w 435077"/>
                <a:gd name="connsiteY2" fmla="*/ 217535 h 435067"/>
                <a:gd name="connsiteX3" fmla="*/ 0 w 435077"/>
                <a:gd name="connsiteY3" fmla="*/ 435065 h 435067"/>
                <a:gd name="connsiteX4" fmla="*/ 217539 w 435077"/>
                <a:gd name="connsiteY4" fmla="*/ 0 h 435067"/>
                <a:gd name="connsiteX5" fmla="*/ 0 w 435077"/>
                <a:gd name="connsiteY5" fmla="*/ 0 h 435067"/>
                <a:gd name="connsiteX6" fmla="*/ 217539 w 435077"/>
                <a:gd name="connsiteY6" fmla="*/ 217532 h 435067"/>
                <a:gd name="connsiteX7" fmla="*/ 217539 w 435077"/>
                <a:gd name="connsiteY7" fmla="*/ 0 h 435067"/>
                <a:gd name="connsiteX8" fmla="*/ 435077 w 435077"/>
                <a:gd name="connsiteY8" fmla="*/ 435068 h 435067"/>
                <a:gd name="connsiteX9" fmla="*/ 217539 w 435077"/>
                <a:gd name="connsiteY9" fmla="*/ 435068 h 435067"/>
                <a:gd name="connsiteX10" fmla="*/ 435077 w 435077"/>
                <a:gd name="connsiteY10" fmla="*/ 217535 h 435067"/>
                <a:gd name="connsiteX11" fmla="*/ 435077 w 435077"/>
                <a:gd name="connsiteY11" fmla="*/ 435068 h 435067"/>
                <a:gd name="connsiteX12" fmla="*/ 435077 w 435077"/>
                <a:gd name="connsiteY12" fmla="*/ 0 h 435067"/>
                <a:gd name="connsiteX13" fmla="*/ 217539 w 435077"/>
                <a:gd name="connsiteY13" fmla="*/ 0 h 435067"/>
                <a:gd name="connsiteX14" fmla="*/ 435077 w 435077"/>
                <a:gd name="connsiteY14" fmla="*/ 217532 h 435067"/>
                <a:gd name="connsiteX15" fmla="*/ 435077 w 435077"/>
                <a:gd name="connsiteY15" fmla="*/ 0 h 435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67">
                  <a:moveTo>
                    <a:pt x="0" y="435065"/>
                  </a:moveTo>
                  <a:lnTo>
                    <a:pt x="217510" y="435068"/>
                  </a:lnTo>
                  <a:lnTo>
                    <a:pt x="217510" y="217535"/>
                  </a:lnTo>
                  <a:lnTo>
                    <a:pt x="0" y="435065"/>
                  </a:lnTo>
                  <a:close/>
                  <a:moveTo>
                    <a:pt x="217539" y="0"/>
                  </a:moveTo>
                  <a:lnTo>
                    <a:pt x="0" y="0"/>
                  </a:lnTo>
                  <a:lnTo>
                    <a:pt x="217539" y="217532"/>
                  </a:lnTo>
                  <a:lnTo>
                    <a:pt x="217539" y="0"/>
                  </a:lnTo>
                  <a:close/>
                  <a:moveTo>
                    <a:pt x="435077" y="435068"/>
                  </a:moveTo>
                  <a:lnTo>
                    <a:pt x="217539" y="435068"/>
                  </a:lnTo>
                  <a:lnTo>
                    <a:pt x="435077" y="217535"/>
                  </a:lnTo>
                  <a:lnTo>
                    <a:pt x="435077" y="435068"/>
                  </a:lnTo>
                  <a:close/>
                  <a:moveTo>
                    <a:pt x="435077" y="0"/>
                  </a:moveTo>
                  <a:lnTo>
                    <a:pt x="217539" y="0"/>
                  </a:lnTo>
                  <a:lnTo>
                    <a:pt x="435077" y="217532"/>
                  </a:lnTo>
                  <a:lnTo>
                    <a:pt x="435077" y="0"/>
                  </a:lnTo>
                  <a:close/>
                </a:path>
              </a:pathLst>
            </a:custGeom>
            <a:grpFill/>
            <a:ln w="27192" cap="flat">
              <a:noFill/>
              <a:prstDash val="solid"/>
              <a:miter/>
            </a:ln>
          </p:spPr>
          <p:txBody>
            <a:bodyPr rtlCol="0" anchor="ctr"/>
            <a:lstStyle/>
            <a:p>
              <a:endParaRPr lang="uk-UA" sz="900"/>
            </a:p>
          </p:txBody>
        </p:sp>
        <p:sp>
          <p:nvSpPr>
            <p:cNvPr id="59" name="Freeform: Shape 58">
              <a:extLst>
                <a:ext uri="{FF2B5EF4-FFF2-40B4-BE49-F238E27FC236}">
                  <a16:creationId xmlns:a16="http://schemas.microsoft.com/office/drawing/2014/main" id="{F6722854-A6D8-E508-97C3-5002CDE6E3BF}"/>
                </a:ext>
              </a:extLst>
            </p:cNvPr>
            <p:cNvSpPr/>
            <p:nvPr/>
          </p:nvSpPr>
          <p:spPr>
            <a:xfrm>
              <a:off x="24330194" y="228598"/>
              <a:ext cx="435077" cy="435078"/>
            </a:xfrm>
            <a:custGeom>
              <a:avLst/>
              <a:gdLst>
                <a:gd name="connsiteX0" fmla="*/ 217539 w 435077"/>
                <a:gd name="connsiteY0" fmla="*/ 0 h 435078"/>
                <a:gd name="connsiteX1" fmla="*/ 0 w 435077"/>
                <a:gd name="connsiteY1" fmla="*/ 0 h 435078"/>
                <a:gd name="connsiteX2" fmla="*/ 0 w 435077"/>
                <a:gd name="connsiteY2" fmla="*/ 217539 h 435078"/>
                <a:gd name="connsiteX3" fmla="*/ 0 w 435077"/>
                <a:gd name="connsiteY3" fmla="*/ 435079 h 435078"/>
                <a:gd name="connsiteX4" fmla="*/ 217539 w 435077"/>
                <a:gd name="connsiteY4" fmla="*/ 435079 h 435078"/>
                <a:gd name="connsiteX5" fmla="*/ 435077 w 435077"/>
                <a:gd name="connsiteY5" fmla="*/ 435079 h 435078"/>
                <a:gd name="connsiteX6" fmla="*/ 435077 w 435077"/>
                <a:gd name="connsiteY6" fmla="*/ 217539 h 435078"/>
                <a:gd name="connsiteX7" fmla="*/ 435077 w 435077"/>
                <a:gd name="connsiteY7" fmla="*/ 0 h 435078"/>
                <a:gd name="connsiteX8" fmla="*/ 217539 w 435077"/>
                <a:gd name="connsiteY8" fmla="*/ 0 h 435078"/>
                <a:gd name="connsiteX9" fmla="*/ 217539 w 435077"/>
                <a:gd name="connsiteY9" fmla="*/ 0 h 435078"/>
                <a:gd name="connsiteX10" fmla="*/ 435077 w 435077"/>
                <a:gd name="connsiteY10" fmla="*/ 217539 h 435078"/>
                <a:gd name="connsiteX11" fmla="*/ 217539 w 435077"/>
                <a:gd name="connsiteY11" fmla="*/ 435079 h 435078"/>
                <a:gd name="connsiteX12" fmla="*/ 0 w 435077"/>
                <a:gd name="connsiteY12" fmla="*/ 217539 h 435078"/>
                <a:gd name="connsiteX13" fmla="*/ 217539 w 435077"/>
                <a:gd name="connsiteY13"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8">
                  <a:moveTo>
                    <a:pt x="217539" y="0"/>
                  </a:moveTo>
                  <a:lnTo>
                    <a:pt x="0" y="0"/>
                  </a:lnTo>
                  <a:lnTo>
                    <a:pt x="0" y="217539"/>
                  </a:lnTo>
                  <a:lnTo>
                    <a:pt x="0" y="435079"/>
                  </a:lnTo>
                  <a:lnTo>
                    <a:pt x="217539" y="435079"/>
                  </a:lnTo>
                  <a:lnTo>
                    <a:pt x="435077" y="435079"/>
                  </a:lnTo>
                  <a:lnTo>
                    <a:pt x="435077" y="217539"/>
                  </a:lnTo>
                  <a:lnTo>
                    <a:pt x="435077" y="0"/>
                  </a:lnTo>
                  <a:lnTo>
                    <a:pt x="217539" y="0"/>
                  </a:lnTo>
                  <a:close/>
                  <a:moveTo>
                    <a:pt x="217539" y="0"/>
                  </a:moveTo>
                  <a:lnTo>
                    <a:pt x="435077" y="217539"/>
                  </a:lnTo>
                  <a:lnTo>
                    <a:pt x="217539" y="435079"/>
                  </a:lnTo>
                  <a:lnTo>
                    <a:pt x="0" y="217539"/>
                  </a:lnTo>
                  <a:lnTo>
                    <a:pt x="217539" y="0"/>
                  </a:lnTo>
                  <a:close/>
                </a:path>
              </a:pathLst>
            </a:custGeom>
            <a:grpFill/>
            <a:ln w="27192" cap="flat">
              <a:noFill/>
              <a:prstDash val="solid"/>
              <a:miter/>
            </a:ln>
          </p:spPr>
          <p:txBody>
            <a:bodyPr rtlCol="0" anchor="ctr"/>
            <a:lstStyle/>
            <a:p>
              <a:endParaRPr lang="uk-UA" sz="900"/>
            </a:p>
          </p:txBody>
        </p:sp>
        <p:sp>
          <p:nvSpPr>
            <p:cNvPr id="60" name="Freeform: Shape 59">
              <a:extLst>
                <a:ext uri="{FF2B5EF4-FFF2-40B4-BE49-F238E27FC236}">
                  <a16:creationId xmlns:a16="http://schemas.microsoft.com/office/drawing/2014/main" id="{96B2AD1F-BA53-C415-3A45-F123228B21B8}"/>
                </a:ext>
              </a:extLst>
            </p:cNvPr>
            <p:cNvSpPr/>
            <p:nvPr/>
          </p:nvSpPr>
          <p:spPr>
            <a:xfrm>
              <a:off x="835769" y="1098754"/>
              <a:ext cx="435077" cy="435077"/>
            </a:xfrm>
            <a:custGeom>
              <a:avLst/>
              <a:gdLst>
                <a:gd name="connsiteX0" fmla="*/ 63711 w 435077"/>
                <a:gd name="connsiteY0" fmla="*/ 153824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4 h 435077"/>
                <a:gd name="connsiteX5" fmla="*/ 217539 w 435077"/>
                <a:gd name="connsiteY5" fmla="*/ 217539 h 435077"/>
                <a:gd name="connsiteX6" fmla="*/ 63711 w 435077"/>
                <a:gd name="connsiteY6" fmla="*/ 153824 h 435077"/>
                <a:gd name="connsiteX7" fmla="*/ 63711 w 435077"/>
                <a:gd name="connsiteY7" fmla="*/ 281256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6 h 435077"/>
                <a:gd name="connsiteX12" fmla="*/ 217539 w 435077"/>
                <a:gd name="connsiteY12" fmla="*/ 217539 h 435077"/>
                <a:gd name="connsiteX13" fmla="*/ 63711 w 435077"/>
                <a:gd name="connsiteY13" fmla="*/ 281256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1" y="153824"/>
                  </a:moveTo>
                  <a:cubicBezTo>
                    <a:pt x="22923" y="113028"/>
                    <a:pt x="0" y="57697"/>
                    <a:pt x="0" y="0"/>
                  </a:cubicBezTo>
                  <a:lnTo>
                    <a:pt x="217539" y="0"/>
                  </a:lnTo>
                  <a:lnTo>
                    <a:pt x="435077" y="0"/>
                  </a:lnTo>
                  <a:cubicBezTo>
                    <a:pt x="435077" y="57697"/>
                    <a:pt x="412154" y="113028"/>
                    <a:pt x="371366" y="153824"/>
                  </a:cubicBezTo>
                  <a:cubicBezTo>
                    <a:pt x="330550" y="194621"/>
                    <a:pt x="275213" y="217539"/>
                    <a:pt x="217539" y="217539"/>
                  </a:cubicBezTo>
                  <a:cubicBezTo>
                    <a:pt x="159836" y="217539"/>
                    <a:pt x="104500" y="194621"/>
                    <a:pt x="63711" y="153824"/>
                  </a:cubicBezTo>
                  <a:close/>
                  <a:moveTo>
                    <a:pt x="63711" y="281256"/>
                  </a:moveTo>
                  <a:cubicBezTo>
                    <a:pt x="22923" y="322052"/>
                    <a:pt x="0" y="377383"/>
                    <a:pt x="0" y="435077"/>
                  </a:cubicBezTo>
                  <a:lnTo>
                    <a:pt x="217539" y="435077"/>
                  </a:lnTo>
                  <a:lnTo>
                    <a:pt x="435077" y="435077"/>
                  </a:lnTo>
                  <a:cubicBezTo>
                    <a:pt x="435077" y="377383"/>
                    <a:pt x="412154" y="322052"/>
                    <a:pt x="371366" y="281256"/>
                  </a:cubicBezTo>
                  <a:cubicBezTo>
                    <a:pt x="330550" y="240459"/>
                    <a:pt x="275213" y="217539"/>
                    <a:pt x="217539" y="217539"/>
                  </a:cubicBezTo>
                  <a:cubicBezTo>
                    <a:pt x="159836" y="217539"/>
                    <a:pt x="104500" y="240459"/>
                    <a:pt x="63711" y="281256"/>
                  </a:cubicBezTo>
                  <a:close/>
                </a:path>
              </a:pathLst>
            </a:custGeom>
            <a:grpFill/>
            <a:ln w="27192" cap="flat">
              <a:noFill/>
              <a:prstDash val="solid"/>
              <a:miter/>
            </a:ln>
          </p:spPr>
          <p:txBody>
            <a:bodyPr rtlCol="0" anchor="ctr"/>
            <a:lstStyle/>
            <a:p>
              <a:endParaRPr lang="uk-UA" sz="900"/>
            </a:p>
          </p:txBody>
        </p:sp>
        <p:sp>
          <p:nvSpPr>
            <p:cNvPr id="61" name="Freeform: Shape 60">
              <a:extLst>
                <a:ext uri="{FF2B5EF4-FFF2-40B4-BE49-F238E27FC236}">
                  <a16:creationId xmlns:a16="http://schemas.microsoft.com/office/drawing/2014/main" id="{2F1AEC85-06AE-0768-E639-D26D05F985BF}"/>
                </a:ext>
              </a:extLst>
            </p:cNvPr>
            <p:cNvSpPr/>
            <p:nvPr/>
          </p:nvSpPr>
          <p:spPr>
            <a:xfrm>
              <a:off x="-34398" y="1098754"/>
              <a:ext cx="435063" cy="435077"/>
            </a:xfrm>
            <a:custGeom>
              <a:avLst/>
              <a:gdLst>
                <a:gd name="connsiteX0" fmla="*/ 435064 w 435063"/>
                <a:gd name="connsiteY0" fmla="*/ 435077 h 435077"/>
                <a:gd name="connsiteX1" fmla="*/ 435064 w 435063"/>
                <a:gd name="connsiteY1" fmla="*/ 0 h 435077"/>
                <a:gd name="connsiteX2" fmla="*/ 217552 w 435063"/>
                <a:gd name="connsiteY2" fmla="*/ 217544 h 435077"/>
                <a:gd name="connsiteX3" fmla="*/ 435064 w 435063"/>
                <a:gd name="connsiteY3" fmla="*/ 435077 h 435077"/>
                <a:gd name="connsiteX4" fmla="*/ 0 w 435063"/>
                <a:gd name="connsiteY4" fmla="*/ 435077 h 435077"/>
                <a:gd name="connsiteX5" fmla="*/ 0 w 435063"/>
                <a:gd name="connsiteY5" fmla="*/ 3 h 435077"/>
                <a:gd name="connsiteX6" fmla="*/ 217525 w 435063"/>
                <a:gd name="connsiteY6" fmla="*/ 217544 h 435077"/>
                <a:gd name="connsiteX7" fmla="*/ 0 w 435063"/>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63" h="435077">
                  <a:moveTo>
                    <a:pt x="435064" y="435077"/>
                  </a:moveTo>
                  <a:lnTo>
                    <a:pt x="435064" y="0"/>
                  </a:lnTo>
                  <a:lnTo>
                    <a:pt x="217552" y="217544"/>
                  </a:lnTo>
                  <a:lnTo>
                    <a:pt x="435064" y="435077"/>
                  </a:lnTo>
                  <a:close/>
                  <a:moveTo>
                    <a:pt x="0" y="435077"/>
                  </a:moveTo>
                  <a:lnTo>
                    <a:pt x="0" y="3"/>
                  </a:lnTo>
                  <a:lnTo>
                    <a:pt x="217525" y="217544"/>
                  </a:lnTo>
                  <a:lnTo>
                    <a:pt x="0" y="435077"/>
                  </a:lnTo>
                  <a:close/>
                </a:path>
              </a:pathLst>
            </a:custGeom>
            <a:grpFill/>
            <a:ln w="27192" cap="flat">
              <a:noFill/>
              <a:prstDash val="solid"/>
              <a:miter/>
            </a:ln>
          </p:spPr>
          <p:txBody>
            <a:bodyPr rtlCol="0" anchor="ctr"/>
            <a:lstStyle/>
            <a:p>
              <a:endParaRPr lang="uk-UA" sz="900"/>
            </a:p>
          </p:txBody>
        </p:sp>
        <p:sp>
          <p:nvSpPr>
            <p:cNvPr id="62" name="Freeform: Shape 61">
              <a:extLst>
                <a:ext uri="{FF2B5EF4-FFF2-40B4-BE49-F238E27FC236}">
                  <a16:creationId xmlns:a16="http://schemas.microsoft.com/office/drawing/2014/main" id="{1B2C3C50-8FAD-225E-FB20-08E01DDA3287}"/>
                </a:ext>
              </a:extLst>
            </p:cNvPr>
            <p:cNvSpPr/>
            <p:nvPr/>
          </p:nvSpPr>
          <p:spPr>
            <a:xfrm>
              <a:off x="1705924" y="1098754"/>
              <a:ext cx="435077" cy="435077"/>
            </a:xfrm>
            <a:custGeom>
              <a:avLst/>
              <a:gdLst>
                <a:gd name="connsiteX0" fmla="*/ 435077 w 435077"/>
                <a:gd name="connsiteY0" fmla="*/ 435077 h 435077"/>
                <a:gd name="connsiteX1" fmla="*/ 435077 w 435077"/>
                <a:gd name="connsiteY1" fmla="*/ 217547 h 435077"/>
                <a:gd name="connsiteX2" fmla="*/ 435077 w 435077"/>
                <a:gd name="connsiteY2" fmla="*/ 16 h 435077"/>
                <a:gd name="connsiteX3" fmla="*/ 217566 w 435077"/>
                <a:gd name="connsiteY3" fmla="*/ 16 h 435077"/>
                <a:gd name="connsiteX4" fmla="*/ 435077 w 435077"/>
                <a:gd name="connsiteY4" fmla="*/ 217547 h 435077"/>
                <a:gd name="connsiteX5" fmla="*/ 217566 w 435077"/>
                <a:gd name="connsiteY5" fmla="*/ 435077 h 435077"/>
                <a:gd name="connsiteX6" fmla="*/ 435077 w 435077"/>
                <a:gd name="connsiteY6" fmla="*/ 435077 h 435077"/>
                <a:gd name="connsiteX7" fmla="*/ 0 w 435077"/>
                <a:gd name="connsiteY7" fmla="*/ 217531 h 435077"/>
                <a:gd name="connsiteX8" fmla="*/ 0 w 435077"/>
                <a:gd name="connsiteY8" fmla="*/ 0 h 435077"/>
                <a:gd name="connsiteX9" fmla="*/ 217539 w 435077"/>
                <a:gd name="connsiteY9" fmla="*/ 217531 h 435077"/>
                <a:gd name="connsiteX10" fmla="*/ 0 w 435077"/>
                <a:gd name="connsiteY10" fmla="*/ 217531 h 435077"/>
                <a:gd name="connsiteX11" fmla="*/ 0 w 435077"/>
                <a:gd name="connsiteY11" fmla="*/ 435072 h 435077"/>
                <a:gd name="connsiteX12" fmla="*/ 0 w 435077"/>
                <a:gd name="connsiteY12" fmla="*/ 217541 h 435077"/>
                <a:gd name="connsiteX13" fmla="*/ 217539 w 435077"/>
                <a:gd name="connsiteY13" fmla="*/ 217541 h 435077"/>
                <a:gd name="connsiteX14" fmla="*/ 0 w 435077"/>
                <a:gd name="connsiteY14" fmla="*/ 43507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47"/>
                  </a:lnTo>
                  <a:lnTo>
                    <a:pt x="435077" y="16"/>
                  </a:lnTo>
                  <a:lnTo>
                    <a:pt x="217566" y="16"/>
                  </a:lnTo>
                  <a:lnTo>
                    <a:pt x="435077" y="217547"/>
                  </a:lnTo>
                  <a:lnTo>
                    <a:pt x="217566" y="435077"/>
                  </a:lnTo>
                  <a:lnTo>
                    <a:pt x="435077" y="435077"/>
                  </a:lnTo>
                  <a:close/>
                  <a:moveTo>
                    <a:pt x="0" y="217531"/>
                  </a:moveTo>
                  <a:lnTo>
                    <a:pt x="0" y="0"/>
                  </a:lnTo>
                  <a:lnTo>
                    <a:pt x="217539" y="217531"/>
                  </a:lnTo>
                  <a:lnTo>
                    <a:pt x="0" y="217531"/>
                  </a:lnTo>
                  <a:close/>
                  <a:moveTo>
                    <a:pt x="0" y="435072"/>
                  </a:moveTo>
                  <a:lnTo>
                    <a:pt x="0" y="217541"/>
                  </a:lnTo>
                  <a:lnTo>
                    <a:pt x="217539" y="217541"/>
                  </a:lnTo>
                  <a:lnTo>
                    <a:pt x="0" y="435072"/>
                  </a:lnTo>
                  <a:close/>
                </a:path>
              </a:pathLst>
            </a:custGeom>
            <a:grpFill/>
            <a:ln w="27192" cap="flat">
              <a:noFill/>
              <a:prstDash val="solid"/>
              <a:miter/>
            </a:ln>
          </p:spPr>
          <p:txBody>
            <a:bodyPr rtlCol="0" anchor="ctr"/>
            <a:lstStyle/>
            <a:p>
              <a:endParaRPr lang="uk-UA" sz="900"/>
            </a:p>
          </p:txBody>
        </p:sp>
        <p:sp>
          <p:nvSpPr>
            <p:cNvPr id="63" name="Freeform: Shape 62">
              <a:extLst>
                <a:ext uri="{FF2B5EF4-FFF2-40B4-BE49-F238E27FC236}">
                  <a16:creationId xmlns:a16="http://schemas.microsoft.com/office/drawing/2014/main" id="{5DCE36CC-9783-0645-CB30-3B9EF405A8FE}"/>
                </a:ext>
              </a:extLst>
            </p:cNvPr>
            <p:cNvSpPr/>
            <p:nvPr/>
          </p:nvSpPr>
          <p:spPr>
            <a:xfrm>
              <a:off x="2576106" y="1098754"/>
              <a:ext cx="435077" cy="435077"/>
            </a:xfrm>
            <a:custGeom>
              <a:avLst/>
              <a:gdLst>
                <a:gd name="connsiteX0" fmla="*/ 217539 w 435077"/>
                <a:gd name="connsiteY0" fmla="*/ 435069 h 435077"/>
                <a:gd name="connsiteX1" fmla="*/ 217539 w 435077"/>
                <a:gd name="connsiteY1" fmla="*/ 0 h 435077"/>
                <a:gd name="connsiteX2" fmla="*/ 435077 w 435077"/>
                <a:gd name="connsiteY2" fmla="*/ 217541 h 435077"/>
                <a:gd name="connsiteX3" fmla="*/ 217539 w 435077"/>
                <a:gd name="connsiteY3" fmla="*/ 435069 h 435077"/>
                <a:gd name="connsiteX4" fmla="*/ 0 w 435077"/>
                <a:gd name="connsiteY4" fmla="*/ 435077 h 435077"/>
                <a:gd name="connsiteX5" fmla="*/ 0 w 435077"/>
                <a:gd name="connsiteY5" fmla="*/ 8 h 435077"/>
                <a:gd name="connsiteX6" fmla="*/ 217512 w 435077"/>
                <a:gd name="connsiteY6" fmla="*/ 217547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69"/>
                  </a:moveTo>
                  <a:lnTo>
                    <a:pt x="217539" y="0"/>
                  </a:lnTo>
                  <a:lnTo>
                    <a:pt x="435077" y="217541"/>
                  </a:lnTo>
                  <a:lnTo>
                    <a:pt x="217539" y="435069"/>
                  </a:lnTo>
                  <a:close/>
                  <a:moveTo>
                    <a:pt x="0" y="435077"/>
                  </a:moveTo>
                  <a:lnTo>
                    <a:pt x="0" y="8"/>
                  </a:lnTo>
                  <a:lnTo>
                    <a:pt x="217512" y="217547"/>
                  </a:lnTo>
                  <a:lnTo>
                    <a:pt x="0" y="435077"/>
                  </a:lnTo>
                  <a:close/>
                </a:path>
              </a:pathLst>
            </a:custGeom>
            <a:grpFill/>
            <a:ln w="27192" cap="flat">
              <a:noFill/>
              <a:prstDash val="solid"/>
              <a:miter/>
            </a:ln>
          </p:spPr>
          <p:txBody>
            <a:bodyPr rtlCol="0" anchor="ctr"/>
            <a:lstStyle/>
            <a:p>
              <a:endParaRPr lang="uk-UA" sz="900"/>
            </a:p>
          </p:txBody>
        </p:sp>
        <p:sp>
          <p:nvSpPr>
            <p:cNvPr id="64" name="Freeform: Shape 63">
              <a:extLst>
                <a:ext uri="{FF2B5EF4-FFF2-40B4-BE49-F238E27FC236}">
                  <a16:creationId xmlns:a16="http://schemas.microsoft.com/office/drawing/2014/main" id="{AE6ADF61-B7AC-D9DB-3217-D0B872314B73}"/>
                </a:ext>
              </a:extLst>
            </p:cNvPr>
            <p:cNvSpPr/>
            <p:nvPr/>
          </p:nvSpPr>
          <p:spPr>
            <a:xfrm>
              <a:off x="4316416" y="1098754"/>
              <a:ext cx="435077" cy="435077"/>
            </a:xfrm>
            <a:custGeom>
              <a:avLst/>
              <a:gdLst>
                <a:gd name="connsiteX0" fmla="*/ 63739 w 435077"/>
                <a:gd name="connsiteY0" fmla="*/ 153824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4 h 435077"/>
                <a:gd name="connsiteX5" fmla="*/ 217539 w 435077"/>
                <a:gd name="connsiteY5" fmla="*/ 217539 h 435077"/>
                <a:gd name="connsiteX6" fmla="*/ 63739 w 435077"/>
                <a:gd name="connsiteY6" fmla="*/ 153824 h 435077"/>
                <a:gd name="connsiteX7" fmla="*/ 63739 w 435077"/>
                <a:gd name="connsiteY7" fmla="*/ 281256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6 h 435077"/>
                <a:gd name="connsiteX12" fmla="*/ 217539 w 435077"/>
                <a:gd name="connsiteY12" fmla="*/ 217539 h 435077"/>
                <a:gd name="connsiteX13" fmla="*/ 63739 w 435077"/>
                <a:gd name="connsiteY13" fmla="*/ 281256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4"/>
                  </a:moveTo>
                  <a:cubicBezTo>
                    <a:pt x="22923" y="113028"/>
                    <a:pt x="0" y="57697"/>
                    <a:pt x="0" y="0"/>
                  </a:cubicBezTo>
                  <a:lnTo>
                    <a:pt x="217539" y="0"/>
                  </a:lnTo>
                  <a:lnTo>
                    <a:pt x="435077" y="0"/>
                  </a:lnTo>
                  <a:cubicBezTo>
                    <a:pt x="435077" y="57697"/>
                    <a:pt x="412181" y="113028"/>
                    <a:pt x="371365" y="153824"/>
                  </a:cubicBezTo>
                  <a:cubicBezTo>
                    <a:pt x="330577" y="194621"/>
                    <a:pt x="275240" y="217539"/>
                    <a:pt x="217539" y="217539"/>
                  </a:cubicBezTo>
                  <a:cubicBezTo>
                    <a:pt x="159864" y="217539"/>
                    <a:pt x="104527" y="194621"/>
                    <a:pt x="63739" y="153824"/>
                  </a:cubicBezTo>
                  <a:close/>
                  <a:moveTo>
                    <a:pt x="63739" y="281256"/>
                  </a:moveTo>
                  <a:cubicBezTo>
                    <a:pt x="22923" y="322052"/>
                    <a:pt x="0" y="377383"/>
                    <a:pt x="0" y="435077"/>
                  </a:cubicBezTo>
                  <a:lnTo>
                    <a:pt x="217539" y="435077"/>
                  </a:lnTo>
                  <a:lnTo>
                    <a:pt x="435077" y="435077"/>
                  </a:lnTo>
                  <a:cubicBezTo>
                    <a:pt x="435077" y="377383"/>
                    <a:pt x="412181" y="322052"/>
                    <a:pt x="371365" y="281256"/>
                  </a:cubicBezTo>
                  <a:cubicBezTo>
                    <a:pt x="330577" y="240459"/>
                    <a:pt x="275240" y="217539"/>
                    <a:pt x="217539" y="217539"/>
                  </a:cubicBezTo>
                  <a:cubicBezTo>
                    <a:pt x="159864" y="217539"/>
                    <a:pt x="104527" y="240459"/>
                    <a:pt x="63739" y="281256"/>
                  </a:cubicBezTo>
                  <a:close/>
                </a:path>
              </a:pathLst>
            </a:custGeom>
            <a:grpFill/>
            <a:ln w="27192" cap="flat">
              <a:noFill/>
              <a:prstDash val="solid"/>
              <a:miter/>
            </a:ln>
          </p:spPr>
          <p:txBody>
            <a:bodyPr rtlCol="0" anchor="ctr"/>
            <a:lstStyle/>
            <a:p>
              <a:endParaRPr lang="uk-UA" sz="900"/>
            </a:p>
          </p:txBody>
        </p:sp>
        <p:sp>
          <p:nvSpPr>
            <p:cNvPr id="65" name="Freeform: Shape 64">
              <a:extLst>
                <a:ext uri="{FF2B5EF4-FFF2-40B4-BE49-F238E27FC236}">
                  <a16:creationId xmlns:a16="http://schemas.microsoft.com/office/drawing/2014/main" id="{E701BD98-055B-7DB0-004A-F1CC1D4CB4A5}"/>
                </a:ext>
              </a:extLst>
            </p:cNvPr>
            <p:cNvSpPr/>
            <p:nvPr/>
          </p:nvSpPr>
          <p:spPr>
            <a:xfrm>
              <a:off x="3446261" y="1098754"/>
              <a:ext cx="435077" cy="435077"/>
            </a:xfrm>
            <a:custGeom>
              <a:avLst/>
              <a:gdLst>
                <a:gd name="connsiteX0" fmla="*/ 435077 w 435077"/>
                <a:gd name="connsiteY0" fmla="*/ 435077 h 435077"/>
                <a:gd name="connsiteX1" fmla="*/ 435077 w 435077"/>
                <a:gd name="connsiteY1" fmla="*/ 0 h 435077"/>
                <a:gd name="connsiteX2" fmla="*/ 217566 w 435077"/>
                <a:gd name="connsiteY2" fmla="*/ 217544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44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6" y="217544"/>
                  </a:lnTo>
                  <a:lnTo>
                    <a:pt x="435077" y="435077"/>
                  </a:lnTo>
                  <a:close/>
                  <a:moveTo>
                    <a:pt x="0" y="435077"/>
                  </a:moveTo>
                  <a:lnTo>
                    <a:pt x="0" y="3"/>
                  </a:lnTo>
                  <a:lnTo>
                    <a:pt x="217539" y="217544"/>
                  </a:lnTo>
                  <a:lnTo>
                    <a:pt x="0" y="435077"/>
                  </a:lnTo>
                  <a:close/>
                </a:path>
              </a:pathLst>
            </a:custGeom>
            <a:grpFill/>
            <a:ln w="27192" cap="flat">
              <a:noFill/>
              <a:prstDash val="solid"/>
              <a:miter/>
            </a:ln>
          </p:spPr>
          <p:txBody>
            <a:bodyPr rtlCol="0" anchor="ctr"/>
            <a:lstStyle/>
            <a:p>
              <a:endParaRPr lang="uk-UA" sz="900"/>
            </a:p>
          </p:txBody>
        </p:sp>
        <p:sp>
          <p:nvSpPr>
            <p:cNvPr id="66" name="Freeform: Shape 65">
              <a:extLst>
                <a:ext uri="{FF2B5EF4-FFF2-40B4-BE49-F238E27FC236}">
                  <a16:creationId xmlns:a16="http://schemas.microsoft.com/office/drawing/2014/main" id="{2200CEA7-4387-CF5F-8803-730913162010}"/>
                </a:ext>
              </a:extLst>
            </p:cNvPr>
            <p:cNvSpPr/>
            <p:nvPr/>
          </p:nvSpPr>
          <p:spPr>
            <a:xfrm>
              <a:off x="5186597" y="1098754"/>
              <a:ext cx="435077" cy="435077"/>
            </a:xfrm>
            <a:custGeom>
              <a:avLst/>
              <a:gdLst>
                <a:gd name="connsiteX0" fmla="*/ 435077 w 435077"/>
                <a:gd name="connsiteY0" fmla="*/ 435077 h 435077"/>
                <a:gd name="connsiteX1" fmla="*/ 435077 w 435077"/>
                <a:gd name="connsiteY1" fmla="*/ 217547 h 435077"/>
                <a:gd name="connsiteX2" fmla="*/ 435077 w 435077"/>
                <a:gd name="connsiteY2" fmla="*/ 16 h 435077"/>
                <a:gd name="connsiteX3" fmla="*/ 217539 w 435077"/>
                <a:gd name="connsiteY3" fmla="*/ 16 h 435077"/>
                <a:gd name="connsiteX4" fmla="*/ 435077 w 435077"/>
                <a:gd name="connsiteY4" fmla="*/ 217547 h 435077"/>
                <a:gd name="connsiteX5" fmla="*/ 217539 w 435077"/>
                <a:gd name="connsiteY5" fmla="*/ 435077 h 435077"/>
                <a:gd name="connsiteX6" fmla="*/ 435077 w 435077"/>
                <a:gd name="connsiteY6" fmla="*/ 435077 h 435077"/>
                <a:gd name="connsiteX7" fmla="*/ 0 w 435077"/>
                <a:gd name="connsiteY7" fmla="*/ 217531 h 435077"/>
                <a:gd name="connsiteX8" fmla="*/ 0 w 435077"/>
                <a:gd name="connsiteY8" fmla="*/ 0 h 435077"/>
                <a:gd name="connsiteX9" fmla="*/ 217512 w 435077"/>
                <a:gd name="connsiteY9" fmla="*/ 217531 h 435077"/>
                <a:gd name="connsiteX10" fmla="*/ 0 w 435077"/>
                <a:gd name="connsiteY10" fmla="*/ 217531 h 435077"/>
                <a:gd name="connsiteX11" fmla="*/ 0 w 435077"/>
                <a:gd name="connsiteY11" fmla="*/ 435072 h 435077"/>
                <a:gd name="connsiteX12" fmla="*/ 0 w 435077"/>
                <a:gd name="connsiteY12" fmla="*/ 217541 h 435077"/>
                <a:gd name="connsiteX13" fmla="*/ 217512 w 435077"/>
                <a:gd name="connsiteY13" fmla="*/ 217541 h 435077"/>
                <a:gd name="connsiteX14" fmla="*/ 0 w 435077"/>
                <a:gd name="connsiteY14" fmla="*/ 43507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47"/>
                  </a:lnTo>
                  <a:lnTo>
                    <a:pt x="435077" y="16"/>
                  </a:lnTo>
                  <a:lnTo>
                    <a:pt x="217539" y="16"/>
                  </a:lnTo>
                  <a:lnTo>
                    <a:pt x="435077" y="217547"/>
                  </a:lnTo>
                  <a:lnTo>
                    <a:pt x="217539" y="435077"/>
                  </a:lnTo>
                  <a:lnTo>
                    <a:pt x="435077" y="435077"/>
                  </a:lnTo>
                  <a:close/>
                  <a:moveTo>
                    <a:pt x="0" y="217531"/>
                  </a:moveTo>
                  <a:lnTo>
                    <a:pt x="0" y="0"/>
                  </a:lnTo>
                  <a:lnTo>
                    <a:pt x="217512" y="217531"/>
                  </a:lnTo>
                  <a:lnTo>
                    <a:pt x="0" y="217531"/>
                  </a:lnTo>
                  <a:close/>
                  <a:moveTo>
                    <a:pt x="0" y="435072"/>
                  </a:moveTo>
                  <a:lnTo>
                    <a:pt x="0" y="217541"/>
                  </a:lnTo>
                  <a:lnTo>
                    <a:pt x="217512" y="217541"/>
                  </a:lnTo>
                  <a:lnTo>
                    <a:pt x="0" y="435072"/>
                  </a:lnTo>
                  <a:close/>
                </a:path>
              </a:pathLst>
            </a:custGeom>
            <a:grpFill/>
            <a:ln w="27192" cap="flat">
              <a:noFill/>
              <a:prstDash val="solid"/>
              <a:miter/>
            </a:ln>
          </p:spPr>
          <p:txBody>
            <a:bodyPr rtlCol="0" anchor="ctr"/>
            <a:lstStyle/>
            <a:p>
              <a:endParaRPr lang="uk-UA" sz="900"/>
            </a:p>
          </p:txBody>
        </p:sp>
        <p:sp>
          <p:nvSpPr>
            <p:cNvPr id="67" name="Freeform: Shape 66">
              <a:extLst>
                <a:ext uri="{FF2B5EF4-FFF2-40B4-BE49-F238E27FC236}">
                  <a16:creationId xmlns:a16="http://schemas.microsoft.com/office/drawing/2014/main" id="{EF714151-5FB7-F031-50A1-5F5EF9770B01}"/>
                </a:ext>
              </a:extLst>
            </p:cNvPr>
            <p:cNvSpPr/>
            <p:nvPr/>
          </p:nvSpPr>
          <p:spPr>
            <a:xfrm>
              <a:off x="6056752" y="1098754"/>
              <a:ext cx="435077" cy="435077"/>
            </a:xfrm>
            <a:custGeom>
              <a:avLst/>
              <a:gdLst>
                <a:gd name="connsiteX0" fmla="*/ 217539 w 435077"/>
                <a:gd name="connsiteY0" fmla="*/ 435069 h 435077"/>
                <a:gd name="connsiteX1" fmla="*/ 217539 w 435077"/>
                <a:gd name="connsiteY1" fmla="*/ 0 h 435077"/>
                <a:gd name="connsiteX2" fmla="*/ 435077 w 435077"/>
                <a:gd name="connsiteY2" fmla="*/ 217541 h 435077"/>
                <a:gd name="connsiteX3" fmla="*/ 217539 w 435077"/>
                <a:gd name="connsiteY3" fmla="*/ 435069 h 435077"/>
                <a:gd name="connsiteX4" fmla="*/ 0 w 435077"/>
                <a:gd name="connsiteY4" fmla="*/ 435077 h 435077"/>
                <a:gd name="connsiteX5" fmla="*/ 0 w 435077"/>
                <a:gd name="connsiteY5" fmla="*/ 8 h 435077"/>
                <a:gd name="connsiteX6" fmla="*/ 217539 w 435077"/>
                <a:gd name="connsiteY6" fmla="*/ 217547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69"/>
                  </a:moveTo>
                  <a:lnTo>
                    <a:pt x="217539" y="0"/>
                  </a:lnTo>
                  <a:lnTo>
                    <a:pt x="435077" y="217541"/>
                  </a:lnTo>
                  <a:lnTo>
                    <a:pt x="217539" y="435069"/>
                  </a:lnTo>
                  <a:close/>
                  <a:moveTo>
                    <a:pt x="0" y="435077"/>
                  </a:moveTo>
                  <a:lnTo>
                    <a:pt x="0" y="8"/>
                  </a:lnTo>
                  <a:lnTo>
                    <a:pt x="217539" y="217547"/>
                  </a:lnTo>
                  <a:lnTo>
                    <a:pt x="0" y="435077"/>
                  </a:lnTo>
                  <a:close/>
                </a:path>
              </a:pathLst>
            </a:custGeom>
            <a:grpFill/>
            <a:ln w="27192" cap="flat">
              <a:noFill/>
              <a:prstDash val="solid"/>
              <a:miter/>
            </a:ln>
          </p:spPr>
          <p:txBody>
            <a:bodyPr rtlCol="0" anchor="ctr"/>
            <a:lstStyle/>
            <a:p>
              <a:endParaRPr lang="uk-UA" sz="900"/>
            </a:p>
          </p:txBody>
        </p:sp>
        <p:sp>
          <p:nvSpPr>
            <p:cNvPr id="68" name="Freeform: Shape 67">
              <a:extLst>
                <a:ext uri="{FF2B5EF4-FFF2-40B4-BE49-F238E27FC236}">
                  <a16:creationId xmlns:a16="http://schemas.microsoft.com/office/drawing/2014/main" id="{171EB642-6A49-4C6E-B0F8-3BD57568C1E7}"/>
                </a:ext>
              </a:extLst>
            </p:cNvPr>
            <p:cNvSpPr/>
            <p:nvPr/>
          </p:nvSpPr>
          <p:spPr>
            <a:xfrm>
              <a:off x="7797062" y="1098754"/>
              <a:ext cx="435077" cy="435077"/>
            </a:xfrm>
            <a:custGeom>
              <a:avLst/>
              <a:gdLst>
                <a:gd name="connsiteX0" fmla="*/ 63739 w 435077"/>
                <a:gd name="connsiteY0" fmla="*/ 153824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4 h 435077"/>
                <a:gd name="connsiteX5" fmla="*/ 217539 w 435077"/>
                <a:gd name="connsiteY5" fmla="*/ 217539 h 435077"/>
                <a:gd name="connsiteX6" fmla="*/ 63739 w 435077"/>
                <a:gd name="connsiteY6" fmla="*/ 153824 h 435077"/>
                <a:gd name="connsiteX7" fmla="*/ 63739 w 435077"/>
                <a:gd name="connsiteY7" fmla="*/ 281256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6 h 435077"/>
                <a:gd name="connsiteX12" fmla="*/ 217539 w 435077"/>
                <a:gd name="connsiteY12" fmla="*/ 217539 h 435077"/>
                <a:gd name="connsiteX13" fmla="*/ 63739 w 435077"/>
                <a:gd name="connsiteY13" fmla="*/ 281256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4"/>
                  </a:moveTo>
                  <a:cubicBezTo>
                    <a:pt x="22924" y="113028"/>
                    <a:pt x="0" y="57697"/>
                    <a:pt x="0" y="0"/>
                  </a:cubicBezTo>
                  <a:lnTo>
                    <a:pt x="217539" y="0"/>
                  </a:lnTo>
                  <a:lnTo>
                    <a:pt x="435077" y="0"/>
                  </a:lnTo>
                  <a:cubicBezTo>
                    <a:pt x="435077" y="57697"/>
                    <a:pt x="412182" y="113028"/>
                    <a:pt x="371366" y="153824"/>
                  </a:cubicBezTo>
                  <a:cubicBezTo>
                    <a:pt x="330578" y="194621"/>
                    <a:pt x="275241" y="217539"/>
                    <a:pt x="217539" y="217539"/>
                  </a:cubicBezTo>
                  <a:cubicBezTo>
                    <a:pt x="159864" y="217539"/>
                    <a:pt x="104527" y="194621"/>
                    <a:pt x="63739" y="153824"/>
                  </a:cubicBezTo>
                  <a:close/>
                  <a:moveTo>
                    <a:pt x="63739" y="281256"/>
                  </a:moveTo>
                  <a:cubicBezTo>
                    <a:pt x="22924" y="322052"/>
                    <a:pt x="0" y="377383"/>
                    <a:pt x="0" y="435077"/>
                  </a:cubicBezTo>
                  <a:lnTo>
                    <a:pt x="217539" y="435077"/>
                  </a:lnTo>
                  <a:lnTo>
                    <a:pt x="435077" y="435077"/>
                  </a:lnTo>
                  <a:cubicBezTo>
                    <a:pt x="435077" y="377383"/>
                    <a:pt x="412182" y="322052"/>
                    <a:pt x="371366" y="281256"/>
                  </a:cubicBezTo>
                  <a:cubicBezTo>
                    <a:pt x="330578" y="240459"/>
                    <a:pt x="275241" y="217539"/>
                    <a:pt x="217539" y="217539"/>
                  </a:cubicBezTo>
                  <a:cubicBezTo>
                    <a:pt x="159864" y="217539"/>
                    <a:pt x="104527" y="240459"/>
                    <a:pt x="63739" y="281256"/>
                  </a:cubicBezTo>
                  <a:close/>
                </a:path>
              </a:pathLst>
            </a:custGeom>
            <a:grpFill/>
            <a:ln w="27192" cap="flat">
              <a:noFill/>
              <a:prstDash val="solid"/>
              <a:miter/>
            </a:ln>
          </p:spPr>
          <p:txBody>
            <a:bodyPr rtlCol="0" anchor="ctr"/>
            <a:lstStyle/>
            <a:p>
              <a:endParaRPr lang="uk-UA" sz="900"/>
            </a:p>
          </p:txBody>
        </p:sp>
        <p:sp>
          <p:nvSpPr>
            <p:cNvPr id="69" name="Freeform: Shape 68">
              <a:extLst>
                <a:ext uri="{FF2B5EF4-FFF2-40B4-BE49-F238E27FC236}">
                  <a16:creationId xmlns:a16="http://schemas.microsoft.com/office/drawing/2014/main" id="{BB89ADA1-D83A-FC12-6F28-B6EE07C5C967}"/>
                </a:ext>
              </a:extLst>
            </p:cNvPr>
            <p:cNvSpPr/>
            <p:nvPr/>
          </p:nvSpPr>
          <p:spPr>
            <a:xfrm>
              <a:off x="6926907" y="1098754"/>
              <a:ext cx="435077" cy="435077"/>
            </a:xfrm>
            <a:custGeom>
              <a:avLst/>
              <a:gdLst>
                <a:gd name="connsiteX0" fmla="*/ 435077 w 435077"/>
                <a:gd name="connsiteY0" fmla="*/ 435077 h 435077"/>
                <a:gd name="connsiteX1" fmla="*/ 435077 w 435077"/>
                <a:gd name="connsiteY1" fmla="*/ 0 h 435077"/>
                <a:gd name="connsiteX2" fmla="*/ 217566 w 435077"/>
                <a:gd name="connsiteY2" fmla="*/ 217544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44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6" y="217544"/>
                  </a:lnTo>
                  <a:lnTo>
                    <a:pt x="435077" y="435077"/>
                  </a:lnTo>
                  <a:close/>
                  <a:moveTo>
                    <a:pt x="0" y="435077"/>
                  </a:moveTo>
                  <a:lnTo>
                    <a:pt x="0" y="3"/>
                  </a:lnTo>
                  <a:lnTo>
                    <a:pt x="217539" y="217544"/>
                  </a:lnTo>
                  <a:lnTo>
                    <a:pt x="0" y="435077"/>
                  </a:lnTo>
                  <a:close/>
                </a:path>
              </a:pathLst>
            </a:custGeom>
            <a:grpFill/>
            <a:ln w="27192" cap="flat">
              <a:noFill/>
              <a:prstDash val="solid"/>
              <a:miter/>
            </a:ln>
          </p:spPr>
          <p:txBody>
            <a:bodyPr rtlCol="0" anchor="ctr"/>
            <a:lstStyle/>
            <a:p>
              <a:endParaRPr lang="uk-UA" sz="900"/>
            </a:p>
          </p:txBody>
        </p:sp>
        <p:sp>
          <p:nvSpPr>
            <p:cNvPr id="70" name="Freeform: Shape 69">
              <a:extLst>
                <a:ext uri="{FF2B5EF4-FFF2-40B4-BE49-F238E27FC236}">
                  <a16:creationId xmlns:a16="http://schemas.microsoft.com/office/drawing/2014/main" id="{0D66C707-813D-C9A2-E84E-25FD0AE0F37E}"/>
                </a:ext>
              </a:extLst>
            </p:cNvPr>
            <p:cNvSpPr/>
            <p:nvPr/>
          </p:nvSpPr>
          <p:spPr>
            <a:xfrm>
              <a:off x="8667217" y="1098754"/>
              <a:ext cx="435077" cy="435077"/>
            </a:xfrm>
            <a:custGeom>
              <a:avLst/>
              <a:gdLst>
                <a:gd name="connsiteX0" fmla="*/ 435077 w 435077"/>
                <a:gd name="connsiteY0" fmla="*/ 435077 h 435077"/>
                <a:gd name="connsiteX1" fmla="*/ 435077 w 435077"/>
                <a:gd name="connsiteY1" fmla="*/ 217547 h 435077"/>
                <a:gd name="connsiteX2" fmla="*/ 435077 w 435077"/>
                <a:gd name="connsiteY2" fmla="*/ 16 h 435077"/>
                <a:gd name="connsiteX3" fmla="*/ 217566 w 435077"/>
                <a:gd name="connsiteY3" fmla="*/ 16 h 435077"/>
                <a:gd name="connsiteX4" fmla="*/ 435077 w 435077"/>
                <a:gd name="connsiteY4" fmla="*/ 217547 h 435077"/>
                <a:gd name="connsiteX5" fmla="*/ 217566 w 435077"/>
                <a:gd name="connsiteY5" fmla="*/ 435077 h 435077"/>
                <a:gd name="connsiteX6" fmla="*/ 435077 w 435077"/>
                <a:gd name="connsiteY6" fmla="*/ 435077 h 435077"/>
                <a:gd name="connsiteX7" fmla="*/ 0 w 435077"/>
                <a:gd name="connsiteY7" fmla="*/ 217531 h 435077"/>
                <a:gd name="connsiteX8" fmla="*/ 0 w 435077"/>
                <a:gd name="connsiteY8" fmla="*/ 0 h 435077"/>
                <a:gd name="connsiteX9" fmla="*/ 217539 w 435077"/>
                <a:gd name="connsiteY9" fmla="*/ 217531 h 435077"/>
                <a:gd name="connsiteX10" fmla="*/ 0 w 435077"/>
                <a:gd name="connsiteY10" fmla="*/ 217531 h 435077"/>
                <a:gd name="connsiteX11" fmla="*/ 0 w 435077"/>
                <a:gd name="connsiteY11" fmla="*/ 435072 h 435077"/>
                <a:gd name="connsiteX12" fmla="*/ 0 w 435077"/>
                <a:gd name="connsiteY12" fmla="*/ 217541 h 435077"/>
                <a:gd name="connsiteX13" fmla="*/ 217539 w 435077"/>
                <a:gd name="connsiteY13" fmla="*/ 217541 h 435077"/>
                <a:gd name="connsiteX14" fmla="*/ 0 w 435077"/>
                <a:gd name="connsiteY14" fmla="*/ 43507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47"/>
                  </a:lnTo>
                  <a:lnTo>
                    <a:pt x="435077" y="16"/>
                  </a:lnTo>
                  <a:lnTo>
                    <a:pt x="217566" y="16"/>
                  </a:lnTo>
                  <a:lnTo>
                    <a:pt x="435077" y="217547"/>
                  </a:lnTo>
                  <a:lnTo>
                    <a:pt x="217566" y="435077"/>
                  </a:lnTo>
                  <a:lnTo>
                    <a:pt x="435077" y="435077"/>
                  </a:lnTo>
                  <a:close/>
                  <a:moveTo>
                    <a:pt x="0" y="217531"/>
                  </a:moveTo>
                  <a:lnTo>
                    <a:pt x="0" y="0"/>
                  </a:lnTo>
                  <a:lnTo>
                    <a:pt x="217539" y="217531"/>
                  </a:lnTo>
                  <a:lnTo>
                    <a:pt x="0" y="217531"/>
                  </a:lnTo>
                  <a:close/>
                  <a:moveTo>
                    <a:pt x="0" y="435072"/>
                  </a:moveTo>
                  <a:lnTo>
                    <a:pt x="0" y="217541"/>
                  </a:lnTo>
                  <a:lnTo>
                    <a:pt x="217539" y="217541"/>
                  </a:lnTo>
                  <a:lnTo>
                    <a:pt x="0" y="435072"/>
                  </a:lnTo>
                  <a:close/>
                </a:path>
              </a:pathLst>
            </a:custGeom>
            <a:grpFill/>
            <a:ln w="27192" cap="flat">
              <a:noFill/>
              <a:prstDash val="solid"/>
              <a:miter/>
            </a:ln>
          </p:spPr>
          <p:txBody>
            <a:bodyPr rtlCol="0" anchor="ctr"/>
            <a:lstStyle/>
            <a:p>
              <a:endParaRPr lang="uk-UA" sz="900"/>
            </a:p>
          </p:txBody>
        </p:sp>
        <p:sp>
          <p:nvSpPr>
            <p:cNvPr id="71" name="Freeform: Shape 70">
              <a:extLst>
                <a:ext uri="{FF2B5EF4-FFF2-40B4-BE49-F238E27FC236}">
                  <a16:creationId xmlns:a16="http://schemas.microsoft.com/office/drawing/2014/main" id="{456480EC-0F4F-6C23-B514-1E3B61B4EA04}"/>
                </a:ext>
              </a:extLst>
            </p:cNvPr>
            <p:cNvSpPr/>
            <p:nvPr/>
          </p:nvSpPr>
          <p:spPr>
            <a:xfrm>
              <a:off x="9537399" y="1098754"/>
              <a:ext cx="435077" cy="435077"/>
            </a:xfrm>
            <a:custGeom>
              <a:avLst/>
              <a:gdLst>
                <a:gd name="connsiteX0" fmla="*/ 217539 w 435077"/>
                <a:gd name="connsiteY0" fmla="*/ 435069 h 435077"/>
                <a:gd name="connsiteX1" fmla="*/ 217539 w 435077"/>
                <a:gd name="connsiteY1" fmla="*/ 0 h 435077"/>
                <a:gd name="connsiteX2" fmla="*/ 435077 w 435077"/>
                <a:gd name="connsiteY2" fmla="*/ 217541 h 435077"/>
                <a:gd name="connsiteX3" fmla="*/ 217539 w 435077"/>
                <a:gd name="connsiteY3" fmla="*/ 435069 h 435077"/>
                <a:gd name="connsiteX4" fmla="*/ 0 w 435077"/>
                <a:gd name="connsiteY4" fmla="*/ 435077 h 435077"/>
                <a:gd name="connsiteX5" fmla="*/ 0 w 435077"/>
                <a:gd name="connsiteY5" fmla="*/ 8 h 435077"/>
                <a:gd name="connsiteX6" fmla="*/ 217539 w 435077"/>
                <a:gd name="connsiteY6" fmla="*/ 217547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69"/>
                  </a:moveTo>
                  <a:lnTo>
                    <a:pt x="217539" y="0"/>
                  </a:lnTo>
                  <a:lnTo>
                    <a:pt x="435077" y="217541"/>
                  </a:lnTo>
                  <a:lnTo>
                    <a:pt x="217539" y="435069"/>
                  </a:lnTo>
                  <a:close/>
                  <a:moveTo>
                    <a:pt x="0" y="435077"/>
                  </a:moveTo>
                  <a:lnTo>
                    <a:pt x="0" y="8"/>
                  </a:lnTo>
                  <a:lnTo>
                    <a:pt x="217539" y="217547"/>
                  </a:lnTo>
                  <a:lnTo>
                    <a:pt x="0" y="435077"/>
                  </a:lnTo>
                  <a:close/>
                </a:path>
              </a:pathLst>
            </a:custGeom>
            <a:grpFill/>
            <a:ln w="27192" cap="flat">
              <a:noFill/>
              <a:prstDash val="solid"/>
              <a:miter/>
            </a:ln>
          </p:spPr>
          <p:txBody>
            <a:bodyPr rtlCol="0" anchor="ctr"/>
            <a:lstStyle/>
            <a:p>
              <a:endParaRPr lang="uk-UA" sz="900"/>
            </a:p>
          </p:txBody>
        </p:sp>
        <p:sp>
          <p:nvSpPr>
            <p:cNvPr id="72" name="Freeform: Shape 71">
              <a:extLst>
                <a:ext uri="{FF2B5EF4-FFF2-40B4-BE49-F238E27FC236}">
                  <a16:creationId xmlns:a16="http://schemas.microsoft.com/office/drawing/2014/main" id="{0D1DA0A7-C282-708A-B881-4248E519F0CE}"/>
                </a:ext>
              </a:extLst>
            </p:cNvPr>
            <p:cNvSpPr/>
            <p:nvPr/>
          </p:nvSpPr>
          <p:spPr>
            <a:xfrm>
              <a:off x="11277709" y="1098754"/>
              <a:ext cx="435077" cy="435077"/>
            </a:xfrm>
            <a:custGeom>
              <a:avLst/>
              <a:gdLst>
                <a:gd name="connsiteX0" fmla="*/ 63710 w 435077"/>
                <a:gd name="connsiteY0" fmla="*/ 153824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4 h 435077"/>
                <a:gd name="connsiteX5" fmla="*/ 217539 w 435077"/>
                <a:gd name="connsiteY5" fmla="*/ 217539 h 435077"/>
                <a:gd name="connsiteX6" fmla="*/ 63710 w 435077"/>
                <a:gd name="connsiteY6" fmla="*/ 153824 h 435077"/>
                <a:gd name="connsiteX7" fmla="*/ 63710 w 435077"/>
                <a:gd name="connsiteY7" fmla="*/ 281256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6 h 435077"/>
                <a:gd name="connsiteX12" fmla="*/ 217539 w 435077"/>
                <a:gd name="connsiteY12" fmla="*/ 217539 h 435077"/>
                <a:gd name="connsiteX13" fmla="*/ 63710 w 435077"/>
                <a:gd name="connsiteY13" fmla="*/ 281256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4"/>
                  </a:moveTo>
                  <a:cubicBezTo>
                    <a:pt x="22922" y="113028"/>
                    <a:pt x="0" y="57697"/>
                    <a:pt x="0" y="0"/>
                  </a:cubicBezTo>
                  <a:lnTo>
                    <a:pt x="217539" y="0"/>
                  </a:lnTo>
                  <a:lnTo>
                    <a:pt x="435077" y="0"/>
                  </a:lnTo>
                  <a:cubicBezTo>
                    <a:pt x="435077" y="57697"/>
                    <a:pt x="412154" y="113028"/>
                    <a:pt x="371365" y="153824"/>
                  </a:cubicBezTo>
                  <a:cubicBezTo>
                    <a:pt x="330549" y="194621"/>
                    <a:pt x="275239" y="217539"/>
                    <a:pt x="217539" y="217539"/>
                  </a:cubicBezTo>
                  <a:cubicBezTo>
                    <a:pt x="159836" y="217539"/>
                    <a:pt x="104499" y="194621"/>
                    <a:pt x="63710" y="153824"/>
                  </a:cubicBezTo>
                  <a:close/>
                  <a:moveTo>
                    <a:pt x="63710" y="281256"/>
                  </a:moveTo>
                  <a:cubicBezTo>
                    <a:pt x="22922" y="322052"/>
                    <a:pt x="0" y="377383"/>
                    <a:pt x="0" y="435077"/>
                  </a:cubicBezTo>
                  <a:lnTo>
                    <a:pt x="217539" y="435077"/>
                  </a:lnTo>
                  <a:lnTo>
                    <a:pt x="435077" y="435077"/>
                  </a:lnTo>
                  <a:cubicBezTo>
                    <a:pt x="435077" y="377383"/>
                    <a:pt x="412154" y="322052"/>
                    <a:pt x="371365" y="281256"/>
                  </a:cubicBezTo>
                  <a:cubicBezTo>
                    <a:pt x="330549" y="240459"/>
                    <a:pt x="275239" y="217539"/>
                    <a:pt x="217539" y="217539"/>
                  </a:cubicBezTo>
                  <a:cubicBezTo>
                    <a:pt x="159836" y="217539"/>
                    <a:pt x="104499" y="240459"/>
                    <a:pt x="63710" y="281256"/>
                  </a:cubicBezTo>
                  <a:close/>
                </a:path>
              </a:pathLst>
            </a:custGeom>
            <a:grpFill/>
            <a:ln w="27192" cap="flat">
              <a:noFill/>
              <a:prstDash val="solid"/>
              <a:miter/>
            </a:ln>
          </p:spPr>
          <p:txBody>
            <a:bodyPr rtlCol="0" anchor="ctr"/>
            <a:lstStyle/>
            <a:p>
              <a:endParaRPr lang="uk-UA" sz="900"/>
            </a:p>
          </p:txBody>
        </p:sp>
        <p:sp>
          <p:nvSpPr>
            <p:cNvPr id="73" name="Freeform: Shape 72">
              <a:extLst>
                <a:ext uri="{FF2B5EF4-FFF2-40B4-BE49-F238E27FC236}">
                  <a16:creationId xmlns:a16="http://schemas.microsoft.com/office/drawing/2014/main" id="{1D2CE37F-D848-9CBA-4A11-90A80EAF8E61}"/>
                </a:ext>
              </a:extLst>
            </p:cNvPr>
            <p:cNvSpPr/>
            <p:nvPr/>
          </p:nvSpPr>
          <p:spPr>
            <a:xfrm>
              <a:off x="10407554" y="1098754"/>
              <a:ext cx="435077" cy="435077"/>
            </a:xfrm>
            <a:custGeom>
              <a:avLst/>
              <a:gdLst>
                <a:gd name="connsiteX0" fmla="*/ 435077 w 435077"/>
                <a:gd name="connsiteY0" fmla="*/ 435077 h 435077"/>
                <a:gd name="connsiteX1" fmla="*/ 435077 w 435077"/>
                <a:gd name="connsiteY1" fmla="*/ 0 h 435077"/>
                <a:gd name="connsiteX2" fmla="*/ 217539 w 435077"/>
                <a:gd name="connsiteY2" fmla="*/ 217544 h 435077"/>
                <a:gd name="connsiteX3" fmla="*/ 435077 w 435077"/>
                <a:gd name="connsiteY3" fmla="*/ 435077 h 435077"/>
                <a:gd name="connsiteX4" fmla="*/ 0 w 435077"/>
                <a:gd name="connsiteY4" fmla="*/ 435077 h 435077"/>
                <a:gd name="connsiteX5" fmla="*/ 0 w 435077"/>
                <a:gd name="connsiteY5" fmla="*/ 3 h 435077"/>
                <a:gd name="connsiteX6" fmla="*/ 217511 w 435077"/>
                <a:gd name="connsiteY6" fmla="*/ 217544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44"/>
                  </a:lnTo>
                  <a:lnTo>
                    <a:pt x="435077" y="435077"/>
                  </a:lnTo>
                  <a:close/>
                  <a:moveTo>
                    <a:pt x="0" y="435077"/>
                  </a:moveTo>
                  <a:lnTo>
                    <a:pt x="0" y="3"/>
                  </a:lnTo>
                  <a:lnTo>
                    <a:pt x="217511" y="217544"/>
                  </a:lnTo>
                  <a:lnTo>
                    <a:pt x="0" y="435077"/>
                  </a:lnTo>
                  <a:close/>
                </a:path>
              </a:pathLst>
            </a:custGeom>
            <a:grpFill/>
            <a:ln w="27192" cap="flat">
              <a:noFill/>
              <a:prstDash val="solid"/>
              <a:miter/>
            </a:ln>
          </p:spPr>
          <p:txBody>
            <a:bodyPr rtlCol="0" anchor="ctr"/>
            <a:lstStyle/>
            <a:p>
              <a:endParaRPr lang="uk-UA" sz="900"/>
            </a:p>
          </p:txBody>
        </p:sp>
        <p:sp>
          <p:nvSpPr>
            <p:cNvPr id="74" name="Freeform: Shape 73">
              <a:extLst>
                <a:ext uri="{FF2B5EF4-FFF2-40B4-BE49-F238E27FC236}">
                  <a16:creationId xmlns:a16="http://schemas.microsoft.com/office/drawing/2014/main" id="{D03E37FF-D26E-116D-112F-40FFA40CDCC1}"/>
                </a:ext>
              </a:extLst>
            </p:cNvPr>
            <p:cNvSpPr/>
            <p:nvPr/>
          </p:nvSpPr>
          <p:spPr>
            <a:xfrm>
              <a:off x="12147864" y="1098754"/>
              <a:ext cx="435077" cy="435077"/>
            </a:xfrm>
            <a:custGeom>
              <a:avLst/>
              <a:gdLst>
                <a:gd name="connsiteX0" fmla="*/ 435077 w 435077"/>
                <a:gd name="connsiteY0" fmla="*/ 435077 h 435077"/>
                <a:gd name="connsiteX1" fmla="*/ 435077 w 435077"/>
                <a:gd name="connsiteY1" fmla="*/ 217547 h 435077"/>
                <a:gd name="connsiteX2" fmla="*/ 435077 w 435077"/>
                <a:gd name="connsiteY2" fmla="*/ 16 h 435077"/>
                <a:gd name="connsiteX3" fmla="*/ 217565 w 435077"/>
                <a:gd name="connsiteY3" fmla="*/ 16 h 435077"/>
                <a:gd name="connsiteX4" fmla="*/ 435077 w 435077"/>
                <a:gd name="connsiteY4" fmla="*/ 217547 h 435077"/>
                <a:gd name="connsiteX5" fmla="*/ 217565 w 435077"/>
                <a:gd name="connsiteY5" fmla="*/ 435077 h 435077"/>
                <a:gd name="connsiteX6" fmla="*/ 435077 w 435077"/>
                <a:gd name="connsiteY6" fmla="*/ 435077 h 435077"/>
                <a:gd name="connsiteX7" fmla="*/ 0 w 435077"/>
                <a:gd name="connsiteY7" fmla="*/ 217531 h 435077"/>
                <a:gd name="connsiteX8" fmla="*/ 0 w 435077"/>
                <a:gd name="connsiteY8" fmla="*/ 0 h 435077"/>
                <a:gd name="connsiteX9" fmla="*/ 217539 w 435077"/>
                <a:gd name="connsiteY9" fmla="*/ 217531 h 435077"/>
                <a:gd name="connsiteX10" fmla="*/ 0 w 435077"/>
                <a:gd name="connsiteY10" fmla="*/ 217531 h 435077"/>
                <a:gd name="connsiteX11" fmla="*/ 0 w 435077"/>
                <a:gd name="connsiteY11" fmla="*/ 435072 h 435077"/>
                <a:gd name="connsiteX12" fmla="*/ 0 w 435077"/>
                <a:gd name="connsiteY12" fmla="*/ 217541 h 435077"/>
                <a:gd name="connsiteX13" fmla="*/ 217539 w 435077"/>
                <a:gd name="connsiteY13" fmla="*/ 217541 h 435077"/>
                <a:gd name="connsiteX14" fmla="*/ 0 w 435077"/>
                <a:gd name="connsiteY14" fmla="*/ 43507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47"/>
                  </a:lnTo>
                  <a:lnTo>
                    <a:pt x="435077" y="16"/>
                  </a:lnTo>
                  <a:lnTo>
                    <a:pt x="217565" y="16"/>
                  </a:lnTo>
                  <a:lnTo>
                    <a:pt x="435077" y="217547"/>
                  </a:lnTo>
                  <a:lnTo>
                    <a:pt x="217565" y="435077"/>
                  </a:lnTo>
                  <a:lnTo>
                    <a:pt x="435077" y="435077"/>
                  </a:lnTo>
                  <a:close/>
                  <a:moveTo>
                    <a:pt x="0" y="217531"/>
                  </a:moveTo>
                  <a:lnTo>
                    <a:pt x="0" y="0"/>
                  </a:lnTo>
                  <a:lnTo>
                    <a:pt x="217539" y="217531"/>
                  </a:lnTo>
                  <a:lnTo>
                    <a:pt x="0" y="217531"/>
                  </a:lnTo>
                  <a:close/>
                  <a:moveTo>
                    <a:pt x="0" y="435072"/>
                  </a:moveTo>
                  <a:lnTo>
                    <a:pt x="0" y="217541"/>
                  </a:lnTo>
                  <a:lnTo>
                    <a:pt x="217539" y="217541"/>
                  </a:lnTo>
                  <a:lnTo>
                    <a:pt x="0" y="435072"/>
                  </a:lnTo>
                  <a:close/>
                </a:path>
              </a:pathLst>
            </a:custGeom>
            <a:grpFill/>
            <a:ln w="27192" cap="flat">
              <a:noFill/>
              <a:prstDash val="solid"/>
              <a:miter/>
            </a:ln>
          </p:spPr>
          <p:txBody>
            <a:bodyPr rtlCol="0" anchor="ctr"/>
            <a:lstStyle/>
            <a:p>
              <a:endParaRPr lang="uk-UA" sz="900"/>
            </a:p>
          </p:txBody>
        </p:sp>
        <p:sp>
          <p:nvSpPr>
            <p:cNvPr id="75" name="Freeform: Shape 74">
              <a:extLst>
                <a:ext uri="{FF2B5EF4-FFF2-40B4-BE49-F238E27FC236}">
                  <a16:creationId xmlns:a16="http://schemas.microsoft.com/office/drawing/2014/main" id="{F3D134B6-CFEE-7C4E-9AA7-8F2AA05A3425}"/>
                </a:ext>
              </a:extLst>
            </p:cNvPr>
            <p:cNvSpPr/>
            <p:nvPr/>
          </p:nvSpPr>
          <p:spPr>
            <a:xfrm>
              <a:off x="13018045" y="1098754"/>
              <a:ext cx="435077" cy="435077"/>
            </a:xfrm>
            <a:custGeom>
              <a:avLst/>
              <a:gdLst>
                <a:gd name="connsiteX0" fmla="*/ 217539 w 435077"/>
                <a:gd name="connsiteY0" fmla="*/ 435069 h 435077"/>
                <a:gd name="connsiteX1" fmla="*/ 217539 w 435077"/>
                <a:gd name="connsiteY1" fmla="*/ 0 h 435077"/>
                <a:gd name="connsiteX2" fmla="*/ 435077 w 435077"/>
                <a:gd name="connsiteY2" fmla="*/ 217541 h 435077"/>
                <a:gd name="connsiteX3" fmla="*/ 217539 w 435077"/>
                <a:gd name="connsiteY3" fmla="*/ 435069 h 435077"/>
                <a:gd name="connsiteX4" fmla="*/ 0 w 435077"/>
                <a:gd name="connsiteY4" fmla="*/ 435077 h 435077"/>
                <a:gd name="connsiteX5" fmla="*/ 0 w 435077"/>
                <a:gd name="connsiteY5" fmla="*/ 8 h 435077"/>
                <a:gd name="connsiteX6" fmla="*/ 217539 w 435077"/>
                <a:gd name="connsiteY6" fmla="*/ 217547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69"/>
                  </a:moveTo>
                  <a:lnTo>
                    <a:pt x="217539" y="0"/>
                  </a:lnTo>
                  <a:lnTo>
                    <a:pt x="435077" y="217541"/>
                  </a:lnTo>
                  <a:lnTo>
                    <a:pt x="217539" y="435069"/>
                  </a:lnTo>
                  <a:close/>
                  <a:moveTo>
                    <a:pt x="0" y="435077"/>
                  </a:moveTo>
                  <a:lnTo>
                    <a:pt x="0" y="8"/>
                  </a:lnTo>
                  <a:lnTo>
                    <a:pt x="217539" y="217547"/>
                  </a:lnTo>
                  <a:lnTo>
                    <a:pt x="0" y="435077"/>
                  </a:lnTo>
                  <a:close/>
                </a:path>
              </a:pathLst>
            </a:custGeom>
            <a:grpFill/>
            <a:ln w="27192" cap="flat">
              <a:noFill/>
              <a:prstDash val="solid"/>
              <a:miter/>
            </a:ln>
          </p:spPr>
          <p:txBody>
            <a:bodyPr rtlCol="0" anchor="ctr"/>
            <a:lstStyle/>
            <a:p>
              <a:endParaRPr lang="uk-UA" sz="900"/>
            </a:p>
          </p:txBody>
        </p:sp>
        <p:sp>
          <p:nvSpPr>
            <p:cNvPr id="76" name="Freeform: Shape 75">
              <a:extLst>
                <a:ext uri="{FF2B5EF4-FFF2-40B4-BE49-F238E27FC236}">
                  <a16:creationId xmlns:a16="http://schemas.microsoft.com/office/drawing/2014/main" id="{98F9AF48-5CC8-ADFA-F9FD-BC199D6E1169}"/>
                </a:ext>
              </a:extLst>
            </p:cNvPr>
            <p:cNvSpPr/>
            <p:nvPr/>
          </p:nvSpPr>
          <p:spPr>
            <a:xfrm>
              <a:off x="14758382" y="1098754"/>
              <a:ext cx="435077" cy="435077"/>
            </a:xfrm>
            <a:custGeom>
              <a:avLst/>
              <a:gdLst>
                <a:gd name="connsiteX0" fmla="*/ 63712 w 435077"/>
                <a:gd name="connsiteY0" fmla="*/ 153824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4 h 435077"/>
                <a:gd name="connsiteX5" fmla="*/ 217539 w 435077"/>
                <a:gd name="connsiteY5" fmla="*/ 217539 h 435077"/>
                <a:gd name="connsiteX6" fmla="*/ 63712 w 435077"/>
                <a:gd name="connsiteY6" fmla="*/ 153824 h 435077"/>
                <a:gd name="connsiteX7" fmla="*/ 63712 w 435077"/>
                <a:gd name="connsiteY7" fmla="*/ 281256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56 h 435077"/>
                <a:gd name="connsiteX12" fmla="*/ 217539 w 435077"/>
                <a:gd name="connsiteY12" fmla="*/ 217539 h 435077"/>
                <a:gd name="connsiteX13" fmla="*/ 63712 w 435077"/>
                <a:gd name="connsiteY13" fmla="*/ 281256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4"/>
                  </a:moveTo>
                  <a:cubicBezTo>
                    <a:pt x="22924" y="113028"/>
                    <a:pt x="0" y="57697"/>
                    <a:pt x="0" y="0"/>
                  </a:cubicBezTo>
                  <a:lnTo>
                    <a:pt x="217539" y="0"/>
                  </a:lnTo>
                  <a:lnTo>
                    <a:pt x="435077" y="0"/>
                  </a:lnTo>
                  <a:cubicBezTo>
                    <a:pt x="435077" y="57697"/>
                    <a:pt x="412155" y="113028"/>
                    <a:pt x="371367" y="153824"/>
                  </a:cubicBezTo>
                  <a:cubicBezTo>
                    <a:pt x="330550" y="194621"/>
                    <a:pt x="275241" y="217539"/>
                    <a:pt x="217539" y="217539"/>
                  </a:cubicBezTo>
                  <a:cubicBezTo>
                    <a:pt x="159836" y="217539"/>
                    <a:pt x="104501" y="194621"/>
                    <a:pt x="63712" y="153824"/>
                  </a:cubicBezTo>
                  <a:close/>
                  <a:moveTo>
                    <a:pt x="63712" y="281256"/>
                  </a:moveTo>
                  <a:cubicBezTo>
                    <a:pt x="22924" y="322052"/>
                    <a:pt x="0" y="377383"/>
                    <a:pt x="0" y="435077"/>
                  </a:cubicBezTo>
                  <a:lnTo>
                    <a:pt x="217539" y="435077"/>
                  </a:lnTo>
                  <a:lnTo>
                    <a:pt x="435077" y="435077"/>
                  </a:lnTo>
                  <a:cubicBezTo>
                    <a:pt x="435077" y="377383"/>
                    <a:pt x="412155" y="322052"/>
                    <a:pt x="371367" y="281256"/>
                  </a:cubicBezTo>
                  <a:cubicBezTo>
                    <a:pt x="330550" y="240459"/>
                    <a:pt x="275241" y="217539"/>
                    <a:pt x="217539" y="217539"/>
                  </a:cubicBezTo>
                  <a:cubicBezTo>
                    <a:pt x="159836" y="217539"/>
                    <a:pt x="104501" y="240459"/>
                    <a:pt x="63712" y="281256"/>
                  </a:cubicBezTo>
                  <a:close/>
                </a:path>
              </a:pathLst>
            </a:custGeom>
            <a:grpFill/>
            <a:ln w="27192" cap="flat">
              <a:noFill/>
              <a:prstDash val="solid"/>
              <a:miter/>
            </a:ln>
          </p:spPr>
          <p:txBody>
            <a:bodyPr rtlCol="0" anchor="ctr"/>
            <a:lstStyle/>
            <a:p>
              <a:endParaRPr lang="uk-UA" sz="900"/>
            </a:p>
          </p:txBody>
        </p:sp>
        <p:sp>
          <p:nvSpPr>
            <p:cNvPr id="77" name="Freeform: Shape 76">
              <a:extLst>
                <a:ext uri="{FF2B5EF4-FFF2-40B4-BE49-F238E27FC236}">
                  <a16:creationId xmlns:a16="http://schemas.microsoft.com/office/drawing/2014/main" id="{CE0311A8-FF55-42F7-1288-AA0AC3F19226}"/>
                </a:ext>
              </a:extLst>
            </p:cNvPr>
            <p:cNvSpPr/>
            <p:nvPr/>
          </p:nvSpPr>
          <p:spPr>
            <a:xfrm>
              <a:off x="13888200" y="1098754"/>
              <a:ext cx="435077" cy="435077"/>
            </a:xfrm>
            <a:custGeom>
              <a:avLst/>
              <a:gdLst>
                <a:gd name="connsiteX0" fmla="*/ 435077 w 435077"/>
                <a:gd name="connsiteY0" fmla="*/ 435077 h 435077"/>
                <a:gd name="connsiteX1" fmla="*/ 435077 w 435077"/>
                <a:gd name="connsiteY1" fmla="*/ 0 h 435077"/>
                <a:gd name="connsiteX2" fmla="*/ 217565 w 435077"/>
                <a:gd name="connsiteY2" fmla="*/ 217544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44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44"/>
                  </a:lnTo>
                  <a:lnTo>
                    <a:pt x="435077" y="435077"/>
                  </a:lnTo>
                  <a:close/>
                  <a:moveTo>
                    <a:pt x="0" y="435077"/>
                  </a:moveTo>
                  <a:lnTo>
                    <a:pt x="0" y="3"/>
                  </a:lnTo>
                  <a:lnTo>
                    <a:pt x="217539" y="217544"/>
                  </a:lnTo>
                  <a:lnTo>
                    <a:pt x="0" y="435077"/>
                  </a:lnTo>
                  <a:close/>
                </a:path>
              </a:pathLst>
            </a:custGeom>
            <a:grpFill/>
            <a:ln w="27192" cap="flat">
              <a:noFill/>
              <a:prstDash val="solid"/>
              <a:miter/>
            </a:ln>
          </p:spPr>
          <p:txBody>
            <a:bodyPr rtlCol="0" anchor="ctr"/>
            <a:lstStyle/>
            <a:p>
              <a:endParaRPr lang="uk-UA" sz="900"/>
            </a:p>
          </p:txBody>
        </p:sp>
        <p:sp>
          <p:nvSpPr>
            <p:cNvPr id="78" name="Freeform: Shape 77">
              <a:extLst>
                <a:ext uri="{FF2B5EF4-FFF2-40B4-BE49-F238E27FC236}">
                  <a16:creationId xmlns:a16="http://schemas.microsoft.com/office/drawing/2014/main" id="{1AB9015A-20E1-612F-D96F-F32A65C198DA}"/>
                </a:ext>
              </a:extLst>
            </p:cNvPr>
            <p:cNvSpPr/>
            <p:nvPr/>
          </p:nvSpPr>
          <p:spPr>
            <a:xfrm>
              <a:off x="15628536" y="1098754"/>
              <a:ext cx="435077" cy="435077"/>
            </a:xfrm>
            <a:custGeom>
              <a:avLst/>
              <a:gdLst>
                <a:gd name="connsiteX0" fmla="*/ 435077 w 435077"/>
                <a:gd name="connsiteY0" fmla="*/ 435077 h 435077"/>
                <a:gd name="connsiteX1" fmla="*/ 435077 w 435077"/>
                <a:gd name="connsiteY1" fmla="*/ 217547 h 435077"/>
                <a:gd name="connsiteX2" fmla="*/ 435077 w 435077"/>
                <a:gd name="connsiteY2" fmla="*/ 16 h 435077"/>
                <a:gd name="connsiteX3" fmla="*/ 217567 w 435077"/>
                <a:gd name="connsiteY3" fmla="*/ 16 h 435077"/>
                <a:gd name="connsiteX4" fmla="*/ 435077 w 435077"/>
                <a:gd name="connsiteY4" fmla="*/ 217547 h 435077"/>
                <a:gd name="connsiteX5" fmla="*/ 217567 w 435077"/>
                <a:gd name="connsiteY5" fmla="*/ 435077 h 435077"/>
                <a:gd name="connsiteX6" fmla="*/ 435077 w 435077"/>
                <a:gd name="connsiteY6" fmla="*/ 435077 h 435077"/>
                <a:gd name="connsiteX7" fmla="*/ 0 w 435077"/>
                <a:gd name="connsiteY7" fmla="*/ 217531 h 435077"/>
                <a:gd name="connsiteX8" fmla="*/ 0 w 435077"/>
                <a:gd name="connsiteY8" fmla="*/ 0 h 435077"/>
                <a:gd name="connsiteX9" fmla="*/ 217539 w 435077"/>
                <a:gd name="connsiteY9" fmla="*/ 217531 h 435077"/>
                <a:gd name="connsiteX10" fmla="*/ 0 w 435077"/>
                <a:gd name="connsiteY10" fmla="*/ 217531 h 435077"/>
                <a:gd name="connsiteX11" fmla="*/ 0 w 435077"/>
                <a:gd name="connsiteY11" fmla="*/ 435072 h 435077"/>
                <a:gd name="connsiteX12" fmla="*/ 0 w 435077"/>
                <a:gd name="connsiteY12" fmla="*/ 217541 h 435077"/>
                <a:gd name="connsiteX13" fmla="*/ 217539 w 435077"/>
                <a:gd name="connsiteY13" fmla="*/ 217541 h 435077"/>
                <a:gd name="connsiteX14" fmla="*/ 0 w 435077"/>
                <a:gd name="connsiteY14" fmla="*/ 43507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47"/>
                  </a:lnTo>
                  <a:lnTo>
                    <a:pt x="435077" y="16"/>
                  </a:lnTo>
                  <a:lnTo>
                    <a:pt x="217567" y="16"/>
                  </a:lnTo>
                  <a:lnTo>
                    <a:pt x="435077" y="217547"/>
                  </a:lnTo>
                  <a:lnTo>
                    <a:pt x="217567" y="435077"/>
                  </a:lnTo>
                  <a:lnTo>
                    <a:pt x="435077" y="435077"/>
                  </a:lnTo>
                  <a:close/>
                  <a:moveTo>
                    <a:pt x="0" y="217531"/>
                  </a:moveTo>
                  <a:lnTo>
                    <a:pt x="0" y="0"/>
                  </a:lnTo>
                  <a:lnTo>
                    <a:pt x="217539" y="217531"/>
                  </a:lnTo>
                  <a:lnTo>
                    <a:pt x="0" y="217531"/>
                  </a:lnTo>
                  <a:close/>
                  <a:moveTo>
                    <a:pt x="0" y="435072"/>
                  </a:moveTo>
                  <a:lnTo>
                    <a:pt x="0" y="217541"/>
                  </a:lnTo>
                  <a:lnTo>
                    <a:pt x="217539" y="217541"/>
                  </a:lnTo>
                  <a:lnTo>
                    <a:pt x="0" y="435072"/>
                  </a:lnTo>
                  <a:close/>
                </a:path>
              </a:pathLst>
            </a:custGeom>
            <a:grpFill/>
            <a:ln w="27192" cap="flat">
              <a:noFill/>
              <a:prstDash val="solid"/>
              <a:miter/>
            </a:ln>
          </p:spPr>
          <p:txBody>
            <a:bodyPr rtlCol="0" anchor="ctr"/>
            <a:lstStyle/>
            <a:p>
              <a:endParaRPr lang="uk-UA" sz="900"/>
            </a:p>
          </p:txBody>
        </p:sp>
        <p:sp>
          <p:nvSpPr>
            <p:cNvPr id="79" name="Freeform: Shape 78">
              <a:extLst>
                <a:ext uri="{FF2B5EF4-FFF2-40B4-BE49-F238E27FC236}">
                  <a16:creationId xmlns:a16="http://schemas.microsoft.com/office/drawing/2014/main" id="{E8B6C4AD-67B3-BB87-DBCE-880F116A81E6}"/>
                </a:ext>
              </a:extLst>
            </p:cNvPr>
            <p:cNvSpPr/>
            <p:nvPr/>
          </p:nvSpPr>
          <p:spPr>
            <a:xfrm>
              <a:off x="16498719" y="1098754"/>
              <a:ext cx="435077" cy="435077"/>
            </a:xfrm>
            <a:custGeom>
              <a:avLst/>
              <a:gdLst>
                <a:gd name="connsiteX0" fmla="*/ 217539 w 435077"/>
                <a:gd name="connsiteY0" fmla="*/ 435069 h 435077"/>
                <a:gd name="connsiteX1" fmla="*/ 217539 w 435077"/>
                <a:gd name="connsiteY1" fmla="*/ 0 h 435077"/>
                <a:gd name="connsiteX2" fmla="*/ 435077 w 435077"/>
                <a:gd name="connsiteY2" fmla="*/ 217541 h 435077"/>
                <a:gd name="connsiteX3" fmla="*/ 217539 w 435077"/>
                <a:gd name="connsiteY3" fmla="*/ 435069 h 435077"/>
                <a:gd name="connsiteX4" fmla="*/ 0 w 435077"/>
                <a:gd name="connsiteY4" fmla="*/ 435077 h 435077"/>
                <a:gd name="connsiteX5" fmla="*/ 0 w 435077"/>
                <a:gd name="connsiteY5" fmla="*/ 8 h 435077"/>
                <a:gd name="connsiteX6" fmla="*/ 217539 w 435077"/>
                <a:gd name="connsiteY6" fmla="*/ 217547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69"/>
                  </a:moveTo>
                  <a:lnTo>
                    <a:pt x="217539" y="0"/>
                  </a:lnTo>
                  <a:lnTo>
                    <a:pt x="435077" y="217541"/>
                  </a:lnTo>
                  <a:lnTo>
                    <a:pt x="217539" y="435069"/>
                  </a:lnTo>
                  <a:close/>
                  <a:moveTo>
                    <a:pt x="0" y="435077"/>
                  </a:moveTo>
                  <a:lnTo>
                    <a:pt x="0" y="8"/>
                  </a:lnTo>
                  <a:lnTo>
                    <a:pt x="217539" y="217547"/>
                  </a:lnTo>
                  <a:lnTo>
                    <a:pt x="0" y="435077"/>
                  </a:lnTo>
                  <a:close/>
                </a:path>
              </a:pathLst>
            </a:custGeom>
            <a:grpFill/>
            <a:ln w="27192" cap="flat">
              <a:noFill/>
              <a:prstDash val="solid"/>
              <a:miter/>
            </a:ln>
          </p:spPr>
          <p:txBody>
            <a:bodyPr rtlCol="0" anchor="ctr"/>
            <a:lstStyle/>
            <a:p>
              <a:endParaRPr lang="uk-UA" sz="900"/>
            </a:p>
          </p:txBody>
        </p:sp>
        <p:sp>
          <p:nvSpPr>
            <p:cNvPr id="80" name="Freeform: Shape 79">
              <a:extLst>
                <a:ext uri="{FF2B5EF4-FFF2-40B4-BE49-F238E27FC236}">
                  <a16:creationId xmlns:a16="http://schemas.microsoft.com/office/drawing/2014/main" id="{7E1C036F-F88A-21FA-C146-F45377F5B7B6}"/>
                </a:ext>
              </a:extLst>
            </p:cNvPr>
            <p:cNvSpPr/>
            <p:nvPr/>
          </p:nvSpPr>
          <p:spPr>
            <a:xfrm>
              <a:off x="18239029" y="1098754"/>
              <a:ext cx="435077" cy="435077"/>
            </a:xfrm>
            <a:custGeom>
              <a:avLst/>
              <a:gdLst>
                <a:gd name="connsiteX0" fmla="*/ 63710 w 435077"/>
                <a:gd name="connsiteY0" fmla="*/ 153824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4 h 435077"/>
                <a:gd name="connsiteX5" fmla="*/ 217539 w 435077"/>
                <a:gd name="connsiteY5" fmla="*/ 217539 h 435077"/>
                <a:gd name="connsiteX6" fmla="*/ 63710 w 435077"/>
                <a:gd name="connsiteY6" fmla="*/ 153824 h 435077"/>
                <a:gd name="connsiteX7" fmla="*/ 63710 w 435077"/>
                <a:gd name="connsiteY7" fmla="*/ 281256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6 h 435077"/>
                <a:gd name="connsiteX12" fmla="*/ 217539 w 435077"/>
                <a:gd name="connsiteY12" fmla="*/ 217539 h 435077"/>
                <a:gd name="connsiteX13" fmla="*/ 63710 w 435077"/>
                <a:gd name="connsiteY13" fmla="*/ 281256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4"/>
                  </a:moveTo>
                  <a:cubicBezTo>
                    <a:pt x="22922" y="113028"/>
                    <a:pt x="0" y="57697"/>
                    <a:pt x="0" y="0"/>
                  </a:cubicBezTo>
                  <a:lnTo>
                    <a:pt x="217539" y="0"/>
                  </a:lnTo>
                  <a:lnTo>
                    <a:pt x="435077" y="0"/>
                  </a:lnTo>
                  <a:cubicBezTo>
                    <a:pt x="435077" y="57697"/>
                    <a:pt x="412154" y="113028"/>
                    <a:pt x="371365" y="153824"/>
                  </a:cubicBezTo>
                  <a:cubicBezTo>
                    <a:pt x="330577" y="194621"/>
                    <a:pt x="275241" y="217539"/>
                    <a:pt x="217539" y="217539"/>
                  </a:cubicBezTo>
                  <a:cubicBezTo>
                    <a:pt x="159836" y="217539"/>
                    <a:pt x="104527" y="194621"/>
                    <a:pt x="63710" y="153824"/>
                  </a:cubicBezTo>
                  <a:close/>
                  <a:moveTo>
                    <a:pt x="63710" y="281256"/>
                  </a:moveTo>
                  <a:cubicBezTo>
                    <a:pt x="22922" y="322052"/>
                    <a:pt x="0" y="377383"/>
                    <a:pt x="0" y="435077"/>
                  </a:cubicBezTo>
                  <a:lnTo>
                    <a:pt x="217539" y="435077"/>
                  </a:lnTo>
                  <a:lnTo>
                    <a:pt x="435077" y="435077"/>
                  </a:lnTo>
                  <a:cubicBezTo>
                    <a:pt x="435077" y="377383"/>
                    <a:pt x="412154" y="322052"/>
                    <a:pt x="371365" y="281256"/>
                  </a:cubicBezTo>
                  <a:cubicBezTo>
                    <a:pt x="330577" y="240459"/>
                    <a:pt x="275241" y="217539"/>
                    <a:pt x="217539" y="217539"/>
                  </a:cubicBezTo>
                  <a:cubicBezTo>
                    <a:pt x="159836" y="217539"/>
                    <a:pt x="104527" y="240459"/>
                    <a:pt x="63710" y="281256"/>
                  </a:cubicBezTo>
                  <a:close/>
                </a:path>
              </a:pathLst>
            </a:custGeom>
            <a:grpFill/>
            <a:ln w="27192" cap="flat">
              <a:noFill/>
              <a:prstDash val="solid"/>
              <a:miter/>
            </a:ln>
          </p:spPr>
          <p:txBody>
            <a:bodyPr rtlCol="0" anchor="ctr"/>
            <a:lstStyle/>
            <a:p>
              <a:endParaRPr lang="uk-UA" sz="900"/>
            </a:p>
          </p:txBody>
        </p:sp>
        <p:sp>
          <p:nvSpPr>
            <p:cNvPr id="81" name="Freeform: Shape 80">
              <a:extLst>
                <a:ext uri="{FF2B5EF4-FFF2-40B4-BE49-F238E27FC236}">
                  <a16:creationId xmlns:a16="http://schemas.microsoft.com/office/drawing/2014/main" id="{81874CBD-C244-BB9B-7A6B-46CAEE691A2B}"/>
                </a:ext>
              </a:extLst>
            </p:cNvPr>
            <p:cNvSpPr/>
            <p:nvPr/>
          </p:nvSpPr>
          <p:spPr>
            <a:xfrm>
              <a:off x="17368874" y="1098754"/>
              <a:ext cx="435077" cy="435077"/>
            </a:xfrm>
            <a:custGeom>
              <a:avLst/>
              <a:gdLst>
                <a:gd name="connsiteX0" fmla="*/ 435077 w 435077"/>
                <a:gd name="connsiteY0" fmla="*/ 435077 h 435077"/>
                <a:gd name="connsiteX1" fmla="*/ 435077 w 435077"/>
                <a:gd name="connsiteY1" fmla="*/ 0 h 435077"/>
                <a:gd name="connsiteX2" fmla="*/ 217539 w 435077"/>
                <a:gd name="connsiteY2" fmla="*/ 217544 h 435077"/>
                <a:gd name="connsiteX3" fmla="*/ 435077 w 435077"/>
                <a:gd name="connsiteY3" fmla="*/ 435077 h 435077"/>
                <a:gd name="connsiteX4" fmla="*/ 0 w 435077"/>
                <a:gd name="connsiteY4" fmla="*/ 435077 h 435077"/>
                <a:gd name="connsiteX5" fmla="*/ 0 w 435077"/>
                <a:gd name="connsiteY5" fmla="*/ 3 h 435077"/>
                <a:gd name="connsiteX6" fmla="*/ 217510 w 435077"/>
                <a:gd name="connsiteY6" fmla="*/ 217544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44"/>
                  </a:lnTo>
                  <a:lnTo>
                    <a:pt x="435077" y="435077"/>
                  </a:lnTo>
                  <a:close/>
                  <a:moveTo>
                    <a:pt x="0" y="435077"/>
                  </a:moveTo>
                  <a:lnTo>
                    <a:pt x="0" y="3"/>
                  </a:lnTo>
                  <a:lnTo>
                    <a:pt x="217510" y="217544"/>
                  </a:lnTo>
                  <a:lnTo>
                    <a:pt x="0" y="435077"/>
                  </a:lnTo>
                  <a:close/>
                </a:path>
              </a:pathLst>
            </a:custGeom>
            <a:grpFill/>
            <a:ln w="27192" cap="flat">
              <a:noFill/>
              <a:prstDash val="solid"/>
              <a:miter/>
            </a:ln>
          </p:spPr>
          <p:txBody>
            <a:bodyPr rtlCol="0" anchor="ctr"/>
            <a:lstStyle/>
            <a:p>
              <a:endParaRPr lang="uk-UA" sz="900"/>
            </a:p>
          </p:txBody>
        </p:sp>
        <p:sp>
          <p:nvSpPr>
            <p:cNvPr id="82" name="Freeform: Shape 81">
              <a:extLst>
                <a:ext uri="{FF2B5EF4-FFF2-40B4-BE49-F238E27FC236}">
                  <a16:creationId xmlns:a16="http://schemas.microsoft.com/office/drawing/2014/main" id="{16C5780A-9261-E336-E657-D478AE0D9C30}"/>
                </a:ext>
              </a:extLst>
            </p:cNvPr>
            <p:cNvSpPr/>
            <p:nvPr/>
          </p:nvSpPr>
          <p:spPr>
            <a:xfrm>
              <a:off x="19109210" y="1098754"/>
              <a:ext cx="435077" cy="435077"/>
            </a:xfrm>
            <a:custGeom>
              <a:avLst/>
              <a:gdLst>
                <a:gd name="connsiteX0" fmla="*/ 435077 w 435077"/>
                <a:gd name="connsiteY0" fmla="*/ 435077 h 435077"/>
                <a:gd name="connsiteX1" fmla="*/ 435077 w 435077"/>
                <a:gd name="connsiteY1" fmla="*/ 217547 h 435077"/>
                <a:gd name="connsiteX2" fmla="*/ 435077 w 435077"/>
                <a:gd name="connsiteY2" fmla="*/ 16 h 435077"/>
                <a:gd name="connsiteX3" fmla="*/ 217539 w 435077"/>
                <a:gd name="connsiteY3" fmla="*/ 16 h 435077"/>
                <a:gd name="connsiteX4" fmla="*/ 435077 w 435077"/>
                <a:gd name="connsiteY4" fmla="*/ 217547 h 435077"/>
                <a:gd name="connsiteX5" fmla="*/ 217539 w 435077"/>
                <a:gd name="connsiteY5" fmla="*/ 435077 h 435077"/>
                <a:gd name="connsiteX6" fmla="*/ 435077 w 435077"/>
                <a:gd name="connsiteY6" fmla="*/ 435077 h 435077"/>
                <a:gd name="connsiteX7" fmla="*/ 0 w 435077"/>
                <a:gd name="connsiteY7" fmla="*/ 217531 h 435077"/>
                <a:gd name="connsiteX8" fmla="*/ 0 w 435077"/>
                <a:gd name="connsiteY8" fmla="*/ 0 h 435077"/>
                <a:gd name="connsiteX9" fmla="*/ 217512 w 435077"/>
                <a:gd name="connsiteY9" fmla="*/ 217531 h 435077"/>
                <a:gd name="connsiteX10" fmla="*/ 0 w 435077"/>
                <a:gd name="connsiteY10" fmla="*/ 217531 h 435077"/>
                <a:gd name="connsiteX11" fmla="*/ 0 w 435077"/>
                <a:gd name="connsiteY11" fmla="*/ 435072 h 435077"/>
                <a:gd name="connsiteX12" fmla="*/ 0 w 435077"/>
                <a:gd name="connsiteY12" fmla="*/ 217541 h 435077"/>
                <a:gd name="connsiteX13" fmla="*/ 217512 w 435077"/>
                <a:gd name="connsiteY13" fmla="*/ 217541 h 435077"/>
                <a:gd name="connsiteX14" fmla="*/ 0 w 435077"/>
                <a:gd name="connsiteY14" fmla="*/ 43507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47"/>
                  </a:lnTo>
                  <a:lnTo>
                    <a:pt x="435077" y="16"/>
                  </a:lnTo>
                  <a:lnTo>
                    <a:pt x="217539" y="16"/>
                  </a:lnTo>
                  <a:lnTo>
                    <a:pt x="435077" y="217547"/>
                  </a:lnTo>
                  <a:lnTo>
                    <a:pt x="217539" y="435077"/>
                  </a:lnTo>
                  <a:lnTo>
                    <a:pt x="435077" y="435077"/>
                  </a:lnTo>
                  <a:close/>
                  <a:moveTo>
                    <a:pt x="0" y="217531"/>
                  </a:moveTo>
                  <a:lnTo>
                    <a:pt x="0" y="0"/>
                  </a:lnTo>
                  <a:lnTo>
                    <a:pt x="217512" y="217531"/>
                  </a:lnTo>
                  <a:lnTo>
                    <a:pt x="0" y="217531"/>
                  </a:lnTo>
                  <a:close/>
                  <a:moveTo>
                    <a:pt x="0" y="435072"/>
                  </a:moveTo>
                  <a:lnTo>
                    <a:pt x="0" y="217541"/>
                  </a:lnTo>
                  <a:lnTo>
                    <a:pt x="217512" y="217541"/>
                  </a:lnTo>
                  <a:lnTo>
                    <a:pt x="0" y="435072"/>
                  </a:lnTo>
                  <a:close/>
                </a:path>
              </a:pathLst>
            </a:custGeom>
            <a:grpFill/>
            <a:ln w="27192" cap="flat">
              <a:noFill/>
              <a:prstDash val="solid"/>
              <a:miter/>
            </a:ln>
          </p:spPr>
          <p:txBody>
            <a:bodyPr rtlCol="0" anchor="ctr"/>
            <a:lstStyle/>
            <a:p>
              <a:endParaRPr lang="uk-UA" sz="900"/>
            </a:p>
          </p:txBody>
        </p:sp>
        <p:sp>
          <p:nvSpPr>
            <p:cNvPr id="83" name="Freeform: Shape 82">
              <a:extLst>
                <a:ext uri="{FF2B5EF4-FFF2-40B4-BE49-F238E27FC236}">
                  <a16:creationId xmlns:a16="http://schemas.microsoft.com/office/drawing/2014/main" id="{B99D5E7E-6833-BEF4-9A11-4CBFDAA55607}"/>
                </a:ext>
              </a:extLst>
            </p:cNvPr>
            <p:cNvSpPr/>
            <p:nvPr/>
          </p:nvSpPr>
          <p:spPr>
            <a:xfrm>
              <a:off x="19979365" y="1098754"/>
              <a:ext cx="435077" cy="435077"/>
            </a:xfrm>
            <a:custGeom>
              <a:avLst/>
              <a:gdLst>
                <a:gd name="connsiteX0" fmla="*/ 217539 w 435077"/>
                <a:gd name="connsiteY0" fmla="*/ 435069 h 435077"/>
                <a:gd name="connsiteX1" fmla="*/ 217539 w 435077"/>
                <a:gd name="connsiteY1" fmla="*/ 0 h 435077"/>
                <a:gd name="connsiteX2" fmla="*/ 435077 w 435077"/>
                <a:gd name="connsiteY2" fmla="*/ 217541 h 435077"/>
                <a:gd name="connsiteX3" fmla="*/ 217539 w 435077"/>
                <a:gd name="connsiteY3" fmla="*/ 435069 h 435077"/>
                <a:gd name="connsiteX4" fmla="*/ 0 w 435077"/>
                <a:gd name="connsiteY4" fmla="*/ 435077 h 435077"/>
                <a:gd name="connsiteX5" fmla="*/ 0 w 435077"/>
                <a:gd name="connsiteY5" fmla="*/ 8 h 435077"/>
                <a:gd name="connsiteX6" fmla="*/ 217539 w 435077"/>
                <a:gd name="connsiteY6" fmla="*/ 217547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69"/>
                  </a:moveTo>
                  <a:lnTo>
                    <a:pt x="217539" y="0"/>
                  </a:lnTo>
                  <a:lnTo>
                    <a:pt x="435077" y="217541"/>
                  </a:lnTo>
                  <a:lnTo>
                    <a:pt x="217539" y="435069"/>
                  </a:lnTo>
                  <a:close/>
                  <a:moveTo>
                    <a:pt x="0" y="435077"/>
                  </a:moveTo>
                  <a:lnTo>
                    <a:pt x="0" y="8"/>
                  </a:lnTo>
                  <a:lnTo>
                    <a:pt x="217539" y="217547"/>
                  </a:lnTo>
                  <a:lnTo>
                    <a:pt x="0" y="435077"/>
                  </a:lnTo>
                  <a:close/>
                </a:path>
              </a:pathLst>
            </a:custGeom>
            <a:grpFill/>
            <a:ln w="27192" cap="flat">
              <a:noFill/>
              <a:prstDash val="solid"/>
              <a:miter/>
            </a:ln>
          </p:spPr>
          <p:txBody>
            <a:bodyPr rtlCol="0" anchor="ctr"/>
            <a:lstStyle/>
            <a:p>
              <a:endParaRPr lang="uk-UA" sz="900"/>
            </a:p>
          </p:txBody>
        </p:sp>
        <p:sp>
          <p:nvSpPr>
            <p:cNvPr id="84" name="Freeform: Shape 83">
              <a:extLst>
                <a:ext uri="{FF2B5EF4-FFF2-40B4-BE49-F238E27FC236}">
                  <a16:creationId xmlns:a16="http://schemas.microsoft.com/office/drawing/2014/main" id="{BE5D1ACB-AFB5-AE9F-792A-ABDED92C65C7}"/>
                </a:ext>
              </a:extLst>
            </p:cNvPr>
            <p:cNvSpPr/>
            <p:nvPr/>
          </p:nvSpPr>
          <p:spPr>
            <a:xfrm>
              <a:off x="21719702" y="1098754"/>
              <a:ext cx="435077" cy="435077"/>
            </a:xfrm>
            <a:custGeom>
              <a:avLst/>
              <a:gdLst>
                <a:gd name="connsiteX0" fmla="*/ 63712 w 435077"/>
                <a:gd name="connsiteY0" fmla="*/ 153824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4 h 435077"/>
                <a:gd name="connsiteX5" fmla="*/ 217539 w 435077"/>
                <a:gd name="connsiteY5" fmla="*/ 217539 h 435077"/>
                <a:gd name="connsiteX6" fmla="*/ 63712 w 435077"/>
                <a:gd name="connsiteY6" fmla="*/ 153824 h 435077"/>
                <a:gd name="connsiteX7" fmla="*/ 63712 w 435077"/>
                <a:gd name="connsiteY7" fmla="*/ 281256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56 h 435077"/>
                <a:gd name="connsiteX12" fmla="*/ 217539 w 435077"/>
                <a:gd name="connsiteY12" fmla="*/ 217539 h 435077"/>
                <a:gd name="connsiteX13" fmla="*/ 63712 w 435077"/>
                <a:gd name="connsiteY13" fmla="*/ 281256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4"/>
                  </a:moveTo>
                  <a:cubicBezTo>
                    <a:pt x="22897" y="113028"/>
                    <a:pt x="0" y="57697"/>
                    <a:pt x="0" y="0"/>
                  </a:cubicBezTo>
                  <a:lnTo>
                    <a:pt x="217539" y="0"/>
                  </a:lnTo>
                  <a:lnTo>
                    <a:pt x="435077" y="0"/>
                  </a:lnTo>
                  <a:cubicBezTo>
                    <a:pt x="435077" y="57697"/>
                    <a:pt x="412155" y="113028"/>
                    <a:pt x="371339" y="153824"/>
                  </a:cubicBezTo>
                  <a:cubicBezTo>
                    <a:pt x="330550" y="194621"/>
                    <a:pt x="275215" y="217539"/>
                    <a:pt x="217539" y="217539"/>
                  </a:cubicBezTo>
                  <a:cubicBezTo>
                    <a:pt x="159838" y="217539"/>
                    <a:pt x="104501" y="194621"/>
                    <a:pt x="63712" y="153824"/>
                  </a:cubicBezTo>
                  <a:close/>
                  <a:moveTo>
                    <a:pt x="63712" y="281256"/>
                  </a:moveTo>
                  <a:cubicBezTo>
                    <a:pt x="22897" y="322052"/>
                    <a:pt x="0" y="377383"/>
                    <a:pt x="0" y="435077"/>
                  </a:cubicBezTo>
                  <a:lnTo>
                    <a:pt x="217539" y="435077"/>
                  </a:lnTo>
                  <a:lnTo>
                    <a:pt x="435077" y="435077"/>
                  </a:lnTo>
                  <a:cubicBezTo>
                    <a:pt x="435077" y="377383"/>
                    <a:pt x="412155" y="322052"/>
                    <a:pt x="371339" y="281256"/>
                  </a:cubicBezTo>
                  <a:cubicBezTo>
                    <a:pt x="330550" y="240459"/>
                    <a:pt x="275215" y="217539"/>
                    <a:pt x="217539" y="217539"/>
                  </a:cubicBezTo>
                  <a:cubicBezTo>
                    <a:pt x="159838" y="217539"/>
                    <a:pt x="104501" y="240459"/>
                    <a:pt x="63712" y="281256"/>
                  </a:cubicBezTo>
                  <a:close/>
                </a:path>
              </a:pathLst>
            </a:custGeom>
            <a:grpFill/>
            <a:ln w="27192" cap="flat">
              <a:noFill/>
              <a:prstDash val="solid"/>
              <a:miter/>
            </a:ln>
          </p:spPr>
          <p:txBody>
            <a:bodyPr rtlCol="0" anchor="ctr"/>
            <a:lstStyle/>
            <a:p>
              <a:endParaRPr lang="uk-UA" sz="900"/>
            </a:p>
          </p:txBody>
        </p:sp>
        <p:sp>
          <p:nvSpPr>
            <p:cNvPr id="85" name="Freeform: Shape 84">
              <a:extLst>
                <a:ext uri="{FF2B5EF4-FFF2-40B4-BE49-F238E27FC236}">
                  <a16:creationId xmlns:a16="http://schemas.microsoft.com/office/drawing/2014/main" id="{AE0D3D83-4151-48A2-96AD-09609DC8039A}"/>
                </a:ext>
              </a:extLst>
            </p:cNvPr>
            <p:cNvSpPr/>
            <p:nvPr/>
          </p:nvSpPr>
          <p:spPr>
            <a:xfrm>
              <a:off x="20849520" y="1098754"/>
              <a:ext cx="435077" cy="435077"/>
            </a:xfrm>
            <a:custGeom>
              <a:avLst/>
              <a:gdLst>
                <a:gd name="connsiteX0" fmla="*/ 435077 w 435077"/>
                <a:gd name="connsiteY0" fmla="*/ 435077 h 435077"/>
                <a:gd name="connsiteX1" fmla="*/ 435077 w 435077"/>
                <a:gd name="connsiteY1" fmla="*/ 0 h 435077"/>
                <a:gd name="connsiteX2" fmla="*/ 217565 w 435077"/>
                <a:gd name="connsiteY2" fmla="*/ 217544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44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44"/>
                  </a:lnTo>
                  <a:lnTo>
                    <a:pt x="435077" y="435077"/>
                  </a:lnTo>
                  <a:close/>
                  <a:moveTo>
                    <a:pt x="0" y="435077"/>
                  </a:moveTo>
                  <a:lnTo>
                    <a:pt x="0" y="3"/>
                  </a:lnTo>
                  <a:lnTo>
                    <a:pt x="217539" y="217544"/>
                  </a:lnTo>
                  <a:lnTo>
                    <a:pt x="0" y="435077"/>
                  </a:lnTo>
                  <a:close/>
                </a:path>
              </a:pathLst>
            </a:custGeom>
            <a:grpFill/>
            <a:ln w="27192" cap="flat">
              <a:noFill/>
              <a:prstDash val="solid"/>
              <a:miter/>
            </a:ln>
          </p:spPr>
          <p:txBody>
            <a:bodyPr rtlCol="0" anchor="ctr"/>
            <a:lstStyle/>
            <a:p>
              <a:endParaRPr lang="uk-UA" sz="900"/>
            </a:p>
          </p:txBody>
        </p:sp>
        <p:sp>
          <p:nvSpPr>
            <p:cNvPr id="86" name="Freeform: Shape 85">
              <a:extLst>
                <a:ext uri="{FF2B5EF4-FFF2-40B4-BE49-F238E27FC236}">
                  <a16:creationId xmlns:a16="http://schemas.microsoft.com/office/drawing/2014/main" id="{03DA3177-E2F4-EFEF-A5FC-FD20181FC224}"/>
                </a:ext>
              </a:extLst>
            </p:cNvPr>
            <p:cNvSpPr/>
            <p:nvPr/>
          </p:nvSpPr>
          <p:spPr>
            <a:xfrm>
              <a:off x="22589856" y="1098754"/>
              <a:ext cx="435077" cy="435077"/>
            </a:xfrm>
            <a:custGeom>
              <a:avLst/>
              <a:gdLst>
                <a:gd name="connsiteX0" fmla="*/ 435077 w 435077"/>
                <a:gd name="connsiteY0" fmla="*/ 435077 h 435077"/>
                <a:gd name="connsiteX1" fmla="*/ 435077 w 435077"/>
                <a:gd name="connsiteY1" fmla="*/ 217547 h 435077"/>
                <a:gd name="connsiteX2" fmla="*/ 435077 w 435077"/>
                <a:gd name="connsiteY2" fmla="*/ 16 h 435077"/>
                <a:gd name="connsiteX3" fmla="*/ 217567 w 435077"/>
                <a:gd name="connsiteY3" fmla="*/ 16 h 435077"/>
                <a:gd name="connsiteX4" fmla="*/ 435077 w 435077"/>
                <a:gd name="connsiteY4" fmla="*/ 217547 h 435077"/>
                <a:gd name="connsiteX5" fmla="*/ 217567 w 435077"/>
                <a:gd name="connsiteY5" fmla="*/ 435077 h 435077"/>
                <a:gd name="connsiteX6" fmla="*/ 435077 w 435077"/>
                <a:gd name="connsiteY6" fmla="*/ 435077 h 435077"/>
                <a:gd name="connsiteX7" fmla="*/ 0 w 435077"/>
                <a:gd name="connsiteY7" fmla="*/ 217531 h 435077"/>
                <a:gd name="connsiteX8" fmla="*/ 0 w 435077"/>
                <a:gd name="connsiteY8" fmla="*/ 0 h 435077"/>
                <a:gd name="connsiteX9" fmla="*/ 217539 w 435077"/>
                <a:gd name="connsiteY9" fmla="*/ 217531 h 435077"/>
                <a:gd name="connsiteX10" fmla="*/ 0 w 435077"/>
                <a:gd name="connsiteY10" fmla="*/ 217531 h 435077"/>
                <a:gd name="connsiteX11" fmla="*/ 0 w 435077"/>
                <a:gd name="connsiteY11" fmla="*/ 435072 h 435077"/>
                <a:gd name="connsiteX12" fmla="*/ 0 w 435077"/>
                <a:gd name="connsiteY12" fmla="*/ 217541 h 435077"/>
                <a:gd name="connsiteX13" fmla="*/ 217539 w 435077"/>
                <a:gd name="connsiteY13" fmla="*/ 217541 h 435077"/>
                <a:gd name="connsiteX14" fmla="*/ 0 w 435077"/>
                <a:gd name="connsiteY14" fmla="*/ 43507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47"/>
                  </a:lnTo>
                  <a:lnTo>
                    <a:pt x="435077" y="16"/>
                  </a:lnTo>
                  <a:lnTo>
                    <a:pt x="217567" y="16"/>
                  </a:lnTo>
                  <a:lnTo>
                    <a:pt x="435077" y="217547"/>
                  </a:lnTo>
                  <a:lnTo>
                    <a:pt x="217567" y="435077"/>
                  </a:lnTo>
                  <a:lnTo>
                    <a:pt x="435077" y="435077"/>
                  </a:lnTo>
                  <a:close/>
                  <a:moveTo>
                    <a:pt x="0" y="217531"/>
                  </a:moveTo>
                  <a:lnTo>
                    <a:pt x="0" y="0"/>
                  </a:lnTo>
                  <a:lnTo>
                    <a:pt x="217539" y="217531"/>
                  </a:lnTo>
                  <a:lnTo>
                    <a:pt x="0" y="217531"/>
                  </a:lnTo>
                  <a:close/>
                  <a:moveTo>
                    <a:pt x="0" y="435072"/>
                  </a:moveTo>
                  <a:lnTo>
                    <a:pt x="0" y="217541"/>
                  </a:lnTo>
                  <a:lnTo>
                    <a:pt x="217539" y="217541"/>
                  </a:lnTo>
                  <a:lnTo>
                    <a:pt x="0" y="435072"/>
                  </a:lnTo>
                  <a:close/>
                </a:path>
              </a:pathLst>
            </a:custGeom>
            <a:grpFill/>
            <a:ln w="27192" cap="flat">
              <a:noFill/>
              <a:prstDash val="solid"/>
              <a:miter/>
            </a:ln>
          </p:spPr>
          <p:txBody>
            <a:bodyPr rtlCol="0" anchor="ctr"/>
            <a:lstStyle/>
            <a:p>
              <a:endParaRPr lang="uk-UA" sz="900"/>
            </a:p>
          </p:txBody>
        </p:sp>
        <p:sp>
          <p:nvSpPr>
            <p:cNvPr id="87" name="Freeform: Shape 86">
              <a:extLst>
                <a:ext uri="{FF2B5EF4-FFF2-40B4-BE49-F238E27FC236}">
                  <a16:creationId xmlns:a16="http://schemas.microsoft.com/office/drawing/2014/main" id="{94F09498-4254-F4B7-82DA-D147CBCCA2F4}"/>
                </a:ext>
              </a:extLst>
            </p:cNvPr>
            <p:cNvSpPr/>
            <p:nvPr/>
          </p:nvSpPr>
          <p:spPr>
            <a:xfrm>
              <a:off x="23460039" y="1098754"/>
              <a:ext cx="435077" cy="435077"/>
            </a:xfrm>
            <a:custGeom>
              <a:avLst/>
              <a:gdLst>
                <a:gd name="connsiteX0" fmla="*/ 217539 w 435077"/>
                <a:gd name="connsiteY0" fmla="*/ 435069 h 435077"/>
                <a:gd name="connsiteX1" fmla="*/ 217539 w 435077"/>
                <a:gd name="connsiteY1" fmla="*/ 0 h 435077"/>
                <a:gd name="connsiteX2" fmla="*/ 435077 w 435077"/>
                <a:gd name="connsiteY2" fmla="*/ 217541 h 435077"/>
                <a:gd name="connsiteX3" fmla="*/ 217539 w 435077"/>
                <a:gd name="connsiteY3" fmla="*/ 435069 h 435077"/>
                <a:gd name="connsiteX4" fmla="*/ 0 w 435077"/>
                <a:gd name="connsiteY4" fmla="*/ 435077 h 435077"/>
                <a:gd name="connsiteX5" fmla="*/ 0 w 435077"/>
                <a:gd name="connsiteY5" fmla="*/ 8 h 435077"/>
                <a:gd name="connsiteX6" fmla="*/ 217539 w 435077"/>
                <a:gd name="connsiteY6" fmla="*/ 217547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69"/>
                  </a:moveTo>
                  <a:lnTo>
                    <a:pt x="217539" y="0"/>
                  </a:lnTo>
                  <a:lnTo>
                    <a:pt x="435077" y="217541"/>
                  </a:lnTo>
                  <a:lnTo>
                    <a:pt x="217539" y="435069"/>
                  </a:lnTo>
                  <a:close/>
                  <a:moveTo>
                    <a:pt x="0" y="435077"/>
                  </a:moveTo>
                  <a:lnTo>
                    <a:pt x="0" y="8"/>
                  </a:lnTo>
                  <a:lnTo>
                    <a:pt x="217539" y="217547"/>
                  </a:lnTo>
                  <a:lnTo>
                    <a:pt x="0" y="435077"/>
                  </a:lnTo>
                  <a:close/>
                </a:path>
              </a:pathLst>
            </a:custGeom>
            <a:grpFill/>
            <a:ln w="27192" cap="flat">
              <a:noFill/>
              <a:prstDash val="solid"/>
              <a:miter/>
            </a:ln>
          </p:spPr>
          <p:txBody>
            <a:bodyPr rtlCol="0" anchor="ctr"/>
            <a:lstStyle/>
            <a:p>
              <a:endParaRPr lang="uk-UA" sz="900"/>
            </a:p>
          </p:txBody>
        </p:sp>
        <p:sp>
          <p:nvSpPr>
            <p:cNvPr id="88" name="Freeform: Shape 87">
              <a:extLst>
                <a:ext uri="{FF2B5EF4-FFF2-40B4-BE49-F238E27FC236}">
                  <a16:creationId xmlns:a16="http://schemas.microsoft.com/office/drawing/2014/main" id="{3643A378-31F6-D155-FED2-F59AE64F4CDB}"/>
                </a:ext>
              </a:extLst>
            </p:cNvPr>
            <p:cNvSpPr/>
            <p:nvPr/>
          </p:nvSpPr>
          <p:spPr>
            <a:xfrm>
              <a:off x="24330194" y="1098754"/>
              <a:ext cx="435077" cy="435077"/>
            </a:xfrm>
            <a:custGeom>
              <a:avLst/>
              <a:gdLst>
                <a:gd name="connsiteX0" fmla="*/ 435077 w 435077"/>
                <a:gd name="connsiteY0" fmla="*/ 435077 h 435077"/>
                <a:gd name="connsiteX1" fmla="*/ 435077 w 435077"/>
                <a:gd name="connsiteY1" fmla="*/ 0 h 435077"/>
                <a:gd name="connsiteX2" fmla="*/ 217539 w 435077"/>
                <a:gd name="connsiteY2" fmla="*/ 217544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44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44"/>
                  </a:lnTo>
                  <a:lnTo>
                    <a:pt x="435077" y="435077"/>
                  </a:lnTo>
                  <a:close/>
                  <a:moveTo>
                    <a:pt x="0" y="435077"/>
                  </a:moveTo>
                  <a:lnTo>
                    <a:pt x="0" y="3"/>
                  </a:lnTo>
                  <a:lnTo>
                    <a:pt x="217539" y="217544"/>
                  </a:lnTo>
                  <a:lnTo>
                    <a:pt x="0" y="435077"/>
                  </a:lnTo>
                  <a:close/>
                </a:path>
              </a:pathLst>
            </a:custGeom>
            <a:grpFill/>
            <a:ln w="27192" cap="flat">
              <a:noFill/>
              <a:prstDash val="solid"/>
              <a:miter/>
            </a:ln>
          </p:spPr>
          <p:txBody>
            <a:bodyPr rtlCol="0" anchor="ctr"/>
            <a:lstStyle/>
            <a:p>
              <a:endParaRPr lang="uk-UA" sz="900"/>
            </a:p>
          </p:txBody>
        </p:sp>
        <p:sp>
          <p:nvSpPr>
            <p:cNvPr id="89" name="Freeform: Shape 88">
              <a:extLst>
                <a:ext uri="{FF2B5EF4-FFF2-40B4-BE49-F238E27FC236}">
                  <a16:creationId xmlns:a16="http://schemas.microsoft.com/office/drawing/2014/main" id="{396247D2-BC50-DB53-966C-D0BD54D51D5A}"/>
                </a:ext>
              </a:extLst>
            </p:cNvPr>
            <p:cNvSpPr/>
            <p:nvPr/>
          </p:nvSpPr>
          <p:spPr>
            <a:xfrm>
              <a:off x="835769" y="5449529"/>
              <a:ext cx="435077" cy="435077"/>
            </a:xfrm>
            <a:custGeom>
              <a:avLst/>
              <a:gdLst>
                <a:gd name="connsiteX0" fmla="*/ 371366 w 435077"/>
                <a:gd name="connsiteY0" fmla="*/ 63712 h 435077"/>
                <a:gd name="connsiteX1" fmla="*/ 435077 w 435077"/>
                <a:gd name="connsiteY1" fmla="*/ 217539 h 435077"/>
                <a:gd name="connsiteX2" fmla="*/ 217702 w 435077"/>
                <a:gd name="connsiteY2" fmla="*/ 217539 h 435077"/>
                <a:gd name="connsiteX3" fmla="*/ 371366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1 w 435077"/>
                <a:gd name="connsiteY7" fmla="*/ 281250 h 435077"/>
                <a:gd name="connsiteX8" fmla="*/ 217375 w 435077"/>
                <a:gd name="connsiteY8" fmla="*/ 217539 h 435077"/>
                <a:gd name="connsiteX9" fmla="*/ 0 w 435077"/>
                <a:gd name="connsiteY9" fmla="*/ 217539 h 435077"/>
                <a:gd name="connsiteX10" fmla="*/ 63711 w 435077"/>
                <a:gd name="connsiteY10" fmla="*/ 63712 h 435077"/>
                <a:gd name="connsiteX11" fmla="*/ 217539 w 435077"/>
                <a:gd name="connsiteY11" fmla="*/ 0 h 435077"/>
                <a:gd name="connsiteX12" fmla="*/ 371366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2"/>
                  </a:moveTo>
                  <a:cubicBezTo>
                    <a:pt x="412154" y="104527"/>
                    <a:pt x="435077" y="159837"/>
                    <a:pt x="435077" y="217539"/>
                  </a:cubicBezTo>
                  <a:lnTo>
                    <a:pt x="217702" y="217539"/>
                  </a:lnTo>
                  <a:cubicBezTo>
                    <a:pt x="275349" y="217593"/>
                    <a:pt x="330604" y="240489"/>
                    <a:pt x="371366" y="281250"/>
                  </a:cubicBezTo>
                  <a:cubicBezTo>
                    <a:pt x="412154" y="322066"/>
                    <a:pt x="435077" y="377375"/>
                    <a:pt x="435077" y="435077"/>
                  </a:cubicBezTo>
                  <a:lnTo>
                    <a:pt x="217539" y="435077"/>
                  </a:lnTo>
                  <a:lnTo>
                    <a:pt x="0" y="435077"/>
                  </a:lnTo>
                  <a:cubicBezTo>
                    <a:pt x="0" y="377375"/>
                    <a:pt x="22923" y="322066"/>
                    <a:pt x="63711" y="281250"/>
                  </a:cubicBezTo>
                  <a:cubicBezTo>
                    <a:pt x="104473" y="240489"/>
                    <a:pt x="159728" y="217593"/>
                    <a:pt x="217375" y="217539"/>
                  </a:cubicBezTo>
                  <a:lnTo>
                    <a:pt x="0" y="217539"/>
                  </a:lnTo>
                  <a:cubicBezTo>
                    <a:pt x="0" y="159837"/>
                    <a:pt x="22923" y="104527"/>
                    <a:pt x="63711" y="63712"/>
                  </a:cubicBezTo>
                  <a:cubicBezTo>
                    <a:pt x="104500" y="22923"/>
                    <a:pt x="159836" y="0"/>
                    <a:pt x="217539" y="0"/>
                  </a:cubicBezTo>
                  <a:cubicBezTo>
                    <a:pt x="275213" y="0"/>
                    <a:pt x="330550" y="22923"/>
                    <a:pt x="371366" y="63712"/>
                  </a:cubicBezTo>
                  <a:close/>
                </a:path>
              </a:pathLst>
            </a:custGeom>
            <a:grpFill/>
            <a:ln w="27192" cap="flat">
              <a:noFill/>
              <a:prstDash val="solid"/>
              <a:miter/>
            </a:ln>
          </p:spPr>
          <p:txBody>
            <a:bodyPr rtlCol="0" anchor="ctr"/>
            <a:lstStyle/>
            <a:p>
              <a:endParaRPr lang="uk-UA" sz="900"/>
            </a:p>
          </p:txBody>
        </p:sp>
        <p:sp>
          <p:nvSpPr>
            <p:cNvPr id="90" name="Freeform: Shape 89">
              <a:extLst>
                <a:ext uri="{FF2B5EF4-FFF2-40B4-BE49-F238E27FC236}">
                  <a16:creationId xmlns:a16="http://schemas.microsoft.com/office/drawing/2014/main" id="{37724168-C59C-FF1E-3FCD-762DB1B7165D}"/>
                </a:ext>
              </a:extLst>
            </p:cNvPr>
            <p:cNvSpPr/>
            <p:nvPr/>
          </p:nvSpPr>
          <p:spPr>
            <a:xfrm>
              <a:off x="-34398" y="5449529"/>
              <a:ext cx="435090" cy="435077"/>
            </a:xfrm>
            <a:custGeom>
              <a:avLst/>
              <a:gdLst>
                <a:gd name="connsiteX0" fmla="*/ 217525 w 435090"/>
                <a:gd name="connsiteY0" fmla="*/ 0 h 435077"/>
                <a:gd name="connsiteX1" fmla="*/ 0 w 435090"/>
                <a:gd name="connsiteY1" fmla="*/ 0 h 435077"/>
                <a:gd name="connsiteX2" fmla="*/ 0 w 435090"/>
                <a:gd name="connsiteY2" fmla="*/ 217539 h 435077"/>
                <a:gd name="connsiteX3" fmla="*/ 217525 w 435090"/>
                <a:gd name="connsiteY3" fmla="*/ 0 h 435077"/>
                <a:gd name="connsiteX4" fmla="*/ 435091 w 435090"/>
                <a:gd name="connsiteY4" fmla="*/ 0 h 435077"/>
                <a:gd name="connsiteX5" fmla="*/ 435091 w 435090"/>
                <a:gd name="connsiteY5" fmla="*/ 217539 h 435077"/>
                <a:gd name="connsiteX6" fmla="*/ 217552 w 435090"/>
                <a:gd name="connsiteY6" fmla="*/ 0 h 435077"/>
                <a:gd name="connsiteX7" fmla="*/ 435091 w 435090"/>
                <a:gd name="connsiteY7" fmla="*/ 0 h 435077"/>
                <a:gd name="connsiteX8" fmla="*/ 217552 w 435090"/>
                <a:gd name="connsiteY8" fmla="*/ 435077 h 435077"/>
                <a:gd name="connsiteX9" fmla="*/ 435091 w 435090"/>
                <a:gd name="connsiteY9" fmla="*/ 217539 h 435077"/>
                <a:gd name="connsiteX10" fmla="*/ 435091 w 435090"/>
                <a:gd name="connsiteY10" fmla="*/ 435077 h 435077"/>
                <a:gd name="connsiteX11" fmla="*/ 217552 w 435090"/>
                <a:gd name="connsiteY11" fmla="*/ 435077 h 435077"/>
                <a:gd name="connsiteX12" fmla="*/ 217552 w 435090"/>
                <a:gd name="connsiteY12" fmla="*/ 435077 h 435077"/>
                <a:gd name="connsiteX13" fmla="*/ 11 w 435090"/>
                <a:gd name="connsiteY13" fmla="*/ 217539 h 435077"/>
                <a:gd name="connsiteX14" fmla="*/ 11 w 435090"/>
                <a:gd name="connsiteY14" fmla="*/ 435077 h 435077"/>
                <a:gd name="connsiteX15" fmla="*/ 217552 w 435090"/>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90" h="435077">
                  <a:moveTo>
                    <a:pt x="217525" y="0"/>
                  </a:moveTo>
                  <a:lnTo>
                    <a:pt x="0" y="0"/>
                  </a:lnTo>
                  <a:lnTo>
                    <a:pt x="0" y="217539"/>
                  </a:lnTo>
                  <a:lnTo>
                    <a:pt x="217525" y="0"/>
                  </a:lnTo>
                  <a:close/>
                  <a:moveTo>
                    <a:pt x="435091" y="0"/>
                  </a:moveTo>
                  <a:lnTo>
                    <a:pt x="435091" y="217539"/>
                  </a:lnTo>
                  <a:lnTo>
                    <a:pt x="217552" y="0"/>
                  </a:lnTo>
                  <a:lnTo>
                    <a:pt x="435091" y="0"/>
                  </a:lnTo>
                  <a:close/>
                  <a:moveTo>
                    <a:pt x="217552" y="435077"/>
                  </a:moveTo>
                  <a:lnTo>
                    <a:pt x="435091" y="217539"/>
                  </a:lnTo>
                  <a:lnTo>
                    <a:pt x="435091" y="435077"/>
                  </a:lnTo>
                  <a:lnTo>
                    <a:pt x="217552" y="435077"/>
                  </a:lnTo>
                  <a:close/>
                  <a:moveTo>
                    <a:pt x="217552" y="435077"/>
                  </a:moveTo>
                  <a:lnTo>
                    <a:pt x="11" y="217539"/>
                  </a:lnTo>
                  <a:lnTo>
                    <a:pt x="11" y="435077"/>
                  </a:lnTo>
                  <a:lnTo>
                    <a:pt x="217552" y="435077"/>
                  </a:lnTo>
                  <a:close/>
                </a:path>
              </a:pathLst>
            </a:custGeom>
            <a:grpFill/>
            <a:ln w="27192" cap="flat">
              <a:noFill/>
              <a:prstDash val="solid"/>
              <a:miter/>
            </a:ln>
          </p:spPr>
          <p:txBody>
            <a:bodyPr rtlCol="0" anchor="ctr"/>
            <a:lstStyle/>
            <a:p>
              <a:endParaRPr lang="uk-UA" sz="900"/>
            </a:p>
          </p:txBody>
        </p:sp>
        <p:sp>
          <p:nvSpPr>
            <p:cNvPr id="91" name="Freeform: Shape 90">
              <a:extLst>
                <a:ext uri="{FF2B5EF4-FFF2-40B4-BE49-F238E27FC236}">
                  <a16:creationId xmlns:a16="http://schemas.microsoft.com/office/drawing/2014/main" id="{CD5A0458-5AAB-034F-65A1-199F77C2E3A7}"/>
                </a:ext>
              </a:extLst>
            </p:cNvPr>
            <p:cNvSpPr/>
            <p:nvPr/>
          </p:nvSpPr>
          <p:spPr>
            <a:xfrm>
              <a:off x="1705924" y="544952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92" name="Freeform: Shape 91">
              <a:extLst>
                <a:ext uri="{FF2B5EF4-FFF2-40B4-BE49-F238E27FC236}">
                  <a16:creationId xmlns:a16="http://schemas.microsoft.com/office/drawing/2014/main" id="{F50B4C4F-13A7-A73C-E51B-49480D251D59}"/>
                </a:ext>
              </a:extLst>
            </p:cNvPr>
            <p:cNvSpPr/>
            <p:nvPr/>
          </p:nvSpPr>
          <p:spPr>
            <a:xfrm>
              <a:off x="2576106" y="5449529"/>
              <a:ext cx="435077" cy="435077"/>
            </a:xfrm>
            <a:custGeom>
              <a:avLst/>
              <a:gdLst>
                <a:gd name="connsiteX0" fmla="*/ 0 w 435077"/>
                <a:gd name="connsiteY0" fmla="*/ 435077 h 435077"/>
                <a:gd name="connsiteX1" fmla="*/ 217512 w 435077"/>
                <a:gd name="connsiteY1" fmla="*/ 435077 h 435077"/>
                <a:gd name="connsiteX2" fmla="*/ 217512 w 435077"/>
                <a:gd name="connsiteY2" fmla="*/ 217566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66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12" y="435077"/>
                  </a:lnTo>
                  <a:lnTo>
                    <a:pt x="217512" y="217566"/>
                  </a:lnTo>
                  <a:lnTo>
                    <a:pt x="0" y="435077"/>
                  </a:lnTo>
                  <a:close/>
                  <a:moveTo>
                    <a:pt x="217539" y="0"/>
                  </a:moveTo>
                  <a:lnTo>
                    <a:pt x="0" y="0"/>
                  </a:lnTo>
                  <a:lnTo>
                    <a:pt x="217539" y="217539"/>
                  </a:lnTo>
                  <a:lnTo>
                    <a:pt x="217539" y="0"/>
                  </a:lnTo>
                  <a:close/>
                  <a:moveTo>
                    <a:pt x="435077" y="435077"/>
                  </a:moveTo>
                  <a:lnTo>
                    <a:pt x="217539" y="435077"/>
                  </a:lnTo>
                  <a:lnTo>
                    <a:pt x="435077" y="217566"/>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93" name="Freeform: Shape 92">
              <a:extLst>
                <a:ext uri="{FF2B5EF4-FFF2-40B4-BE49-F238E27FC236}">
                  <a16:creationId xmlns:a16="http://schemas.microsoft.com/office/drawing/2014/main" id="{82FDCC4C-65DF-9E98-633D-927F7BA9917A}"/>
                </a:ext>
              </a:extLst>
            </p:cNvPr>
            <p:cNvSpPr/>
            <p:nvPr/>
          </p:nvSpPr>
          <p:spPr>
            <a:xfrm>
              <a:off x="4316416" y="5449529"/>
              <a:ext cx="435103" cy="435077"/>
            </a:xfrm>
            <a:custGeom>
              <a:avLst/>
              <a:gdLst>
                <a:gd name="connsiteX0" fmla="*/ 371365 w 435103"/>
                <a:gd name="connsiteY0" fmla="*/ 63712 h 435077"/>
                <a:gd name="connsiteX1" fmla="*/ 435077 w 435103"/>
                <a:gd name="connsiteY1" fmla="*/ 217539 h 435077"/>
                <a:gd name="connsiteX2" fmla="*/ 217729 w 435103"/>
                <a:gd name="connsiteY2" fmla="*/ 217539 h 435077"/>
                <a:gd name="connsiteX3" fmla="*/ 371365 w 435103"/>
                <a:gd name="connsiteY3" fmla="*/ 281250 h 435077"/>
                <a:gd name="connsiteX4" fmla="*/ 435104 w 435103"/>
                <a:gd name="connsiteY4" fmla="*/ 435077 h 435077"/>
                <a:gd name="connsiteX5" fmla="*/ 217565 w 435103"/>
                <a:gd name="connsiteY5" fmla="*/ 435077 h 435077"/>
                <a:gd name="connsiteX6" fmla="*/ 27 w 435103"/>
                <a:gd name="connsiteY6" fmla="*/ 435077 h 435077"/>
                <a:gd name="connsiteX7" fmla="*/ 63739 w 435103"/>
                <a:gd name="connsiteY7" fmla="*/ 281250 h 435077"/>
                <a:gd name="connsiteX8" fmla="*/ 217375 w 435103"/>
                <a:gd name="connsiteY8" fmla="*/ 217539 h 435077"/>
                <a:gd name="connsiteX9" fmla="*/ 0 w 435103"/>
                <a:gd name="connsiteY9" fmla="*/ 217539 h 435077"/>
                <a:gd name="connsiteX10" fmla="*/ 63739 w 435103"/>
                <a:gd name="connsiteY10" fmla="*/ 63712 h 435077"/>
                <a:gd name="connsiteX11" fmla="*/ 217539 w 435103"/>
                <a:gd name="connsiteY11" fmla="*/ 0 h 435077"/>
                <a:gd name="connsiteX12" fmla="*/ 371365 w 435103"/>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3" h="435077">
                  <a:moveTo>
                    <a:pt x="371365" y="63712"/>
                  </a:moveTo>
                  <a:cubicBezTo>
                    <a:pt x="412181" y="104527"/>
                    <a:pt x="435077" y="159837"/>
                    <a:pt x="435077" y="217539"/>
                  </a:cubicBezTo>
                  <a:lnTo>
                    <a:pt x="217729" y="217539"/>
                  </a:lnTo>
                  <a:cubicBezTo>
                    <a:pt x="275349" y="217593"/>
                    <a:pt x="330632" y="240489"/>
                    <a:pt x="371365" y="281250"/>
                  </a:cubicBezTo>
                  <a:cubicBezTo>
                    <a:pt x="412181" y="322066"/>
                    <a:pt x="435104" y="377375"/>
                    <a:pt x="435104" y="435077"/>
                  </a:cubicBezTo>
                  <a:lnTo>
                    <a:pt x="217565" y="435077"/>
                  </a:lnTo>
                  <a:lnTo>
                    <a:pt x="27" y="435077"/>
                  </a:lnTo>
                  <a:cubicBezTo>
                    <a:pt x="27" y="377375"/>
                    <a:pt x="22923" y="322066"/>
                    <a:pt x="63739" y="281250"/>
                  </a:cubicBezTo>
                  <a:cubicBezTo>
                    <a:pt x="104500" y="240489"/>
                    <a:pt x="159755" y="217593"/>
                    <a:pt x="217375" y="217539"/>
                  </a:cubicBezTo>
                  <a:lnTo>
                    <a:pt x="0" y="217539"/>
                  </a:lnTo>
                  <a:cubicBezTo>
                    <a:pt x="0" y="159837"/>
                    <a:pt x="22923" y="104527"/>
                    <a:pt x="63739" y="63712"/>
                  </a:cubicBezTo>
                  <a:cubicBezTo>
                    <a:pt x="104527" y="22923"/>
                    <a:pt x="159864" y="0"/>
                    <a:pt x="217539" y="0"/>
                  </a:cubicBezTo>
                  <a:cubicBezTo>
                    <a:pt x="275240" y="0"/>
                    <a:pt x="330577" y="22923"/>
                    <a:pt x="371365" y="63712"/>
                  </a:cubicBezTo>
                  <a:close/>
                </a:path>
              </a:pathLst>
            </a:custGeom>
            <a:grpFill/>
            <a:ln w="27192" cap="flat">
              <a:noFill/>
              <a:prstDash val="solid"/>
              <a:miter/>
            </a:ln>
          </p:spPr>
          <p:txBody>
            <a:bodyPr rtlCol="0" anchor="ctr"/>
            <a:lstStyle/>
            <a:p>
              <a:endParaRPr lang="uk-UA" sz="900"/>
            </a:p>
          </p:txBody>
        </p:sp>
        <p:sp>
          <p:nvSpPr>
            <p:cNvPr id="94" name="Freeform: Shape 93">
              <a:extLst>
                <a:ext uri="{FF2B5EF4-FFF2-40B4-BE49-F238E27FC236}">
                  <a16:creationId xmlns:a16="http://schemas.microsoft.com/office/drawing/2014/main" id="{DAEE8789-922B-AB48-7C9D-4AE3377265C2}"/>
                </a:ext>
              </a:extLst>
            </p:cNvPr>
            <p:cNvSpPr/>
            <p:nvPr/>
          </p:nvSpPr>
          <p:spPr>
            <a:xfrm>
              <a:off x="3446261" y="5449529"/>
              <a:ext cx="435077" cy="435077"/>
            </a:xfrm>
            <a:custGeom>
              <a:avLst/>
              <a:gdLst>
                <a:gd name="connsiteX0" fmla="*/ 217566 w 435077"/>
                <a:gd name="connsiteY0" fmla="*/ 0 h 435077"/>
                <a:gd name="connsiteX1" fmla="*/ 217539 w 435077"/>
                <a:gd name="connsiteY1" fmla="*/ 0 h 435077"/>
                <a:gd name="connsiteX2" fmla="*/ 27 w 435077"/>
                <a:gd name="connsiteY2" fmla="*/ 0 h 435077"/>
                <a:gd name="connsiteX3" fmla="*/ 27 w 435077"/>
                <a:gd name="connsiteY3" fmla="*/ 217539 h 435077"/>
                <a:gd name="connsiteX4" fmla="*/ 217539 w 435077"/>
                <a:gd name="connsiteY4" fmla="*/ 0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66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66" y="0"/>
                  </a:moveTo>
                  <a:lnTo>
                    <a:pt x="217539" y="0"/>
                  </a:lnTo>
                  <a:lnTo>
                    <a:pt x="27" y="0"/>
                  </a:lnTo>
                  <a:lnTo>
                    <a:pt x="27" y="217539"/>
                  </a:lnTo>
                  <a:lnTo>
                    <a:pt x="217539" y="0"/>
                  </a:lnTo>
                  <a:lnTo>
                    <a:pt x="435077" y="217539"/>
                  </a:lnTo>
                  <a:lnTo>
                    <a:pt x="217539" y="435077"/>
                  </a:lnTo>
                  <a:lnTo>
                    <a:pt x="0" y="217539"/>
                  </a:lnTo>
                  <a:lnTo>
                    <a:pt x="0" y="435077"/>
                  </a:lnTo>
                  <a:lnTo>
                    <a:pt x="217539" y="435077"/>
                  </a:lnTo>
                  <a:lnTo>
                    <a:pt x="435077" y="435077"/>
                  </a:lnTo>
                  <a:lnTo>
                    <a:pt x="435077" y="217539"/>
                  </a:lnTo>
                  <a:lnTo>
                    <a:pt x="435077" y="0"/>
                  </a:lnTo>
                  <a:lnTo>
                    <a:pt x="217566" y="0"/>
                  </a:lnTo>
                  <a:close/>
                </a:path>
              </a:pathLst>
            </a:custGeom>
            <a:grpFill/>
            <a:ln w="27192" cap="flat">
              <a:noFill/>
              <a:prstDash val="solid"/>
              <a:miter/>
            </a:ln>
          </p:spPr>
          <p:txBody>
            <a:bodyPr rtlCol="0" anchor="ctr"/>
            <a:lstStyle/>
            <a:p>
              <a:endParaRPr lang="uk-UA" sz="900"/>
            </a:p>
          </p:txBody>
        </p:sp>
        <p:sp>
          <p:nvSpPr>
            <p:cNvPr id="95" name="Freeform: Shape 94">
              <a:extLst>
                <a:ext uri="{FF2B5EF4-FFF2-40B4-BE49-F238E27FC236}">
                  <a16:creationId xmlns:a16="http://schemas.microsoft.com/office/drawing/2014/main" id="{624EC51A-5274-ED29-9D87-6124C09FF241}"/>
                </a:ext>
              </a:extLst>
            </p:cNvPr>
            <p:cNvSpPr/>
            <p:nvPr/>
          </p:nvSpPr>
          <p:spPr>
            <a:xfrm>
              <a:off x="5186597" y="5449529"/>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0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39 h 435077"/>
                <a:gd name="connsiteX9" fmla="*/ 435077 w 435077"/>
                <a:gd name="connsiteY9" fmla="*/ 217539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0"/>
                  </a:lnTo>
                  <a:lnTo>
                    <a:pt x="435077" y="217539"/>
                  </a:lnTo>
                  <a:lnTo>
                    <a:pt x="435077" y="217539"/>
                  </a:lnTo>
                  <a:lnTo>
                    <a:pt x="435077" y="217539"/>
                  </a:lnTo>
                  <a:lnTo>
                    <a:pt x="435077" y="217539"/>
                  </a:lnTo>
                  <a:lnTo>
                    <a:pt x="435077" y="217539"/>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96" name="Freeform: Shape 95">
              <a:extLst>
                <a:ext uri="{FF2B5EF4-FFF2-40B4-BE49-F238E27FC236}">
                  <a16:creationId xmlns:a16="http://schemas.microsoft.com/office/drawing/2014/main" id="{21BFC8B8-4B74-CB8C-679E-DA8B15288D34}"/>
                </a:ext>
              </a:extLst>
            </p:cNvPr>
            <p:cNvSpPr/>
            <p:nvPr/>
          </p:nvSpPr>
          <p:spPr>
            <a:xfrm>
              <a:off x="6056752" y="5449529"/>
              <a:ext cx="435077" cy="435077"/>
            </a:xfrm>
            <a:custGeom>
              <a:avLst/>
              <a:gdLst>
                <a:gd name="connsiteX0" fmla="*/ 0 w 435077"/>
                <a:gd name="connsiteY0" fmla="*/ 435077 h 435077"/>
                <a:gd name="connsiteX1" fmla="*/ 217539 w 435077"/>
                <a:gd name="connsiteY1" fmla="*/ 435077 h 435077"/>
                <a:gd name="connsiteX2" fmla="*/ 217539 w 435077"/>
                <a:gd name="connsiteY2" fmla="*/ 217566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66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66"/>
                  </a:lnTo>
                  <a:lnTo>
                    <a:pt x="0" y="435077"/>
                  </a:lnTo>
                  <a:close/>
                  <a:moveTo>
                    <a:pt x="217539" y="0"/>
                  </a:moveTo>
                  <a:lnTo>
                    <a:pt x="0" y="0"/>
                  </a:lnTo>
                  <a:lnTo>
                    <a:pt x="217539" y="217539"/>
                  </a:lnTo>
                  <a:lnTo>
                    <a:pt x="217539" y="0"/>
                  </a:lnTo>
                  <a:close/>
                  <a:moveTo>
                    <a:pt x="435077" y="435077"/>
                  </a:moveTo>
                  <a:lnTo>
                    <a:pt x="217539" y="435077"/>
                  </a:lnTo>
                  <a:lnTo>
                    <a:pt x="435077" y="217566"/>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97" name="Freeform: Shape 96">
              <a:extLst>
                <a:ext uri="{FF2B5EF4-FFF2-40B4-BE49-F238E27FC236}">
                  <a16:creationId xmlns:a16="http://schemas.microsoft.com/office/drawing/2014/main" id="{63066C2B-4A83-2206-55A2-16D4D3CF50CC}"/>
                </a:ext>
              </a:extLst>
            </p:cNvPr>
            <p:cNvSpPr/>
            <p:nvPr/>
          </p:nvSpPr>
          <p:spPr>
            <a:xfrm>
              <a:off x="7797062" y="5449529"/>
              <a:ext cx="435104" cy="435077"/>
            </a:xfrm>
            <a:custGeom>
              <a:avLst/>
              <a:gdLst>
                <a:gd name="connsiteX0" fmla="*/ 371366 w 435104"/>
                <a:gd name="connsiteY0" fmla="*/ 63712 h 435077"/>
                <a:gd name="connsiteX1" fmla="*/ 435077 w 435104"/>
                <a:gd name="connsiteY1" fmla="*/ 217539 h 435077"/>
                <a:gd name="connsiteX2" fmla="*/ 217730 w 435104"/>
                <a:gd name="connsiteY2" fmla="*/ 217539 h 435077"/>
                <a:gd name="connsiteX3" fmla="*/ 371366 w 435104"/>
                <a:gd name="connsiteY3" fmla="*/ 281250 h 435077"/>
                <a:gd name="connsiteX4" fmla="*/ 435105 w 435104"/>
                <a:gd name="connsiteY4" fmla="*/ 435077 h 435077"/>
                <a:gd name="connsiteX5" fmla="*/ 217566 w 435104"/>
                <a:gd name="connsiteY5" fmla="*/ 435077 h 435077"/>
                <a:gd name="connsiteX6" fmla="*/ 27 w 435104"/>
                <a:gd name="connsiteY6" fmla="*/ 435077 h 435077"/>
                <a:gd name="connsiteX7" fmla="*/ 63739 w 435104"/>
                <a:gd name="connsiteY7" fmla="*/ 281250 h 435077"/>
                <a:gd name="connsiteX8" fmla="*/ 217376 w 435104"/>
                <a:gd name="connsiteY8" fmla="*/ 217539 h 435077"/>
                <a:gd name="connsiteX9" fmla="*/ 0 w 435104"/>
                <a:gd name="connsiteY9" fmla="*/ 217539 h 435077"/>
                <a:gd name="connsiteX10" fmla="*/ 63739 w 435104"/>
                <a:gd name="connsiteY10" fmla="*/ 63712 h 435077"/>
                <a:gd name="connsiteX11" fmla="*/ 217539 w 435104"/>
                <a:gd name="connsiteY11" fmla="*/ 0 h 435077"/>
                <a:gd name="connsiteX12" fmla="*/ 371366 w 435104"/>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4" h="435077">
                  <a:moveTo>
                    <a:pt x="371366" y="63712"/>
                  </a:moveTo>
                  <a:cubicBezTo>
                    <a:pt x="412182" y="104527"/>
                    <a:pt x="435077" y="159837"/>
                    <a:pt x="435077" y="217539"/>
                  </a:cubicBezTo>
                  <a:lnTo>
                    <a:pt x="217730" y="217539"/>
                  </a:lnTo>
                  <a:cubicBezTo>
                    <a:pt x="275350" y="217593"/>
                    <a:pt x="330632" y="240489"/>
                    <a:pt x="371366" y="281250"/>
                  </a:cubicBezTo>
                  <a:cubicBezTo>
                    <a:pt x="412182" y="322066"/>
                    <a:pt x="435105" y="377375"/>
                    <a:pt x="435105" y="435077"/>
                  </a:cubicBezTo>
                  <a:lnTo>
                    <a:pt x="217566" y="435077"/>
                  </a:lnTo>
                  <a:lnTo>
                    <a:pt x="27" y="435077"/>
                  </a:lnTo>
                  <a:cubicBezTo>
                    <a:pt x="27" y="377375"/>
                    <a:pt x="22924" y="322066"/>
                    <a:pt x="63739" y="281250"/>
                  </a:cubicBezTo>
                  <a:cubicBezTo>
                    <a:pt x="104501" y="240489"/>
                    <a:pt x="159755" y="217593"/>
                    <a:pt x="217376" y="217539"/>
                  </a:cubicBezTo>
                  <a:lnTo>
                    <a:pt x="0" y="217539"/>
                  </a:lnTo>
                  <a:cubicBezTo>
                    <a:pt x="0" y="159837"/>
                    <a:pt x="22924" y="104527"/>
                    <a:pt x="63739" y="63712"/>
                  </a:cubicBezTo>
                  <a:cubicBezTo>
                    <a:pt x="104527" y="22923"/>
                    <a:pt x="159864" y="0"/>
                    <a:pt x="217539" y="0"/>
                  </a:cubicBezTo>
                  <a:cubicBezTo>
                    <a:pt x="275241" y="0"/>
                    <a:pt x="330578" y="22923"/>
                    <a:pt x="371366" y="63712"/>
                  </a:cubicBezTo>
                  <a:close/>
                </a:path>
              </a:pathLst>
            </a:custGeom>
            <a:grpFill/>
            <a:ln w="27192" cap="flat">
              <a:noFill/>
              <a:prstDash val="solid"/>
              <a:miter/>
            </a:ln>
          </p:spPr>
          <p:txBody>
            <a:bodyPr rtlCol="0" anchor="ctr"/>
            <a:lstStyle/>
            <a:p>
              <a:endParaRPr lang="uk-UA" sz="900"/>
            </a:p>
          </p:txBody>
        </p:sp>
        <p:sp>
          <p:nvSpPr>
            <p:cNvPr id="98" name="Freeform: Shape 97">
              <a:extLst>
                <a:ext uri="{FF2B5EF4-FFF2-40B4-BE49-F238E27FC236}">
                  <a16:creationId xmlns:a16="http://schemas.microsoft.com/office/drawing/2014/main" id="{20691F79-F4F0-4753-E951-B7135DC97A37}"/>
                </a:ext>
              </a:extLst>
            </p:cNvPr>
            <p:cNvSpPr/>
            <p:nvPr/>
          </p:nvSpPr>
          <p:spPr>
            <a:xfrm>
              <a:off x="6926907" y="544952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p>
          </p:txBody>
        </p:sp>
        <p:sp>
          <p:nvSpPr>
            <p:cNvPr id="99" name="Freeform: Shape 98">
              <a:extLst>
                <a:ext uri="{FF2B5EF4-FFF2-40B4-BE49-F238E27FC236}">
                  <a16:creationId xmlns:a16="http://schemas.microsoft.com/office/drawing/2014/main" id="{CCBA62EE-EB3E-B7FB-F3A2-5507A34629C9}"/>
                </a:ext>
              </a:extLst>
            </p:cNvPr>
            <p:cNvSpPr/>
            <p:nvPr/>
          </p:nvSpPr>
          <p:spPr>
            <a:xfrm>
              <a:off x="8667217" y="5449529"/>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0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39 h 435077"/>
                <a:gd name="connsiteX9" fmla="*/ 435077 w 435077"/>
                <a:gd name="connsiteY9" fmla="*/ 217539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0"/>
                  </a:lnTo>
                  <a:lnTo>
                    <a:pt x="435077" y="217539"/>
                  </a:lnTo>
                  <a:lnTo>
                    <a:pt x="435077" y="217539"/>
                  </a:lnTo>
                  <a:lnTo>
                    <a:pt x="435077" y="217539"/>
                  </a:lnTo>
                  <a:lnTo>
                    <a:pt x="435077" y="217539"/>
                  </a:lnTo>
                  <a:lnTo>
                    <a:pt x="435077" y="217539"/>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100" name="Freeform: Shape 99">
              <a:extLst>
                <a:ext uri="{FF2B5EF4-FFF2-40B4-BE49-F238E27FC236}">
                  <a16:creationId xmlns:a16="http://schemas.microsoft.com/office/drawing/2014/main" id="{6203390F-D7DB-3A80-1CF3-9EC3B5FA34E9}"/>
                </a:ext>
              </a:extLst>
            </p:cNvPr>
            <p:cNvSpPr/>
            <p:nvPr/>
          </p:nvSpPr>
          <p:spPr>
            <a:xfrm>
              <a:off x="9537399" y="5449529"/>
              <a:ext cx="435077" cy="435077"/>
            </a:xfrm>
            <a:custGeom>
              <a:avLst/>
              <a:gdLst>
                <a:gd name="connsiteX0" fmla="*/ 0 w 435077"/>
                <a:gd name="connsiteY0" fmla="*/ 435077 h 435077"/>
                <a:gd name="connsiteX1" fmla="*/ 217511 w 435077"/>
                <a:gd name="connsiteY1" fmla="*/ 435077 h 435077"/>
                <a:gd name="connsiteX2" fmla="*/ 217511 w 435077"/>
                <a:gd name="connsiteY2" fmla="*/ 217539 h 435077"/>
                <a:gd name="connsiteX3" fmla="*/ 0 w 435077"/>
                <a:gd name="connsiteY3" fmla="*/ 435077 h 435077"/>
                <a:gd name="connsiteX4" fmla="*/ 217511 w 435077"/>
                <a:gd name="connsiteY4" fmla="*/ 0 h 435077"/>
                <a:gd name="connsiteX5" fmla="*/ 0 w 435077"/>
                <a:gd name="connsiteY5" fmla="*/ 0 h 435077"/>
                <a:gd name="connsiteX6" fmla="*/ 217511 w 435077"/>
                <a:gd name="connsiteY6" fmla="*/ 217539 h 435077"/>
                <a:gd name="connsiteX7" fmla="*/ 217511 w 435077"/>
                <a:gd name="connsiteY7" fmla="*/ 0 h 435077"/>
                <a:gd name="connsiteX8" fmla="*/ 435077 w 435077"/>
                <a:gd name="connsiteY8" fmla="*/ 435077 h 435077"/>
                <a:gd name="connsiteX9" fmla="*/ 217539 w 435077"/>
                <a:gd name="connsiteY9" fmla="*/ 435077 h 435077"/>
                <a:gd name="connsiteX10" fmla="*/ 435077 w 435077"/>
                <a:gd name="connsiteY10" fmla="*/ 217566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11" y="435077"/>
                  </a:lnTo>
                  <a:lnTo>
                    <a:pt x="217511" y="217539"/>
                  </a:lnTo>
                  <a:lnTo>
                    <a:pt x="0" y="435077"/>
                  </a:lnTo>
                  <a:close/>
                  <a:moveTo>
                    <a:pt x="217511" y="0"/>
                  </a:moveTo>
                  <a:lnTo>
                    <a:pt x="0" y="0"/>
                  </a:lnTo>
                  <a:lnTo>
                    <a:pt x="217511" y="217539"/>
                  </a:lnTo>
                  <a:lnTo>
                    <a:pt x="217511" y="0"/>
                  </a:lnTo>
                  <a:close/>
                  <a:moveTo>
                    <a:pt x="435077" y="435077"/>
                  </a:moveTo>
                  <a:lnTo>
                    <a:pt x="217539" y="435077"/>
                  </a:lnTo>
                  <a:lnTo>
                    <a:pt x="435077" y="217566"/>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101" name="Freeform: Shape 100">
              <a:extLst>
                <a:ext uri="{FF2B5EF4-FFF2-40B4-BE49-F238E27FC236}">
                  <a16:creationId xmlns:a16="http://schemas.microsoft.com/office/drawing/2014/main" id="{5BB68470-E097-EDAB-F817-0551204D29F2}"/>
                </a:ext>
              </a:extLst>
            </p:cNvPr>
            <p:cNvSpPr/>
            <p:nvPr/>
          </p:nvSpPr>
          <p:spPr>
            <a:xfrm>
              <a:off x="11277709" y="5449529"/>
              <a:ext cx="435077" cy="435077"/>
            </a:xfrm>
            <a:custGeom>
              <a:avLst/>
              <a:gdLst>
                <a:gd name="connsiteX0" fmla="*/ 371365 w 435077"/>
                <a:gd name="connsiteY0" fmla="*/ 63712 h 435077"/>
                <a:gd name="connsiteX1" fmla="*/ 435077 w 435077"/>
                <a:gd name="connsiteY1" fmla="*/ 217539 h 435077"/>
                <a:gd name="connsiteX2" fmla="*/ 217701 w 435077"/>
                <a:gd name="connsiteY2" fmla="*/ 217539 h 435077"/>
                <a:gd name="connsiteX3" fmla="*/ 371365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0 w 435077"/>
                <a:gd name="connsiteY7" fmla="*/ 281250 h 435077"/>
                <a:gd name="connsiteX8" fmla="*/ 217374 w 435077"/>
                <a:gd name="connsiteY8" fmla="*/ 217539 h 435077"/>
                <a:gd name="connsiteX9" fmla="*/ 0 w 435077"/>
                <a:gd name="connsiteY9" fmla="*/ 217539 h 435077"/>
                <a:gd name="connsiteX10" fmla="*/ 63710 w 435077"/>
                <a:gd name="connsiteY10" fmla="*/ 63712 h 435077"/>
                <a:gd name="connsiteX11" fmla="*/ 217539 w 435077"/>
                <a:gd name="connsiteY11" fmla="*/ 0 h 435077"/>
                <a:gd name="connsiteX12" fmla="*/ 371365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12"/>
                  </a:moveTo>
                  <a:cubicBezTo>
                    <a:pt x="412154" y="104527"/>
                    <a:pt x="435077" y="159837"/>
                    <a:pt x="435077" y="217539"/>
                  </a:cubicBezTo>
                  <a:lnTo>
                    <a:pt x="217701" y="217539"/>
                  </a:lnTo>
                  <a:cubicBezTo>
                    <a:pt x="275349" y="217593"/>
                    <a:pt x="330603" y="240489"/>
                    <a:pt x="371365" y="281250"/>
                  </a:cubicBezTo>
                  <a:cubicBezTo>
                    <a:pt x="412154" y="322066"/>
                    <a:pt x="435077" y="377375"/>
                    <a:pt x="435077" y="435077"/>
                  </a:cubicBezTo>
                  <a:lnTo>
                    <a:pt x="217539" y="435077"/>
                  </a:lnTo>
                  <a:lnTo>
                    <a:pt x="0" y="435077"/>
                  </a:lnTo>
                  <a:cubicBezTo>
                    <a:pt x="0" y="377375"/>
                    <a:pt x="22922" y="322066"/>
                    <a:pt x="63710" y="281250"/>
                  </a:cubicBezTo>
                  <a:cubicBezTo>
                    <a:pt x="104472" y="240489"/>
                    <a:pt x="159727" y="217593"/>
                    <a:pt x="217374" y="217539"/>
                  </a:cubicBezTo>
                  <a:lnTo>
                    <a:pt x="0" y="217539"/>
                  </a:lnTo>
                  <a:cubicBezTo>
                    <a:pt x="0" y="159837"/>
                    <a:pt x="22922" y="104527"/>
                    <a:pt x="63710" y="63712"/>
                  </a:cubicBezTo>
                  <a:cubicBezTo>
                    <a:pt x="104499" y="22923"/>
                    <a:pt x="159836" y="0"/>
                    <a:pt x="217539" y="0"/>
                  </a:cubicBezTo>
                  <a:cubicBezTo>
                    <a:pt x="275239" y="0"/>
                    <a:pt x="330549" y="22923"/>
                    <a:pt x="371365" y="63712"/>
                  </a:cubicBezTo>
                  <a:close/>
                </a:path>
              </a:pathLst>
            </a:custGeom>
            <a:grpFill/>
            <a:ln w="27192" cap="flat">
              <a:noFill/>
              <a:prstDash val="solid"/>
              <a:miter/>
            </a:ln>
          </p:spPr>
          <p:txBody>
            <a:bodyPr rtlCol="0" anchor="ctr"/>
            <a:lstStyle/>
            <a:p>
              <a:endParaRPr lang="uk-UA" sz="900"/>
            </a:p>
          </p:txBody>
        </p:sp>
        <p:sp>
          <p:nvSpPr>
            <p:cNvPr id="102" name="Freeform: Shape 101">
              <a:extLst>
                <a:ext uri="{FF2B5EF4-FFF2-40B4-BE49-F238E27FC236}">
                  <a16:creationId xmlns:a16="http://schemas.microsoft.com/office/drawing/2014/main" id="{FA088D09-1EC5-80C0-9C9E-EEDDE0BBC4F4}"/>
                </a:ext>
              </a:extLst>
            </p:cNvPr>
            <p:cNvSpPr/>
            <p:nvPr/>
          </p:nvSpPr>
          <p:spPr>
            <a:xfrm>
              <a:off x="10407554" y="544952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103" name="Freeform: Shape 102">
              <a:extLst>
                <a:ext uri="{FF2B5EF4-FFF2-40B4-BE49-F238E27FC236}">
                  <a16:creationId xmlns:a16="http://schemas.microsoft.com/office/drawing/2014/main" id="{7066AC4B-C41F-6CA9-2336-6C7B00BE3634}"/>
                </a:ext>
              </a:extLst>
            </p:cNvPr>
            <p:cNvSpPr/>
            <p:nvPr/>
          </p:nvSpPr>
          <p:spPr>
            <a:xfrm>
              <a:off x="12147836" y="544952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104" name="Freeform: Shape 103">
              <a:extLst>
                <a:ext uri="{FF2B5EF4-FFF2-40B4-BE49-F238E27FC236}">
                  <a16:creationId xmlns:a16="http://schemas.microsoft.com/office/drawing/2014/main" id="{A8F4A1B3-0C6F-2499-8766-185D06C5B31D}"/>
                </a:ext>
              </a:extLst>
            </p:cNvPr>
            <p:cNvSpPr/>
            <p:nvPr/>
          </p:nvSpPr>
          <p:spPr>
            <a:xfrm>
              <a:off x="13018045" y="5449529"/>
              <a:ext cx="435077" cy="435077"/>
            </a:xfrm>
            <a:custGeom>
              <a:avLst/>
              <a:gdLst>
                <a:gd name="connsiteX0" fmla="*/ 0 w 435077"/>
                <a:gd name="connsiteY0" fmla="*/ 435077 h 435077"/>
                <a:gd name="connsiteX1" fmla="*/ 217539 w 435077"/>
                <a:gd name="connsiteY1" fmla="*/ 435077 h 435077"/>
                <a:gd name="connsiteX2" fmla="*/ 217539 w 435077"/>
                <a:gd name="connsiteY2" fmla="*/ 217566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66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66"/>
                  </a:lnTo>
                  <a:lnTo>
                    <a:pt x="0" y="435077"/>
                  </a:lnTo>
                  <a:close/>
                  <a:moveTo>
                    <a:pt x="217539" y="0"/>
                  </a:moveTo>
                  <a:lnTo>
                    <a:pt x="0" y="0"/>
                  </a:lnTo>
                  <a:lnTo>
                    <a:pt x="217539" y="217539"/>
                  </a:lnTo>
                  <a:lnTo>
                    <a:pt x="217539" y="0"/>
                  </a:lnTo>
                  <a:close/>
                  <a:moveTo>
                    <a:pt x="435077" y="435077"/>
                  </a:moveTo>
                  <a:lnTo>
                    <a:pt x="217539" y="435077"/>
                  </a:lnTo>
                  <a:lnTo>
                    <a:pt x="435077" y="217566"/>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105" name="Freeform: Shape 104">
              <a:extLst>
                <a:ext uri="{FF2B5EF4-FFF2-40B4-BE49-F238E27FC236}">
                  <a16:creationId xmlns:a16="http://schemas.microsoft.com/office/drawing/2014/main" id="{21E5363A-6937-BFC1-70A4-39DE1C708ABB}"/>
                </a:ext>
              </a:extLst>
            </p:cNvPr>
            <p:cNvSpPr/>
            <p:nvPr/>
          </p:nvSpPr>
          <p:spPr>
            <a:xfrm>
              <a:off x="14758382" y="5449529"/>
              <a:ext cx="435077" cy="435077"/>
            </a:xfrm>
            <a:custGeom>
              <a:avLst/>
              <a:gdLst>
                <a:gd name="connsiteX0" fmla="*/ 371367 w 435077"/>
                <a:gd name="connsiteY0" fmla="*/ 63712 h 435077"/>
                <a:gd name="connsiteX1" fmla="*/ 435077 w 435077"/>
                <a:gd name="connsiteY1" fmla="*/ 217539 h 435077"/>
                <a:gd name="connsiteX2" fmla="*/ 217703 w 435077"/>
                <a:gd name="connsiteY2" fmla="*/ 217539 h 435077"/>
                <a:gd name="connsiteX3" fmla="*/ 371367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7376 w 435077"/>
                <a:gd name="connsiteY8" fmla="*/ 217539 h 435077"/>
                <a:gd name="connsiteX9" fmla="*/ 0 w 435077"/>
                <a:gd name="connsiteY9" fmla="*/ 217539 h 435077"/>
                <a:gd name="connsiteX10" fmla="*/ 63712 w 435077"/>
                <a:gd name="connsiteY10" fmla="*/ 63712 h 435077"/>
                <a:gd name="connsiteX11" fmla="*/ 217539 w 435077"/>
                <a:gd name="connsiteY11" fmla="*/ 0 h 435077"/>
                <a:gd name="connsiteX12" fmla="*/ 371367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7" y="63712"/>
                  </a:moveTo>
                  <a:cubicBezTo>
                    <a:pt x="412155" y="104527"/>
                    <a:pt x="435077" y="159837"/>
                    <a:pt x="435077" y="217539"/>
                  </a:cubicBezTo>
                  <a:lnTo>
                    <a:pt x="217703" y="217539"/>
                  </a:lnTo>
                  <a:cubicBezTo>
                    <a:pt x="275351" y="217593"/>
                    <a:pt x="330605" y="240489"/>
                    <a:pt x="371367" y="281250"/>
                  </a:cubicBezTo>
                  <a:cubicBezTo>
                    <a:pt x="412155" y="322066"/>
                    <a:pt x="435077" y="377375"/>
                    <a:pt x="435077" y="435077"/>
                  </a:cubicBezTo>
                  <a:lnTo>
                    <a:pt x="217539" y="435077"/>
                  </a:lnTo>
                  <a:lnTo>
                    <a:pt x="0" y="435077"/>
                  </a:lnTo>
                  <a:cubicBezTo>
                    <a:pt x="0" y="377375"/>
                    <a:pt x="22924" y="322066"/>
                    <a:pt x="63712" y="281250"/>
                  </a:cubicBezTo>
                  <a:cubicBezTo>
                    <a:pt x="104474" y="240489"/>
                    <a:pt x="159728" y="217593"/>
                    <a:pt x="217376" y="217539"/>
                  </a:cubicBezTo>
                  <a:lnTo>
                    <a:pt x="0" y="217539"/>
                  </a:lnTo>
                  <a:cubicBezTo>
                    <a:pt x="0" y="159837"/>
                    <a:pt x="22924" y="104527"/>
                    <a:pt x="63712" y="63712"/>
                  </a:cubicBezTo>
                  <a:cubicBezTo>
                    <a:pt x="104501" y="22923"/>
                    <a:pt x="159836" y="0"/>
                    <a:pt x="217539" y="0"/>
                  </a:cubicBezTo>
                  <a:cubicBezTo>
                    <a:pt x="275241" y="0"/>
                    <a:pt x="330550" y="22923"/>
                    <a:pt x="371367" y="63712"/>
                  </a:cubicBezTo>
                  <a:close/>
                </a:path>
              </a:pathLst>
            </a:custGeom>
            <a:grpFill/>
            <a:ln w="27192" cap="flat">
              <a:noFill/>
              <a:prstDash val="solid"/>
              <a:miter/>
            </a:ln>
          </p:spPr>
          <p:txBody>
            <a:bodyPr rtlCol="0" anchor="ctr"/>
            <a:lstStyle/>
            <a:p>
              <a:endParaRPr lang="uk-UA" sz="900"/>
            </a:p>
          </p:txBody>
        </p:sp>
        <p:sp>
          <p:nvSpPr>
            <p:cNvPr id="106" name="Freeform: Shape 105">
              <a:extLst>
                <a:ext uri="{FF2B5EF4-FFF2-40B4-BE49-F238E27FC236}">
                  <a16:creationId xmlns:a16="http://schemas.microsoft.com/office/drawing/2014/main" id="{C5EC7086-950D-264D-D574-D9E30A7A0DC4}"/>
                </a:ext>
              </a:extLst>
            </p:cNvPr>
            <p:cNvSpPr/>
            <p:nvPr/>
          </p:nvSpPr>
          <p:spPr>
            <a:xfrm>
              <a:off x="13888200" y="5449529"/>
              <a:ext cx="435077" cy="435077"/>
            </a:xfrm>
            <a:custGeom>
              <a:avLst/>
              <a:gdLst>
                <a:gd name="connsiteX0" fmla="*/ 217565 w 435077"/>
                <a:gd name="connsiteY0" fmla="*/ 0 h 435077"/>
                <a:gd name="connsiteX1" fmla="*/ 217539 w 435077"/>
                <a:gd name="connsiteY1" fmla="*/ 0 h 435077"/>
                <a:gd name="connsiteX2" fmla="*/ 27 w 435077"/>
                <a:gd name="connsiteY2" fmla="*/ 0 h 435077"/>
                <a:gd name="connsiteX3" fmla="*/ 27 w 435077"/>
                <a:gd name="connsiteY3" fmla="*/ 217539 h 435077"/>
                <a:gd name="connsiteX4" fmla="*/ 217565 w 435077"/>
                <a:gd name="connsiteY4" fmla="*/ 0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65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65" y="0"/>
                  </a:moveTo>
                  <a:lnTo>
                    <a:pt x="217539" y="0"/>
                  </a:lnTo>
                  <a:lnTo>
                    <a:pt x="27" y="0"/>
                  </a:lnTo>
                  <a:lnTo>
                    <a:pt x="27" y="217539"/>
                  </a:lnTo>
                  <a:lnTo>
                    <a:pt x="217565" y="0"/>
                  </a:lnTo>
                  <a:lnTo>
                    <a:pt x="435077" y="217539"/>
                  </a:lnTo>
                  <a:lnTo>
                    <a:pt x="217539" y="435077"/>
                  </a:lnTo>
                  <a:lnTo>
                    <a:pt x="0" y="217539"/>
                  </a:lnTo>
                  <a:lnTo>
                    <a:pt x="0" y="435077"/>
                  </a:lnTo>
                  <a:lnTo>
                    <a:pt x="217539" y="435077"/>
                  </a:lnTo>
                  <a:lnTo>
                    <a:pt x="435077" y="435077"/>
                  </a:lnTo>
                  <a:lnTo>
                    <a:pt x="435077" y="217539"/>
                  </a:lnTo>
                  <a:lnTo>
                    <a:pt x="435077" y="0"/>
                  </a:lnTo>
                  <a:lnTo>
                    <a:pt x="217565" y="0"/>
                  </a:lnTo>
                  <a:close/>
                </a:path>
              </a:pathLst>
            </a:custGeom>
            <a:grpFill/>
            <a:ln w="27192" cap="flat">
              <a:noFill/>
              <a:prstDash val="solid"/>
              <a:miter/>
            </a:ln>
          </p:spPr>
          <p:txBody>
            <a:bodyPr rtlCol="0" anchor="ctr"/>
            <a:lstStyle/>
            <a:p>
              <a:endParaRPr lang="uk-UA" sz="900"/>
            </a:p>
          </p:txBody>
        </p:sp>
        <p:sp>
          <p:nvSpPr>
            <p:cNvPr id="107" name="Freeform: Shape 106">
              <a:extLst>
                <a:ext uri="{FF2B5EF4-FFF2-40B4-BE49-F238E27FC236}">
                  <a16:creationId xmlns:a16="http://schemas.microsoft.com/office/drawing/2014/main" id="{9C80C7D0-9194-CC56-EA27-CE4C090E0E97}"/>
                </a:ext>
              </a:extLst>
            </p:cNvPr>
            <p:cNvSpPr/>
            <p:nvPr/>
          </p:nvSpPr>
          <p:spPr>
            <a:xfrm>
              <a:off x="15628536" y="5449529"/>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0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39 h 435077"/>
                <a:gd name="connsiteX9" fmla="*/ 435077 w 435077"/>
                <a:gd name="connsiteY9" fmla="*/ 217539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0"/>
                  </a:lnTo>
                  <a:lnTo>
                    <a:pt x="435077" y="217539"/>
                  </a:lnTo>
                  <a:lnTo>
                    <a:pt x="435077" y="217539"/>
                  </a:lnTo>
                  <a:lnTo>
                    <a:pt x="435077" y="217539"/>
                  </a:lnTo>
                  <a:lnTo>
                    <a:pt x="435077" y="217539"/>
                  </a:lnTo>
                  <a:lnTo>
                    <a:pt x="435077" y="217539"/>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108" name="Freeform: Shape 107">
              <a:extLst>
                <a:ext uri="{FF2B5EF4-FFF2-40B4-BE49-F238E27FC236}">
                  <a16:creationId xmlns:a16="http://schemas.microsoft.com/office/drawing/2014/main" id="{AB9DD040-2350-91DF-F69F-68FD31A08534}"/>
                </a:ext>
              </a:extLst>
            </p:cNvPr>
            <p:cNvSpPr/>
            <p:nvPr/>
          </p:nvSpPr>
          <p:spPr>
            <a:xfrm>
              <a:off x="16498719" y="5449529"/>
              <a:ext cx="435077" cy="435077"/>
            </a:xfrm>
            <a:custGeom>
              <a:avLst/>
              <a:gdLst>
                <a:gd name="connsiteX0" fmla="*/ 0 w 435077"/>
                <a:gd name="connsiteY0" fmla="*/ 435077 h 435077"/>
                <a:gd name="connsiteX1" fmla="*/ 217510 w 435077"/>
                <a:gd name="connsiteY1" fmla="*/ 435077 h 435077"/>
                <a:gd name="connsiteX2" fmla="*/ 217510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66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10" y="435077"/>
                  </a:lnTo>
                  <a:lnTo>
                    <a:pt x="217510" y="217539"/>
                  </a:lnTo>
                  <a:lnTo>
                    <a:pt x="0" y="435077"/>
                  </a:lnTo>
                  <a:close/>
                  <a:moveTo>
                    <a:pt x="217539" y="0"/>
                  </a:moveTo>
                  <a:lnTo>
                    <a:pt x="0" y="0"/>
                  </a:lnTo>
                  <a:lnTo>
                    <a:pt x="217539" y="217539"/>
                  </a:lnTo>
                  <a:lnTo>
                    <a:pt x="217539" y="0"/>
                  </a:lnTo>
                  <a:close/>
                  <a:moveTo>
                    <a:pt x="435077" y="435077"/>
                  </a:moveTo>
                  <a:lnTo>
                    <a:pt x="217539" y="435077"/>
                  </a:lnTo>
                  <a:lnTo>
                    <a:pt x="435077" y="217566"/>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109" name="Freeform: Shape 108">
              <a:extLst>
                <a:ext uri="{FF2B5EF4-FFF2-40B4-BE49-F238E27FC236}">
                  <a16:creationId xmlns:a16="http://schemas.microsoft.com/office/drawing/2014/main" id="{24DD53D9-231F-5B6B-4C29-E3E4313044D2}"/>
                </a:ext>
              </a:extLst>
            </p:cNvPr>
            <p:cNvSpPr/>
            <p:nvPr/>
          </p:nvSpPr>
          <p:spPr>
            <a:xfrm>
              <a:off x="18239029" y="5449529"/>
              <a:ext cx="435077" cy="435077"/>
            </a:xfrm>
            <a:custGeom>
              <a:avLst/>
              <a:gdLst>
                <a:gd name="connsiteX0" fmla="*/ 371365 w 435077"/>
                <a:gd name="connsiteY0" fmla="*/ 63712 h 435077"/>
                <a:gd name="connsiteX1" fmla="*/ 435077 w 435077"/>
                <a:gd name="connsiteY1" fmla="*/ 217539 h 435077"/>
                <a:gd name="connsiteX2" fmla="*/ 217701 w 435077"/>
                <a:gd name="connsiteY2" fmla="*/ 217539 h 435077"/>
                <a:gd name="connsiteX3" fmla="*/ 371365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0 w 435077"/>
                <a:gd name="connsiteY7" fmla="*/ 281250 h 435077"/>
                <a:gd name="connsiteX8" fmla="*/ 217374 w 435077"/>
                <a:gd name="connsiteY8" fmla="*/ 217539 h 435077"/>
                <a:gd name="connsiteX9" fmla="*/ 0 w 435077"/>
                <a:gd name="connsiteY9" fmla="*/ 217539 h 435077"/>
                <a:gd name="connsiteX10" fmla="*/ 63710 w 435077"/>
                <a:gd name="connsiteY10" fmla="*/ 63712 h 435077"/>
                <a:gd name="connsiteX11" fmla="*/ 217539 w 435077"/>
                <a:gd name="connsiteY11" fmla="*/ 0 h 435077"/>
                <a:gd name="connsiteX12" fmla="*/ 371365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12"/>
                  </a:moveTo>
                  <a:cubicBezTo>
                    <a:pt x="412154" y="104527"/>
                    <a:pt x="435077" y="159837"/>
                    <a:pt x="435077" y="217539"/>
                  </a:cubicBezTo>
                  <a:lnTo>
                    <a:pt x="217701" y="217539"/>
                  </a:lnTo>
                  <a:cubicBezTo>
                    <a:pt x="275349" y="217593"/>
                    <a:pt x="330603" y="240489"/>
                    <a:pt x="371365" y="281250"/>
                  </a:cubicBezTo>
                  <a:cubicBezTo>
                    <a:pt x="412154" y="322066"/>
                    <a:pt x="435077" y="377375"/>
                    <a:pt x="435077" y="435077"/>
                  </a:cubicBezTo>
                  <a:lnTo>
                    <a:pt x="217539" y="435077"/>
                  </a:lnTo>
                  <a:lnTo>
                    <a:pt x="0" y="435077"/>
                  </a:lnTo>
                  <a:cubicBezTo>
                    <a:pt x="0" y="377375"/>
                    <a:pt x="22922" y="322066"/>
                    <a:pt x="63710" y="281250"/>
                  </a:cubicBezTo>
                  <a:cubicBezTo>
                    <a:pt x="104472" y="240489"/>
                    <a:pt x="159755" y="217593"/>
                    <a:pt x="217374" y="217539"/>
                  </a:cubicBezTo>
                  <a:lnTo>
                    <a:pt x="0" y="217539"/>
                  </a:lnTo>
                  <a:cubicBezTo>
                    <a:pt x="0" y="159837"/>
                    <a:pt x="22922" y="104527"/>
                    <a:pt x="63710" y="63712"/>
                  </a:cubicBezTo>
                  <a:cubicBezTo>
                    <a:pt x="104527" y="22923"/>
                    <a:pt x="159836" y="0"/>
                    <a:pt x="217539" y="0"/>
                  </a:cubicBezTo>
                  <a:cubicBezTo>
                    <a:pt x="275241" y="0"/>
                    <a:pt x="330577" y="22923"/>
                    <a:pt x="371365" y="63712"/>
                  </a:cubicBezTo>
                  <a:close/>
                </a:path>
              </a:pathLst>
            </a:custGeom>
            <a:grpFill/>
            <a:ln w="27192" cap="flat">
              <a:noFill/>
              <a:prstDash val="solid"/>
              <a:miter/>
            </a:ln>
          </p:spPr>
          <p:txBody>
            <a:bodyPr rtlCol="0" anchor="ctr"/>
            <a:lstStyle/>
            <a:p>
              <a:endParaRPr lang="uk-UA" sz="900"/>
            </a:p>
          </p:txBody>
        </p:sp>
        <p:sp>
          <p:nvSpPr>
            <p:cNvPr id="110" name="Freeform: Shape 109">
              <a:extLst>
                <a:ext uri="{FF2B5EF4-FFF2-40B4-BE49-F238E27FC236}">
                  <a16:creationId xmlns:a16="http://schemas.microsoft.com/office/drawing/2014/main" id="{6FC3CAFD-0714-D7B5-3A99-843E86329E96}"/>
                </a:ext>
              </a:extLst>
            </p:cNvPr>
            <p:cNvSpPr/>
            <p:nvPr/>
          </p:nvSpPr>
          <p:spPr>
            <a:xfrm>
              <a:off x="17368874" y="544952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111" name="Freeform: Shape 110">
              <a:extLst>
                <a:ext uri="{FF2B5EF4-FFF2-40B4-BE49-F238E27FC236}">
                  <a16:creationId xmlns:a16="http://schemas.microsoft.com/office/drawing/2014/main" id="{B3391B93-AE61-6CC0-E437-BF1B2D4CA3BA}"/>
                </a:ext>
              </a:extLst>
            </p:cNvPr>
            <p:cNvSpPr/>
            <p:nvPr/>
          </p:nvSpPr>
          <p:spPr>
            <a:xfrm>
              <a:off x="19109210" y="544952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51 w 435077"/>
                <a:gd name="connsiteY7" fmla="*/ 217539 h 435077"/>
                <a:gd name="connsiteX8" fmla="*/ 435077 w 435077"/>
                <a:gd name="connsiteY8" fmla="*/ 217539 h 435077"/>
                <a:gd name="connsiteX9" fmla="*/ 435051 w 435077"/>
                <a:gd name="connsiteY9" fmla="*/ 217539 h 435077"/>
                <a:gd name="connsiteX10" fmla="*/ 435077 w 435077"/>
                <a:gd name="connsiteY10" fmla="*/ 217539 h 435077"/>
                <a:gd name="connsiteX11" fmla="*/ 435051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51" y="217539"/>
                  </a:lnTo>
                  <a:lnTo>
                    <a:pt x="435077" y="217539"/>
                  </a:lnTo>
                  <a:lnTo>
                    <a:pt x="435051" y="217539"/>
                  </a:lnTo>
                  <a:lnTo>
                    <a:pt x="435077" y="217539"/>
                  </a:lnTo>
                  <a:lnTo>
                    <a:pt x="435051"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112" name="Freeform: Shape 111">
              <a:extLst>
                <a:ext uri="{FF2B5EF4-FFF2-40B4-BE49-F238E27FC236}">
                  <a16:creationId xmlns:a16="http://schemas.microsoft.com/office/drawing/2014/main" id="{53D45C76-45CC-FABB-F103-304B8AE4600A}"/>
                </a:ext>
              </a:extLst>
            </p:cNvPr>
            <p:cNvSpPr/>
            <p:nvPr/>
          </p:nvSpPr>
          <p:spPr>
            <a:xfrm>
              <a:off x="19979365" y="5449529"/>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66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39" y="435077"/>
                  </a:lnTo>
                  <a:lnTo>
                    <a:pt x="435077" y="217566"/>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113" name="Freeform: Shape 112">
              <a:extLst>
                <a:ext uri="{FF2B5EF4-FFF2-40B4-BE49-F238E27FC236}">
                  <a16:creationId xmlns:a16="http://schemas.microsoft.com/office/drawing/2014/main" id="{C0899F14-B4C1-266D-7820-9A2720A82397}"/>
                </a:ext>
              </a:extLst>
            </p:cNvPr>
            <p:cNvSpPr/>
            <p:nvPr/>
          </p:nvSpPr>
          <p:spPr>
            <a:xfrm>
              <a:off x="21719702" y="5449529"/>
              <a:ext cx="435077" cy="435077"/>
            </a:xfrm>
            <a:custGeom>
              <a:avLst/>
              <a:gdLst>
                <a:gd name="connsiteX0" fmla="*/ 371339 w 435077"/>
                <a:gd name="connsiteY0" fmla="*/ 63712 h 435077"/>
                <a:gd name="connsiteX1" fmla="*/ 435077 w 435077"/>
                <a:gd name="connsiteY1" fmla="*/ 217539 h 435077"/>
                <a:gd name="connsiteX2" fmla="*/ 217703 w 435077"/>
                <a:gd name="connsiteY2" fmla="*/ 217539 h 435077"/>
                <a:gd name="connsiteX3" fmla="*/ 371367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7350 w 435077"/>
                <a:gd name="connsiteY8" fmla="*/ 217539 h 435077"/>
                <a:gd name="connsiteX9" fmla="*/ 0 w 435077"/>
                <a:gd name="connsiteY9" fmla="*/ 217539 h 435077"/>
                <a:gd name="connsiteX10" fmla="*/ 63712 w 435077"/>
                <a:gd name="connsiteY10" fmla="*/ 63712 h 435077"/>
                <a:gd name="connsiteX11" fmla="*/ 217539 w 435077"/>
                <a:gd name="connsiteY11" fmla="*/ 0 h 435077"/>
                <a:gd name="connsiteX12" fmla="*/ 371339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12"/>
                  </a:moveTo>
                  <a:cubicBezTo>
                    <a:pt x="412155" y="104527"/>
                    <a:pt x="435077" y="159837"/>
                    <a:pt x="435077" y="217539"/>
                  </a:cubicBezTo>
                  <a:lnTo>
                    <a:pt x="217703" y="217539"/>
                  </a:lnTo>
                  <a:cubicBezTo>
                    <a:pt x="275322" y="217593"/>
                    <a:pt x="330605" y="240489"/>
                    <a:pt x="371367" y="281250"/>
                  </a:cubicBezTo>
                  <a:cubicBezTo>
                    <a:pt x="412155" y="322066"/>
                    <a:pt x="435077" y="377375"/>
                    <a:pt x="435077" y="435077"/>
                  </a:cubicBezTo>
                  <a:lnTo>
                    <a:pt x="217539" y="435077"/>
                  </a:lnTo>
                  <a:lnTo>
                    <a:pt x="0" y="435077"/>
                  </a:lnTo>
                  <a:cubicBezTo>
                    <a:pt x="0" y="377375"/>
                    <a:pt x="22924" y="322066"/>
                    <a:pt x="63712" y="281250"/>
                  </a:cubicBezTo>
                  <a:cubicBezTo>
                    <a:pt x="104474" y="240489"/>
                    <a:pt x="159728" y="217593"/>
                    <a:pt x="217350" y="217539"/>
                  </a:cubicBezTo>
                  <a:lnTo>
                    <a:pt x="0" y="217539"/>
                  </a:lnTo>
                  <a:cubicBezTo>
                    <a:pt x="0" y="159837"/>
                    <a:pt x="22897" y="104527"/>
                    <a:pt x="63712" y="63712"/>
                  </a:cubicBezTo>
                  <a:cubicBezTo>
                    <a:pt x="104501" y="22923"/>
                    <a:pt x="159838" y="0"/>
                    <a:pt x="217539" y="0"/>
                  </a:cubicBezTo>
                  <a:cubicBezTo>
                    <a:pt x="275215" y="0"/>
                    <a:pt x="330550" y="22923"/>
                    <a:pt x="371339" y="63712"/>
                  </a:cubicBezTo>
                  <a:close/>
                </a:path>
              </a:pathLst>
            </a:custGeom>
            <a:grpFill/>
            <a:ln w="27192" cap="flat">
              <a:noFill/>
              <a:prstDash val="solid"/>
              <a:miter/>
            </a:ln>
          </p:spPr>
          <p:txBody>
            <a:bodyPr rtlCol="0" anchor="ctr"/>
            <a:lstStyle/>
            <a:p>
              <a:endParaRPr lang="uk-UA" sz="900"/>
            </a:p>
          </p:txBody>
        </p:sp>
        <p:sp>
          <p:nvSpPr>
            <p:cNvPr id="114" name="Freeform: Shape 113">
              <a:extLst>
                <a:ext uri="{FF2B5EF4-FFF2-40B4-BE49-F238E27FC236}">
                  <a16:creationId xmlns:a16="http://schemas.microsoft.com/office/drawing/2014/main" id="{C07AA058-4396-7FED-D1BD-9E74920DFAF9}"/>
                </a:ext>
              </a:extLst>
            </p:cNvPr>
            <p:cNvSpPr/>
            <p:nvPr/>
          </p:nvSpPr>
          <p:spPr>
            <a:xfrm>
              <a:off x="20849520" y="5449529"/>
              <a:ext cx="435103" cy="435077"/>
            </a:xfrm>
            <a:custGeom>
              <a:avLst/>
              <a:gdLst>
                <a:gd name="connsiteX0" fmla="*/ 217539 w 435103"/>
                <a:gd name="connsiteY0" fmla="*/ 0 h 435077"/>
                <a:gd name="connsiteX1" fmla="*/ 0 w 435103"/>
                <a:gd name="connsiteY1" fmla="*/ 0 h 435077"/>
                <a:gd name="connsiteX2" fmla="*/ 0 w 435103"/>
                <a:gd name="connsiteY2" fmla="*/ 217539 h 435077"/>
                <a:gd name="connsiteX3" fmla="*/ 217539 w 435103"/>
                <a:gd name="connsiteY3" fmla="*/ 0 h 435077"/>
                <a:gd name="connsiteX4" fmla="*/ 435104 w 435103"/>
                <a:gd name="connsiteY4" fmla="*/ 0 h 435077"/>
                <a:gd name="connsiteX5" fmla="*/ 435104 w 435103"/>
                <a:gd name="connsiteY5" fmla="*/ 217539 h 435077"/>
                <a:gd name="connsiteX6" fmla="*/ 217565 w 435103"/>
                <a:gd name="connsiteY6" fmla="*/ 0 h 435077"/>
                <a:gd name="connsiteX7" fmla="*/ 435104 w 435103"/>
                <a:gd name="connsiteY7" fmla="*/ 0 h 435077"/>
                <a:gd name="connsiteX8" fmla="*/ 217565 w 435103"/>
                <a:gd name="connsiteY8" fmla="*/ 435077 h 435077"/>
                <a:gd name="connsiteX9" fmla="*/ 435104 w 435103"/>
                <a:gd name="connsiteY9" fmla="*/ 217539 h 435077"/>
                <a:gd name="connsiteX10" fmla="*/ 435104 w 435103"/>
                <a:gd name="connsiteY10" fmla="*/ 435077 h 435077"/>
                <a:gd name="connsiteX11" fmla="*/ 217565 w 435103"/>
                <a:gd name="connsiteY11" fmla="*/ 435077 h 435077"/>
                <a:gd name="connsiteX12" fmla="*/ 217565 w 435103"/>
                <a:gd name="connsiteY12" fmla="*/ 435077 h 435077"/>
                <a:gd name="connsiteX13" fmla="*/ 27 w 435103"/>
                <a:gd name="connsiteY13" fmla="*/ 217539 h 435077"/>
                <a:gd name="connsiteX14" fmla="*/ 27 w 435103"/>
                <a:gd name="connsiteY14" fmla="*/ 435077 h 435077"/>
                <a:gd name="connsiteX15" fmla="*/ 217565 w 435103"/>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3" h="435077">
                  <a:moveTo>
                    <a:pt x="217539" y="0"/>
                  </a:moveTo>
                  <a:lnTo>
                    <a:pt x="0" y="0"/>
                  </a:lnTo>
                  <a:lnTo>
                    <a:pt x="0" y="217539"/>
                  </a:lnTo>
                  <a:lnTo>
                    <a:pt x="217539" y="0"/>
                  </a:lnTo>
                  <a:close/>
                  <a:moveTo>
                    <a:pt x="435104" y="0"/>
                  </a:moveTo>
                  <a:lnTo>
                    <a:pt x="435104" y="217539"/>
                  </a:lnTo>
                  <a:lnTo>
                    <a:pt x="217565" y="0"/>
                  </a:lnTo>
                  <a:lnTo>
                    <a:pt x="435104" y="0"/>
                  </a:lnTo>
                  <a:close/>
                  <a:moveTo>
                    <a:pt x="217565" y="435077"/>
                  </a:moveTo>
                  <a:lnTo>
                    <a:pt x="435104" y="217539"/>
                  </a:lnTo>
                  <a:lnTo>
                    <a:pt x="435104" y="435077"/>
                  </a:lnTo>
                  <a:lnTo>
                    <a:pt x="217565" y="435077"/>
                  </a:lnTo>
                  <a:close/>
                  <a:moveTo>
                    <a:pt x="217565" y="435077"/>
                  </a:moveTo>
                  <a:lnTo>
                    <a:pt x="27" y="217539"/>
                  </a:lnTo>
                  <a:lnTo>
                    <a:pt x="27" y="435077"/>
                  </a:lnTo>
                  <a:lnTo>
                    <a:pt x="217565" y="435077"/>
                  </a:lnTo>
                  <a:close/>
                </a:path>
              </a:pathLst>
            </a:custGeom>
            <a:grpFill/>
            <a:ln w="27192" cap="flat">
              <a:noFill/>
              <a:prstDash val="solid"/>
              <a:miter/>
            </a:ln>
          </p:spPr>
          <p:txBody>
            <a:bodyPr rtlCol="0" anchor="ctr"/>
            <a:lstStyle/>
            <a:p>
              <a:endParaRPr lang="uk-UA" sz="900"/>
            </a:p>
          </p:txBody>
        </p:sp>
        <p:sp>
          <p:nvSpPr>
            <p:cNvPr id="115" name="Freeform: Shape 114">
              <a:extLst>
                <a:ext uri="{FF2B5EF4-FFF2-40B4-BE49-F238E27FC236}">
                  <a16:creationId xmlns:a16="http://schemas.microsoft.com/office/drawing/2014/main" id="{41C81A4F-2E53-36DA-B35B-F81474A4AB36}"/>
                </a:ext>
              </a:extLst>
            </p:cNvPr>
            <p:cNvSpPr/>
            <p:nvPr/>
          </p:nvSpPr>
          <p:spPr>
            <a:xfrm>
              <a:off x="22589856" y="544952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116" name="Freeform: Shape 115">
              <a:extLst>
                <a:ext uri="{FF2B5EF4-FFF2-40B4-BE49-F238E27FC236}">
                  <a16:creationId xmlns:a16="http://schemas.microsoft.com/office/drawing/2014/main" id="{69F83D31-2E97-B60C-08C0-1704B2BE282B}"/>
                </a:ext>
              </a:extLst>
            </p:cNvPr>
            <p:cNvSpPr/>
            <p:nvPr/>
          </p:nvSpPr>
          <p:spPr>
            <a:xfrm>
              <a:off x="23460039" y="5449529"/>
              <a:ext cx="435077" cy="435077"/>
            </a:xfrm>
            <a:custGeom>
              <a:avLst/>
              <a:gdLst>
                <a:gd name="connsiteX0" fmla="*/ 0 w 435077"/>
                <a:gd name="connsiteY0" fmla="*/ 435077 h 435077"/>
                <a:gd name="connsiteX1" fmla="*/ 217510 w 435077"/>
                <a:gd name="connsiteY1" fmla="*/ 435077 h 435077"/>
                <a:gd name="connsiteX2" fmla="*/ 217510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66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10" y="435077"/>
                  </a:lnTo>
                  <a:lnTo>
                    <a:pt x="217510" y="217539"/>
                  </a:lnTo>
                  <a:lnTo>
                    <a:pt x="0" y="435077"/>
                  </a:lnTo>
                  <a:close/>
                  <a:moveTo>
                    <a:pt x="217539" y="0"/>
                  </a:moveTo>
                  <a:lnTo>
                    <a:pt x="0" y="0"/>
                  </a:lnTo>
                  <a:lnTo>
                    <a:pt x="217539" y="217539"/>
                  </a:lnTo>
                  <a:lnTo>
                    <a:pt x="217539" y="0"/>
                  </a:lnTo>
                  <a:close/>
                  <a:moveTo>
                    <a:pt x="435077" y="435077"/>
                  </a:moveTo>
                  <a:lnTo>
                    <a:pt x="217539" y="435077"/>
                  </a:lnTo>
                  <a:lnTo>
                    <a:pt x="435077" y="217566"/>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117" name="Freeform: Shape 116">
              <a:extLst>
                <a:ext uri="{FF2B5EF4-FFF2-40B4-BE49-F238E27FC236}">
                  <a16:creationId xmlns:a16="http://schemas.microsoft.com/office/drawing/2014/main" id="{3BA6DDF3-3DEA-DE94-4B82-06E144F34E46}"/>
                </a:ext>
              </a:extLst>
            </p:cNvPr>
            <p:cNvSpPr/>
            <p:nvPr/>
          </p:nvSpPr>
          <p:spPr>
            <a:xfrm>
              <a:off x="24330194" y="544952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p>
          </p:txBody>
        </p:sp>
        <p:sp>
          <p:nvSpPr>
            <p:cNvPr id="118" name="Freeform: Shape 117">
              <a:extLst>
                <a:ext uri="{FF2B5EF4-FFF2-40B4-BE49-F238E27FC236}">
                  <a16:creationId xmlns:a16="http://schemas.microsoft.com/office/drawing/2014/main" id="{EB3716B8-D115-0115-9351-59549509245A}"/>
                </a:ext>
              </a:extLst>
            </p:cNvPr>
            <p:cNvSpPr/>
            <p:nvPr/>
          </p:nvSpPr>
          <p:spPr>
            <a:xfrm>
              <a:off x="835769" y="6319683"/>
              <a:ext cx="435077" cy="435077"/>
            </a:xfrm>
            <a:custGeom>
              <a:avLst/>
              <a:gdLst>
                <a:gd name="connsiteX0" fmla="*/ 63711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1 w 435077"/>
                <a:gd name="connsiteY6" fmla="*/ 153827 h 435077"/>
                <a:gd name="connsiteX7" fmla="*/ 63711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1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1" y="153827"/>
                  </a:moveTo>
                  <a:cubicBezTo>
                    <a:pt x="22923" y="113038"/>
                    <a:pt x="0" y="57702"/>
                    <a:pt x="0" y="0"/>
                  </a:cubicBezTo>
                  <a:lnTo>
                    <a:pt x="217539" y="0"/>
                  </a:lnTo>
                  <a:lnTo>
                    <a:pt x="435077" y="0"/>
                  </a:lnTo>
                  <a:cubicBezTo>
                    <a:pt x="435077" y="57702"/>
                    <a:pt x="412154" y="113038"/>
                    <a:pt x="371366" y="153827"/>
                  </a:cubicBezTo>
                  <a:cubicBezTo>
                    <a:pt x="330550" y="194616"/>
                    <a:pt x="275213" y="217539"/>
                    <a:pt x="217539" y="217539"/>
                  </a:cubicBezTo>
                  <a:cubicBezTo>
                    <a:pt x="159836" y="217539"/>
                    <a:pt x="104500" y="194616"/>
                    <a:pt x="63711" y="153827"/>
                  </a:cubicBezTo>
                  <a:close/>
                  <a:moveTo>
                    <a:pt x="63711" y="281250"/>
                  </a:moveTo>
                  <a:cubicBezTo>
                    <a:pt x="22923" y="322066"/>
                    <a:pt x="0" y="377375"/>
                    <a:pt x="0" y="435077"/>
                  </a:cubicBezTo>
                  <a:lnTo>
                    <a:pt x="217539" y="435077"/>
                  </a:lnTo>
                  <a:lnTo>
                    <a:pt x="435077" y="435077"/>
                  </a:lnTo>
                  <a:cubicBezTo>
                    <a:pt x="435077" y="377375"/>
                    <a:pt x="412154" y="322066"/>
                    <a:pt x="371366" y="281250"/>
                  </a:cubicBezTo>
                  <a:cubicBezTo>
                    <a:pt x="330550" y="240462"/>
                    <a:pt x="275213" y="217539"/>
                    <a:pt x="217539" y="217539"/>
                  </a:cubicBezTo>
                  <a:cubicBezTo>
                    <a:pt x="159836" y="217539"/>
                    <a:pt x="104500" y="240462"/>
                    <a:pt x="63711" y="281250"/>
                  </a:cubicBezTo>
                  <a:close/>
                </a:path>
              </a:pathLst>
            </a:custGeom>
            <a:grpFill/>
            <a:ln w="27192" cap="flat">
              <a:noFill/>
              <a:prstDash val="solid"/>
              <a:miter/>
            </a:ln>
          </p:spPr>
          <p:txBody>
            <a:bodyPr rtlCol="0" anchor="ctr"/>
            <a:lstStyle/>
            <a:p>
              <a:endParaRPr lang="uk-UA" sz="900"/>
            </a:p>
          </p:txBody>
        </p:sp>
        <p:sp>
          <p:nvSpPr>
            <p:cNvPr id="119" name="Freeform: Shape 118">
              <a:extLst>
                <a:ext uri="{FF2B5EF4-FFF2-40B4-BE49-F238E27FC236}">
                  <a16:creationId xmlns:a16="http://schemas.microsoft.com/office/drawing/2014/main" id="{D91B1AF7-F227-A6F4-ADFF-A1E559E7A260}"/>
                </a:ext>
              </a:extLst>
            </p:cNvPr>
            <p:cNvSpPr/>
            <p:nvPr/>
          </p:nvSpPr>
          <p:spPr>
            <a:xfrm>
              <a:off x="-34393" y="6319683"/>
              <a:ext cx="435085" cy="435077"/>
            </a:xfrm>
            <a:custGeom>
              <a:avLst/>
              <a:gdLst>
                <a:gd name="connsiteX0" fmla="*/ 435086 w 435085"/>
                <a:gd name="connsiteY0" fmla="*/ 435077 h 435077"/>
                <a:gd name="connsiteX1" fmla="*/ 435086 w 435085"/>
                <a:gd name="connsiteY1" fmla="*/ 0 h 435077"/>
                <a:gd name="connsiteX2" fmla="*/ 217547 w 435085"/>
                <a:gd name="connsiteY2" fmla="*/ 217539 h 435077"/>
                <a:gd name="connsiteX3" fmla="*/ 435086 w 435085"/>
                <a:gd name="connsiteY3" fmla="*/ 435077 h 435077"/>
                <a:gd name="connsiteX4" fmla="*/ 0 w 435085"/>
                <a:gd name="connsiteY4" fmla="*/ 435077 h 435077"/>
                <a:gd name="connsiteX5" fmla="*/ 0 w 435085"/>
                <a:gd name="connsiteY5" fmla="*/ 0 h 435077"/>
                <a:gd name="connsiteX6" fmla="*/ 217520 w 435085"/>
                <a:gd name="connsiteY6" fmla="*/ 217539 h 435077"/>
                <a:gd name="connsiteX7" fmla="*/ 0 w 435085"/>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85" h="435077">
                  <a:moveTo>
                    <a:pt x="435086" y="435077"/>
                  </a:moveTo>
                  <a:lnTo>
                    <a:pt x="435086" y="0"/>
                  </a:lnTo>
                  <a:lnTo>
                    <a:pt x="217547" y="217539"/>
                  </a:lnTo>
                  <a:lnTo>
                    <a:pt x="435086" y="435077"/>
                  </a:lnTo>
                  <a:close/>
                  <a:moveTo>
                    <a:pt x="0" y="435077"/>
                  </a:moveTo>
                  <a:lnTo>
                    <a:pt x="0" y="0"/>
                  </a:lnTo>
                  <a:lnTo>
                    <a:pt x="217520" y="217539"/>
                  </a:lnTo>
                  <a:lnTo>
                    <a:pt x="0" y="435077"/>
                  </a:lnTo>
                  <a:close/>
                </a:path>
              </a:pathLst>
            </a:custGeom>
            <a:grpFill/>
            <a:ln w="27192" cap="flat">
              <a:noFill/>
              <a:prstDash val="solid"/>
              <a:miter/>
            </a:ln>
          </p:spPr>
          <p:txBody>
            <a:bodyPr rtlCol="0" anchor="ctr"/>
            <a:lstStyle/>
            <a:p>
              <a:endParaRPr lang="uk-UA" sz="900"/>
            </a:p>
          </p:txBody>
        </p:sp>
        <p:sp>
          <p:nvSpPr>
            <p:cNvPr id="120" name="Freeform: Shape 119">
              <a:extLst>
                <a:ext uri="{FF2B5EF4-FFF2-40B4-BE49-F238E27FC236}">
                  <a16:creationId xmlns:a16="http://schemas.microsoft.com/office/drawing/2014/main" id="{5E706CED-4B15-B596-C1F7-3E16813A7527}"/>
                </a:ext>
              </a:extLst>
            </p:cNvPr>
            <p:cNvSpPr/>
            <p:nvPr/>
          </p:nvSpPr>
          <p:spPr>
            <a:xfrm>
              <a:off x="1705924" y="6319683"/>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6 w 435077"/>
                <a:gd name="connsiteY3" fmla="*/ 27 h 435077"/>
                <a:gd name="connsiteX4" fmla="*/ 435077 w 435077"/>
                <a:gd name="connsiteY4" fmla="*/ 217539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6" y="27"/>
                  </a:lnTo>
                  <a:lnTo>
                    <a:pt x="435077" y="217539"/>
                  </a:lnTo>
                  <a:lnTo>
                    <a:pt x="217566"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121" name="Freeform: Shape 120">
              <a:extLst>
                <a:ext uri="{FF2B5EF4-FFF2-40B4-BE49-F238E27FC236}">
                  <a16:creationId xmlns:a16="http://schemas.microsoft.com/office/drawing/2014/main" id="{34B483BA-EC13-B2A5-2C1E-EE9DA00C80D4}"/>
                </a:ext>
              </a:extLst>
            </p:cNvPr>
            <p:cNvSpPr/>
            <p:nvPr/>
          </p:nvSpPr>
          <p:spPr>
            <a:xfrm>
              <a:off x="2576106" y="6319683"/>
              <a:ext cx="435077" cy="435077"/>
            </a:xfrm>
            <a:custGeom>
              <a:avLst/>
              <a:gdLst>
                <a:gd name="connsiteX0" fmla="*/ 0 w 435077"/>
                <a:gd name="connsiteY0" fmla="*/ 435077 h 435077"/>
                <a:gd name="connsiteX1" fmla="*/ 0 w 435077"/>
                <a:gd name="connsiteY1" fmla="*/ 0 h 435077"/>
                <a:gd name="connsiteX2" fmla="*/ 217512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12"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122" name="Freeform: Shape 121">
              <a:extLst>
                <a:ext uri="{FF2B5EF4-FFF2-40B4-BE49-F238E27FC236}">
                  <a16:creationId xmlns:a16="http://schemas.microsoft.com/office/drawing/2014/main" id="{81E0DCCC-A702-8B83-9171-6E2C6E9DEC2E}"/>
                </a:ext>
              </a:extLst>
            </p:cNvPr>
            <p:cNvSpPr/>
            <p:nvPr/>
          </p:nvSpPr>
          <p:spPr>
            <a:xfrm>
              <a:off x="4316416" y="6319683"/>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39 w 435077"/>
                <a:gd name="connsiteY6" fmla="*/ 153827 h 435077"/>
                <a:gd name="connsiteX7" fmla="*/ 63739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0 h 435077"/>
                <a:gd name="connsiteX12" fmla="*/ 217539 w 435077"/>
                <a:gd name="connsiteY12" fmla="*/ 217539 h 435077"/>
                <a:gd name="connsiteX13" fmla="*/ 63739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3" y="113038"/>
                    <a:pt x="0" y="57702"/>
                    <a:pt x="0" y="0"/>
                  </a:cubicBezTo>
                  <a:lnTo>
                    <a:pt x="217539" y="0"/>
                  </a:lnTo>
                  <a:lnTo>
                    <a:pt x="435077" y="0"/>
                  </a:lnTo>
                  <a:cubicBezTo>
                    <a:pt x="435077" y="57702"/>
                    <a:pt x="412181" y="113038"/>
                    <a:pt x="371365" y="153827"/>
                  </a:cubicBezTo>
                  <a:cubicBezTo>
                    <a:pt x="330577" y="194616"/>
                    <a:pt x="275240" y="217539"/>
                    <a:pt x="217539" y="217539"/>
                  </a:cubicBezTo>
                  <a:cubicBezTo>
                    <a:pt x="159864" y="217539"/>
                    <a:pt x="104527" y="194616"/>
                    <a:pt x="63739" y="153827"/>
                  </a:cubicBezTo>
                  <a:close/>
                  <a:moveTo>
                    <a:pt x="63739" y="281250"/>
                  </a:moveTo>
                  <a:cubicBezTo>
                    <a:pt x="22923" y="322066"/>
                    <a:pt x="0" y="377375"/>
                    <a:pt x="0" y="435077"/>
                  </a:cubicBezTo>
                  <a:lnTo>
                    <a:pt x="217539" y="435077"/>
                  </a:lnTo>
                  <a:lnTo>
                    <a:pt x="435077" y="435077"/>
                  </a:lnTo>
                  <a:cubicBezTo>
                    <a:pt x="435077" y="377375"/>
                    <a:pt x="412181" y="322066"/>
                    <a:pt x="371365" y="281250"/>
                  </a:cubicBezTo>
                  <a:cubicBezTo>
                    <a:pt x="330577" y="240462"/>
                    <a:pt x="275240" y="217539"/>
                    <a:pt x="217539" y="217539"/>
                  </a:cubicBezTo>
                  <a:cubicBezTo>
                    <a:pt x="159864" y="217539"/>
                    <a:pt x="104527" y="240462"/>
                    <a:pt x="63739" y="281250"/>
                  </a:cubicBezTo>
                  <a:close/>
                </a:path>
              </a:pathLst>
            </a:custGeom>
            <a:grpFill/>
            <a:ln w="27192" cap="flat">
              <a:noFill/>
              <a:prstDash val="solid"/>
              <a:miter/>
            </a:ln>
          </p:spPr>
          <p:txBody>
            <a:bodyPr rtlCol="0" anchor="ctr"/>
            <a:lstStyle/>
            <a:p>
              <a:endParaRPr lang="uk-UA" sz="900"/>
            </a:p>
          </p:txBody>
        </p:sp>
        <p:sp>
          <p:nvSpPr>
            <p:cNvPr id="123" name="Freeform: Shape 122">
              <a:extLst>
                <a:ext uri="{FF2B5EF4-FFF2-40B4-BE49-F238E27FC236}">
                  <a16:creationId xmlns:a16="http://schemas.microsoft.com/office/drawing/2014/main" id="{3BEE7AEF-1376-6660-27D0-7723E4BEE4BA}"/>
                </a:ext>
              </a:extLst>
            </p:cNvPr>
            <p:cNvSpPr/>
            <p:nvPr/>
          </p:nvSpPr>
          <p:spPr>
            <a:xfrm>
              <a:off x="3446261" y="6319683"/>
              <a:ext cx="435077" cy="435077"/>
            </a:xfrm>
            <a:custGeom>
              <a:avLst/>
              <a:gdLst>
                <a:gd name="connsiteX0" fmla="*/ 435077 w 435077"/>
                <a:gd name="connsiteY0" fmla="*/ 435077 h 435077"/>
                <a:gd name="connsiteX1" fmla="*/ 435077 w 435077"/>
                <a:gd name="connsiteY1" fmla="*/ 0 h 435077"/>
                <a:gd name="connsiteX2" fmla="*/ 217566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6"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124" name="Freeform: Shape 123">
              <a:extLst>
                <a:ext uri="{FF2B5EF4-FFF2-40B4-BE49-F238E27FC236}">
                  <a16:creationId xmlns:a16="http://schemas.microsoft.com/office/drawing/2014/main" id="{A5A5E076-2682-DE77-0A7A-6A57B4D72438}"/>
                </a:ext>
              </a:extLst>
            </p:cNvPr>
            <p:cNvSpPr/>
            <p:nvPr/>
          </p:nvSpPr>
          <p:spPr>
            <a:xfrm>
              <a:off x="5186597" y="6319683"/>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39 w 435077"/>
                <a:gd name="connsiteY3" fmla="*/ 27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39" y="27"/>
                  </a:lnTo>
                  <a:lnTo>
                    <a:pt x="435077" y="217539"/>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125" name="Freeform: Shape 124">
              <a:extLst>
                <a:ext uri="{FF2B5EF4-FFF2-40B4-BE49-F238E27FC236}">
                  <a16:creationId xmlns:a16="http://schemas.microsoft.com/office/drawing/2014/main" id="{EF76C29D-0F39-29C6-1D4F-95A0ECF4954E}"/>
                </a:ext>
              </a:extLst>
            </p:cNvPr>
            <p:cNvSpPr/>
            <p:nvPr/>
          </p:nvSpPr>
          <p:spPr>
            <a:xfrm>
              <a:off x="6056752" y="6319683"/>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126" name="Freeform: Shape 125">
              <a:extLst>
                <a:ext uri="{FF2B5EF4-FFF2-40B4-BE49-F238E27FC236}">
                  <a16:creationId xmlns:a16="http://schemas.microsoft.com/office/drawing/2014/main" id="{B43A8414-E391-D146-6265-5D38891F7447}"/>
                </a:ext>
              </a:extLst>
            </p:cNvPr>
            <p:cNvSpPr/>
            <p:nvPr/>
          </p:nvSpPr>
          <p:spPr>
            <a:xfrm>
              <a:off x="7797062" y="6319683"/>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39 w 435077"/>
                <a:gd name="connsiteY6" fmla="*/ 153827 h 435077"/>
                <a:gd name="connsiteX7" fmla="*/ 63739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39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4" y="113038"/>
                    <a:pt x="0" y="57702"/>
                    <a:pt x="0" y="0"/>
                  </a:cubicBezTo>
                  <a:lnTo>
                    <a:pt x="217539" y="0"/>
                  </a:lnTo>
                  <a:lnTo>
                    <a:pt x="435077" y="0"/>
                  </a:lnTo>
                  <a:cubicBezTo>
                    <a:pt x="435077" y="57702"/>
                    <a:pt x="412182" y="113038"/>
                    <a:pt x="371366" y="153827"/>
                  </a:cubicBezTo>
                  <a:cubicBezTo>
                    <a:pt x="330578" y="194616"/>
                    <a:pt x="275241" y="217539"/>
                    <a:pt x="217539" y="217539"/>
                  </a:cubicBezTo>
                  <a:cubicBezTo>
                    <a:pt x="159864" y="217539"/>
                    <a:pt x="104527" y="194616"/>
                    <a:pt x="63739" y="153827"/>
                  </a:cubicBezTo>
                  <a:close/>
                  <a:moveTo>
                    <a:pt x="63739" y="281250"/>
                  </a:moveTo>
                  <a:cubicBezTo>
                    <a:pt x="22924" y="322066"/>
                    <a:pt x="0" y="377375"/>
                    <a:pt x="0" y="435077"/>
                  </a:cubicBezTo>
                  <a:lnTo>
                    <a:pt x="217539" y="435077"/>
                  </a:lnTo>
                  <a:lnTo>
                    <a:pt x="435077" y="435077"/>
                  </a:lnTo>
                  <a:cubicBezTo>
                    <a:pt x="435077" y="377375"/>
                    <a:pt x="412182" y="322066"/>
                    <a:pt x="371366" y="281250"/>
                  </a:cubicBezTo>
                  <a:cubicBezTo>
                    <a:pt x="330578" y="240462"/>
                    <a:pt x="275241" y="217539"/>
                    <a:pt x="217539" y="217539"/>
                  </a:cubicBezTo>
                  <a:cubicBezTo>
                    <a:pt x="159864" y="217539"/>
                    <a:pt x="104527" y="240462"/>
                    <a:pt x="63739" y="281250"/>
                  </a:cubicBezTo>
                  <a:close/>
                </a:path>
              </a:pathLst>
            </a:custGeom>
            <a:grpFill/>
            <a:ln w="27192" cap="flat">
              <a:noFill/>
              <a:prstDash val="solid"/>
              <a:miter/>
            </a:ln>
          </p:spPr>
          <p:txBody>
            <a:bodyPr rtlCol="0" anchor="ctr"/>
            <a:lstStyle/>
            <a:p>
              <a:endParaRPr lang="uk-UA" sz="900"/>
            </a:p>
          </p:txBody>
        </p:sp>
        <p:sp>
          <p:nvSpPr>
            <p:cNvPr id="127" name="Freeform: Shape 126">
              <a:extLst>
                <a:ext uri="{FF2B5EF4-FFF2-40B4-BE49-F238E27FC236}">
                  <a16:creationId xmlns:a16="http://schemas.microsoft.com/office/drawing/2014/main" id="{8341B0E4-0AF1-6CF6-1583-5106E77D3DB0}"/>
                </a:ext>
              </a:extLst>
            </p:cNvPr>
            <p:cNvSpPr/>
            <p:nvPr/>
          </p:nvSpPr>
          <p:spPr>
            <a:xfrm>
              <a:off x="6926907" y="6319683"/>
              <a:ext cx="435077" cy="435077"/>
            </a:xfrm>
            <a:custGeom>
              <a:avLst/>
              <a:gdLst>
                <a:gd name="connsiteX0" fmla="*/ 435077 w 435077"/>
                <a:gd name="connsiteY0" fmla="*/ 435077 h 435077"/>
                <a:gd name="connsiteX1" fmla="*/ 435077 w 435077"/>
                <a:gd name="connsiteY1" fmla="*/ 0 h 435077"/>
                <a:gd name="connsiteX2" fmla="*/ 217566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6"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128" name="Freeform: Shape 127">
              <a:extLst>
                <a:ext uri="{FF2B5EF4-FFF2-40B4-BE49-F238E27FC236}">
                  <a16:creationId xmlns:a16="http://schemas.microsoft.com/office/drawing/2014/main" id="{BCDBC7B8-F8B6-23DE-2218-9C3A1F584B78}"/>
                </a:ext>
              </a:extLst>
            </p:cNvPr>
            <p:cNvSpPr/>
            <p:nvPr/>
          </p:nvSpPr>
          <p:spPr>
            <a:xfrm>
              <a:off x="8667217" y="6319683"/>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6 w 435077"/>
                <a:gd name="connsiteY3" fmla="*/ 27 h 435077"/>
                <a:gd name="connsiteX4" fmla="*/ 435077 w 435077"/>
                <a:gd name="connsiteY4" fmla="*/ 217539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6" y="27"/>
                  </a:lnTo>
                  <a:lnTo>
                    <a:pt x="435077" y="217539"/>
                  </a:lnTo>
                  <a:lnTo>
                    <a:pt x="217566"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129" name="Freeform: Shape 128">
              <a:extLst>
                <a:ext uri="{FF2B5EF4-FFF2-40B4-BE49-F238E27FC236}">
                  <a16:creationId xmlns:a16="http://schemas.microsoft.com/office/drawing/2014/main" id="{8EACAB2C-5014-DDED-5E5E-9F96A6C96DC8}"/>
                </a:ext>
              </a:extLst>
            </p:cNvPr>
            <p:cNvSpPr/>
            <p:nvPr/>
          </p:nvSpPr>
          <p:spPr>
            <a:xfrm>
              <a:off x="9537399" y="6319683"/>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130" name="Freeform: Shape 129">
              <a:extLst>
                <a:ext uri="{FF2B5EF4-FFF2-40B4-BE49-F238E27FC236}">
                  <a16:creationId xmlns:a16="http://schemas.microsoft.com/office/drawing/2014/main" id="{5A711C6A-C1A3-7693-5C36-E13364DDE80F}"/>
                </a:ext>
              </a:extLst>
            </p:cNvPr>
            <p:cNvSpPr/>
            <p:nvPr/>
          </p:nvSpPr>
          <p:spPr>
            <a:xfrm>
              <a:off x="11277709" y="6319683"/>
              <a:ext cx="435077" cy="435077"/>
            </a:xfrm>
            <a:custGeom>
              <a:avLst/>
              <a:gdLst>
                <a:gd name="connsiteX0" fmla="*/ 63710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0 w 435077"/>
                <a:gd name="connsiteY6" fmla="*/ 153827 h 435077"/>
                <a:gd name="connsiteX7" fmla="*/ 63710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0 h 435077"/>
                <a:gd name="connsiteX12" fmla="*/ 217539 w 435077"/>
                <a:gd name="connsiteY12" fmla="*/ 217539 h 435077"/>
                <a:gd name="connsiteX13" fmla="*/ 63710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7"/>
                  </a:moveTo>
                  <a:cubicBezTo>
                    <a:pt x="22922" y="113038"/>
                    <a:pt x="0" y="57702"/>
                    <a:pt x="0" y="0"/>
                  </a:cubicBezTo>
                  <a:lnTo>
                    <a:pt x="217539" y="0"/>
                  </a:lnTo>
                  <a:lnTo>
                    <a:pt x="435077" y="0"/>
                  </a:lnTo>
                  <a:cubicBezTo>
                    <a:pt x="435077" y="57702"/>
                    <a:pt x="412154" y="113038"/>
                    <a:pt x="371365" y="153827"/>
                  </a:cubicBezTo>
                  <a:cubicBezTo>
                    <a:pt x="330549" y="194616"/>
                    <a:pt x="275239" y="217539"/>
                    <a:pt x="217539" y="217539"/>
                  </a:cubicBezTo>
                  <a:cubicBezTo>
                    <a:pt x="159836" y="217539"/>
                    <a:pt x="104499" y="194616"/>
                    <a:pt x="63710" y="153827"/>
                  </a:cubicBezTo>
                  <a:close/>
                  <a:moveTo>
                    <a:pt x="63710" y="281250"/>
                  </a:moveTo>
                  <a:cubicBezTo>
                    <a:pt x="22922" y="322066"/>
                    <a:pt x="0" y="377375"/>
                    <a:pt x="0" y="435077"/>
                  </a:cubicBezTo>
                  <a:lnTo>
                    <a:pt x="217539" y="435077"/>
                  </a:lnTo>
                  <a:lnTo>
                    <a:pt x="435077" y="435077"/>
                  </a:lnTo>
                  <a:cubicBezTo>
                    <a:pt x="435077" y="377375"/>
                    <a:pt x="412154" y="322066"/>
                    <a:pt x="371365" y="281250"/>
                  </a:cubicBezTo>
                  <a:cubicBezTo>
                    <a:pt x="330549" y="240462"/>
                    <a:pt x="275239" y="217539"/>
                    <a:pt x="217539" y="217539"/>
                  </a:cubicBezTo>
                  <a:cubicBezTo>
                    <a:pt x="159836" y="217539"/>
                    <a:pt x="104499" y="240462"/>
                    <a:pt x="63710" y="281250"/>
                  </a:cubicBezTo>
                  <a:close/>
                </a:path>
              </a:pathLst>
            </a:custGeom>
            <a:grpFill/>
            <a:ln w="27192" cap="flat">
              <a:noFill/>
              <a:prstDash val="solid"/>
              <a:miter/>
            </a:ln>
          </p:spPr>
          <p:txBody>
            <a:bodyPr rtlCol="0" anchor="ctr"/>
            <a:lstStyle/>
            <a:p>
              <a:endParaRPr lang="uk-UA" sz="900"/>
            </a:p>
          </p:txBody>
        </p:sp>
        <p:sp>
          <p:nvSpPr>
            <p:cNvPr id="131" name="Freeform: Shape 130">
              <a:extLst>
                <a:ext uri="{FF2B5EF4-FFF2-40B4-BE49-F238E27FC236}">
                  <a16:creationId xmlns:a16="http://schemas.microsoft.com/office/drawing/2014/main" id="{2D8A51EE-C24F-AE5B-8F74-83774B6471BD}"/>
                </a:ext>
              </a:extLst>
            </p:cNvPr>
            <p:cNvSpPr/>
            <p:nvPr/>
          </p:nvSpPr>
          <p:spPr>
            <a:xfrm>
              <a:off x="10407554" y="631968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1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1" y="217539"/>
                  </a:lnTo>
                  <a:lnTo>
                    <a:pt x="0" y="435077"/>
                  </a:lnTo>
                  <a:close/>
                </a:path>
              </a:pathLst>
            </a:custGeom>
            <a:grpFill/>
            <a:ln w="27192" cap="flat">
              <a:noFill/>
              <a:prstDash val="solid"/>
              <a:miter/>
            </a:ln>
          </p:spPr>
          <p:txBody>
            <a:bodyPr rtlCol="0" anchor="ctr"/>
            <a:lstStyle/>
            <a:p>
              <a:endParaRPr lang="uk-UA" sz="900"/>
            </a:p>
          </p:txBody>
        </p:sp>
        <p:sp>
          <p:nvSpPr>
            <p:cNvPr id="132" name="Freeform: Shape 131">
              <a:extLst>
                <a:ext uri="{FF2B5EF4-FFF2-40B4-BE49-F238E27FC236}">
                  <a16:creationId xmlns:a16="http://schemas.microsoft.com/office/drawing/2014/main" id="{21805092-728D-2B3F-CFE7-7A384B65C616}"/>
                </a:ext>
              </a:extLst>
            </p:cNvPr>
            <p:cNvSpPr/>
            <p:nvPr/>
          </p:nvSpPr>
          <p:spPr>
            <a:xfrm>
              <a:off x="12147864" y="6319683"/>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5 w 435077"/>
                <a:gd name="connsiteY3" fmla="*/ 27 h 435077"/>
                <a:gd name="connsiteX4" fmla="*/ 435077 w 435077"/>
                <a:gd name="connsiteY4" fmla="*/ 217539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5" y="27"/>
                  </a:lnTo>
                  <a:lnTo>
                    <a:pt x="435077" y="217539"/>
                  </a:lnTo>
                  <a:lnTo>
                    <a:pt x="217565"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133" name="Freeform: Shape 132">
              <a:extLst>
                <a:ext uri="{FF2B5EF4-FFF2-40B4-BE49-F238E27FC236}">
                  <a16:creationId xmlns:a16="http://schemas.microsoft.com/office/drawing/2014/main" id="{A90E23BF-E673-3F6B-7CA2-62F64F0F28CD}"/>
                </a:ext>
              </a:extLst>
            </p:cNvPr>
            <p:cNvSpPr/>
            <p:nvPr/>
          </p:nvSpPr>
          <p:spPr>
            <a:xfrm>
              <a:off x="13018045" y="6319683"/>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134" name="Freeform: Shape 133">
              <a:extLst>
                <a:ext uri="{FF2B5EF4-FFF2-40B4-BE49-F238E27FC236}">
                  <a16:creationId xmlns:a16="http://schemas.microsoft.com/office/drawing/2014/main" id="{24273089-98D2-B1AD-C70A-940FB807DCF1}"/>
                </a:ext>
              </a:extLst>
            </p:cNvPr>
            <p:cNvSpPr/>
            <p:nvPr/>
          </p:nvSpPr>
          <p:spPr>
            <a:xfrm>
              <a:off x="14758382" y="631968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8"/>
                    <a:pt x="0" y="57702"/>
                    <a:pt x="0" y="0"/>
                  </a:cubicBezTo>
                  <a:lnTo>
                    <a:pt x="217539" y="0"/>
                  </a:lnTo>
                  <a:lnTo>
                    <a:pt x="435077" y="0"/>
                  </a:lnTo>
                  <a:cubicBezTo>
                    <a:pt x="435077" y="57702"/>
                    <a:pt x="412155" y="113038"/>
                    <a:pt x="371367" y="153827"/>
                  </a:cubicBezTo>
                  <a:cubicBezTo>
                    <a:pt x="330550" y="194616"/>
                    <a:pt x="275241" y="217539"/>
                    <a:pt x="217539" y="217539"/>
                  </a:cubicBezTo>
                  <a:cubicBezTo>
                    <a:pt x="159836" y="217539"/>
                    <a:pt x="104501" y="194616"/>
                    <a:pt x="63712" y="153827"/>
                  </a:cubicBezTo>
                  <a:close/>
                  <a:moveTo>
                    <a:pt x="63712" y="281250"/>
                  </a:moveTo>
                  <a:cubicBezTo>
                    <a:pt x="22924" y="322066"/>
                    <a:pt x="0" y="377375"/>
                    <a:pt x="0" y="435077"/>
                  </a:cubicBezTo>
                  <a:lnTo>
                    <a:pt x="217539" y="435077"/>
                  </a:lnTo>
                  <a:lnTo>
                    <a:pt x="435077" y="435077"/>
                  </a:lnTo>
                  <a:cubicBezTo>
                    <a:pt x="435077" y="377375"/>
                    <a:pt x="412155" y="322066"/>
                    <a:pt x="371367" y="281250"/>
                  </a:cubicBezTo>
                  <a:cubicBezTo>
                    <a:pt x="330550" y="240462"/>
                    <a:pt x="275241" y="217539"/>
                    <a:pt x="217539" y="217539"/>
                  </a:cubicBezTo>
                  <a:cubicBezTo>
                    <a:pt x="159836" y="217539"/>
                    <a:pt x="104501" y="240462"/>
                    <a:pt x="63712" y="281250"/>
                  </a:cubicBezTo>
                  <a:close/>
                </a:path>
              </a:pathLst>
            </a:custGeom>
            <a:grpFill/>
            <a:ln w="27192" cap="flat">
              <a:noFill/>
              <a:prstDash val="solid"/>
              <a:miter/>
            </a:ln>
          </p:spPr>
          <p:txBody>
            <a:bodyPr rtlCol="0" anchor="ctr"/>
            <a:lstStyle/>
            <a:p>
              <a:endParaRPr lang="uk-UA" sz="900"/>
            </a:p>
          </p:txBody>
        </p:sp>
        <p:sp>
          <p:nvSpPr>
            <p:cNvPr id="135" name="Freeform: Shape 134">
              <a:extLst>
                <a:ext uri="{FF2B5EF4-FFF2-40B4-BE49-F238E27FC236}">
                  <a16:creationId xmlns:a16="http://schemas.microsoft.com/office/drawing/2014/main" id="{E93DF14F-2941-E406-B9EF-A4792C8393A8}"/>
                </a:ext>
              </a:extLst>
            </p:cNvPr>
            <p:cNvSpPr/>
            <p:nvPr/>
          </p:nvSpPr>
          <p:spPr>
            <a:xfrm>
              <a:off x="13888227" y="631968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136" name="Freeform: Shape 135">
              <a:extLst>
                <a:ext uri="{FF2B5EF4-FFF2-40B4-BE49-F238E27FC236}">
                  <a16:creationId xmlns:a16="http://schemas.microsoft.com/office/drawing/2014/main" id="{B2261D90-E9ED-D1B1-4553-761A9D9CE1A0}"/>
                </a:ext>
              </a:extLst>
            </p:cNvPr>
            <p:cNvSpPr/>
            <p:nvPr/>
          </p:nvSpPr>
          <p:spPr>
            <a:xfrm>
              <a:off x="15628536" y="6319683"/>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7 w 435077"/>
                <a:gd name="connsiteY3" fmla="*/ 27 h 435077"/>
                <a:gd name="connsiteX4" fmla="*/ 435077 w 435077"/>
                <a:gd name="connsiteY4" fmla="*/ 217539 h 435077"/>
                <a:gd name="connsiteX5" fmla="*/ 217567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7" y="27"/>
                  </a:lnTo>
                  <a:lnTo>
                    <a:pt x="435077" y="217539"/>
                  </a:lnTo>
                  <a:lnTo>
                    <a:pt x="217567"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137" name="Freeform: Shape 136">
              <a:extLst>
                <a:ext uri="{FF2B5EF4-FFF2-40B4-BE49-F238E27FC236}">
                  <a16:creationId xmlns:a16="http://schemas.microsoft.com/office/drawing/2014/main" id="{26478AA9-6F42-857D-C0CC-833DCAFD4AAA}"/>
                </a:ext>
              </a:extLst>
            </p:cNvPr>
            <p:cNvSpPr/>
            <p:nvPr/>
          </p:nvSpPr>
          <p:spPr>
            <a:xfrm>
              <a:off x="16498719" y="6319683"/>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138" name="Freeform: Shape 137">
              <a:extLst>
                <a:ext uri="{FF2B5EF4-FFF2-40B4-BE49-F238E27FC236}">
                  <a16:creationId xmlns:a16="http://schemas.microsoft.com/office/drawing/2014/main" id="{E8D97C2C-3180-4765-1988-B81CCE12A6C6}"/>
                </a:ext>
              </a:extLst>
            </p:cNvPr>
            <p:cNvSpPr/>
            <p:nvPr/>
          </p:nvSpPr>
          <p:spPr>
            <a:xfrm>
              <a:off x="18239029" y="6319683"/>
              <a:ext cx="435077" cy="435077"/>
            </a:xfrm>
            <a:custGeom>
              <a:avLst/>
              <a:gdLst>
                <a:gd name="connsiteX0" fmla="*/ 63710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0 w 435077"/>
                <a:gd name="connsiteY6" fmla="*/ 153827 h 435077"/>
                <a:gd name="connsiteX7" fmla="*/ 63710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0 h 435077"/>
                <a:gd name="connsiteX12" fmla="*/ 217539 w 435077"/>
                <a:gd name="connsiteY12" fmla="*/ 217539 h 435077"/>
                <a:gd name="connsiteX13" fmla="*/ 63710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7"/>
                  </a:moveTo>
                  <a:cubicBezTo>
                    <a:pt x="22922" y="113038"/>
                    <a:pt x="0" y="57702"/>
                    <a:pt x="0" y="0"/>
                  </a:cubicBezTo>
                  <a:lnTo>
                    <a:pt x="217539" y="0"/>
                  </a:lnTo>
                  <a:lnTo>
                    <a:pt x="435077" y="0"/>
                  </a:lnTo>
                  <a:cubicBezTo>
                    <a:pt x="435077" y="57702"/>
                    <a:pt x="412154" y="113038"/>
                    <a:pt x="371365" y="153827"/>
                  </a:cubicBezTo>
                  <a:cubicBezTo>
                    <a:pt x="330577" y="194616"/>
                    <a:pt x="275241" y="217539"/>
                    <a:pt x="217539" y="217539"/>
                  </a:cubicBezTo>
                  <a:cubicBezTo>
                    <a:pt x="159836" y="217539"/>
                    <a:pt x="104527" y="194616"/>
                    <a:pt x="63710" y="153827"/>
                  </a:cubicBezTo>
                  <a:close/>
                  <a:moveTo>
                    <a:pt x="63710" y="281250"/>
                  </a:moveTo>
                  <a:cubicBezTo>
                    <a:pt x="22922" y="322066"/>
                    <a:pt x="0" y="377375"/>
                    <a:pt x="0" y="435077"/>
                  </a:cubicBezTo>
                  <a:lnTo>
                    <a:pt x="217539" y="435077"/>
                  </a:lnTo>
                  <a:lnTo>
                    <a:pt x="435077" y="435077"/>
                  </a:lnTo>
                  <a:cubicBezTo>
                    <a:pt x="435077" y="377375"/>
                    <a:pt x="412154" y="322066"/>
                    <a:pt x="371365" y="281250"/>
                  </a:cubicBezTo>
                  <a:cubicBezTo>
                    <a:pt x="330577" y="240462"/>
                    <a:pt x="275241" y="217539"/>
                    <a:pt x="217539" y="217539"/>
                  </a:cubicBezTo>
                  <a:cubicBezTo>
                    <a:pt x="159836" y="217539"/>
                    <a:pt x="104527" y="240462"/>
                    <a:pt x="63710" y="281250"/>
                  </a:cubicBezTo>
                  <a:close/>
                </a:path>
              </a:pathLst>
            </a:custGeom>
            <a:grpFill/>
            <a:ln w="27192" cap="flat">
              <a:noFill/>
              <a:prstDash val="solid"/>
              <a:miter/>
            </a:ln>
          </p:spPr>
          <p:txBody>
            <a:bodyPr rtlCol="0" anchor="ctr"/>
            <a:lstStyle/>
            <a:p>
              <a:endParaRPr lang="uk-UA" sz="900"/>
            </a:p>
          </p:txBody>
        </p:sp>
        <p:sp>
          <p:nvSpPr>
            <p:cNvPr id="139" name="Freeform: Shape 138">
              <a:extLst>
                <a:ext uri="{FF2B5EF4-FFF2-40B4-BE49-F238E27FC236}">
                  <a16:creationId xmlns:a16="http://schemas.microsoft.com/office/drawing/2014/main" id="{FB9A8D88-61E9-81B8-EBEB-63D81620E6E4}"/>
                </a:ext>
              </a:extLst>
            </p:cNvPr>
            <p:cNvSpPr/>
            <p:nvPr/>
          </p:nvSpPr>
          <p:spPr>
            <a:xfrm>
              <a:off x="17368874" y="631968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0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0" y="217539"/>
                  </a:lnTo>
                  <a:lnTo>
                    <a:pt x="0" y="435077"/>
                  </a:lnTo>
                  <a:close/>
                </a:path>
              </a:pathLst>
            </a:custGeom>
            <a:grpFill/>
            <a:ln w="27192" cap="flat">
              <a:noFill/>
              <a:prstDash val="solid"/>
              <a:miter/>
            </a:ln>
          </p:spPr>
          <p:txBody>
            <a:bodyPr rtlCol="0" anchor="ctr"/>
            <a:lstStyle/>
            <a:p>
              <a:endParaRPr lang="uk-UA" sz="900"/>
            </a:p>
          </p:txBody>
        </p:sp>
        <p:sp>
          <p:nvSpPr>
            <p:cNvPr id="140" name="Freeform: Shape 139">
              <a:extLst>
                <a:ext uri="{FF2B5EF4-FFF2-40B4-BE49-F238E27FC236}">
                  <a16:creationId xmlns:a16="http://schemas.microsoft.com/office/drawing/2014/main" id="{FF72C265-74A2-2CE4-FBD5-E2A6E7A950C6}"/>
                </a:ext>
              </a:extLst>
            </p:cNvPr>
            <p:cNvSpPr/>
            <p:nvPr/>
          </p:nvSpPr>
          <p:spPr>
            <a:xfrm>
              <a:off x="19109210" y="6319683"/>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39 w 435077"/>
                <a:gd name="connsiteY3" fmla="*/ 27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39" y="27"/>
                  </a:lnTo>
                  <a:lnTo>
                    <a:pt x="435077" y="217539"/>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141" name="Freeform: Shape 140">
              <a:extLst>
                <a:ext uri="{FF2B5EF4-FFF2-40B4-BE49-F238E27FC236}">
                  <a16:creationId xmlns:a16="http://schemas.microsoft.com/office/drawing/2014/main" id="{8C3BE93C-968E-C538-C22D-69FD2B039562}"/>
                </a:ext>
              </a:extLst>
            </p:cNvPr>
            <p:cNvSpPr/>
            <p:nvPr/>
          </p:nvSpPr>
          <p:spPr>
            <a:xfrm>
              <a:off x="19979365" y="6319683"/>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142" name="Freeform: Shape 141">
              <a:extLst>
                <a:ext uri="{FF2B5EF4-FFF2-40B4-BE49-F238E27FC236}">
                  <a16:creationId xmlns:a16="http://schemas.microsoft.com/office/drawing/2014/main" id="{C637F8ED-578C-32B5-4EA4-1DB3C0730A45}"/>
                </a:ext>
              </a:extLst>
            </p:cNvPr>
            <p:cNvSpPr/>
            <p:nvPr/>
          </p:nvSpPr>
          <p:spPr>
            <a:xfrm>
              <a:off x="21719702" y="631968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897" y="113038"/>
                    <a:pt x="0" y="57702"/>
                    <a:pt x="0" y="0"/>
                  </a:cubicBezTo>
                  <a:lnTo>
                    <a:pt x="217539" y="0"/>
                  </a:lnTo>
                  <a:lnTo>
                    <a:pt x="435077" y="0"/>
                  </a:lnTo>
                  <a:cubicBezTo>
                    <a:pt x="435077" y="57702"/>
                    <a:pt x="412155" y="113038"/>
                    <a:pt x="371339" y="153827"/>
                  </a:cubicBezTo>
                  <a:cubicBezTo>
                    <a:pt x="330550" y="194616"/>
                    <a:pt x="275215" y="217539"/>
                    <a:pt x="217539" y="217539"/>
                  </a:cubicBezTo>
                  <a:cubicBezTo>
                    <a:pt x="159838" y="217539"/>
                    <a:pt x="104501" y="194616"/>
                    <a:pt x="63712" y="153827"/>
                  </a:cubicBezTo>
                  <a:close/>
                  <a:moveTo>
                    <a:pt x="63712" y="281250"/>
                  </a:moveTo>
                  <a:cubicBezTo>
                    <a:pt x="22897" y="322066"/>
                    <a:pt x="0" y="377375"/>
                    <a:pt x="0" y="435077"/>
                  </a:cubicBezTo>
                  <a:lnTo>
                    <a:pt x="217539" y="435077"/>
                  </a:lnTo>
                  <a:lnTo>
                    <a:pt x="435077" y="435077"/>
                  </a:lnTo>
                  <a:cubicBezTo>
                    <a:pt x="435077" y="377375"/>
                    <a:pt x="412155" y="322066"/>
                    <a:pt x="371339" y="281250"/>
                  </a:cubicBezTo>
                  <a:cubicBezTo>
                    <a:pt x="330550" y="240462"/>
                    <a:pt x="275215" y="217539"/>
                    <a:pt x="217539" y="217539"/>
                  </a:cubicBezTo>
                  <a:cubicBezTo>
                    <a:pt x="159838" y="217539"/>
                    <a:pt x="104501" y="240462"/>
                    <a:pt x="63712" y="281250"/>
                  </a:cubicBezTo>
                  <a:close/>
                </a:path>
              </a:pathLst>
            </a:custGeom>
            <a:grpFill/>
            <a:ln w="27192" cap="flat">
              <a:noFill/>
              <a:prstDash val="solid"/>
              <a:miter/>
            </a:ln>
          </p:spPr>
          <p:txBody>
            <a:bodyPr rtlCol="0" anchor="ctr"/>
            <a:lstStyle/>
            <a:p>
              <a:endParaRPr lang="uk-UA" sz="900"/>
            </a:p>
          </p:txBody>
        </p:sp>
        <p:sp>
          <p:nvSpPr>
            <p:cNvPr id="143" name="Freeform: Shape 142">
              <a:extLst>
                <a:ext uri="{FF2B5EF4-FFF2-40B4-BE49-F238E27FC236}">
                  <a16:creationId xmlns:a16="http://schemas.microsoft.com/office/drawing/2014/main" id="{5FA3F517-68C1-EC85-CFD6-93A1E8ADE30B}"/>
                </a:ext>
              </a:extLst>
            </p:cNvPr>
            <p:cNvSpPr/>
            <p:nvPr/>
          </p:nvSpPr>
          <p:spPr>
            <a:xfrm>
              <a:off x="20849520" y="6319683"/>
              <a:ext cx="435077" cy="435077"/>
            </a:xfrm>
            <a:custGeom>
              <a:avLst/>
              <a:gdLst>
                <a:gd name="connsiteX0" fmla="*/ 435077 w 435077"/>
                <a:gd name="connsiteY0" fmla="*/ 435077 h 435077"/>
                <a:gd name="connsiteX1" fmla="*/ 435077 w 435077"/>
                <a:gd name="connsiteY1" fmla="*/ 0 h 435077"/>
                <a:gd name="connsiteX2" fmla="*/ 217565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144" name="Freeform: Shape 143">
              <a:extLst>
                <a:ext uri="{FF2B5EF4-FFF2-40B4-BE49-F238E27FC236}">
                  <a16:creationId xmlns:a16="http://schemas.microsoft.com/office/drawing/2014/main" id="{16910F15-7B62-AE81-1FD3-1D7357661138}"/>
                </a:ext>
              </a:extLst>
            </p:cNvPr>
            <p:cNvSpPr/>
            <p:nvPr/>
          </p:nvSpPr>
          <p:spPr>
            <a:xfrm>
              <a:off x="22589856" y="6319683"/>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7 w 435077"/>
                <a:gd name="connsiteY3" fmla="*/ 27 h 435077"/>
                <a:gd name="connsiteX4" fmla="*/ 435077 w 435077"/>
                <a:gd name="connsiteY4" fmla="*/ 217539 h 435077"/>
                <a:gd name="connsiteX5" fmla="*/ 217567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7" y="27"/>
                  </a:lnTo>
                  <a:lnTo>
                    <a:pt x="435077" y="217539"/>
                  </a:lnTo>
                  <a:lnTo>
                    <a:pt x="217567"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145" name="Freeform: Shape 144">
              <a:extLst>
                <a:ext uri="{FF2B5EF4-FFF2-40B4-BE49-F238E27FC236}">
                  <a16:creationId xmlns:a16="http://schemas.microsoft.com/office/drawing/2014/main" id="{11D584AE-C204-72D7-D14E-7D33DCB06F9B}"/>
                </a:ext>
              </a:extLst>
            </p:cNvPr>
            <p:cNvSpPr/>
            <p:nvPr/>
          </p:nvSpPr>
          <p:spPr>
            <a:xfrm>
              <a:off x="23460039" y="6319683"/>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146" name="Freeform: Shape 145">
              <a:extLst>
                <a:ext uri="{FF2B5EF4-FFF2-40B4-BE49-F238E27FC236}">
                  <a16:creationId xmlns:a16="http://schemas.microsoft.com/office/drawing/2014/main" id="{E0C5D3B1-F5B7-D217-FC7B-B31252A14C07}"/>
                </a:ext>
              </a:extLst>
            </p:cNvPr>
            <p:cNvSpPr/>
            <p:nvPr/>
          </p:nvSpPr>
          <p:spPr>
            <a:xfrm>
              <a:off x="24330194" y="631968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147" name="Freeform: Shape 146">
              <a:extLst>
                <a:ext uri="{FF2B5EF4-FFF2-40B4-BE49-F238E27FC236}">
                  <a16:creationId xmlns:a16="http://schemas.microsoft.com/office/drawing/2014/main" id="{34735FC6-E722-AEEB-97BA-515A4EA46B44}"/>
                </a:ext>
              </a:extLst>
            </p:cNvPr>
            <p:cNvSpPr/>
            <p:nvPr/>
          </p:nvSpPr>
          <p:spPr>
            <a:xfrm>
              <a:off x="835769" y="196890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148" name="Freeform: Shape 147">
              <a:extLst>
                <a:ext uri="{FF2B5EF4-FFF2-40B4-BE49-F238E27FC236}">
                  <a16:creationId xmlns:a16="http://schemas.microsoft.com/office/drawing/2014/main" id="{822542E5-773D-BA4A-129E-C182CF147E48}"/>
                </a:ext>
              </a:extLst>
            </p:cNvPr>
            <p:cNvSpPr/>
            <p:nvPr/>
          </p:nvSpPr>
          <p:spPr>
            <a:xfrm>
              <a:off x="-34398" y="1968909"/>
              <a:ext cx="435063" cy="435077"/>
            </a:xfrm>
            <a:custGeom>
              <a:avLst/>
              <a:gdLst>
                <a:gd name="connsiteX0" fmla="*/ 0 w 435063"/>
                <a:gd name="connsiteY0" fmla="*/ 435075 h 435077"/>
                <a:gd name="connsiteX1" fmla="*/ 217525 w 435063"/>
                <a:gd name="connsiteY1" fmla="*/ 435075 h 435077"/>
                <a:gd name="connsiteX2" fmla="*/ 217525 w 435063"/>
                <a:gd name="connsiteY2" fmla="*/ 217547 h 435077"/>
                <a:gd name="connsiteX3" fmla="*/ 0 w 435063"/>
                <a:gd name="connsiteY3" fmla="*/ 435075 h 435077"/>
                <a:gd name="connsiteX4" fmla="*/ 217525 w 435063"/>
                <a:gd name="connsiteY4" fmla="*/ 0 h 435077"/>
                <a:gd name="connsiteX5" fmla="*/ 3 w 435063"/>
                <a:gd name="connsiteY5" fmla="*/ 0 h 435077"/>
                <a:gd name="connsiteX6" fmla="*/ 217525 w 435063"/>
                <a:gd name="connsiteY6" fmla="*/ 217528 h 435077"/>
                <a:gd name="connsiteX7" fmla="*/ 217525 w 435063"/>
                <a:gd name="connsiteY7" fmla="*/ 0 h 435077"/>
                <a:gd name="connsiteX8" fmla="*/ 435064 w 435063"/>
                <a:gd name="connsiteY8" fmla="*/ 435077 h 435077"/>
                <a:gd name="connsiteX9" fmla="*/ 217552 w 435063"/>
                <a:gd name="connsiteY9" fmla="*/ 435077 h 435077"/>
                <a:gd name="connsiteX10" fmla="*/ 435064 w 435063"/>
                <a:gd name="connsiteY10" fmla="*/ 217547 h 435077"/>
                <a:gd name="connsiteX11" fmla="*/ 435064 w 435063"/>
                <a:gd name="connsiteY11" fmla="*/ 435077 h 435077"/>
                <a:gd name="connsiteX12" fmla="*/ 435064 w 435063"/>
                <a:gd name="connsiteY12" fmla="*/ 3 h 435077"/>
                <a:gd name="connsiteX13" fmla="*/ 217552 w 435063"/>
                <a:gd name="connsiteY13" fmla="*/ 3 h 435077"/>
                <a:gd name="connsiteX14" fmla="*/ 435064 w 435063"/>
                <a:gd name="connsiteY14" fmla="*/ 217531 h 435077"/>
                <a:gd name="connsiteX15" fmla="*/ 435064 w 435063"/>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63" h="435077">
                  <a:moveTo>
                    <a:pt x="0" y="435075"/>
                  </a:moveTo>
                  <a:lnTo>
                    <a:pt x="217525" y="435075"/>
                  </a:lnTo>
                  <a:lnTo>
                    <a:pt x="217525" y="217547"/>
                  </a:lnTo>
                  <a:lnTo>
                    <a:pt x="0" y="435075"/>
                  </a:lnTo>
                  <a:close/>
                  <a:moveTo>
                    <a:pt x="217525" y="0"/>
                  </a:moveTo>
                  <a:lnTo>
                    <a:pt x="3" y="0"/>
                  </a:lnTo>
                  <a:lnTo>
                    <a:pt x="217525" y="217528"/>
                  </a:lnTo>
                  <a:lnTo>
                    <a:pt x="217525" y="0"/>
                  </a:lnTo>
                  <a:close/>
                  <a:moveTo>
                    <a:pt x="435064" y="435077"/>
                  </a:moveTo>
                  <a:lnTo>
                    <a:pt x="217552" y="435077"/>
                  </a:lnTo>
                  <a:lnTo>
                    <a:pt x="435064" y="217547"/>
                  </a:lnTo>
                  <a:lnTo>
                    <a:pt x="435064" y="435077"/>
                  </a:lnTo>
                  <a:close/>
                  <a:moveTo>
                    <a:pt x="435064" y="3"/>
                  </a:moveTo>
                  <a:lnTo>
                    <a:pt x="217552" y="3"/>
                  </a:lnTo>
                  <a:lnTo>
                    <a:pt x="435064" y="217531"/>
                  </a:lnTo>
                  <a:lnTo>
                    <a:pt x="435064" y="3"/>
                  </a:lnTo>
                  <a:close/>
                </a:path>
              </a:pathLst>
            </a:custGeom>
            <a:grpFill/>
            <a:ln w="27192" cap="flat">
              <a:noFill/>
              <a:prstDash val="solid"/>
              <a:miter/>
            </a:ln>
          </p:spPr>
          <p:txBody>
            <a:bodyPr rtlCol="0" anchor="ctr"/>
            <a:lstStyle/>
            <a:p>
              <a:endParaRPr lang="uk-UA" sz="900"/>
            </a:p>
          </p:txBody>
        </p:sp>
        <p:sp>
          <p:nvSpPr>
            <p:cNvPr id="149" name="Freeform: Shape 148">
              <a:extLst>
                <a:ext uri="{FF2B5EF4-FFF2-40B4-BE49-F238E27FC236}">
                  <a16:creationId xmlns:a16="http://schemas.microsoft.com/office/drawing/2014/main" id="{1C211770-8B0B-4870-460B-C168CB18EE70}"/>
                </a:ext>
              </a:extLst>
            </p:cNvPr>
            <p:cNvSpPr/>
            <p:nvPr/>
          </p:nvSpPr>
          <p:spPr>
            <a:xfrm>
              <a:off x="1705924" y="1968909"/>
              <a:ext cx="435077" cy="435077"/>
            </a:xfrm>
            <a:custGeom>
              <a:avLst/>
              <a:gdLst>
                <a:gd name="connsiteX0" fmla="*/ 371366 w 435077"/>
                <a:gd name="connsiteY0" fmla="*/ 63714 h 435077"/>
                <a:gd name="connsiteX1" fmla="*/ 435077 w 435077"/>
                <a:gd name="connsiteY1" fmla="*/ 217539 h 435077"/>
                <a:gd name="connsiteX2" fmla="*/ 217729 w 435077"/>
                <a:gd name="connsiteY2" fmla="*/ 217539 h 435077"/>
                <a:gd name="connsiteX3" fmla="*/ 371366 w 435077"/>
                <a:gd name="connsiteY3" fmla="*/ 281253 h 435077"/>
                <a:gd name="connsiteX4" fmla="*/ 435077 w 435077"/>
                <a:gd name="connsiteY4" fmla="*/ 435077 h 435077"/>
                <a:gd name="connsiteX5" fmla="*/ 217539 w 435077"/>
                <a:gd name="connsiteY5" fmla="*/ 435077 h 435077"/>
                <a:gd name="connsiteX6" fmla="*/ 0 w 435077"/>
                <a:gd name="connsiteY6" fmla="*/ 435077 h 435077"/>
                <a:gd name="connsiteX7" fmla="*/ 63711 w 435077"/>
                <a:gd name="connsiteY7" fmla="*/ 281253 h 435077"/>
                <a:gd name="connsiteX8" fmla="*/ 217375 w 435077"/>
                <a:gd name="connsiteY8" fmla="*/ 217539 h 435077"/>
                <a:gd name="connsiteX9" fmla="*/ 0 w 435077"/>
                <a:gd name="connsiteY9" fmla="*/ 217539 h 435077"/>
                <a:gd name="connsiteX10" fmla="*/ 63711 w 435077"/>
                <a:gd name="connsiteY10" fmla="*/ 63714 h 435077"/>
                <a:gd name="connsiteX11" fmla="*/ 217539 w 435077"/>
                <a:gd name="connsiteY11" fmla="*/ 0 h 435077"/>
                <a:gd name="connsiteX12" fmla="*/ 371366 w 435077"/>
                <a:gd name="connsiteY12" fmla="*/ 63714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4"/>
                  </a:moveTo>
                  <a:cubicBezTo>
                    <a:pt x="412154" y="104511"/>
                    <a:pt x="435077" y="159842"/>
                    <a:pt x="435077" y="217539"/>
                  </a:cubicBezTo>
                  <a:lnTo>
                    <a:pt x="217729" y="217539"/>
                  </a:lnTo>
                  <a:cubicBezTo>
                    <a:pt x="275349" y="217582"/>
                    <a:pt x="330604" y="240497"/>
                    <a:pt x="371366" y="281253"/>
                  </a:cubicBezTo>
                  <a:cubicBezTo>
                    <a:pt x="412154" y="322050"/>
                    <a:pt x="435077" y="377381"/>
                    <a:pt x="435077" y="435077"/>
                  </a:cubicBezTo>
                  <a:lnTo>
                    <a:pt x="217539" y="435077"/>
                  </a:lnTo>
                  <a:lnTo>
                    <a:pt x="0" y="435077"/>
                  </a:lnTo>
                  <a:cubicBezTo>
                    <a:pt x="0" y="377381"/>
                    <a:pt x="22923" y="322050"/>
                    <a:pt x="63711" y="281253"/>
                  </a:cubicBezTo>
                  <a:cubicBezTo>
                    <a:pt x="104473" y="240497"/>
                    <a:pt x="159755" y="217582"/>
                    <a:pt x="217375" y="217539"/>
                  </a:cubicBezTo>
                  <a:lnTo>
                    <a:pt x="0" y="217539"/>
                  </a:lnTo>
                  <a:cubicBezTo>
                    <a:pt x="0" y="159842"/>
                    <a:pt x="22923" y="104511"/>
                    <a:pt x="63711" y="63714"/>
                  </a:cubicBezTo>
                  <a:cubicBezTo>
                    <a:pt x="104527" y="22918"/>
                    <a:pt x="159836" y="0"/>
                    <a:pt x="217539" y="0"/>
                  </a:cubicBezTo>
                  <a:cubicBezTo>
                    <a:pt x="275241" y="0"/>
                    <a:pt x="330577" y="22918"/>
                    <a:pt x="371366" y="63714"/>
                  </a:cubicBezTo>
                  <a:close/>
                </a:path>
              </a:pathLst>
            </a:custGeom>
            <a:grpFill/>
            <a:ln w="27192" cap="flat">
              <a:noFill/>
              <a:prstDash val="solid"/>
              <a:miter/>
            </a:ln>
          </p:spPr>
          <p:txBody>
            <a:bodyPr rtlCol="0" anchor="ctr"/>
            <a:lstStyle/>
            <a:p>
              <a:endParaRPr lang="uk-UA" sz="900"/>
            </a:p>
          </p:txBody>
        </p:sp>
        <p:sp>
          <p:nvSpPr>
            <p:cNvPr id="150" name="Freeform: Shape 149">
              <a:extLst>
                <a:ext uri="{FF2B5EF4-FFF2-40B4-BE49-F238E27FC236}">
                  <a16:creationId xmlns:a16="http://schemas.microsoft.com/office/drawing/2014/main" id="{560FCD62-F888-382A-A132-F9000713FC2F}"/>
                </a:ext>
              </a:extLst>
            </p:cNvPr>
            <p:cNvSpPr/>
            <p:nvPr/>
          </p:nvSpPr>
          <p:spPr>
            <a:xfrm>
              <a:off x="2576106" y="1968909"/>
              <a:ext cx="435077" cy="435074"/>
            </a:xfrm>
            <a:custGeom>
              <a:avLst/>
              <a:gdLst>
                <a:gd name="connsiteX0" fmla="*/ 217539 w 435077"/>
                <a:gd name="connsiteY0" fmla="*/ 217533 h 435074"/>
                <a:gd name="connsiteX1" fmla="*/ 217539 w 435077"/>
                <a:gd name="connsiteY1" fmla="*/ 0 h 435074"/>
                <a:gd name="connsiteX2" fmla="*/ 0 w 435077"/>
                <a:gd name="connsiteY2" fmla="*/ 0 h 435074"/>
                <a:gd name="connsiteX3" fmla="*/ 217539 w 435077"/>
                <a:gd name="connsiteY3" fmla="*/ 217539 h 435074"/>
                <a:gd name="connsiteX4" fmla="*/ 0 w 435077"/>
                <a:gd name="connsiteY4" fmla="*/ 435075 h 435074"/>
                <a:gd name="connsiteX5" fmla="*/ 217539 w 435077"/>
                <a:gd name="connsiteY5" fmla="*/ 435075 h 435074"/>
                <a:gd name="connsiteX6" fmla="*/ 217539 w 435077"/>
                <a:gd name="connsiteY6" fmla="*/ 435072 h 435074"/>
                <a:gd name="connsiteX7" fmla="*/ 435050 w 435077"/>
                <a:gd name="connsiteY7" fmla="*/ 217541 h 435074"/>
                <a:gd name="connsiteX8" fmla="*/ 435077 w 435077"/>
                <a:gd name="connsiteY8" fmla="*/ 217541 h 435074"/>
                <a:gd name="connsiteX9" fmla="*/ 435077 w 435077"/>
                <a:gd name="connsiteY9" fmla="*/ 217536 h 435074"/>
                <a:gd name="connsiteX10" fmla="*/ 435077 w 435077"/>
                <a:gd name="connsiteY10" fmla="*/ 217533 h 435074"/>
                <a:gd name="connsiteX11" fmla="*/ 435050 w 435077"/>
                <a:gd name="connsiteY11" fmla="*/ 217533 h 435074"/>
                <a:gd name="connsiteX12" fmla="*/ 217539 w 435077"/>
                <a:gd name="connsiteY12" fmla="*/ 3 h 435074"/>
                <a:gd name="connsiteX13" fmla="*/ 217539 w 435077"/>
                <a:gd name="connsiteY13" fmla="*/ 217533 h 435074"/>
                <a:gd name="connsiteX14" fmla="*/ 217539 w 435077"/>
                <a:gd name="connsiteY14" fmla="*/ 217533 h 43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4">
                  <a:moveTo>
                    <a:pt x="217539" y="217533"/>
                  </a:moveTo>
                  <a:lnTo>
                    <a:pt x="217539" y="0"/>
                  </a:lnTo>
                  <a:lnTo>
                    <a:pt x="0" y="0"/>
                  </a:lnTo>
                  <a:lnTo>
                    <a:pt x="217539" y="217539"/>
                  </a:lnTo>
                  <a:lnTo>
                    <a:pt x="0" y="435075"/>
                  </a:lnTo>
                  <a:lnTo>
                    <a:pt x="217539" y="435075"/>
                  </a:lnTo>
                  <a:lnTo>
                    <a:pt x="217539" y="435072"/>
                  </a:lnTo>
                  <a:lnTo>
                    <a:pt x="435050" y="217541"/>
                  </a:lnTo>
                  <a:lnTo>
                    <a:pt x="435077" y="217541"/>
                  </a:lnTo>
                  <a:lnTo>
                    <a:pt x="435077" y="217536"/>
                  </a:lnTo>
                  <a:lnTo>
                    <a:pt x="435077" y="217533"/>
                  </a:lnTo>
                  <a:lnTo>
                    <a:pt x="435050" y="217533"/>
                  </a:lnTo>
                  <a:lnTo>
                    <a:pt x="217539" y="3"/>
                  </a:lnTo>
                  <a:lnTo>
                    <a:pt x="217539" y="217533"/>
                  </a:lnTo>
                  <a:lnTo>
                    <a:pt x="217539" y="217533"/>
                  </a:lnTo>
                  <a:close/>
                </a:path>
              </a:pathLst>
            </a:custGeom>
            <a:grpFill/>
            <a:ln w="27192" cap="flat">
              <a:noFill/>
              <a:prstDash val="solid"/>
              <a:miter/>
            </a:ln>
          </p:spPr>
          <p:txBody>
            <a:bodyPr rtlCol="0" anchor="ctr"/>
            <a:lstStyle/>
            <a:p>
              <a:endParaRPr lang="uk-UA" sz="900"/>
            </a:p>
          </p:txBody>
        </p:sp>
        <p:sp>
          <p:nvSpPr>
            <p:cNvPr id="151" name="Freeform: Shape 150">
              <a:extLst>
                <a:ext uri="{FF2B5EF4-FFF2-40B4-BE49-F238E27FC236}">
                  <a16:creationId xmlns:a16="http://schemas.microsoft.com/office/drawing/2014/main" id="{C45F960A-11CA-FF3B-F340-C7BC3BE103B3}"/>
                </a:ext>
              </a:extLst>
            </p:cNvPr>
            <p:cNvSpPr/>
            <p:nvPr/>
          </p:nvSpPr>
          <p:spPr>
            <a:xfrm>
              <a:off x="4316416" y="1968909"/>
              <a:ext cx="435077" cy="435077"/>
            </a:xfrm>
            <a:custGeom>
              <a:avLst/>
              <a:gdLst>
                <a:gd name="connsiteX0" fmla="*/ 217565 w 435077"/>
                <a:gd name="connsiteY0" fmla="*/ 0 h 435077"/>
                <a:gd name="connsiteX1" fmla="*/ 217539 w 435077"/>
                <a:gd name="connsiteY1" fmla="*/ 0 h 435077"/>
                <a:gd name="connsiteX2" fmla="*/ 27 w 435077"/>
                <a:gd name="connsiteY2" fmla="*/ 0 h 435077"/>
                <a:gd name="connsiteX3" fmla="*/ 27 w 435077"/>
                <a:gd name="connsiteY3" fmla="*/ 217539 h 435077"/>
                <a:gd name="connsiteX4" fmla="*/ 217565 w 435077"/>
                <a:gd name="connsiteY4" fmla="*/ 5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65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65" y="0"/>
                  </a:moveTo>
                  <a:lnTo>
                    <a:pt x="217539" y="0"/>
                  </a:lnTo>
                  <a:lnTo>
                    <a:pt x="27" y="0"/>
                  </a:lnTo>
                  <a:lnTo>
                    <a:pt x="27" y="217539"/>
                  </a:lnTo>
                  <a:lnTo>
                    <a:pt x="217565" y="5"/>
                  </a:lnTo>
                  <a:lnTo>
                    <a:pt x="435077" y="217539"/>
                  </a:lnTo>
                  <a:lnTo>
                    <a:pt x="217539" y="435077"/>
                  </a:lnTo>
                  <a:lnTo>
                    <a:pt x="0" y="217539"/>
                  </a:lnTo>
                  <a:lnTo>
                    <a:pt x="0" y="435077"/>
                  </a:lnTo>
                  <a:lnTo>
                    <a:pt x="217539" y="435077"/>
                  </a:lnTo>
                  <a:lnTo>
                    <a:pt x="435077" y="435077"/>
                  </a:lnTo>
                  <a:lnTo>
                    <a:pt x="435077" y="217539"/>
                  </a:lnTo>
                  <a:lnTo>
                    <a:pt x="435077" y="0"/>
                  </a:lnTo>
                  <a:lnTo>
                    <a:pt x="217565" y="0"/>
                  </a:lnTo>
                  <a:close/>
                </a:path>
              </a:pathLst>
            </a:custGeom>
            <a:grpFill/>
            <a:ln w="27192" cap="flat">
              <a:noFill/>
              <a:prstDash val="solid"/>
              <a:miter/>
            </a:ln>
          </p:spPr>
          <p:txBody>
            <a:bodyPr rtlCol="0" anchor="ctr"/>
            <a:lstStyle/>
            <a:p>
              <a:endParaRPr lang="uk-UA" sz="900"/>
            </a:p>
          </p:txBody>
        </p:sp>
        <p:sp>
          <p:nvSpPr>
            <p:cNvPr id="152" name="Freeform: Shape 151">
              <a:extLst>
                <a:ext uri="{FF2B5EF4-FFF2-40B4-BE49-F238E27FC236}">
                  <a16:creationId xmlns:a16="http://schemas.microsoft.com/office/drawing/2014/main" id="{B997441F-8C6E-E845-D698-6219A7DA4EAE}"/>
                </a:ext>
              </a:extLst>
            </p:cNvPr>
            <p:cNvSpPr/>
            <p:nvPr/>
          </p:nvSpPr>
          <p:spPr>
            <a:xfrm>
              <a:off x="3446261" y="1968909"/>
              <a:ext cx="435077" cy="435077"/>
            </a:xfrm>
            <a:custGeom>
              <a:avLst/>
              <a:gdLst>
                <a:gd name="connsiteX0" fmla="*/ 0 w 435077"/>
                <a:gd name="connsiteY0" fmla="*/ 435077 h 435077"/>
                <a:gd name="connsiteX1" fmla="*/ 217539 w 435077"/>
                <a:gd name="connsiteY1" fmla="*/ 435077 h 435077"/>
                <a:gd name="connsiteX2" fmla="*/ 217539 w 435077"/>
                <a:gd name="connsiteY2" fmla="*/ 217547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28 h 435077"/>
                <a:gd name="connsiteX7" fmla="*/ 217539 w 435077"/>
                <a:gd name="connsiteY7" fmla="*/ 0 h 435077"/>
                <a:gd name="connsiteX8" fmla="*/ 435077 w 435077"/>
                <a:gd name="connsiteY8" fmla="*/ 435077 h 435077"/>
                <a:gd name="connsiteX9" fmla="*/ 217566 w 435077"/>
                <a:gd name="connsiteY9" fmla="*/ 435077 h 435077"/>
                <a:gd name="connsiteX10" fmla="*/ 435077 w 435077"/>
                <a:gd name="connsiteY10" fmla="*/ 217547 h 435077"/>
                <a:gd name="connsiteX11" fmla="*/ 435077 w 435077"/>
                <a:gd name="connsiteY11" fmla="*/ 435077 h 435077"/>
                <a:gd name="connsiteX12" fmla="*/ 435077 w 435077"/>
                <a:gd name="connsiteY12" fmla="*/ 3 h 435077"/>
                <a:gd name="connsiteX13" fmla="*/ 217566 w 435077"/>
                <a:gd name="connsiteY13" fmla="*/ 3 h 435077"/>
                <a:gd name="connsiteX14" fmla="*/ 435077 w 435077"/>
                <a:gd name="connsiteY14" fmla="*/ 217531 h 435077"/>
                <a:gd name="connsiteX15" fmla="*/ 435077 w 435077"/>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47"/>
                  </a:lnTo>
                  <a:lnTo>
                    <a:pt x="0" y="435077"/>
                  </a:lnTo>
                  <a:close/>
                  <a:moveTo>
                    <a:pt x="217539" y="0"/>
                  </a:moveTo>
                  <a:lnTo>
                    <a:pt x="0" y="0"/>
                  </a:lnTo>
                  <a:lnTo>
                    <a:pt x="217539" y="217528"/>
                  </a:lnTo>
                  <a:lnTo>
                    <a:pt x="217539" y="0"/>
                  </a:lnTo>
                  <a:close/>
                  <a:moveTo>
                    <a:pt x="435077" y="435077"/>
                  </a:moveTo>
                  <a:lnTo>
                    <a:pt x="217566" y="435077"/>
                  </a:lnTo>
                  <a:lnTo>
                    <a:pt x="435077" y="217547"/>
                  </a:lnTo>
                  <a:lnTo>
                    <a:pt x="435077" y="435077"/>
                  </a:lnTo>
                  <a:close/>
                  <a:moveTo>
                    <a:pt x="435077" y="3"/>
                  </a:moveTo>
                  <a:lnTo>
                    <a:pt x="217566" y="3"/>
                  </a:lnTo>
                  <a:lnTo>
                    <a:pt x="435077" y="217531"/>
                  </a:lnTo>
                  <a:lnTo>
                    <a:pt x="435077" y="3"/>
                  </a:lnTo>
                  <a:close/>
                </a:path>
              </a:pathLst>
            </a:custGeom>
            <a:grpFill/>
            <a:ln w="27192" cap="flat">
              <a:noFill/>
              <a:prstDash val="solid"/>
              <a:miter/>
            </a:ln>
          </p:spPr>
          <p:txBody>
            <a:bodyPr rtlCol="0" anchor="ctr"/>
            <a:lstStyle/>
            <a:p>
              <a:endParaRPr lang="uk-UA" sz="900"/>
            </a:p>
          </p:txBody>
        </p:sp>
        <p:sp>
          <p:nvSpPr>
            <p:cNvPr id="153" name="Freeform: Shape 152">
              <a:extLst>
                <a:ext uri="{FF2B5EF4-FFF2-40B4-BE49-F238E27FC236}">
                  <a16:creationId xmlns:a16="http://schemas.microsoft.com/office/drawing/2014/main" id="{B792BA2B-EDDA-D5C7-3683-E1A0DBC81DFF}"/>
                </a:ext>
              </a:extLst>
            </p:cNvPr>
            <p:cNvSpPr/>
            <p:nvPr/>
          </p:nvSpPr>
          <p:spPr>
            <a:xfrm>
              <a:off x="5186597" y="1968909"/>
              <a:ext cx="435077" cy="435077"/>
            </a:xfrm>
            <a:custGeom>
              <a:avLst/>
              <a:gdLst>
                <a:gd name="connsiteX0" fmla="*/ 371366 w 435077"/>
                <a:gd name="connsiteY0" fmla="*/ 63714 h 435077"/>
                <a:gd name="connsiteX1" fmla="*/ 435077 w 435077"/>
                <a:gd name="connsiteY1" fmla="*/ 217539 h 435077"/>
                <a:gd name="connsiteX2" fmla="*/ 217702 w 435077"/>
                <a:gd name="connsiteY2" fmla="*/ 217539 h 435077"/>
                <a:gd name="connsiteX3" fmla="*/ 371366 w 435077"/>
                <a:gd name="connsiteY3" fmla="*/ 281253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3 h 435077"/>
                <a:gd name="connsiteX8" fmla="*/ 217376 w 435077"/>
                <a:gd name="connsiteY8" fmla="*/ 217539 h 435077"/>
                <a:gd name="connsiteX9" fmla="*/ 0 w 435077"/>
                <a:gd name="connsiteY9" fmla="*/ 217539 h 435077"/>
                <a:gd name="connsiteX10" fmla="*/ 63712 w 435077"/>
                <a:gd name="connsiteY10" fmla="*/ 63714 h 435077"/>
                <a:gd name="connsiteX11" fmla="*/ 217539 w 435077"/>
                <a:gd name="connsiteY11" fmla="*/ 0 h 435077"/>
                <a:gd name="connsiteX12" fmla="*/ 371366 w 435077"/>
                <a:gd name="connsiteY12" fmla="*/ 63714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4"/>
                  </a:moveTo>
                  <a:cubicBezTo>
                    <a:pt x="412155" y="104511"/>
                    <a:pt x="435077" y="159842"/>
                    <a:pt x="435077" y="217539"/>
                  </a:cubicBezTo>
                  <a:lnTo>
                    <a:pt x="217702" y="217539"/>
                  </a:lnTo>
                  <a:cubicBezTo>
                    <a:pt x="275350" y="217582"/>
                    <a:pt x="330605" y="240497"/>
                    <a:pt x="371366" y="281253"/>
                  </a:cubicBezTo>
                  <a:cubicBezTo>
                    <a:pt x="412155" y="322050"/>
                    <a:pt x="435077" y="377381"/>
                    <a:pt x="435077" y="435077"/>
                  </a:cubicBezTo>
                  <a:lnTo>
                    <a:pt x="217539" y="435077"/>
                  </a:lnTo>
                  <a:lnTo>
                    <a:pt x="0" y="435077"/>
                  </a:lnTo>
                  <a:cubicBezTo>
                    <a:pt x="0" y="377381"/>
                    <a:pt x="22924" y="322050"/>
                    <a:pt x="63712" y="281253"/>
                  </a:cubicBezTo>
                  <a:cubicBezTo>
                    <a:pt x="104473" y="240497"/>
                    <a:pt x="159728" y="217582"/>
                    <a:pt x="217376" y="217539"/>
                  </a:cubicBezTo>
                  <a:lnTo>
                    <a:pt x="0" y="217539"/>
                  </a:lnTo>
                  <a:cubicBezTo>
                    <a:pt x="0" y="159842"/>
                    <a:pt x="22924" y="104511"/>
                    <a:pt x="63712" y="63714"/>
                  </a:cubicBezTo>
                  <a:cubicBezTo>
                    <a:pt x="104501" y="22918"/>
                    <a:pt x="159837" y="0"/>
                    <a:pt x="217539" y="0"/>
                  </a:cubicBezTo>
                  <a:cubicBezTo>
                    <a:pt x="275241" y="0"/>
                    <a:pt x="330550" y="22918"/>
                    <a:pt x="371366" y="63714"/>
                  </a:cubicBezTo>
                  <a:close/>
                </a:path>
              </a:pathLst>
            </a:custGeom>
            <a:grpFill/>
            <a:ln w="27192" cap="flat">
              <a:noFill/>
              <a:prstDash val="solid"/>
              <a:miter/>
            </a:ln>
          </p:spPr>
          <p:txBody>
            <a:bodyPr rtlCol="0" anchor="ctr"/>
            <a:lstStyle/>
            <a:p>
              <a:endParaRPr lang="uk-UA" sz="900"/>
            </a:p>
          </p:txBody>
        </p:sp>
        <p:sp>
          <p:nvSpPr>
            <p:cNvPr id="154" name="Freeform: Shape 153">
              <a:extLst>
                <a:ext uri="{FF2B5EF4-FFF2-40B4-BE49-F238E27FC236}">
                  <a16:creationId xmlns:a16="http://schemas.microsoft.com/office/drawing/2014/main" id="{C05E1429-5529-9495-213F-D97E7DE637A1}"/>
                </a:ext>
              </a:extLst>
            </p:cNvPr>
            <p:cNvSpPr/>
            <p:nvPr/>
          </p:nvSpPr>
          <p:spPr>
            <a:xfrm>
              <a:off x="6056752" y="1968909"/>
              <a:ext cx="435077" cy="435074"/>
            </a:xfrm>
            <a:custGeom>
              <a:avLst/>
              <a:gdLst>
                <a:gd name="connsiteX0" fmla="*/ 217539 w 435077"/>
                <a:gd name="connsiteY0" fmla="*/ 217539 h 435074"/>
                <a:gd name="connsiteX1" fmla="*/ 217539 w 435077"/>
                <a:gd name="connsiteY1" fmla="*/ 217536 h 435074"/>
                <a:gd name="connsiteX2" fmla="*/ 0 w 435077"/>
                <a:gd name="connsiteY2" fmla="*/ 0 h 435074"/>
                <a:gd name="connsiteX3" fmla="*/ 217539 w 435077"/>
                <a:gd name="connsiteY3" fmla="*/ 0 h 435074"/>
                <a:gd name="connsiteX4" fmla="*/ 217539 w 435077"/>
                <a:gd name="connsiteY4" fmla="*/ 5 h 435074"/>
                <a:gd name="connsiteX5" fmla="*/ 435077 w 435077"/>
                <a:gd name="connsiteY5" fmla="*/ 217533 h 435074"/>
                <a:gd name="connsiteX6" fmla="*/ 435077 w 435077"/>
                <a:gd name="connsiteY6" fmla="*/ 217533 h 435074"/>
                <a:gd name="connsiteX7" fmla="*/ 435077 w 435077"/>
                <a:gd name="connsiteY7" fmla="*/ 217539 h 435074"/>
                <a:gd name="connsiteX8" fmla="*/ 435077 w 435077"/>
                <a:gd name="connsiteY8" fmla="*/ 217541 h 435074"/>
                <a:gd name="connsiteX9" fmla="*/ 435077 w 435077"/>
                <a:gd name="connsiteY9" fmla="*/ 217541 h 435074"/>
                <a:gd name="connsiteX10" fmla="*/ 217539 w 435077"/>
                <a:gd name="connsiteY10" fmla="*/ 435072 h 435074"/>
                <a:gd name="connsiteX11" fmla="*/ 217539 w 435077"/>
                <a:gd name="connsiteY11" fmla="*/ 435075 h 435074"/>
                <a:gd name="connsiteX12" fmla="*/ 0 w 435077"/>
                <a:gd name="connsiteY12" fmla="*/ 435075 h 435074"/>
                <a:gd name="connsiteX13" fmla="*/ 217539 w 435077"/>
                <a:gd name="connsiteY13" fmla="*/ 217539 h 43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4">
                  <a:moveTo>
                    <a:pt x="217539" y="217539"/>
                  </a:moveTo>
                  <a:lnTo>
                    <a:pt x="217539" y="217536"/>
                  </a:lnTo>
                  <a:lnTo>
                    <a:pt x="0" y="0"/>
                  </a:lnTo>
                  <a:lnTo>
                    <a:pt x="217539" y="0"/>
                  </a:lnTo>
                  <a:lnTo>
                    <a:pt x="217539" y="5"/>
                  </a:lnTo>
                  <a:lnTo>
                    <a:pt x="435077" y="217533"/>
                  </a:lnTo>
                  <a:lnTo>
                    <a:pt x="435077" y="217533"/>
                  </a:lnTo>
                  <a:lnTo>
                    <a:pt x="435077" y="217539"/>
                  </a:lnTo>
                  <a:lnTo>
                    <a:pt x="435077" y="217541"/>
                  </a:lnTo>
                  <a:lnTo>
                    <a:pt x="435077" y="217541"/>
                  </a:lnTo>
                  <a:lnTo>
                    <a:pt x="217539" y="435072"/>
                  </a:lnTo>
                  <a:lnTo>
                    <a:pt x="217539" y="435075"/>
                  </a:lnTo>
                  <a:lnTo>
                    <a:pt x="0" y="435075"/>
                  </a:lnTo>
                  <a:lnTo>
                    <a:pt x="217539" y="217539"/>
                  </a:lnTo>
                  <a:close/>
                </a:path>
              </a:pathLst>
            </a:custGeom>
            <a:grpFill/>
            <a:ln w="27192" cap="flat">
              <a:noFill/>
              <a:prstDash val="solid"/>
              <a:miter/>
            </a:ln>
          </p:spPr>
          <p:txBody>
            <a:bodyPr rtlCol="0" anchor="ctr"/>
            <a:lstStyle/>
            <a:p>
              <a:endParaRPr lang="uk-UA" sz="900"/>
            </a:p>
          </p:txBody>
        </p:sp>
        <p:sp>
          <p:nvSpPr>
            <p:cNvPr id="155" name="Freeform: Shape 154">
              <a:extLst>
                <a:ext uri="{FF2B5EF4-FFF2-40B4-BE49-F238E27FC236}">
                  <a16:creationId xmlns:a16="http://schemas.microsoft.com/office/drawing/2014/main" id="{51E0FDAE-F568-E6AF-8747-B8E3D6350340}"/>
                </a:ext>
              </a:extLst>
            </p:cNvPr>
            <p:cNvSpPr/>
            <p:nvPr/>
          </p:nvSpPr>
          <p:spPr>
            <a:xfrm>
              <a:off x="7797062" y="196890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p>
          </p:txBody>
        </p:sp>
        <p:sp>
          <p:nvSpPr>
            <p:cNvPr id="156" name="Freeform: Shape 155">
              <a:extLst>
                <a:ext uri="{FF2B5EF4-FFF2-40B4-BE49-F238E27FC236}">
                  <a16:creationId xmlns:a16="http://schemas.microsoft.com/office/drawing/2014/main" id="{FB1884FB-E1F7-8B53-BFEB-5F5A303C8254}"/>
                </a:ext>
              </a:extLst>
            </p:cNvPr>
            <p:cNvSpPr/>
            <p:nvPr/>
          </p:nvSpPr>
          <p:spPr>
            <a:xfrm>
              <a:off x="6926907" y="1968909"/>
              <a:ext cx="435077" cy="435077"/>
            </a:xfrm>
            <a:custGeom>
              <a:avLst/>
              <a:gdLst>
                <a:gd name="connsiteX0" fmla="*/ 0 w 435077"/>
                <a:gd name="connsiteY0" fmla="*/ 435077 h 435077"/>
                <a:gd name="connsiteX1" fmla="*/ 217539 w 435077"/>
                <a:gd name="connsiteY1" fmla="*/ 435077 h 435077"/>
                <a:gd name="connsiteX2" fmla="*/ 217539 w 435077"/>
                <a:gd name="connsiteY2" fmla="*/ 217547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28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47 h 435077"/>
                <a:gd name="connsiteX11" fmla="*/ 435077 w 435077"/>
                <a:gd name="connsiteY11" fmla="*/ 435077 h 435077"/>
                <a:gd name="connsiteX12" fmla="*/ 435077 w 435077"/>
                <a:gd name="connsiteY12" fmla="*/ 3 h 435077"/>
                <a:gd name="connsiteX13" fmla="*/ 217539 w 435077"/>
                <a:gd name="connsiteY13" fmla="*/ 3 h 435077"/>
                <a:gd name="connsiteX14" fmla="*/ 435077 w 435077"/>
                <a:gd name="connsiteY14" fmla="*/ 217531 h 435077"/>
                <a:gd name="connsiteX15" fmla="*/ 435077 w 435077"/>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47"/>
                  </a:lnTo>
                  <a:lnTo>
                    <a:pt x="0" y="435077"/>
                  </a:lnTo>
                  <a:close/>
                  <a:moveTo>
                    <a:pt x="217539" y="0"/>
                  </a:moveTo>
                  <a:lnTo>
                    <a:pt x="0" y="0"/>
                  </a:lnTo>
                  <a:lnTo>
                    <a:pt x="217539" y="217528"/>
                  </a:lnTo>
                  <a:lnTo>
                    <a:pt x="217539" y="0"/>
                  </a:lnTo>
                  <a:close/>
                  <a:moveTo>
                    <a:pt x="435077" y="435077"/>
                  </a:moveTo>
                  <a:lnTo>
                    <a:pt x="217539" y="435077"/>
                  </a:lnTo>
                  <a:lnTo>
                    <a:pt x="435077" y="217547"/>
                  </a:lnTo>
                  <a:lnTo>
                    <a:pt x="435077" y="435077"/>
                  </a:lnTo>
                  <a:close/>
                  <a:moveTo>
                    <a:pt x="435077" y="3"/>
                  </a:moveTo>
                  <a:lnTo>
                    <a:pt x="217539" y="3"/>
                  </a:lnTo>
                  <a:lnTo>
                    <a:pt x="435077" y="217531"/>
                  </a:lnTo>
                  <a:lnTo>
                    <a:pt x="435077" y="3"/>
                  </a:lnTo>
                  <a:close/>
                </a:path>
              </a:pathLst>
            </a:custGeom>
            <a:grpFill/>
            <a:ln w="27192" cap="flat">
              <a:noFill/>
              <a:prstDash val="solid"/>
              <a:miter/>
            </a:ln>
          </p:spPr>
          <p:txBody>
            <a:bodyPr rtlCol="0" anchor="ctr"/>
            <a:lstStyle/>
            <a:p>
              <a:endParaRPr lang="uk-UA" sz="900"/>
            </a:p>
          </p:txBody>
        </p:sp>
        <p:sp>
          <p:nvSpPr>
            <p:cNvPr id="157" name="Freeform: Shape 156">
              <a:extLst>
                <a:ext uri="{FF2B5EF4-FFF2-40B4-BE49-F238E27FC236}">
                  <a16:creationId xmlns:a16="http://schemas.microsoft.com/office/drawing/2014/main" id="{BEEFC636-9A17-6F43-31CC-4BB1EE0F6E6D}"/>
                </a:ext>
              </a:extLst>
            </p:cNvPr>
            <p:cNvSpPr/>
            <p:nvPr/>
          </p:nvSpPr>
          <p:spPr>
            <a:xfrm>
              <a:off x="8667217" y="1968909"/>
              <a:ext cx="435104" cy="435077"/>
            </a:xfrm>
            <a:custGeom>
              <a:avLst/>
              <a:gdLst>
                <a:gd name="connsiteX0" fmla="*/ 371366 w 435104"/>
                <a:gd name="connsiteY0" fmla="*/ 63714 h 435077"/>
                <a:gd name="connsiteX1" fmla="*/ 435077 w 435104"/>
                <a:gd name="connsiteY1" fmla="*/ 217539 h 435077"/>
                <a:gd name="connsiteX2" fmla="*/ 217730 w 435104"/>
                <a:gd name="connsiteY2" fmla="*/ 217539 h 435077"/>
                <a:gd name="connsiteX3" fmla="*/ 371366 w 435104"/>
                <a:gd name="connsiteY3" fmla="*/ 281253 h 435077"/>
                <a:gd name="connsiteX4" fmla="*/ 435105 w 435104"/>
                <a:gd name="connsiteY4" fmla="*/ 435077 h 435077"/>
                <a:gd name="connsiteX5" fmla="*/ 217566 w 435104"/>
                <a:gd name="connsiteY5" fmla="*/ 435077 h 435077"/>
                <a:gd name="connsiteX6" fmla="*/ 27 w 435104"/>
                <a:gd name="connsiteY6" fmla="*/ 435077 h 435077"/>
                <a:gd name="connsiteX7" fmla="*/ 63739 w 435104"/>
                <a:gd name="connsiteY7" fmla="*/ 281253 h 435077"/>
                <a:gd name="connsiteX8" fmla="*/ 217376 w 435104"/>
                <a:gd name="connsiteY8" fmla="*/ 217539 h 435077"/>
                <a:gd name="connsiteX9" fmla="*/ 0 w 435104"/>
                <a:gd name="connsiteY9" fmla="*/ 217539 h 435077"/>
                <a:gd name="connsiteX10" fmla="*/ 63739 w 435104"/>
                <a:gd name="connsiteY10" fmla="*/ 63714 h 435077"/>
                <a:gd name="connsiteX11" fmla="*/ 217539 w 435104"/>
                <a:gd name="connsiteY11" fmla="*/ 0 h 435077"/>
                <a:gd name="connsiteX12" fmla="*/ 371366 w 435104"/>
                <a:gd name="connsiteY12" fmla="*/ 63714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4" h="435077">
                  <a:moveTo>
                    <a:pt x="371366" y="63714"/>
                  </a:moveTo>
                  <a:cubicBezTo>
                    <a:pt x="412182" y="104511"/>
                    <a:pt x="435077" y="159842"/>
                    <a:pt x="435077" y="217539"/>
                  </a:cubicBezTo>
                  <a:lnTo>
                    <a:pt x="217730" y="217539"/>
                  </a:lnTo>
                  <a:cubicBezTo>
                    <a:pt x="275350" y="217582"/>
                    <a:pt x="330632" y="240497"/>
                    <a:pt x="371366" y="281253"/>
                  </a:cubicBezTo>
                  <a:cubicBezTo>
                    <a:pt x="412182" y="322050"/>
                    <a:pt x="435105" y="377381"/>
                    <a:pt x="435105" y="435077"/>
                  </a:cubicBezTo>
                  <a:lnTo>
                    <a:pt x="217566" y="435077"/>
                  </a:lnTo>
                  <a:lnTo>
                    <a:pt x="27" y="435077"/>
                  </a:lnTo>
                  <a:cubicBezTo>
                    <a:pt x="27" y="377381"/>
                    <a:pt x="22924" y="322050"/>
                    <a:pt x="63739" y="281253"/>
                  </a:cubicBezTo>
                  <a:cubicBezTo>
                    <a:pt x="104501" y="240497"/>
                    <a:pt x="159755" y="217582"/>
                    <a:pt x="217376" y="217539"/>
                  </a:cubicBezTo>
                  <a:lnTo>
                    <a:pt x="0" y="217539"/>
                  </a:lnTo>
                  <a:cubicBezTo>
                    <a:pt x="0" y="159842"/>
                    <a:pt x="22924" y="104511"/>
                    <a:pt x="63739" y="63714"/>
                  </a:cubicBezTo>
                  <a:cubicBezTo>
                    <a:pt x="104527" y="22918"/>
                    <a:pt x="159864" y="0"/>
                    <a:pt x="217539" y="0"/>
                  </a:cubicBezTo>
                  <a:cubicBezTo>
                    <a:pt x="275241" y="0"/>
                    <a:pt x="330578" y="22918"/>
                    <a:pt x="371366" y="63714"/>
                  </a:cubicBezTo>
                  <a:close/>
                </a:path>
              </a:pathLst>
            </a:custGeom>
            <a:grpFill/>
            <a:ln w="27192" cap="flat">
              <a:noFill/>
              <a:prstDash val="solid"/>
              <a:miter/>
            </a:ln>
          </p:spPr>
          <p:txBody>
            <a:bodyPr rtlCol="0" anchor="ctr"/>
            <a:lstStyle/>
            <a:p>
              <a:endParaRPr lang="uk-UA" sz="900"/>
            </a:p>
          </p:txBody>
        </p:sp>
        <p:sp>
          <p:nvSpPr>
            <p:cNvPr id="158" name="Freeform: Shape 157">
              <a:extLst>
                <a:ext uri="{FF2B5EF4-FFF2-40B4-BE49-F238E27FC236}">
                  <a16:creationId xmlns:a16="http://schemas.microsoft.com/office/drawing/2014/main" id="{367C7739-182F-EBAC-1686-834D20FC8E5F}"/>
                </a:ext>
              </a:extLst>
            </p:cNvPr>
            <p:cNvSpPr/>
            <p:nvPr/>
          </p:nvSpPr>
          <p:spPr>
            <a:xfrm>
              <a:off x="9537399" y="1968909"/>
              <a:ext cx="435077" cy="435074"/>
            </a:xfrm>
            <a:custGeom>
              <a:avLst/>
              <a:gdLst>
                <a:gd name="connsiteX0" fmla="*/ 217539 w 435077"/>
                <a:gd name="connsiteY0" fmla="*/ 217539 h 435074"/>
                <a:gd name="connsiteX1" fmla="*/ 217539 w 435077"/>
                <a:gd name="connsiteY1" fmla="*/ 217536 h 435074"/>
                <a:gd name="connsiteX2" fmla="*/ 0 w 435077"/>
                <a:gd name="connsiteY2" fmla="*/ 0 h 435074"/>
                <a:gd name="connsiteX3" fmla="*/ 217539 w 435077"/>
                <a:gd name="connsiteY3" fmla="*/ 0 h 435074"/>
                <a:gd name="connsiteX4" fmla="*/ 217539 w 435077"/>
                <a:gd name="connsiteY4" fmla="*/ 5 h 435074"/>
                <a:gd name="connsiteX5" fmla="*/ 435050 w 435077"/>
                <a:gd name="connsiteY5" fmla="*/ 217533 h 435074"/>
                <a:gd name="connsiteX6" fmla="*/ 435077 w 435077"/>
                <a:gd name="connsiteY6" fmla="*/ 217533 h 435074"/>
                <a:gd name="connsiteX7" fmla="*/ 435050 w 435077"/>
                <a:gd name="connsiteY7" fmla="*/ 217539 h 435074"/>
                <a:gd name="connsiteX8" fmla="*/ 435077 w 435077"/>
                <a:gd name="connsiteY8" fmla="*/ 217541 h 435074"/>
                <a:gd name="connsiteX9" fmla="*/ 435050 w 435077"/>
                <a:gd name="connsiteY9" fmla="*/ 217541 h 435074"/>
                <a:gd name="connsiteX10" fmla="*/ 217539 w 435077"/>
                <a:gd name="connsiteY10" fmla="*/ 435072 h 435074"/>
                <a:gd name="connsiteX11" fmla="*/ 217539 w 435077"/>
                <a:gd name="connsiteY11" fmla="*/ 435075 h 435074"/>
                <a:gd name="connsiteX12" fmla="*/ 0 w 435077"/>
                <a:gd name="connsiteY12" fmla="*/ 435075 h 435074"/>
                <a:gd name="connsiteX13" fmla="*/ 217539 w 435077"/>
                <a:gd name="connsiteY13" fmla="*/ 217539 h 43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4">
                  <a:moveTo>
                    <a:pt x="217539" y="217539"/>
                  </a:moveTo>
                  <a:lnTo>
                    <a:pt x="217539" y="217536"/>
                  </a:lnTo>
                  <a:lnTo>
                    <a:pt x="0" y="0"/>
                  </a:lnTo>
                  <a:lnTo>
                    <a:pt x="217539" y="0"/>
                  </a:lnTo>
                  <a:lnTo>
                    <a:pt x="217539" y="5"/>
                  </a:lnTo>
                  <a:lnTo>
                    <a:pt x="435050" y="217533"/>
                  </a:lnTo>
                  <a:lnTo>
                    <a:pt x="435077" y="217533"/>
                  </a:lnTo>
                  <a:lnTo>
                    <a:pt x="435050" y="217539"/>
                  </a:lnTo>
                  <a:lnTo>
                    <a:pt x="435077" y="217541"/>
                  </a:lnTo>
                  <a:lnTo>
                    <a:pt x="435050" y="217541"/>
                  </a:lnTo>
                  <a:lnTo>
                    <a:pt x="217539" y="435072"/>
                  </a:lnTo>
                  <a:lnTo>
                    <a:pt x="217539" y="435075"/>
                  </a:lnTo>
                  <a:lnTo>
                    <a:pt x="0" y="435075"/>
                  </a:lnTo>
                  <a:lnTo>
                    <a:pt x="217539" y="217539"/>
                  </a:lnTo>
                  <a:close/>
                </a:path>
              </a:pathLst>
            </a:custGeom>
            <a:grpFill/>
            <a:ln w="27192" cap="flat">
              <a:noFill/>
              <a:prstDash val="solid"/>
              <a:miter/>
            </a:ln>
          </p:spPr>
          <p:txBody>
            <a:bodyPr rtlCol="0" anchor="ctr"/>
            <a:lstStyle/>
            <a:p>
              <a:endParaRPr lang="uk-UA" sz="900"/>
            </a:p>
          </p:txBody>
        </p:sp>
        <p:sp>
          <p:nvSpPr>
            <p:cNvPr id="159" name="Freeform: Shape 158">
              <a:extLst>
                <a:ext uri="{FF2B5EF4-FFF2-40B4-BE49-F238E27FC236}">
                  <a16:creationId xmlns:a16="http://schemas.microsoft.com/office/drawing/2014/main" id="{FBA260C3-C90E-A5D3-8827-0815C062F43C}"/>
                </a:ext>
              </a:extLst>
            </p:cNvPr>
            <p:cNvSpPr/>
            <p:nvPr/>
          </p:nvSpPr>
          <p:spPr>
            <a:xfrm>
              <a:off x="11277709" y="196890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160" name="Freeform: Shape 159">
              <a:extLst>
                <a:ext uri="{FF2B5EF4-FFF2-40B4-BE49-F238E27FC236}">
                  <a16:creationId xmlns:a16="http://schemas.microsoft.com/office/drawing/2014/main" id="{CC4E0714-D9F8-61D5-42AF-5ACCB08C1C58}"/>
                </a:ext>
              </a:extLst>
            </p:cNvPr>
            <p:cNvSpPr/>
            <p:nvPr/>
          </p:nvSpPr>
          <p:spPr>
            <a:xfrm>
              <a:off x="10407554" y="1968909"/>
              <a:ext cx="435077" cy="435077"/>
            </a:xfrm>
            <a:custGeom>
              <a:avLst/>
              <a:gdLst>
                <a:gd name="connsiteX0" fmla="*/ 0 w 435077"/>
                <a:gd name="connsiteY0" fmla="*/ 435075 h 435077"/>
                <a:gd name="connsiteX1" fmla="*/ 217511 w 435077"/>
                <a:gd name="connsiteY1" fmla="*/ 435075 h 435077"/>
                <a:gd name="connsiteX2" fmla="*/ 217511 w 435077"/>
                <a:gd name="connsiteY2" fmla="*/ 217547 h 435077"/>
                <a:gd name="connsiteX3" fmla="*/ 0 w 435077"/>
                <a:gd name="connsiteY3" fmla="*/ 435075 h 435077"/>
                <a:gd name="connsiteX4" fmla="*/ 217511 w 435077"/>
                <a:gd name="connsiteY4" fmla="*/ 0 h 435077"/>
                <a:gd name="connsiteX5" fmla="*/ 0 w 435077"/>
                <a:gd name="connsiteY5" fmla="*/ 0 h 435077"/>
                <a:gd name="connsiteX6" fmla="*/ 217511 w 435077"/>
                <a:gd name="connsiteY6" fmla="*/ 217528 h 435077"/>
                <a:gd name="connsiteX7" fmla="*/ 217511 w 435077"/>
                <a:gd name="connsiteY7" fmla="*/ 0 h 435077"/>
                <a:gd name="connsiteX8" fmla="*/ 435077 w 435077"/>
                <a:gd name="connsiteY8" fmla="*/ 435077 h 435077"/>
                <a:gd name="connsiteX9" fmla="*/ 217539 w 435077"/>
                <a:gd name="connsiteY9" fmla="*/ 435077 h 435077"/>
                <a:gd name="connsiteX10" fmla="*/ 435077 w 435077"/>
                <a:gd name="connsiteY10" fmla="*/ 217547 h 435077"/>
                <a:gd name="connsiteX11" fmla="*/ 435077 w 435077"/>
                <a:gd name="connsiteY11" fmla="*/ 435077 h 435077"/>
                <a:gd name="connsiteX12" fmla="*/ 435077 w 435077"/>
                <a:gd name="connsiteY12" fmla="*/ 3 h 435077"/>
                <a:gd name="connsiteX13" fmla="*/ 217539 w 435077"/>
                <a:gd name="connsiteY13" fmla="*/ 3 h 435077"/>
                <a:gd name="connsiteX14" fmla="*/ 435077 w 435077"/>
                <a:gd name="connsiteY14" fmla="*/ 217531 h 435077"/>
                <a:gd name="connsiteX15" fmla="*/ 435077 w 435077"/>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5"/>
                  </a:moveTo>
                  <a:lnTo>
                    <a:pt x="217511" y="435075"/>
                  </a:lnTo>
                  <a:lnTo>
                    <a:pt x="217511" y="217547"/>
                  </a:lnTo>
                  <a:lnTo>
                    <a:pt x="0" y="435075"/>
                  </a:lnTo>
                  <a:close/>
                  <a:moveTo>
                    <a:pt x="217511" y="0"/>
                  </a:moveTo>
                  <a:lnTo>
                    <a:pt x="0" y="0"/>
                  </a:lnTo>
                  <a:lnTo>
                    <a:pt x="217511" y="217528"/>
                  </a:lnTo>
                  <a:lnTo>
                    <a:pt x="217511" y="0"/>
                  </a:lnTo>
                  <a:close/>
                  <a:moveTo>
                    <a:pt x="435077" y="435077"/>
                  </a:moveTo>
                  <a:lnTo>
                    <a:pt x="217539" y="435077"/>
                  </a:lnTo>
                  <a:lnTo>
                    <a:pt x="435077" y="217547"/>
                  </a:lnTo>
                  <a:lnTo>
                    <a:pt x="435077" y="435077"/>
                  </a:lnTo>
                  <a:close/>
                  <a:moveTo>
                    <a:pt x="435077" y="3"/>
                  </a:moveTo>
                  <a:lnTo>
                    <a:pt x="217539" y="3"/>
                  </a:lnTo>
                  <a:lnTo>
                    <a:pt x="435077" y="217531"/>
                  </a:lnTo>
                  <a:lnTo>
                    <a:pt x="435077" y="3"/>
                  </a:lnTo>
                  <a:close/>
                </a:path>
              </a:pathLst>
            </a:custGeom>
            <a:grpFill/>
            <a:ln w="27192" cap="flat">
              <a:noFill/>
              <a:prstDash val="solid"/>
              <a:miter/>
            </a:ln>
          </p:spPr>
          <p:txBody>
            <a:bodyPr rtlCol="0" anchor="ctr"/>
            <a:lstStyle/>
            <a:p>
              <a:endParaRPr lang="uk-UA" sz="900"/>
            </a:p>
          </p:txBody>
        </p:sp>
        <p:sp>
          <p:nvSpPr>
            <p:cNvPr id="161" name="Freeform: Shape 160">
              <a:extLst>
                <a:ext uri="{FF2B5EF4-FFF2-40B4-BE49-F238E27FC236}">
                  <a16:creationId xmlns:a16="http://schemas.microsoft.com/office/drawing/2014/main" id="{906FCD11-D5F7-F48D-47AE-7095D6AA46FB}"/>
                </a:ext>
              </a:extLst>
            </p:cNvPr>
            <p:cNvSpPr/>
            <p:nvPr/>
          </p:nvSpPr>
          <p:spPr>
            <a:xfrm>
              <a:off x="12147864" y="1968909"/>
              <a:ext cx="435103" cy="435077"/>
            </a:xfrm>
            <a:custGeom>
              <a:avLst/>
              <a:gdLst>
                <a:gd name="connsiteX0" fmla="*/ 371365 w 435103"/>
                <a:gd name="connsiteY0" fmla="*/ 63714 h 435077"/>
                <a:gd name="connsiteX1" fmla="*/ 435077 w 435103"/>
                <a:gd name="connsiteY1" fmla="*/ 217539 h 435077"/>
                <a:gd name="connsiteX2" fmla="*/ 217728 w 435103"/>
                <a:gd name="connsiteY2" fmla="*/ 217539 h 435077"/>
                <a:gd name="connsiteX3" fmla="*/ 371365 w 435103"/>
                <a:gd name="connsiteY3" fmla="*/ 281253 h 435077"/>
                <a:gd name="connsiteX4" fmla="*/ 435104 w 435103"/>
                <a:gd name="connsiteY4" fmla="*/ 435077 h 435077"/>
                <a:gd name="connsiteX5" fmla="*/ 217565 w 435103"/>
                <a:gd name="connsiteY5" fmla="*/ 435077 h 435077"/>
                <a:gd name="connsiteX6" fmla="*/ 27 w 435103"/>
                <a:gd name="connsiteY6" fmla="*/ 435077 h 435077"/>
                <a:gd name="connsiteX7" fmla="*/ 63739 w 435103"/>
                <a:gd name="connsiteY7" fmla="*/ 281253 h 435077"/>
                <a:gd name="connsiteX8" fmla="*/ 217374 w 435103"/>
                <a:gd name="connsiteY8" fmla="*/ 217539 h 435077"/>
                <a:gd name="connsiteX9" fmla="*/ 0 w 435103"/>
                <a:gd name="connsiteY9" fmla="*/ 217539 h 435077"/>
                <a:gd name="connsiteX10" fmla="*/ 63739 w 435103"/>
                <a:gd name="connsiteY10" fmla="*/ 63714 h 435077"/>
                <a:gd name="connsiteX11" fmla="*/ 217539 w 435103"/>
                <a:gd name="connsiteY11" fmla="*/ 0 h 435077"/>
                <a:gd name="connsiteX12" fmla="*/ 371365 w 435103"/>
                <a:gd name="connsiteY12" fmla="*/ 63714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3" h="435077">
                  <a:moveTo>
                    <a:pt x="371365" y="63714"/>
                  </a:moveTo>
                  <a:cubicBezTo>
                    <a:pt x="412180" y="104511"/>
                    <a:pt x="435077" y="159842"/>
                    <a:pt x="435077" y="217539"/>
                  </a:cubicBezTo>
                  <a:lnTo>
                    <a:pt x="217728" y="217539"/>
                  </a:lnTo>
                  <a:cubicBezTo>
                    <a:pt x="275349" y="217582"/>
                    <a:pt x="330632" y="240497"/>
                    <a:pt x="371365" y="281253"/>
                  </a:cubicBezTo>
                  <a:cubicBezTo>
                    <a:pt x="412180" y="322050"/>
                    <a:pt x="435104" y="377381"/>
                    <a:pt x="435104" y="435077"/>
                  </a:cubicBezTo>
                  <a:lnTo>
                    <a:pt x="217565" y="435077"/>
                  </a:lnTo>
                  <a:lnTo>
                    <a:pt x="27" y="435077"/>
                  </a:lnTo>
                  <a:cubicBezTo>
                    <a:pt x="27" y="377381"/>
                    <a:pt x="22922" y="322050"/>
                    <a:pt x="63739" y="281253"/>
                  </a:cubicBezTo>
                  <a:cubicBezTo>
                    <a:pt x="104499" y="240497"/>
                    <a:pt x="159755" y="217582"/>
                    <a:pt x="217374" y="217539"/>
                  </a:cubicBezTo>
                  <a:lnTo>
                    <a:pt x="0" y="217539"/>
                  </a:lnTo>
                  <a:cubicBezTo>
                    <a:pt x="0" y="159842"/>
                    <a:pt x="22922" y="104511"/>
                    <a:pt x="63739" y="63714"/>
                  </a:cubicBezTo>
                  <a:cubicBezTo>
                    <a:pt x="104527" y="22918"/>
                    <a:pt x="159863" y="0"/>
                    <a:pt x="217539" y="0"/>
                  </a:cubicBezTo>
                  <a:cubicBezTo>
                    <a:pt x="275239" y="0"/>
                    <a:pt x="330577" y="22918"/>
                    <a:pt x="371365" y="63714"/>
                  </a:cubicBezTo>
                  <a:close/>
                </a:path>
              </a:pathLst>
            </a:custGeom>
            <a:grpFill/>
            <a:ln w="27192" cap="flat">
              <a:noFill/>
              <a:prstDash val="solid"/>
              <a:miter/>
            </a:ln>
          </p:spPr>
          <p:txBody>
            <a:bodyPr rtlCol="0" anchor="ctr"/>
            <a:lstStyle/>
            <a:p>
              <a:endParaRPr lang="uk-UA" sz="900"/>
            </a:p>
          </p:txBody>
        </p:sp>
        <p:sp>
          <p:nvSpPr>
            <p:cNvPr id="162" name="Freeform: Shape 161">
              <a:extLst>
                <a:ext uri="{FF2B5EF4-FFF2-40B4-BE49-F238E27FC236}">
                  <a16:creationId xmlns:a16="http://schemas.microsoft.com/office/drawing/2014/main" id="{AB286CEF-0C92-46D6-62AD-82F62F0D056A}"/>
                </a:ext>
              </a:extLst>
            </p:cNvPr>
            <p:cNvSpPr/>
            <p:nvPr/>
          </p:nvSpPr>
          <p:spPr>
            <a:xfrm>
              <a:off x="13017991" y="1968906"/>
              <a:ext cx="435077" cy="435077"/>
            </a:xfrm>
            <a:custGeom>
              <a:avLst/>
              <a:gdLst>
                <a:gd name="connsiteX0" fmla="*/ 217539 w 435077"/>
                <a:gd name="connsiteY0" fmla="*/ 217533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2 h 435077"/>
                <a:gd name="connsiteX7" fmla="*/ 435077 w 435077"/>
                <a:gd name="connsiteY7" fmla="*/ 217541 h 435077"/>
                <a:gd name="connsiteX8" fmla="*/ 435077 w 435077"/>
                <a:gd name="connsiteY8" fmla="*/ 217541 h 435077"/>
                <a:gd name="connsiteX9" fmla="*/ 435077 w 435077"/>
                <a:gd name="connsiteY9" fmla="*/ 217539 h 435077"/>
                <a:gd name="connsiteX10" fmla="*/ 435077 w 435077"/>
                <a:gd name="connsiteY10" fmla="*/ 217533 h 435077"/>
                <a:gd name="connsiteX11" fmla="*/ 435077 w 435077"/>
                <a:gd name="connsiteY11" fmla="*/ 217533 h 435077"/>
                <a:gd name="connsiteX12" fmla="*/ 217539 w 435077"/>
                <a:gd name="connsiteY12" fmla="*/ 5 h 435077"/>
                <a:gd name="connsiteX13" fmla="*/ 217539 w 435077"/>
                <a:gd name="connsiteY13" fmla="*/ 217533 h 435077"/>
                <a:gd name="connsiteX14" fmla="*/ 217539 w 435077"/>
                <a:gd name="connsiteY14" fmla="*/ 21753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3"/>
                  </a:moveTo>
                  <a:lnTo>
                    <a:pt x="217539" y="0"/>
                  </a:lnTo>
                  <a:lnTo>
                    <a:pt x="0" y="0"/>
                  </a:lnTo>
                  <a:lnTo>
                    <a:pt x="217539" y="217539"/>
                  </a:lnTo>
                  <a:lnTo>
                    <a:pt x="0" y="435077"/>
                  </a:lnTo>
                  <a:lnTo>
                    <a:pt x="217539" y="435077"/>
                  </a:lnTo>
                  <a:lnTo>
                    <a:pt x="217539" y="435072"/>
                  </a:lnTo>
                  <a:lnTo>
                    <a:pt x="435077" y="217541"/>
                  </a:lnTo>
                  <a:lnTo>
                    <a:pt x="435077" y="217541"/>
                  </a:lnTo>
                  <a:lnTo>
                    <a:pt x="435077" y="217539"/>
                  </a:lnTo>
                  <a:lnTo>
                    <a:pt x="435077" y="217533"/>
                  </a:lnTo>
                  <a:lnTo>
                    <a:pt x="435077" y="217533"/>
                  </a:lnTo>
                  <a:lnTo>
                    <a:pt x="217539" y="5"/>
                  </a:lnTo>
                  <a:lnTo>
                    <a:pt x="217539" y="217533"/>
                  </a:lnTo>
                  <a:lnTo>
                    <a:pt x="217539" y="217533"/>
                  </a:lnTo>
                  <a:close/>
                </a:path>
              </a:pathLst>
            </a:custGeom>
            <a:grpFill/>
            <a:ln w="27192" cap="flat">
              <a:noFill/>
              <a:prstDash val="solid"/>
              <a:miter/>
            </a:ln>
          </p:spPr>
          <p:txBody>
            <a:bodyPr rtlCol="0" anchor="ctr"/>
            <a:lstStyle/>
            <a:p>
              <a:endParaRPr lang="uk-UA" sz="900"/>
            </a:p>
          </p:txBody>
        </p:sp>
        <p:sp>
          <p:nvSpPr>
            <p:cNvPr id="163" name="Freeform: Shape 162">
              <a:extLst>
                <a:ext uri="{FF2B5EF4-FFF2-40B4-BE49-F238E27FC236}">
                  <a16:creationId xmlns:a16="http://schemas.microsoft.com/office/drawing/2014/main" id="{0BB1CC12-A5D0-CF60-DEE2-C8E08670E05F}"/>
                </a:ext>
              </a:extLst>
            </p:cNvPr>
            <p:cNvSpPr/>
            <p:nvPr/>
          </p:nvSpPr>
          <p:spPr>
            <a:xfrm>
              <a:off x="14758382" y="1968909"/>
              <a:ext cx="435077" cy="435077"/>
            </a:xfrm>
            <a:custGeom>
              <a:avLst/>
              <a:gdLst>
                <a:gd name="connsiteX0" fmla="*/ 217539 w 435077"/>
                <a:gd name="connsiteY0" fmla="*/ 0 h 435077"/>
                <a:gd name="connsiteX1" fmla="*/ 217539 w 435077"/>
                <a:gd name="connsiteY1" fmla="*/ 0 h 435077"/>
                <a:gd name="connsiteX2" fmla="*/ 0 w 435077"/>
                <a:gd name="connsiteY2" fmla="*/ 0 h 435077"/>
                <a:gd name="connsiteX3" fmla="*/ 0 w 435077"/>
                <a:gd name="connsiteY3" fmla="*/ 217539 h 435077"/>
                <a:gd name="connsiteX4" fmla="*/ 217539 w 435077"/>
                <a:gd name="connsiteY4" fmla="*/ 5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217539" y="0"/>
                  </a:lnTo>
                  <a:lnTo>
                    <a:pt x="0" y="0"/>
                  </a:lnTo>
                  <a:lnTo>
                    <a:pt x="0" y="217539"/>
                  </a:lnTo>
                  <a:lnTo>
                    <a:pt x="217539" y="5"/>
                  </a:lnTo>
                  <a:lnTo>
                    <a:pt x="435077" y="217539"/>
                  </a:lnTo>
                  <a:lnTo>
                    <a:pt x="217539" y="435077"/>
                  </a:lnTo>
                  <a:lnTo>
                    <a:pt x="0" y="217539"/>
                  </a:lnTo>
                  <a:lnTo>
                    <a:pt x="0" y="435077"/>
                  </a:lnTo>
                  <a:lnTo>
                    <a:pt x="217539" y="435077"/>
                  </a:lnTo>
                  <a:lnTo>
                    <a:pt x="435077" y="435077"/>
                  </a:lnTo>
                  <a:lnTo>
                    <a:pt x="435077" y="217539"/>
                  </a:lnTo>
                  <a:lnTo>
                    <a:pt x="435077" y="0"/>
                  </a:lnTo>
                  <a:lnTo>
                    <a:pt x="217539" y="0"/>
                  </a:lnTo>
                  <a:close/>
                </a:path>
              </a:pathLst>
            </a:custGeom>
            <a:grpFill/>
            <a:ln w="27192" cap="flat">
              <a:noFill/>
              <a:prstDash val="solid"/>
              <a:miter/>
            </a:ln>
          </p:spPr>
          <p:txBody>
            <a:bodyPr rtlCol="0" anchor="ctr"/>
            <a:lstStyle/>
            <a:p>
              <a:endParaRPr lang="uk-UA" sz="900"/>
            </a:p>
          </p:txBody>
        </p:sp>
        <p:sp>
          <p:nvSpPr>
            <p:cNvPr id="164" name="Freeform: Shape 163">
              <a:extLst>
                <a:ext uri="{FF2B5EF4-FFF2-40B4-BE49-F238E27FC236}">
                  <a16:creationId xmlns:a16="http://schemas.microsoft.com/office/drawing/2014/main" id="{C50824FE-D2BD-E0A4-BE95-227D6AE0896E}"/>
                </a:ext>
              </a:extLst>
            </p:cNvPr>
            <p:cNvSpPr/>
            <p:nvPr/>
          </p:nvSpPr>
          <p:spPr>
            <a:xfrm>
              <a:off x="13888200" y="1968909"/>
              <a:ext cx="435077" cy="435077"/>
            </a:xfrm>
            <a:custGeom>
              <a:avLst/>
              <a:gdLst>
                <a:gd name="connsiteX0" fmla="*/ 0 w 435077"/>
                <a:gd name="connsiteY0" fmla="*/ 435077 h 435077"/>
                <a:gd name="connsiteX1" fmla="*/ 217539 w 435077"/>
                <a:gd name="connsiteY1" fmla="*/ 435077 h 435077"/>
                <a:gd name="connsiteX2" fmla="*/ 217539 w 435077"/>
                <a:gd name="connsiteY2" fmla="*/ 217547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28 h 435077"/>
                <a:gd name="connsiteX7" fmla="*/ 217539 w 435077"/>
                <a:gd name="connsiteY7" fmla="*/ 0 h 435077"/>
                <a:gd name="connsiteX8" fmla="*/ 435077 w 435077"/>
                <a:gd name="connsiteY8" fmla="*/ 435077 h 435077"/>
                <a:gd name="connsiteX9" fmla="*/ 217565 w 435077"/>
                <a:gd name="connsiteY9" fmla="*/ 435077 h 435077"/>
                <a:gd name="connsiteX10" fmla="*/ 435077 w 435077"/>
                <a:gd name="connsiteY10" fmla="*/ 217547 h 435077"/>
                <a:gd name="connsiteX11" fmla="*/ 435077 w 435077"/>
                <a:gd name="connsiteY11" fmla="*/ 435077 h 435077"/>
                <a:gd name="connsiteX12" fmla="*/ 435077 w 435077"/>
                <a:gd name="connsiteY12" fmla="*/ 3 h 435077"/>
                <a:gd name="connsiteX13" fmla="*/ 217565 w 435077"/>
                <a:gd name="connsiteY13" fmla="*/ 3 h 435077"/>
                <a:gd name="connsiteX14" fmla="*/ 435077 w 435077"/>
                <a:gd name="connsiteY14" fmla="*/ 217531 h 435077"/>
                <a:gd name="connsiteX15" fmla="*/ 435077 w 435077"/>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47"/>
                  </a:lnTo>
                  <a:lnTo>
                    <a:pt x="0" y="435077"/>
                  </a:lnTo>
                  <a:close/>
                  <a:moveTo>
                    <a:pt x="217539" y="0"/>
                  </a:moveTo>
                  <a:lnTo>
                    <a:pt x="0" y="0"/>
                  </a:lnTo>
                  <a:lnTo>
                    <a:pt x="217539" y="217528"/>
                  </a:lnTo>
                  <a:lnTo>
                    <a:pt x="217539" y="0"/>
                  </a:lnTo>
                  <a:close/>
                  <a:moveTo>
                    <a:pt x="435077" y="435077"/>
                  </a:moveTo>
                  <a:lnTo>
                    <a:pt x="217565" y="435077"/>
                  </a:lnTo>
                  <a:lnTo>
                    <a:pt x="435077" y="217547"/>
                  </a:lnTo>
                  <a:lnTo>
                    <a:pt x="435077" y="435077"/>
                  </a:lnTo>
                  <a:close/>
                  <a:moveTo>
                    <a:pt x="435077" y="3"/>
                  </a:moveTo>
                  <a:lnTo>
                    <a:pt x="217565" y="3"/>
                  </a:lnTo>
                  <a:lnTo>
                    <a:pt x="435077" y="217531"/>
                  </a:lnTo>
                  <a:lnTo>
                    <a:pt x="435077" y="3"/>
                  </a:lnTo>
                  <a:close/>
                </a:path>
              </a:pathLst>
            </a:custGeom>
            <a:grpFill/>
            <a:ln w="27192" cap="flat">
              <a:noFill/>
              <a:prstDash val="solid"/>
              <a:miter/>
            </a:ln>
          </p:spPr>
          <p:txBody>
            <a:bodyPr rtlCol="0" anchor="ctr"/>
            <a:lstStyle/>
            <a:p>
              <a:endParaRPr lang="uk-UA" sz="900"/>
            </a:p>
          </p:txBody>
        </p:sp>
        <p:sp>
          <p:nvSpPr>
            <p:cNvPr id="165" name="Freeform: Shape 164">
              <a:extLst>
                <a:ext uri="{FF2B5EF4-FFF2-40B4-BE49-F238E27FC236}">
                  <a16:creationId xmlns:a16="http://schemas.microsoft.com/office/drawing/2014/main" id="{F9938CC4-63A1-5CFD-543E-48A00F265704}"/>
                </a:ext>
              </a:extLst>
            </p:cNvPr>
            <p:cNvSpPr/>
            <p:nvPr/>
          </p:nvSpPr>
          <p:spPr>
            <a:xfrm>
              <a:off x="15628536" y="1968909"/>
              <a:ext cx="435077" cy="435077"/>
            </a:xfrm>
            <a:custGeom>
              <a:avLst/>
              <a:gdLst>
                <a:gd name="connsiteX0" fmla="*/ 371367 w 435077"/>
                <a:gd name="connsiteY0" fmla="*/ 63714 h 435077"/>
                <a:gd name="connsiteX1" fmla="*/ 435077 w 435077"/>
                <a:gd name="connsiteY1" fmla="*/ 217539 h 435077"/>
                <a:gd name="connsiteX2" fmla="*/ 217730 w 435077"/>
                <a:gd name="connsiteY2" fmla="*/ 217539 h 435077"/>
                <a:gd name="connsiteX3" fmla="*/ 371367 w 435077"/>
                <a:gd name="connsiteY3" fmla="*/ 281253 h 435077"/>
                <a:gd name="connsiteX4" fmla="*/ 435077 w 435077"/>
                <a:gd name="connsiteY4" fmla="*/ 435077 h 435077"/>
                <a:gd name="connsiteX5" fmla="*/ 217539 w 435077"/>
                <a:gd name="connsiteY5" fmla="*/ 435077 h 435077"/>
                <a:gd name="connsiteX6" fmla="*/ 0 w 435077"/>
                <a:gd name="connsiteY6" fmla="*/ 435077 h 435077"/>
                <a:gd name="connsiteX7" fmla="*/ 63739 w 435077"/>
                <a:gd name="connsiteY7" fmla="*/ 281253 h 435077"/>
                <a:gd name="connsiteX8" fmla="*/ 217376 w 435077"/>
                <a:gd name="connsiteY8" fmla="*/ 217539 h 435077"/>
                <a:gd name="connsiteX9" fmla="*/ 0 w 435077"/>
                <a:gd name="connsiteY9" fmla="*/ 217539 h 435077"/>
                <a:gd name="connsiteX10" fmla="*/ 63712 w 435077"/>
                <a:gd name="connsiteY10" fmla="*/ 63714 h 435077"/>
                <a:gd name="connsiteX11" fmla="*/ 217539 w 435077"/>
                <a:gd name="connsiteY11" fmla="*/ 0 h 435077"/>
                <a:gd name="connsiteX12" fmla="*/ 371367 w 435077"/>
                <a:gd name="connsiteY12" fmla="*/ 63714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7" y="63714"/>
                  </a:moveTo>
                  <a:cubicBezTo>
                    <a:pt x="412155" y="104511"/>
                    <a:pt x="435077" y="159842"/>
                    <a:pt x="435077" y="217539"/>
                  </a:cubicBezTo>
                  <a:lnTo>
                    <a:pt x="217730" y="217539"/>
                  </a:lnTo>
                  <a:cubicBezTo>
                    <a:pt x="275351" y="217582"/>
                    <a:pt x="330605" y="240497"/>
                    <a:pt x="371367" y="281253"/>
                  </a:cubicBezTo>
                  <a:cubicBezTo>
                    <a:pt x="412182" y="322050"/>
                    <a:pt x="435077" y="377381"/>
                    <a:pt x="435077" y="435077"/>
                  </a:cubicBezTo>
                  <a:lnTo>
                    <a:pt x="217539" y="435077"/>
                  </a:lnTo>
                  <a:lnTo>
                    <a:pt x="0" y="435077"/>
                  </a:lnTo>
                  <a:cubicBezTo>
                    <a:pt x="0" y="377381"/>
                    <a:pt x="22924" y="322050"/>
                    <a:pt x="63739" y="281253"/>
                  </a:cubicBezTo>
                  <a:cubicBezTo>
                    <a:pt x="104474" y="240497"/>
                    <a:pt x="159755" y="217582"/>
                    <a:pt x="217376" y="217539"/>
                  </a:cubicBezTo>
                  <a:lnTo>
                    <a:pt x="0" y="217539"/>
                  </a:lnTo>
                  <a:cubicBezTo>
                    <a:pt x="0" y="159842"/>
                    <a:pt x="22924" y="104511"/>
                    <a:pt x="63712" y="63714"/>
                  </a:cubicBezTo>
                  <a:cubicBezTo>
                    <a:pt x="104527" y="22918"/>
                    <a:pt x="159865" y="0"/>
                    <a:pt x="217539" y="0"/>
                  </a:cubicBezTo>
                  <a:cubicBezTo>
                    <a:pt x="275241" y="0"/>
                    <a:pt x="330578" y="22918"/>
                    <a:pt x="371367" y="63714"/>
                  </a:cubicBezTo>
                  <a:close/>
                </a:path>
              </a:pathLst>
            </a:custGeom>
            <a:grpFill/>
            <a:ln w="27192" cap="flat">
              <a:noFill/>
              <a:prstDash val="solid"/>
              <a:miter/>
            </a:ln>
          </p:spPr>
          <p:txBody>
            <a:bodyPr rtlCol="0" anchor="ctr"/>
            <a:lstStyle/>
            <a:p>
              <a:endParaRPr lang="uk-UA" sz="900"/>
            </a:p>
          </p:txBody>
        </p:sp>
        <p:sp>
          <p:nvSpPr>
            <p:cNvPr id="166" name="Freeform: Shape 165">
              <a:extLst>
                <a:ext uri="{FF2B5EF4-FFF2-40B4-BE49-F238E27FC236}">
                  <a16:creationId xmlns:a16="http://schemas.microsoft.com/office/drawing/2014/main" id="{68736B0F-C940-B767-4F4E-863532ADFBB8}"/>
                </a:ext>
              </a:extLst>
            </p:cNvPr>
            <p:cNvSpPr/>
            <p:nvPr/>
          </p:nvSpPr>
          <p:spPr>
            <a:xfrm>
              <a:off x="16498719" y="1968909"/>
              <a:ext cx="435077" cy="435074"/>
            </a:xfrm>
            <a:custGeom>
              <a:avLst/>
              <a:gdLst>
                <a:gd name="connsiteX0" fmla="*/ 217539 w 435077"/>
                <a:gd name="connsiteY0" fmla="*/ 217533 h 435074"/>
                <a:gd name="connsiteX1" fmla="*/ 217539 w 435077"/>
                <a:gd name="connsiteY1" fmla="*/ 0 h 435074"/>
                <a:gd name="connsiteX2" fmla="*/ 0 w 435077"/>
                <a:gd name="connsiteY2" fmla="*/ 0 h 435074"/>
                <a:gd name="connsiteX3" fmla="*/ 217539 w 435077"/>
                <a:gd name="connsiteY3" fmla="*/ 217539 h 435074"/>
                <a:gd name="connsiteX4" fmla="*/ 0 w 435077"/>
                <a:gd name="connsiteY4" fmla="*/ 435075 h 435074"/>
                <a:gd name="connsiteX5" fmla="*/ 217539 w 435077"/>
                <a:gd name="connsiteY5" fmla="*/ 435075 h 435074"/>
                <a:gd name="connsiteX6" fmla="*/ 217539 w 435077"/>
                <a:gd name="connsiteY6" fmla="*/ 435072 h 435074"/>
                <a:gd name="connsiteX7" fmla="*/ 435049 w 435077"/>
                <a:gd name="connsiteY7" fmla="*/ 217541 h 435074"/>
                <a:gd name="connsiteX8" fmla="*/ 435077 w 435077"/>
                <a:gd name="connsiteY8" fmla="*/ 217541 h 435074"/>
                <a:gd name="connsiteX9" fmla="*/ 435049 w 435077"/>
                <a:gd name="connsiteY9" fmla="*/ 217536 h 435074"/>
                <a:gd name="connsiteX10" fmla="*/ 435077 w 435077"/>
                <a:gd name="connsiteY10" fmla="*/ 217533 h 435074"/>
                <a:gd name="connsiteX11" fmla="*/ 435049 w 435077"/>
                <a:gd name="connsiteY11" fmla="*/ 217533 h 435074"/>
                <a:gd name="connsiteX12" fmla="*/ 217539 w 435077"/>
                <a:gd name="connsiteY12" fmla="*/ 3 h 435074"/>
                <a:gd name="connsiteX13" fmla="*/ 217539 w 435077"/>
                <a:gd name="connsiteY13" fmla="*/ 217533 h 435074"/>
                <a:gd name="connsiteX14" fmla="*/ 217539 w 435077"/>
                <a:gd name="connsiteY14" fmla="*/ 217533 h 43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4">
                  <a:moveTo>
                    <a:pt x="217539" y="217533"/>
                  </a:moveTo>
                  <a:lnTo>
                    <a:pt x="217539" y="0"/>
                  </a:lnTo>
                  <a:lnTo>
                    <a:pt x="0" y="0"/>
                  </a:lnTo>
                  <a:lnTo>
                    <a:pt x="217539" y="217539"/>
                  </a:lnTo>
                  <a:lnTo>
                    <a:pt x="0" y="435075"/>
                  </a:lnTo>
                  <a:lnTo>
                    <a:pt x="217539" y="435075"/>
                  </a:lnTo>
                  <a:lnTo>
                    <a:pt x="217539" y="435072"/>
                  </a:lnTo>
                  <a:lnTo>
                    <a:pt x="435049" y="217541"/>
                  </a:lnTo>
                  <a:lnTo>
                    <a:pt x="435077" y="217541"/>
                  </a:lnTo>
                  <a:lnTo>
                    <a:pt x="435049" y="217536"/>
                  </a:lnTo>
                  <a:lnTo>
                    <a:pt x="435077" y="217533"/>
                  </a:lnTo>
                  <a:lnTo>
                    <a:pt x="435049" y="217533"/>
                  </a:lnTo>
                  <a:lnTo>
                    <a:pt x="217539" y="3"/>
                  </a:lnTo>
                  <a:lnTo>
                    <a:pt x="217539" y="217533"/>
                  </a:lnTo>
                  <a:lnTo>
                    <a:pt x="217539" y="217533"/>
                  </a:lnTo>
                  <a:close/>
                </a:path>
              </a:pathLst>
            </a:custGeom>
            <a:grpFill/>
            <a:ln w="27192" cap="flat">
              <a:noFill/>
              <a:prstDash val="solid"/>
              <a:miter/>
            </a:ln>
          </p:spPr>
          <p:txBody>
            <a:bodyPr rtlCol="0" anchor="ctr"/>
            <a:lstStyle/>
            <a:p>
              <a:endParaRPr lang="uk-UA" sz="900"/>
            </a:p>
          </p:txBody>
        </p:sp>
        <p:sp>
          <p:nvSpPr>
            <p:cNvPr id="167" name="Freeform: Shape 166">
              <a:extLst>
                <a:ext uri="{FF2B5EF4-FFF2-40B4-BE49-F238E27FC236}">
                  <a16:creationId xmlns:a16="http://schemas.microsoft.com/office/drawing/2014/main" id="{ECF8CC35-8288-9AF1-FEF2-5772666B3878}"/>
                </a:ext>
              </a:extLst>
            </p:cNvPr>
            <p:cNvSpPr/>
            <p:nvPr/>
          </p:nvSpPr>
          <p:spPr>
            <a:xfrm>
              <a:off x="18239029" y="196890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168" name="Freeform: Shape 167">
              <a:extLst>
                <a:ext uri="{FF2B5EF4-FFF2-40B4-BE49-F238E27FC236}">
                  <a16:creationId xmlns:a16="http://schemas.microsoft.com/office/drawing/2014/main" id="{0E45D1F2-0A38-1659-A20E-BFF8FA68C8DE}"/>
                </a:ext>
              </a:extLst>
            </p:cNvPr>
            <p:cNvSpPr/>
            <p:nvPr/>
          </p:nvSpPr>
          <p:spPr>
            <a:xfrm>
              <a:off x="17368874" y="1968909"/>
              <a:ext cx="435077" cy="435077"/>
            </a:xfrm>
            <a:custGeom>
              <a:avLst/>
              <a:gdLst>
                <a:gd name="connsiteX0" fmla="*/ 0 w 435077"/>
                <a:gd name="connsiteY0" fmla="*/ 435077 h 435077"/>
                <a:gd name="connsiteX1" fmla="*/ 217539 w 435077"/>
                <a:gd name="connsiteY1" fmla="*/ 435077 h 435077"/>
                <a:gd name="connsiteX2" fmla="*/ 217539 w 435077"/>
                <a:gd name="connsiteY2" fmla="*/ 217547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28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47 h 435077"/>
                <a:gd name="connsiteX11" fmla="*/ 435077 w 435077"/>
                <a:gd name="connsiteY11" fmla="*/ 435077 h 435077"/>
                <a:gd name="connsiteX12" fmla="*/ 435077 w 435077"/>
                <a:gd name="connsiteY12" fmla="*/ 3 h 435077"/>
                <a:gd name="connsiteX13" fmla="*/ 217539 w 435077"/>
                <a:gd name="connsiteY13" fmla="*/ 3 h 435077"/>
                <a:gd name="connsiteX14" fmla="*/ 435077 w 435077"/>
                <a:gd name="connsiteY14" fmla="*/ 217531 h 435077"/>
                <a:gd name="connsiteX15" fmla="*/ 435077 w 435077"/>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47"/>
                  </a:lnTo>
                  <a:lnTo>
                    <a:pt x="0" y="435077"/>
                  </a:lnTo>
                  <a:close/>
                  <a:moveTo>
                    <a:pt x="217539" y="0"/>
                  </a:moveTo>
                  <a:lnTo>
                    <a:pt x="0" y="0"/>
                  </a:lnTo>
                  <a:lnTo>
                    <a:pt x="217539" y="217528"/>
                  </a:lnTo>
                  <a:lnTo>
                    <a:pt x="217539" y="0"/>
                  </a:lnTo>
                  <a:close/>
                  <a:moveTo>
                    <a:pt x="435077" y="435077"/>
                  </a:moveTo>
                  <a:lnTo>
                    <a:pt x="217539" y="435077"/>
                  </a:lnTo>
                  <a:lnTo>
                    <a:pt x="435077" y="217547"/>
                  </a:lnTo>
                  <a:lnTo>
                    <a:pt x="435077" y="435077"/>
                  </a:lnTo>
                  <a:close/>
                  <a:moveTo>
                    <a:pt x="435077" y="3"/>
                  </a:moveTo>
                  <a:lnTo>
                    <a:pt x="217539" y="3"/>
                  </a:lnTo>
                  <a:lnTo>
                    <a:pt x="435077" y="217531"/>
                  </a:lnTo>
                  <a:lnTo>
                    <a:pt x="435077" y="3"/>
                  </a:lnTo>
                  <a:close/>
                </a:path>
              </a:pathLst>
            </a:custGeom>
            <a:grpFill/>
            <a:ln w="27192" cap="flat">
              <a:noFill/>
              <a:prstDash val="solid"/>
              <a:miter/>
            </a:ln>
          </p:spPr>
          <p:txBody>
            <a:bodyPr rtlCol="0" anchor="ctr"/>
            <a:lstStyle/>
            <a:p>
              <a:endParaRPr lang="uk-UA" sz="900"/>
            </a:p>
          </p:txBody>
        </p:sp>
        <p:sp>
          <p:nvSpPr>
            <p:cNvPr id="169" name="Freeform: Shape 168">
              <a:extLst>
                <a:ext uri="{FF2B5EF4-FFF2-40B4-BE49-F238E27FC236}">
                  <a16:creationId xmlns:a16="http://schemas.microsoft.com/office/drawing/2014/main" id="{D84324AA-E433-570B-81DC-483F55DBDDE6}"/>
                </a:ext>
              </a:extLst>
            </p:cNvPr>
            <p:cNvSpPr/>
            <p:nvPr/>
          </p:nvSpPr>
          <p:spPr>
            <a:xfrm>
              <a:off x="19109210" y="1968909"/>
              <a:ext cx="435077" cy="435077"/>
            </a:xfrm>
            <a:custGeom>
              <a:avLst/>
              <a:gdLst>
                <a:gd name="connsiteX0" fmla="*/ 371339 w 435077"/>
                <a:gd name="connsiteY0" fmla="*/ 63714 h 435077"/>
                <a:gd name="connsiteX1" fmla="*/ 435077 w 435077"/>
                <a:gd name="connsiteY1" fmla="*/ 217539 h 435077"/>
                <a:gd name="connsiteX2" fmla="*/ 217701 w 435077"/>
                <a:gd name="connsiteY2" fmla="*/ 217539 h 435077"/>
                <a:gd name="connsiteX3" fmla="*/ 371365 w 435077"/>
                <a:gd name="connsiteY3" fmla="*/ 281253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3 h 435077"/>
                <a:gd name="connsiteX8" fmla="*/ 217376 w 435077"/>
                <a:gd name="connsiteY8" fmla="*/ 217539 h 435077"/>
                <a:gd name="connsiteX9" fmla="*/ 0 w 435077"/>
                <a:gd name="connsiteY9" fmla="*/ 217539 h 435077"/>
                <a:gd name="connsiteX10" fmla="*/ 63712 w 435077"/>
                <a:gd name="connsiteY10" fmla="*/ 63714 h 435077"/>
                <a:gd name="connsiteX11" fmla="*/ 217539 w 435077"/>
                <a:gd name="connsiteY11" fmla="*/ 0 h 435077"/>
                <a:gd name="connsiteX12" fmla="*/ 371339 w 435077"/>
                <a:gd name="connsiteY12" fmla="*/ 63714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14"/>
                  </a:moveTo>
                  <a:cubicBezTo>
                    <a:pt x="412154" y="104511"/>
                    <a:pt x="435077" y="159842"/>
                    <a:pt x="435077" y="217539"/>
                  </a:cubicBezTo>
                  <a:lnTo>
                    <a:pt x="217701" y="217539"/>
                  </a:lnTo>
                  <a:cubicBezTo>
                    <a:pt x="275322" y="217582"/>
                    <a:pt x="330605" y="240497"/>
                    <a:pt x="371365" y="281253"/>
                  </a:cubicBezTo>
                  <a:cubicBezTo>
                    <a:pt x="412154" y="322050"/>
                    <a:pt x="435077" y="377381"/>
                    <a:pt x="435077" y="435077"/>
                  </a:cubicBezTo>
                  <a:lnTo>
                    <a:pt x="217539" y="435077"/>
                  </a:lnTo>
                  <a:lnTo>
                    <a:pt x="0" y="435077"/>
                  </a:lnTo>
                  <a:cubicBezTo>
                    <a:pt x="0" y="377381"/>
                    <a:pt x="22924" y="322050"/>
                    <a:pt x="63712" y="281253"/>
                  </a:cubicBezTo>
                  <a:cubicBezTo>
                    <a:pt x="104472" y="240497"/>
                    <a:pt x="159728" y="217582"/>
                    <a:pt x="217376" y="217539"/>
                  </a:cubicBezTo>
                  <a:lnTo>
                    <a:pt x="0" y="217539"/>
                  </a:lnTo>
                  <a:cubicBezTo>
                    <a:pt x="0" y="159842"/>
                    <a:pt x="22895" y="104511"/>
                    <a:pt x="63712" y="63714"/>
                  </a:cubicBezTo>
                  <a:cubicBezTo>
                    <a:pt x="104501" y="22918"/>
                    <a:pt x="159836" y="0"/>
                    <a:pt x="217539" y="0"/>
                  </a:cubicBezTo>
                  <a:cubicBezTo>
                    <a:pt x="275215" y="0"/>
                    <a:pt x="330550" y="22918"/>
                    <a:pt x="371339" y="63714"/>
                  </a:cubicBezTo>
                  <a:close/>
                </a:path>
              </a:pathLst>
            </a:custGeom>
            <a:grpFill/>
            <a:ln w="27192" cap="flat">
              <a:noFill/>
              <a:prstDash val="solid"/>
              <a:miter/>
            </a:ln>
          </p:spPr>
          <p:txBody>
            <a:bodyPr rtlCol="0" anchor="ctr"/>
            <a:lstStyle/>
            <a:p>
              <a:endParaRPr lang="uk-UA" sz="900"/>
            </a:p>
          </p:txBody>
        </p:sp>
        <p:sp>
          <p:nvSpPr>
            <p:cNvPr id="170" name="Freeform: Shape 169">
              <a:extLst>
                <a:ext uri="{FF2B5EF4-FFF2-40B4-BE49-F238E27FC236}">
                  <a16:creationId xmlns:a16="http://schemas.microsoft.com/office/drawing/2014/main" id="{A7E54C38-90D6-818A-817B-8B42A49E673A}"/>
                </a:ext>
              </a:extLst>
            </p:cNvPr>
            <p:cNvSpPr/>
            <p:nvPr/>
          </p:nvSpPr>
          <p:spPr>
            <a:xfrm>
              <a:off x="19979365" y="1968909"/>
              <a:ext cx="435077" cy="435074"/>
            </a:xfrm>
            <a:custGeom>
              <a:avLst/>
              <a:gdLst>
                <a:gd name="connsiteX0" fmla="*/ 217539 w 435077"/>
                <a:gd name="connsiteY0" fmla="*/ 217533 h 435074"/>
                <a:gd name="connsiteX1" fmla="*/ 217539 w 435077"/>
                <a:gd name="connsiteY1" fmla="*/ 0 h 435074"/>
                <a:gd name="connsiteX2" fmla="*/ 0 w 435077"/>
                <a:gd name="connsiteY2" fmla="*/ 0 h 435074"/>
                <a:gd name="connsiteX3" fmla="*/ 217539 w 435077"/>
                <a:gd name="connsiteY3" fmla="*/ 217539 h 435074"/>
                <a:gd name="connsiteX4" fmla="*/ 0 w 435077"/>
                <a:gd name="connsiteY4" fmla="*/ 435075 h 435074"/>
                <a:gd name="connsiteX5" fmla="*/ 217539 w 435077"/>
                <a:gd name="connsiteY5" fmla="*/ 435075 h 435074"/>
                <a:gd name="connsiteX6" fmla="*/ 217539 w 435077"/>
                <a:gd name="connsiteY6" fmla="*/ 435072 h 435074"/>
                <a:gd name="connsiteX7" fmla="*/ 435051 w 435077"/>
                <a:gd name="connsiteY7" fmla="*/ 217541 h 435074"/>
                <a:gd name="connsiteX8" fmla="*/ 435077 w 435077"/>
                <a:gd name="connsiteY8" fmla="*/ 217541 h 435074"/>
                <a:gd name="connsiteX9" fmla="*/ 435077 w 435077"/>
                <a:gd name="connsiteY9" fmla="*/ 217536 h 435074"/>
                <a:gd name="connsiteX10" fmla="*/ 435077 w 435077"/>
                <a:gd name="connsiteY10" fmla="*/ 217533 h 435074"/>
                <a:gd name="connsiteX11" fmla="*/ 435077 w 435077"/>
                <a:gd name="connsiteY11" fmla="*/ 217533 h 435074"/>
                <a:gd name="connsiteX12" fmla="*/ 217539 w 435077"/>
                <a:gd name="connsiteY12" fmla="*/ 3 h 435074"/>
                <a:gd name="connsiteX13" fmla="*/ 217539 w 435077"/>
                <a:gd name="connsiteY13" fmla="*/ 217533 h 435074"/>
                <a:gd name="connsiteX14" fmla="*/ 217539 w 435077"/>
                <a:gd name="connsiteY14" fmla="*/ 217533 h 43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4">
                  <a:moveTo>
                    <a:pt x="217539" y="217533"/>
                  </a:moveTo>
                  <a:lnTo>
                    <a:pt x="217539" y="0"/>
                  </a:lnTo>
                  <a:lnTo>
                    <a:pt x="0" y="0"/>
                  </a:lnTo>
                  <a:lnTo>
                    <a:pt x="217539" y="217539"/>
                  </a:lnTo>
                  <a:lnTo>
                    <a:pt x="0" y="435075"/>
                  </a:lnTo>
                  <a:lnTo>
                    <a:pt x="217539" y="435075"/>
                  </a:lnTo>
                  <a:lnTo>
                    <a:pt x="217539" y="435072"/>
                  </a:lnTo>
                  <a:lnTo>
                    <a:pt x="435051" y="217541"/>
                  </a:lnTo>
                  <a:lnTo>
                    <a:pt x="435077" y="217541"/>
                  </a:lnTo>
                  <a:lnTo>
                    <a:pt x="435077" y="217536"/>
                  </a:lnTo>
                  <a:lnTo>
                    <a:pt x="435077" y="217533"/>
                  </a:lnTo>
                  <a:lnTo>
                    <a:pt x="435077" y="217533"/>
                  </a:lnTo>
                  <a:lnTo>
                    <a:pt x="217539" y="3"/>
                  </a:lnTo>
                  <a:lnTo>
                    <a:pt x="217539" y="217533"/>
                  </a:lnTo>
                  <a:lnTo>
                    <a:pt x="217539" y="217533"/>
                  </a:lnTo>
                  <a:close/>
                </a:path>
              </a:pathLst>
            </a:custGeom>
            <a:grpFill/>
            <a:ln w="27192" cap="flat">
              <a:noFill/>
              <a:prstDash val="solid"/>
              <a:miter/>
            </a:ln>
          </p:spPr>
          <p:txBody>
            <a:bodyPr rtlCol="0" anchor="ctr"/>
            <a:lstStyle/>
            <a:p>
              <a:endParaRPr lang="uk-UA" sz="900"/>
            </a:p>
          </p:txBody>
        </p:sp>
        <p:sp>
          <p:nvSpPr>
            <p:cNvPr id="171" name="Freeform: Shape 170">
              <a:extLst>
                <a:ext uri="{FF2B5EF4-FFF2-40B4-BE49-F238E27FC236}">
                  <a16:creationId xmlns:a16="http://schemas.microsoft.com/office/drawing/2014/main" id="{A55DFB5F-0FE1-DF0A-70EE-AB1D77735F1F}"/>
                </a:ext>
              </a:extLst>
            </p:cNvPr>
            <p:cNvSpPr/>
            <p:nvPr/>
          </p:nvSpPr>
          <p:spPr>
            <a:xfrm>
              <a:off x="21719702" y="196890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172" name="Freeform: Shape 171">
              <a:extLst>
                <a:ext uri="{FF2B5EF4-FFF2-40B4-BE49-F238E27FC236}">
                  <a16:creationId xmlns:a16="http://schemas.microsoft.com/office/drawing/2014/main" id="{84A53EDA-BD15-479D-A53A-FAEB09077515}"/>
                </a:ext>
              </a:extLst>
            </p:cNvPr>
            <p:cNvSpPr/>
            <p:nvPr/>
          </p:nvSpPr>
          <p:spPr>
            <a:xfrm>
              <a:off x="20849520" y="1968909"/>
              <a:ext cx="435077" cy="435077"/>
            </a:xfrm>
            <a:custGeom>
              <a:avLst/>
              <a:gdLst>
                <a:gd name="connsiteX0" fmla="*/ 0 w 435077"/>
                <a:gd name="connsiteY0" fmla="*/ 435077 h 435077"/>
                <a:gd name="connsiteX1" fmla="*/ 217539 w 435077"/>
                <a:gd name="connsiteY1" fmla="*/ 435077 h 435077"/>
                <a:gd name="connsiteX2" fmla="*/ 217539 w 435077"/>
                <a:gd name="connsiteY2" fmla="*/ 217547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28 h 435077"/>
                <a:gd name="connsiteX7" fmla="*/ 217539 w 435077"/>
                <a:gd name="connsiteY7" fmla="*/ 0 h 435077"/>
                <a:gd name="connsiteX8" fmla="*/ 435077 w 435077"/>
                <a:gd name="connsiteY8" fmla="*/ 435077 h 435077"/>
                <a:gd name="connsiteX9" fmla="*/ 217565 w 435077"/>
                <a:gd name="connsiteY9" fmla="*/ 435077 h 435077"/>
                <a:gd name="connsiteX10" fmla="*/ 435077 w 435077"/>
                <a:gd name="connsiteY10" fmla="*/ 217547 h 435077"/>
                <a:gd name="connsiteX11" fmla="*/ 435077 w 435077"/>
                <a:gd name="connsiteY11" fmla="*/ 435077 h 435077"/>
                <a:gd name="connsiteX12" fmla="*/ 435077 w 435077"/>
                <a:gd name="connsiteY12" fmla="*/ 3 h 435077"/>
                <a:gd name="connsiteX13" fmla="*/ 217565 w 435077"/>
                <a:gd name="connsiteY13" fmla="*/ 3 h 435077"/>
                <a:gd name="connsiteX14" fmla="*/ 435077 w 435077"/>
                <a:gd name="connsiteY14" fmla="*/ 217531 h 435077"/>
                <a:gd name="connsiteX15" fmla="*/ 435077 w 435077"/>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47"/>
                  </a:lnTo>
                  <a:lnTo>
                    <a:pt x="0" y="435077"/>
                  </a:lnTo>
                  <a:close/>
                  <a:moveTo>
                    <a:pt x="217539" y="0"/>
                  </a:moveTo>
                  <a:lnTo>
                    <a:pt x="0" y="0"/>
                  </a:lnTo>
                  <a:lnTo>
                    <a:pt x="217539" y="217528"/>
                  </a:lnTo>
                  <a:lnTo>
                    <a:pt x="217539" y="0"/>
                  </a:lnTo>
                  <a:close/>
                  <a:moveTo>
                    <a:pt x="435077" y="435077"/>
                  </a:moveTo>
                  <a:lnTo>
                    <a:pt x="217565" y="435077"/>
                  </a:lnTo>
                  <a:lnTo>
                    <a:pt x="435077" y="217547"/>
                  </a:lnTo>
                  <a:lnTo>
                    <a:pt x="435077" y="435077"/>
                  </a:lnTo>
                  <a:close/>
                  <a:moveTo>
                    <a:pt x="435077" y="3"/>
                  </a:moveTo>
                  <a:lnTo>
                    <a:pt x="217565" y="3"/>
                  </a:lnTo>
                  <a:lnTo>
                    <a:pt x="435077" y="217531"/>
                  </a:lnTo>
                  <a:lnTo>
                    <a:pt x="435077" y="3"/>
                  </a:lnTo>
                  <a:close/>
                </a:path>
              </a:pathLst>
            </a:custGeom>
            <a:grpFill/>
            <a:ln w="27192" cap="flat">
              <a:noFill/>
              <a:prstDash val="solid"/>
              <a:miter/>
            </a:ln>
          </p:spPr>
          <p:txBody>
            <a:bodyPr rtlCol="0" anchor="ctr"/>
            <a:lstStyle/>
            <a:p>
              <a:endParaRPr lang="uk-UA" sz="900"/>
            </a:p>
          </p:txBody>
        </p:sp>
        <p:sp>
          <p:nvSpPr>
            <p:cNvPr id="173" name="Freeform: Shape 172">
              <a:extLst>
                <a:ext uri="{FF2B5EF4-FFF2-40B4-BE49-F238E27FC236}">
                  <a16:creationId xmlns:a16="http://schemas.microsoft.com/office/drawing/2014/main" id="{1FB19B5D-0A12-E28C-E14E-CAEB0A90AE42}"/>
                </a:ext>
              </a:extLst>
            </p:cNvPr>
            <p:cNvSpPr/>
            <p:nvPr/>
          </p:nvSpPr>
          <p:spPr>
            <a:xfrm>
              <a:off x="22589856" y="1968909"/>
              <a:ext cx="435077" cy="435077"/>
            </a:xfrm>
            <a:custGeom>
              <a:avLst/>
              <a:gdLst>
                <a:gd name="connsiteX0" fmla="*/ 371367 w 435077"/>
                <a:gd name="connsiteY0" fmla="*/ 63714 h 435077"/>
                <a:gd name="connsiteX1" fmla="*/ 435077 w 435077"/>
                <a:gd name="connsiteY1" fmla="*/ 217539 h 435077"/>
                <a:gd name="connsiteX2" fmla="*/ 217703 w 435077"/>
                <a:gd name="connsiteY2" fmla="*/ 217539 h 435077"/>
                <a:gd name="connsiteX3" fmla="*/ 371367 w 435077"/>
                <a:gd name="connsiteY3" fmla="*/ 281253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3 h 435077"/>
                <a:gd name="connsiteX8" fmla="*/ 217376 w 435077"/>
                <a:gd name="connsiteY8" fmla="*/ 217539 h 435077"/>
                <a:gd name="connsiteX9" fmla="*/ 0 w 435077"/>
                <a:gd name="connsiteY9" fmla="*/ 217539 h 435077"/>
                <a:gd name="connsiteX10" fmla="*/ 63712 w 435077"/>
                <a:gd name="connsiteY10" fmla="*/ 63714 h 435077"/>
                <a:gd name="connsiteX11" fmla="*/ 217539 w 435077"/>
                <a:gd name="connsiteY11" fmla="*/ 0 h 435077"/>
                <a:gd name="connsiteX12" fmla="*/ 371367 w 435077"/>
                <a:gd name="connsiteY12" fmla="*/ 63714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7" y="63714"/>
                  </a:moveTo>
                  <a:cubicBezTo>
                    <a:pt x="412155" y="104511"/>
                    <a:pt x="435077" y="159842"/>
                    <a:pt x="435077" y="217539"/>
                  </a:cubicBezTo>
                  <a:lnTo>
                    <a:pt x="217703" y="217539"/>
                  </a:lnTo>
                  <a:cubicBezTo>
                    <a:pt x="275351" y="217582"/>
                    <a:pt x="330605" y="240497"/>
                    <a:pt x="371367" y="281253"/>
                  </a:cubicBezTo>
                  <a:cubicBezTo>
                    <a:pt x="412155" y="322050"/>
                    <a:pt x="435077" y="377381"/>
                    <a:pt x="435077" y="435077"/>
                  </a:cubicBezTo>
                  <a:lnTo>
                    <a:pt x="217539" y="435077"/>
                  </a:lnTo>
                  <a:lnTo>
                    <a:pt x="0" y="435077"/>
                  </a:lnTo>
                  <a:cubicBezTo>
                    <a:pt x="0" y="377381"/>
                    <a:pt x="22924" y="322050"/>
                    <a:pt x="63712" y="281253"/>
                  </a:cubicBezTo>
                  <a:cubicBezTo>
                    <a:pt x="104474" y="240497"/>
                    <a:pt x="159755" y="217582"/>
                    <a:pt x="217376" y="217539"/>
                  </a:cubicBezTo>
                  <a:lnTo>
                    <a:pt x="0" y="217539"/>
                  </a:lnTo>
                  <a:cubicBezTo>
                    <a:pt x="0" y="159842"/>
                    <a:pt x="22924" y="104511"/>
                    <a:pt x="63712" y="63714"/>
                  </a:cubicBezTo>
                  <a:cubicBezTo>
                    <a:pt x="104529" y="22918"/>
                    <a:pt x="159838" y="0"/>
                    <a:pt x="217539" y="0"/>
                  </a:cubicBezTo>
                  <a:cubicBezTo>
                    <a:pt x="275241" y="0"/>
                    <a:pt x="330578" y="22918"/>
                    <a:pt x="371367" y="63714"/>
                  </a:cubicBezTo>
                  <a:close/>
                </a:path>
              </a:pathLst>
            </a:custGeom>
            <a:grpFill/>
            <a:ln w="27192" cap="flat">
              <a:noFill/>
              <a:prstDash val="solid"/>
              <a:miter/>
            </a:ln>
          </p:spPr>
          <p:txBody>
            <a:bodyPr rtlCol="0" anchor="ctr"/>
            <a:lstStyle/>
            <a:p>
              <a:endParaRPr lang="uk-UA" sz="900"/>
            </a:p>
          </p:txBody>
        </p:sp>
        <p:sp>
          <p:nvSpPr>
            <p:cNvPr id="174" name="Freeform: Shape 173">
              <a:extLst>
                <a:ext uri="{FF2B5EF4-FFF2-40B4-BE49-F238E27FC236}">
                  <a16:creationId xmlns:a16="http://schemas.microsoft.com/office/drawing/2014/main" id="{77FCDC68-322D-E3CD-ED62-A1AB511C2C9E}"/>
                </a:ext>
              </a:extLst>
            </p:cNvPr>
            <p:cNvSpPr/>
            <p:nvPr/>
          </p:nvSpPr>
          <p:spPr>
            <a:xfrm>
              <a:off x="23460039" y="1968909"/>
              <a:ext cx="435077" cy="435074"/>
            </a:xfrm>
            <a:custGeom>
              <a:avLst/>
              <a:gdLst>
                <a:gd name="connsiteX0" fmla="*/ 217539 w 435077"/>
                <a:gd name="connsiteY0" fmla="*/ 217533 h 435074"/>
                <a:gd name="connsiteX1" fmla="*/ 217539 w 435077"/>
                <a:gd name="connsiteY1" fmla="*/ 0 h 435074"/>
                <a:gd name="connsiteX2" fmla="*/ 0 w 435077"/>
                <a:gd name="connsiteY2" fmla="*/ 0 h 435074"/>
                <a:gd name="connsiteX3" fmla="*/ 217539 w 435077"/>
                <a:gd name="connsiteY3" fmla="*/ 217539 h 435074"/>
                <a:gd name="connsiteX4" fmla="*/ 0 w 435077"/>
                <a:gd name="connsiteY4" fmla="*/ 435075 h 435074"/>
                <a:gd name="connsiteX5" fmla="*/ 217510 w 435077"/>
                <a:gd name="connsiteY5" fmla="*/ 435075 h 435074"/>
                <a:gd name="connsiteX6" fmla="*/ 217510 w 435077"/>
                <a:gd name="connsiteY6" fmla="*/ 435072 h 435074"/>
                <a:gd name="connsiteX7" fmla="*/ 435049 w 435077"/>
                <a:gd name="connsiteY7" fmla="*/ 217541 h 435074"/>
                <a:gd name="connsiteX8" fmla="*/ 435077 w 435077"/>
                <a:gd name="connsiteY8" fmla="*/ 217541 h 435074"/>
                <a:gd name="connsiteX9" fmla="*/ 435049 w 435077"/>
                <a:gd name="connsiteY9" fmla="*/ 217536 h 435074"/>
                <a:gd name="connsiteX10" fmla="*/ 435049 w 435077"/>
                <a:gd name="connsiteY10" fmla="*/ 217533 h 435074"/>
                <a:gd name="connsiteX11" fmla="*/ 435049 w 435077"/>
                <a:gd name="connsiteY11" fmla="*/ 217533 h 435074"/>
                <a:gd name="connsiteX12" fmla="*/ 217539 w 435077"/>
                <a:gd name="connsiteY12" fmla="*/ 3 h 435074"/>
                <a:gd name="connsiteX13" fmla="*/ 217539 w 435077"/>
                <a:gd name="connsiteY13" fmla="*/ 217533 h 435074"/>
                <a:gd name="connsiteX14" fmla="*/ 217539 w 435077"/>
                <a:gd name="connsiteY14" fmla="*/ 217533 h 43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4">
                  <a:moveTo>
                    <a:pt x="217539" y="217533"/>
                  </a:moveTo>
                  <a:lnTo>
                    <a:pt x="217539" y="0"/>
                  </a:lnTo>
                  <a:lnTo>
                    <a:pt x="0" y="0"/>
                  </a:lnTo>
                  <a:lnTo>
                    <a:pt x="217539" y="217539"/>
                  </a:lnTo>
                  <a:lnTo>
                    <a:pt x="0" y="435075"/>
                  </a:lnTo>
                  <a:lnTo>
                    <a:pt x="217510" y="435075"/>
                  </a:lnTo>
                  <a:lnTo>
                    <a:pt x="217510" y="435072"/>
                  </a:lnTo>
                  <a:lnTo>
                    <a:pt x="435049" y="217541"/>
                  </a:lnTo>
                  <a:lnTo>
                    <a:pt x="435077" y="217541"/>
                  </a:lnTo>
                  <a:lnTo>
                    <a:pt x="435049" y="217536"/>
                  </a:lnTo>
                  <a:lnTo>
                    <a:pt x="435049" y="217533"/>
                  </a:lnTo>
                  <a:lnTo>
                    <a:pt x="435049" y="217533"/>
                  </a:lnTo>
                  <a:lnTo>
                    <a:pt x="217539" y="3"/>
                  </a:lnTo>
                  <a:lnTo>
                    <a:pt x="217539" y="217533"/>
                  </a:lnTo>
                  <a:lnTo>
                    <a:pt x="217539" y="217533"/>
                  </a:lnTo>
                  <a:close/>
                </a:path>
              </a:pathLst>
            </a:custGeom>
            <a:grpFill/>
            <a:ln w="27192" cap="flat">
              <a:noFill/>
              <a:prstDash val="solid"/>
              <a:miter/>
            </a:ln>
          </p:spPr>
          <p:txBody>
            <a:bodyPr rtlCol="0" anchor="ctr"/>
            <a:lstStyle/>
            <a:p>
              <a:endParaRPr lang="uk-UA" sz="900"/>
            </a:p>
          </p:txBody>
        </p:sp>
        <p:sp>
          <p:nvSpPr>
            <p:cNvPr id="175" name="Freeform: Shape 174">
              <a:extLst>
                <a:ext uri="{FF2B5EF4-FFF2-40B4-BE49-F238E27FC236}">
                  <a16:creationId xmlns:a16="http://schemas.microsoft.com/office/drawing/2014/main" id="{641BBC90-A8B1-E67A-D514-EBE4C495DF63}"/>
                </a:ext>
              </a:extLst>
            </p:cNvPr>
            <p:cNvSpPr/>
            <p:nvPr/>
          </p:nvSpPr>
          <p:spPr>
            <a:xfrm>
              <a:off x="24330194" y="1968909"/>
              <a:ext cx="435077" cy="435077"/>
            </a:xfrm>
            <a:custGeom>
              <a:avLst/>
              <a:gdLst>
                <a:gd name="connsiteX0" fmla="*/ 0 w 435077"/>
                <a:gd name="connsiteY0" fmla="*/ 435077 h 435077"/>
                <a:gd name="connsiteX1" fmla="*/ 217539 w 435077"/>
                <a:gd name="connsiteY1" fmla="*/ 435077 h 435077"/>
                <a:gd name="connsiteX2" fmla="*/ 217539 w 435077"/>
                <a:gd name="connsiteY2" fmla="*/ 217547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28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47 h 435077"/>
                <a:gd name="connsiteX11" fmla="*/ 435077 w 435077"/>
                <a:gd name="connsiteY11" fmla="*/ 435077 h 435077"/>
                <a:gd name="connsiteX12" fmla="*/ 435077 w 435077"/>
                <a:gd name="connsiteY12" fmla="*/ 3 h 435077"/>
                <a:gd name="connsiteX13" fmla="*/ 217539 w 435077"/>
                <a:gd name="connsiteY13" fmla="*/ 3 h 435077"/>
                <a:gd name="connsiteX14" fmla="*/ 435077 w 435077"/>
                <a:gd name="connsiteY14" fmla="*/ 217531 h 435077"/>
                <a:gd name="connsiteX15" fmla="*/ 435077 w 435077"/>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47"/>
                  </a:lnTo>
                  <a:lnTo>
                    <a:pt x="0" y="435077"/>
                  </a:lnTo>
                  <a:close/>
                  <a:moveTo>
                    <a:pt x="217539" y="0"/>
                  </a:moveTo>
                  <a:lnTo>
                    <a:pt x="0" y="0"/>
                  </a:lnTo>
                  <a:lnTo>
                    <a:pt x="217539" y="217528"/>
                  </a:lnTo>
                  <a:lnTo>
                    <a:pt x="217539" y="0"/>
                  </a:lnTo>
                  <a:close/>
                  <a:moveTo>
                    <a:pt x="435077" y="435077"/>
                  </a:moveTo>
                  <a:lnTo>
                    <a:pt x="217539" y="435077"/>
                  </a:lnTo>
                  <a:lnTo>
                    <a:pt x="435077" y="217547"/>
                  </a:lnTo>
                  <a:lnTo>
                    <a:pt x="435077" y="435077"/>
                  </a:lnTo>
                  <a:close/>
                  <a:moveTo>
                    <a:pt x="435077" y="3"/>
                  </a:moveTo>
                  <a:lnTo>
                    <a:pt x="217539" y="3"/>
                  </a:lnTo>
                  <a:lnTo>
                    <a:pt x="435077" y="217531"/>
                  </a:lnTo>
                  <a:lnTo>
                    <a:pt x="435077" y="3"/>
                  </a:lnTo>
                  <a:close/>
                </a:path>
              </a:pathLst>
            </a:custGeom>
            <a:grpFill/>
            <a:ln w="27192" cap="flat">
              <a:noFill/>
              <a:prstDash val="solid"/>
              <a:miter/>
            </a:ln>
          </p:spPr>
          <p:txBody>
            <a:bodyPr rtlCol="0" anchor="ctr"/>
            <a:lstStyle/>
            <a:p>
              <a:endParaRPr lang="uk-UA" sz="900"/>
            </a:p>
          </p:txBody>
        </p:sp>
        <p:sp>
          <p:nvSpPr>
            <p:cNvPr id="176" name="Freeform: Shape 175">
              <a:extLst>
                <a:ext uri="{FF2B5EF4-FFF2-40B4-BE49-F238E27FC236}">
                  <a16:creationId xmlns:a16="http://schemas.microsoft.com/office/drawing/2014/main" id="{BD975A4A-60C6-60BE-6163-5B6E57BA5B5B}"/>
                </a:ext>
              </a:extLst>
            </p:cNvPr>
            <p:cNvSpPr/>
            <p:nvPr/>
          </p:nvSpPr>
          <p:spPr>
            <a:xfrm>
              <a:off x="835769" y="2839064"/>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3 h 435077"/>
                <a:gd name="connsiteX6" fmla="*/ 217511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3"/>
                  </a:lnTo>
                  <a:lnTo>
                    <a:pt x="217511" y="217539"/>
                  </a:lnTo>
                  <a:lnTo>
                    <a:pt x="0" y="435077"/>
                  </a:lnTo>
                  <a:close/>
                </a:path>
              </a:pathLst>
            </a:custGeom>
            <a:grpFill/>
            <a:ln w="27192" cap="flat">
              <a:noFill/>
              <a:prstDash val="solid"/>
              <a:miter/>
            </a:ln>
          </p:spPr>
          <p:txBody>
            <a:bodyPr rtlCol="0" anchor="ctr"/>
            <a:lstStyle/>
            <a:p>
              <a:endParaRPr lang="uk-UA" sz="900"/>
            </a:p>
          </p:txBody>
        </p:sp>
        <p:sp>
          <p:nvSpPr>
            <p:cNvPr id="177" name="Freeform: Shape 176">
              <a:extLst>
                <a:ext uri="{FF2B5EF4-FFF2-40B4-BE49-F238E27FC236}">
                  <a16:creationId xmlns:a16="http://schemas.microsoft.com/office/drawing/2014/main" id="{3EBEBA74-1F60-510A-1C74-50C8C1C3CD4A}"/>
                </a:ext>
              </a:extLst>
            </p:cNvPr>
            <p:cNvSpPr/>
            <p:nvPr/>
          </p:nvSpPr>
          <p:spPr>
            <a:xfrm>
              <a:off x="-34398" y="2839064"/>
              <a:ext cx="435090" cy="435077"/>
            </a:xfrm>
            <a:custGeom>
              <a:avLst/>
              <a:gdLst>
                <a:gd name="connsiteX0" fmla="*/ 0 w 435090"/>
                <a:gd name="connsiteY0" fmla="*/ 435077 h 435077"/>
                <a:gd name="connsiteX1" fmla="*/ 0 w 435090"/>
                <a:gd name="connsiteY1" fmla="*/ 0 h 435077"/>
                <a:gd name="connsiteX2" fmla="*/ 217525 w 435090"/>
                <a:gd name="connsiteY2" fmla="*/ 217539 h 435077"/>
                <a:gd name="connsiteX3" fmla="*/ 0 w 435090"/>
                <a:gd name="connsiteY3" fmla="*/ 435077 h 435077"/>
                <a:gd name="connsiteX4" fmla="*/ 217552 w 435090"/>
                <a:gd name="connsiteY4" fmla="*/ 435077 h 435077"/>
                <a:gd name="connsiteX5" fmla="*/ 217552 w 435090"/>
                <a:gd name="connsiteY5" fmla="*/ 0 h 435077"/>
                <a:gd name="connsiteX6" fmla="*/ 435091 w 435090"/>
                <a:gd name="connsiteY6" fmla="*/ 217539 h 435077"/>
                <a:gd name="connsiteX7" fmla="*/ 217552 w 435090"/>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90" h="435077">
                  <a:moveTo>
                    <a:pt x="0" y="435077"/>
                  </a:moveTo>
                  <a:lnTo>
                    <a:pt x="0" y="0"/>
                  </a:lnTo>
                  <a:lnTo>
                    <a:pt x="217525" y="217539"/>
                  </a:lnTo>
                  <a:lnTo>
                    <a:pt x="0" y="435077"/>
                  </a:lnTo>
                  <a:close/>
                  <a:moveTo>
                    <a:pt x="217552" y="435077"/>
                  </a:moveTo>
                  <a:lnTo>
                    <a:pt x="217552" y="0"/>
                  </a:lnTo>
                  <a:lnTo>
                    <a:pt x="435091" y="217539"/>
                  </a:lnTo>
                  <a:lnTo>
                    <a:pt x="217552" y="435077"/>
                  </a:lnTo>
                  <a:close/>
                </a:path>
              </a:pathLst>
            </a:custGeom>
            <a:grpFill/>
            <a:ln w="27192" cap="flat">
              <a:noFill/>
              <a:prstDash val="solid"/>
              <a:miter/>
            </a:ln>
          </p:spPr>
          <p:txBody>
            <a:bodyPr rtlCol="0" anchor="ctr"/>
            <a:lstStyle/>
            <a:p>
              <a:endParaRPr lang="uk-UA" sz="900"/>
            </a:p>
          </p:txBody>
        </p:sp>
        <p:sp>
          <p:nvSpPr>
            <p:cNvPr id="178" name="Freeform: Shape 177">
              <a:extLst>
                <a:ext uri="{FF2B5EF4-FFF2-40B4-BE49-F238E27FC236}">
                  <a16:creationId xmlns:a16="http://schemas.microsoft.com/office/drawing/2014/main" id="{E31CC17A-092E-55C9-418F-6105F2B84307}"/>
                </a:ext>
              </a:extLst>
            </p:cNvPr>
            <p:cNvSpPr/>
            <p:nvPr/>
          </p:nvSpPr>
          <p:spPr>
            <a:xfrm>
              <a:off x="1705924" y="2839064"/>
              <a:ext cx="435077" cy="435077"/>
            </a:xfrm>
            <a:custGeom>
              <a:avLst/>
              <a:gdLst>
                <a:gd name="connsiteX0" fmla="*/ 63711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1 w 435077"/>
                <a:gd name="connsiteY6" fmla="*/ 153827 h 435077"/>
                <a:gd name="connsiteX7" fmla="*/ 63711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1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1" y="153827"/>
                  </a:moveTo>
                  <a:cubicBezTo>
                    <a:pt x="22923" y="113038"/>
                    <a:pt x="0" y="57694"/>
                    <a:pt x="0" y="0"/>
                  </a:cubicBezTo>
                  <a:lnTo>
                    <a:pt x="217539" y="0"/>
                  </a:lnTo>
                  <a:lnTo>
                    <a:pt x="435077" y="0"/>
                  </a:lnTo>
                  <a:cubicBezTo>
                    <a:pt x="435077" y="57694"/>
                    <a:pt x="412154" y="113038"/>
                    <a:pt x="371366" y="153827"/>
                  </a:cubicBezTo>
                  <a:cubicBezTo>
                    <a:pt x="330577" y="194616"/>
                    <a:pt x="275241" y="217539"/>
                    <a:pt x="217539" y="217539"/>
                  </a:cubicBezTo>
                  <a:cubicBezTo>
                    <a:pt x="159836" y="217539"/>
                    <a:pt x="104527" y="194616"/>
                    <a:pt x="63711" y="153827"/>
                  </a:cubicBezTo>
                  <a:close/>
                  <a:moveTo>
                    <a:pt x="63711" y="281250"/>
                  </a:moveTo>
                  <a:cubicBezTo>
                    <a:pt x="22923" y="322039"/>
                    <a:pt x="0" y="377375"/>
                    <a:pt x="0" y="435077"/>
                  </a:cubicBezTo>
                  <a:lnTo>
                    <a:pt x="217539" y="435077"/>
                  </a:lnTo>
                  <a:lnTo>
                    <a:pt x="435077" y="435077"/>
                  </a:lnTo>
                  <a:cubicBezTo>
                    <a:pt x="435077" y="377375"/>
                    <a:pt x="412154" y="322039"/>
                    <a:pt x="371366" y="281250"/>
                  </a:cubicBezTo>
                  <a:cubicBezTo>
                    <a:pt x="330577" y="240462"/>
                    <a:pt x="275241" y="217539"/>
                    <a:pt x="217539" y="217539"/>
                  </a:cubicBezTo>
                  <a:cubicBezTo>
                    <a:pt x="159836" y="217539"/>
                    <a:pt x="104527" y="240462"/>
                    <a:pt x="63711" y="281250"/>
                  </a:cubicBezTo>
                  <a:close/>
                </a:path>
              </a:pathLst>
            </a:custGeom>
            <a:grpFill/>
            <a:ln w="27192" cap="flat">
              <a:noFill/>
              <a:prstDash val="solid"/>
              <a:miter/>
            </a:ln>
          </p:spPr>
          <p:txBody>
            <a:bodyPr rtlCol="0" anchor="ctr"/>
            <a:lstStyle/>
            <a:p>
              <a:endParaRPr lang="uk-UA" sz="900"/>
            </a:p>
          </p:txBody>
        </p:sp>
        <p:sp>
          <p:nvSpPr>
            <p:cNvPr id="179" name="Freeform: Shape 178">
              <a:extLst>
                <a:ext uri="{FF2B5EF4-FFF2-40B4-BE49-F238E27FC236}">
                  <a16:creationId xmlns:a16="http://schemas.microsoft.com/office/drawing/2014/main" id="{FBB5437E-7F4B-540F-62EB-1A10F64401BF}"/>
                </a:ext>
              </a:extLst>
            </p:cNvPr>
            <p:cNvSpPr/>
            <p:nvPr/>
          </p:nvSpPr>
          <p:spPr>
            <a:xfrm>
              <a:off x="2576106" y="2839064"/>
              <a:ext cx="435077" cy="435077"/>
            </a:xfrm>
            <a:custGeom>
              <a:avLst/>
              <a:gdLst>
                <a:gd name="connsiteX0" fmla="*/ 435077 w 435077"/>
                <a:gd name="connsiteY0" fmla="*/ 435077 h 435077"/>
                <a:gd name="connsiteX1" fmla="*/ 435077 w 435077"/>
                <a:gd name="connsiteY1" fmla="*/ 217539 h 435077"/>
                <a:gd name="connsiteX2" fmla="*/ 435077 w 435077"/>
                <a:gd name="connsiteY2" fmla="*/ 14 h 435077"/>
                <a:gd name="connsiteX3" fmla="*/ 217539 w 435077"/>
                <a:gd name="connsiteY3" fmla="*/ 14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14"/>
                  </a:lnTo>
                  <a:lnTo>
                    <a:pt x="217539" y="14"/>
                  </a:lnTo>
                  <a:lnTo>
                    <a:pt x="435077" y="217539"/>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180" name="Freeform: Shape 179">
              <a:extLst>
                <a:ext uri="{FF2B5EF4-FFF2-40B4-BE49-F238E27FC236}">
                  <a16:creationId xmlns:a16="http://schemas.microsoft.com/office/drawing/2014/main" id="{2983EDD4-86AC-9942-67B9-F73A9CBC3E4D}"/>
                </a:ext>
              </a:extLst>
            </p:cNvPr>
            <p:cNvSpPr/>
            <p:nvPr/>
          </p:nvSpPr>
          <p:spPr>
            <a:xfrm>
              <a:off x="4316442" y="2839064"/>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3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3"/>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181" name="Freeform: Shape 180">
              <a:extLst>
                <a:ext uri="{FF2B5EF4-FFF2-40B4-BE49-F238E27FC236}">
                  <a16:creationId xmlns:a16="http://schemas.microsoft.com/office/drawing/2014/main" id="{E31A1D90-3F9C-2492-05EA-C6261C7AB1F3}"/>
                </a:ext>
              </a:extLst>
            </p:cNvPr>
            <p:cNvSpPr/>
            <p:nvPr/>
          </p:nvSpPr>
          <p:spPr>
            <a:xfrm>
              <a:off x="3446261" y="2839064"/>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182" name="Freeform: Shape 181">
              <a:extLst>
                <a:ext uri="{FF2B5EF4-FFF2-40B4-BE49-F238E27FC236}">
                  <a16:creationId xmlns:a16="http://schemas.microsoft.com/office/drawing/2014/main" id="{67C7C382-7FE5-3F56-D77B-2EDA15F365FA}"/>
                </a:ext>
              </a:extLst>
            </p:cNvPr>
            <p:cNvSpPr/>
            <p:nvPr/>
          </p:nvSpPr>
          <p:spPr>
            <a:xfrm>
              <a:off x="5186597" y="283906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8"/>
                    <a:pt x="0" y="57694"/>
                    <a:pt x="0" y="0"/>
                  </a:cubicBezTo>
                  <a:lnTo>
                    <a:pt x="217539" y="0"/>
                  </a:lnTo>
                  <a:lnTo>
                    <a:pt x="435077" y="0"/>
                  </a:lnTo>
                  <a:cubicBezTo>
                    <a:pt x="435077" y="57694"/>
                    <a:pt x="412155" y="113038"/>
                    <a:pt x="371366" y="153827"/>
                  </a:cubicBezTo>
                  <a:cubicBezTo>
                    <a:pt x="330550" y="194616"/>
                    <a:pt x="275241" y="217539"/>
                    <a:pt x="217539" y="217539"/>
                  </a:cubicBezTo>
                  <a:cubicBezTo>
                    <a:pt x="159837" y="217539"/>
                    <a:pt x="104501" y="194616"/>
                    <a:pt x="63712" y="153827"/>
                  </a:cubicBezTo>
                  <a:close/>
                  <a:moveTo>
                    <a:pt x="63712" y="281250"/>
                  </a:moveTo>
                  <a:cubicBezTo>
                    <a:pt x="22924" y="322039"/>
                    <a:pt x="0" y="377375"/>
                    <a:pt x="0" y="435077"/>
                  </a:cubicBezTo>
                  <a:lnTo>
                    <a:pt x="217539" y="435077"/>
                  </a:lnTo>
                  <a:lnTo>
                    <a:pt x="435077" y="435077"/>
                  </a:lnTo>
                  <a:cubicBezTo>
                    <a:pt x="435077" y="377375"/>
                    <a:pt x="412155" y="322039"/>
                    <a:pt x="371366" y="281250"/>
                  </a:cubicBezTo>
                  <a:cubicBezTo>
                    <a:pt x="330550" y="240462"/>
                    <a:pt x="275241" y="217539"/>
                    <a:pt x="217539" y="217539"/>
                  </a:cubicBezTo>
                  <a:cubicBezTo>
                    <a:pt x="159837" y="217539"/>
                    <a:pt x="104501" y="240462"/>
                    <a:pt x="63712" y="281250"/>
                  </a:cubicBezTo>
                  <a:close/>
                </a:path>
              </a:pathLst>
            </a:custGeom>
            <a:grpFill/>
            <a:ln w="27192" cap="flat">
              <a:noFill/>
              <a:prstDash val="solid"/>
              <a:miter/>
            </a:ln>
          </p:spPr>
          <p:txBody>
            <a:bodyPr rtlCol="0" anchor="ctr"/>
            <a:lstStyle/>
            <a:p>
              <a:endParaRPr lang="uk-UA" sz="900"/>
            </a:p>
          </p:txBody>
        </p:sp>
        <p:sp>
          <p:nvSpPr>
            <p:cNvPr id="183" name="Freeform: Shape 182">
              <a:extLst>
                <a:ext uri="{FF2B5EF4-FFF2-40B4-BE49-F238E27FC236}">
                  <a16:creationId xmlns:a16="http://schemas.microsoft.com/office/drawing/2014/main" id="{2904812F-BF77-6F90-A0FA-E2EC07BC4057}"/>
                </a:ext>
              </a:extLst>
            </p:cNvPr>
            <p:cNvSpPr/>
            <p:nvPr/>
          </p:nvSpPr>
          <p:spPr>
            <a:xfrm>
              <a:off x="6056752" y="2839064"/>
              <a:ext cx="435077" cy="435077"/>
            </a:xfrm>
            <a:custGeom>
              <a:avLst/>
              <a:gdLst>
                <a:gd name="connsiteX0" fmla="*/ 435077 w 435077"/>
                <a:gd name="connsiteY0" fmla="*/ 435077 h 435077"/>
                <a:gd name="connsiteX1" fmla="*/ 435077 w 435077"/>
                <a:gd name="connsiteY1" fmla="*/ 217539 h 435077"/>
                <a:gd name="connsiteX2" fmla="*/ 435077 w 435077"/>
                <a:gd name="connsiteY2" fmla="*/ 14 h 435077"/>
                <a:gd name="connsiteX3" fmla="*/ 217539 w 435077"/>
                <a:gd name="connsiteY3" fmla="*/ 14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14"/>
                  </a:lnTo>
                  <a:lnTo>
                    <a:pt x="217539" y="14"/>
                  </a:lnTo>
                  <a:lnTo>
                    <a:pt x="435077" y="217539"/>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184" name="Freeform: Shape 183">
              <a:extLst>
                <a:ext uri="{FF2B5EF4-FFF2-40B4-BE49-F238E27FC236}">
                  <a16:creationId xmlns:a16="http://schemas.microsoft.com/office/drawing/2014/main" id="{72E7E3EF-8015-2F06-901F-DDB971CD5A97}"/>
                </a:ext>
              </a:extLst>
            </p:cNvPr>
            <p:cNvSpPr/>
            <p:nvPr/>
          </p:nvSpPr>
          <p:spPr>
            <a:xfrm>
              <a:off x="7797089" y="2839064"/>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3 h 435077"/>
                <a:gd name="connsiteX6" fmla="*/ 217511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3"/>
                  </a:lnTo>
                  <a:lnTo>
                    <a:pt x="217511" y="217539"/>
                  </a:lnTo>
                  <a:lnTo>
                    <a:pt x="0" y="435077"/>
                  </a:lnTo>
                  <a:close/>
                </a:path>
              </a:pathLst>
            </a:custGeom>
            <a:grpFill/>
            <a:ln w="27192" cap="flat">
              <a:noFill/>
              <a:prstDash val="solid"/>
              <a:miter/>
            </a:ln>
          </p:spPr>
          <p:txBody>
            <a:bodyPr rtlCol="0" anchor="ctr"/>
            <a:lstStyle/>
            <a:p>
              <a:endParaRPr lang="uk-UA" sz="900"/>
            </a:p>
          </p:txBody>
        </p:sp>
        <p:sp>
          <p:nvSpPr>
            <p:cNvPr id="185" name="Freeform: Shape 184">
              <a:extLst>
                <a:ext uri="{FF2B5EF4-FFF2-40B4-BE49-F238E27FC236}">
                  <a16:creationId xmlns:a16="http://schemas.microsoft.com/office/drawing/2014/main" id="{1A6D3C74-6905-476E-BD64-A84BCDAC34A7}"/>
                </a:ext>
              </a:extLst>
            </p:cNvPr>
            <p:cNvSpPr/>
            <p:nvPr/>
          </p:nvSpPr>
          <p:spPr>
            <a:xfrm>
              <a:off x="6926907" y="2839064"/>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186" name="Freeform: Shape 185">
              <a:extLst>
                <a:ext uri="{FF2B5EF4-FFF2-40B4-BE49-F238E27FC236}">
                  <a16:creationId xmlns:a16="http://schemas.microsoft.com/office/drawing/2014/main" id="{5CA717B0-78E3-3B81-A000-16559779D783}"/>
                </a:ext>
              </a:extLst>
            </p:cNvPr>
            <p:cNvSpPr/>
            <p:nvPr/>
          </p:nvSpPr>
          <p:spPr>
            <a:xfrm>
              <a:off x="8667217" y="2839064"/>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39 w 435077"/>
                <a:gd name="connsiteY6" fmla="*/ 153827 h 435077"/>
                <a:gd name="connsiteX7" fmla="*/ 63739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39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4" y="113038"/>
                    <a:pt x="0" y="57694"/>
                    <a:pt x="0" y="0"/>
                  </a:cubicBezTo>
                  <a:lnTo>
                    <a:pt x="217539" y="0"/>
                  </a:lnTo>
                  <a:lnTo>
                    <a:pt x="435077" y="0"/>
                  </a:lnTo>
                  <a:cubicBezTo>
                    <a:pt x="435077" y="57694"/>
                    <a:pt x="412182" y="113038"/>
                    <a:pt x="371366" y="153827"/>
                  </a:cubicBezTo>
                  <a:cubicBezTo>
                    <a:pt x="330578" y="194616"/>
                    <a:pt x="275241" y="217539"/>
                    <a:pt x="217539" y="217539"/>
                  </a:cubicBezTo>
                  <a:cubicBezTo>
                    <a:pt x="159864" y="217539"/>
                    <a:pt x="104527" y="194616"/>
                    <a:pt x="63739" y="153827"/>
                  </a:cubicBezTo>
                  <a:close/>
                  <a:moveTo>
                    <a:pt x="63739" y="281250"/>
                  </a:moveTo>
                  <a:cubicBezTo>
                    <a:pt x="22924" y="322039"/>
                    <a:pt x="0" y="377375"/>
                    <a:pt x="0" y="435077"/>
                  </a:cubicBezTo>
                  <a:lnTo>
                    <a:pt x="217539" y="435077"/>
                  </a:lnTo>
                  <a:lnTo>
                    <a:pt x="435077" y="435077"/>
                  </a:lnTo>
                  <a:cubicBezTo>
                    <a:pt x="435077" y="377375"/>
                    <a:pt x="412182" y="322039"/>
                    <a:pt x="371366" y="281250"/>
                  </a:cubicBezTo>
                  <a:cubicBezTo>
                    <a:pt x="330578" y="240462"/>
                    <a:pt x="275241" y="217539"/>
                    <a:pt x="217539" y="217539"/>
                  </a:cubicBezTo>
                  <a:cubicBezTo>
                    <a:pt x="159864" y="217539"/>
                    <a:pt x="104527" y="240462"/>
                    <a:pt x="63739" y="281250"/>
                  </a:cubicBezTo>
                  <a:close/>
                </a:path>
              </a:pathLst>
            </a:custGeom>
            <a:grpFill/>
            <a:ln w="27192" cap="flat">
              <a:noFill/>
              <a:prstDash val="solid"/>
              <a:miter/>
            </a:ln>
          </p:spPr>
          <p:txBody>
            <a:bodyPr rtlCol="0" anchor="ctr"/>
            <a:lstStyle/>
            <a:p>
              <a:endParaRPr lang="uk-UA" sz="900"/>
            </a:p>
          </p:txBody>
        </p:sp>
        <p:sp>
          <p:nvSpPr>
            <p:cNvPr id="187" name="Freeform: Shape 186">
              <a:extLst>
                <a:ext uri="{FF2B5EF4-FFF2-40B4-BE49-F238E27FC236}">
                  <a16:creationId xmlns:a16="http://schemas.microsoft.com/office/drawing/2014/main" id="{8F6EB1BC-E859-93E5-241D-3B5455E1422D}"/>
                </a:ext>
              </a:extLst>
            </p:cNvPr>
            <p:cNvSpPr/>
            <p:nvPr/>
          </p:nvSpPr>
          <p:spPr>
            <a:xfrm>
              <a:off x="9537399" y="2839064"/>
              <a:ext cx="435077" cy="435077"/>
            </a:xfrm>
            <a:custGeom>
              <a:avLst/>
              <a:gdLst>
                <a:gd name="connsiteX0" fmla="*/ 435077 w 435077"/>
                <a:gd name="connsiteY0" fmla="*/ 435077 h 435077"/>
                <a:gd name="connsiteX1" fmla="*/ 435077 w 435077"/>
                <a:gd name="connsiteY1" fmla="*/ 217539 h 435077"/>
                <a:gd name="connsiteX2" fmla="*/ 435077 w 435077"/>
                <a:gd name="connsiteY2" fmla="*/ 14 h 435077"/>
                <a:gd name="connsiteX3" fmla="*/ 217539 w 435077"/>
                <a:gd name="connsiteY3" fmla="*/ 14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1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1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14"/>
                  </a:lnTo>
                  <a:lnTo>
                    <a:pt x="217539" y="14"/>
                  </a:lnTo>
                  <a:lnTo>
                    <a:pt x="435077" y="217539"/>
                  </a:lnTo>
                  <a:lnTo>
                    <a:pt x="217539" y="435077"/>
                  </a:lnTo>
                  <a:lnTo>
                    <a:pt x="435077" y="435077"/>
                  </a:lnTo>
                  <a:close/>
                  <a:moveTo>
                    <a:pt x="0" y="217539"/>
                  </a:moveTo>
                  <a:lnTo>
                    <a:pt x="0" y="0"/>
                  </a:lnTo>
                  <a:lnTo>
                    <a:pt x="217511" y="217539"/>
                  </a:lnTo>
                  <a:lnTo>
                    <a:pt x="0" y="217539"/>
                  </a:lnTo>
                  <a:close/>
                  <a:moveTo>
                    <a:pt x="0" y="435077"/>
                  </a:moveTo>
                  <a:lnTo>
                    <a:pt x="0" y="217539"/>
                  </a:lnTo>
                  <a:lnTo>
                    <a:pt x="217511" y="217539"/>
                  </a:lnTo>
                  <a:lnTo>
                    <a:pt x="0" y="435077"/>
                  </a:lnTo>
                  <a:close/>
                </a:path>
              </a:pathLst>
            </a:custGeom>
            <a:grpFill/>
            <a:ln w="27192" cap="flat">
              <a:noFill/>
              <a:prstDash val="solid"/>
              <a:miter/>
            </a:ln>
          </p:spPr>
          <p:txBody>
            <a:bodyPr rtlCol="0" anchor="ctr"/>
            <a:lstStyle/>
            <a:p>
              <a:endParaRPr lang="uk-UA" sz="900"/>
            </a:p>
          </p:txBody>
        </p:sp>
        <p:sp>
          <p:nvSpPr>
            <p:cNvPr id="188" name="Freeform: Shape 187">
              <a:extLst>
                <a:ext uri="{FF2B5EF4-FFF2-40B4-BE49-F238E27FC236}">
                  <a16:creationId xmlns:a16="http://schemas.microsoft.com/office/drawing/2014/main" id="{C5989DDD-BE02-F646-9168-F2676BA1D0EA}"/>
                </a:ext>
              </a:extLst>
            </p:cNvPr>
            <p:cNvSpPr/>
            <p:nvPr/>
          </p:nvSpPr>
          <p:spPr>
            <a:xfrm>
              <a:off x="11277709" y="2839064"/>
              <a:ext cx="435077" cy="435077"/>
            </a:xfrm>
            <a:custGeom>
              <a:avLst/>
              <a:gdLst>
                <a:gd name="connsiteX0" fmla="*/ 435077 w 435077"/>
                <a:gd name="connsiteY0" fmla="*/ 435077 h 435077"/>
                <a:gd name="connsiteX1" fmla="*/ 435077 w 435077"/>
                <a:gd name="connsiteY1" fmla="*/ 0 h 435077"/>
                <a:gd name="connsiteX2" fmla="*/ 217565 w 435077"/>
                <a:gd name="connsiteY2" fmla="*/ 217539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39"/>
                  </a:lnTo>
                  <a:lnTo>
                    <a:pt x="435077" y="435077"/>
                  </a:lnTo>
                  <a:close/>
                  <a:moveTo>
                    <a:pt x="0" y="435077"/>
                  </a:moveTo>
                  <a:lnTo>
                    <a:pt x="0" y="3"/>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189" name="Freeform: Shape 188">
              <a:extLst>
                <a:ext uri="{FF2B5EF4-FFF2-40B4-BE49-F238E27FC236}">
                  <a16:creationId xmlns:a16="http://schemas.microsoft.com/office/drawing/2014/main" id="{453367F5-4B53-230C-3E51-6B0328CC28F5}"/>
                </a:ext>
              </a:extLst>
            </p:cNvPr>
            <p:cNvSpPr/>
            <p:nvPr/>
          </p:nvSpPr>
          <p:spPr>
            <a:xfrm>
              <a:off x="10407554" y="2839064"/>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190" name="Freeform: Shape 189">
              <a:extLst>
                <a:ext uri="{FF2B5EF4-FFF2-40B4-BE49-F238E27FC236}">
                  <a16:creationId xmlns:a16="http://schemas.microsoft.com/office/drawing/2014/main" id="{09002475-6829-689D-FEDD-D35CE9BFFFD5}"/>
                </a:ext>
              </a:extLst>
            </p:cNvPr>
            <p:cNvSpPr/>
            <p:nvPr/>
          </p:nvSpPr>
          <p:spPr>
            <a:xfrm>
              <a:off x="12147864" y="2839064"/>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39 w 435077"/>
                <a:gd name="connsiteY6" fmla="*/ 153827 h 435077"/>
                <a:gd name="connsiteX7" fmla="*/ 63739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0 h 435077"/>
                <a:gd name="connsiteX12" fmla="*/ 217539 w 435077"/>
                <a:gd name="connsiteY12" fmla="*/ 217539 h 435077"/>
                <a:gd name="connsiteX13" fmla="*/ 63739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2" y="113038"/>
                    <a:pt x="0" y="57694"/>
                    <a:pt x="0" y="0"/>
                  </a:cubicBezTo>
                  <a:lnTo>
                    <a:pt x="217539" y="0"/>
                  </a:lnTo>
                  <a:lnTo>
                    <a:pt x="435077" y="0"/>
                  </a:lnTo>
                  <a:cubicBezTo>
                    <a:pt x="435077" y="57694"/>
                    <a:pt x="412180" y="113038"/>
                    <a:pt x="371365" y="153827"/>
                  </a:cubicBezTo>
                  <a:cubicBezTo>
                    <a:pt x="330577" y="194616"/>
                    <a:pt x="275239" y="217539"/>
                    <a:pt x="217539" y="217539"/>
                  </a:cubicBezTo>
                  <a:cubicBezTo>
                    <a:pt x="159863" y="217539"/>
                    <a:pt x="104527" y="194616"/>
                    <a:pt x="63739" y="153827"/>
                  </a:cubicBezTo>
                  <a:close/>
                  <a:moveTo>
                    <a:pt x="63739" y="281250"/>
                  </a:moveTo>
                  <a:cubicBezTo>
                    <a:pt x="22922" y="322039"/>
                    <a:pt x="0" y="377375"/>
                    <a:pt x="0" y="435077"/>
                  </a:cubicBezTo>
                  <a:lnTo>
                    <a:pt x="217539" y="435077"/>
                  </a:lnTo>
                  <a:lnTo>
                    <a:pt x="435077" y="435077"/>
                  </a:lnTo>
                  <a:cubicBezTo>
                    <a:pt x="435077" y="377375"/>
                    <a:pt x="412180" y="322039"/>
                    <a:pt x="371365" y="281250"/>
                  </a:cubicBezTo>
                  <a:cubicBezTo>
                    <a:pt x="330577" y="240462"/>
                    <a:pt x="275239" y="217539"/>
                    <a:pt x="217539" y="217539"/>
                  </a:cubicBezTo>
                  <a:cubicBezTo>
                    <a:pt x="159863" y="217539"/>
                    <a:pt x="104527" y="240462"/>
                    <a:pt x="63739" y="281250"/>
                  </a:cubicBezTo>
                  <a:close/>
                </a:path>
              </a:pathLst>
            </a:custGeom>
            <a:grpFill/>
            <a:ln w="27192" cap="flat">
              <a:noFill/>
              <a:prstDash val="solid"/>
              <a:miter/>
            </a:ln>
          </p:spPr>
          <p:txBody>
            <a:bodyPr rtlCol="0" anchor="ctr"/>
            <a:lstStyle/>
            <a:p>
              <a:endParaRPr lang="uk-UA" sz="900"/>
            </a:p>
          </p:txBody>
        </p:sp>
        <p:sp>
          <p:nvSpPr>
            <p:cNvPr id="191" name="Freeform: Shape 190">
              <a:extLst>
                <a:ext uri="{FF2B5EF4-FFF2-40B4-BE49-F238E27FC236}">
                  <a16:creationId xmlns:a16="http://schemas.microsoft.com/office/drawing/2014/main" id="{94D17308-09F3-6A0F-E07F-65A846DF83B4}"/>
                </a:ext>
              </a:extLst>
            </p:cNvPr>
            <p:cNvSpPr/>
            <p:nvPr/>
          </p:nvSpPr>
          <p:spPr>
            <a:xfrm>
              <a:off x="13018045" y="2839064"/>
              <a:ext cx="435077" cy="435077"/>
            </a:xfrm>
            <a:custGeom>
              <a:avLst/>
              <a:gdLst>
                <a:gd name="connsiteX0" fmla="*/ 435077 w 435077"/>
                <a:gd name="connsiteY0" fmla="*/ 435077 h 435077"/>
                <a:gd name="connsiteX1" fmla="*/ 435077 w 435077"/>
                <a:gd name="connsiteY1" fmla="*/ 217539 h 435077"/>
                <a:gd name="connsiteX2" fmla="*/ 435077 w 435077"/>
                <a:gd name="connsiteY2" fmla="*/ 14 h 435077"/>
                <a:gd name="connsiteX3" fmla="*/ 217539 w 435077"/>
                <a:gd name="connsiteY3" fmla="*/ 14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14"/>
                  </a:lnTo>
                  <a:lnTo>
                    <a:pt x="217539" y="14"/>
                  </a:lnTo>
                  <a:lnTo>
                    <a:pt x="435077" y="217539"/>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192" name="Freeform: Shape 191">
              <a:extLst>
                <a:ext uri="{FF2B5EF4-FFF2-40B4-BE49-F238E27FC236}">
                  <a16:creationId xmlns:a16="http://schemas.microsoft.com/office/drawing/2014/main" id="{CA6B9F11-39CD-8572-E1B7-12F63A0580DC}"/>
                </a:ext>
              </a:extLst>
            </p:cNvPr>
            <p:cNvSpPr/>
            <p:nvPr/>
          </p:nvSpPr>
          <p:spPr>
            <a:xfrm>
              <a:off x="14758382" y="2839064"/>
              <a:ext cx="435077" cy="435077"/>
            </a:xfrm>
            <a:custGeom>
              <a:avLst/>
              <a:gdLst>
                <a:gd name="connsiteX0" fmla="*/ 435077 w 435077"/>
                <a:gd name="connsiteY0" fmla="*/ 435077 h 435077"/>
                <a:gd name="connsiteX1" fmla="*/ 435077 w 435077"/>
                <a:gd name="connsiteY1" fmla="*/ 0 h 435077"/>
                <a:gd name="connsiteX2" fmla="*/ 217567 w 435077"/>
                <a:gd name="connsiteY2" fmla="*/ 217539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7" y="217539"/>
                  </a:lnTo>
                  <a:lnTo>
                    <a:pt x="435077" y="435077"/>
                  </a:lnTo>
                  <a:close/>
                  <a:moveTo>
                    <a:pt x="0" y="435077"/>
                  </a:moveTo>
                  <a:lnTo>
                    <a:pt x="0" y="3"/>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193" name="Freeform: Shape 192">
              <a:extLst>
                <a:ext uri="{FF2B5EF4-FFF2-40B4-BE49-F238E27FC236}">
                  <a16:creationId xmlns:a16="http://schemas.microsoft.com/office/drawing/2014/main" id="{7438D8E0-542A-57D0-CDE4-B2108DEA4039}"/>
                </a:ext>
              </a:extLst>
            </p:cNvPr>
            <p:cNvSpPr/>
            <p:nvPr/>
          </p:nvSpPr>
          <p:spPr>
            <a:xfrm>
              <a:off x="13888200" y="2839064"/>
              <a:ext cx="435103" cy="435077"/>
            </a:xfrm>
            <a:custGeom>
              <a:avLst/>
              <a:gdLst>
                <a:gd name="connsiteX0" fmla="*/ 0 w 435103"/>
                <a:gd name="connsiteY0" fmla="*/ 435077 h 435077"/>
                <a:gd name="connsiteX1" fmla="*/ 0 w 435103"/>
                <a:gd name="connsiteY1" fmla="*/ 0 h 435077"/>
                <a:gd name="connsiteX2" fmla="*/ 217539 w 435103"/>
                <a:gd name="connsiteY2" fmla="*/ 217539 h 435077"/>
                <a:gd name="connsiteX3" fmla="*/ 0 w 435103"/>
                <a:gd name="connsiteY3" fmla="*/ 435077 h 435077"/>
                <a:gd name="connsiteX4" fmla="*/ 217565 w 435103"/>
                <a:gd name="connsiteY4" fmla="*/ 435077 h 435077"/>
                <a:gd name="connsiteX5" fmla="*/ 217565 w 435103"/>
                <a:gd name="connsiteY5" fmla="*/ 0 h 435077"/>
                <a:gd name="connsiteX6" fmla="*/ 435104 w 435103"/>
                <a:gd name="connsiteY6" fmla="*/ 217539 h 435077"/>
                <a:gd name="connsiteX7" fmla="*/ 217565 w 435103"/>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103" h="435077">
                  <a:moveTo>
                    <a:pt x="0" y="435077"/>
                  </a:moveTo>
                  <a:lnTo>
                    <a:pt x="0" y="0"/>
                  </a:lnTo>
                  <a:lnTo>
                    <a:pt x="217539" y="217539"/>
                  </a:lnTo>
                  <a:lnTo>
                    <a:pt x="0" y="435077"/>
                  </a:lnTo>
                  <a:close/>
                  <a:moveTo>
                    <a:pt x="217565" y="435077"/>
                  </a:moveTo>
                  <a:lnTo>
                    <a:pt x="217565" y="0"/>
                  </a:lnTo>
                  <a:lnTo>
                    <a:pt x="435104" y="217539"/>
                  </a:lnTo>
                  <a:lnTo>
                    <a:pt x="217565" y="435077"/>
                  </a:lnTo>
                  <a:close/>
                </a:path>
              </a:pathLst>
            </a:custGeom>
            <a:grpFill/>
            <a:ln w="27192" cap="flat">
              <a:noFill/>
              <a:prstDash val="solid"/>
              <a:miter/>
            </a:ln>
          </p:spPr>
          <p:txBody>
            <a:bodyPr rtlCol="0" anchor="ctr"/>
            <a:lstStyle/>
            <a:p>
              <a:endParaRPr lang="uk-UA" sz="900"/>
            </a:p>
          </p:txBody>
        </p:sp>
        <p:sp>
          <p:nvSpPr>
            <p:cNvPr id="194" name="Freeform: Shape 193">
              <a:extLst>
                <a:ext uri="{FF2B5EF4-FFF2-40B4-BE49-F238E27FC236}">
                  <a16:creationId xmlns:a16="http://schemas.microsoft.com/office/drawing/2014/main" id="{974BC314-339A-CBCD-B415-27D0718FA628}"/>
                </a:ext>
              </a:extLst>
            </p:cNvPr>
            <p:cNvSpPr/>
            <p:nvPr/>
          </p:nvSpPr>
          <p:spPr>
            <a:xfrm>
              <a:off x="15628536" y="283906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8"/>
                    <a:pt x="0" y="57694"/>
                    <a:pt x="0" y="0"/>
                  </a:cubicBezTo>
                  <a:lnTo>
                    <a:pt x="217539" y="0"/>
                  </a:lnTo>
                  <a:lnTo>
                    <a:pt x="435077" y="0"/>
                  </a:lnTo>
                  <a:cubicBezTo>
                    <a:pt x="435077" y="57694"/>
                    <a:pt x="412155" y="113038"/>
                    <a:pt x="371367" y="153827"/>
                  </a:cubicBezTo>
                  <a:cubicBezTo>
                    <a:pt x="330578" y="194616"/>
                    <a:pt x="275241" y="217539"/>
                    <a:pt x="217539" y="217539"/>
                  </a:cubicBezTo>
                  <a:cubicBezTo>
                    <a:pt x="159865" y="217539"/>
                    <a:pt x="104527" y="194616"/>
                    <a:pt x="63712" y="153827"/>
                  </a:cubicBezTo>
                  <a:close/>
                  <a:moveTo>
                    <a:pt x="63712" y="281250"/>
                  </a:moveTo>
                  <a:cubicBezTo>
                    <a:pt x="22924" y="322039"/>
                    <a:pt x="0" y="377375"/>
                    <a:pt x="0" y="435077"/>
                  </a:cubicBezTo>
                  <a:lnTo>
                    <a:pt x="217539" y="435077"/>
                  </a:lnTo>
                  <a:lnTo>
                    <a:pt x="435077" y="435077"/>
                  </a:lnTo>
                  <a:cubicBezTo>
                    <a:pt x="435077" y="377375"/>
                    <a:pt x="412155" y="322039"/>
                    <a:pt x="371367" y="281250"/>
                  </a:cubicBezTo>
                  <a:cubicBezTo>
                    <a:pt x="330578" y="240462"/>
                    <a:pt x="275241" y="217539"/>
                    <a:pt x="217539" y="217539"/>
                  </a:cubicBezTo>
                  <a:cubicBezTo>
                    <a:pt x="159865" y="217539"/>
                    <a:pt x="104527" y="240462"/>
                    <a:pt x="63712" y="281250"/>
                  </a:cubicBezTo>
                  <a:close/>
                </a:path>
              </a:pathLst>
            </a:custGeom>
            <a:grpFill/>
            <a:ln w="27192" cap="flat">
              <a:noFill/>
              <a:prstDash val="solid"/>
              <a:miter/>
            </a:ln>
          </p:spPr>
          <p:txBody>
            <a:bodyPr rtlCol="0" anchor="ctr"/>
            <a:lstStyle/>
            <a:p>
              <a:endParaRPr lang="uk-UA" sz="900"/>
            </a:p>
          </p:txBody>
        </p:sp>
        <p:sp>
          <p:nvSpPr>
            <p:cNvPr id="195" name="Freeform: Shape 194">
              <a:extLst>
                <a:ext uri="{FF2B5EF4-FFF2-40B4-BE49-F238E27FC236}">
                  <a16:creationId xmlns:a16="http://schemas.microsoft.com/office/drawing/2014/main" id="{1A1AB5F9-A186-F2F2-DFF3-AC817DFAD4B9}"/>
                </a:ext>
              </a:extLst>
            </p:cNvPr>
            <p:cNvSpPr/>
            <p:nvPr/>
          </p:nvSpPr>
          <p:spPr>
            <a:xfrm>
              <a:off x="16498719" y="2839064"/>
              <a:ext cx="435077" cy="435077"/>
            </a:xfrm>
            <a:custGeom>
              <a:avLst/>
              <a:gdLst>
                <a:gd name="connsiteX0" fmla="*/ 435077 w 435077"/>
                <a:gd name="connsiteY0" fmla="*/ 435077 h 435077"/>
                <a:gd name="connsiteX1" fmla="*/ 435077 w 435077"/>
                <a:gd name="connsiteY1" fmla="*/ 217539 h 435077"/>
                <a:gd name="connsiteX2" fmla="*/ 435077 w 435077"/>
                <a:gd name="connsiteY2" fmla="*/ 14 h 435077"/>
                <a:gd name="connsiteX3" fmla="*/ 217539 w 435077"/>
                <a:gd name="connsiteY3" fmla="*/ 14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0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0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14"/>
                  </a:lnTo>
                  <a:lnTo>
                    <a:pt x="217539" y="14"/>
                  </a:lnTo>
                  <a:lnTo>
                    <a:pt x="435077" y="217539"/>
                  </a:lnTo>
                  <a:lnTo>
                    <a:pt x="217539" y="435077"/>
                  </a:lnTo>
                  <a:lnTo>
                    <a:pt x="435077" y="435077"/>
                  </a:lnTo>
                  <a:close/>
                  <a:moveTo>
                    <a:pt x="0" y="217539"/>
                  </a:moveTo>
                  <a:lnTo>
                    <a:pt x="0" y="0"/>
                  </a:lnTo>
                  <a:lnTo>
                    <a:pt x="217510" y="217539"/>
                  </a:lnTo>
                  <a:lnTo>
                    <a:pt x="0" y="217539"/>
                  </a:lnTo>
                  <a:close/>
                  <a:moveTo>
                    <a:pt x="0" y="435077"/>
                  </a:moveTo>
                  <a:lnTo>
                    <a:pt x="0" y="217539"/>
                  </a:lnTo>
                  <a:lnTo>
                    <a:pt x="217510" y="217539"/>
                  </a:lnTo>
                  <a:lnTo>
                    <a:pt x="0" y="435077"/>
                  </a:lnTo>
                  <a:close/>
                </a:path>
              </a:pathLst>
            </a:custGeom>
            <a:grpFill/>
            <a:ln w="27192" cap="flat">
              <a:noFill/>
              <a:prstDash val="solid"/>
              <a:miter/>
            </a:ln>
          </p:spPr>
          <p:txBody>
            <a:bodyPr rtlCol="0" anchor="ctr"/>
            <a:lstStyle/>
            <a:p>
              <a:endParaRPr lang="uk-UA" sz="900"/>
            </a:p>
          </p:txBody>
        </p:sp>
        <p:sp>
          <p:nvSpPr>
            <p:cNvPr id="196" name="Freeform: Shape 195">
              <a:extLst>
                <a:ext uri="{FF2B5EF4-FFF2-40B4-BE49-F238E27FC236}">
                  <a16:creationId xmlns:a16="http://schemas.microsoft.com/office/drawing/2014/main" id="{E3144E12-520D-9D0D-4802-5064AE228EFE}"/>
                </a:ext>
              </a:extLst>
            </p:cNvPr>
            <p:cNvSpPr/>
            <p:nvPr/>
          </p:nvSpPr>
          <p:spPr>
            <a:xfrm>
              <a:off x="18239029" y="2839064"/>
              <a:ext cx="435077" cy="435077"/>
            </a:xfrm>
            <a:custGeom>
              <a:avLst/>
              <a:gdLst>
                <a:gd name="connsiteX0" fmla="*/ 435077 w 435077"/>
                <a:gd name="connsiteY0" fmla="*/ 435077 h 435077"/>
                <a:gd name="connsiteX1" fmla="*/ 435077 w 435077"/>
                <a:gd name="connsiteY1" fmla="*/ 0 h 435077"/>
                <a:gd name="connsiteX2" fmla="*/ 217565 w 435077"/>
                <a:gd name="connsiteY2" fmla="*/ 217539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39"/>
                  </a:lnTo>
                  <a:lnTo>
                    <a:pt x="435077" y="435077"/>
                  </a:lnTo>
                  <a:close/>
                  <a:moveTo>
                    <a:pt x="0" y="435077"/>
                  </a:moveTo>
                  <a:lnTo>
                    <a:pt x="0" y="3"/>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197" name="Freeform: Shape 196">
              <a:extLst>
                <a:ext uri="{FF2B5EF4-FFF2-40B4-BE49-F238E27FC236}">
                  <a16:creationId xmlns:a16="http://schemas.microsoft.com/office/drawing/2014/main" id="{A428111F-5864-C89E-64FC-C3027DF284D6}"/>
                </a:ext>
              </a:extLst>
            </p:cNvPr>
            <p:cNvSpPr/>
            <p:nvPr/>
          </p:nvSpPr>
          <p:spPr>
            <a:xfrm>
              <a:off x="17368874" y="2839064"/>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198" name="Freeform: Shape 197">
              <a:extLst>
                <a:ext uri="{FF2B5EF4-FFF2-40B4-BE49-F238E27FC236}">
                  <a16:creationId xmlns:a16="http://schemas.microsoft.com/office/drawing/2014/main" id="{ACE1637E-0020-932C-11F6-8A0BDE1C10E3}"/>
                </a:ext>
              </a:extLst>
            </p:cNvPr>
            <p:cNvSpPr/>
            <p:nvPr/>
          </p:nvSpPr>
          <p:spPr>
            <a:xfrm>
              <a:off x="19109210" y="283906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895" y="113038"/>
                    <a:pt x="0" y="57694"/>
                    <a:pt x="0" y="0"/>
                  </a:cubicBezTo>
                  <a:lnTo>
                    <a:pt x="217539" y="0"/>
                  </a:lnTo>
                  <a:lnTo>
                    <a:pt x="435077" y="0"/>
                  </a:lnTo>
                  <a:cubicBezTo>
                    <a:pt x="435077" y="57694"/>
                    <a:pt x="412154" y="113038"/>
                    <a:pt x="371339" y="153827"/>
                  </a:cubicBezTo>
                  <a:cubicBezTo>
                    <a:pt x="330550" y="194616"/>
                    <a:pt x="275215" y="217539"/>
                    <a:pt x="217539" y="217539"/>
                  </a:cubicBezTo>
                  <a:cubicBezTo>
                    <a:pt x="159836" y="217539"/>
                    <a:pt x="104501" y="194616"/>
                    <a:pt x="63712" y="153827"/>
                  </a:cubicBezTo>
                  <a:close/>
                  <a:moveTo>
                    <a:pt x="63712" y="281250"/>
                  </a:moveTo>
                  <a:cubicBezTo>
                    <a:pt x="22895" y="322039"/>
                    <a:pt x="0" y="377375"/>
                    <a:pt x="0" y="435077"/>
                  </a:cubicBezTo>
                  <a:lnTo>
                    <a:pt x="217539" y="435077"/>
                  </a:lnTo>
                  <a:lnTo>
                    <a:pt x="435077" y="435077"/>
                  </a:lnTo>
                  <a:cubicBezTo>
                    <a:pt x="435077" y="377375"/>
                    <a:pt x="412154" y="322039"/>
                    <a:pt x="371339" y="281250"/>
                  </a:cubicBezTo>
                  <a:cubicBezTo>
                    <a:pt x="330550" y="240462"/>
                    <a:pt x="275215" y="217539"/>
                    <a:pt x="217539" y="217539"/>
                  </a:cubicBezTo>
                  <a:cubicBezTo>
                    <a:pt x="159836" y="217539"/>
                    <a:pt x="104501" y="240462"/>
                    <a:pt x="63712" y="281250"/>
                  </a:cubicBezTo>
                  <a:close/>
                </a:path>
              </a:pathLst>
            </a:custGeom>
            <a:grpFill/>
            <a:ln w="27192" cap="flat">
              <a:noFill/>
              <a:prstDash val="solid"/>
              <a:miter/>
            </a:ln>
          </p:spPr>
          <p:txBody>
            <a:bodyPr rtlCol="0" anchor="ctr"/>
            <a:lstStyle/>
            <a:p>
              <a:endParaRPr lang="uk-UA" sz="900"/>
            </a:p>
          </p:txBody>
        </p:sp>
        <p:sp>
          <p:nvSpPr>
            <p:cNvPr id="199" name="Freeform: Shape 198">
              <a:extLst>
                <a:ext uri="{FF2B5EF4-FFF2-40B4-BE49-F238E27FC236}">
                  <a16:creationId xmlns:a16="http://schemas.microsoft.com/office/drawing/2014/main" id="{855FE830-ACB9-ED4E-7C6E-DB74988B56C9}"/>
                </a:ext>
              </a:extLst>
            </p:cNvPr>
            <p:cNvSpPr/>
            <p:nvPr/>
          </p:nvSpPr>
          <p:spPr>
            <a:xfrm>
              <a:off x="19979365" y="2839064"/>
              <a:ext cx="435077" cy="435077"/>
            </a:xfrm>
            <a:custGeom>
              <a:avLst/>
              <a:gdLst>
                <a:gd name="connsiteX0" fmla="*/ 435077 w 435077"/>
                <a:gd name="connsiteY0" fmla="*/ 435077 h 435077"/>
                <a:gd name="connsiteX1" fmla="*/ 435077 w 435077"/>
                <a:gd name="connsiteY1" fmla="*/ 217539 h 435077"/>
                <a:gd name="connsiteX2" fmla="*/ 435077 w 435077"/>
                <a:gd name="connsiteY2" fmla="*/ 14 h 435077"/>
                <a:gd name="connsiteX3" fmla="*/ 217539 w 435077"/>
                <a:gd name="connsiteY3" fmla="*/ 14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14"/>
                  </a:lnTo>
                  <a:lnTo>
                    <a:pt x="217539" y="14"/>
                  </a:lnTo>
                  <a:lnTo>
                    <a:pt x="435077" y="217539"/>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200" name="Freeform: Shape 199">
              <a:extLst>
                <a:ext uri="{FF2B5EF4-FFF2-40B4-BE49-F238E27FC236}">
                  <a16:creationId xmlns:a16="http://schemas.microsoft.com/office/drawing/2014/main" id="{F617B9BC-CE4B-1097-C0C0-5DC0D05ACE9A}"/>
                </a:ext>
              </a:extLst>
            </p:cNvPr>
            <p:cNvSpPr/>
            <p:nvPr/>
          </p:nvSpPr>
          <p:spPr>
            <a:xfrm>
              <a:off x="21719702" y="2839064"/>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3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3"/>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201" name="Freeform: Shape 200">
              <a:extLst>
                <a:ext uri="{FF2B5EF4-FFF2-40B4-BE49-F238E27FC236}">
                  <a16:creationId xmlns:a16="http://schemas.microsoft.com/office/drawing/2014/main" id="{55DD96E5-2398-8DFA-AFDB-D513CA09E923}"/>
                </a:ext>
              </a:extLst>
            </p:cNvPr>
            <p:cNvSpPr/>
            <p:nvPr/>
          </p:nvSpPr>
          <p:spPr>
            <a:xfrm>
              <a:off x="20849520" y="2839064"/>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65 w 435077"/>
                <a:gd name="connsiteY4" fmla="*/ 435077 h 435077"/>
                <a:gd name="connsiteX5" fmla="*/ 217565 w 435077"/>
                <a:gd name="connsiteY5" fmla="*/ 0 h 435077"/>
                <a:gd name="connsiteX6" fmla="*/ 435077 w 435077"/>
                <a:gd name="connsiteY6" fmla="*/ 217539 h 435077"/>
                <a:gd name="connsiteX7" fmla="*/ 217565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65" y="435077"/>
                  </a:moveTo>
                  <a:lnTo>
                    <a:pt x="217565" y="0"/>
                  </a:lnTo>
                  <a:lnTo>
                    <a:pt x="435077" y="217539"/>
                  </a:lnTo>
                  <a:lnTo>
                    <a:pt x="217565" y="435077"/>
                  </a:lnTo>
                  <a:close/>
                </a:path>
              </a:pathLst>
            </a:custGeom>
            <a:grpFill/>
            <a:ln w="27192" cap="flat">
              <a:noFill/>
              <a:prstDash val="solid"/>
              <a:miter/>
            </a:ln>
          </p:spPr>
          <p:txBody>
            <a:bodyPr rtlCol="0" anchor="ctr"/>
            <a:lstStyle/>
            <a:p>
              <a:endParaRPr lang="uk-UA" sz="900"/>
            </a:p>
          </p:txBody>
        </p:sp>
        <p:sp>
          <p:nvSpPr>
            <p:cNvPr id="202" name="Freeform: Shape 201">
              <a:extLst>
                <a:ext uri="{FF2B5EF4-FFF2-40B4-BE49-F238E27FC236}">
                  <a16:creationId xmlns:a16="http://schemas.microsoft.com/office/drawing/2014/main" id="{3C09A8B5-346A-4D63-51EE-0F323BA69DBC}"/>
                </a:ext>
              </a:extLst>
            </p:cNvPr>
            <p:cNvSpPr/>
            <p:nvPr/>
          </p:nvSpPr>
          <p:spPr>
            <a:xfrm>
              <a:off x="22589856" y="283906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8"/>
                    <a:pt x="0" y="57694"/>
                    <a:pt x="0" y="0"/>
                  </a:cubicBezTo>
                  <a:lnTo>
                    <a:pt x="217539" y="0"/>
                  </a:lnTo>
                  <a:lnTo>
                    <a:pt x="435077" y="0"/>
                  </a:lnTo>
                  <a:cubicBezTo>
                    <a:pt x="435077" y="57694"/>
                    <a:pt x="412155" y="113038"/>
                    <a:pt x="371367" y="153827"/>
                  </a:cubicBezTo>
                  <a:cubicBezTo>
                    <a:pt x="330578" y="194616"/>
                    <a:pt x="275241" y="217539"/>
                    <a:pt x="217539" y="217539"/>
                  </a:cubicBezTo>
                  <a:cubicBezTo>
                    <a:pt x="159838" y="217539"/>
                    <a:pt x="104529" y="194616"/>
                    <a:pt x="63712" y="153827"/>
                  </a:cubicBezTo>
                  <a:close/>
                  <a:moveTo>
                    <a:pt x="63712" y="281250"/>
                  </a:moveTo>
                  <a:cubicBezTo>
                    <a:pt x="22924" y="322039"/>
                    <a:pt x="0" y="377375"/>
                    <a:pt x="0" y="435077"/>
                  </a:cubicBezTo>
                  <a:lnTo>
                    <a:pt x="217539" y="435077"/>
                  </a:lnTo>
                  <a:lnTo>
                    <a:pt x="435077" y="435077"/>
                  </a:lnTo>
                  <a:cubicBezTo>
                    <a:pt x="435077" y="377375"/>
                    <a:pt x="412155" y="322039"/>
                    <a:pt x="371367" y="281250"/>
                  </a:cubicBezTo>
                  <a:cubicBezTo>
                    <a:pt x="330578" y="240462"/>
                    <a:pt x="275241" y="217539"/>
                    <a:pt x="217539" y="217539"/>
                  </a:cubicBezTo>
                  <a:cubicBezTo>
                    <a:pt x="159838" y="217539"/>
                    <a:pt x="104529" y="240462"/>
                    <a:pt x="63712" y="281250"/>
                  </a:cubicBezTo>
                  <a:close/>
                </a:path>
              </a:pathLst>
            </a:custGeom>
            <a:grpFill/>
            <a:ln w="27192" cap="flat">
              <a:noFill/>
              <a:prstDash val="solid"/>
              <a:miter/>
            </a:ln>
          </p:spPr>
          <p:txBody>
            <a:bodyPr rtlCol="0" anchor="ctr"/>
            <a:lstStyle/>
            <a:p>
              <a:endParaRPr lang="uk-UA" sz="900"/>
            </a:p>
          </p:txBody>
        </p:sp>
        <p:sp>
          <p:nvSpPr>
            <p:cNvPr id="203" name="Freeform: Shape 202">
              <a:extLst>
                <a:ext uri="{FF2B5EF4-FFF2-40B4-BE49-F238E27FC236}">
                  <a16:creationId xmlns:a16="http://schemas.microsoft.com/office/drawing/2014/main" id="{50203639-BA89-D49F-7297-EB1EAA8F15E8}"/>
                </a:ext>
              </a:extLst>
            </p:cNvPr>
            <p:cNvSpPr/>
            <p:nvPr/>
          </p:nvSpPr>
          <p:spPr>
            <a:xfrm>
              <a:off x="23460011" y="2839064"/>
              <a:ext cx="435105" cy="435077"/>
            </a:xfrm>
            <a:custGeom>
              <a:avLst/>
              <a:gdLst>
                <a:gd name="connsiteX0" fmla="*/ 435106 w 435105"/>
                <a:gd name="connsiteY0" fmla="*/ 435077 h 435077"/>
                <a:gd name="connsiteX1" fmla="*/ 435106 w 435105"/>
                <a:gd name="connsiteY1" fmla="*/ 217539 h 435077"/>
                <a:gd name="connsiteX2" fmla="*/ 435106 w 435105"/>
                <a:gd name="connsiteY2" fmla="*/ 14 h 435077"/>
                <a:gd name="connsiteX3" fmla="*/ 217567 w 435105"/>
                <a:gd name="connsiteY3" fmla="*/ 14 h 435077"/>
                <a:gd name="connsiteX4" fmla="*/ 435106 w 435105"/>
                <a:gd name="connsiteY4" fmla="*/ 217539 h 435077"/>
                <a:gd name="connsiteX5" fmla="*/ 217567 w 435105"/>
                <a:gd name="connsiteY5" fmla="*/ 435077 h 435077"/>
                <a:gd name="connsiteX6" fmla="*/ 435106 w 435105"/>
                <a:gd name="connsiteY6" fmla="*/ 435077 h 435077"/>
                <a:gd name="connsiteX7" fmla="*/ 0 w 435105"/>
                <a:gd name="connsiteY7" fmla="*/ 217539 h 435077"/>
                <a:gd name="connsiteX8" fmla="*/ 0 w 435105"/>
                <a:gd name="connsiteY8" fmla="*/ 0 h 435077"/>
                <a:gd name="connsiteX9" fmla="*/ 217539 w 435105"/>
                <a:gd name="connsiteY9" fmla="*/ 217539 h 435077"/>
                <a:gd name="connsiteX10" fmla="*/ 0 w 435105"/>
                <a:gd name="connsiteY10" fmla="*/ 217539 h 435077"/>
                <a:gd name="connsiteX11" fmla="*/ 0 w 435105"/>
                <a:gd name="connsiteY11" fmla="*/ 435077 h 435077"/>
                <a:gd name="connsiteX12" fmla="*/ 0 w 435105"/>
                <a:gd name="connsiteY12" fmla="*/ 217539 h 435077"/>
                <a:gd name="connsiteX13" fmla="*/ 217539 w 435105"/>
                <a:gd name="connsiteY13" fmla="*/ 217539 h 435077"/>
                <a:gd name="connsiteX14" fmla="*/ 0 w 435105"/>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105" h="435077">
                  <a:moveTo>
                    <a:pt x="435106" y="435077"/>
                  </a:moveTo>
                  <a:lnTo>
                    <a:pt x="435106" y="217539"/>
                  </a:lnTo>
                  <a:lnTo>
                    <a:pt x="435106" y="14"/>
                  </a:lnTo>
                  <a:lnTo>
                    <a:pt x="217567" y="14"/>
                  </a:lnTo>
                  <a:lnTo>
                    <a:pt x="435106" y="217539"/>
                  </a:lnTo>
                  <a:lnTo>
                    <a:pt x="217567" y="435077"/>
                  </a:lnTo>
                  <a:lnTo>
                    <a:pt x="435106"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04" name="Freeform: Shape 203">
              <a:extLst>
                <a:ext uri="{FF2B5EF4-FFF2-40B4-BE49-F238E27FC236}">
                  <a16:creationId xmlns:a16="http://schemas.microsoft.com/office/drawing/2014/main" id="{C6921872-8B4A-55D1-5694-32B1F9A02A54}"/>
                </a:ext>
              </a:extLst>
            </p:cNvPr>
            <p:cNvSpPr/>
            <p:nvPr/>
          </p:nvSpPr>
          <p:spPr>
            <a:xfrm>
              <a:off x="24330194" y="2839064"/>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205" name="Freeform: Shape 204">
              <a:extLst>
                <a:ext uri="{FF2B5EF4-FFF2-40B4-BE49-F238E27FC236}">
                  <a16:creationId xmlns:a16="http://schemas.microsoft.com/office/drawing/2014/main" id="{C3FA843B-7F3F-1066-4CAE-DBCF6994DA23}"/>
                </a:ext>
              </a:extLst>
            </p:cNvPr>
            <p:cNvSpPr/>
            <p:nvPr/>
          </p:nvSpPr>
          <p:spPr>
            <a:xfrm>
              <a:off x="835769" y="3709219"/>
              <a:ext cx="435077" cy="435077"/>
            </a:xfrm>
            <a:custGeom>
              <a:avLst/>
              <a:gdLst>
                <a:gd name="connsiteX0" fmla="*/ 0 w 435077"/>
                <a:gd name="connsiteY0" fmla="*/ 435077 h 435077"/>
                <a:gd name="connsiteX1" fmla="*/ 217511 w 435077"/>
                <a:gd name="connsiteY1" fmla="*/ 435077 h 435077"/>
                <a:gd name="connsiteX2" fmla="*/ 217511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11" y="435077"/>
                  </a:lnTo>
                  <a:lnTo>
                    <a:pt x="217511"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206" name="Freeform: Shape 205">
              <a:extLst>
                <a:ext uri="{FF2B5EF4-FFF2-40B4-BE49-F238E27FC236}">
                  <a16:creationId xmlns:a16="http://schemas.microsoft.com/office/drawing/2014/main" id="{6E3BD570-2113-EC46-D9BE-90708FBDF7C3}"/>
                </a:ext>
              </a:extLst>
            </p:cNvPr>
            <p:cNvSpPr/>
            <p:nvPr/>
          </p:nvSpPr>
          <p:spPr>
            <a:xfrm>
              <a:off x="-34398" y="3709219"/>
              <a:ext cx="435063" cy="435077"/>
            </a:xfrm>
            <a:custGeom>
              <a:avLst/>
              <a:gdLst>
                <a:gd name="connsiteX0" fmla="*/ 217525 w 435063"/>
                <a:gd name="connsiteY0" fmla="*/ 217539 h 435077"/>
                <a:gd name="connsiteX1" fmla="*/ 217525 w 435063"/>
                <a:gd name="connsiteY1" fmla="*/ 0 h 435077"/>
                <a:gd name="connsiteX2" fmla="*/ 0 w 435063"/>
                <a:gd name="connsiteY2" fmla="*/ 0 h 435077"/>
                <a:gd name="connsiteX3" fmla="*/ 217525 w 435063"/>
                <a:gd name="connsiteY3" fmla="*/ 217539 h 435077"/>
                <a:gd name="connsiteX4" fmla="*/ 0 w 435063"/>
                <a:gd name="connsiteY4" fmla="*/ 435077 h 435077"/>
                <a:gd name="connsiteX5" fmla="*/ 217525 w 435063"/>
                <a:gd name="connsiteY5" fmla="*/ 435077 h 435077"/>
                <a:gd name="connsiteX6" fmla="*/ 217525 w 435063"/>
                <a:gd name="connsiteY6" fmla="*/ 435077 h 435077"/>
                <a:gd name="connsiteX7" fmla="*/ 435064 w 435063"/>
                <a:gd name="connsiteY7" fmla="*/ 217539 h 435077"/>
                <a:gd name="connsiteX8" fmla="*/ 435064 w 435063"/>
                <a:gd name="connsiteY8" fmla="*/ 217539 h 435077"/>
                <a:gd name="connsiteX9" fmla="*/ 435064 w 435063"/>
                <a:gd name="connsiteY9" fmla="*/ 217539 h 435077"/>
                <a:gd name="connsiteX10" fmla="*/ 435064 w 435063"/>
                <a:gd name="connsiteY10" fmla="*/ 217539 h 435077"/>
                <a:gd name="connsiteX11" fmla="*/ 435064 w 435063"/>
                <a:gd name="connsiteY11" fmla="*/ 217539 h 435077"/>
                <a:gd name="connsiteX12" fmla="*/ 217525 w 435063"/>
                <a:gd name="connsiteY12" fmla="*/ 0 h 435077"/>
                <a:gd name="connsiteX13" fmla="*/ 217525 w 435063"/>
                <a:gd name="connsiteY13" fmla="*/ 217539 h 435077"/>
                <a:gd name="connsiteX14" fmla="*/ 217525 w 435063"/>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63" h="435077">
                  <a:moveTo>
                    <a:pt x="217525" y="217539"/>
                  </a:moveTo>
                  <a:lnTo>
                    <a:pt x="217525" y="0"/>
                  </a:lnTo>
                  <a:lnTo>
                    <a:pt x="0" y="0"/>
                  </a:lnTo>
                  <a:lnTo>
                    <a:pt x="217525" y="217539"/>
                  </a:lnTo>
                  <a:lnTo>
                    <a:pt x="0" y="435077"/>
                  </a:lnTo>
                  <a:lnTo>
                    <a:pt x="217525" y="435077"/>
                  </a:lnTo>
                  <a:lnTo>
                    <a:pt x="217525" y="435077"/>
                  </a:lnTo>
                  <a:lnTo>
                    <a:pt x="435064" y="217539"/>
                  </a:lnTo>
                  <a:lnTo>
                    <a:pt x="435064" y="217539"/>
                  </a:lnTo>
                  <a:lnTo>
                    <a:pt x="435064" y="217539"/>
                  </a:lnTo>
                  <a:lnTo>
                    <a:pt x="435064" y="217539"/>
                  </a:lnTo>
                  <a:lnTo>
                    <a:pt x="435064" y="217539"/>
                  </a:lnTo>
                  <a:lnTo>
                    <a:pt x="217525" y="0"/>
                  </a:lnTo>
                  <a:lnTo>
                    <a:pt x="217525" y="217539"/>
                  </a:lnTo>
                  <a:lnTo>
                    <a:pt x="217525" y="217539"/>
                  </a:lnTo>
                  <a:close/>
                </a:path>
              </a:pathLst>
            </a:custGeom>
            <a:grpFill/>
            <a:ln w="27192" cap="flat">
              <a:noFill/>
              <a:prstDash val="solid"/>
              <a:miter/>
            </a:ln>
          </p:spPr>
          <p:txBody>
            <a:bodyPr rtlCol="0" anchor="ctr"/>
            <a:lstStyle/>
            <a:p>
              <a:endParaRPr lang="uk-UA" sz="900"/>
            </a:p>
          </p:txBody>
        </p:sp>
        <p:sp>
          <p:nvSpPr>
            <p:cNvPr id="207" name="Freeform: Shape 206">
              <a:extLst>
                <a:ext uri="{FF2B5EF4-FFF2-40B4-BE49-F238E27FC236}">
                  <a16:creationId xmlns:a16="http://schemas.microsoft.com/office/drawing/2014/main" id="{E576E215-A85F-A72B-48D1-10B0D63E84A8}"/>
                </a:ext>
              </a:extLst>
            </p:cNvPr>
            <p:cNvSpPr/>
            <p:nvPr/>
          </p:nvSpPr>
          <p:spPr>
            <a:xfrm>
              <a:off x="1705924" y="3709219"/>
              <a:ext cx="435104" cy="435077"/>
            </a:xfrm>
            <a:custGeom>
              <a:avLst/>
              <a:gdLst>
                <a:gd name="connsiteX0" fmla="*/ 217539 w 435104"/>
                <a:gd name="connsiteY0" fmla="*/ 0 h 435077"/>
                <a:gd name="connsiteX1" fmla="*/ 0 w 435104"/>
                <a:gd name="connsiteY1" fmla="*/ 0 h 435077"/>
                <a:gd name="connsiteX2" fmla="*/ 0 w 435104"/>
                <a:gd name="connsiteY2" fmla="*/ 217539 h 435077"/>
                <a:gd name="connsiteX3" fmla="*/ 217539 w 435104"/>
                <a:gd name="connsiteY3" fmla="*/ 0 h 435077"/>
                <a:gd name="connsiteX4" fmla="*/ 435104 w 435104"/>
                <a:gd name="connsiteY4" fmla="*/ 0 h 435077"/>
                <a:gd name="connsiteX5" fmla="*/ 435104 w 435104"/>
                <a:gd name="connsiteY5" fmla="*/ 217539 h 435077"/>
                <a:gd name="connsiteX6" fmla="*/ 217566 w 435104"/>
                <a:gd name="connsiteY6" fmla="*/ 0 h 435077"/>
                <a:gd name="connsiteX7" fmla="*/ 435104 w 435104"/>
                <a:gd name="connsiteY7" fmla="*/ 0 h 435077"/>
                <a:gd name="connsiteX8" fmla="*/ 217566 w 435104"/>
                <a:gd name="connsiteY8" fmla="*/ 435077 h 435077"/>
                <a:gd name="connsiteX9" fmla="*/ 435104 w 435104"/>
                <a:gd name="connsiteY9" fmla="*/ 217539 h 435077"/>
                <a:gd name="connsiteX10" fmla="*/ 435104 w 435104"/>
                <a:gd name="connsiteY10" fmla="*/ 435077 h 435077"/>
                <a:gd name="connsiteX11" fmla="*/ 217566 w 435104"/>
                <a:gd name="connsiteY11" fmla="*/ 435077 h 435077"/>
                <a:gd name="connsiteX12" fmla="*/ 217566 w 435104"/>
                <a:gd name="connsiteY12" fmla="*/ 435077 h 435077"/>
                <a:gd name="connsiteX13" fmla="*/ 27 w 435104"/>
                <a:gd name="connsiteY13" fmla="*/ 217539 h 435077"/>
                <a:gd name="connsiteX14" fmla="*/ 27 w 435104"/>
                <a:gd name="connsiteY14" fmla="*/ 435077 h 435077"/>
                <a:gd name="connsiteX15" fmla="*/ 217566 w 435104"/>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4" h="435077">
                  <a:moveTo>
                    <a:pt x="217539" y="0"/>
                  </a:moveTo>
                  <a:lnTo>
                    <a:pt x="0" y="0"/>
                  </a:lnTo>
                  <a:lnTo>
                    <a:pt x="0" y="217539"/>
                  </a:lnTo>
                  <a:lnTo>
                    <a:pt x="217539" y="0"/>
                  </a:lnTo>
                  <a:close/>
                  <a:moveTo>
                    <a:pt x="435104" y="0"/>
                  </a:moveTo>
                  <a:lnTo>
                    <a:pt x="435104" y="217539"/>
                  </a:lnTo>
                  <a:lnTo>
                    <a:pt x="217566" y="0"/>
                  </a:lnTo>
                  <a:lnTo>
                    <a:pt x="435104" y="0"/>
                  </a:lnTo>
                  <a:close/>
                  <a:moveTo>
                    <a:pt x="217566" y="435077"/>
                  </a:moveTo>
                  <a:lnTo>
                    <a:pt x="435104" y="217539"/>
                  </a:lnTo>
                  <a:lnTo>
                    <a:pt x="435104" y="435077"/>
                  </a:lnTo>
                  <a:lnTo>
                    <a:pt x="217566" y="435077"/>
                  </a:lnTo>
                  <a:close/>
                  <a:moveTo>
                    <a:pt x="217566" y="435077"/>
                  </a:moveTo>
                  <a:lnTo>
                    <a:pt x="27" y="217539"/>
                  </a:lnTo>
                  <a:lnTo>
                    <a:pt x="27" y="435077"/>
                  </a:lnTo>
                  <a:lnTo>
                    <a:pt x="217566" y="435077"/>
                  </a:lnTo>
                  <a:close/>
                </a:path>
              </a:pathLst>
            </a:custGeom>
            <a:grpFill/>
            <a:ln w="27192" cap="flat">
              <a:noFill/>
              <a:prstDash val="solid"/>
              <a:miter/>
            </a:ln>
          </p:spPr>
          <p:txBody>
            <a:bodyPr rtlCol="0" anchor="ctr"/>
            <a:lstStyle/>
            <a:p>
              <a:endParaRPr lang="uk-UA" sz="900"/>
            </a:p>
          </p:txBody>
        </p:sp>
        <p:sp>
          <p:nvSpPr>
            <p:cNvPr id="208" name="Freeform: Shape 207">
              <a:extLst>
                <a:ext uri="{FF2B5EF4-FFF2-40B4-BE49-F238E27FC236}">
                  <a16:creationId xmlns:a16="http://schemas.microsoft.com/office/drawing/2014/main" id="{1ACF2AE2-FA22-1DB9-8A0C-1107791B0A62}"/>
                </a:ext>
              </a:extLst>
            </p:cNvPr>
            <p:cNvSpPr/>
            <p:nvPr/>
          </p:nvSpPr>
          <p:spPr>
            <a:xfrm>
              <a:off x="2576106" y="3709219"/>
              <a:ext cx="435077" cy="435077"/>
            </a:xfrm>
            <a:custGeom>
              <a:avLst/>
              <a:gdLst>
                <a:gd name="connsiteX0" fmla="*/ 371366 w 435077"/>
                <a:gd name="connsiteY0" fmla="*/ 63712 h 435077"/>
                <a:gd name="connsiteX1" fmla="*/ 435077 w 435077"/>
                <a:gd name="connsiteY1" fmla="*/ 217539 h 435077"/>
                <a:gd name="connsiteX2" fmla="*/ 218925 w 435077"/>
                <a:gd name="connsiteY2" fmla="*/ 217539 h 435077"/>
                <a:gd name="connsiteX3" fmla="*/ 371366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25 w 435077"/>
                <a:gd name="connsiteY8" fmla="*/ 217539 h 435077"/>
                <a:gd name="connsiteX9" fmla="*/ 0 w 435077"/>
                <a:gd name="connsiteY9" fmla="*/ 217539 h 435077"/>
                <a:gd name="connsiteX10" fmla="*/ 63712 w 435077"/>
                <a:gd name="connsiteY10" fmla="*/ 63712 h 435077"/>
                <a:gd name="connsiteX11" fmla="*/ 217539 w 435077"/>
                <a:gd name="connsiteY11" fmla="*/ 0 h 435077"/>
                <a:gd name="connsiteX12" fmla="*/ 371366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2"/>
                  </a:moveTo>
                  <a:cubicBezTo>
                    <a:pt x="412154" y="104500"/>
                    <a:pt x="435077" y="159837"/>
                    <a:pt x="435077" y="217539"/>
                  </a:cubicBezTo>
                  <a:lnTo>
                    <a:pt x="218925" y="217539"/>
                  </a:lnTo>
                  <a:cubicBezTo>
                    <a:pt x="276138" y="217892"/>
                    <a:pt x="330904" y="240788"/>
                    <a:pt x="371366" y="281250"/>
                  </a:cubicBezTo>
                  <a:cubicBezTo>
                    <a:pt x="412154" y="322039"/>
                    <a:pt x="435077" y="377375"/>
                    <a:pt x="435077" y="435077"/>
                  </a:cubicBezTo>
                  <a:lnTo>
                    <a:pt x="217539" y="435077"/>
                  </a:lnTo>
                  <a:lnTo>
                    <a:pt x="0" y="435077"/>
                  </a:lnTo>
                  <a:cubicBezTo>
                    <a:pt x="0" y="377375"/>
                    <a:pt x="22923" y="322039"/>
                    <a:pt x="63712" y="281250"/>
                  </a:cubicBezTo>
                  <a:cubicBezTo>
                    <a:pt x="104174" y="240788"/>
                    <a:pt x="158939" y="217892"/>
                    <a:pt x="216125" y="217539"/>
                  </a:cubicBezTo>
                  <a:lnTo>
                    <a:pt x="0" y="217539"/>
                  </a:lnTo>
                  <a:cubicBezTo>
                    <a:pt x="0" y="159837"/>
                    <a:pt x="22923" y="104500"/>
                    <a:pt x="63712" y="63712"/>
                  </a:cubicBezTo>
                  <a:cubicBezTo>
                    <a:pt x="104500" y="22923"/>
                    <a:pt x="159837" y="0"/>
                    <a:pt x="217539" y="0"/>
                  </a:cubicBezTo>
                  <a:cubicBezTo>
                    <a:pt x="275214" y="0"/>
                    <a:pt x="330550" y="22923"/>
                    <a:pt x="371366" y="63712"/>
                  </a:cubicBezTo>
                  <a:close/>
                </a:path>
              </a:pathLst>
            </a:custGeom>
            <a:grpFill/>
            <a:ln w="27192" cap="flat">
              <a:noFill/>
              <a:prstDash val="solid"/>
              <a:miter/>
            </a:ln>
          </p:spPr>
          <p:txBody>
            <a:bodyPr rtlCol="0" anchor="ctr"/>
            <a:lstStyle/>
            <a:p>
              <a:endParaRPr lang="uk-UA" sz="900"/>
            </a:p>
          </p:txBody>
        </p:sp>
        <p:sp>
          <p:nvSpPr>
            <p:cNvPr id="209" name="Freeform: Shape 208">
              <a:extLst>
                <a:ext uri="{FF2B5EF4-FFF2-40B4-BE49-F238E27FC236}">
                  <a16:creationId xmlns:a16="http://schemas.microsoft.com/office/drawing/2014/main" id="{C00FE9F8-27E0-DC00-ADB7-39B7CC74A4AA}"/>
                </a:ext>
              </a:extLst>
            </p:cNvPr>
            <p:cNvSpPr/>
            <p:nvPr/>
          </p:nvSpPr>
          <p:spPr>
            <a:xfrm>
              <a:off x="4316442" y="3709219"/>
              <a:ext cx="435050" cy="435077"/>
            </a:xfrm>
            <a:custGeom>
              <a:avLst/>
              <a:gdLst>
                <a:gd name="connsiteX0" fmla="*/ 0 w 435050"/>
                <a:gd name="connsiteY0" fmla="*/ 435077 h 435077"/>
                <a:gd name="connsiteX1" fmla="*/ 217512 w 435050"/>
                <a:gd name="connsiteY1" fmla="*/ 435077 h 435077"/>
                <a:gd name="connsiteX2" fmla="*/ 217512 w 435050"/>
                <a:gd name="connsiteY2" fmla="*/ 217539 h 435077"/>
                <a:gd name="connsiteX3" fmla="*/ 0 w 435050"/>
                <a:gd name="connsiteY3" fmla="*/ 435077 h 435077"/>
                <a:gd name="connsiteX4" fmla="*/ 217512 w 435050"/>
                <a:gd name="connsiteY4" fmla="*/ 0 h 435077"/>
                <a:gd name="connsiteX5" fmla="*/ 0 w 435050"/>
                <a:gd name="connsiteY5" fmla="*/ 0 h 435077"/>
                <a:gd name="connsiteX6" fmla="*/ 217512 w 435050"/>
                <a:gd name="connsiteY6" fmla="*/ 217539 h 435077"/>
                <a:gd name="connsiteX7" fmla="*/ 217512 w 435050"/>
                <a:gd name="connsiteY7" fmla="*/ 0 h 435077"/>
                <a:gd name="connsiteX8" fmla="*/ 435051 w 435050"/>
                <a:gd name="connsiteY8" fmla="*/ 435077 h 435077"/>
                <a:gd name="connsiteX9" fmla="*/ 217539 w 435050"/>
                <a:gd name="connsiteY9" fmla="*/ 435077 h 435077"/>
                <a:gd name="connsiteX10" fmla="*/ 435051 w 435050"/>
                <a:gd name="connsiteY10" fmla="*/ 217539 h 435077"/>
                <a:gd name="connsiteX11" fmla="*/ 435051 w 435050"/>
                <a:gd name="connsiteY11" fmla="*/ 435077 h 435077"/>
                <a:gd name="connsiteX12" fmla="*/ 435051 w 435050"/>
                <a:gd name="connsiteY12" fmla="*/ 0 h 435077"/>
                <a:gd name="connsiteX13" fmla="*/ 217539 w 435050"/>
                <a:gd name="connsiteY13" fmla="*/ 0 h 435077"/>
                <a:gd name="connsiteX14" fmla="*/ 435051 w 435050"/>
                <a:gd name="connsiteY14" fmla="*/ 217539 h 435077"/>
                <a:gd name="connsiteX15" fmla="*/ 435051 w 435050"/>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50" h="435077">
                  <a:moveTo>
                    <a:pt x="0" y="435077"/>
                  </a:moveTo>
                  <a:lnTo>
                    <a:pt x="217512" y="435077"/>
                  </a:lnTo>
                  <a:lnTo>
                    <a:pt x="217512" y="217539"/>
                  </a:lnTo>
                  <a:lnTo>
                    <a:pt x="0" y="435077"/>
                  </a:lnTo>
                  <a:close/>
                  <a:moveTo>
                    <a:pt x="217512" y="0"/>
                  </a:moveTo>
                  <a:lnTo>
                    <a:pt x="0" y="0"/>
                  </a:lnTo>
                  <a:lnTo>
                    <a:pt x="217512" y="217539"/>
                  </a:lnTo>
                  <a:lnTo>
                    <a:pt x="217512" y="0"/>
                  </a:lnTo>
                  <a:close/>
                  <a:moveTo>
                    <a:pt x="435051" y="435077"/>
                  </a:moveTo>
                  <a:lnTo>
                    <a:pt x="217539" y="435077"/>
                  </a:lnTo>
                  <a:lnTo>
                    <a:pt x="435051" y="217539"/>
                  </a:lnTo>
                  <a:lnTo>
                    <a:pt x="435051" y="435077"/>
                  </a:lnTo>
                  <a:close/>
                  <a:moveTo>
                    <a:pt x="435051" y="0"/>
                  </a:moveTo>
                  <a:lnTo>
                    <a:pt x="217539" y="0"/>
                  </a:lnTo>
                  <a:lnTo>
                    <a:pt x="435051" y="217539"/>
                  </a:lnTo>
                  <a:lnTo>
                    <a:pt x="435051" y="0"/>
                  </a:lnTo>
                  <a:close/>
                </a:path>
              </a:pathLst>
            </a:custGeom>
            <a:grpFill/>
            <a:ln w="27192" cap="flat">
              <a:noFill/>
              <a:prstDash val="solid"/>
              <a:miter/>
            </a:ln>
          </p:spPr>
          <p:txBody>
            <a:bodyPr rtlCol="0" anchor="ctr"/>
            <a:lstStyle/>
            <a:p>
              <a:endParaRPr lang="uk-UA" sz="900"/>
            </a:p>
          </p:txBody>
        </p:sp>
        <p:sp>
          <p:nvSpPr>
            <p:cNvPr id="210" name="Freeform: Shape 209">
              <a:extLst>
                <a:ext uri="{FF2B5EF4-FFF2-40B4-BE49-F238E27FC236}">
                  <a16:creationId xmlns:a16="http://schemas.microsoft.com/office/drawing/2014/main" id="{FA0C44CD-693B-C727-2245-F7CD31A4C74B}"/>
                </a:ext>
              </a:extLst>
            </p:cNvPr>
            <p:cNvSpPr/>
            <p:nvPr/>
          </p:nvSpPr>
          <p:spPr>
            <a:xfrm>
              <a:off x="3446261" y="370921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211" name="Freeform: Shape 210">
              <a:extLst>
                <a:ext uri="{FF2B5EF4-FFF2-40B4-BE49-F238E27FC236}">
                  <a16:creationId xmlns:a16="http://schemas.microsoft.com/office/drawing/2014/main" id="{2620EFF1-F568-F6A5-F4E1-017926A4FA3E}"/>
                </a:ext>
              </a:extLst>
            </p:cNvPr>
            <p:cNvSpPr/>
            <p:nvPr/>
          </p:nvSpPr>
          <p:spPr>
            <a:xfrm>
              <a:off x="5186597" y="3709219"/>
              <a:ext cx="435077" cy="435077"/>
            </a:xfrm>
            <a:custGeom>
              <a:avLst/>
              <a:gdLst>
                <a:gd name="connsiteX0" fmla="*/ 217539 w 435077"/>
                <a:gd name="connsiteY0" fmla="*/ 0 h 435077"/>
                <a:gd name="connsiteX1" fmla="*/ 217539 w 435077"/>
                <a:gd name="connsiteY1" fmla="*/ 0 h 435077"/>
                <a:gd name="connsiteX2" fmla="*/ 0 w 435077"/>
                <a:gd name="connsiteY2" fmla="*/ 0 h 435077"/>
                <a:gd name="connsiteX3" fmla="*/ 0 w 435077"/>
                <a:gd name="connsiteY3" fmla="*/ 217539 h 435077"/>
                <a:gd name="connsiteX4" fmla="*/ 217539 w 435077"/>
                <a:gd name="connsiteY4" fmla="*/ 0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217539" y="0"/>
                  </a:lnTo>
                  <a:lnTo>
                    <a:pt x="0" y="0"/>
                  </a:lnTo>
                  <a:lnTo>
                    <a:pt x="0" y="217539"/>
                  </a:lnTo>
                  <a:lnTo>
                    <a:pt x="217539" y="0"/>
                  </a:lnTo>
                  <a:lnTo>
                    <a:pt x="435077" y="217539"/>
                  </a:lnTo>
                  <a:lnTo>
                    <a:pt x="217539" y="435077"/>
                  </a:lnTo>
                  <a:lnTo>
                    <a:pt x="0" y="217539"/>
                  </a:lnTo>
                  <a:lnTo>
                    <a:pt x="0" y="435077"/>
                  </a:lnTo>
                  <a:lnTo>
                    <a:pt x="217539" y="435077"/>
                  </a:lnTo>
                  <a:lnTo>
                    <a:pt x="435077" y="435077"/>
                  </a:lnTo>
                  <a:lnTo>
                    <a:pt x="435077" y="217539"/>
                  </a:lnTo>
                  <a:lnTo>
                    <a:pt x="435077" y="0"/>
                  </a:lnTo>
                  <a:lnTo>
                    <a:pt x="217539" y="0"/>
                  </a:lnTo>
                  <a:close/>
                </a:path>
              </a:pathLst>
            </a:custGeom>
            <a:grpFill/>
            <a:ln w="27192" cap="flat">
              <a:noFill/>
              <a:prstDash val="solid"/>
              <a:miter/>
            </a:ln>
          </p:spPr>
          <p:txBody>
            <a:bodyPr rtlCol="0" anchor="ctr"/>
            <a:lstStyle/>
            <a:p>
              <a:endParaRPr lang="uk-UA" sz="900"/>
            </a:p>
          </p:txBody>
        </p:sp>
        <p:sp>
          <p:nvSpPr>
            <p:cNvPr id="212" name="Freeform: Shape 211">
              <a:extLst>
                <a:ext uri="{FF2B5EF4-FFF2-40B4-BE49-F238E27FC236}">
                  <a16:creationId xmlns:a16="http://schemas.microsoft.com/office/drawing/2014/main" id="{DFD5D916-6F29-F973-B296-84C337528E25}"/>
                </a:ext>
              </a:extLst>
            </p:cNvPr>
            <p:cNvSpPr/>
            <p:nvPr/>
          </p:nvSpPr>
          <p:spPr>
            <a:xfrm>
              <a:off x="6056752" y="3709219"/>
              <a:ext cx="435077" cy="435077"/>
            </a:xfrm>
            <a:custGeom>
              <a:avLst/>
              <a:gdLst>
                <a:gd name="connsiteX0" fmla="*/ 371366 w 435077"/>
                <a:gd name="connsiteY0" fmla="*/ 63712 h 435077"/>
                <a:gd name="connsiteX1" fmla="*/ 435077 w 435077"/>
                <a:gd name="connsiteY1" fmla="*/ 217539 h 435077"/>
                <a:gd name="connsiteX2" fmla="*/ 218953 w 435077"/>
                <a:gd name="connsiteY2" fmla="*/ 217539 h 435077"/>
                <a:gd name="connsiteX3" fmla="*/ 371366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25 w 435077"/>
                <a:gd name="connsiteY8" fmla="*/ 217539 h 435077"/>
                <a:gd name="connsiteX9" fmla="*/ 0 w 435077"/>
                <a:gd name="connsiteY9" fmla="*/ 217539 h 435077"/>
                <a:gd name="connsiteX10" fmla="*/ 63712 w 435077"/>
                <a:gd name="connsiteY10" fmla="*/ 63712 h 435077"/>
                <a:gd name="connsiteX11" fmla="*/ 217539 w 435077"/>
                <a:gd name="connsiteY11" fmla="*/ 0 h 435077"/>
                <a:gd name="connsiteX12" fmla="*/ 371366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2"/>
                  </a:moveTo>
                  <a:cubicBezTo>
                    <a:pt x="412155" y="104500"/>
                    <a:pt x="435077" y="159837"/>
                    <a:pt x="435077" y="217539"/>
                  </a:cubicBezTo>
                  <a:lnTo>
                    <a:pt x="218953" y="217539"/>
                  </a:lnTo>
                  <a:cubicBezTo>
                    <a:pt x="276138" y="217892"/>
                    <a:pt x="330904" y="240788"/>
                    <a:pt x="371366" y="281250"/>
                  </a:cubicBezTo>
                  <a:cubicBezTo>
                    <a:pt x="412155" y="322039"/>
                    <a:pt x="435077" y="377375"/>
                    <a:pt x="435077" y="435077"/>
                  </a:cubicBezTo>
                  <a:lnTo>
                    <a:pt x="217539" y="435077"/>
                  </a:lnTo>
                  <a:lnTo>
                    <a:pt x="0" y="435077"/>
                  </a:lnTo>
                  <a:cubicBezTo>
                    <a:pt x="0" y="377375"/>
                    <a:pt x="22924" y="322039"/>
                    <a:pt x="63712" y="281250"/>
                  </a:cubicBezTo>
                  <a:cubicBezTo>
                    <a:pt x="104175" y="240788"/>
                    <a:pt x="158939" y="217892"/>
                    <a:pt x="216125" y="217539"/>
                  </a:cubicBezTo>
                  <a:lnTo>
                    <a:pt x="0" y="217539"/>
                  </a:lnTo>
                  <a:cubicBezTo>
                    <a:pt x="0" y="159837"/>
                    <a:pt x="22924" y="104500"/>
                    <a:pt x="63712" y="63712"/>
                  </a:cubicBezTo>
                  <a:cubicBezTo>
                    <a:pt x="104501" y="22923"/>
                    <a:pt x="159837" y="0"/>
                    <a:pt x="217539" y="0"/>
                  </a:cubicBezTo>
                  <a:cubicBezTo>
                    <a:pt x="275241" y="0"/>
                    <a:pt x="330550" y="22923"/>
                    <a:pt x="371366" y="63712"/>
                  </a:cubicBezTo>
                  <a:close/>
                </a:path>
              </a:pathLst>
            </a:custGeom>
            <a:grpFill/>
            <a:ln w="27192" cap="flat">
              <a:noFill/>
              <a:prstDash val="solid"/>
              <a:miter/>
            </a:ln>
          </p:spPr>
          <p:txBody>
            <a:bodyPr rtlCol="0" anchor="ctr"/>
            <a:lstStyle/>
            <a:p>
              <a:endParaRPr lang="uk-UA" sz="900"/>
            </a:p>
          </p:txBody>
        </p:sp>
        <p:sp>
          <p:nvSpPr>
            <p:cNvPr id="213" name="Freeform: Shape 212">
              <a:extLst>
                <a:ext uri="{FF2B5EF4-FFF2-40B4-BE49-F238E27FC236}">
                  <a16:creationId xmlns:a16="http://schemas.microsoft.com/office/drawing/2014/main" id="{3707E91B-D987-7D3C-F03E-6E0F7FFA6D43}"/>
                </a:ext>
              </a:extLst>
            </p:cNvPr>
            <p:cNvSpPr/>
            <p:nvPr/>
          </p:nvSpPr>
          <p:spPr>
            <a:xfrm>
              <a:off x="7797089" y="3709219"/>
              <a:ext cx="435050" cy="435077"/>
            </a:xfrm>
            <a:custGeom>
              <a:avLst/>
              <a:gdLst>
                <a:gd name="connsiteX0" fmla="*/ 0 w 435050"/>
                <a:gd name="connsiteY0" fmla="*/ 435077 h 435077"/>
                <a:gd name="connsiteX1" fmla="*/ 217511 w 435050"/>
                <a:gd name="connsiteY1" fmla="*/ 435077 h 435077"/>
                <a:gd name="connsiteX2" fmla="*/ 217511 w 435050"/>
                <a:gd name="connsiteY2" fmla="*/ 217539 h 435077"/>
                <a:gd name="connsiteX3" fmla="*/ 0 w 435050"/>
                <a:gd name="connsiteY3" fmla="*/ 435077 h 435077"/>
                <a:gd name="connsiteX4" fmla="*/ 217511 w 435050"/>
                <a:gd name="connsiteY4" fmla="*/ 0 h 435077"/>
                <a:gd name="connsiteX5" fmla="*/ 0 w 435050"/>
                <a:gd name="connsiteY5" fmla="*/ 0 h 435077"/>
                <a:gd name="connsiteX6" fmla="*/ 217511 w 435050"/>
                <a:gd name="connsiteY6" fmla="*/ 217539 h 435077"/>
                <a:gd name="connsiteX7" fmla="*/ 217511 w 435050"/>
                <a:gd name="connsiteY7" fmla="*/ 0 h 435077"/>
                <a:gd name="connsiteX8" fmla="*/ 435050 w 435050"/>
                <a:gd name="connsiteY8" fmla="*/ 435077 h 435077"/>
                <a:gd name="connsiteX9" fmla="*/ 217539 w 435050"/>
                <a:gd name="connsiteY9" fmla="*/ 435077 h 435077"/>
                <a:gd name="connsiteX10" fmla="*/ 435050 w 435050"/>
                <a:gd name="connsiteY10" fmla="*/ 217539 h 435077"/>
                <a:gd name="connsiteX11" fmla="*/ 435050 w 435050"/>
                <a:gd name="connsiteY11" fmla="*/ 435077 h 435077"/>
                <a:gd name="connsiteX12" fmla="*/ 435050 w 435050"/>
                <a:gd name="connsiteY12" fmla="*/ 0 h 435077"/>
                <a:gd name="connsiteX13" fmla="*/ 217539 w 435050"/>
                <a:gd name="connsiteY13" fmla="*/ 0 h 435077"/>
                <a:gd name="connsiteX14" fmla="*/ 435050 w 435050"/>
                <a:gd name="connsiteY14" fmla="*/ 217539 h 435077"/>
                <a:gd name="connsiteX15" fmla="*/ 435050 w 435050"/>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50" h="435077">
                  <a:moveTo>
                    <a:pt x="0" y="435077"/>
                  </a:moveTo>
                  <a:lnTo>
                    <a:pt x="217511" y="435077"/>
                  </a:lnTo>
                  <a:lnTo>
                    <a:pt x="217511" y="217539"/>
                  </a:lnTo>
                  <a:lnTo>
                    <a:pt x="0" y="435077"/>
                  </a:lnTo>
                  <a:close/>
                  <a:moveTo>
                    <a:pt x="217511" y="0"/>
                  </a:moveTo>
                  <a:lnTo>
                    <a:pt x="0" y="0"/>
                  </a:lnTo>
                  <a:lnTo>
                    <a:pt x="217511" y="217539"/>
                  </a:lnTo>
                  <a:lnTo>
                    <a:pt x="217511" y="0"/>
                  </a:lnTo>
                  <a:close/>
                  <a:moveTo>
                    <a:pt x="435050" y="435077"/>
                  </a:moveTo>
                  <a:lnTo>
                    <a:pt x="217539" y="435077"/>
                  </a:lnTo>
                  <a:lnTo>
                    <a:pt x="435050" y="217539"/>
                  </a:lnTo>
                  <a:lnTo>
                    <a:pt x="435050" y="435077"/>
                  </a:lnTo>
                  <a:close/>
                  <a:moveTo>
                    <a:pt x="435050" y="0"/>
                  </a:moveTo>
                  <a:lnTo>
                    <a:pt x="217539" y="0"/>
                  </a:lnTo>
                  <a:lnTo>
                    <a:pt x="435050" y="217539"/>
                  </a:lnTo>
                  <a:lnTo>
                    <a:pt x="435050" y="0"/>
                  </a:lnTo>
                  <a:close/>
                </a:path>
              </a:pathLst>
            </a:custGeom>
            <a:grpFill/>
            <a:ln w="27192" cap="flat">
              <a:noFill/>
              <a:prstDash val="solid"/>
              <a:miter/>
            </a:ln>
          </p:spPr>
          <p:txBody>
            <a:bodyPr rtlCol="0" anchor="ctr"/>
            <a:lstStyle/>
            <a:p>
              <a:endParaRPr lang="uk-UA" sz="900"/>
            </a:p>
          </p:txBody>
        </p:sp>
        <p:sp>
          <p:nvSpPr>
            <p:cNvPr id="214" name="Freeform: Shape 213">
              <a:extLst>
                <a:ext uri="{FF2B5EF4-FFF2-40B4-BE49-F238E27FC236}">
                  <a16:creationId xmlns:a16="http://schemas.microsoft.com/office/drawing/2014/main" id="{F0CCC6CA-D709-37D4-B8E3-6338D58538E0}"/>
                </a:ext>
              </a:extLst>
            </p:cNvPr>
            <p:cNvSpPr/>
            <p:nvPr/>
          </p:nvSpPr>
          <p:spPr>
            <a:xfrm>
              <a:off x="6926907" y="3709219"/>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0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39 h 435077"/>
                <a:gd name="connsiteX9" fmla="*/ 435077 w 435077"/>
                <a:gd name="connsiteY9" fmla="*/ 217539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0"/>
                  </a:lnTo>
                  <a:lnTo>
                    <a:pt x="435077" y="217539"/>
                  </a:lnTo>
                  <a:lnTo>
                    <a:pt x="435077" y="217539"/>
                  </a:lnTo>
                  <a:lnTo>
                    <a:pt x="435077" y="217539"/>
                  </a:lnTo>
                  <a:lnTo>
                    <a:pt x="435077" y="217539"/>
                  </a:lnTo>
                  <a:lnTo>
                    <a:pt x="435077" y="217539"/>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215" name="Freeform: Shape 214">
              <a:extLst>
                <a:ext uri="{FF2B5EF4-FFF2-40B4-BE49-F238E27FC236}">
                  <a16:creationId xmlns:a16="http://schemas.microsoft.com/office/drawing/2014/main" id="{894849E7-20E0-185F-DB2B-118FCBBC79BC}"/>
                </a:ext>
              </a:extLst>
            </p:cNvPr>
            <p:cNvSpPr/>
            <p:nvPr/>
          </p:nvSpPr>
          <p:spPr>
            <a:xfrm>
              <a:off x="8667217" y="370921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p>
          </p:txBody>
        </p:sp>
        <p:sp>
          <p:nvSpPr>
            <p:cNvPr id="216" name="Freeform: Shape 215">
              <a:extLst>
                <a:ext uri="{FF2B5EF4-FFF2-40B4-BE49-F238E27FC236}">
                  <a16:creationId xmlns:a16="http://schemas.microsoft.com/office/drawing/2014/main" id="{25A61F76-47BA-6E6D-C308-EF55B3B73D85}"/>
                </a:ext>
              </a:extLst>
            </p:cNvPr>
            <p:cNvSpPr/>
            <p:nvPr/>
          </p:nvSpPr>
          <p:spPr>
            <a:xfrm>
              <a:off x="9537399" y="3709219"/>
              <a:ext cx="435077" cy="435077"/>
            </a:xfrm>
            <a:custGeom>
              <a:avLst/>
              <a:gdLst>
                <a:gd name="connsiteX0" fmla="*/ 371366 w 435077"/>
                <a:gd name="connsiteY0" fmla="*/ 63712 h 435077"/>
                <a:gd name="connsiteX1" fmla="*/ 435077 w 435077"/>
                <a:gd name="connsiteY1" fmla="*/ 217539 h 435077"/>
                <a:gd name="connsiteX2" fmla="*/ 218925 w 435077"/>
                <a:gd name="connsiteY2" fmla="*/ 217539 h 435077"/>
                <a:gd name="connsiteX3" fmla="*/ 371366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1 w 435077"/>
                <a:gd name="connsiteY7" fmla="*/ 281250 h 435077"/>
                <a:gd name="connsiteX8" fmla="*/ 216125 w 435077"/>
                <a:gd name="connsiteY8" fmla="*/ 217539 h 435077"/>
                <a:gd name="connsiteX9" fmla="*/ 0 w 435077"/>
                <a:gd name="connsiteY9" fmla="*/ 217539 h 435077"/>
                <a:gd name="connsiteX10" fmla="*/ 63711 w 435077"/>
                <a:gd name="connsiteY10" fmla="*/ 63712 h 435077"/>
                <a:gd name="connsiteX11" fmla="*/ 217539 w 435077"/>
                <a:gd name="connsiteY11" fmla="*/ 0 h 435077"/>
                <a:gd name="connsiteX12" fmla="*/ 371366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2"/>
                  </a:moveTo>
                  <a:cubicBezTo>
                    <a:pt x="412155" y="104500"/>
                    <a:pt x="435077" y="159837"/>
                    <a:pt x="435077" y="217539"/>
                  </a:cubicBezTo>
                  <a:lnTo>
                    <a:pt x="218925" y="217539"/>
                  </a:lnTo>
                  <a:cubicBezTo>
                    <a:pt x="276111" y="217892"/>
                    <a:pt x="330904" y="240788"/>
                    <a:pt x="371366" y="281250"/>
                  </a:cubicBezTo>
                  <a:cubicBezTo>
                    <a:pt x="412155" y="322039"/>
                    <a:pt x="435077" y="377375"/>
                    <a:pt x="435077" y="435077"/>
                  </a:cubicBezTo>
                  <a:lnTo>
                    <a:pt x="217539" y="435077"/>
                  </a:lnTo>
                  <a:lnTo>
                    <a:pt x="0" y="435077"/>
                  </a:lnTo>
                  <a:cubicBezTo>
                    <a:pt x="0" y="377375"/>
                    <a:pt x="22923" y="322039"/>
                    <a:pt x="63711" y="281250"/>
                  </a:cubicBezTo>
                  <a:cubicBezTo>
                    <a:pt x="104174" y="240788"/>
                    <a:pt x="158939" y="217892"/>
                    <a:pt x="216125" y="217539"/>
                  </a:cubicBezTo>
                  <a:lnTo>
                    <a:pt x="0" y="217539"/>
                  </a:lnTo>
                  <a:cubicBezTo>
                    <a:pt x="0" y="159837"/>
                    <a:pt x="22923" y="104500"/>
                    <a:pt x="63711" y="63712"/>
                  </a:cubicBezTo>
                  <a:cubicBezTo>
                    <a:pt x="104500" y="22923"/>
                    <a:pt x="159836" y="0"/>
                    <a:pt x="217539" y="0"/>
                  </a:cubicBezTo>
                  <a:cubicBezTo>
                    <a:pt x="275214" y="0"/>
                    <a:pt x="330550" y="22923"/>
                    <a:pt x="371366" y="63712"/>
                  </a:cubicBezTo>
                  <a:close/>
                </a:path>
              </a:pathLst>
            </a:custGeom>
            <a:grpFill/>
            <a:ln w="27192" cap="flat">
              <a:noFill/>
              <a:prstDash val="solid"/>
              <a:miter/>
            </a:ln>
          </p:spPr>
          <p:txBody>
            <a:bodyPr rtlCol="0" anchor="ctr"/>
            <a:lstStyle/>
            <a:p>
              <a:endParaRPr lang="uk-UA" sz="900"/>
            </a:p>
          </p:txBody>
        </p:sp>
        <p:sp>
          <p:nvSpPr>
            <p:cNvPr id="217" name="Freeform: Shape 216">
              <a:extLst>
                <a:ext uri="{FF2B5EF4-FFF2-40B4-BE49-F238E27FC236}">
                  <a16:creationId xmlns:a16="http://schemas.microsoft.com/office/drawing/2014/main" id="{00130628-6748-39DB-5808-072C8212BC9B}"/>
                </a:ext>
              </a:extLst>
            </p:cNvPr>
            <p:cNvSpPr/>
            <p:nvPr/>
          </p:nvSpPr>
          <p:spPr>
            <a:xfrm>
              <a:off x="11277709" y="3709219"/>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218" name="Freeform: Shape 217">
              <a:extLst>
                <a:ext uri="{FF2B5EF4-FFF2-40B4-BE49-F238E27FC236}">
                  <a16:creationId xmlns:a16="http://schemas.microsoft.com/office/drawing/2014/main" id="{2FD863D1-FF82-C985-E9EB-54FAA2FF88C6}"/>
                </a:ext>
              </a:extLst>
            </p:cNvPr>
            <p:cNvSpPr/>
            <p:nvPr/>
          </p:nvSpPr>
          <p:spPr>
            <a:xfrm>
              <a:off x="10407554" y="3709219"/>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0 h 435077"/>
                <a:gd name="connsiteX5" fmla="*/ 435050 w 435077"/>
                <a:gd name="connsiteY5" fmla="*/ 217539 h 435077"/>
                <a:gd name="connsiteX6" fmla="*/ 435077 w 435077"/>
                <a:gd name="connsiteY6" fmla="*/ 217539 h 435077"/>
                <a:gd name="connsiteX7" fmla="*/ 435050 w 435077"/>
                <a:gd name="connsiteY7" fmla="*/ 217539 h 435077"/>
                <a:gd name="connsiteX8" fmla="*/ 435077 w 435077"/>
                <a:gd name="connsiteY8" fmla="*/ 217539 h 435077"/>
                <a:gd name="connsiteX9" fmla="*/ 435050 w 435077"/>
                <a:gd name="connsiteY9" fmla="*/ 217539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0"/>
                  </a:lnTo>
                  <a:lnTo>
                    <a:pt x="435050" y="217539"/>
                  </a:lnTo>
                  <a:lnTo>
                    <a:pt x="435077" y="217539"/>
                  </a:lnTo>
                  <a:lnTo>
                    <a:pt x="435050" y="217539"/>
                  </a:lnTo>
                  <a:lnTo>
                    <a:pt x="435077" y="217539"/>
                  </a:lnTo>
                  <a:lnTo>
                    <a:pt x="435050" y="217539"/>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219" name="Freeform: Shape 218">
              <a:extLst>
                <a:ext uri="{FF2B5EF4-FFF2-40B4-BE49-F238E27FC236}">
                  <a16:creationId xmlns:a16="http://schemas.microsoft.com/office/drawing/2014/main" id="{DDAE6E6C-249B-0B70-E61D-13EEE78BB4A0}"/>
                </a:ext>
              </a:extLst>
            </p:cNvPr>
            <p:cNvSpPr/>
            <p:nvPr/>
          </p:nvSpPr>
          <p:spPr>
            <a:xfrm>
              <a:off x="12147864" y="3709219"/>
              <a:ext cx="435103" cy="435077"/>
            </a:xfrm>
            <a:custGeom>
              <a:avLst/>
              <a:gdLst>
                <a:gd name="connsiteX0" fmla="*/ 217539 w 435103"/>
                <a:gd name="connsiteY0" fmla="*/ 0 h 435077"/>
                <a:gd name="connsiteX1" fmla="*/ 0 w 435103"/>
                <a:gd name="connsiteY1" fmla="*/ 0 h 435077"/>
                <a:gd name="connsiteX2" fmla="*/ 0 w 435103"/>
                <a:gd name="connsiteY2" fmla="*/ 217539 h 435077"/>
                <a:gd name="connsiteX3" fmla="*/ 217539 w 435103"/>
                <a:gd name="connsiteY3" fmla="*/ 0 h 435077"/>
                <a:gd name="connsiteX4" fmla="*/ 435104 w 435103"/>
                <a:gd name="connsiteY4" fmla="*/ 0 h 435077"/>
                <a:gd name="connsiteX5" fmla="*/ 435104 w 435103"/>
                <a:gd name="connsiteY5" fmla="*/ 217539 h 435077"/>
                <a:gd name="connsiteX6" fmla="*/ 217565 w 435103"/>
                <a:gd name="connsiteY6" fmla="*/ 0 h 435077"/>
                <a:gd name="connsiteX7" fmla="*/ 435104 w 435103"/>
                <a:gd name="connsiteY7" fmla="*/ 0 h 435077"/>
                <a:gd name="connsiteX8" fmla="*/ 217565 w 435103"/>
                <a:gd name="connsiteY8" fmla="*/ 435077 h 435077"/>
                <a:gd name="connsiteX9" fmla="*/ 435104 w 435103"/>
                <a:gd name="connsiteY9" fmla="*/ 217539 h 435077"/>
                <a:gd name="connsiteX10" fmla="*/ 435104 w 435103"/>
                <a:gd name="connsiteY10" fmla="*/ 435077 h 435077"/>
                <a:gd name="connsiteX11" fmla="*/ 217565 w 435103"/>
                <a:gd name="connsiteY11" fmla="*/ 435077 h 435077"/>
                <a:gd name="connsiteX12" fmla="*/ 217565 w 435103"/>
                <a:gd name="connsiteY12" fmla="*/ 435077 h 435077"/>
                <a:gd name="connsiteX13" fmla="*/ 27 w 435103"/>
                <a:gd name="connsiteY13" fmla="*/ 217539 h 435077"/>
                <a:gd name="connsiteX14" fmla="*/ 27 w 435103"/>
                <a:gd name="connsiteY14" fmla="*/ 435077 h 435077"/>
                <a:gd name="connsiteX15" fmla="*/ 217565 w 435103"/>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3" h="435077">
                  <a:moveTo>
                    <a:pt x="217539" y="0"/>
                  </a:moveTo>
                  <a:lnTo>
                    <a:pt x="0" y="0"/>
                  </a:lnTo>
                  <a:lnTo>
                    <a:pt x="0" y="217539"/>
                  </a:lnTo>
                  <a:lnTo>
                    <a:pt x="217539" y="0"/>
                  </a:lnTo>
                  <a:close/>
                  <a:moveTo>
                    <a:pt x="435104" y="0"/>
                  </a:moveTo>
                  <a:lnTo>
                    <a:pt x="435104" y="217539"/>
                  </a:lnTo>
                  <a:lnTo>
                    <a:pt x="217565" y="0"/>
                  </a:lnTo>
                  <a:lnTo>
                    <a:pt x="435104" y="0"/>
                  </a:lnTo>
                  <a:close/>
                  <a:moveTo>
                    <a:pt x="217565" y="435077"/>
                  </a:moveTo>
                  <a:lnTo>
                    <a:pt x="435104" y="217539"/>
                  </a:lnTo>
                  <a:lnTo>
                    <a:pt x="435104" y="435077"/>
                  </a:lnTo>
                  <a:lnTo>
                    <a:pt x="217565" y="435077"/>
                  </a:lnTo>
                  <a:close/>
                  <a:moveTo>
                    <a:pt x="217565" y="435077"/>
                  </a:moveTo>
                  <a:lnTo>
                    <a:pt x="27" y="217539"/>
                  </a:lnTo>
                  <a:lnTo>
                    <a:pt x="27" y="435077"/>
                  </a:lnTo>
                  <a:lnTo>
                    <a:pt x="217565" y="435077"/>
                  </a:lnTo>
                  <a:close/>
                </a:path>
              </a:pathLst>
            </a:custGeom>
            <a:grpFill/>
            <a:ln w="27192" cap="flat">
              <a:noFill/>
              <a:prstDash val="solid"/>
              <a:miter/>
            </a:ln>
          </p:spPr>
          <p:txBody>
            <a:bodyPr rtlCol="0" anchor="ctr"/>
            <a:lstStyle/>
            <a:p>
              <a:endParaRPr lang="uk-UA" sz="900"/>
            </a:p>
          </p:txBody>
        </p:sp>
        <p:sp>
          <p:nvSpPr>
            <p:cNvPr id="220" name="Freeform: Shape 219">
              <a:extLst>
                <a:ext uri="{FF2B5EF4-FFF2-40B4-BE49-F238E27FC236}">
                  <a16:creationId xmlns:a16="http://schemas.microsoft.com/office/drawing/2014/main" id="{07FEE364-7C2B-1725-DC19-7C4ABF215635}"/>
                </a:ext>
              </a:extLst>
            </p:cNvPr>
            <p:cNvSpPr/>
            <p:nvPr/>
          </p:nvSpPr>
          <p:spPr>
            <a:xfrm>
              <a:off x="13018045" y="3709219"/>
              <a:ext cx="435077" cy="435077"/>
            </a:xfrm>
            <a:custGeom>
              <a:avLst/>
              <a:gdLst>
                <a:gd name="connsiteX0" fmla="*/ 371365 w 435077"/>
                <a:gd name="connsiteY0" fmla="*/ 63712 h 435077"/>
                <a:gd name="connsiteX1" fmla="*/ 435077 w 435077"/>
                <a:gd name="connsiteY1" fmla="*/ 217539 h 435077"/>
                <a:gd name="connsiteX2" fmla="*/ 218953 w 435077"/>
                <a:gd name="connsiteY2" fmla="*/ 217539 h 435077"/>
                <a:gd name="connsiteX3" fmla="*/ 371365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51 w 435077"/>
                <a:gd name="connsiteY8" fmla="*/ 217539 h 435077"/>
                <a:gd name="connsiteX9" fmla="*/ 0 w 435077"/>
                <a:gd name="connsiteY9" fmla="*/ 217539 h 435077"/>
                <a:gd name="connsiteX10" fmla="*/ 63712 w 435077"/>
                <a:gd name="connsiteY10" fmla="*/ 63712 h 435077"/>
                <a:gd name="connsiteX11" fmla="*/ 217539 w 435077"/>
                <a:gd name="connsiteY11" fmla="*/ 0 h 435077"/>
                <a:gd name="connsiteX12" fmla="*/ 371365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12"/>
                  </a:moveTo>
                  <a:cubicBezTo>
                    <a:pt x="412154" y="104500"/>
                    <a:pt x="435077" y="159837"/>
                    <a:pt x="435077" y="217539"/>
                  </a:cubicBezTo>
                  <a:lnTo>
                    <a:pt x="218953" y="217539"/>
                  </a:lnTo>
                  <a:cubicBezTo>
                    <a:pt x="276137" y="217892"/>
                    <a:pt x="330904" y="240788"/>
                    <a:pt x="371365" y="281250"/>
                  </a:cubicBezTo>
                  <a:cubicBezTo>
                    <a:pt x="412154" y="322039"/>
                    <a:pt x="435077" y="377375"/>
                    <a:pt x="435077" y="435077"/>
                  </a:cubicBezTo>
                  <a:lnTo>
                    <a:pt x="217539" y="435077"/>
                  </a:lnTo>
                  <a:lnTo>
                    <a:pt x="0" y="435077"/>
                  </a:lnTo>
                  <a:cubicBezTo>
                    <a:pt x="0" y="377375"/>
                    <a:pt x="22924" y="322039"/>
                    <a:pt x="63712" y="281250"/>
                  </a:cubicBezTo>
                  <a:cubicBezTo>
                    <a:pt x="104174" y="240788"/>
                    <a:pt x="158938" y="217892"/>
                    <a:pt x="216151" y="217539"/>
                  </a:cubicBezTo>
                  <a:lnTo>
                    <a:pt x="0" y="217539"/>
                  </a:lnTo>
                  <a:cubicBezTo>
                    <a:pt x="0" y="159837"/>
                    <a:pt x="22924" y="104500"/>
                    <a:pt x="63712" y="63712"/>
                  </a:cubicBezTo>
                  <a:cubicBezTo>
                    <a:pt x="104501" y="22923"/>
                    <a:pt x="159836" y="0"/>
                    <a:pt x="217539" y="0"/>
                  </a:cubicBezTo>
                  <a:cubicBezTo>
                    <a:pt x="275241" y="0"/>
                    <a:pt x="330550" y="22923"/>
                    <a:pt x="371365" y="63712"/>
                  </a:cubicBezTo>
                  <a:close/>
                </a:path>
              </a:pathLst>
            </a:custGeom>
            <a:grpFill/>
            <a:ln w="27192" cap="flat">
              <a:noFill/>
              <a:prstDash val="solid"/>
              <a:miter/>
            </a:ln>
          </p:spPr>
          <p:txBody>
            <a:bodyPr rtlCol="0" anchor="ctr"/>
            <a:lstStyle/>
            <a:p>
              <a:endParaRPr lang="uk-UA" sz="900"/>
            </a:p>
          </p:txBody>
        </p:sp>
        <p:sp>
          <p:nvSpPr>
            <p:cNvPr id="221" name="Freeform: Shape 220">
              <a:extLst>
                <a:ext uri="{FF2B5EF4-FFF2-40B4-BE49-F238E27FC236}">
                  <a16:creationId xmlns:a16="http://schemas.microsoft.com/office/drawing/2014/main" id="{E15B21B6-A4B6-F610-F3AA-F73E8F345F78}"/>
                </a:ext>
              </a:extLst>
            </p:cNvPr>
            <p:cNvSpPr/>
            <p:nvPr/>
          </p:nvSpPr>
          <p:spPr>
            <a:xfrm>
              <a:off x="14758382" y="3709219"/>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222" name="Freeform: Shape 221">
              <a:extLst>
                <a:ext uri="{FF2B5EF4-FFF2-40B4-BE49-F238E27FC236}">
                  <a16:creationId xmlns:a16="http://schemas.microsoft.com/office/drawing/2014/main" id="{019931D9-77E9-47B5-6150-E49A60A91734}"/>
                </a:ext>
              </a:extLst>
            </p:cNvPr>
            <p:cNvSpPr/>
            <p:nvPr/>
          </p:nvSpPr>
          <p:spPr>
            <a:xfrm>
              <a:off x="13888174" y="3709192"/>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223" name="Freeform: Shape 222">
              <a:extLst>
                <a:ext uri="{FF2B5EF4-FFF2-40B4-BE49-F238E27FC236}">
                  <a16:creationId xmlns:a16="http://schemas.microsoft.com/office/drawing/2014/main" id="{097E870D-DCE0-8408-6905-0EA0EE02F8E4}"/>
                </a:ext>
              </a:extLst>
            </p:cNvPr>
            <p:cNvSpPr/>
            <p:nvPr/>
          </p:nvSpPr>
          <p:spPr>
            <a:xfrm>
              <a:off x="15628536" y="3709219"/>
              <a:ext cx="435077" cy="435077"/>
            </a:xfrm>
            <a:custGeom>
              <a:avLst/>
              <a:gdLst>
                <a:gd name="connsiteX0" fmla="*/ 217567 w 435077"/>
                <a:gd name="connsiteY0" fmla="*/ 0 h 435077"/>
                <a:gd name="connsiteX1" fmla="*/ 217539 w 435077"/>
                <a:gd name="connsiteY1" fmla="*/ 0 h 435077"/>
                <a:gd name="connsiteX2" fmla="*/ 28 w 435077"/>
                <a:gd name="connsiteY2" fmla="*/ 0 h 435077"/>
                <a:gd name="connsiteX3" fmla="*/ 28 w 435077"/>
                <a:gd name="connsiteY3" fmla="*/ 217539 h 435077"/>
                <a:gd name="connsiteX4" fmla="*/ 217567 w 435077"/>
                <a:gd name="connsiteY4" fmla="*/ 0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67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67" y="0"/>
                  </a:moveTo>
                  <a:lnTo>
                    <a:pt x="217539" y="0"/>
                  </a:lnTo>
                  <a:lnTo>
                    <a:pt x="28" y="0"/>
                  </a:lnTo>
                  <a:lnTo>
                    <a:pt x="28" y="217539"/>
                  </a:lnTo>
                  <a:lnTo>
                    <a:pt x="217567" y="0"/>
                  </a:lnTo>
                  <a:lnTo>
                    <a:pt x="435077" y="217539"/>
                  </a:lnTo>
                  <a:lnTo>
                    <a:pt x="217539" y="435077"/>
                  </a:lnTo>
                  <a:lnTo>
                    <a:pt x="0" y="217539"/>
                  </a:lnTo>
                  <a:lnTo>
                    <a:pt x="0" y="435077"/>
                  </a:lnTo>
                  <a:lnTo>
                    <a:pt x="217539" y="435077"/>
                  </a:lnTo>
                  <a:lnTo>
                    <a:pt x="435077" y="435077"/>
                  </a:lnTo>
                  <a:lnTo>
                    <a:pt x="435077" y="217539"/>
                  </a:lnTo>
                  <a:lnTo>
                    <a:pt x="435077" y="0"/>
                  </a:lnTo>
                  <a:lnTo>
                    <a:pt x="217567" y="0"/>
                  </a:lnTo>
                  <a:close/>
                </a:path>
              </a:pathLst>
            </a:custGeom>
            <a:grpFill/>
            <a:ln w="27192" cap="flat">
              <a:noFill/>
              <a:prstDash val="solid"/>
              <a:miter/>
            </a:ln>
          </p:spPr>
          <p:txBody>
            <a:bodyPr rtlCol="0" anchor="ctr"/>
            <a:lstStyle/>
            <a:p>
              <a:endParaRPr lang="uk-UA" sz="900"/>
            </a:p>
          </p:txBody>
        </p:sp>
        <p:sp>
          <p:nvSpPr>
            <p:cNvPr id="224" name="Freeform: Shape 223">
              <a:extLst>
                <a:ext uri="{FF2B5EF4-FFF2-40B4-BE49-F238E27FC236}">
                  <a16:creationId xmlns:a16="http://schemas.microsoft.com/office/drawing/2014/main" id="{7B8C3A8F-3DDA-67C6-0176-C9F2AD4D96ED}"/>
                </a:ext>
              </a:extLst>
            </p:cNvPr>
            <p:cNvSpPr/>
            <p:nvPr/>
          </p:nvSpPr>
          <p:spPr>
            <a:xfrm>
              <a:off x="16498719" y="3709219"/>
              <a:ext cx="435077" cy="435077"/>
            </a:xfrm>
            <a:custGeom>
              <a:avLst/>
              <a:gdLst>
                <a:gd name="connsiteX0" fmla="*/ 371339 w 435077"/>
                <a:gd name="connsiteY0" fmla="*/ 63712 h 435077"/>
                <a:gd name="connsiteX1" fmla="*/ 435077 w 435077"/>
                <a:gd name="connsiteY1" fmla="*/ 217539 h 435077"/>
                <a:gd name="connsiteX2" fmla="*/ 218925 w 435077"/>
                <a:gd name="connsiteY2" fmla="*/ 217539 h 435077"/>
                <a:gd name="connsiteX3" fmla="*/ 371365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0 w 435077"/>
                <a:gd name="connsiteY7" fmla="*/ 281250 h 435077"/>
                <a:gd name="connsiteX8" fmla="*/ 216125 w 435077"/>
                <a:gd name="connsiteY8" fmla="*/ 217539 h 435077"/>
                <a:gd name="connsiteX9" fmla="*/ 0 w 435077"/>
                <a:gd name="connsiteY9" fmla="*/ 217539 h 435077"/>
                <a:gd name="connsiteX10" fmla="*/ 63710 w 435077"/>
                <a:gd name="connsiteY10" fmla="*/ 63712 h 435077"/>
                <a:gd name="connsiteX11" fmla="*/ 217539 w 435077"/>
                <a:gd name="connsiteY11" fmla="*/ 0 h 435077"/>
                <a:gd name="connsiteX12" fmla="*/ 371339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12"/>
                  </a:moveTo>
                  <a:cubicBezTo>
                    <a:pt x="412154" y="104500"/>
                    <a:pt x="435077" y="159837"/>
                    <a:pt x="435077" y="217539"/>
                  </a:cubicBezTo>
                  <a:lnTo>
                    <a:pt x="218925" y="217539"/>
                  </a:lnTo>
                  <a:cubicBezTo>
                    <a:pt x="276111" y="217892"/>
                    <a:pt x="330876" y="240788"/>
                    <a:pt x="371365" y="281250"/>
                  </a:cubicBezTo>
                  <a:cubicBezTo>
                    <a:pt x="412154" y="322039"/>
                    <a:pt x="435077" y="377375"/>
                    <a:pt x="435077" y="435077"/>
                  </a:cubicBezTo>
                  <a:lnTo>
                    <a:pt x="217539" y="435077"/>
                  </a:lnTo>
                  <a:lnTo>
                    <a:pt x="0" y="435077"/>
                  </a:lnTo>
                  <a:cubicBezTo>
                    <a:pt x="0" y="377375"/>
                    <a:pt x="22922" y="322039"/>
                    <a:pt x="63710" y="281250"/>
                  </a:cubicBezTo>
                  <a:cubicBezTo>
                    <a:pt x="104174" y="240788"/>
                    <a:pt x="158938" y="217892"/>
                    <a:pt x="216125" y="217539"/>
                  </a:cubicBezTo>
                  <a:lnTo>
                    <a:pt x="0" y="217539"/>
                  </a:lnTo>
                  <a:cubicBezTo>
                    <a:pt x="0" y="159837"/>
                    <a:pt x="22895" y="104500"/>
                    <a:pt x="63710" y="63712"/>
                  </a:cubicBezTo>
                  <a:cubicBezTo>
                    <a:pt x="104499" y="22923"/>
                    <a:pt x="159836" y="0"/>
                    <a:pt x="217539" y="0"/>
                  </a:cubicBezTo>
                  <a:cubicBezTo>
                    <a:pt x="275213" y="0"/>
                    <a:pt x="330550" y="22923"/>
                    <a:pt x="371339" y="63712"/>
                  </a:cubicBezTo>
                  <a:close/>
                </a:path>
              </a:pathLst>
            </a:custGeom>
            <a:grpFill/>
            <a:ln w="27192" cap="flat">
              <a:noFill/>
              <a:prstDash val="solid"/>
              <a:miter/>
            </a:ln>
          </p:spPr>
          <p:txBody>
            <a:bodyPr rtlCol="0" anchor="ctr"/>
            <a:lstStyle/>
            <a:p>
              <a:endParaRPr lang="uk-UA" sz="900"/>
            </a:p>
          </p:txBody>
        </p:sp>
        <p:sp>
          <p:nvSpPr>
            <p:cNvPr id="225" name="Freeform: Shape 224">
              <a:extLst>
                <a:ext uri="{FF2B5EF4-FFF2-40B4-BE49-F238E27FC236}">
                  <a16:creationId xmlns:a16="http://schemas.microsoft.com/office/drawing/2014/main" id="{0D151BC7-16C0-F6D8-D352-4FD7F3EF83D1}"/>
                </a:ext>
              </a:extLst>
            </p:cNvPr>
            <p:cNvSpPr/>
            <p:nvPr/>
          </p:nvSpPr>
          <p:spPr>
            <a:xfrm>
              <a:off x="18239029" y="3709219"/>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65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65"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226" name="Freeform: Shape 225">
              <a:extLst>
                <a:ext uri="{FF2B5EF4-FFF2-40B4-BE49-F238E27FC236}">
                  <a16:creationId xmlns:a16="http://schemas.microsoft.com/office/drawing/2014/main" id="{1FD54BFD-55B5-2433-E021-849D403E2C2D}"/>
                </a:ext>
              </a:extLst>
            </p:cNvPr>
            <p:cNvSpPr/>
            <p:nvPr/>
          </p:nvSpPr>
          <p:spPr>
            <a:xfrm>
              <a:off x="17368874" y="370921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227" name="Freeform: Shape 226">
              <a:extLst>
                <a:ext uri="{FF2B5EF4-FFF2-40B4-BE49-F238E27FC236}">
                  <a16:creationId xmlns:a16="http://schemas.microsoft.com/office/drawing/2014/main" id="{7955E061-21E9-67C8-243B-E75F94F4C840}"/>
                </a:ext>
              </a:extLst>
            </p:cNvPr>
            <p:cNvSpPr/>
            <p:nvPr/>
          </p:nvSpPr>
          <p:spPr>
            <a:xfrm>
              <a:off x="19109210" y="370921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228" name="Freeform: Shape 227">
              <a:extLst>
                <a:ext uri="{FF2B5EF4-FFF2-40B4-BE49-F238E27FC236}">
                  <a16:creationId xmlns:a16="http://schemas.microsoft.com/office/drawing/2014/main" id="{EE82D4BC-730C-451A-5E36-238F4451832B}"/>
                </a:ext>
              </a:extLst>
            </p:cNvPr>
            <p:cNvSpPr/>
            <p:nvPr/>
          </p:nvSpPr>
          <p:spPr>
            <a:xfrm>
              <a:off x="19979365" y="3709219"/>
              <a:ext cx="435077" cy="435077"/>
            </a:xfrm>
            <a:custGeom>
              <a:avLst/>
              <a:gdLst>
                <a:gd name="connsiteX0" fmla="*/ 371365 w 435077"/>
                <a:gd name="connsiteY0" fmla="*/ 63712 h 435077"/>
                <a:gd name="connsiteX1" fmla="*/ 435077 w 435077"/>
                <a:gd name="connsiteY1" fmla="*/ 217539 h 435077"/>
                <a:gd name="connsiteX2" fmla="*/ 218953 w 435077"/>
                <a:gd name="connsiteY2" fmla="*/ 217539 h 435077"/>
                <a:gd name="connsiteX3" fmla="*/ 371365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25 w 435077"/>
                <a:gd name="connsiteY8" fmla="*/ 217539 h 435077"/>
                <a:gd name="connsiteX9" fmla="*/ 0 w 435077"/>
                <a:gd name="connsiteY9" fmla="*/ 217539 h 435077"/>
                <a:gd name="connsiteX10" fmla="*/ 63712 w 435077"/>
                <a:gd name="connsiteY10" fmla="*/ 63712 h 435077"/>
                <a:gd name="connsiteX11" fmla="*/ 217539 w 435077"/>
                <a:gd name="connsiteY11" fmla="*/ 0 h 435077"/>
                <a:gd name="connsiteX12" fmla="*/ 371365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12"/>
                  </a:moveTo>
                  <a:cubicBezTo>
                    <a:pt x="412154" y="104500"/>
                    <a:pt x="435077" y="159837"/>
                    <a:pt x="435077" y="217539"/>
                  </a:cubicBezTo>
                  <a:lnTo>
                    <a:pt x="218953" y="217539"/>
                  </a:lnTo>
                  <a:cubicBezTo>
                    <a:pt x="276139" y="217892"/>
                    <a:pt x="330904" y="240788"/>
                    <a:pt x="371365" y="281250"/>
                  </a:cubicBezTo>
                  <a:cubicBezTo>
                    <a:pt x="412154" y="322039"/>
                    <a:pt x="435077" y="377375"/>
                    <a:pt x="435077" y="435077"/>
                  </a:cubicBezTo>
                  <a:lnTo>
                    <a:pt x="217539" y="435077"/>
                  </a:lnTo>
                  <a:lnTo>
                    <a:pt x="0" y="435077"/>
                  </a:lnTo>
                  <a:cubicBezTo>
                    <a:pt x="0" y="377375"/>
                    <a:pt x="22924" y="322039"/>
                    <a:pt x="63712" y="281250"/>
                  </a:cubicBezTo>
                  <a:cubicBezTo>
                    <a:pt x="104174" y="240788"/>
                    <a:pt x="158940" y="217892"/>
                    <a:pt x="216125" y="217539"/>
                  </a:cubicBezTo>
                  <a:lnTo>
                    <a:pt x="0" y="217539"/>
                  </a:lnTo>
                  <a:cubicBezTo>
                    <a:pt x="0" y="159837"/>
                    <a:pt x="22924" y="104500"/>
                    <a:pt x="63712" y="63712"/>
                  </a:cubicBezTo>
                  <a:cubicBezTo>
                    <a:pt x="104501" y="22923"/>
                    <a:pt x="159836" y="0"/>
                    <a:pt x="217539" y="0"/>
                  </a:cubicBezTo>
                  <a:cubicBezTo>
                    <a:pt x="275241" y="0"/>
                    <a:pt x="330550" y="22923"/>
                    <a:pt x="371365" y="63712"/>
                  </a:cubicBezTo>
                  <a:close/>
                </a:path>
              </a:pathLst>
            </a:custGeom>
            <a:grpFill/>
            <a:ln w="27192" cap="flat">
              <a:noFill/>
              <a:prstDash val="solid"/>
              <a:miter/>
            </a:ln>
          </p:spPr>
          <p:txBody>
            <a:bodyPr rtlCol="0" anchor="ctr"/>
            <a:lstStyle/>
            <a:p>
              <a:endParaRPr lang="uk-UA" sz="900"/>
            </a:p>
          </p:txBody>
        </p:sp>
        <p:sp>
          <p:nvSpPr>
            <p:cNvPr id="229" name="Freeform: Shape 228">
              <a:extLst>
                <a:ext uri="{FF2B5EF4-FFF2-40B4-BE49-F238E27FC236}">
                  <a16:creationId xmlns:a16="http://schemas.microsoft.com/office/drawing/2014/main" id="{D0CBDDFB-D0D0-8415-C423-97A7967B07C4}"/>
                </a:ext>
              </a:extLst>
            </p:cNvPr>
            <p:cNvSpPr/>
            <p:nvPr/>
          </p:nvSpPr>
          <p:spPr>
            <a:xfrm>
              <a:off x="21719702" y="3709219"/>
              <a:ext cx="435077" cy="435077"/>
            </a:xfrm>
            <a:custGeom>
              <a:avLst/>
              <a:gdLst>
                <a:gd name="connsiteX0" fmla="*/ 0 w 435077"/>
                <a:gd name="connsiteY0" fmla="*/ 435077 h 435077"/>
                <a:gd name="connsiteX1" fmla="*/ 217512 w 435077"/>
                <a:gd name="connsiteY1" fmla="*/ 435077 h 435077"/>
                <a:gd name="connsiteX2" fmla="*/ 217512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12" y="435077"/>
                  </a:lnTo>
                  <a:lnTo>
                    <a:pt x="217512"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230" name="Freeform: Shape 229">
              <a:extLst>
                <a:ext uri="{FF2B5EF4-FFF2-40B4-BE49-F238E27FC236}">
                  <a16:creationId xmlns:a16="http://schemas.microsoft.com/office/drawing/2014/main" id="{2EAA51A9-B2D9-D3EC-2EAC-E3387D829F92}"/>
                </a:ext>
              </a:extLst>
            </p:cNvPr>
            <p:cNvSpPr/>
            <p:nvPr/>
          </p:nvSpPr>
          <p:spPr>
            <a:xfrm>
              <a:off x="20849520" y="370921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231" name="Freeform: Shape 230">
              <a:extLst>
                <a:ext uri="{FF2B5EF4-FFF2-40B4-BE49-F238E27FC236}">
                  <a16:creationId xmlns:a16="http://schemas.microsoft.com/office/drawing/2014/main" id="{CE465BAD-395F-F36B-A6DA-23029C446684}"/>
                </a:ext>
              </a:extLst>
            </p:cNvPr>
            <p:cNvSpPr/>
            <p:nvPr/>
          </p:nvSpPr>
          <p:spPr>
            <a:xfrm>
              <a:off x="22589856" y="370921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232" name="Freeform: Shape 231">
              <a:extLst>
                <a:ext uri="{FF2B5EF4-FFF2-40B4-BE49-F238E27FC236}">
                  <a16:creationId xmlns:a16="http://schemas.microsoft.com/office/drawing/2014/main" id="{850819AE-7146-B1CF-8FDD-88550F279E1E}"/>
                </a:ext>
              </a:extLst>
            </p:cNvPr>
            <p:cNvSpPr/>
            <p:nvPr/>
          </p:nvSpPr>
          <p:spPr>
            <a:xfrm>
              <a:off x="23460039" y="3709219"/>
              <a:ext cx="435077" cy="435077"/>
            </a:xfrm>
            <a:custGeom>
              <a:avLst/>
              <a:gdLst>
                <a:gd name="connsiteX0" fmla="*/ 371339 w 435077"/>
                <a:gd name="connsiteY0" fmla="*/ 63712 h 435077"/>
                <a:gd name="connsiteX1" fmla="*/ 435077 w 435077"/>
                <a:gd name="connsiteY1" fmla="*/ 217539 h 435077"/>
                <a:gd name="connsiteX2" fmla="*/ 218925 w 435077"/>
                <a:gd name="connsiteY2" fmla="*/ 217539 h 435077"/>
                <a:gd name="connsiteX3" fmla="*/ 371339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25 w 435077"/>
                <a:gd name="connsiteY8" fmla="*/ 217539 h 435077"/>
                <a:gd name="connsiteX9" fmla="*/ 0 w 435077"/>
                <a:gd name="connsiteY9" fmla="*/ 217539 h 435077"/>
                <a:gd name="connsiteX10" fmla="*/ 63712 w 435077"/>
                <a:gd name="connsiteY10" fmla="*/ 63712 h 435077"/>
                <a:gd name="connsiteX11" fmla="*/ 217539 w 435077"/>
                <a:gd name="connsiteY11" fmla="*/ 0 h 435077"/>
                <a:gd name="connsiteX12" fmla="*/ 371339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12"/>
                  </a:moveTo>
                  <a:cubicBezTo>
                    <a:pt x="412154" y="104500"/>
                    <a:pt x="435077" y="159837"/>
                    <a:pt x="435077" y="217539"/>
                  </a:cubicBezTo>
                  <a:lnTo>
                    <a:pt x="218925" y="217539"/>
                  </a:lnTo>
                  <a:cubicBezTo>
                    <a:pt x="276111" y="217892"/>
                    <a:pt x="330876" y="240788"/>
                    <a:pt x="371339" y="281250"/>
                  </a:cubicBezTo>
                  <a:cubicBezTo>
                    <a:pt x="412154" y="322039"/>
                    <a:pt x="435077" y="377375"/>
                    <a:pt x="435077" y="435077"/>
                  </a:cubicBezTo>
                  <a:lnTo>
                    <a:pt x="217539" y="435077"/>
                  </a:lnTo>
                  <a:lnTo>
                    <a:pt x="0" y="435077"/>
                  </a:lnTo>
                  <a:cubicBezTo>
                    <a:pt x="0" y="377375"/>
                    <a:pt x="22895" y="322039"/>
                    <a:pt x="63712" y="281250"/>
                  </a:cubicBezTo>
                  <a:cubicBezTo>
                    <a:pt x="104174" y="240788"/>
                    <a:pt x="158938" y="217892"/>
                    <a:pt x="216125" y="217539"/>
                  </a:cubicBezTo>
                  <a:lnTo>
                    <a:pt x="0" y="217539"/>
                  </a:lnTo>
                  <a:cubicBezTo>
                    <a:pt x="0" y="159837"/>
                    <a:pt x="22895" y="104500"/>
                    <a:pt x="63712" y="63712"/>
                  </a:cubicBezTo>
                  <a:cubicBezTo>
                    <a:pt x="104501" y="22923"/>
                    <a:pt x="159836" y="0"/>
                    <a:pt x="217539" y="0"/>
                  </a:cubicBezTo>
                  <a:cubicBezTo>
                    <a:pt x="275213" y="0"/>
                    <a:pt x="330550" y="22923"/>
                    <a:pt x="371339" y="63712"/>
                  </a:cubicBezTo>
                  <a:close/>
                </a:path>
              </a:pathLst>
            </a:custGeom>
            <a:grpFill/>
            <a:ln w="27192" cap="flat">
              <a:noFill/>
              <a:prstDash val="solid"/>
              <a:miter/>
            </a:ln>
          </p:spPr>
          <p:txBody>
            <a:bodyPr rtlCol="0" anchor="ctr"/>
            <a:lstStyle/>
            <a:p>
              <a:endParaRPr lang="uk-UA" sz="900"/>
            </a:p>
          </p:txBody>
        </p:sp>
        <p:sp>
          <p:nvSpPr>
            <p:cNvPr id="233" name="Freeform: Shape 232">
              <a:extLst>
                <a:ext uri="{FF2B5EF4-FFF2-40B4-BE49-F238E27FC236}">
                  <a16:creationId xmlns:a16="http://schemas.microsoft.com/office/drawing/2014/main" id="{1ED798F2-4BC2-5969-5A70-7852B59D3246}"/>
                </a:ext>
              </a:extLst>
            </p:cNvPr>
            <p:cNvSpPr/>
            <p:nvPr/>
          </p:nvSpPr>
          <p:spPr>
            <a:xfrm>
              <a:off x="24330194" y="370921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234" name="Freeform: Shape 233">
              <a:extLst>
                <a:ext uri="{FF2B5EF4-FFF2-40B4-BE49-F238E27FC236}">
                  <a16:creationId xmlns:a16="http://schemas.microsoft.com/office/drawing/2014/main" id="{265DC971-15DC-A2CB-ABD4-609BAB0AF871}"/>
                </a:ext>
              </a:extLst>
            </p:cNvPr>
            <p:cNvSpPr/>
            <p:nvPr/>
          </p:nvSpPr>
          <p:spPr>
            <a:xfrm>
              <a:off x="835769" y="4579374"/>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35" name="Freeform: Shape 234">
              <a:extLst>
                <a:ext uri="{FF2B5EF4-FFF2-40B4-BE49-F238E27FC236}">
                  <a16:creationId xmlns:a16="http://schemas.microsoft.com/office/drawing/2014/main" id="{F3CD227B-9495-F5C8-D529-FFC770D5C8C9}"/>
                </a:ext>
              </a:extLst>
            </p:cNvPr>
            <p:cNvSpPr/>
            <p:nvPr/>
          </p:nvSpPr>
          <p:spPr>
            <a:xfrm>
              <a:off x="-34398" y="4579374"/>
              <a:ext cx="435063" cy="435077"/>
            </a:xfrm>
            <a:custGeom>
              <a:avLst/>
              <a:gdLst>
                <a:gd name="connsiteX0" fmla="*/ 435064 w 435063"/>
                <a:gd name="connsiteY0" fmla="*/ 435077 h 435077"/>
                <a:gd name="connsiteX1" fmla="*/ 435064 w 435063"/>
                <a:gd name="connsiteY1" fmla="*/ 217539 h 435077"/>
                <a:gd name="connsiteX2" fmla="*/ 435064 w 435063"/>
                <a:gd name="connsiteY2" fmla="*/ 27 h 435077"/>
                <a:gd name="connsiteX3" fmla="*/ 217552 w 435063"/>
                <a:gd name="connsiteY3" fmla="*/ 27 h 435077"/>
                <a:gd name="connsiteX4" fmla="*/ 435064 w 435063"/>
                <a:gd name="connsiteY4" fmla="*/ 217539 h 435077"/>
                <a:gd name="connsiteX5" fmla="*/ 217552 w 435063"/>
                <a:gd name="connsiteY5" fmla="*/ 435077 h 435077"/>
                <a:gd name="connsiteX6" fmla="*/ 435064 w 435063"/>
                <a:gd name="connsiteY6" fmla="*/ 435077 h 435077"/>
                <a:gd name="connsiteX7" fmla="*/ 0 w 435063"/>
                <a:gd name="connsiteY7" fmla="*/ 217539 h 435077"/>
                <a:gd name="connsiteX8" fmla="*/ 0 w 435063"/>
                <a:gd name="connsiteY8" fmla="*/ 0 h 435077"/>
                <a:gd name="connsiteX9" fmla="*/ 217525 w 435063"/>
                <a:gd name="connsiteY9" fmla="*/ 217539 h 435077"/>
                <a:gd name="connsiteX10" fmla="*/ 0 w 435063"/>
                <a:gd name="connsiteY10" fmla="*/ 217539 h 435077"/>
                <a:gd name="connsiteX11" fmla="*/ 0 w 435063"/>
                <a:gd name="connsiteY11" fmla="*/ 435077 h 435077"/>
                <a:gd name="connsiteX12" fmla="*/ 0 w 435063"/>
                <a:gd name="connsiteY12" fmla="*/ 217539 h 435077"/>
                <a:gd name="connsiteX13" fmla="*/ 217525 w 435063"/>
                <a:gd name="connsiteY13" fmla="*/ 217539 h 435077"/>
                <a:gd name="connsiteX14" fmla="*/ 0 w 435063"/>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63" h="435077">
                  <a:moveTo>
                    <a:pt x="435064" y="435077"/>
                  </a:moveTo>
                  <a:lnTo>
                    <a:pt x="435064" y="217539"/>
                  </a:lnTo>
                  <a:lnTo>
                    <a:pt x="435064" y="27"/>
                  </a:lnTo>
                  <a:lnTo>
                    <a:pt x="217552" y="27"/>
                  </a:lnTo>
                  <a:lnTo>
                    <a:pt x="435064" y="217539"/>
                  </a:lnTo>
                  <a:lnTo>
                    <a:pt x="217552" y="435077"/>
                  </a:lnTo>
                  <a:lnTo>
                    <a:pt x="435064" y="435077"/>
                  </a:lnTo>
                  <a:close/>
                  <a:moveTo>
                    <a:pt x="0" y="217539"/>
                  </a:moveTo>
                  <a:lnTo>
                    <a:pt x="0" y="0"/>
                  </a:lnTo>
                  <a:lnTo>
                    <a:pt x="217525" y="217539"/>
                  </a:lnTo>
                  <a:lnTo>
                    <a:pt x="0" y="217539"/>
                  </a:lnTo>
                  <a:close/>
                  <a:moveTo>
                    <a:pt x="0" y="435077"/>
                  </a:moveTo>
                  <a:lnTo>
                    <a:pt x="0" y="217539"/>
                  </a:lnTo>
                  <a:lnTo>
                    <a:pt x="217525" y="217539"/>
                  </a:lnTo>
                  <a:lnTo>
                    <a:pt x="0" y="435077"/>
                  </a:lnTo>
                  <a:close/>
                </a:path>
              </a:pathLst>
            </a:custGeom>
            <a:grpFill/>
            <a:ln w="27192" cap="flat">
              <a:noFill/>
              <a:prstDash val="solid"/>
              <a:miter/>
            </a:ln>
          </p:spPr>
          <p:txBody>
            <a:bodyPr rtlCol="0" anchor="ctr"/>
            <a:lstStyle/>
            <a:p>
              <a:endParaRPr lang="uk-UA" sz="900"/>
            </a:p>
          </p:txBody>
        </p:sp>
        <p:sp>
          <p:nvSpPr>
            <p:cNvPr id="236" name="Freeform: Shape 235">
              <a:extLst>
                <a:ext uri="{FF2B5EF4-FFF2-40B4-BE49-F238E27FC236}">
                  <a16:creationId xmlns:a16="http://schemas.microsoft.com/office/drawing/2014/main" id="{3758DF89-865A-2E11-5A7C-F586D997C031}"/>
                </a:ext>
              </a:extLst>
            </p:cNvPr>
            <p:cNvSpPr/>
            <p:nvPr/>
          </p:nvSpPr>
          <p:spPr>
            <a:xfrm>
              <a:off x="1705924" y="4579374"/>
              <a:ext cx="435077" cy="435077"/>
            </a:xfrm>
            <a:custGeom>
              <a:avLst/>
              <a:gdLst>
                <a:gd name="connsiteX0" fmla="*/ 435077 w 435077"/>
                <a:gd name="connsiteY0" fmla="*/ 435077 h 435077"/>
                <a:gd name="connsiteX1" fmla="*/ 435077 w 435077"/>
                <a:gd name="connsiteY1" fmla="*/ 0 h 435077"/>
                <a:gd name="connsiteX2" fmla="*/ 217566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6"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37" name="Freeform: Shape 236">
              <a:extLst>
                <a:ext uri="{FF2B5EF4-FFF2-40B4-BE49-F238E27FC236}">
                  <a16:creationId xmlns:a16="http://schemas.microsoft.com/office/drawing/2014/main" id="{59FDDD8B-C4A2-DE49-80BA-2E8093A103C9}"/>
                </a:ext>
              </a:extLst>
            </p:cNvPr>
            <p:cNvSpPr/>
            <p:nvPr/>
          </p:nvSpPr>
          <p:spPr>
            <a:xfrm>
              <a:off x="2576106" y="457937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3" y="113038"/>
                    <a:pt x="0" y="57702"/>
                    <a:pt x="0" y="0"/>
                  </a:cubicBezTo>
                  <a:lnTo>
                    <a:pt x="217539" y="0"/>
                  </a:lnTo>
                  <a:lnTo>
                    <a:pt x="435077" y="0"/>
                  </a:lnTo>
                  <a:cubicBezTo>
                    <a:pt x="435077" y="57702"/>
                    <a:pt x="412154" y="113038"/>
                    <a:pt x="371366" y="153827"/>
                  </a:cubicBezTo>
                  <a:cubicBezTo>
                    <a:pt x="330550" y="194616"/>
                    <a:pt x="275214" y="217539"/>
                    <a:pt x="217539" y="217539"/>
                  </a:cubicBezTo>
                  <a:cubicBezTo>
                    <a:pt x="159837" y="217539"/>
                    <a:pt x="104500" y="194616"/>
                    <a:pt x="63712" y="153827"/>
                  </a:cubicBezTo>
                  <a:close/>
                  <a:moveTo>
                    <a:pt x="63712" y="281250"/>
                  </a:moveTo>
                  <a:cubicBezTo>
                    <a:pt x="22923" y="322066"/>
                    <a:pt x="0" y="377375"/>
                    <a:pt x="0" y="435077"/>
                  </a:cubicBezTo>
                  <a:lnTo>
                    <a:pt x="217539" y="435077"/>
                  </a:lnTo>
                  <a:lnTo>
                    <a:pt x="435077" y="435077"/>
                  </a:lnTo>
                  <a:cubicBezTo>
                    <a:pt x="435077" y="377375"/>
                    <a:pt x="412154" y="322066"/>
                    <a:pt x="371366" y="281250"/>
                  </a:cubicBezTo>
                  <a:cubicBezTo>
                    <a:pt x="330550" y="240462"/>
                    <a:pt x="275214" y="217539"/>
                    <a:pt x="217539" y="217539"/>
                  </a:cubicBezTo>
                  <a:cubicBezTo>
                    <a:pt x="159837" y="217539"/>
                    <a:pt x="104500" y="240462"/>
                    <a:pt x="63712" y="281250"/>
                  </a:cubicBezTo>
                  <a:close/>
                </a:path>
              </a:pathLst>
            </a:custGeom>
            <a:grpFill/>
            <a:ln w="27192" cap="flat">
              <a:noFill/>
              <a:prstDash val="solid"/>
              <a:miter/>
            </a:ln>
          </p:spPr>
          <p:txBody>
            <a:bodyPr rtlCol="0" anchor="ctr"/>
            <a:lstStyle/>
            <a:p>
              <a:endParaRPr lang="uk-UA" sz="900"/>
            </a:p>
          </p:txBody>
        </p:sp>
        <p:sp>
          <p:nvSpPr>
            <p:cNvPr id="238" name="Freeform: Shape 237">
              <a:extLst>
                <a:ext uri="{FF2B5EF4-FFF2-40B4-BE49-F238E27FC236}">
                  <a16:creationId xmlns:a16="http://schemas.microsoft.com/office/drawing/2014/main" id="{4C049AAF-997A-A00F-442C-8A94E69AF996}"/>
                </a:ext>
              </a:extLst>
            </p:cNvPr>
            <p:cNvSpPr/>
            <p:nvPr/>
          </p:nvSpPr>
          <p:spPr>
            <a:xfrm>
              <a:off x="4316416" y="4579374"/>
              <a:ext cx="435077" cy="435077"/>
            </a:xfrm>
            <a:custGeom>
              <a:avLst/>
              <a:gdLst>
                <a:gd name="connsiteX0" fmla="*/ 217565 w 435077"/>
                <a:gd name="connsiteY0" fmla="*/ 435077 h 435077"/>
                <a:gd name="connsiteX1" fmla="*/ 217565 w 435077"/>
                <a:gd name="connsiteY1" fmla="*/ 0 h 435077"/>
                <a:gd name="connsiteX2" fmla="*/ 435077 w 435077"/>
                <a:gd name="connsiteY2" fmla="*/ 217539 h 435077"/>
                <a:gd name="connsiteX3" fmla="*/ 217565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65" y="435077"/>
                  </a:moveTo>
                  <a:lnTo>
                    <a:pt x="217565" y="0"/>
                  </a:lnTo>
                  <a:lnTo>
                    <a:pt x="435077" y="217539"/>
                  </a:lnTo>
                  <a:lnTo>
                    <a:pt x="217565"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39" name="Freeform: Shape 238">
              <a:extLst>
                <a:ext uri="{FF2B5EF4-FFF2-40B4-BE49-F238E27FC236}">
                  <a16:creationId xmlns:a16="http://schemas.microsoft.com/office/drawing/2014/main" id="{41FE1D9A-DA28-3A88-D6E2-E198AAFAE346}"/>
                </a:ext>
              </a:extLst>
            </p:cNvPr>
            <p:cNvSpPr/>
            <p:nvPr/>
          </p:nvSpPr>
          <p:spPr>
            <a:xfrm>
              <a:off x="3446261" y="4579374"/>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6 w 435077"/>
                <a:gd name="connsiteY3" fmla="*/ 27 h 435077"/>
                <a:gd name="connsiteX4" fmla="*/ 435077 w 435077"/>
                <a:gd name="connsiteY4" fmla="*/ 217539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6" y="27"/>
                  </a:lnTo>
                  <a:lnTo>
                    <a:pt x="435077" y="217539"/>
                  </a:lnTo>
                  <a:lnTo>
                    <a:pt x="217566"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40" name="Freeform: Shape 239">
              <a:extLst>
                <a:ext uri="{FF2B5EF4-FFF2-40B4-BE49-F238E27FC236}">
                  <a16:creationId xmlns:a16="http://schemas.microsoft.com/office/drawing/2014/main" id="{C4EE162F-7571-B9FB-92B9-6D8CC697054B}"/>
                </a:ext>
              </a:extLst>
            </p:cNvPr>
            <p:cNvSpPr/>
            <p:nvPr/>
          </p:nvSpPr>
          <p:spPr>
            <a:xfrm>
              <a:off x="5186597" y="4579374"/>
              <a:ext cx="435077" cy="435077"/>
            </a:xfrm>
            <a:custGeom>
              <a:avLst/>
              <a:gdLst>
                <a:gd name="connsiteX0" fmla="*/ 435077 w 435077"/>
                <a:gd name="connsiteY0" fmla="*/ 435077 h 435077"/>
                <a:gd name="connsiteX1" fmla="*/ 435077 w 435077"/>
                <a:gd name="connsiteY1" fmla="*/ 0 h 435077"/>
                <a:gd name="connsiteX2" fmla="*/ 217566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6"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41" name="Freeform: Shape 240">
              <a:extLst>
                <a:ext uri="{FF2B5EF4-FFF2-40B4-BE49-F238E27FC236}">
                  <a16:creationId xmlns:a16="http://schemas.microsoft.com/office/drawing/2014/main" id="{4A7FEF9C-C092-9A63-A858-B80BD4859A1B}"/>
                </a:ext>
              </a:extLst>
            </p:cNvPr>
            <p:cNvSpPr/>
            <p:nvPr/>
          </p:nvSpPr>
          <p:spPr>
            <a:xfrm>
              <a:off x="6056752" y="457937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8"/>
                    <a:pt x="0" y="57702"/>
                    <a:pt x="0" y="0"/>
                  </a:cubicBezTo>
                  <a:lnTo>
                    <a:pt x="217539" y="0"/>
                  </a:lnTo>
                  <a:lnTo>
                    <a:pt x="435077" y="0"/>
                  </a:lnTo>
                  <a:cubicBezTo>
                    <a:pt x="435077" y="57702"/>
                    <a:pt x="412155" y="113038"/>
                    <a:pt x="371366" y="153827"/>
                  </a:cubicBezTo>
                  <a:cubicBezTo>
                    <a:pt x="330550" y="194616"/>
                    <a:pt x="275241" y="217539"/>
                    <a:pt x="217539" y="217539"/>
                  </a:cubicBezTo>
                  <a:cubicBezTo>
                    <a:pt x="159837" y="217539"/>
                    <a:pt x="104501" y="194616"/>
                    <a:pt x="63712" y="153827"/>
                  </a:cubicBezTo>
                  <a:close/>
                  <a:moveTo>
                    <a:pt x="63712" y="281250"/>
                  </a:moveTo>
                  <a:cubicBezTo>
                    <a:pt x="22924" y="322066"/>
                    <a:pt x="0" y="377375"/>
                    <a:pt x="0" y="435077"/>
                  </a:cubicBezTo>
                  <a:lnTo>
                    <a:pt x="217539" y="435077"/>
                  </a:lnTo>
                  <a:lnTo>
                    <a:pt x="435077" y="435077"/>
                  </a:lnTo>
                  <a:cubicBezTo>
                    <a:pt x="435077" y="377375"/>
                    <a:pt x="412155" y="322066"/>
                    <a:pt x="371366" y="281250"/>
                  </a:cubicBezTo>
                  <a:cubicBezTo>
                    <a:pt x="330550" y="240462"/>
                    <a:pt x="275241" y="217539"/>
                    <a:pt x="217539" y="217539"/>
                  </a:cubicBezTo>
                  <a:cubicBezTo>
                    <a:pt x="159837" y="217539"/>
                    <a:pt x="104501" y="240462"/>
                    <a:pt x="63712" y="281250"/>
                  </a:cubicBezTo>
                  <a:close/>
                </a:path>
              </a:pathLst>
            </a:custGeom>
            <a:grpFill/>
            <a:ln w="27192" cap="flat">
              <a:noFill/>
              <a:prstDash val="solid"/>
              <a:miter/>
            </a:ln>
          </p:spPr>
          <p:txBody>
            <a:bodyPr rtlCol="0" anchor="ctr"/>
            <a:lstStyle/>
            <a:p>
              <a:endParaRPr lang="uk-UA" sz="900"/>
            </a:p>
          </p:txBody>
        </p:sp>
        <p:sp>
          <p:nvSpPr>
            <p:cNvPr id="242" name="Freeform: Shape 241">
              <a:extLst>
                <a:ext uri="{FF2B5EF4-FFF2-40B4-BE49-F238E27FC236}">
                  <a16:creationId xmlns:a16="http://schemas.microsoft.com/office/drawing/2014/main" id="{C79CBC62-7E12-9CF8-F247-A565C4B9A17F}"/>
                </a:ext>
              </a:extLst>
            </p:cNvPr>
            <p:cNvSpPr/>
            <p:nvPr/>
          </p:nvSpPr>
          <p:spPr>
            <a:xfrm>
              <a:off x="7797062" y="4579374"/>
              <a:ext cx="435077" cy="435077"/>
            </a:xfrm>
            <a:custGeom>
              <a:avLst/>
              <a:gdLst>
                <a:gd name="connsiteX0" fmla="*/ 217566 w 435077"/>
                <a:gd name="connsiteY0" fmla="*/ 435077 h 435077"/>
                <a:gd name="connsiteX1" fmla="*/ 217566 w 435077"/>
                <a:gd name="connsiteY1" fmla="*/ 0 h 435077"/>
                <a:gd name="connsiteX2" fmla="*/ 435077 w 435077"/>
                <a:gd name="connsiteY2" fmla="*/ 217539 h 435077"/>
                <a:gd name="connsiteX3" fmla="*/ 217566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66" y="435077"/>
                  </a:moveTo>
                  <a:lnTo>
                    <a:pt x="217566" y="0"/>
                  </a:lnTo>
                  <a:lnTo>
                    <a:pt x="435077" y="217539"/>
                  </a:lnTo>
                  <a:lnTo>
                    <a:pt x="217566"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43" name="Freeform: Shape 242">
              <a:extLst>
                <a:ext uri="{FF2B5EF4-FFF2-40B4-BE49-F238E27FC236}">
                  <a16:creationId xmlns:a16="http://schemas.microsoft.com/office/drawing/2014/main" id="{E50079FB-1EBB-E8DC-2125-1E4EC2207DE4}"/>
                </a:ext>
              </a:extLst>
            </p:cNvPr>
            <p:cNvSpPr/>
            <p:nvPr/>
          </p:nvSpPr>
          <p:spPr>
            <a:xfrm>
              <a:off x="6926907" y="4579374"/>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6 w 435077"/>
                <a:gd name="connsiteY3" fmla="*/ 27 h 435077"/>
                <a:gd name="connsiteX4" fmla="*/ 435077 w 435077"/>
                <a:gd name="connsiteY4" fmla="*/ 217539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6" y="27"/>
                  </a:lnTo>
                  <a:lnTo>
                    <a:pt x="435077" y="217539"/>
                  </a:lnTo>
                  <a:lnTo>
                    <a:pt x="217566"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44" name="Freeform: Shape 243">
              <a:extLst>
                <a:ext uri="{FF2B5EF4-FFF2-40B4-BE49-F238E27FC236}">
                  <a16:creationId xmlns:a16="http://schemas.microsoft.com/office/drawing/2014/main" id="{B7BE8EFE-F261-6CBA-F6E6-DDC2B14B3A94}"/>
                </a:ext>
              </a:extLst>
            </p:cNvPr>
            <p:cNvSpPr/>
            <p:nvPr/>
          </p:nvSpPr>
          <p:spPr>
            <a:xfrm>
              <a:off x="8667217" y="4579374"/>
              <a:ext cx="435104" cy="435077"/>
            </a:xfrm>
            <a:custGeom>
              <a:avLst/>
              <a:gdLst>
                <a:gd name="connsiteX0" fmla="*/ 435105 w 435104"/>
                <a:gd name="connsiteY0" fmla="*/ 435077 h 435077"/>
                <a:gd name="connsiteX1" fmla="*/ 435105 w 435104"/>
                <a:gd name="connsiteY1" fmla="*/ 0 h 435077"/>
                <a:gd name="connsiteX2" fmla="*/ 217566 w 435104"/>
                <a:gd name="connsiteY2" fmla="*/ 217539 h 435077"/>
                <a:gd name="connsiteX3" fmla="*/ 435105 w 435104"/>
                <a:gd name="connsiteY3" fmla="*/ 435077 h 435077"/>
                <a:gd name="connsiteX4" fmla="*/ 0 w 435104"/>
                <a:gd name="connsiteY4" fmla="*/ 435077 h 435077"/>
                <a:gd name="connsiteX5" fmla="*/ 0 w 435104"/>
                <a:gd name="connsiteY5" fmla="*/ 0 h 435077"/>
                <a:gd name="connsiteX6" fmla="*/ 217539 w 435104"/>
                <a:gd name="connsiteY6" fmla="*/ 217539 h 435077"/>
                <a:gd name="connsiteX7" fmla="*/ 0 w 435104"/>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104" h="435077">
                  <a:moveTo>
                    <a:pt x="435105" y="435077"/>
                  </a:moveTo>
                  <a:lnTo>
                    <a:pt x="435105" y="0"/>
                  </a:lnTo>
                  <a:lnTo>
                    <a:pt x="217566" y="217539"/>
                  </a:lnTo>
                  <a:lnTo>
                    <a:pt x="435105"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45" name="Freeform: Shape 244">
              <a:extLst>
                <a:ext uri="{FF2B5EF4-FFF2-40B4-BE49-F238E27FC236}">
                  <a16:creationId xmlns:a16="http://schemas.microsoft.com/office/drawing/2014/main" id="{8610BAC8-7A53-3CFE-7DB5-AE20546B93A4}"/>
                </a:ext>
              </a:extLst>
            </p:cNvPr>
            <p:cNvSpPr/>
            <p:nvPr/>
          </p:nvSpPr>
          <p:spPr>
            <a:xfrm>
              <a:off x="9537399" y="4579374"/>
              <a:ext cx="435077" cy="435077"/>
            </a:xfrm>
            <a:custGeom>
              <a:avLst/>
              <a:gdLst>
                <a:gd name="connsiteX0" fmla="*/ 63711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1 w 435077"/>
                <a:gd name="connsiteY6" fmla="*/ 153827 h 435077"/>
                <a:gd name="connsiteX7" fmla="*/ 63711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1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1" y="153827"/>
                  </a:moveTo>
                  <a:cubicBezTo>
                    <a:pt x="22923" y="113038"/>
                    <a:pt x="0" y="57702"/>
                    <a:pt x="0" y="0"/>
                  </a:cubicBezTo>
                  <a:lnTo>
                    <a:pt x="217539" y="0"/>
                  </a:lnTo>
                  <a:lnTo>
                    <a:pt x="435077" y="0"/>
                  </a:lnTo>
                  <a:cubicBezTo>
                    <a:pt x="435077" y="57702"/>
                    <a:pt x="412155" y="113038"/>
                    <a:pt x="371366" y="153827"/>
                  </a:cubicBezTo>
                  <a:cubicBezTo>
                    <a:pt x="330550" y="194616"/>
                    <a:pt x="275214" y="217539"/>
                    <a:pt x="217539" y="217539"/>
                  </a:cubicBezTo>
                  <a:cubicBezTo>
                    <a:pt x="159836" y="217539"/>
                    <a:pt x="104500" y="194616"/>
                    <a:pt x="63711" y="153827"/>
                  </a:cubicBezTo>
                  <a:close/>
                  <a:moveTo>
                    <a:pt x="63711" y="281250"/>
                  </a:moveTo>
                  <a:cubicBezTo>
                    <a:pt x="22923" y="322066"/>
                    <a:pt x="0" y="377375"/>
                    <a:pt x="0" y="435077"/>
                  </a:cubicBezTo>
                  <a:lnTo>
                    <a:pt x="217539" y="435077"/>
                  </a:lnTo>
                  <a:lnTo>
                    <a:pt x="435077" y="435077"/>
                  </a:lnTo>
                  <a:cubicBezTo>
                    <a:pt x="435077" y="377375"/>
                    <a:pt x="412155" y="322066"/>
                    <a:pt x="371366" y="281250"/>
                  </a:cubicBezTo>
                  <a:cubicBezTo>
                    <a:pt x="330550" y="240462"/>
                    <a:pt x="275214" y="217539"/>
                    <a:pt x="217539" y="217539"/>
                  </a:cubicBezTo>
                  <a:cubicBezTo>
                    <a:pt x="159836" y="217539"/>
                    <a:pt x="104500" y="240462"/>
                    <a:pt x="63711" y="281250"/>
                  </a:cubicBezTo>
                  <a:close/>
                </a:path>
              </a:pathLst>
            </a:custGeom>
            <a:grpFill/>
            <a:ln w="27192" cap="flat">
              <a:noFill/>
              <a:prstDash val="solid"/>
              <a:miter/>
            </a:ln>
          </p:spPr>
          <p:txBody>
            <a:bodyPr rtlCol="0" anchor="ctr"/>
            <a:lstStyle/>
            <a:p>
              <a:endParaRPr lang="uk-UA" sz="900"/>
            </a:p>
          </p:txBody>
        </p:sp>
        <p:sp>
          <p:nvSpPr>
            <p:cNvPr id="246" name="Freeform: Shape 245">
              <a:extLst>
                <a:ext uri="{FF2B5EF4-FFF2-40B4-BE49-F238E27FC236}">
                  <a16:creationId xmlns:a16="http://schemas.microsoft.com/office/drawing/2014/main" id="{97C8CE3E-8F36-3160-8EB8-5AE6535C3357}"/>
                </a:ext>
              </a:extLst>
            </p:cNvPr>
            <p:cNvSpPr/>
            <p:nvPr/>
          </p:nvSpPr>
          <p:spPr>
            <a:xfrm>
              <a:off x="11277709" y="4579374"/>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47" name="Freeform: Shape 246">
              <a:extLst>
                <a:ext uri="{FF2B5EF4-FFF2-40B4-BE49-F238E27FC236}">
                  <a16:creationId xmlns:a16="http://schemas.microsoft.com/office/drawing/2014/main" id="{4FF1A6E4-51A3-3A67-F8C4-4D6CDC8DB1C3}"/>
                </a:ext>
              </a:extLst>
            </p:cNvPr>
            <p:cNvSpPr/>
            <p:nvPr/>
          </p:nvSpPr>
          <p:spPr>
            <a:xfrm>
              <a:off x="10407554" y="4579374"/>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39 w 435077"/>
                <a:gd name="connsiteY3" fmla="*/ 27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1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1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39" y="27"/>
                  </a:lnTo>
                  <a:lnTo>
                    <a:pt x="435077" y="217539"/>
                  </a:lnTo>
                  <a:lnTo>
                    <a:pt x="217539" y="435077"/>
                  </a:lnTo>
                  <a:lnTo>
                    <a:pt x="435077" y="435077"/>
                  </a:lnTo>
                  <a:close/>
                  <a:moveTo>
                    <a:pt x="0" y="217539"/>
                  </a:moveTo>
                  <a:lnTo>
                    <a:pt x="0" y="0"/>
                  </a:lnTo>
                  <a:lnTo>
                    <a:pt x="217511" y="217539"/>
                  </a:lnTo>
                  <a:lnTo>
                    <a:pt x="0" y="217539"/>
                  </a:lnTo>
                  <a:close/>
                  <a:moveTo>
                    <a:pt x="0" y="435077"/>
                  </a:moveTo>
                  <a:lnTo>
                    <a:pt x="0" y="217539"/>
                  </a:lnTo>
                  <a:lnTo>
                    <a:pt x="217511" y="217539"/>
                  </a:lnTo>
                  <a:lnTo>
                    <a:pt x="0" y="435077"/>
                  </a:lnTo>
                  <a:close/>
                </a:path>
              </a:pathLst>
            </a:custGeom>
            <a:grpFill/>
            <a:ln w="27192" cap="flat">
              <a:noFill/>
              <a:prstDash val="solid"/>
              <a:miter/>
            </a:ln>
          </p:spPr>
          <p:txBody>
            <a:bodyPr rtlCol="0" anchor="ctr"/>
            <a:lstStyle/>
            <a:p>
              <a:endParaRPr lang="uk-UA" sz="900"/>
            </a:p>
          </p:txBody>
        </p:sp>
        <p:sp>
          <p:nvSpPr>
            <p:cNvPr id="248" name="Freeform: Shape 247">
              <a:extLst>
                <a:ext uri="{FF2B5EF4-FFF2-40B4-BE49-F238E27FC236}">
                  <a16:creationId xmlns:a16="http://schemas.microsoft.com/office/drawing/2014/main" id="{8CDC7A51-01A0-9F4A-4E76-86F010C55E0B}"/>
                </a:ext>
              </a:extLst>
            </p:cNvPr>
            <p:cNvSpPr/>
            <p:nvPr/>
          </p:nvSpPr>
          <p:spPr>
            <a:xfrm>
              <a:off x="12147891" y="4579374"/>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249" name="Freeform: Shape 248">
              <a:extLst>
                <a:ext uri="{FF2B5EF4-FFF2-40B4-BE49-F238E27FC236}">
                  <a16:creationId xmlns:a16="http://schemas.microsoft.com/office/drawing/2014/main" id="{8346011F-A9E2-2D51-A049-FFBE1BCB0990}"/>
                </a:ext>
              </a:extLst>
            </p:cNvPr>
            <p:cNvSpPr/>
            <p:nvPr/>
          </p:nvSpPr>
          <p:spPr>
            <a:xfrm>
              <a:off x="13018045" y="457937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8"/>
                    <a:pt x="0" y="57702"/>
                    <a:pt x="0" y="0"/>
                  </a:cubicBezTo>
                  <a:lnTo>
                    <a:pt x="217539" y="0"/>
                  </a:lnTo>
                  <a:lnTo>
                    <a:pt x="435077" y="0"/>
                  </a:lnTo>
                  <a:cubicBezTo>
                    <a:pt x="435077" y="57702"/>
                    <a:pt x="412154" y="113038"/>
                    <a:pt x="371365" y="153827"/>
                  </a:cubicBezTo>
                  <a:cubicBezTo>
                    <a:pt x="330550" y="194616"/>
                    <a:pt x="275241" y="217539"/>
                    <a:pt x="217539" y="217539"/>
                  </a:cubicBezTo>
                  <a:cubicBezTo>
                    <a:pt x="159836" y="217539"/>
                    <a:pt x="104501" y="194616"/>
                    <a:pt x="63712" y="153827"/>
                  </a:cubicBezTo>
                  <a:close/>
                  <a:moveTo>
                    <a:pt x="63712" y="281250"/>
                  </a:moveTo>
                  <a:cubicBezTo>
                    <a:pt x="22924" y="322066"/>
                    <a:pt x="0" y="377375"/>
                    <a:pt x="0" y="435077"/>
                  </a:cubicBezTo>
                  <a:lnTo>
                    <a:pt x="217539" y="435077"/>
                  </a:lnTo>
                  <a:lnTo>
                    <a:pt x="435077" y="435077"/>
                  </a:lnTo>
                  <a:cubicBezTo>
                    <a:pt x="435077" y="377375"/>
                    <a:pt x="412154" y="322066"/>
                    <a:pt x="371365" y="281250"/>
                  </a:cubicBezTo>
                  <a:cubicBezTo>
                    <a:pt x="330550" y="240462"/>
                    <a:pt x="275241" y="217539"/>
                    <a:pt x="217539" y="217539"/>
                  </a:cubicBezTo>
                  <a:cubicBezTo>
                    <a:pt x="159836" y="217539"/>
                    <a:pt x="104501" y="240462"/>
                    <a:pt x="63712" y="281250"/>
                  </a:cubicBezTo>
                  <a:close/>
                </a:path>
              </a:pathLst>
            </a:custGeom>
            <a:grpFill/>
            <a:ln w="27192" cap="flat">
              <a:noFill/>
              <a:prstDash val="solid"/>
              <a:miter/>
            </a:ln>
          </p:spPr>
          <p:txBody>
            <a:bodyPr rtlCol="0" anchor="ctr"/>
            <a:lstStyle/>
            <a:p>
              <a:endParaRPr lang="uk-UA" sz="900"/>
            </a:p>
          </p:txBody>
        </p:sp>
        <p:sp>
          <p:nvSpPr>
            <p:cNvPr id="250" name="Freeform: Shape 249">
              <a:extLst>
                <a:ext uri="{FF2B5EF4-FFF2-40B4-BE49-F238E27FC236}">
                  <a16:creationId xmlns:a16="http://schemas.microsoft.com/office/drawing/2014/main" id="{62FF4779-3719-8473-9B8D-001B15B9476F}"/>
                </a:ext>
              </a:extLst>
            </p:cNvPr>
            <p:cNvSpPr/>
            <p:nvPr/>
          </p:nvSpPr>
          <p:spPr>
            <a:xfrm>
              <a:off x="14758382" y="4579374"/>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51" name="Freeform: Shape 250">
              <a:extLst>
                <a:ext uri="{FF2B5EF4-FFF2-40B4-BE49-F238E27FC236}">
                  <a16:creationId xmlns:a16="http://schemas.microsoft.com/office/drawing/2014/main" id="{B22374F4-2DB0-AA4D-17F3-6B2A8DD9DDB0}"/>
                </a:ext>
              </a:extLst>
            </p:cNvPr>
            <p:cNvSpPr/>
            <p:nvPr/>
          </p:nvSpPr>
          <p:spPr>
            <a:xfrm>
              <a:off x="13888200" y="4579374"/>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5 w 435077"/>
                <a:gd name="connsiteY3" fmla="*/ 27 h 435077"/>
                <a:gd name="connsiteX4" fmla="*/ 435077 w 435077"/>
                <a:gd name="connsiteY4" fmla="*/ 217539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5" y="27"/>
                  </a:lnTo>
                  <a:lnTo>
                    <a:pt x="435077" y="217539"/>
                  </a:lnTo>
                  <a:lnTo>
                    <a:pt x="217565"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52" name="Freeform: Shape 251">
              <a:extLst>
                <a:ext uri="{FF2B5EF4-FFF2-40B4-BE49-F238E27FC236}">
                  <a16:creationId xmlns:a16="http://schemas.microsoft.com/office/drawing/2014/main" id="{E475277F-844E-692B-C31A-8C4C05A856D8}"/>
                </a:ext>
              </a:extLst>
            </p:cNvPr>
            <p:cNvSpPr/>
            <p:nvPr/>
          </p:nvSpPr>
          <p:spPr>
            <a:xfrm>
              <a:off x="15628565" y="4579374"/>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0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0" y="217539"/>
                  </a:lnTo>
                  <a:lnTo>
                    <a:pt x="0" y="435077"/>
                  </a:lnTo>
                  <a:close/>
                </a:path>
              </a:pathLst>
            </a:custGeom>
            <a:grpFill/>
            <a:ln w="27192" cap="flat">
              <a:noFill/>
              <a:prstDash val="solid"/>
              <a:miter/>
            </a:ln>
          </p:spPr>
          <p:txBody>
            <a:bodyPr rtlCol="0" anchor="ctr"/>
            <a:lstStyle/>
            <a:p>
              <a:endParaRPr lang="uk-UA" sz="900"/>
            </a:p>
          </p:txBody>
        </p:sp>
        <p:sp>
          <p:nvSpPr>
            <p:cNvPr id="253" name="Freeform: Shape 252">
              <a:extLst>
                <a:ext uri="{FF2B5EF4-FFF2-40B4-BE49-F238E27FC236}">
                  <a16:creationId xmlns:a16="http://schemas.microsoft.com/office/drawing/2014/main" id="{800E888D-6042-CDA2-1842-DE211608436B}"/>
                </a:ext>
              </a:extLst>
            </p:cNvPr>
            <p:cNvSpPr/>
            <p:nvPr/>
          </p:nvSpPr>
          <p:spPr>
            <a:xfrm>
              <a:off x="16498719" y="4579374"/>
              <a:ext cx="435077" cy="435077"/>
            </a:xfrm>
            <a:custGeom>
              <a:avLst/>
              <a:gdLst>
                <a:gd name="connsiteX0" fmla="*/ 63710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0 w 435077"/>
                <a:gd name="connsiteY6" fmla="*/ 153827 h 435077"/>
                <a:gd name="connsiteX7" fmla="*/ 63710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50 h 435077"/>
                <a:gd name="connsiteX12" fmla="*/ 217539 w 435077"/>
                <a:gd name="connsiteY12" fmla="*/ 217539 h 435077"/>
                <a:gd name="connsiteX13" fmla="*/ 63710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7"/>
                  </a:moveTo>
                  <a:cubicBezTo>
                    <a:pt x="22895" y="113038"/>
                    <a:pt x="0" y="57702"/>
                    <a:pt x="0" y="0"/>
                  </a:cubicBezTo>
                  <a:lnTo>
                    <a:pt x="217539" y="0"/>
                  </a:lnTo>
                  <a:lnTo>
                    <a:pt x="435077" y="0"/>
                  </a:lnTo>
                  <a:cubicBezTo>
                    <a:pt x="435077" y="57702"/>
                    <a:pt x="412154" y="113038"/>
                    <a:pt x="371339" y="153827"/>
                  </a:cubicBezTo>
                  <a:cubicBezTo>
                    <a:pt x="330550" y="194616"/>
                    <a:pt x="275213" y="217539"/>
                    <a:pt x="217539" y="217539"/>
                  </a:cubicBezTo>
                  <a:cubicBezTo>
                    <a:pt x="159836" y="217539"/>
                    <a:pt x="104499" y="194616"/>
                    <a:pt x="63710" y="153827"/>
                  </a:cubicBezTo>
                  <a:close/>
                  <a:moveTo>
                    <a:pt x="63710" y="281250"/>
                  </a:moveTo>
                  <a:cubicBezTo>
                    <a:pt x="22895" y="322066"/>
                    <a:pt x="0" y="377375"/>
                    <a:pt x="0" y="435077"/>
                  </a:cubicBezTo>
                  <a:lnTo>
                    <a:pt x="217539" y="435077"/>
                  </a:lnTo>
                  <a:lnTo>
                    <a:pt x="435077" y="435077"/>
                  </a:lnTo>
                  <a:cubicBezTo>
                    <a:pt x="435077" y="377375"/>
                    <a:pt x="412154" y="322066"/>
                    <a:pt x="371339" y="281250"/>
                  </a:cubicBezTo>
                  <a:cubicBezTo>
                    <a:pt x="330550" y="240462"/>
                    <a:pt x="275213" y="217539"/>
                    <a:pt x="217539" y="217539"/>
                  </a:cubicBezTo>
                  <a:cubicBezTo>
                    <a:pt x="159836" y="217539"/>
                    <a:pt x="104499" y="240462"/>
                    <a:pt x="63710" y="281250"/>
                  </a:cubicBezTo>
                  <a:close/>
                </a:path>
              </a:pathLst>
            </a:custGeom>
            <a:grpFill/>
            <a:ln w="27192" cap="flat">
              <a:noFill/>
              <a:prstDash val="solid"/>
              <a:miter/>
            </a:ln>
          </p:spPr>
          <p:txBody>
            <a:bodyPr rtlCol="0" anchor="ctr"/>
            <a:lstStyle/>
            <a:p>
              <a:endParaRPr lang="uk-UA" sz="900"/>
            </a:p>
          </p:txBody>
        </p:sp>
        <p:sp>
          <p:nvSpPr>
            <p:cNvPr id="254" name="Freeform: Shape 253">
              <a:extLst>
                <a:ext uri="{FF2B5EF4-FFF2-40B4-BE49-F238E27FC236}">
                  <a16:creationId xmlns:a16="http://schemas.microsoft.com/office/drawing/2014/main" id="{6D1B2421-74DD-0FC9-D138-1DB2AB8657C2}"/>
                </a:ext>
              </a:extLst>
            </p:cNvPr>
            <p:cNvSpPr/>
            <p:nvPr/>
          </p:nvSpPr>
          <p:spPr>
            <a:xfrm>
              <a:off x="18239029" y="4579374"/>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55" name="Freeform: Shape 254">
              <a:extLst>
                <a:ext uri="{FF2B5EF4-FFF2-40B4-BE49-F238E27FC236}">
                  <a16:creationId xmlns:a16="http://schemas.microsoft.com/office/drawing/2014/main" id="{DD7E8BC2-413C-4993-CAD2-73EDF2122BF9}"/>
                </a:ext>
              </a:extLst>
            </p:cNvPr>
            <p:cNvSpPr/>
            <p:nvPr/>
          </p:nvSpPr>
          <p:spPr>
            <a:xfrm>
              <a:off x="17368874" y="4579374"/>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39 w 435077"/>
                <a:gd name="connsiteY3" fmla="*/ 27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0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0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39" y="27"/>
                  </a:lnTo>
                  <a:lnTo>
                    <a:pt x="435077" y="217539"/>
                  </a:lnTo>
                  <a:lnTo>
                    <a:pt x="217539" y="435077"/>
                  </a:lnTo>
                  <a:lnTo>
                    <a:pt x="435077" y="435077"/>
                  </a:lnTo>
                  <a:close/>
                  <a:moveTo>
                    <a:pt x="0" y="217539"/>
                  </a:moveTo>
                  <a:lnTo>
                    <a:pt x="0" y="0"/>
                  </a:lnTo>
                  <a:lnTo>
                    <a:pt x="217510" y="217539"/>
                  </a:lnTo>
                  <a:lnTo>
                    <a:pt x="0" y="217539"/>
                  </a:lnTo>
                  <a:close/>
                  <a:moveTo>
                    <a:pt x="0" y="435077"/>
                  </a:moveTo>
                  <a:lnTo>
                    <a:pt x="0" y="217539"/>
                  </a:lnTo>
                  <a:lnTo>
                    <a:pt x="217510" y="217539"/>
                  </a:lnTo>
                  <a:lnTo>
                    <a:pt x="0" y="435077"/>
                  </a:lnTo>
                  <a:close/>
                </a:path>
              </a:pathLst>
            </a:custGeom>
            <a:grpFill/>
            <a:ln w="27192" cap="flat">
              <a:noFill/>
              <a:prstDash val="solid"/>
              <a:miter/>
            </a:ln>
          </p:spPr>
          <p:txBody>
            <a:bodyPr rtlCol="0" anchor="ctr"/>
            <a:lstStyle/>
            <a:p>
              <a:endParaRPr lang="uk-UA" sz="900"/>
            </a:p>
          </p:txBody>
        </p:sp>
        <p:sp>
          <p:nvSpPr>
            <p:cNvPr id="256" name="Freeform: Shape 255">
              <a:extLst>
                <a:ext uri="{FF2B5EF4-FFF2-40B4-BE49-F238E27FC236}">
                  <a16:creationId xmlns:a16="http://schemas.microsoft.com/office/drawing/2014/main" id="{C79A9192-7233-1774-D0FC-FEC9D93AFC07}"/>
                </a:ext>
              </a:extLst>
            </p:cNvPr>
            <p:cNvSpPr/>
            <p:nvPr/>
          </p:nvSpPr>
          <p:spPr>
            <a:xfrm>
              <a:off x="19109210" y="4579374"/>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257" name="Freeform: Shape 256">
              <a:extLst>
                <a:ext uri="{FF2B5EF4-FFF2-40B4-BE49-F238E27FC236}">
                  <a16:creationId xmlns:a16="http://schemas.microsoft.com/office/drawing/2014/main" id="{462091A6-7AD7-545C-E88D-80B9784498F1}"/>
                </a:ext>
              </a:extLst>
            </p:cNvPr>
            <p:cNvSpPr/>
            <p:nvPr/>
          </p:nvSpPr>
          <p:spPr>
            <a:xfrm>
              <a:off x="19979365" y="457937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8"/>
                    <a:pt x="0" y="57702"/>
                    <a:pt x="0" y="0"/>
                  </a:cubicBezTo>
                  <a:lnTo>
                    <a:pt x="217539" y="0"/>
                  </a:lnTo>
                  <a:lnTo>
                    <a:pt x="435077" y="0"/>
                  </a:lnTo>
                  <a:cubicBezTo>
                    <a:pt x="435077" y="57702"/>
                    <a:pt x="412154" y="113038"/>
                    <a:pt x="371365" y="153827"/>
                  </a:cubicBezTo>
                  <a:cubicBezTo>
                    <a:pt x="330550" y="194616"/>
                    <a:pt x="275241" y="217539"/>
                    <a:pt x="217539" y="217539"/>
                  </a:cubicBezTo>
                  <a:cubicBezTo>
                    <a:pt x="159836" y="217539"/>
                    <a:pt x="104501" y="194616"/>
                    <a:pt x="63712" y="153827"/>
                  </a:cubicBezTo>
                  <a:close/>
                  <a:moveTo>
                    <a:pt x="63712" y="281250"/>
                  </a:moveTo>
                  <a:cubicBezTo>
                    <a:pt x="22924" y="322066"/>
                    <a:pt x="0" y="377375"/>
                    <a:pt x="0" y="435077"/>
                  </a:cubicBezTo>
                  <a:lnTo>
                    <a:pt x="217539" y="435077"/>
                  </a:lnTo>
                  <a:lnTo>
                    <a:pt x="435077" y="435077"/>
                  </a:lnTo>
                  <a:cubicBezTo>
                    <a:pt x="435077" y="377375"/>
                    <a:pt x="412154" y="322066"/>
                    <a:pt x="371365" y="281250"/>
                  </a:cubicBezTo>
                  <a:cubicBezTo>
                    <a:pt x="330550" y="240462"/>
                    <a:pt x="275241" y="217539"/>
                    <a:pt x="217539" y="217539"/>
                  </a:cubicBezTo>
                  <a:cubicBezTo>
                    <a:pt x="159836" y="217539"/>
                    <a:pt x="104501" y="240462"/>
                    <a:pt x="63712" y="281250"/>
                  </a:cubicBezTo>
                  <a:close/>
                </a:path>
              </a:pathLst>
            </a:custGeom>
            <a:grpFill/>
            <a:ln w="27192" cap="flat">
              <a:noFill/>
              <a:prstDash val="solid"/>
              <a:miter/>
            </a:ln>
          </p:spPr>
          <p:txBody>
            <a:bodyPr rtlCol="0" anchor="ctr"/>
            <a:lstStyle/>
            <a:p>
              <a:endParaRPr lang="uk-UA" sz="900"/>
            </a:p>
          </p:txBody>
        </p:sp>
        <p:sp>
          <p:nvSpPr>
            <p:cNvPr id="258" name="Freeform: Shape 257">
              <a:extLst>
                <a:ext uri="{FF2B5EF4-FFF2-40B4-BE49-F238E27FC236}">
                  <a16:creationId xmlns:a16="http://schemas.microsoft.com/office/drawing/2014/main" id="{7076DCC2-E755-B191-0245-B2F803D5245F}"/>
                </a:ext>
              </a:extLst>
            </p:cNvPr>
            <p:cNvSpPr/>
            <p:nvPr/>
          </p:nvSpPr>
          <p:spPr>
            <a:xfrm>
              <a:off x="21719702" y="4579374"/>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0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0"/>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259" name="Freeform: Shape 258">
              <a:extLst>
                <a:ext uri="{FF2B5EF4-FFF2-40B4-BE49-F238E27FC236}">
                  <a16:creationId xmlns:a16="http://schemas.microsoft.com/office/drawing/2014/main" id="{46F9BFD8-B6C8-5CDE-1758-756CAB8B6CAF}"/>
                </a:ext>
              </a:extLst>
            </p:cNvPr>
            <p:cNvSpPr/>
            <p:nvPr/>
          </p:nvSpPr>
          <p:spPr>
            <a:xfrm>
              <a:off x="20849520" y="4579374"/>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5 w 435077"/>
                <a:gd name="connsiteY3" fmla="*/ 27 h 435077"/>
                <a:gd name="connsiteX4" fmla="*/ 435077 w 435077"/>
                <a:gd name="connsiteY4" fmla="*/ 217539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5" y="27"/>
                  </a:lnTo>
                  <a:lnTo>
                    <a:pt x="435077" y="217539"/>
                  </a:lnTo>
                  <a:lnTo>
                    <a:pt x="217565"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60" name="Freeform: Shape 259">
              <a:extLst>
                <a:ext uri="{FF2B5EF4-FFF2-40B4-BE49-F238E27FC236}">
                  <a16:creationId xmlns:a16="http://schemas.microsoft.com/office/drawing/2014/main" id="{F0F0BCCE-4BD0-5168-9040-B24FE599AD9C}"/>
                </a:ext>
              </a:extLst>
            </p:cNvPr>
            <p:cNvSpPr/>
            <p:nvPr/>
          </p:nvSpPr>
          <p:spPr>
            <a:xfrm>
              <a:off x="22589856" y="4579374"/>
              <a:ext cx="435077" cy="435077"/>
            </a:xfrm>
            <a:custGeom>
              <a:avLst/>
              <a:gdLst>
                <a:gd name="connsiteX0" fmla="*/ 435077 w 435077"/>
                <a:gd name="connsiteY0" fmla="*/ 435077 h 435077"/>
                <a:gd name="connsiteX1" fmla="*/ 435077 w 435077"/>
                <a:gd name="connsiteY1" fmla="*/ 0 h 435077"/>
                <a:gd name="connsiteX2" fmla="*/ 217567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7"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61" name="Freeform: Shape 260">
              <a:extLst>
                <a:ext uri="{FF2B5EF4-FFF2-40B4-BE49-F238E27FC236}">
                  <a16:creationId xmlns:a16="http://schemas.microsoft.com/office/drawing/2014/main" id="{9A389AAB-BE7C-9CF7-AAC5-B42E42953791}"/>
                </a:ext>
              </a:extLst>
            </p:cNvPr>
            <p:cNvSpPr/>
            <p:nvPr/>
          </p:nvSpPr>
          <p:spPr>
            <a:xfrm>
              <a:off x="23460039" y="457937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895" y="113038"/>
                    <a:pt x="0" y="57702"/>
                    <a:pt x="0" y="0"/>
                  </a:cubicBezTo>
                  <a:lnTo>
                    <a:pt x="217539" y="0"/>
                  </a:lnTo>
                  <a:lnTo>
                    <a:pt x="435077" y="0"/>
                  </a:lnTo>
                  <a:cubicBezTo>
                    <a:pt x="435077" y="57702"/>
                    <a:pt x="412154" y="113038"/>
                    <a:pt x="371339" y="153827"/>
                  </a:cubicBezTo>
                  <a:cubicBezTo>
                    <a:pt x="330550" y="194616"/>
                    <a:pt x="275213" y="217539"/>
                    <a:pt x="217539" y="217539"/>
                  </a:cubicBezTo>
                  <a:cubicBezTo>
                    <a:pt x="159836" y="217539"/>
                    <a:pt x="104501" y="194616"/>
                    <a:pt x="63712" y="153827"/>
                  </a:cubicBezTo>
                  <a:close/>
                  <a:moveTo>
                    <a:pt x="63712" y="281250"/>
                  </a:moveTo>
                  <a:cubicBezTo>
                    <a:pt x="22895" y="322066"/>
                    <a:pt x="0" y="377375"/>
                    <a:pt x="0" y="435077"/>
                  </a:cubicBezTo>
                  <a:lnTo>
                    <a:pt x="217539" y="435077"/>
                  </a:lnTo>
                  <a:lnTo>
                    <a:pt x="435077" y="435077"/>
                  </a:lnTo>
                  <a:cubicBezTo>
                    <a:pt x="435077" y="377375"/>
                    <a:pt x="412154" y="322066"/>
                    <a:pt x="371339" y="281250"/>
                  </a:cubicBezTo>
                  <a:cubicBezTo>
                    <a:pt x="330550" y="240462"/>
                    <a:pt x="275213" y="217539"/>
                    <a:pt x="217539" y="217539"/>
                  </a:cubicBezTo>
                  <a:cubicBezTo>
                    <a:pt x="159836" y="217539"/>
                    <a:pt x="104501" y="240462"/>
                    <a:pt x="63712" y="281250"/>
                  </a:cubicBezTo>
                  <a:close/>
                </a:path>
              </a:pathLst>
            </a:custGeom>
            <a:grpFill/>
            <a:ln w="27192" cap="flat">
              <a:noFill/>
              <a:prstDash val="solid"/>
              <a:miter/>
            </a:ln>
          </p:spPr>
          <p:txBody>
            <a:bodyPr rtlCol="0" anchor="ctr"/>
            <a:lstStyle/>
            <a:p>
              <a:endParaRPr lang="uk-UA" sz="900"/>
            </a:p>
          </p:txBody>
        </p:sp>
        <p:sp>
          <p:nvSpPr>
            <p:cNvPr id="262" name="Freeform: Shape 261">
              <a:extLst>
                <a:ext uri="{FF2B5EF4-FFF2-40B4-BE49-F238E27FC236}">
                  <a16:creationId xmlns:a16="http://schemas.microsoft.com/office/drawing/2014/main" id="{8E77ECBA-71E0-1D07-49EA-8CE90B76B983}"/>
                </a:ext>
              </a:extLst>
            </p:cNvPr>
            <p:cNvSpPr/>
            <p:nvPr/>
          </p:nvSpPr>
          <p:spPr>
            <a:xfrm>
              <a:off x="24330194" y="4579374"/>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39 w 435077"/>
                <a:gd name="connsiteY3" fmla="*/ 27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39" y="27"/>
                  </a:lnTo>
                  <a:lnTo>
                    <a:pt x="435077" y="217539"/>
                  </a:lnTo>
                  <a:lnTo>
                    <a:pt x="217539"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63" name="Freeform: Shape 262">
              <a:extLst>
                <a:ext uri="{FF2B5EF4-FFF2-40B4-BE49-F238E27FC236}">
                  <a16:creationId xmlns:a16="http://schemas.microsoft.com/office/drawing/2014/main" id="{CAC6C70A-A62C-4772-9C03-1C2765CDCA1B}"/>
                </a:ext>
              </a:extLst>
            </p:cNvPr>
            <p:cNvSpPr/>
            <p:nvPr/>
          </p:nvSpPr>
          <p:spPr>
            <a:xfrm>
              <a:off x="835769" y="718983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264" name="Freeform: Shape 263">
              <a:extLst>
                <a:ext uri="{FF2B5EF4-FFF2-40B4-BE49-F238E27FC236}">
                  <a16:creationId xmlns:a16="http://schemas.microsoft.com/office/drawing/2014/main" id="{446F3D54-F97D-2F3A-E9CD-4801CE50AEFE}"/>
                </a:ext>
              </a:extLst>
            </p:cNvPr>
            <p:cNvSpPr/>
            <p:nvPr/>
          </p:nvSpPr>
          <p:spPr>
            <a:xfrm>
              <a:off x="-34398" y="7189838"/>
              <a:ext cx="435090" cy="435077"/>
            </a:xfrm>
            <a:custGeom>
              <a:avLst/>
              <a:gdLst>
                <a:gd name="connsiteX0" fmla="*/ 0 w 435090"/>
                <a:gd name="connsiteY0" fmla="*/ 435077 h 435077"/>
                <a:gd name="connsiteX1" fmla="*/ 217525 w 435090"/>
                <a:gd name="connsiteY1" fmla="*/ 435077 h 435077"/>
                <a:gd name="connsiteX2" fmla="*/ 217525 w 435090"/>
                <a:gd name="connsiteY2" fmla="*/ 217539 h 435077"/>
                <a:gd name="connsiteX3" fmla="*/ 0 w 435090"/>
                <a:gd name="connsiteY3" fmla="*/ 435077 h 435077"/>
                <a:gd name="connsiteX4" fmla="*/ 217525 w 435090"/>
                <a:gd name="connsiteY4" fmla="*/ 0 h 435077"/>
                <a:gd name="connsiteX5" fmla="*/ 3 w 435090"/>
                <a:gd name="connsiteY5" fmla="*/ 0 h 435077"/>
                <a:gd name="connsiteX6" fmla="*/ 217525 w 435090"/>
                <a:gd name="connsiteY6" fmla="*/ 217539 h 435077"/>
                <a:gd name="connsiteX7" fmla="*/ 217525 w 435090"/>
                <a:gd name="connsiteY7" fmla="*/ 0 h 435077"/>
                <a:gd name="connsiteX8" fmla="*/ 435091 w 435090"/>
                <a:gd name="connsiteY8" fmla="*/ 435077 h 435077"/>
                <a:gd name="connsiteX9" fmla="*/ 217552 w 435090"/>
                <a:gd name="connsiteY9" fmla="*/ 435077 h 435077"/>
                <a:gd name="connsiteX10" fmla="*/ 435091 w 435090"/>
                <a:gd name="connsiteY10" fmla="*/ 217539 h 435077"/>
                <a:gd name="connsiteX11" fmla="*/ 435091 w 435090"/>
                <a:gd name="connsiteY11" fmla="*/ 435077 h 435077"/>
                <a:gd name="connsiteX12" fmla="*/ 435091 w 435090"/>
                <a:gd name="connsiteY12" fmla="*/ 0 h 435077"/>
                <a:gd name="connsiteX13" fmla="*/ 217552 w 435090"/>
                <a:gd name="connsiteY13" fmla="*/ 0 h 435077"/>
                <a:gd name="connsiteX14" fmla="*/ 435091 w 435090"/>
                <a:gd name="connsiteY14" fmla="*/ 217539 h 435077"/>
                <a:gd name="connsiteX15" fmla="*/ 435091 w 435090"/>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90" h="435077">
                  <a:moveTo>
                    <a:pt x="0" y="435077"/>
                  </a:moveTo>
                  <a:lnTo>
                    <a:pt x="217525" y="435077"/>
                  </a:lnTo>
                  <a:lnTo>
                    <a:pt x="217525" y="217539"/>
                  </a:lnTo>
                  <a:lnTo>
                    <a:pt x="0" y="435077"/>
                  </a:lnTo>
                  <a:close/>
                  <a:moveTo>
                    <a:pt x="217525" y="0"/>
                  </a:moveTo>
                  <a:lnTo>
                    <a:pt x="3" y="0"/>
                  </a:lnTo>
                  <a:lnTo>
                    <a:pt x="217525" y="217539"/>
                  </a:lnTo>
                  <a:lnTo>
                    <a:pt x="217525" y="0"/>
                  </a:lnTo>
                  <a:close/>
                  <a:moveTo>
                    <a:pt x="435091" y="435077"/>
                  </a:moveTo>
                  <a:lnTo>
                    <a:pt x="217552" y="435077"/>
                  </a:lnTo>
                  <a:lnTo>
                    <a:pt x="435091" y="217539"/>
                  </a:lnTo>
                  <a:lnTo>
                    <a:pt x="435091" y="435077"/>
                  </a:lnTo>
                  <a:close/>
                  <a:moveTo>
                    <a:pt x="435091" y="0"/>
                  </a:moveTo>
                  <a:lnTo>
                    <a:pt x="217552" y="0"/>
                  </a:lnTo>
                  <a:lnTo>
                    <a:pt x="435091" y="217539"/>
                  </a:lnTo>
                  <a:lnTo>
                    <a:pt x="435091" y="0"/>
                  </a:lnTo>
                  <a:close/>
                </a:path>
              </a:pathLst>
            </a:custGeom>
            <a:grpFill/>
            <a:ln w="27192" cap="flat">
              <a:noFill/>
              <a:prstDash val="solid"/>
              <a:miter/>
            </a:ln>
          </p:spPr>
          <p:txBody>
            <a:bodyPr rtlCol="0" anchor="ctr"/>
            <a:lstStyle/>
            <a:p>
              <a:endParaRPr lang="uk-UA" sz="900"/>
            </a:p>
          </p:txBody>
        </p:sp>
        <p:sp>
          <p:nvSpPr>
            <p:cNvPr id="265" name="Freeform: Shape 264">
              <a:extLst>
                <a:ext uri="{FF2B5EF4-FFF2-40B4-BE49-F238E27FC236}">
                  <a16:creationId xmlns:a16="http://schemas.microsoft.com/office/drawing/2014/main" id="{75F72EC3-C925-196E-A244-C3DF036FC101}"/>
                </a:ext>
              </a:extLst>
            </p:cNvPr>
            <p:cNvSpPr/>
            <p:nvPr/>
          </p:nvSpPr>
          <p:spPr>
            <a:xfrm>
              <a:off x="1705924" y="7189838"/>
              <a:ext cx="435077" cy="435077"/>
            </a:xfrm>
            <a:custGeom>
              <a:avLst/>
              <a:gdLst>
                <a:gd name="connsiteX0" fmla="*/ 371366 w 435077"/>
                <a:gd name="connsiteY0" fmla="*/ 63711 h 435077"/>
                <a:gd name="connsiteX1" fmla="*/ 435077 w 435077"/>
                <a:gd name="connsiteY1" fmla="*/ 217539 h 435077"/>
                <a:gd name="connsiteX2" fmla="*/ 218952 w 435077"/>
                <a:gd name="connsiteY2" fmla="*/ 217539 h 435077"/>
                <a:gd name="connsiteX3" fmla="*/ 371366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1 w 435077"/>
                <a:gd name="connsiteY7" fmla="*/ 281250 h 435077"/>
                <a:gd name="connsiteX8" fmla="*/ 216152 w 435077"/>
                <a:gd name="connsiteY8" fmla="*/ 217539 h 435077"/>
                <a:gd name="connsiteX9" fmla="*/ 0 w 435077"/>
                <a:gd name="connsiteY9" fmla="*/ 217539 h 435077"/>
                <a:gd name="connsiteX10" fmla="*/ 63711 w 435077"/>
                <a:gd name="connsiteY10" fmla="*/ 63711 h 435077"/>
                <a:gd name="connsiteX11" fmla="*/ 217539 w 435077"/>
                <a:gd name="connsiteY11" fmla="*/ 0 h 435077"/>
                <a:gd name="connsiteX12" fmla="*/ 371366 w 435077"/>
                <a:gd name="connsiteY12" fmla="*/ 63711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1"/>
                  </a:moveTo>
                  <a:cubicBezTo>
                    <a:pt x="412154" y="104527"/>
                    <a:pt x="435077" y="159836"/>
                    <a:pt x="435077" y="217539"/>
                  </a:cubicBezTo>
                  <a:lnTo>
                    <a:pt x="218952" y="217539"/>
                  </a:lnTo>
                  <a:cubicBezTo>
                    <a:pt x="276138" y="217920"/>
                    <a:pt x="330903" y="240788"/>
                    <a:pt x="371366" y="281250"/>
                  </a:cubicBezTo>
                  <a:cubicBezTo>
                    <a:pt x="412154" y="322039"/>
                    <a:pt x="435077" y="377375"/>
                    <a:pt x="435077" y="435077"/>
                  </a:cubicBezTo>
                  <a:lnTo>
                    <a:pt x="217539" y="435077"/>
                  </a:lnTo>
                  <a:lnTo>
                    <a:pt x="0" y="435077"/>
                  </a:lnTo>
                  <a:cubicBezTo>
                    <a:pt x="0" y="377375"/>
                    <a:pt x="22923" y="322039"/>
                    <a:pt x="63711" y="281250"/>
                  </a:cubicBezTo>
                  <a:cubicBezTo>
                    <a:pt x="104201" y="240788"/>
                    <a:pt x="158966" y="217920"/>
                    <a:pt x="216152" y="217539"/>
                  </a:cubicBezTo>
                  <a:lnTo>
                    <a:pt x="0" y="217539"/>
                  </a:lnTo>
                  <a:cubicBezTo>
                    <a:pt x="0" y="159836"/>
                    <a:pt x="22923" y="104527"/>
                    <a:pt x="63711" y="63711"/>
                  </a:cubicBezTo>
                  <a:cubicBezTo>
                    <a:pt x="104527" y="22923"/>
                    <a:pt x="159836" y="0"/>
                    <a:pt x="217539" y="0"/>
                  </a:cubicBezTo>
                  <a:cubicBezTo>
                    <a:pt x="275241" y="0"/>
                    <a:pt x="330577" y="22923"/>
                    <a:pt x="371366" y="63711"/>
                  </a:cubicBezTo>
                  <a:close/>
                </a:path>
              </a:pathLst>
            </a:custGeom>
            <a:grpFill/>
            <a:ln w="27192" cap="flat">
              <a:noFill/>
              <a:prstDash val="solid"/>
              <a:miter/>
            </a:ln>
          </p:spPr>
          <p:txBody>
            <a:bodyPr rtlCol="0" anchor="ctr"/>
            <a:lstStyle/>
            <a:p>
              <a:endParaRPr lang="uk-UA" sz="900"/>
            </a:p>
          </p:txBody>
        </p:sp>
        <p:sp>
          <p:nvSpPr>
            <p:cNvPr id="266" name="Freeform: Shape 265">
              <a:extLst>
                <a:ext uri="{FF2B5EF4-FFF2-40B4-BE49-F238E27FC236}">
                  <a16:creationId xmlns:a16="http://schemas.microsoft.com/office/drawing/2014/main" id="{602D2890-1DBE-408B-0885-B06C916B6B40}"/>
                </a:ext>
              </a:extLst>
            </p:cNvPr>
            <p:cNvSpPr/>
            <p:nvPr/>
          </p:nvSpPr>
          <p:spPr>
            <a:xfrm>
              <a:off x="2576106" y="718983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50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50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50" y="217539"/>
                  </a:lnTo>
                  <a:lnTo>
                    <a:pt x="435077" y="217539"/>
                  </a:lnTo>
                  <a:lnTo>
                    <a:pt x="435077" y="217539"/>
                  </a:lnTo>
                  <a:lnTo>
                    <a:pt x="435077" y="217539"/>
                  </a:lnTo>
                  <a:lnTo>
                    <a:pt x="435050"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267" name="Freeform: Shape 266">
              <a:extLst>
                <a:ext uri="{FF2B5EF4-FFF2-40B4-BE49-F238E27FC236}">
                  <a16:creationId xmlns:a16="http://schemas.microsoft.com/office/drawing/2014/main" id="{1FC6F5E0-963F-79D5-114D-1ACD14F68A79}"/>
                </a:ext>
              </a:extLst>
            </p:cNvPr>
            <p:cNvSpPr/>
            <p:nvPr/>
          </p:nvSpPr>
          <p:spPr>
            <a:xfrm>
              <a:off x="4316416" y="7189838"/>
              <a:ext cx="435077" cy="435077"/>
            </a:xfrm>
            <a:custGeom>
              <a:avLst/>
              <a:gdLst>
                <a:gd name="connsiteX0" fmla="*/ 217565 w 435077"/>
                <a:gd name="connsiteY0" fmla="*/ 0 h 435077"/>
                <a:gd name="connsiteX1" fmla="*/ 217539 w 435077"/>
                <a:gd name="connsiteY1" fmla="*/ 0 h 435077"/>
                <a:gd name="connsiteX2" fmla="*/ 27 w 435077"/>
                <a:gd name="connsiteY2" fmla="*/ 0 h 435077"/>
                <a:gd name="connsiteX3" fmla="*/ 27 w 435077"/>
                <a:gd name="connsiteY3" fmla="*/ 217539 h 435077"/>
                <a:gd name="connsiteX4" fmla="*/ 217565 w 435077"/>
                <a:gd name="connsiteY4" fmla="*/ 0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65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65" y="0"/>
                  </a:moveTo>
                  <a:lnTo>
                    <a:pt x="217539" y="0"/>
                  </a:lnTo>
                  <a:lnTo>
                    <a:pt x="27" y="0"/>
                  </a:lnTo>
                  <a:lnTo>
                    <a:pt x="27" y="217539"/>
                  </a:lnTo>
                  <a:lnTo>
                    <a:pt x="217565" y="0"/>
                  </a:lnTo>
                  <a:lnTo>
                    <a:pt x="435077" y="217539"/>
                  </a:lnTo>
                  <a:lnTo>
                    <a:pt x="217539" y="435077"/>
                  </a:lnTo>
                  <a:lnTo>
                    <a:pt x="0" y="217539"/>
                  </a:lnTo>
                  <a:lnTo>
                    <a:pt x="0" y="435077"/>
                  </a:lnTo>
                  <a:lnTo>
                    <a:pt x="217539" y="435077"/>
                  </a:lnTo>
                  <a:lnTo>
                    <a:pt x="435077" y="435077"/>
                  </a:lnTo>
                  <a:lnTo>
                    <a:pt x="435077" y="217539"/>
                  </a:lnTo>
                  <a:lnTo>
                    <a:pt x="435077" y="0"/>
                  </a:lnTo>
                  <a:lnTo>
                    <a:pt x="217565" y="0"/>
                  </a:lnTo>
                  <a:close/>
                </a:path>
              </a:pathLst>
            </a:custGeom>
            <a:grpFill/>
            <a:ln w="27192" cap="flat">
              <a:noFill/>
              <a:prstDash val="solid"/>
              <a:miter/>
            </a:ln>
          </p:spPr>
          <p:txBody>
            <a:bodyPr rtlCol="0" anchor="ctr"/>
            <a:lstStyle/>
            <a:p>
              <a:endParaRPr lang="uk-UA" sz="900"/>
            </a:p>
          </p:txBody>
        </p:sp>
        <p:sp>
          <p:nvSpPr>
            <p:cNvPr id="268" name="Freeform: Shape 267">
              <a:extLst>
                <a:ext uri="{FF2B5EF4-FFF2-40B4-BE49-F238E27FC236}">
                  <a16:creationId xmlns:a16="http://schemas.microsoft.com/office/drawing/2014/main" id="{8A64C88D-CEED-65A4-401E-29EB87580C43}"/>
                </a:ext>
              </a:extLst>
            </p:cNvPr>
            <p:cNvSpPr/>
            <p:nvPr/>
          </p:nvSpPr>
          <p:spPr>
            <a:xfrm>
              <a:off x="3446261" y="7189838"/>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66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66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66" y="435077"/>
                  </a:lnTo>
                  <a:lnTo>
                    <a:pt x="435077" y="217539"/>
                  </a:lnTo>
                  <a:lnTo>
                    <a:pt x="435077" y="435077"/>
                  </a:lnTo>
                  <a:close/>
                  <a:moveTo>
                    <a:pt x="435077" y="0"/>
                  </a:moveTo>
                  <a:lnTo>
                    <a:pt x="217566"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269" name="Freeform: Shape 268">
              <a:extLst>
                <a:ext uri="{FF2B5EF4-FFF2-40B4-BE49-F238E27FC236}">
                  <a16:creationId xmlns:a16="http://schemas.microsoft.com/office/drawing/2014/main" id="{DF279724-F9B0-4423-CC8A-4BB3450819E3}"/>
                </a:ext>
              </a:extLst>
            </p:cNvPr>
            <p:cNvSpPr/>
            <p:nvPr/>
          </p:nvSpPr>
          <p:spPr>
            <a:xfrm>
              <a:off x="5186597" y="7189838"/>
              <a:ext cx="435077" cy="435077"/>
            </a:xfrm>
            <a:custGeom>
              <a:avLst/>
              <a:gdLst>
                <a:gd name="connsiteX0" fmla="*/ 371366 w 435077"/>
                <a:gd name="connsiteY0" fmla="*/ 63711 h 435077"/>
                <a:gd name="connsiteX1" fmla="*/ 435077 w 435077"/>
                <a:gd name="connsiteY1" fmla="*/ 217539 h 435077"/>
                <a:gd name="connsiteX2" fmla="*/ 218953 w 435077"/>
                <a:gd name="connsiteY2" fmla="*/ 217539 h 435077"/>
                <a:gd name="connsiteX3" fmla="*/ 371366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25 w 435077"/>
                <a:gd name="connsiteY8" fmla="*/ 217539 h 435077"/>
                <a:gd name="connsiteX9" fmla="*/ 0 w 435077"/>
                <a:gd name="connsiteY9" fmla="*/ 217539 h 435077"/>
                <a:gd name="connsiteX10" fmla="*/ 63712 w 435077"/>
                <a:gd name="connsiteY10" fmla="*/ 63711 h 435077"/>
                <a:gd name="connsiteX11" fmla="*/ 217539 w 435077"/>
                <a:gd name="connsiteY11" fmla="*/ 0 h 435077"/>
                <a:gd name="connsiteX12" fmla="*/ 371366 w 435077"/>
                <a:gd name="connsiteY12" fmla="*/ 63711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1"/>
                  </a:moveTo>
                  <a:cubicBezTo>
                    <a:pt x="412155" y="104527"/>
                    <a:pt x="435077" y="159836"/>
                    <a:pt x="435077" y="217539"/>
                  </a:cubicBezTo>
                  <a:lnTo>
                    <a:pt x="218953" y="217539"/>
                  </a:lnTo>
                  <a:cubicBezTo>
                    <a:pt x="276138" y="217920"/>
                    <a:pt x="330904" y="240788"/>
                    <a:pt x="371366" y="281250"/>
                  </a:cubicBezTo>
                  <a:cubicBezTo>
                    <a:pt x="412155" y="322039"/>
                    <a:pt x="435077" y="377375"/>
                    <a:pt x="435077" y="435077"/>
                  </a:cubicBezTo>
                  <a:lnTo>
                    <a:pt x="217539" y="435077"/>
                  </a:lnTo>
                  <a:lnTo>
                    <a:pt x="0" y="435077"/>
                  </a:lnTo>
                  <a:cubicBezTo>
                    <a:pt x="0" y="377375"/>
                    <a:pt x="22924" y="322039"/>
                    <a:pt x="63712" y="281250"/>
                  </a:cubicBezTo>
                  <a:cubicBezTo>
                    <a:pt x="104175" y="240788"/>
                    <a:pt x="158939" y="217920"/>
                    <a:pt x="216125" y="217539"/>
                  </a:cubicBezTo>
                  <a:lnTo>
                    <a:pt x="0" y="217539"/>
                  </a:lnTo>
                  <a:cubicBezTo>
                    <a:pt x="0" y="159836"/>
                    <a:pt x="22924" y="104527"/>
                    <a:pt x="63712" y="63711"/>
                  </a:cubicBezTo>
                  <a:cubicBezTo>
                    <a:pt x="104501" y="22923"/>
                    <a:pt x="159837" y="0"/>
                    <a:pt x="217539" y="0"/>
                  </a:cubicBezTo>
                  <a:cubicBezTo>
                    <a:pt x="275241" y="0"/>
                    <a:pt x="330550" y="22923"/>
                    <a:pt x="371366" y="63711"/>
                  </a:cubicBezTo>
                  <a:close/>
                </a:path>
              </a:pathLst>
            </a:custGeom>
            <a:grpFill/>
            <a:ln w="27192" cap="flat">
              <a:noFill/>
              <a:prstDash val="solid"/>
              <a:miter/>
            </a:ln>
          </p:spPr>
          <p:txBody>
            <a:bodyPr rtlCol="0" anchor="ctr"/>
            <a:lstStyle/>
            <a:p>
              <a:endParaRPr lang="uk-UA" sz="900"/>
            </a:p>
          </p:txBody>
        </p:sp>
        <p:sp>
          <p:nvSpPr>
            <p:cNvPr id="270" name="Freeform: Shape 269">
              <a:extLst>
                <a:ext uri="{FF2B5EF4-FFF2-40B4-BE49-F238E27FC236}">
                  <a16:creationId xmlns:a16="http://schemas.microsoft.com/office/drawing/2014/main" id="{8BAB11F6-B5A5-0708-E238-287C5FD99B85}"/>
                </a:ext>
              </a:extLst>
            </p:cNvPr>
            <p:cNvSpPr/>
            <p:nvPr/>
          </p:nvSpPr>
          <p:spPr>
            <a:xfrm>
              <a:off x="6056752" y="7189838"/>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0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39 h 435077"/>
                <a:gd name="connsiteX9" fmla="*/ 435077 w 435077"/>
                <a:gd name="connsiteY9" fmla="*/ 217539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0"/>
                  </a:lnTo>
                  <a:lnTo>
                    <a:pt x="435077" y="217539"/>
                  </a:lnTo>
                  <a:lnTo>
                    <a:pt x="435077" y="217539"/>
                  </a:lnTo>
                  <a:lnTo>
                    <a:pt x="435077" y="217539"/>
                  </a:lnTo>
                  <a:lnTo>
                    <a:pt x="435077" y="217539"/>
                  </a:lnTo>
                  <a:lnTo>
                    <a:pt x="435077" y="217539"/>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271" name="Freeform: Shape 270">
              <a:extLst>
                <a:ext uri="{FF2B5EF4-FFF2-40B4-BE49-F238E27FC236}">
                  <a16:creationId xmlns:a16="http://schemas.microsoft.com/office/drawing/2014/main" id="{10671296-DB10-F1A7-5244-561028D14EB2}"/>
                </a:ext>
              </a:extLst>
            </p:cNvPr>
            <p:cNvSpPr/>
            <p:nvPr/>
          </p:nvSpPr>
          <p:spPr>
            <a:xfrm>
              <a:off x="7797062" y="718983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p>
          </p:txBody>
        </p:sp>
        <p:sp>
          <p:nvSpPr>
            <p:cNvPr id="272" name="Freeform: Shape 271">
              <a:extLst>
                <a:ext uri="{FF2B5EF4-FFF2-40B4-BE49-F238E27FC236}">
                  <a16:creationId xmlns:a16="http://schemas.microsoft.com/office/drawing/2014/main" id="{651E749C-D7DB-0BD7-8081-56F8ACE40C6B}"/>
                </a:ext>
              </a:extLst>
            </p:cNvPr>
            <p:cNvSpPr/>
            <p:nvPr/>
          </p:nvSpPr>
          <p:spPr>
            <a:xfrm>
              <a:off x="6926907" y="7189838"/>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273" name="Freeform: Shape 272">
              <a:extLst>
                <a:ext uri="{FF2B5EF4-FFF2-40B4-BE49-F238E27FC236}">
                  <a16:creationId xmlns:a16="http://schemas.microsoft.com/office/drawing/2014/main" id="{E9892BB5-0ACF-CC16-7663-E4021F999603}"/>
                </a:ext>
              </a:extLst>
            </p:cNvPr>
            <p:cNvSpPr/>
            <p:nvPr/>
          </p:nvSpPr>
          <p:spPr>
            <a:xfrm>
              <a:off x="8667217" y="7189838"/>
              <a:ext cx="435104" cy="435077"/>
            </a:xfrm>
            <a:custGeom>
              <a:avLst/>
              <a:gdLst>
                <a:gd name="connsiteX0" fmla="*/ 371366 w 435104"/>
                <a:gd name="connsiteY0" fmla="*/ 63711 h 435077"/>
                <a:gd name="connsiteX1" fmla="*/ 435077 w 435104"/>
                <a:gd name="connsiteY1" fmla="*/ 217539 h 435077"/>
                <a:gd name="connsiteX2" fmla="*/ 218953 w 435104"/>
                <a:gd name="connsiteY2" fmla="*/ 217539 h 435077"/>
                <a:gd name="connsiteX3" fmla="*/ 371366 w 435104"/>
                <a:gd name="connsiteY3" fmla="*/ 281250 h 435077"/>
                <a:gd name="connsiteX4" fmla="*/ 435105 w 435104"/>
                <a:gd name="connsiteY4" fmla="*/ 435077 h 435077"/>
                <a:gd name="connsiteX5" fmla="*/ 217566 w 435104"/>
                <a:gd name="connsiteY5" fmla="*/ 435077 h 435077"/>
                <a:gd name="connsiteX6" fmla="*/ 27 w 435104"/>
                <a:gd name="connsiteY6" fmla="*/ 435077 h 435077"/>
                <a:gd name="connsiteX7" fmla="*/ 63739 w 435104"/>
                <a:gd name="connsiteY7" fmla="*/ 281250 h 435077"/>
                <a:gd name="connsiteX8" fmla="*/ 216152 w 435104"/>
                <a:gd name="connsiteY8" fmla="*/ 217539 h 435077"/>
                <a:gd name="connsiteX9" fmla="*/ 0 w 435104"/>
                <a:gd name="connsiteY9" fmla="*/ 217539 h 435077"/>
                <a:gd name="connsiteX10" fmla="*/ 63739 w 435104"/>
                <a:gd name="connsiteY10" fmla="*/ 63711 h 435077"/>
                <a:gd name="connsiteX11" fmla="*/ 217539 w 435104"/>
                <a:gd name="connsiteY11" fmla="*/ 0 h 435077"/>
                <a:gd name="connsiteX12" fmla="*/ 371366 w 435104"/>
                <a:gd name="connsiteY12" fmla="*/ 63711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4" h="435077">
                  <a:moveTo>
                    <a:pt x="371366" y="63711"/>
                  </a:moveTo>
                  <a:cubicBezTo>
                    <a:pt x="412182" y="104527"/>
                    <a:pt x="435077" y="159836"/>
                    <a:pt x="435077" y="217539"/>
                  </a:cubicBezTo>
                  <a:lnTo>
                    <a:pt x="218953" y="217539"/>
                  </a:lnTo>
                  <a:cubicBezTo>
                    <a:pt x="276138" y="217920"/>
                    <a:pt x="330904" y="240788"/>
                    <a:pt x="371366" y="281250"/>
                  </a:cubicBezTo>
                  <a:cubicBezTo>
                    <a:pt x="412182" y="322039"/>
                    <a:pt x="435105" y="377375"/>
                    <a:pt x="435105" y="435077"/>
                  </a:cubicBezTo>
                  <a:lnTo>
                    <a:pt x="217566" y="435077"/>
                  </a:lnTo>
                  <a:lnTo>
                    <a:pt x="27" y="435077"/>
                  </a:lnTo>
                  <a:cubicBezTo>
                    <a:pt x="27" y="377375"/>
                    <a:pt x="22924" y="322039"/>
                    <a:pt x="63739" y="281250"/>
                  </a:cubicBezTo>
                  <a:cubicBezTo>
                    <a:pt x="104201" y="240788"/>
                    <a:pt x="158967" y="217920"/>
                    <a:pt x="216152" y="217539"/>
                  </a:cubicBezTo>
                  <a:lnTo>
                    <a:pt x="0" y="217539"/>
                  </a:lnTo>
                  <a:cubicBezTo>
                    <a:pt x="0" y="159836"/>
                    <a:pt x="22924" y="104527"/>
                    <a:pt x="63739" y="63711"/>
                  </a:cubicBezTo>
                  <a:cubicBezTo>
                    <a:pt x="104527" y="22923"/>
                    <a:pt x="159864" y="0"/>
                    <a:pt x="217539" y="0"/>
                  </a:cubicBezTo>
                  <a:cubicBezTo>
                    <a:pt x="275241" y="0"/>
                    <a:pt x="330578" y="22923"/>
                    <a:pt x="371366" y="63711"/>
                  </a:cubicBezTo>
                  <a:close/>
                </a:path>
              </a:pathLst>
            </a:custGeom>
            <a:grpFill/>
            <a:ln w="27192" cap="flat">
              <a:noFill/>
              <a:prstDash val="solid"/>
              <a:miter/>
            </a:ln>
          </p:spPr>
          <p:txBody>
            <a:bodyPr rtlCol="0" anchor="ctr"/>
            <a:lstStyle/>
            <a:p>
              <a:endParaRPr lang="uk-UA" sz="900"/>
            </a:p>
          </p:txBody>
        </p:sp>
        <p:sp>
          <p:nvSpPr>
            <p:cNvPr id="274" name="Freeform: Shape 273">
              <a:extLst>
                <a:ext uri="{FF2B5EF4-FFF2-40B4-BE49-F238E27FC236}">
                  <a16:creationId xmlns:a16="http://schemas.microsoft.com/office/drawing/2014/main" id="{E2688B02-6DBA-6339-5160-5E25E270BC67}"/>
                </a:ext>
              </a:extLst>
            </p:cNvPr>
            <p:cNvSpPr/>
            <p:nvPr/>
          </p:nvSpPr>
          <p:spPr>
            <a:xfrm>
              <a:off x="9537399" y="7189838"/>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0 h 435077"/>
                <a:gd name="connsiteX5" fmla="*/ 435050 w 435077"/>
                <a:gd name="connsiteY5" fmla="*/ 217539 h 435077"/>
                <a:gd name="connsiteX6" fmla="*/ 435077 w 435077"/>
                <a:gd name="connsiteY6" fmla="*/ 217539 h 435077"/>
                <a:gd name="connsiteX7" fmla="*/ 435050 w 435077"/>
                <a:gd name="connsiteY7" fmla="*/ 217539 h 435077"/>
                <a:gd name="connsiteX8" fmla="*/ 435077 w 435077"/>
                <a:gd name="connsiteY8" fmla="*/ 217539 h 435077"/>
                <a:gd name="connsiteX9" fmla="*/ 435050 w 435077"/>
                <a:gd name="connsiteY9" fmla="*/ 217539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0"/>
                  </a:lnTo>
                  <a:lnTo>
                    <a:pt x="435050" y="217539"/>
                  </a:lnTo>
                  <a:lnTo>
                    <a:pt x="435077" y="217539"/>
                  </a:lnTo>
                  <a:lnTo>
                    <a:pt x="435050" y="217539"/>
                  </a:lnTo>
                  <a:lnTo>
                    <a:pt x="435077" y="217539"/>
                  </a:lnTo>
                  <a:lnTo>
                    <a:pt x="435050" y="217539"/>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275" name="Freeform: Shape 274">
              <a:extLst>
                <a:ext uri="{FF2B5EF4-FFF2-40B4-BE49-F238E27FC236}">
                  <a16:creationId xmlns:a16="http://schemas.microsoft.com/office/drawing/2014/main" id="{91F4C269-62DA-DE64-5EA6-496E5C953248}"/>
                </a:ext>
              </a:extLst>
            </p:cNvPr>
            <p:cNvSpPr/>
            <p:nvPr/>
          </p:nvSpPr>
          <p:spPr>
            <a:xfrm>
              <a:off x="11277709" y="718983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276" name="Freeform: Shape 275">
              <a:extLst>
                <a:ext uri="{FF2B5EF4-FFF2-40B4-BE49-F238E27FC236}">
                  <a16:creationId xmlns:a16="http://schemas.microsoft.com/office/drawing/2014/main" id="{D4238802-72A0-A2E6-ABA1-9DB28BF92EDB}"/>
                </a:ext>
              </a:extLst>
            </p:cNvPr>
            <p:cNvSpPr/>
            <p:nvPr/>
          </p:nvSpPr>
          <p:spPr>
            <a:xfrm>
              <a:off x="10407554" y="7189838"/>
              <a:ext cx="435077" cy="435077"/>
            </a:xfrm>
            <a:custGeom>
              <a:avLst/>
              <a:gdLst>
                <a:gd name="connsiteX0" fmla="*/ 0 w 435077"/>
                <a:gd name="connsiteY0" fmla="*/ 435077 h 435077"/>
                <a:gd name="connsiteX1" fmla="*/ 217511 w 435077"/>
                <a:gd name="connsiteY1" fmla="*/ 435077 h 435077"/>
                <a:gd name="connsiteX2" fmla="*/ 217511 w 435077"/>
                <a:gd name="connsiteY2" fmla="*/ 217539 h 435077"/>
                <a:gd name="connsiteX3" fmla="*/ 0 w 435077"/>
                <a:gd name="connsiteY3" fmla="*/ 435077 h 435077"/>
                <a:gd name="connsiteX4" fmla="*/ 217511 w 435077"/>
                <a:gd name="connsiteY4" fmla="*/ 0 h 435077"/>
                <a:gd name="connsiteX5" fmla="*/ 0 w 435077"/>
                <a:gd name="connsiteY5" fmla="*/ 0 h 435077"/>
                <a:gd name="connsiteX6" fmla="*/ 217511 w 435077"/>
                <a:gd name="connsiteY6" fmla="*/ 217539 h 435077"/>
                <a:gd name="connsiteX7" fmla="*/ 217511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11" y="435077"/>
                  </a:lnTo>
                  <a:lnTo>
                    <a:pt x="217511" y="217539"/>
                  </a:lnTo>
                  <a:lnTo>
                    <a:pt x="0" y="435077"/>
                  </a:lnTo>
                  <a:close/>
                  <a:moveTo>
                    <a:pt x="217511" y="0"/>
                  </a:moveTo>
                  <a:lnTo>
                    <a:pt x="0" y="0"/>
                  </a:lnTo>
                  <a:lnTo>
                    <a:pt x="217511" y="217539"/>
                  </a:lnTo>
                  <a:lnTo>
                    <a:pt x="217511"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277" name="Freeform: Shape 276">
              <a:extLst>
                <a:ext uri="{FF2B5EF4-FFF2-40B4-BE49-F238E27FC236}">
                  <a16:creationId xmlns:a16="http://schemas.microsoft.com/office/drawing/2014/main" id="{4E955BD4-4B60-BEFF-D437-C5391DCAB7E3}"/>
                </a:ext>
              </a:extLst>
            </p:cNvPr>
            <p:cNvSpPr/>
            <p:nvPr/>
          </p:nvSpPr>
          <p:spPr>
            <a:xfrm>
              <a:off x="12147864" y="7189838"/>
              <a:ext cx="435103" cy="435077"/>
            </a:xfrm>
            <a:custGeom>
              <a:avLst/>
              <a:gdLst>
                <a:gd name="connsiteX0" fmla="*/ 371365 w 435103"/>
                <a:gd name="connsiteY0" fmla="*/ 63711 h 435077"/>
                <a:gd name="connsiteX1" fmla="*/ 435077 w 435103"/>
                <a:gd name="connsiteY1" fmla="*/ 217539 h 435077"/>
                <a:gd name="connsiteX2" fmla="*/ 218953 w 435103"/>
                <a:gd name="connsiteY2" fmla="*/ 217539 h 435077"/>
                <a:gd name="connsiteX3" fmla="*/ 371365 w 435103"/>
                <a:gd name="connsiteY3" fmla="*/ 281250 h 435077"/>
                <a:gd name="connsiteX4" fmla="*/ 435104 w 435103"/>
                <a:gd name="connsiteY4" fmla="*/ 435077 h 435077"/>
                <a:gd name="connsiteX5" fmla="*/ 217565 w 435103"/>
                <a:gd name="connsiteY5" fmla="*/ 435077 h 435077"/>
                <a:gd name="connsiteX6" fmla="*/ 27 w 435103"/>
                <a:gd name="connsiteY6" fmla="*/ 435077 h 435077"/>
                <a:gd name="connsiteX7" fmla="*/ 63739 w 435103"/>
                <a:gd name="connsiteY7" fmla="*/ 281250 h 435077"/>
                <a:gd name="connsiteX8" fmla="*/ 216151 w 435103"/>
                <a:gd name="connsiteY8" fmla="*/ 217539 h 435077"/>
                <a:gd name="connsiteX9" fmla="*/ 0 w 435103"/>
                <a:gd name="connsiteY9" fmla="*/ 217539 h 435077"/>
                <a:gd name="connsiteX10" fmla="*/ 63739 w 435103"/>
                <a:gd name="connsiteY10" fmla="*/ 63711 h 435077"/>
                <a:gd name="connsiteX11" fmla="*/ 217539 w 435103"/>
                <a:gd name="connsiteY11" fmla="*/ 0 h 435077"/>
                <a:gd name="connsiteX12" fmla="*/ 371365 w 435103"/>
                <a:gd name="connsiteY12" fmla="*/ 63711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3" h="435077">
                  <a:moveTo>
                    <a:pt x="371365" y="63711"/>
                  </a:moveTo>
                  <a:cubicBezTo>
                    <a:pt x="412180" y="104527"/>
                    <a:pt x="435077" y="159836"/>
                    <a:pt x="435077" y="217539"/>
                  </a:cubicBezTo>
                  <a:lnTo>
                    <a:pt x="218953" y="217539"/>
                  </a:lnTo>
                  <a:cubicBezTo>
                    <a:pt x="276137" y="217920"/>
                    <a:pt x="330902" y="240788"/>
                    <a:pt x="371365" y="281250"/>
                  </a:cubicBezTo>
                  <a:cubicBezTo>
                    <a:pt x="412180" y="322039"/>
                    <a:pt x="435104" y="377375"/>
                    <a:pt x="435104" y="435077"/>
                  </a:cubicBezTo>
                  <a:lnTo>
                    <a:pt x="217565" y="435077"/>
                  </a:lnTo>
                  <a:lnTo>
                    <a:pt x="27" y="435077"/>
                  </a:lnTo>
                  <a:cubicBezTo>
                    <a:pt x="27" y="377375"/>
                    <a:pt x="22922" y="322039"/>
                    <a:pt x="63739" y="281250"/>
                  </a:cubicBezTo>
                  <a:cubicBezTo>
                    <a:pt x="104200" y="240788"/>
                    <a:pt x="158965" y="217920"/>
                    <a:pt x="216151" y="217539"/>
                  </a:cubicBezTo>
                  <a:lnTo>
                    <a:pt x="0" y="217539"/>
                  </a:lnTo>
                  <a:cubicBezTo>
                    <a:pt x="0" y="159836"/>
                    <a:pt x="22922" y="104527"/>
                    <a:pt x="63739" y="63711"/>
                  </a:cubicBezTo>
                  <a:cubicBezTo>
                    <a:pt x="104527" y="22923"/>
                    <a:pt x="159863" y="0"/>
                    <a:pt x="217539" y="0"/>
                  </a:cubicBezTo>
                  <a:cubicBezTo>
                    <a:pt x="275239" y="0"/>
                    <a:pt x="330577" y="22923"/>
                    <a:pt x="371365" y="63711"/>
                  </a:cubicBezTo>
                  <a:close/>
                </a:path>
              </a:pathLst>
            </a:custGeom>
            <a:grpFill/>
            <a:ln w="27192" cap="flat">
              <a:noFill/>
              <a:prstDash val="solid"/>
              <a:miter/>
            </a:ln>
          </p:spPr>
          <p:txBody>
            <a:bodyPr rtlCol="0" anchor="ctr"/>
            <a:lstStyle/>
            <a:p>
              <a:endParaRPr lang="uk-UA" sz="900"/>
            </a:p>
          </p:txBody>
        </p:sp>
        <p:sp>
          <p:nvSpPr>
            <p:cNvPr id="278" name="Freeform: Shape 277">
              <a:extLst>
                <a:ext uri="{FF2B5EF4-FFF2-40B4-BE49-F238E27FC236}">
                  <a16:creationId xmlns:a16="http://schemas.microsoft.com/office/drawing/2014/main" id="{E2696F5F-FA38-53D4-16B6-55EEBE2BD1B5}"/>
                </a:ext>
              </a:extLst>
            </p:cNvPr>
            <p:cNvSpPr/>
            <p:nvPr/>
          </p:nvSpPr>
          <p:spPr>
            <a:xfrm>
              <a:off x="13017991" y="7189811"/>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279" name="Freeform: Shape 278">
              <a:extLst>
                <a:ext uri="{FF2B5EF4-FFF2-40B4-BE49-F238E27FC236}">
                  <a16:creationId xmlns:a16="http://schemas.microsoft.com/office/drawing/2014/main" id="{BE34902E-CD43-5674-3E5B-1DB967780319}"/>
                </a:ext>
              </a:extLst>
            </p:cNvPr>
            <p:cNvSpPr/>
            <p:nvPr/>
          </p:nvSpPr>
          <p:spPr>
            <a:xfrm>
              <a:off x="14758382" y="7189838"/>
              <a:ext cx="435077" cy="435077"/>
            </a:xfrm>
            <a:custGeom>
              <a:avLst/>
              <a:gdLst>
                <a:gd name="connsiteX0" fmla="*/ 217539 w 435077"/>
                <a:gd name="connsiteY0" fmla="*/ 0 h 435077"/>
                <a:gd name="connsiteX1" fmla="*/ 217539 w 435077"/>
                <a:gd name="connsiteY1" fmla="*/ 0 h 435077"/>
                <a:gd name="connsiteX2" fmla="*/ 0 w 435077"/>
                <a:gd name="connsiteY2" fmla="*/ 0 h 435077"/>
                <a:gd name="connsiteX3" fmla="*/ 0 w 435077"/>
                <a:gd name="connsiteY3" fmla="*/ 217539 h 435077"/>
                <a:gd name="connsiteX4" fmla="*/ 217539 w 435077"/>
                <a:gd name="connsiteY4" fmla="*/ 0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217539" y="0"/>
                  </a:lnTo>
                  <a:lnTo>
                    <a:pt x="0" y="0"/>
                  </a:lnTo>
                  <a:lnTo>
                    <a:pt x="0" y="217539"/>
                  </a:lnTo>
                  <a:lnTo>
                    <a:pt x="217539" y="0"/>
                  </a:lnTo>
                  <a:lnTo>
                    <a:pt x="435077" y="217539"/>
                  </a:lnTo>
                  <a:lnTo>
                    <a:pt x="217539" y="435077"/>
                  </a:lnTo>
                  <a:lnTo>
                    <a:pt x="0" y="217539"/>
                  </a:lnTo>
                  <a:lnTo>
                    <a:pt x="0" y="435077"/>
                  </a:lnTo>
                  <a:lnTo>
                    <a:pt x="217539" y="435077"/>
                  </a:lnTo>
                  <a:lnTo>
                    <a:pt x="435077" y="435077"/>
                  </a:lnTo>
                  <a:lnTo>
                    <a:pt x="435077" y="217539"/>
                  </a:lnTo>
                  <a:lnTo>
                    <a:pt x="435077" y="0"/>
                  </a:lnTo>
                  <a:lnTo>
                    <a:pt x="217539" y="0"/>
                  </a:lnTo>
                  <a:close/>
                </a:path>
              </a:pathLst>
            </a:custGeom>
            <a:grpFill/>
            <a:ln w="27192" cap="flat">
              <a:noFill/>
              <a:prstDash val="solid"/>
              <a:miter/>
            </a:ln>
          </p:spPr>
          <p:txBody>
            <a:bodyPr rtlCol="0" anchor="ctr"/>
            <a:lstStyle/>
            <a:p>
              <a:endParaRPr lang="uk-UA" sz="900"/>
            </a:p>
          </p:txBody>
        </p:sp>
        <p:sp>
          <p:nvSpPr>
            <p:cNvPr id="280" name="Freeform: Shape 279">
              <a:extLst>
                <a:ext uri="{FF2B5EF4-FFF2-40B4-BE49-F238E27FC236}">
                  <a16:creationId xmlns:a16="http://schemas.microsoft.com/office/drawing/2014/main" id="{0AC2CDE5-4E52-B0FB-C26F-C16907114259}"/>
                </a:ext>
              </a:extLst>
            </p:cNvPr>
            <p:cNvSpPr/>
            <p:nvPr/>
          </p:nvSpPr>
          <p:spPr>
            <a:xfrm>
              <a:off x="13888200" y="7189838"/>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65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65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65" y="435077"/>
                  </a:lnTo>
                  <a:lnTo>
                    <a:pt x="435077" y="217539"/>
                  </a:lnTo>
                  <a:lnTo>
                    <a:pt x="435077" y="435077"/>
                  </a:lnTo>
                  <a:close/>
                  <a:moveTo>
                    <a:pt x="435077" y="0"/>
                  </a:moveTo>
                  <a:lnTo>
                    <a:pt x="217565"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281" name="Freeform: Shape 280">
              <a:extLst>
                <a:ext uri="{FF2B5EF4-FFF2-40B4-BE49-F238E27FC236}">
                  <a16:creationId xmlns:a16="http://schemas.microsoft.com/office/drawing/2014/main" id="{540B84D8-DA53-0BDE-2B3E-C8B8AE3A9F12}"/>
                </a:ext>
              </a:extLst>
            </p:cNvPr>
            <p:cNvSpPr/>
            <p:nvPr/>
          </p:nvSpPr>
          <p:spPr>
            <a:xfrm>
              <a:off x="15628536" y="7189838"/>
              <a:ext cx="435077" cy="435077"/>
            </a:xfrm>
            <a:custGeom>
              <a:avLst/>
              <a:gdLst>
                <a:gd name="connsiteX0" fmla="*/ 371367 w 435077"/>
                <a:gd name="connsiteY0" fmla="*/ 63711 h 435077"/>
                <a:gd name="connsiteX1" fmla="*/ 435077 w 435077"/>
                <a:gd name="connsiteY1" fmla="*/ 217539 h 435077"/>
                <a:gd name="connsiteX2" fmla="*/ 218953 w 435077"/>
                <a:gd name="connsiteY2" fmla="*/ 217539 h 435077"/>
                <a:gd name="connsiteX3" fmla="*/ 371367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39 w 435077"/>
                <a:gd name="connsiteY7" fmla="*/ 281250 h 435077"/>
                <a:gd name="connsiteX8" fmla="*/ 216153 w 435077"/>
                <a:gd name="connsiteY8" fmla="*/ 217539 h 435077"/>
                <a:gd name="connsiteX9" fmla="*/ 0 w 435077"/>
                <a:gd name="connsiteY9" fmla="*/ 217539 h 435077"/>
                <a:gd name="connsiteX10" fmla="*/ 63712 w 435077"/>
                <a:gd name="connsiteY10" fmla="*/ 63711 h 435077"/>
                <a:gd name="connsiteX11" fmla="*/ 217539 w 435077"/>
                <a:gd name="connsiteY11" fmla="*/ 0 h 435077"/>
                <a:gd name="connsiteX12" fmla="*/ 371367 w 435077"/>
                <a:gd name="connsiteY12" fmla="*/ 63711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7" y="63711"/>
                  </a:moveTo>
                  <a:cubicBezTo>
                    <a:pt x="412155" y="104527"/>
                    <a:pt x="435077" y="159836"/>
                    <a:pt x="435077" y="217539"/>
                  </a:cubicBezTo>
                  <a:lnTo>
                    <a:pt x="218953" y="217539"/>
                  </a:lnTo>
                  <a:cubicBezTo>
                    <a:pt x="276139" y="217920"/>
                    <a:pt x="330904" y="240788"/>
                    <a:pt x="371367" y="281250"/>
                  </a:cubicBezTo>
                  <a:cubicBezTo>
                    <a:pt x="412182" y="322039"/>
                    <a:pt x="435077" y="377375"/>
                    <a:pt x="435077" y="435077"/>
                  </a:cubicBezTo>
                  <a:lnTo>
                    <a:pt x="217539" y="435077"/>
                  </a:lnTo>
                  <a:lnTo>
                    <a:pt x="0" y="435077"/>
                  </a:lnTo>
                  <a:cubicBezTo>
                    <a:pt x="0" y="377375"/>
                    <a:pt x="22924" y="322039"/>
                    <a:pt x="63739" y="281250"/>
                  </a:cubicBezTo>
                  <a:cubicBezTo>
                    <a:pt x="104202" y="240788"/>
                    <a:pt x="158967" y="217920"/>
                    <a:pt x="216153" y="217539"/>
                  </a:cubicBezTo>
                  <a:lnTo>
                    <a:pt x="0" y="217539"/>
                  </a:lnTo>
                  <a:cubicBezTo>
                    <a:pt x="0" y="159836"/>
                    <a:pt x="22924" y="104527"/>
                    <a:pt x="63712" y="63711"/>
                  </a:cubicBezTo>
                  <a:cubicBezTo>
                    <a:pt x="104527" y="22923"/>
                    <a:pt x="159865" y="0"/>
                    <a:pt x="217539" y="0"/>
                  </a:cubicBezTo>
                  <a:cubicBezTo>
                    <a:pt x="275241" y="0"/>
                    <a:pt x="330578" y="22923"/>
                    <a:pt x="371367" y="63711"/>
                  </a:cubicBezTo>
                  <a:close/>
                </a:path>
              </a:pathLst>
            </a:custGeom>
            <a:grpFill/>
            <a:ln w="27192" cap="flat">
              <a:noFill/>
              <a:prstDash val="solid"/>
              <a:miter/>
            </a:ln>
          </p:spPr>
          <p:txBody>
            <a:bodyPr rtlCol="0" anchor="ctr"/>
            <a:lstStyle/>
            <a:p>
              <a:endParaRPr lang="uk-UA" sz="900"/>
            </a:p>
          </p:txBody>
        </p:sp>
        <p:sp>
          <p:nvSpPr>
            <p:cNvPr id="282" name="Freeform: Shape 281">
              <a:extLst>
                <a:ext uri="{FF2B5EF4-FFF2-40B4-BE49-F238E27FC236}">
                  <a16:creationId xmlns:a16="http://schemas.microsoft.com/office/drawing/2014/main" id="{6C4774FE-4AB4-191B-ABAE-9F8653964670}"/>
                </a:ext>
              </a:extLst>
            </p:cNvPr>
            <p:cNvSpPr/>
            <p:nvPr/>
          </p:nvSpPr>
          <p:spPr>
            <a:xfrm>
              <a:off x="16498719" y="718983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49 w 435077"/>
                <a:gd name="connsiteY7" fmla="*/ 217539 h 435077"/>
                <a:gd name="connsiteX8" fmla="*/ 435077 w 435077"/>
                <a:gd name="connsiteY8" fmla="*/ 217539 h 435077"/>
                <a:gd name="connsiteX9" fmla="*/ 435049 w 435077"/>
                <a:gd name="connsiteY9" fmla="*/ 217539 h 435077"/>
                <a:gd name="connsiteX10" fmla="*/ 435077 w 435077"/>
                <a:gd name="connsiteY10" fmla="*/ 217539 h 435077"/>
                <a:gd name="connsiteX11" fmla="*/ 435049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49" y="217539"/>
                  </a:lnTo>
                  <a:lnTo>
                    <a:pt x="435077" y="217539"/>
                  </a:lnTo>
                  <a:lnTo>
                    <a:pt x="435049" y="217539"/>
                  </a:lnTo>
                  <a:lnTo>
                    <a:pt x="435077" y="217539"/>
                  </a:lnTo>
                  <a:lnTo>
                    <a:pt x="435049"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283" name="Freeform: Shape 282">
              <a:extLst>
                <a:ext uri="{FF2B5EF4-FFF2-40B4-BE49-F238E27FC236}">
                  <a16:creationId xmlns:a16="http://schemas.microsoft.com/office/drawing/2014/main" id="{D25BA2CB-911A-DBB1-BC76-747C593F864B}"/>
                </a:ext>
              </a:extLst>
            </p:cNvPr>
            <p:cNvSpPr/>
            <p:nvPr/>
          </p:nvSpPr>
          <p:spPr>
            <a:xfrm>
              <a:off x="18239029" y="718983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284" name="Freeform: Shape 283">
              <a:extLst>
                <a:ext uri="{FF2B5EF4-FFF2-40B4-BE49-F238E27FC236}">
                  <a16:creationId xmlns:a16="http://schemas.microsoft.com/office/drawing/2014/main" id="{E2403443-C573-2CE8-A299-306E4C6E6487}"/>
                </a:ext>
              </a:extLst>
            </p:cNvPr>
            <p:cNvSpPr/>
            <p:nvPr/>
          </p:nvSpPr>
          <p:spPr>
            <a:xfrm>
              <a:off x="17368874" y="7189838"/>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285" name="Freeform: Shape 284">
              <a:extLst>
                <a:ext uri="{FF2B5EF4-FFF2-40B4-BE49-F238E27FC236}">
                  <a16:creationId xmlns:a16="http://schemas.microsoft.com/office/drawing/2014/main" id="{FDADE595-02FC-5442-E04F-5824F3D1CAFE}"/>
                </a:ext>
              </a:extLst>
            </p:cNvPr>
            <p:cNvSpPr/>
            <p:nvPr/>
          </p:nvSpPr>
          <p:spPr>
            <a:xfrm>
              <a:off x="19109210" y="7189838"/>
              <a:ext cx="435077" cy="435077"/>
            </a:xfrm>
            <a:custGeom>
              <a:avLst/>
              <a:gdLst>
                <a:gd name="connsiteX0" fmla="*/ 371339 w 435077"/>
                <a:gd name="connsiteY0" fmla="*/ 63711 h 435077"/>
                <a:gd name="connsiteX1" fmla="*/ 435077 w 435077"/>
                <a:gd name="connsiteY1" fmla="*/ 217539 h 435077"/>
                <a:gd name="connsiteX2" fmla="*/ 218926 w 435077"/>
                <a:gd name="connsiteY2" fmla="*/ 217539 h 435077"/>
                <a:gd name="connsiteX3" fmla="*/ 371365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25 w 435077"/>
                <a:gd name="connsiteY8" fmla="*/ 217539 h 435077"/>
                <a:gd name="connsiteX9" fmla="*/ 0 w 435077"/>
                <a:gd name="connsiteY9" fmla="*/ 217539 h 435077"/>
                <a:gd name="connsiteX10" fmla="*/ 63712 w 435077"/>
                <a:gd name="connsiteY10" fmla="*/ 63711 h 435077"/>
                <a:gd name="connsiteX11" fmla="*/ 217539 w 435077"/>
                <a:gd name="connsiteY11" fmla="*/ 0 h 435077"/>
                <a:gd name="connsiteX12" fmla="*/ 371339 w 435077"/>
                <a:gd name="connsiteY12" fmla="*/ 63711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11"/>
                  </a:moveTo>
                  <a:cubicBezTo>
                    <a:pt x="412154" y="104527"/>
                    <a:pt x="435077" y="159836"/>
                    <a:pt x="435077" y="217539"/>
                  </a:cubicBezTo>
                  <a:lnTo>
                    <a:pt x="218926" y="217539"/>
                  </a:lnTo>
                  <a:cubicBezTo>
                    <a:pt x="276111" y="217920"/>
                    <a:pt x="330877" y="240788"/>
                    <a:pt x="371365" y="281250"/>
                  </a:cubicBezTo>
                  <a:cubicBezTo>
                    <a:pt x="412154" y="322039"/>
                    <a:pt x="435077" y="377375"/>
                    <a:pt x="435077" y="435077"/>
                  </a:cubicBezTo>
                  <a:lnTo>
                    <a:pt x="217539" y="435077"/>
                  </a:lnTo>
                  <a:lnTo>
                    <a:pt x="0" y="435077"/>
                  </a:lnTo>
                  <a:cubicBezTo>
                    <a:pt x="0" y="377375"/>
                    <a:pt x="22924" y="322039"/>
                    <a:pt x="63712" y="281250"/>
                  </a:cubicBezTo>
                  <a:cubicBezTo>
                    <a:pt x="104174" y="240788"/>
                    <a:pt x="158940" y="217920"/>
                    <a:pt x="216125" y="217539"/>
                  </a:cubicBezTo>
                  <a:lnTo>
                    <a:pt x="0" y="217539"/>
                  </a:lnTo>
                  <a:cubicBezTo>
                    <a:pt x="0" y="159836"/>
                    <a:pt x="22895" y="104527"/>
                    <a:pt x="63712" y="63711"/>
                  </a:cubicBezTo>
                  <a:cubicBezTo>
                    <a:pt x="104501" y="22923"/>
                    <a:pt x="159836" y="0"/>
                    <a:pt x="217539" y="0"/>
                  </a:cubicBezTo>
                  <a:cubicBezTo>
                    <a:pt x="275215" y="0"/>
                    <a:pt x="330550" y="22923"/>
                    <a:pt x="371339" y="63711"/>
                  </a:cubicBezTo>
                  <a:close/>
                </a:path>
              </a:pathLst>
            </a:custGeom>
            <a:grpFill/>
            <a:ln w="27192" cap="flat">
              <a:noFill/>
              <a:prstDash val="solid"/>
              <a:miter/>
            </a:ln>
          </p:spPr>
          <p:txBody>
            <a:bodyPr rtlCol="0" anchor="ctr"/>
            <a:lstStyle/>
            <a:p>
              <a:endParaRPr lang="uk-UA" sz="900"/>
            </a:p>
          </p:txBody>
        </p:sp>
        <p:sp>
          <p:nvSpPr>
            <p:cNvPr id="286" name="Freeform: Shape 285">
              <a:extLst>
                <a:ext uri="{FF2B5EF4-FFF2-40B4-BE49-F238E27FC236}">
                  <a16:creationId xmlns:a16="http://schemas.microsoft.com/office/drawing/2014/main" id="{BB0E70F4-FE2A-A505-9228-6298AEF8C633}"/>
                </a:ext>
              </a:extLst>
            </p:cNvPr>
            <p:cNvSpPr/>
            <p:nvPr/>
          </p:nvSpPr>
          <p:spPr>
            <a:xfrm>
              <a:off x="19979365" y="718983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51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51"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287" name="Freeform: Shape 286">
              <a:extLst>
                <a:ext uri="{FF2B5EF4-FFF2-40B4-BE49-F238E27FC236}">
                  <a16:creationId xmlns:a16="http://schemas.microsoft.com/office/drawing/2014/main" id="{B8DCC521-8AA0-C6FF-0BF3-36E2621F63CC}"/>
                </a:ext>
              </a:extLst>
            </p:cNvPr>
            <p:cNvSpPr/>
            <p:nvPr/>
          </p:nvSpPr>
          <p:spPr>
            <a:xfrm>
              <a:off x="21719702" y="718983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288" name="Freeform: Shape 287">
              <a:extLst>
                <a:ext uri="{FF2B5EF4-FFF2-40B4-BE49-F238E27FC236}">
                  <a16:creationId xmlns:a16="http://schemas.microsoft.com/office/drawing/2014/main" id="{54A95C27-00CE-2069-EF07-9DEC4121671C}"/>
                </a:ext>
              </a:extLst>
            </p:cNvPr>
            <p:cNvSpPr/>
            <p:nvPr/>
          </p:nvSpPr>
          <p:spPr>
            <a:xfrm>
              <a:off x="20849520" y="7189838"/>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65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65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65" y="435077"/>
                  </a:lnTo>
                  <a:lnTo>
                    <a:pt x="435077" y="217539"/>
                  </a:lnTo>
                  <a:lnTo>
                    <a:pt x="435077" y="435077"/>
                  </a:lnTo>
                  <a:close/>
                  <a:moveTo>
                    <a:pt x="435077" y="0"/>
                  </a:moveTo>
                  <a:lnTo>
                    <a:pt x="217565"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289" name="Freeform: Shape 288">
              <a:extLst>
                <a:ext uri="{FF2B5EF4-FFF2-40B4-BE49-F238E27FC236}">
                  <a16:creationId xmlns:a16="http://schemas.microsoft.com/office/drawing/2014/main" id="{77EF2081-7E7F-A4D1-7212-4C7F0BC8077F}"/>
                </a:ext>
              </a:extLst>
            </p:cNvPr>
            <p:cNvSpPr/>
            <p:nvPr/>
          </p:nvSpPr>
          <p:spPr>
            <a:xfrm>
              <a:off x="22589856" y="7189838"/>
              <a:ext cx="435077" cy="435077"/>
            </a:xfrm>
            <a:custGeom>
              <a:avLst/>
              <a:gdLst>
                <a:gd name="connsiteX0" fmla="*/ 371367 w 435077"/>
                <a:gd name="connsiteY0" fmla="*/ 63711 h 435077"/>
                <a:gd name="connsiteX1" fmla="*/ 435077 w 435077"/>
                <a:gd name="connsiteY1" fmla="*/ 217539 h 435077"/>
                <a:gd name="connsiteX2" fmla="*/ 218953 w 435077"/>
                <a:gd name="connsiteY2" fmla="*/ 217539 h 435077"/>
                <a:gd name="connsiteX3" fmla="*/ 371367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53 w 435077"/>
                <a:gd name="connsiteY8" fmla="*/ 217539 h 435077"/>
                <a:gd name="connsiteX9" fmla="*/ 0 w 435077"/>
                <a:gd name="connsiteY9" fmla="*/ 217539 h 435077"/>
                <a:gd name="connsiteX10" fmla="*/ 63712 w 435077"/>
                <a:gd name="connsiteY10" fmla="*/ 63711 h 435077"/>
                <a:gd name="connsiteX11" fmla="*/ 217539 w 435077"/>
                <a:gd name="connsiteY11" fmla="*/ 0 h 435077"/>
                <a:gd name="connsiteX12" fmla="*/ 371367 w 435077"/>
                <a:gd name="connsiteY12" fmla="*/ 63711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7" y="63711"/>
                  </a:moveTo>
                  <a:cubicBezTo>
                    <a:pt x="412155" y="104527"/>
                    <a:pt x="435077" y="159836"/>
                    <a:pt x="435077" y="217539"/>
                  </a:cubicBezTo>
                  <a:lnTo>
                    <a:pt x="218953" y="217539"/>
                  </a:lnTo>
                  <a:cubicBezTo>
                    <a:pt x="276139" y="217920"/>
                    <a:pt x="330904" y="240788"/>
                    <a:pt x="371367" y="281250"/>
                  </a:cubicBezTo>
                  <a:cubicBezTo>
                    <a:pt x="412155" y="322039"/>
                    <a:pt x="435077" y="377375"/>
                    <a:pt x="435077" y="435077"/>
                  </a:cubicBezTo>
                  <a:lnTo>
                    <a:pt x="217539" y="435077"/>
                  </a:lnTo>
                  <a:lnTo>
                    <a:pt x="0" y="435077"/>
                  </a:lnTo>
                  <a:cubicBezTo>
                    <a:pt x="0" y="377375"/>
                    <a:pt x="22924" y="322039"/>
                    <a:pt x="63712" y="281250"/>
                  </a:cubicBezTo>
                  <a:cubicBezTo>
                    <a:pt x="104202" y="240788"/>
                    <a:pt x="158967" y="217920"/>
                    <a:pt x="216153" y="217539"/>
                  </a:cubicBezTo>
                  <a:lnTo>
                    <a:pt x="0" y="217539"/>
                  </a:lnTo>
                  <a:cubicBezTo>
                    <a:pt x="0" y="159836"/>
                    <a:pt x="22924" y="104527"/>
                    <a:pt x="63712" y="63711"/>
                  </a:cubicBezTo>
                  <a:cubicBezTo>
                    <a:pt x="104529" y="22923"/>
                    <a:pt x="159838" y="0"/>
                    <a:pt x="217539" y="0"/>
                  </a:cubicBezTo>
                  <a:cubicBezTo>
                    <a:pt x="275241" y="0"/>
                    <a:pt x="330578" y="22923"/>
                    <a:pt x="371367" y="63711"/>
                  </a:cubicBezTo>
                  <a:close/>
                </a:path>
              </a:pathLst>
            </a:custGeom>
            <a:grpFill/>
            <a:ln w="27192" cap="flat">
              <a:noFill/>
              <a:prstDash val="solid"/>
              <a:miter/>
            </a:ln>
          </p:spPr>
          <p:txBody>
            <a:bodyPr rtlCol="0" anchor="ctr"/>
            <a:lstStyle/>
            <a:p>
              <a:endParaRPr lang="uk-UA" sz="900"/>
            </a:p>
          </p:txBody>
        </p:sp>
        <p:sp>
          <p:nvSpPr>
            <p:cNvPr id="290" name="Freeform: Shape 289">
              <a:extLst>
                <a:ext uri="{FF2B5EF4-FFF2-40B4-BE49-F238E27FC236}">
                  <a16:creationId xmlns:a16="http://schemas.microsoft.com/office/drawing/2014/main" id="{92D363CE-1043-EB81-A170-76348A7164A8}"/>
                </a:ext>
              </a:extLst>
            </p:cNvPr>
            <p:cNvSpPr/>
            <p:nvPr/>
          </p:nvSpPr>
          <p:spPr>
            <a:xfrm>
              <a:off x="23460039" y="718983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10 w 435077"/>
                <a:gd name="connsiteY5" fmla="*/ 435077 h 435077"/>
                <a:gd name="connsiteX6" fmla="*/ 217510 w 435077"/>
                <a:gd name="connsiteY6" fmla="*/ 435077 h 435077"/>
                <a:gd name="connsiteX7" fmla="*/ 435049 w 435077"/>
                <a:gd name="connsiteY7" fmla="*/ 217539 h 435077"/>
                <a:gd name="connsiteX8" fmla="*/ 435077 w 435077"/>
                <a:gd name="connsiteY8" fmla="*/ 217539 h 435077"/>
                <a:gd name="connsiteX9" fmla="*/ 435049 w 435077"/>
                <a:gd name="connsiteY9" fmla="*/ 217539 h 435077"/>
                <a:gd name="connsiteX10" fmla="*/ 435049 w 435077"/>
                <a:gd name="connsiteY10" fmla="*/ 217539 h 435077"/>
                <a:gd name="connsiteX11" fmla="*/ 435049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10" y="435077"/>
                  </a:lnTo>
                  <a:lnTo>
                    <a:pt x="217510" y="435077"/>
                  </a:lnTo>
                  <a:lnTo>
                    <a:pt x="435049" y="217539"/>
                  </a:lnTo>
                  <a:lnTo>
                    <a:pt x="435077" y="217539"/>
                  </a:lnTo>
                  <a:lnTo>
                    <a:pt x="435049" y="217539"/>
                  </a:lnTo>
                  <a:lnTo>
                    <a:pt x="435049" y="217539"/>
                  </a:lnTo>
                  <a:lnTo>
                    <a:pt x="435049"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291" name="Freeform: Shape 290">
              <a:extLst>
                <a:ext uri="{FF2B5EF4-FFF2-40B4-BE49-F238E27FC236}">
                  <a16:creationId xmlns:a16="http://schemas.microsoft.com/office/drawing/2014/main" id="{C41B87BB-9308-A692-8E9F-1DE91248ED8E}"/>
                </a:ext>
              </a:extLst>
            </p:cNvPr>
            <p:cNvSpPr/>
            <p:nvPr/>
          </p:nvSpPr>
          <p:spPr>
            <a:xfrm>
              <a:off x="24330194" y="7189838"/>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292" name="Freeform: Shape 291">
              <a:extLst>
                <a:ext uri="{FF2B5EF4-FFF2-40B4-BE49-F238E27FC236}">
                  <a16:creationId xmlns:a16="http://schemas.microsoft.com/office/drawing/2014/main" id="{E050A21D-15AD-609E-ADD5-D5F904E992F8}"/>
                </a:ext>
              </a:extLst>
            </p:cNvPr>
            <p:cNvSpPr/>
            <p:nvPr/>
          </p:nvSpPr>
          <p:spPr>
            <a:xfrm>
              <a:off x="835769" y="805999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1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1" y="217539"/>
                  </a:lnTo>
                  <a:lnTo>
                    <a:pt x="0" y="435077"/>
                  </a:lnTo>
                  <a:close/>
                </a:path>
              </a:pathLst>
            </a:custGeom>
            <a:grpFill/>
            <a:ln w="27192" cap="flat">
              <a:noFill/>
              <a:prstDash val="solid"/>
              <a:miter/>
            </a:ln>
          </p:spPr>
          <p:txBody>
            <a:bodyPr rtlCol="0" anchor="ctr"/>
            <a:lstStyle/>
            <a:p>
              <a:endParaRPr lang="uk-UA" sz="900"/>
            </a:p>
          </p:txBody>
        </p:sp>
        <p:sp>
          <p:nvSpPr>
            <p:cNvPr id="293" name="Freeform: Shape 292">
              <a:extLst>
                <a:ext uri="{FF2B5EF4-FFF2-40B4-BE49-F238E27FC236}">
                  <a16:creationId xmlns:a16="http://schemas.microsoft.com/office/drawing/2014/main" id="{49D36B96-A350-CB1C-D493-1E51AD268AAA}"/>
                </a:ext>
              </a:extLst>
            </p:cNvPr>
            <p:cNvSpPr/>
            <p:nvPr/>
          </p:nvSpPr>
          <p:spPr>
            <a:xfrm>
              <a:off x="-34398" y="8059993"/>
              <a:ext cx="435090" cy="435077"/>
            </a:xfrm>
            <a:custGeom>
              <a:avLst/>
              <a:gdLst>
                <a:gd name="connsiteX0" fmla="*/ 217552 w 435090"/>
                <a:gd name="connsiteY0" fmla="*/ 435077 h 435077"/>
                <a:gd name="connsiteX1" fmla="*/ 217552 w 435090"/>
                <a:gd name="connsiteY1" fmla="*/ 0 h 435077"/>
                <a:gd name="connsiteX2" fmla="*/ 435091 w 435090"/>
                <a:gd name="connsiteY2" fmla="*/ 217539 h 435077"/>
                <a:gd name="connsiteX3" fmla="*/ 217552 w 435090"/>
                <a:gd name="connsiteY3" fmla="*/ 435077 h 435077"/>
                <a:gd name="connsiteX4" fmla="*/ 0 w 435090"/>
                <a:gd name="connsiteY4" fmla="*/ 435077 h 435077"/>
                <a:gd name="connsiteX5" fmla="*/ 0 w 435090"/>
                <a:gd name="connsiteY5" fmla="*/ 27 h 435077"/>
                <a:gd name="connsiteX6" fmla="*/ 217525 w 435090"/>
                <a:gd name="connsiteY6" fmla="*/ 217566 h 435077"/>
                <a:gd name="connsiteX7" fmla="*/ 0 w 435090"/>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90" h="435077">
                  <a:moveTo>
                    <a:pt x="217552" y="435077"/>
                  </a:moveTo>
                  <a:lnTo>
                    <a:pt x="217552" y="0"/>
                  </a:lnTo>
                  <a:lnTo>
                    <a:pt x="435091" y="217539"/>
                  </a:lnTo>
                  <a:lnTo>
                    <a:pt x="217552" y="435077"/>
                  </a:lnTo>
                  <a:close/>
                  <a:moveTo>
                    <a:pt x="0" y="435077"/>
                  </a:moveTo>
                  <a:lnTo>
                    <a:pt x="0" y="27"/>
                  </a:lnTo>
                  <a:lnTo>
                    <a:pt x="217525" y="217566"/>
                  </a:lnTo>
                  <a:lnTo>
                    <a:pt x="0" y="435077"/>
                  </a:lnTo>
                  <a:close/>
                </a:path>
              </a:pathLst>
            </a:custGeom>
            <a:grpFill/>
            <a:ln w="27192" cap="flat">
              <a:noFill/>
              <a:prstDash val="solid"/>
              <a:miter/>
            </a:ln>
          </p:spPr>
          <p:txBody>
            <a:bodyPr rtlCol="0" anchor="ctr"/>
            <a:lstStyle/>
            <a:p>
              <a:endParaRPr lang="uk-UA" sz="900"/>
            </a:p>
          </p:txBody>
        </p:sp>
        <p:sp>
          <p:nvSpPr>
            <p:cNvPr id="294" name="Freeform: Shape 293">
              <a:extLst>
                <a:ext uri="{FF2B5EF4-FFF2-40B4-BE49-F238E27FC236}">
                  <a16:creationId xmlns:a16="http://schemas.microsoft.com/office/drawing/2014/main" id="{B19FA4C0-1C8F-1E6B-5194-B3F4DD59800E}"/>
                </a:ext>
              </a:extLst>
            </p:cNvPr>
            <p:cNvSpPr/>
            <p:nvPr/>
          </p:nvSpPr>
          <p:spPr>
            <a:xfrm>
              <a:off x="1705924" y="8059993"/>
              <a:ext cx="435077" cy="435077"/>
            </a:xfrm>
            <a:custGeom>
              <a:avLst/>
              <a:gdLst>
                <a:gd name="connsiteX0" fmla="*/ 63711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1 w 435077"/>
                <a:gd name="connsiteY6" fmla="*/ 153827 h 435077"/>
                <a:gd name="connsiteX7" fmla="*/ 63711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1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1" y="153827"/>
                  </a:moveTo>
                  <a:cubicBezTo>
                    <a:pt x="22923" y="113039"/>
                    <a:pt x="0" y="57702"/>
                    <a:pt x="0" y="0"/>
                  </a:cubicBezTo>
                  <a:lnTo>
                    <a:pt x="217539" y="0"/>
                  </a:lnTo>
                  <a:lnTo>
                    <a:pt x="435077" y="0"/>
                  </a:lnTo>
                  <a:cubicBezTo>
                    <a:pt x="435077" y="57702"/>
                    <a:pt x="412154" y="113039"/>
                    <a:pt x="371366" y="153827"/>
                  </a:cubicBezTo>
                  <a:cubicBezTo>
                    <a:pt x="330577" y="194616"/>
                    <a:pt x="275241" y="217539"/>
                    <a:pt x="217539" y="217539"/>
                  </a:cubicBezTo>
                  <a:cubicBezTo>
                    <a:pt x="159836" y="217539"/>
                    <a:pt x="104527" y="194616"/>
                    <a:pt x="63711" y="153827"/>
                  </a:cubicBezTo>
                  <a:close/>
                  <a:moveTo>
                    <a:pt x="63711" y="281250"/>
                  </a:moveTo>
                  <a:cubicBezTo>
                    <a:pt x="22923" y="322066"/>
                    <a:pt x="0" y="377402"/>
                    <a:pt x="0" y="435077"/>
                  </a:cubicBezTo>
                  <a:lnTo>
                    <a:pt x="217539" y="435077"/>
                  </a:lnTo>
                  <a:lnTo>
                    <a:pt x="435077" y="435077"/>
                  </a:lnTo>
                  <a:cubicBezTo>
                    <a:pt x="435077" y="377402"/>
                    <a:pt x="412154" y="322066"/>
                    <a:pt x="371366" y="281250"/>
                  </a:cubicBezTo>
                  <a:cubicBezTo>
                    <a:pt x="330577" y="240462"/>
                    <a:pt x="275241" y="217539"/>
                    <a:pt x="217539" y="217539"/>
                  </a:cubicBezTo>
                  <a:cubicBezTo>
                    <a:pt x="159836" y="217539"/>
                    <a:pt x="104527" y="240462"/>
                    <a:pt x="63711" y="281250"/>
                  </a:cubicBezTo>
                  <a:close/>
                </a:path>
              </a:pathLst>
            </a:custGeom>
            <a:grpFill/>
            <a:ln w="27192" cap="flat">
              <a:noFill/>
              <a:prstDash val="solid"/>
              <a:miter/>
            </a:ln>
          </p:spPr>
          <p:txBody>
            <a:bodyPr rtlCol="0" anchor="ctr"/>
            <a:lstStyle/>
            <a:p>
              <a:endParaRPr lang="uk-UA" sz="900"/>
            </a:p>
          </p:txBody>
        </p:sp>
        <p:sp>
          <p:nvSpPr>
            <p:cNvPr id="295" name="Freeform: Shape 294">
              <a:extLst>
                <a:ext uri="{FF2B5EF4-FFF2-40B4-BE49-F238E27FC236}">
                  <a16:creationId xmlns:a16="http://schemas.microsoft.com/office/drawing/2014/main" id="{B209BFF9-D721-EA51-D584-C77BB1DFC3BD}"/>
                </a:ext>
              </a:extLst>
            </p:cNvPr>
            <p:cNvSpPr/>
            <p:nvPr/>
          </p:nvSpPr>
          <p:spPr>
            <a:xfrm>
              <a:off x="2576106" y="805999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296" name="Freeform: Shape 295">
              <a:extLst>
                <a:ext uri="{FF2B5EF4-FFF2-40B4-BE49-F238E27FC236}">
                  <a16:creationId xmlns:a16="http://schemas.microsoft.com/office/drawing/2014/main" id="{882074F1-3C18-7A9E-28BF-2234C1531F20}"/>
                </a:ext>
              </a:extLst>
            </p:cNvPr>
            <p:cNvSpPr/>
            <p:nvPr/>
          </p:nvSpPr>
          <p:spPr>
            <a:xfrm>
              <a:off x="4316416" y="8059993"/>
              <a:ext cx="435077" cy="435077"/>
            </a:xfrm>
            <a:custGeom>
              <a:avLst/>
              <a:gdLst>
                <a:gd name="connsiteX0" fmla="*/ 435077 w 435077"/>
                <a:gd name="connsiteY0" fmla="*/ 435077 h 435077"/>
                <a:gd name="connsiteX1" fmla="*/ 435077 w 435077"/>
                <a:gd name="connsiteY1" fmla="*/ 0 h 435077"/>
                <a:gd name="connsiteX2" fmla="*/ 217565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97" name="Freeform: Shape 296">
              <a:extLst>
                <a:ext uri="{FF2B5EF4-FFF2-40B4-BE49-F238E27FC236}">
                  <a16:creationId xmlns:a16="http://schemas.microsoft.com/office/drawing/2014/main" id="{F697CF43-010E-48AE-F5DD-EC2CDA76A9EB}"/>
                </a:ext>
              </a:extLst>
            </p:cNvPr>
            <p:cNvSpPr/>
            <p:nvPr/>
          </p:nvSpPr>
          <p:spPr>
            <a:xfrm>
              <a:off x="3446261" y="8059993"/>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27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27"/>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298" name="Freeform: Shape 297">
              <a:extLst>
                <a:ext uri="{FF2B5EF4-FFF2-40B4-BE49-F238E27FC236}">
                  <a16:creationId xmlns:a16="http://schemas.microsoft.com/office/drawing/2014/main" id="{4AA32CA9-F3E1-3165-3169-DF559257FDB3}"/>
                </a:ext>
              </a:extLst>
            </p:cNvPr>
            <p:cNvSpPr/>
            <p:nvPr/>
          </p:nvSpPr>
          <p:spPr>
            <a:xfrm>
              <a:off x="5186597" y="805999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6" y="153827"/>
                  </a:cubicBezTo>
                  <a:cubicBezTo>
                    <a:pt x="330550" y="194616"/>
                    <a:pt x="275241" y="217539"/>
                    <a:pt x="217539" y="217539"/>
                  </a:cubicBezTo>
                  <a:cubicBezTo>
                    <a:pt x="159837" y="217539"/>
                    <a:pt x="104501" y="194616"/>
                    <a:pt x="63712" y="153827"/>
                  </a:cubicBezTo>
                  <a:close/>
                  <a:moveTo>
                    <a:pt x="63712" y="281250"/>
                  </a:moveTo>
                  <a:cubicBezTo>
                    <a:pt x="22924" y="322066"/>
                    <a:pt x="0" y="377402"/>
                    <a:pt x="0" y="435077"/>
                  </a:cubicBezTo>
                  <a:lnTo>
                    <a:pt x="217539" y="435077"/>
                  </a:lnTo>
                  <a:lnTo>
                    <a:pt x="435077" y="435077"/>
                  </a:lnTo>
                  <a:cubicBezTo>
                    <a:pt x="435077" y="377402"/>
                    <a:pt x="412155" y="322066"/>
                    <a:pt x="371366" y="281250"/>
                  </a:cubicBezTo>
                  <a:cubicBezTo>
                    <a:pt x="330550" y="240462"/>
                    <a:pt x="275241" y="217539"/>
                    <a:pt x="217539" y="217539"/>
                  </a:cubicBezTo>
                  <a:cubicBezTo>
                    <a:pt x="159837" y="217539"/>
                    <a:pt x="104501" y="240462"/>
                    <a:pt x="63712" y="281250"/>
                  </a:cubicBezTo>
                  <a:close/>
                </a:path>
              </a:pathLst>
            </a:custGeom>
            <a:grpFill/>
            <a:ln w="27192" cap="flat">
              <a:noFill/>
              <a:prstDash val="solid"/>
              <a:miter/>
            </a:ln>
          </p:spPr>
          <p:txBody>
            <a:bodyPr rtlCol="0" anchor="ctr"/>
            <a:lstStyle/>
            <a:p>
              <a:endParaRPr lang="uk-UA" sz="900"/>
            </a:p>
          </p:txBody>
        </p:sp>
        <p:sp>
          <p:nvSpPr>
            <p:cNvPr id="299" name="Freeform: Shape 298">
              <a:extLst>
                <a:ext uri="{FF2B5EF4-FFF2-40B4-BE49-F238E27FC236}">
                  <a16:creationId xmlns:a16="http://schemas.microsoft.com/office/drawing/2014/main" id="{0EADE6F5-0383-46F1-08A0-494286FD1958}"/>
                </a:ext>
              </a:extLst>
            </p:cNvPr>
            <p:cNvSpPr/>
            <p:nvPr/>
          </p:nvSpPr>
          <p:spPr>
            <a:xfrm>
              <a:off x="6056752" y="805999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300" name="Freeform: Shape 299">
              <a:extLst>
                <a:ext uri="{FF2B5EF4-FFF2-40B4-BE49-F238E27FC236}">
                  <a16:creationId xmlns:a16="http://schemas.microsoft.com/office/drawing/2014/main" id="{181282FB-F21F-1E8A-D03F-678D5A94F2EC}"/>
                </a:ext>
              </a:extLst>
            </p:cNvPr>
            <p:cNvSpPr/>
            <p:nvPr/>
          </p:nvSpPr>
          <p:spPr>
            <a:xfrm>
              <a:off x="7797062" y="8059993"/>
              <a:ext cx="435077" cy="435077"/>
            </a:xfrm>
            <a:custGeom>
              <a:avLst/>
              <a:gdLst>
                <a:gd name="connsiteX0" fmla="*/ 435077 w 435077"/>
                <a:gd name="connsiteY0" fmla="*/ 435077 h 435077"/>
                <a:gd name="connsiteX1" fmla="*/ 435077 w 435077"/>
                <a:gd name="connsiteY1" fmla="*/ 0 h 435077"/>
                <a:gd name="connsiteX2" fmla="*/ 217566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6"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301" name="Freeform: Shape 300">
              <a:extLst>
                <a:ext uri="{FF2B5EF4-FFF2-40B4-BE49-F238E27FC236}">
                  <a16:creationId xmlns:a16="http://schemas.microsoft.com/office/drawing/2014/main" id="{D160EC50-C8EB-44E1-3F00-8FD87ABD42A3}"/>
                </a:ext>
              </a:extLst>
            </p:cNvPr>
            <p:cNvSpPr/>
            <p:nvPr/>
          </p:nvSpPr>
          <p:spPr>
            <a:xfrm>
              <a:off x="6926907" y="8059993"/>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27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27"/>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302" name="Freeform: Shape 301">
              <a:extLst>
                <a:ext uri="{FF2B5EF4-FFF2-40B4-BE49-F238E27FC236}">
                  <a16:creationId xmlns:a16="http://schemas.microsoft.com/office/drawing/2014/main" id="{04E2E98B-4500-B74C-78AF-97776B92E520}"/>
                </a:ext>
              </a:extLst>
            </p:cNvPr>
            <p:cNvSpPr/>
            <p:nvPr/>
          </p:nvSpPr>
          <p:spPr>
            <a:xfrm>
              <a:off x="8667217" y="8059993"/>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39 w 435077"/>
                <a:gd name="connsiteY6" fmla="*/ 153827 h 435077"/>
                <a:gd name="connsiteX7" fmla="*/ 63739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39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4" y="113039"/>
                    <a:pt x="0" y="57702"/>
                    <a:pt x="0" y="0"/>
                  </a:cubicBezTo>
                  <a:lnTo>
                    <a:pt x="217539" y="0"/>
                  </a:lnTo>
                  <a:lnTo>
                    <a:pt x="435077" y="0"/>
                  </a:lnTo>
                  <a:cubicBezTo>
                    <a:pt x="435077" y="57702"/>
                    <a:pt x="412182" y="113039"/>
                    <a:pt x="371366" y="153827"/>
                  </a:cubicBezTo>
                  <a:cubicBezTo>
                    <a:pt x="330578" y="194616"/>
                    <a:pt x="275241" y="217539"/>
                    <a:pt x="217539" y="217539"/>
                  </a:cubicBezTo>
                  <a:cubicBezTo>
                    <a:pt x="159864" y="217539"/>
                    <a:pt x="104527" y="194616"/>
                    <a:pt x="63739" y="153827"/>
                  </a:cubicBezTo>
                  <a:close/>
                  <a:moveTo>
                    <a:pt x="63739" y="281250"/>
                  </a:moveTo>
                  <a:cubicBezTo>
                    <a:pt x="22924" y="322066"/>
                    <a:pt x="0" y="377402"/>
                    <a:pt x="0" y="435077"/>
                  </a:cubicBezTo>
                  <a:lnTo>
                    <a:pt x="217539" y="435077"/>
                  </a:lnTo>
                  <a:lnTo>
                    <a:pt x="435077" y="435077"/>
                  </a:lnTo>
                  <a:cubicBezTo>
                    <a:pt x="435077" y="377402"/>
                    <a:pt x="412182" y="322066"/>
                    <a:pt x="371366" y="281250"/>
                  </a:cubicBezTo>
                  <a:cubicBezTo>
                    <a:pt x="330578" y="240462"/>
                    <a:pt x="275241" y="217539"/>
                    <a:pt x="217539" y="217539"/>
                  </a:cubicBezTo>
                  <a:cubicBezTo>
                    <a:pt x="159864" y="217539"/>
                    <a:pt x="104527" y="240462"/>
                    <a:pt x="63739" y="281250"/>
                  </a:cubicBezTo>
                  <a:close/>
                </a:path>
              </a:pathLst>
            </a:custGeom>
            <a:grpFill/>
            <a:ln w="27192" cap="flat">
              <a:noFill/>
              <a:prstDash val="solid"/>
              <a:miter/>
            </a:ln>
          </p:spPr>
          <p:txBody>
            <a:bodyPr rtlCol="0" anchor="ctr"/>
            <a:lstStyle/>
            <a:p>
              <a:endParaRPr lang="uk-UA" sz="900"/>
            </a:p>
          </p:txBody>
        </p:sp>
        <p:sp>
          <p:nvSpPr>
            <p:cNvPr id="303" name="Freeform: Shape 302">
              <a:extLst>
                <a:ext uri="{FF2B5EF4-FFF2-40B4-BE49-F238E27FC236}">
                  <a16:creationId xmlns:a16="http://schemas.microsoft.com/office/drawing/2014/main" id="{CF0D0609-5B6D-964A-FCAD-DA23035171B0}"/>
                </a:ext>
              </a:extLst>
            </p:cNvPr>
            <p:cNvSpPr/>
            <p:nvPr/>
          </p:nvSpPr>
          <p:spPr>
            <a:xfrm>
              <a:off x="9537399" y="805999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1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1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1" y="217539"/>
                  </a:lnTo>
                  <a:lnTo>
                    <a:pt x="0" y="217539"/>
                  </a:lnTo>
                  <a:close/>
                  <a:moveTo>
                    <a:pt x="0" y="435077"/>
                  </a:moveTo>
                  <a:lnTo>
                    <a:pt x="0" y="217539"/>
                  </a:lnTo>
                  <a:lnTo>
                    <a:pt x="217511" y="217539"/>
                  </a:lnTo>
                  <a:lnTo>
                    <a:pt x="0" y="435077"/>
                  </a:lnTo>
                  <a:close/>
                </a:path>
              </a:pathLst>
            </a:custGeom>
            <a:grpFill/>
            <a:ln w="27192" cap="flat">
              <a:noFill/>
              <a:prstDash val="solid"/>
              <a:miter/>
            </a:ln>
          </p:spPr>
          <p:txBody>
            <a:bodyPr rtlCol="0" anchor="ctr"/>
            <a:lstStyle/>
            <a:p>
              <a:endParaRPr lang="uk-UA" sz="900"/>
            </a:p>
          </p:txBody>
        </p:sp>
        <p:sp>
          <p:nvSpPr>
            <p:cNvPr id="304" name="Freeform: Shape 303">
              <a:extLst>
                <a:ext uri="{FF2B5EF4-FFF2-40B4-BE49-F238E27FC236}">
                  <a16:creationId xmlns:a16="http://schemas.microsoft.com/office/drawing/2014/main" id="{A34B9304-D73E-DC70-A437-3AA81EE4EF00}"/>
                </a:ext>
              </a:extLst>
            </p:cNvPr>
            <p:cNvSpPr/>
            <p:nvPr/>
          </p:nvSpPr>
          <p:spPr>
            <a:xfrm>
              <a:off x="11277709" y="805999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0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0" y="217539"/>
                  </a:lnTo>
                  <a:lnTo>
                    <a:pt x="0" y="435077"/>
                  </a:lnTo>
                  <a:close/>
                </a:path>
              </a:pathLst>
            </a:custGeom>
            <a:grpFill/>
            <a:ln w="27192" cap="flat">
              <a:noFill/>
              <a:prstDash val="solid"/>
              <a:miter/>
            </a:ln>
          </p:spPr>
          <p:txBody>
            <a:bodyPr rtlCol="0" anchor="ctr"/>
            <a:lstStyle/>
            <a:p>
              <a:endParaRPr lang="uk-UA" sz="900"/>
            </a:p>
          </p:txBody>
        </p:sp>
        <p:sp>
          <p:nvSpPr>
            <p:cNvPr id="305" name="Freeform: Shape 304">
              <a:extLst>
                <a:ext uri="{FF2B5EF4-FFF2-40B4-BE49-F238E27FC236}">
                  <a16:creationId xmlns:a16="http://schemas.microsoft.com/office/drawing/2014/main" id="{9F4EFCA4-B257-4EC3-730F-85BB6BF609CC}"/>
                </a:ext>
              </a:extLst>
            </p:cNvPr>
            <p:cNvSpPr/>
            <p:nvPr/>
          </p:nvSpPr>
          <p:spPr>
            <a:xfrm>
              <a:off x="10407554" y="8059993"/>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27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27"/>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306" name="Freeform: Shape 305">
              <a:extLst>
                <a:ext uri="{FF2B5EF4-FFF2-40B4-BE49-F238E27FC236}">
                  <a16:creationId xmlns:a16="http://schemas.microsoft.com/office/drawing/2014/main" id="{F5B37114-0454-299A-0DD2-6CE0402E08D1}"/>
                </a:ext>
              </a:extLst>
            </p:cNvPr>
            <p:cNvSpPr/>
            <p:nvPr/>
          </p:nvSpPr>
          <p:spPr>
            <a:xfrm>
              <a:off x="12147864" y="8059993"/>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39 w 435077"/>
                <a:gd name="connsiteY6" fmla="*/ 153827 h 435077"/>
                <a:gd name="connsiteX7" fmla="*/ 63739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0 h 435077"/>
                <a:gd name="connsiteX12" fmla="*/ 217539 w 435077"/>
                <a:gd name="connsiteY12" fmla="*/ 217539 h 435077"/>
                <a:gd name="connsiteX13" fmla="*/ 63739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2" y="113039"/>
                    <a:pt x="0" y="57702"/>
                    <a:pt x="0" y="0"/>
                  </a:cubicBezTo>
                  <a:lnTo>
                    <a:pt x="217539" y="0"/>
                  </a:lnTo>
                  <a:lnTo>
                    <a:pt x="435077" y="0"/>
                  </a:lnTo>
                  <a:cubicBezTo>
                    <a:pt x="435077" y="57702"/>
                    <a:pt x="412180" y="113039"/>
                    <a:pt x="371365" y="153827"/>
                  </a:cubicBezTo>
                  <a:cubicBezTo>
                    <a:pt x="330577" y="194616"/>
                    <a:pt x="275239" y="217539"/>
                    <a:pt x="217539" y="217539"/>
                  </a:cubicBezTo>
                  <a:cubicBezTo>
                    <a:pt x="159863" y="217539"/>
                    <a:pt x="104527" y="194616"/>
                    <a:pt x="63739" y="153827"/>
                  </a:cubicBezTo>
                  <a:close/>
                  <a:moveTo>
                    <a:pt x="63739" y="281250"/>
                  </a:moveTo>
                  <a:cubicBezTo>
                    <a:pt x="22922" y="322066"/>
                    <a:pt x="0" y="377402"/>
                    <a:pt x="0" y="435077"/>
                  </a:cubicBezTo>
                  <a:lnTo>
                    <a:pt x="217539" y="435077"/>
                  </a:lnTo>
                  <a:lnTo>
                    <a:pt x="435077" y="435077"/>
                  </a:lnTo>
                  <a:cubicBezTo>
                    <a:pt x="435077" y="377402"/>
                    <a:pt x="412180" y="322066"/>
                    <a:pt x="371365" y="281250"/>
                  </a:cubicBezTo>
                  <a:cubicBezTo>
                    <a:pt x="330577" y="240462"/>
                    <a:pt x="275239" y="217539"/>
                    <a:pt x="217539" y="217539"/>
                  </a:cubicBezTo>
                  <a:cubicBezTo>
                    <a:pt x="159863" y="217539"/>
                    <a:pt x="104527" y="240462"/>
                    <a:pt x="63739" y="281250"/>
                  </a:cubicBezTo>
                  <a:close/>
                </a:path>
              </a:pathLst>
            </a:custGeom>
            <a:grpFill/>
            <a:ln w="27192" cap="flat">
              <a:noFill/>
              <a:prstDash val="solid"/>
              <a:miter/>
            </a:ln>
          </p:spPr>
          <p:txBody>
            <a:bodyPr rtlCol="0" anchor="ctr"/>
            <a:lstStyle/>
            <a:p>
              <a:endParaRPr lang="uk-UA" sz="900"/>
            </a:p>
          </p:txBody>
        </p:sp>
        <p:sp>
          <p:nvSpPr>
            <p:cNvPr id="307" name="Freeform: Shape 306">
              <a:extLst>
                <a:ext uri="{FF2B5EF4-FFF2-40B4-BE49-F238E27FC236}">
                  <a16:creationId xmlns:a16="http://schemas.microsoft.com/office/drawing/2014/main" id="{D029C17D-0369-BE48-B400-A6F4A8EB025C}"/>
                </a:ext>
              </a:extLst>
            </p:cNvPr>
            <p:cNvSpPr/>
            <p:nvPr/>
          </p:nvSpPr>
          <p:spPr>
            <a:xfrm>
              <a:off x="13018045" y="805999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308" name="Freeform: Shape 307">
              <a:extLst>
                <a:ext uri="{FF2B5EF4-FFF2-40B4-BE49-F238E27FC236}">
                  <a16:creationId xmlns:a16="http://schemas.microsoft.com/office/drawing/2014/main" id="{73F2D757-31C5-2977-1C15-4F55B172868A}"/>
                </a:ext>
              </a:extLst>
            </p:cNvPr>
            <p:cNvSpPr/>
            <p:nvPr/>
          </p:nvSpPr>
          <p:spPr>
            <a:xfrm>
              <a:off x="14758382" y="805999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309" name="Freeform: Shape 308">
              <a:extLst>
                <a:ext uri="{FF2B5EF4-FFF2-40B4-BE49-F238E27FC236}">
                  <a16:creationId xmlns:a16="http://schemas.microsoft.com/office/drawing/2014/main" id="{8606AF48-E57E-65DF-E1C2-FE96BA85866C}"/>
                </a:ext>
              </a:extLst>
            </p:cNvPr>
            <p:cNvSpPr/>
            <p:nvPr/>
          </p:nvSpPr>
          <p:spPr>
            <a:xfrm>
              <a:off x="13888200" y="8059993"/>
              <a:ext cx="435103" cy="435077"/>
            </a:xfrm>
            <a:custGeom>
              <a:avLst/>
              <a:gdLst>
                <a:gd name="connsiteX0" fmla="*/ 217565 w 435103"/>
                <a:gd name="connsiteY0" fmla="*/ 435077 h 435077"/>
                <a:gd name="connsiteX1" fmla="*/ 217565 w 435103"/>
                <a:gd name="connsiteY1" fmla="*/ 0 h 435077"/>
                <a:gd name="connsiteX2" fmla="*/ 435104 w 435103"/>
                <a:gd name="connsiteY2" fmla="*/ 217539 h 435077"/>
                <a:gd name="connsiteX3" fmla="*/ 217565 w 435103"/>
                <a:gd name="connsiteY3" fmla="*/ 435077 h 435077"/>
                <a:gd name="connsiteX4" fmla="*/ 0 w 435103"/>
                <a:gd name="connsiteY4" fmla="*/ 435077 h 435077"/>
                <a:gd name="connsiteX5" fmla="*/ 0 w 435103"/>
                <a:gd name="connsiteY5" fmla="*/ 27 h 435077"/>
                <a:gd name="connsiteX6" fmla="*/ 217539 w 435103"/>
                <a:gd name="connsiteY6" fmla="*/ 217566 h 435077"/>
                <a:gd name="connsiteX7" fmla="*/ 0 w 435103"/>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103" h="435077">
                  <a:moveTo>
                    <a:pt x="217565" y="435077"/>
                  </a:moveTo>
                  <a:lnTo>
                    <a:pt x="217565" y="0"/>
                  </a:lnTo>
                  <a:lnTo>
                    <a:pt x="435104" y="217539"/>
                  </a:lnTo>
                  <a:lnTo>
                    <a:pt x="217565" y="435077"/>
                  </a:lnTo>
                  <a:close/>
                  <a:moveTo>
                    <a:pt x="0" y="435077"/>
                  </a:moveTo>
                  <a:lnTo>
                    <a:pt x="0" y="27"/>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310" name="Freeform: Shape 309">
              <a:extLst>
                <a:ext uri="{FF2B5EF4-FFF2-40B4-BE49-F238E27FC236}">
                  <a16:creationId xmlns:a16="http://schemas.microsoft.com/office/drawing/2014/main" id="{3B8F48B4-6C81-6315-17ED-62AD57CAA169}"/>
                </a:ext>
              </a:extLst>
            </p:cNvPr>
            <p:cNvSpPr/>
            <p:nvPr/>
          </p:nvSpPr>
          <p:spPr>
            <a:xfrm>
              <a:off x="15628536" y="805999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7" y="153827"/>
                  </a:cubicBezTo>
                  <a:cubicBezTo>
                    <a:pt x="330578" y="194616"/>
                    <a:pt x="275241" y="217539"/>
                    <a:pt x="217539" y="217539"/>
                  </a:cubicBezTo>
                  <a:cubicBezTo>
                    <a:pt x="159865" y="217539"/>
                    <a:pt x="104527" y="194616"/>
                    <a:pt x="63712" y="153827"/>
                  </a:cubicBezTo>
                  <a:close/>
                  <a:moveTo>
                    <a:pt x="63712" y="281250"/>
                  </a:moveTo>
                  <a:cubicBezTo>
                    <a:pt x="22924" y="322066"/>
                    <a:pt x="0" y="377402"/>
                    <a:pt x="0" y="435077"/>
                  </a:cubicBezTo>
                  <a:lnTo>
                    <a:pt x="217539" y="435077"/>
                  </a:lnTo>
                  <a:lnTo>
                    <a:pt x="435077" y="435077"/>
                  </a:lnTo>
                  <a:cubicBezTo>
                    <a:pt x="435077" y="377402"/>
                    <a:pt x="412155" y="322066"/>
                    <a:pt x="371367" y="281250"/>
                  </a:cubicBezTo>
                  <a:cubicBezTo>
                    <a:pt x="330578" y="240462"/>
                    <a:pt x="275241" y="217539"/>
                    <a:pt x="217539" y="217539"/>
                  </a:cubicBezTo>
                  <a:cubicBezTo>
                    <a:pt x="159865" y="217539"/>
                    <a:pt x="104527" y="240462"/>
                    <a:pt x="63712" y="281250"/>
                  </a:cubicBezTo>
                  <a:close/>
                </a:path>
              </a:pathLst>
            </a:custGeom>
            <a:grpFill/>
            <a:ln w="27192" cap="flat">
              <a:noFill/>
              <a:prstDash val="solid"/>
              <a:miter/>
            </a:ln>
          </p:spPr>
          <p:txBody>
            <a:bodyPr rtlCol="0" anchor="ctr"/>
            <a:lstStyle/>
            <a:p>
              <a:endParaRPr lang="uk-UA" sz="900"/>
            </a:p>
          </p:txBody>
        </p:sp>
        <p:sp>
          <p:nvSpPr>
            <p:cNvPr id="311" name="Freeform: Shape 310">
              <a:extLst>
                <a:ext uri="{FF2B5EF4-FFF2-40B4-BE49-F238E27FC236}">
                  <a16:creationId xmlns:a16="http://schemas.microsoft.com/office/drawing/2014/main" id="{27335533-4B9B-E7F7-CC1A-06D552AF74C5}"/>
                </a:ext>
              </a:extLst>
            </p:cNvPr>
            <p:cNvSpPr/>
            <p:nvPr/>
          </p:nvSpPr>
          <p:spPr>
            <a:xfrm>
              <a:off x="16498719" y="805999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0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0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0" y="217539"/>
                  </a:lnTo>
                  <a:lnTo>
                    <a:pt x="0" y="217539"/>
                  </a:lnTo>
                  <a:close/>
                  <a:moveTo>
                    <a:pt x="0" y="435077"/>
                  </a:moveTo>
                  <a:lnTo>
                    <a:pt x="0" y="217539"/>
                  </a:lnTo>
                  <a:lnTo>
                    <a:pt x="217510" y="217539"/>
                  </a:lnTo>
                  <a:lnTo>
                    <a:pt x="0" y="435077"/>
                  </a:lnTo>
                  <a:close/>
                </a:path>
              </a:pathLst>
            </a:custGeom>
            <a:grpFill/>
            <a:ln w="27192" cap="flat">
              <a:noFill/>
              <a:prstDash val="solid"/>
              <a:miter/>
            </a:ln>
          </p:spPr>
          <p:txBody>
            <a:bodyPr rtlCol="0" anchor="ctr"/>
            <a:lstStyle/>
            <a:p>
              <a:endParaRPr lang="uk-UA" sz="900"/>
            </a:p>
          </p:txBody>
        </p:sp>
        <p:sp>
          <p:nvSpPr>
            <p:cNvPr id="312" name="Freeform: Shape 311">
              <a:extLst>
                <a:ext uri="{FF2B5EF4-FFF2-40B4-BE49-F238E27FC236}">
                  <a16:creationId xmlns:a16="http://schemas.microsoft.com/office/drawing/2014/main" id="{0DEADE0C-84A8-2B81-8A53-DC78DB6A0F80}"/>
                </a:ext>
              </a:extLst>
            </p:cNvPr>
            <p:cNvSpPr/>
            <p:nvPr/>
          </p:nvSpPr>
          <p:spPr>
            <a:xfrm>
              <a:off x="18239029" y="8059993"/>
              <a:ext cx="435077" cy="435077"/>
            </a:xfrm>
            <a:custGeom>
              <a:avLst/>
              <a:gdLst>
                <a:gd name="connsiteX0" fmla="*/ 435077 w 435077"/>
                <a:gd name="connsiteY0" fmla="*/ 435077 h 435077"/>
                <a:gd name="connsiteX1" fmla="*/ 435077 w 435077"/>
                <a:gd name="connsiteY1" fmla="*/ 0 h 435077"/>
                <a:gd name="connsiteX2" fmla="*/ 217565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313" name="Freeform: Shape 312">
              <a:extLst>
                <a:ext uri="{FF2B5EF4-FFF2-40B4-BE49-F238E27FC236}">
                  <a16:creationId xmlns:a16="http://schemas.microsoft.com/office/drawing/2014/main" id="{E798C721-A267-7DA3-13F3-D70AB24F8951}"/>
                </a:ext>
              </a:extLst>
            </p:cNvPr>
            <p:cNvSpPr/>
            <p:nvPr/>
          </p:nvSpPr>
          <p:spPr>
            <a:xfrm>
              <a:off x="17368874" y="8059993"/>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27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27"/>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314" name="Freeform: Shape 313">
              <a:extLst>
                <a:ext uri="{FF2B5EF4-FFF2-40B4-BE49-F238E27FC236}">
                  <a16:creationId xmlns:a16="http://schemas.microsoft.com/office/drawing/2014/main" id="{396B82D4-997C-7B13-9EC6-B6F575483340}"/>
                </a:ext>
              </a:extLst>
            </p:cNvPr>
            <p:cNvSpPr/>
            <p:nvPr/>
          </p:nvSpPr>
          <p:spPr>
            <a:xfrm>
              <a:off x="19109210" y="805999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895" y="113039"/>
                    <a:pt x="0" y="57702"/>
                    <a:pt x="0" y="0"/>
                  </a:cubicBezTo>
                  <a:lnTo>
                    <a:pt x="217539" y="0"/>
                  </a:lnTo>
                  <a:lnTo>
                    <a:pt x="435077" y="0"/>
                  </a:lnTo>
                  <a:cubicBezTo>
                    <a:pt x="435077" y="57702"/>
                    <a:pt x="412154" y="113039"/>
                    <a:pt x="371339" y="153827"/>
                  </a:cubicBezTo>
                  <a:cubicBezTo>
                    <a:pt x="330550" y="194616"/>
                    <a:pt x="275215" y="217539"/>
                    <a:pt x="217539" y="217539"/>
                  </a:cubicBezTo>
                  <a:cubicBezTo>
                    <a:pt x="159836" y="217539"/>
                    <a:pt x="104501" y="194616"/>
                    <a:pt x="63712" y="153827"/>
                  </a:cubicBezTo>
                  <a:close/>
                  <a:moveTo>
                    <a:pt x="63712" y="281250"/>
                  </a:moveTo>
                  <a:cubicBezTo>
                    <a:pt x="22895" y="322066"/>
                    <a:pt x="0" y="377402"/>
                    <a:pt x="0" y="435077"/>
                  </a:cubicBezTo>
                  <a:lnTo>
                    <a:pt x="217539" y="435077"/>
                  </a:lnTo>
                  <a:lnTo>
                    <a:pt x="435077" y="435077"/>
                  </a:lnTo>
                  <a:cubicBezTo>
                    <a:pt x="435077" y="377402"/>
                    <a:pt x="412154" y="322066"/>
                    <a:pt x="371339" y="281250"/>
                  </a:cubicBezTo>
                  <a:cubicBezTo>
                    <a:pt x="330550" y="240462"/>
                    <a:pt x="275215" y="217539"/>
                    <a:pt x="217539" y="217539"/>
                  </a:cubicBezTo>
                  <a:cubicBezTo>
                    <a:pt x="159836" y="217539"/>
                    <a:pt x="104501" y="240462"/>
                    <a:pt x="63712" y="281250"/>
                  </a:cubicBezTo>
                  <a:close/>
                </a:path>
              </a:pathLst>
            </a:custGeom>
            <a:grpFill/>
            <a:ln w="27192" cap="flat">
              <a:noFill/>
              <a:prstDash val="solid"/>
              <a:miter/>
            </a:ln>
          </p:spPr>
          <p:txBody>
            <a:bodyPr rtlCol="0" anchor="ctr"/>
            <a:lstStyle/>
            <a:p>
              <a:endParaRPr lang="uk-UA" sz="900"/>
            </a:p>
          </p:txBody>
        </p:sp>
        <p:sp>
          <p:nvSpPr>
            <p:cNvPr id="315" name="Freeform: Shape 314">
              <a:extLst>
                <a:ext uri="{FF2B5EF4-FFF2-40B4-BE49-F238E27FC236}">
                  <a16:creationId xmlns:a16="http://schemas.microsoft.com/office/drawing/2014/main" id="{16FF2D91-1413-E7B3-E6A5-D595352B2B10}"/>
                </a:ext>
              </a:extLst>
            </p:cNvPr>
            <p:cNvSpPr/>
            <p:nvPr/>
          </p:nvSpPr>
          <p:spPr>
            <a:xfrm>
              <a:off x="19979365" y="805999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316" name="Freeform: Shape 315">
              <a:extLst>
                <a:ext uri="{FF2B5EF4-FFF2-40B4-BE49-F238E27FC236}">
                  <a16:creationId xmlns:a16="http://schemas.microsoft.com/office/drawing/2014/main" id="{9505C0E4-60B9-BD48-84D3-27E52FBBF201}"/>
                </a:ext>
              </a:extLst>
            </p:cNvPr>
            <p:cNvSpPr/>
            <p:nvPr/>
          </p:nvSpPr>
          <p:spPr>
            <a:xfrm>
              <a:off x="21719702" y="805999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317" name="Freeform: Shape 316">
              <a:extLst>
                <a:ext uri="{FF2B5EF4-FFF2-40B4-BE49-F238E27FC236}">
                  <a16:creationId xmlns:a16="http://schemas.microsoft.com/office/drawing/2014/main" id="{3F34D62C-B2F9-34B5-4618-09420600691E}"/>
                </a:ext>
              </a:extLst>
            </p:cNvPr>
            <p:cNvSpPr/>
            <p:nvPr/>
          </p:nvSpPr>
          <p:spPr>
            <a:xfrm>
              <a:off x="20849520" y="8059993"/>
              <a:ext cx="435077" cy="435077"/>
            </a:xfrm>
            <a:custGeom>
              <a:avLst/>
              <a:gdLst>
                <a:gd name="connsiteX0" fmla="*/ 217565 w 435077"/>
                <a:gd name="connsiteY0" fmla="*/ 435077 h 435077"/>
                <a:gd name="connsiteX1" fmla="*/ 217565 w 435077"/>
                <a:gd name="connsiteY1" fmla="*/ 0 h 435077"/>
                <a:gd name="connsiteX2" fmla="*/ 435077 w 435077"/>
                <a:gd name="connsiteY2" fmla="*/ 217539 h 435077"/>
                <a:gd name="connsiteX3" fmla="*/ 217565 w 435077"/>
                <a:gd name="connsiteY3" fmla="*/ 435077 h 435077"/>
                <a:gd name="connsiteX4" fmla="*/ 0 w 435077"/>
                <a:gd name="connsiteY4" fmla="*/ 435077 h 435077"/>
                <a:gd name="connsiteX5" fmla="*/ 0 w 435077"/>
                <a:gd name="connsiteY5" fmla="*/ 27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65" y="435077"/>
                  </a:moveTo>
                  <a:lnTo>
                    <a:pt x="217565" y="0"/>
                  </a:lnTo>
                  <a:lnTo>
                    <a:pt x="435077" y="217539"/>
                  </a:lnTo>
                  <a:lnTo>
                    <a:pt x="217565" y="435077"/>
                  </a:lnTo>
                  <a:close/>
                  <a:moveTo>
                    <a:pt x="0" y="435077"/>
                  </a:moveTo>
                  <a:lnTo>
                    <a:pt x="0" y="27"/>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318" name="Freeform: Shape 317">
              <a:extLst>
                <a:ext uri="{FF2B5EF4-FFF2-40B4-BE49-F238E27FC236}">
                  <a16:creationId xmlns:a16="http://schemas.microsoft.com/office/drawing/2014/main" id="{FB278430-0172-F8F8-1996-1FD00F80DF50}"/>
                </a:ext>
              </a:extLst>
            </p:cNvPr>
            <p:cNvSpPr/>
            <p:nvPr/>
          </p:nvSpPr>
          <p:spPr>
            <a:xfrm>
              <a:off x="22589856" y="805999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7" y="153827"/>
                  </a:cubicBezTo>
                  <a:cubicBezTo>
                    <a:pt x="330578" y="194616"/>
                    <a:pt x="275241" y="217539"/>
                    <a:pt x="217539" y="217539"/>
                  </a:cubicBezTo>
                  <a:cubicBezTo>
                    <a:pt x="159838" y="217539"/>
                    <a:pt x="104529" y="194616"/>
                    <a:pt x="63712" y="153827"/>
                  </a:cubicBezTo>
                  <a:close/>
                  <a:moveTo>
                    <a:pt x="63712" y="281250"/>
                  </a:moveTo>
                  <a:cubicBezTo>
                    <a:pt x="22924" y="322066"/>
                    <a:pt x="0" y="377402"/>
                    <a:pt x="0" y="435077"/>
                  </a:cubicBezTo>
                  <a:lnTo>
                    <a:pt x="217539" y="435077"/>
                  </a:lnTo>
                  <a:lnTo>
                    <a:pt x="435077" y="435077"/>
                  </a:lnTo>
                  <a:cubicBezTo>
                    <a:pt x="435077" y="377402"/>
                    <a:pt x="412155" y="322066"/>
                    <a:pt x="371367" y="281250"/>
                  </a:cubicBezTo>
                  <a:cubicBezTo>
                    <a:pt x="330578" y="240462"/>
                    <a:pt x="275241" y="217539"/>
                    <a:pt x="217539" y="217539"/>
                  </a:cubicBezTo>
                  <a:cubicBezTo>
                    <a:pt x="159838" y="217539"/>
                    <a:pt x="104529" y="240462"/>
                    <a:pt x="63712" y="281250"/>
                  </a:cubicBezTo>
                  <a:close/>
                </a:path>
              </a:pathLst>
            </a:custGeom>
            <a:grpFill/>
            <a:ln w="27192" cap="flat">
              <a:noFill/>
              <a:prstDash val="solid"/>
              <a:miter/>
            </a:ln>
          </p:spPr>
          <p:txBody>
            <a:bodyPr rtlCol="0" anchor="ctr"/>
            <a:lstStyle/>
            <a:p>
              <a:endParaRPr lang="uk-UA" sz="900"/>
            </a:p>
          </p:txBody>
        </p:sp>
        <p:sp>
          <p:nvSpPr>
            <p:cNvPr id="319" name="Freeform: Shape 318">
              <a:extLst>
                <a:ext uri="{FF2B5EF4-FFF2-40B4-BE49-F238E27FC236}">
                  <a16:creationId xmlns:a16="http://schemas.microsoft.com/office/drawing/2014/main" id="{B5BFDB85-4B59-714D-714F-B89B847CE6AD}"/>
                </a:ext>
              </a:extLst>
            </p:cNvPr>
            <p:cNvSpPr/>
            <p:nvPr/>
          </p:nvSpPr>
          <p:spPr>
            <a:xfrm>
              <a:off x="23460011" y="8059993"/>
              <a:ext cx="435105" cy="435077"/>
            </a:xfrm>
            <a:custGeom>
              <a:avLst/>
              <a:gdLst>
                <a:gd name="connsiteX0" fmla="*/ 435106 w 435105"/>
                <a:gd name="connsiteY0" fmla="*/ 435077 h 435077"/>
                <a:gd name="connsiteX1" fmla="*/ 435106 w 435105"/>
                <a:gd name="connsiteY1" fmla="*/ 217566 h 435077"/>
                <a:gd name="connsiteX2" fmla="*/ 435106 w 435105"/>
                <a:gd name="connsiteY2" fmla="*/ 27 h 435077"/>
                <a:gd name="connsiteX3" fmla="*/ 217567 w 435105"/>
                <a:gd name="connsiteY3" fmla="*/ 27 h 435077"/>
                <a:gd name="connsiteX4" fmla="*/ 435106 w 435105"/>
                <a:gd name="connsiteY4" fmla="*/ 217566 h 435077"/>
                <a:gd name="connsiteX5" fmla="*/ 217567 w 435105"/>
                <a:gd name="connsiteY5" fmla="*/ 435077 h 435077"/>
                <a:gd name="connsiteX6" fmla="*/ 435106 w 435105"/>
                <a:gd name="connsiteY6" fmla="*/ 435077 h 435077"/>
                <a:gd name="connsiteX7" fmla="*/ 0 w 435105"/>
                <a:gd name="connsiteY7" fmla="*/ 217539 h 435077"/>
                <a:gd name="connsiteX8" fmla="*/ 0 w 435105"/>
                <a:gd name="connsiteY8" fmla="*/ 0 h 435077"/>
                <a:gd name="connsiteX9" fmla="*/ 217539 w 435105"/>
                <a:gd name="connsiteY9" fmla="*/ 217539 h 435077"/>
                <a:gd name="connsiteX10" fmla="*/ 0 w 435105"/>
                <a:gd name="connsiteY10" fmla="*/ 217539 h 435077"/>
                <a:gd name="connsiteX11" fmla="*/ 0 w 435105"/>
                <a:gd name="connsiteY11" fmla="*/ 435077 h 435077"/>
                <a:gd name="connsiteX12" fmla="*/ 0 w 435105"/>
                <a:gd name="connsiteY12" fmla="*/ 217539 h 435077"/>
                <a:gd name="connsiteX13" fmla="*/ 217539 w 435105"/>
                <a:gd name="connsiteY13" fmla="*/ 217539 h 435077"/>
                <a:gd name="connsiteX14" fmla="*/ 0 w 435105"/>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105" h="435077">
                  <a:moveTo>
                    <a:pt x="435106" y="435077"/>
                  </a:moveTo>
                  <a:lnTo>
                    <a:pt x="435106" y="217566"/>
                  </a:lnTo>
                  <a:lnTo>
                    <a:pt x="435106" y="27"/>
                  </a:lnTo>
                  <a:lnTo>
                    <a:pt x="217567" y="27"/>
                  </a:lnTo>
                  <a:lnTo>
                    <a:pt x="435106" y="217566"/>
                  </a:lnTo>
                  <a:lnTo>
                    <a:pt x="217567" y="435077"/>
                  </a:lnTo>
                  <a:lnTo>
                    <a:pt x="435106"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320" name="Freeform: Shape 319">
              <a:extLst>
                <a:ext uri="{FF2B5EF4-FFF2-40B4-BE49-F238E27FC236}">
                  <a16:creationId xmlns:a16="http://schemas.microsoft.com/office/drawing/2014/main" id="{6C4000A2-A44F-3582-C750-786ECACC95F8}"/>
                </a:ext>
              </a:extLst>
            </p:cNvPr>
            <p:cNvSpPr/>
            <p:nvPr/>
          </p:nvSpPr>
          <p:spPr>
            <a:xfrm>
              <a:off x="24330194" y="8059993"/>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27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27"/>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321" name="Freeform: Shape 320">
              <a:extLst>
                <a:ext uri="{FF2B5EF4-FFF2-40B4-BE49-F238E27FC236}">
                  <a16:creationId xmlns:a16="http://schemas.microsoft.com/office/drawing/2014/main" id="{90B1D269-41F9-8DB9-4913-B55B6AFF10C7}"/>
                </a:ext>
              </a:extLst>
            </p:cNvPr>
            <p:cNvSpPr/>
            <p:nvPr/>
          </p:nvSpPr>
          <p:spPr>
            <a:xfrm>
              <a:off x="835769" y="8930148"/>
              <a:ext cx="435077" cy="435104"/>
            </a:xfrm>
            <a:custGeom>
              <a:avLst/>
              <a:gdLst>
                <a:gd name="connsiteX0" fmla="*/ 0 w 435077"/>
                <a:gd name="connsiteY0" fmla="*/ 435077 h 435104"/>
                <a:gd name="connsiteX1" fmla="*/ 217511 w 435077"/>
                <a:gd name="connsiteY1" fmla="*/ 435077 h 435104"/>
                <a:gd name="connsiteX2" fmla="*/ 217511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11" y="435077"/>
                  </a:lnTo>
                  <a:lnTo>
                    <a:pt x="217511"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322" name="Freeform: Shape 321">
              <a:extLst>
                <a:ext uri="{FF2B5EF4-FFF2-40B4-BE49-F238E27FC236}">
                  <a16:creationId xmlns:a16="http://schemas.microsoft.com/office/drawing/2014/main" id="{F1B01F71-D12D-AC6E-68E3-A557854E5804}"/>
                </a:ext>
              </a:extLst>
            </p:cNvPr>
            <p:cNvSpPr/>
            <p:nvPr/>
          </p:nvSpPr>
          <p:spPr>
            <a:xfrm>
              <a:off x="-34398" y="8930148"/>
              <a:ext cx="435063" cy="435077"/>
            </a:xfrm>
            <a:custGeom>
              <a:avLst/>
              <a:gdLst>
                <a:gd name="connsiteX0" fmla="*/ 217525 w 435063"/>
                <a:gd name="connsiteY0" fmla="*/ 217539 h 435077"/>
                <a:gd name="connsiteX1" fmla="*/ 217525 w 435063"/>
                <a:gd name="connsiteY1" fmla="*/ 0 h 435077"/>
                <a:gd name="connsiteX2" fmla="*/ 0 w 435063"/>
                <a:gd name="connsiteY2" fmla="*/ 0 h 435077"/>
                <a:gd name="connsiteX3" fmla="*/ 217525 w 435063"/>
                <a:gd name="connsiteY3" fmla="*/ 217539 h 435077"/>
                <a:gd name="connsiteX4" fmla="*/ 0 w 435063"/>
                <a:gd name="connsiteY4" fmla="*/ 435077 h 435077"/>
                <a:gd name="connsiteX5" fmla="*/ 217525 w 435063"/>
                <a:gd name="connsiteY5" fmla="*/ 435077 h 435077"/>
                <a:gd name="connsiteX6" fmla="*/ 217525 w 435063"/>
                <a:gd name="connsiteY6" fmla="*/ 435077 h 435077"/>
                <a:gd name="connsiteX7" fmla="*/ 435064 w 435063"/>
                <a:gd name="connsiteY7" fmla="*/ 217566 h 435077"/>
                <a:gd name="connsiteX8" fmla="*/ 435064 w 435063"/>
                <a:gd name="connsiteY8" fmla="*/ 217566 h 435077"/>
                <a:gd name="connsiteX9" fmla="*/ 435064 w 435063"/>
                <a:gd name="connsiteY9" fmla="*/ 217539 h 435077"/>
                <a:gd name="connsiteX10" fmla="*/ 435064 w 435063"/>
                <a:gd name="connsiteY10" fmla="*/ 217539 h 435077"/>
                <a:gd name="connsiteX11" fmla="*/ 435064 w 435063"/>
                <a:gd name="connsiteY11" fmla="*/ 217539 h 435077"/>
                <a:gd name="connsiteX12" fmla="*/ 217525 w 435063"/>
                <a:gd name="connsiteY12" fmla="*/ 27 h 435077"/>
                <a:gd name="connsiteX13" fmla="*/ 217525 w 435063"/>
                <a:gd name="connsiteY13" fmla="*/ 217539 h 435077"/>
                <a:gd name="connsiteX14" fmla="*/ 217525 w 435063"/>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63" h="435077">
                  <a:moveTo>
                    <a:pt x="217525" y="217539"/>
                  </a:moveTo>
                  <a:lnTo>
                    <a:pt x="217525" y="0"/>
                  </a:lnTo>
                  <a:lnTo>
                    <a:pt x="0" y="0"/>
                  </a:lnTo>
                  <a:lnTo>
                    <a:pt x="217525" y="217539"/>
                  </a:lnTo>
                  <a:lnTo>
                    <a:pt x="0" y="435077"/>
                  </a:lnTo>
                  <a:lnTo>
                    <a:pt x="217525" y="435077"/>
                  </a:lnTo>
                  <a:lnTo>
                    <a:pt x="217525" y="435077"/>
                  </a:lnTo>
                  <a:lnTo>
                    <a:pt x="435064" y="217566"/>
                  </a:lnTo>
                  <a:lnTo>
                    <a:pt x="435064" y="217566"/>
                  </a:lnTo>
                  <a:lnTo>
                    <a:pt x="435064" y="217539"/>
                  </a:lnTo>
                  <a:lnTo>
                    <a:pt x="435064" y="217539"/>
                  </a:lnTo>
                  <a:lnTo>
                    <a:pt x="435064" y="217539"/>
                  </a:lnTo>
                  <a:lnTo>
                    <a:pt x="217525" y="27"/>
                  </a:lnTo>
                  <a:lnTo>
                    <a:pt x="217525" y="217539"/>
                  </a:lnTo>
                  <a:lnTo>
                    <a:pt x="217525" y="217539"/>
                  </a:lnTo>
                  <a:close/>
                </a:path>
              </a:pathLst>
            </a:custGeom>
            <a:grpFill/>
            <a:ln w="27192" cap="flat">
              <a:noFill/>
              <a:prstDash val="solid"/>
              <a:miter/>
            </a:ln>
          </p:spPr>
          <p:txBody>
            <a:bodyPr rtlCol="0" anchor="ctr"/>
            <a:lstStyle/>
            <a:p>
              <a:endParaRPr lang="uk-UA" sz="900"/>
            </a:p>
          </p:txBody>
        </p:sp>
        <p:sp>
          <p:nvSpPr>
            <p:cNvPr id="323" name="Freeform: Shape 322">
              <a:extLst>
                <a:ext uri="{FF2B5EF4-FFF2-40B4-BE49-F238E27FC236}">
                  <a16:creationId xmlns:a16="http://schemas.microsoft.com/office/drawing/2014/main" id="{BA0E6300-2DC3-B353-2C49-24159515D682}"/>
                </a:ext>
              </a:extLst>
            </p:cNvPr>
            <p:cNvSpPr/>
            <p:nvPr/>
          </p:nvSpPr>
          <p:spPr>
            <a:xfrm>
              <a:off x="1705924" y="8930148"/>
              <a:ext cx="435104" cy="435077"/>
            </a:xfrm>
            <a:custGeom>
              <a:avLst/>
              <a:gdLst>
                <a:gd name="connsiteX0" fmla="*/ 217539 w 435104"/>
                <a:gd name="connsiteY0" fmla="*/ 0 h 435077"/>
                <a:gd name="connsiteX1" fmla="*/ 0 w 435104"/>
                <a:gd name="connsiteY1" fmla="*/ 0 h 435077"/>
                <a:gd name="connsiteX2" fmla="*/ 0 w 435104"/>
                <a:gd name="connsiteY2" fmla="*/ 217539 h 435077"/>
                <a:gd name="connsiteX3" fmla="*/ 217539 w 435104"/>
                <a:gd name="connsiteY3" fmla="*/ 0 h 435077"/>
                <a:gd name="connsiteX4" fmla="*/ 435104 w 435104"/>
                <a:gd name="connsiteY4" fmla="*/ 27 h 435077"/>
                <a:gd name="connsiteX5" fmla="*/ 435104 w 435104"/>
                <a:gd name="connsiteY5" fmla="*/ 217566 h 435077"/>
                <a:gd name="connsiteX6" fmla="*/ 217566 w 435104"/>
                <a:gd name="connsiteY6" fmla="*/ 27 h 435077"/>
                <a:gd name="connsiteX7" fmla="*/ 435104 w 435104"/>
                <a:gd name="connsiteY7" fmla="*/ 27 h 435077"/>
                <a:gd name="connsiteX8" fmla="*/ 217566 w 435104"/>
                <a:gd name="connsiteY8" fmla="*/ 435077 h 435077"/>
                <a:gd name="connsiteX9" fmla="*/ 435104 w 435104"/>
                <a:gd name="connsiteY9" fmla="*/ 217566 h 435077"/>
                <a:gd name="connsiteX10" fmla="*/ 435104 w 435104"/>
                <a:gd name="connsiteY10" fmla="*/ 435077 h 435077"/>
                <a:gd name="connsiteX11" fmla="*/ 217566 w 435104"/>
                <a:gd name="connsiteY11" fmla="*/ 435077 h 435077"/>
                <a:gd name="connsiteX12" fmla="*/ 217566 w 435104"/>
                <a:gd name="connsiteY12" fmla="*/ 435077 h 435077"/>
                <a:gd name="connsiteX13" fmla="*/ 27 w 435104"/>
                <a:gd name="connsiteY13" fmla="*/ 217566 h 435077"/>
                <a:gd name="connsiteX14" fmla="*/ 27 w 435104"/>
                <a:gd name="connsiteY14" fmla="*/ 435077 h 435077"/>
                <a:gd name="connsiteX15" fmla="*/ 217566 w 435104"/>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4" h="435077">
                  <a:moveTo>
                    <a:pt x="217539" y="0"/>
                  </a:moveTo>
                  <a:lnTo>
                    <a:pt x="0" y="0"/>
                  </a:lnTo>
                  <a:lnTo>
                    <a:pt x="0" y="217539"/>
                  </a:lnTo>
                  <a:lnTo>
                    <a:pt x="217539" y="0"/>
                  </a:lnTo>
                  <a:close/>
                  <a:moveTo>
                    <a:pt x="435104" y="27"/>
                  </a:moveTo>
                  <a:lnTo>
                    <a:pt x="435104" y="217566"/>
                  </a:lnTo>
                  <a:lnTo>
                    <a:pt x="217566" y="27"/>
                  </a:lnTo>
                  <a:lnTo>
                    <a:pt x="435104" y="27"/>
                  </a:lnTo>
                  <a:close/>
                  <a:moveTo>
                    <a:pt x="217566" y="435077"/>
                  </a:moveTo>
                  <a:lnTo>
                    <a:pt x="435104" y="217566"/>
                  </a:lnTo>
                  <a:lnTo>
                    <a:pt x="435104" y="435077"/>
                  </a:lnTo>
                  <a:lnTo>
                    <a:pt x="217566" y="435077"/>
                  </a:lnTo>
                  <a:close/>
                  <a:moveTo>
                    <a:pt x="217566" y="435077"/>
                  </a:moveTo>
                  <a:lnTo>
                    <a:pt x="27" y="217566"/>
                  </a:lnTo>
                  <a:lnTo>
                    <a:pt x="27" y="435077"/>
                  </a:lnTo>
                  <a:lnTo>
                    <a:pt x="217566" y="435077"/>
                  </a:lnTo>
                  <a:close/>
                </a:path>
              </a:pathLst>
            </a:custGeom>
            <a:grpFill/>
            <a:ln w="27192" cap="flat">
              <a:noFill/>
              <a:prstDash val="solid"/>
              <a:miter/>
            </a:ln>
          </p:spPr>
          <p:txBody>
            <a:bodyPr rtlCol="0" anchor="ctr"/>
            <a:lstStyle/>
            <a:p>
              <a:endParaRPr lang="uk-UA" sz="900"/>
            </a:p>
          </p:txBody>
        </p:sp>
        <p:sp>
          <p:nvSpPr>
            <p:cNvPr id="324" name="Freeform: Shape 323">
              <a:extLst>
                <a:ext uri="{FF2B5EF4-FFF2-40B4-BE49-F238E27FC236}">
                  <a16:creationId xmlns:a16="http://schemas.microsoft.com/office/drawing/2014/main" id="{8FBBBC25-C27A-E858-AD6B-8DC20F3D3A78}"/>
                </a:ext>
              </a:extLst>
            </p:cNvPr>
            <p:cNvSpPr/>
            <p:nvPr/>
          </p:nvSpPr>
          <p:spPr>
            <a:xfrm>
              <a:off x="2576106" y="8930148"/>
              <a:ext cx="435077" cy="435077"/>
            </a:xfrm>
            <a:custGeom>
              <a:avLst/>
              <a:gdLst>
                <a:gd name="connsiteX0" fmla="*/ 371366 w 435077"/>
                <a:gd name="connsiteY0" fmla="*/ 63739 h 435077"/>
                <a:gd name="connsiteX1" fmla="*/ 435077 w 435077"/>
                <a:gd name="connsiteY1" fmla="*/ 217539 h 435077"/>
                <a:gd name="connsiteX2" fmla="*/ 217702 w 435077"/>
                <a:gd name="connsiteY2" fmla="*/ 217539 h 435077"/>
                <a:gd name="connsiteX3" fmla="*/ 371366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6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39"/>
                  </a:moveTo>
                  <a:cubicBezTo>
                    <a:pt x="412154" y="104527"/>
                    <a:pt x="435077" y="159864"/>
                    <a:pt x="435077" y="217539"/>
                  </a:cubicBezTo>
                  <a:lnTo>
                    <a:pt x="217702" y="217539"/>
                  </a:lnTo>
                  <a:cubicBezTo>
                    <a:pt x="275350" y="217593"/>
                    <a:pt x="330605" y="240516"/>
                    <a:pt x="371366" y="281277"/>
                  </a:cubicBezTo>
                  <a:cubicBezTo>
                    <a:pt x="412154" y="322066"/>
                    <a:pt x="435077" y="377402"/>
                    <a:pt x="435077" y="435077"/>
                  </a:cubicBezTo>
                  <a:lnTo>
                    <a:pt x="217539" y="435077"/>
                  </a:lnTo>
                  <a:lnTo>
                    <a:pt x="0" y="435077"/>
                  </a:lnTo>
                  <a:cubicBezTo>
                    <a:pt x="0" y="377402"/>
                    <a:pt x="22923" y="322066"/>
                    <a:pt x="63712" y="281277"/>
                  </a:cubicBezTo>
                  <a:cubicBezTo>
                    <a:pt x="104473" y="240516"/>
                    <a:pt x="159728" y="217593"/>
                    <a:pt x="217376" y="217539"/>
                  </a:cubicBezTo>
                  <a:lnTo>
                    <a:pt x="0" y="217539"/>
                  </a:lnTo>
                  <a:cubicBezTo>
                    <a:pt x="0" y="159864"/>
                    <a:pt x="22923" y="104527"/>
                    <a:pt x="63712" y="63739"/>
                  </a:cubicBezTo>
                  <a:cubicBezTo>
                    <a:pt x="104500" y="22923"/>
                    <a:pt x="159837" y="0"/>
                    <a:pt x="217539" y="0"/>
                  </a:cubicBezTo>
                  <a:cubicBezTo>
                    <a:pt x="275214" y="0"/>
                    <a:pt x="330550" y="22923"/>
                    <a:pt x="371366" y="63739"/>
                  </a:cubicBezTo>
                  <a:close/>
                </a:path>
              </a:pathLst>
            </a:custGeom>
            <a:grpFill/>
            <a:ln w="27192" cap="flat">
              <a:noFill/>
              <a:prstDash val="solid"/>
              <a:miter/>
            </a:ln>
          </p:spPr>
          <p:txBody>
            <a:bodyPr rtlCol="0" anchor="ctr"/>
            <a:lstStyle/>
            <a:p>
              <a:endParaRPr lang="uk-UA" sz="900"/>
            </a:p>
          </p:txBody>
        </p:sp>
        <p:sp>
          <p:nvSpPr>
            <p:cNvPr id="325" name="Freeform: Shape 324">
              <a:extLst>
                <a:ext uri="{FF2B5EF4-FFF2-40B4-BE49-F238E27FC236}">
                  <a16:creationId xmlns:a16="http://schemas.microsoft.com/office/drawing/2014/main" id="{8FA25D4A-E4DC-804F-3338-3E384B74B552}"/>
                </a:ext>
              </a:extLst>
            </p:cNvPr>
            <p:cNvSpPr/>
            <p:nvPr/>
          </p:nvSpPr>
          <p:spPr>
            <a:xfrm>
              <a:off x="4316442" y="8930148"/>
              <a:ext cx="435050" cy="435104"/>
            </a:xfrm>
            <a:custGeom>
              <a:avLst/>
              <a:gdLst>
                <a:gd name="connsiteX0" fmla="*/ 0 w 435050"/>
                <a:gd name="connsiteY0" fmla="*/ 435077 h 435104"/>
                <a:gd name="connsiteX1" fmla="*/ 217512 w 435050"/>
                <a:gd name="connsiteY1" fmla="*/ 435077 h 435104"/>
                <a:gd name="connsiteX2" fmla="*/ 217512 w 435050"/>
                <a:gd name="connsiteY2" fmla="*/ 217566 h 435104"/>
                <a:gd name="connsiteX3" fmla="*/ 0 w 435050"/>
                <a:gd name="connsiteY3" fmla="*/ 435077 h 435104"/>
                <a:gd name="connsiteX4" fmla="*/ 217512 w 435050"/>
                <a:gd name="connsiteY4" fmla="*/ 0 h 435104"/>
                <a:gd name="connsiteX5" fmla="*/ 0 w 435050"/>
                <a:gd name="connsiteY5" fmla="*/ 0 h 435104"/>
                <a:gd name="connsiteX6" fmla="*/ 217512 w 435050"/>
                <a:gd name="connsiteY6" fmla="*/ 217539 h 435104"/>
                <a:gd name="connsiteX7" fmla="*/ 217512 w 435050"/>
                <a:gd name="connsiteY7" fmla="*/ 0 h 435104"/>
                <a:gd name="connsiteX8" fmla="*/ 435051 w 435050"/>
                <a:gd name="connsiteY8" fmla="*/ 435105 h 435104"/>
                <a:gd name="connsiteX9" fmla="*/ 217539 w 435050"/>
                <a:gd name="connsiteY9" fmla="*/ 435105 h 435104"/>
                <a:gd name="connsiteX10" fmla="*/ 435051 w 435050"/>
                <a:gd name="connsiteY10" fmla="*/ 217566 h 435104"/>
                <a:gd name="connsiteX11" fmla="*/ 435051 w 435050"/>
                <a:gd name="connsiteY11" fmla="*/ 435105 h 435104"/>
                <a:gd name="connsiteX12" fmla="*/ 435051 w 435050"/>
                <a:gd name="connsiteY12" fmla="*/ 27 h 435104"/>
                <a:gd name="connsiteX13" fmla="*/ 217539 w 435050"/>
                <a:gd name="connsiteY13" fmla="*/ 27 h 435104"/>
                <a:gd name="connsiteX14" fmla="*/ 435051 w 435050"/>
                <a:gd name="connsiteY14" fmla="*/ 217539 h 435104"/>
                <a:gd name="connsiteX15" fmla="*/ 435051 w 435050"/>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50" h="435104">
                  <a:moveTo>
                    <a:pt x="0" y="435077"/>
                  </a:moveTo>
                  <a:lnTo>
                    <a:pt x="217512" y="435077"/>
                  </a:lnTo>
                  <a:lnTo>
                    <a:pt x="217512" y="217566"/>
                  </a:lnTo>
                  <a:lnTo>
                    <a:pt x="0" y="435077"/>
                  </a:lnTo>
                  <a:close/>
                  <a:moveTo>
                    <a:pt x="217512" y="0"/>
                  </a:moveTo>
                  <a:lnTo>
                    <a:pt x="0" y="0"/>
                  </a:lnTo>
                  <a:lnTo>
                    <a:pt x="217512" y="217539"/>
                  </a:lnTo>
                  <a:lnTo>
                    <a:pt x="217512" y="0"/>
                  </a:lnTo>
                  <a:close/>
                  <a:moveTo>
                    <a:pt x="435051" y="435105"/>
                  </a:moveTo>
                  <a:lnTo>
                    <a:pt x="217539" y="435105"/>
                  </a:lnTo>
                  <a:lnTo>
                    <a:pt x="435051" y="217566"/>
                  </a:lnTo>
                  <a:lnTo>
                    <a:pt x="435051" y="435105"/>
                  </a:lnTo>
                  <a:close/>
                  <a:moveTo>
                    <a:pt x="435051" y="27"/>
                  </a:moveTo>
                  <a:lnTo>
                    <a:pt x="217539" y="27"/>
                  </a:lnTo>
                  <a:lnTo>
                    <a:pt x="435051" y="217539"/>
                  </a:lnTo>
                  <a:lnTo>
                    <a:pt x="435051" y="27"/>
                  </a:lnTo>
                  <a:close/>
                </a:path>
              </a:pathLst>
            </a:custGeom>
            <a:grpFill/>
            <a:ln w="27192" cap="flat">
              <a:noFill/>
              <a:prstDash val="solid"/>
              <a:miter/>
            </a:ln>
          </p:spPr>
          <p:txBody>
            <a:bodyPr rtlCol="0" anchor="ctr"/>
            <a:lstStyle/>
            <a:p>
              <a:endParaRPr lang="uk-UA" sz="900"/>
            </a:p>
          </p:txBody>
        </p:sp>
        <p:sp>
          <p:nvSpPr>
            <p:cNvPr id="326" name="Freeform: Shape 325">
              <a:extLst>
                <a:ext uri="{FF2B5EF4-FFF2-40B4-BE49-F238E27FC236}">
                  <a16:creationId xmlns:a16="http://schemas.microsoft.com/office/drawing/2014/main" id="{3DBD8EDC-27C2-65D4-ADE7-0EB9055E12E1}"/>
                </a:ext>
              </a:extLst>
            </p:cNvPr>
            <p:cNvSpPr/>
            <p:nvPr/>
          </p:nvSpPr>
          <p:spPr>
            <a:xfrm>
              <a:off x="3446261" y="893014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327" name="Freeform: Shape 326">
              <a:extLst>
                <a:ext uri="{FF2B5EF4-FFF2-40B4-BE49-F238E27FC236}">
                  <a16:creationId xmlns:a16="http://schemas.microsoft.com/office/drawing/2014/main" id="{FB5A81AF-A103-F91C-F3D3-B9694A5C96DE}"/>
                </a:ext>
              </a:extLst>
            </p:cNvPr>
            <p:cNvSpPr/>
            <p:nvPr/>
          </p:nvSpPr>
          <p:spPr>
            <a:xfrm>
              <a:off x="5186597" y="8930148"/>
              <a:ext cx="435077" cy="435077"/>
            </a:xfrm>
            <a:custGeom>
              <a:avLst/>
              <a:gdLst>
                <a:gd name="connsiteX0" fmla="*/ 217539 w 435077"/>
                <a:gd name="connsiteY0" fmla="*/ 0 h 435077"/>
                <a:gd name="connsiteX1" fmla="*/ 217539 w 435077"/>
                <a:gd name="connsiteY1" fmla="*/ 0 h 435077"/>
                <a:gd name="connsiteX2" fmla="*/ 0 w 435077"/>
                <a:gd name="connsiteY2" fmla="*/ 0 h 435077"/>
                <a:gd name="connsiteX3" fmla="*/ 0 w 435077"/>
                <a:gd name="connsiteY3" fmla="*/ 217539 h 435077"/>
                <a:gd name="connsiteX4" fmla="*/ 217539 w 435077"/>
                <a:gd name="connsiteY4" fmla="*/ 27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217539" y="0"/>
                  </a:lnTo>
                  <a:lnTo>
                    <a:pt x="0" y="0"/>
                  </a:lnTo>
                  <a:lnTo>
                    <a:pt x="0" y="217539"/>
                  </a:lnTo>
                  <a:lnTo>
                    <a:pt x="217539" y="27"/>
                  </a:lnTo>
                  <a:lnTo>
                    <a:pt x="435077" y="217539"/>
                  </a:lnTo>
                  <a:lnTo>
                    <a:pt x="217539" y="435077"/>
                  </a:lnTo>
                  <a:lnTo>
                    <a:pt x="0" y="217539"/>
                  </a:lnTo>
                  <a:lnTo>
                    <a:pt x="0" y="435077"/>
                  </a:lnTo>
                  <a:lnTo>
                    <a:pt x="217539" y="435077"/>
                  </a:lnTo>
                  <a:lnTo>
                    <a:pt x="435077" y="435077"/>
                  </a:lnTo>
                  <a:lnTo>
                    <a:pt x="435077" y="217539"/>
                  </a:lnTo>
                  <a:lnTo>
                    <a:pt x="435077" y="0"/>
                  </a:lnTo>
                  <a:lnTo>
                    <a:pt x="217539" y="0"/>
                  </a:lnTo>
                  <a:close/>
                </a:path>
              </a:pathLst>
            </a:custGeom>
            <a:grpFill/>
            <a:ln w="27192" cap="flat">
              <a:noFill/>
              <a:prstDash val="solid"/>
              <a:miter/>
            </a:ln>
          </p:spPr>
          <p:txBody>
            <a:bodyPr rtlCol="0" anchor="ctr"/>
            <a:lstStyle/>
            <a:p>
              <a:endParaRPr lang="uk-UA" sz="900"/>
            </a:p>
          </p:txBody>
        </p:sp>
        <p:sp>
          <p:nvSpPr>
            <p:cNvPr id="328" name="Freeform: Shape 327">
              <a:extLst>
                <a:ext uri="{FF2B5EF4-FFF2-40B4-BE49-F238E27FC236}">
                  <a16:creationId xmlns:a16="http://schemas.microsoft.com/office/drawing/2014/main" id="{37B8438D-929F-4CE6-5DA9-EF833EFB92D4}"/>
                </a:ext>
              </a:extLst>
            </p:cNvPr>
            <p:cNvSpPr/>
            <p:nvPr/>
          </p:nvSpPr>
          <p:spPr>
            <a:xfrm>
              <a:off x="6056752" y="8930148"/>
              <a:ext cx="435077" cy="435077"/>
            </a:xfrm>
            <a:custGeom>
              <a:avLst/>
              <a:gdLst>
                <a:gd name="connsiteX0" fmla="*/ 371366 w 435077"/>
                <a:gd name="connsiteY0" fmla="*/ 63739 h 435077"/>
                <a:gd name="connsiteX1" fmla="*/ 435077 w 435077"/>
                <a:gd name="connsiteY1" fmla="*/ 217539 h 435077"/>
                <a:gd name="connsiteX2" fmla="*/ 217702 w 435077"/>
                <a:gd name="connsiteY2" fmla="*/ 217539 h 435077"/>
                <a:gd name="connsiteX3" fmla="*/ 371366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6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39"/>
                  </a:moveTo>
                  <a:cubicBezTo>
                    <a:pt x="412155" y="104527"/>
                    <a:pt x="435077" y="159864"/>
                    <a:pt x="435077" y="217539"/>
                  </a:cubicBezTo>
                  <a:lnTo>
                    <a:pt x="217702" y="217539"/>
                  </a:lnTo>
                  <a:cubicBezTo>
                    <a:pt x="275350" y="217593"/>
                    <a:pt x="330605" y="240516"/>
                    <a:pt x="371366" y="281277"/>
                  </a:cubicBezTo>
                  <a:cubicBezTo>
                    <a:pt x="412155" y="322066"/>
                    <a:pt x="435077" y="377402"/>
                    <a:pt x="435077" y="435077"/>
                  </a:cubicBezTo>
                  <a:lnTo>
                    <a:pt x="217539" y="435077"/>
                  </a:lnTo>
                  <a:lnTo>
                    <a:pt x="0" y="435077"/>
                  </a:lnTo>
                  <a:cubicBezTo>
                    <a:pt x="0" y="377402"/>
                    <a:pt x="22924" y="322066"/>
                    <a:pt x="63712" y="281277"/>
                  </a:cubicBezTo>
                  <a:cubicBezTo>
                    <a:pt x="104473" y="240516"/>
                    <a:pt x="159728" y="217593"/>
                    <a:pt x="217376" y="217539"/>
                  </a:cubicBezTo>
                  <a:lnTo>
                    <a:pt x="0" y="217539"/>
                  </a:lnTo>
                  <a:cubicBezTo>
                    <a:pt x="0" y="159864"/>
                    <a:pt x="22924" y="104527"/>
                    <a:pt x="63712" y="63739"/>
                  </a:cubicBezTo>
                  <a:cubicBezTo>
                    <a:pt x="104501" y="22923"/>
                    <a:pt x="159837" y="0"/>
                    <a:pt x="217539" y="0"/>
                  </a:cubicBezTo>
                  <a:cubicBezTo>
                    <a:pt x="275241" y="0"/>
                    <a:pt x="330550" y="22923"/>
                    <a:pt x="371366" y="63739"/>
                  </a:cubicBezTo>
                  <a:close/>
                </a:path>
              </a:pathLst>
            </a:custGeom>
            <a:grpFill/>
            <a:ln w="27192" cap="flat">
              <a:noFill/>
              <a:prstDash val="solid"/>
              <a:miter/>
            </a:ln>
          </p:spPr>
          <p:txBody>
            <a:bodyPr rtlCol="0" anchor="ctr"/>
            <a:lstStyle/>
            <a:p>
              <a:endParaRPr lang="uk-UA" sz="900"/>
            </a:p>
          </p:txBody>
        </p:sp>
        <p:sp>
          <p:nvSpPr>
            <p:cNvPr id="329" name="Freeform: Shape 328">
              <a:extLst>
                <a:ext uri="{FF2B5EF4-FFF2-40B4-BE49-F238E27FC236}">
                  <a16:creationId xmlns:a16="http://schemas.microsoft.com/office/drawing/2014/main" id="{36B467AC-FE42-9B38-BC4F-D4CD3399C1FB}"/>
                </a:ext>
              </a:extLst>
            </p:cNvPr>
            <p:cNvSpPr/>
            <p:nvPr/>
          </p:nvSpPr>
          <p:spPr>
            <a:xfrm>
              <a:off x="7797089" y="8930148"/>
              <a:ext cx="435050" cy="435104"/>
            </a:xfrm>
            <a:custGeom>
              <a:avLst/>
              <a:gdLst>
                <a:gd name="connsiteX0" fmla="*/ 0 w 435050"/>
                <a:gd name="connsiteY0" fmla="*/ 435077 h 435104"/>
                <a:gd name="connsiteX1" fmla="*/ 217511 w 435050"/>
                <a:gd name="connsiteY1" fmla="*/ 435077 h 435104"/>
                <a:gd name="connsiteX2" fmla="*/ 217511 w 435050"/>
                <a:gd name="connsiteY2" fmla="*/ 217566 h 435104"/>
                <a:gd name="connsiteX3" fmla="*/ 0 w 435050"/>
                <a:gd name="connsiteY3" fmla="*/ 435077 h 435104"/>
                <a:gd name="connsiteX4" fmla="*/ 217511 w 435050"/>
                <a:gd name="connsiteY4" fmla="*/ 0 h 435104"/>
                <a:gd name="connsiteX5" fmla="*/ 0 w 435050"/>
                <a:gd name="connsiteY5" fmla="*/ 0 h 435104"/>
                <a:gd name="connsiteX6" fmla="*/ 217511 w 435050"/>
                <a:gd name="connsiteY6" fmla="*/ 217539 h 435104"/>
                <a:gd name="connsiteX7" fmla="*/ 217511 w 435050"/>
                <a:gd name="connsiteY7" fmla="*/ 0 h 435104"/>
                <a:gd name="connsiteX8" fmla="*/ 435050 w 435050"/>
                <a:gd name="connsiteY8" fmla="*/ 435105 h 435104"/>
                <a:gd name="connsiteX9" fmla="*/ 217539 w 435050"/>
                <a:gd name="connsiteY9" fmla="*/ 435105 h 435104"/>
                <a:gd name="connsiteX10" fmla="*/ 435050 w 435050"/>
                <a:gd name="connsiteY10" fmla="*/ 217566 h 435104"/>
                <a:gd name="connsiteX11" fmla="*/ 435050 w 435050"/>
                <a:gd name="connsiteY11" fmla="*/ 435105 h 435104"/>
                <a:gd name="connsiteX12" fmla="*/ 435050 w 435050"/>
                <a:gd name="connsiteY12" fmla="*/ 27 h 435104"/>
                <a:gd name="connsiteX13" fmla="*/ 217539 w 435050"/>
                <a:gd name="connsiteY13" fmla="*/ 27 h 435104"/>
                <a:gd name="connsiteX14" fmla="*/ 435050 w 435050"/>
                <a:gd name="connsiteY14" fmla="*/ 217539 h 435104"/>
                <a:gd name="connsiteX15" fmla="*/ 435050 w 435050"/>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50" h="435104">
                  <a:moveTo>
                    <a:pt x="0" y="435077"/>
                  </a:moveTo>
                  <a:lnTo>
                    <a:pt x="217511" y="435077"/>
                  </a:lnTo>
                  <a:lnTo>
                    <a:pt x="217511" y="217566"/>
                  </a:lnTo>
                  <a:lnTo>
                    <a:pt x="0" y="435077"/>
                  </a:lnTo>
                  <a:close/>
                  <a:moveTo>
                    <a:pt x="217511" y="0"/>
                  </a:moveTo>
                  <a:lnTo>
                    <a:pt x="0" y="0"/>
                  </a:lnTo>
                  <a:lnTo>
                    <a:pt x="217511" y="217539"/>
                  </a:lnTo>
                  <a:lnTo>
                    <a:pt x="217511" y="0"/>
                  </a:lnTo>
                  <a:close/>
                  <a:moveTo>
                    <a:pt x="435050" y="435105"/>
                  </a:moveTo>
                  <a:lnTo>
                    <a:pt x="217539" y="435105"/>
                  </a:lnTo>
                  <a:lnTo>
                    <a:pt x="435050" y="217566"/>
                  </a:lnTo>
                  <a:lnTo>
                    <a:pt x="435050" y="435105"/>
                  </a:lnTo>
                  <a:close/>
                  <a:moveTo>
                    <a:pt x="435050" y="27"/>
                  </a:moveTo>
                  <a:lnTo>
                    <a:pt x="217539" y="27"/>
                  </a:lnTo>
                  <a:lnTo>
                    <a:pt x="435050" y="217539"/>
                  </a:lnTo>
                  <a:lnTo>
                    <a:pt x="435050" y="27"/>
                  </a:lnTo>
                  <a:close/>
                </a:path>
              </a:pathLst>
            </a:custGeom>
            <a:grpFill/>
            <a:ln w="27192" cap="flat">
              <a:noFill/>
              <a:prstDash val="solid"/>
              <a:miter/>
            </a:ln>
          </p:spPr>
          <p:txBody>
            <a:bodyPr rtlCol="0" anchor="ctr"/>
            <a:lstStyle/>
            <a:p>
              <a:endParaRPr lang="uk-UA" sz="900"/>
            </a:p>
          </p:txBody>
        </p:sp>
        <p:sp>
          <p:nvSpPr>
            <p:cNvPr id="330" name="Freeform: Shape 329">
              <a:extLst>
                <a:ext uri="{FF2B5EF4-FFF2-40B4-BE49-F238E27FC236}">
                  <a16:creationId xmlns:a16="http://schemas.microsoft.com/office/drawing/2014/main" id="{3C352369-A364-D06D-15CA-20A7864AE99C}"/>
                </a:ext>
              </a:extLst>
            </p:cNvPr>
            <p:cNvSpPr/>
            <p:nvPr/>
          </p:nvSpPr>
          <p:spPr>
            <a:xfrm>
              <a:off x="6926907" y="8930148"/>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27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66 h 435077"/>
                <a:gd name="connsiteX9" fmla="*/ 435077 w 435077"/>
                <a:gd name="connsiteY9" fmla="*/ 217566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27"/>
                  </a:lnTo>
                  <a:lnTo>
                    <a:pt x="435077" y="217539"/>
                  </a:lnTo>
                  <a:lnTo>
                    <a:pt x="435077" y="217539"/>
                  </a:lnTo>
                  <a:lnTo>
                    <a:pt x="435077" y="217539"/>
                  </a:lnTo>
                  <a:lnTo>
                    <a:pt x="435077" y="217566"/>
                  </a:lnTo>
                  <a:lnTo>
                    <a:pt x="435077" y="217566"/>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331" name="Freeform: Shape 330">
              <a:extLst>
                <a:ext uri="{FF2B5EF4-FFF2-40B4-BE49-F238E27FC236}">
                  <a16:creationId xmlns:a16="http://schemas.microsoft.com/office/drawing/2014/main" id="{9F086EBE-EB8D-911E-DA3E-2775A69925D3}"/>
                </a:ext>
              </a:extLst>
            </p:cNvPr>
            <p:cNvSpPr/>
            <p:nvPr/>
          </p:nvSpPr>
          <p:spPr>
            <a:xfrm>
              <a:off x="8667217" y="893014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p>
          </p:txBody>
        </p:sp>
        <p:sp>
          <p:nvSpPr>
            <p:cNvPr id="332" name="Freeform: Shape 331">
              <a:extLst>
                <a:ext uri="{FF2B5EF4-FFF2-40B4-BE49-F238E27FC236}">
                  <a16:creationId xmlns:a16="http://schemas.microsoft.com/office/drawing/2014/main" id="{4EB91365-6DD4-F0EF-40F6-087F62B4E171}"/>
                </a:ext>
              </a:extLst>
            </p:cNvPr>
            <p:cNvSpPr/>
            <p:nvPr/>
          </p:nvSpPr>
          <p:spPr>
            <a:xfrm>
              <a:off x="9537399" y="8930148"/>
              <a:ext cx="435077" cy="435077"/>
            </a:xfrm>
            <a:custGeom>
              <a:avLst/>
              <a:gdLst>
                <a:gd name="connsiteX0" fmla="*/ 371366 w 435077"/>
                <a:gd name="connsiteY0" fmla="*/ 63739 h 435077"/>
                <a:gd name="connsiteX1" fmla="*/ 435077 w 435077"/>
                <a:gd name="connsiteY1" fmla="*/ 217539 h 435077"/>
                <a:gd name="connsiteX2" fmla="*/ 217702 w 435077"/>
                <a:gd name="connsiteY2" fmla="*/ 217539 h 435077"/>
                <a:gd name="connsiteX3" fmla="*/ 371366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1 w 435077"/>
                <a:gd name="connsiteY7" fmla="*/ 281277 h 435077"/>
                <a:gd name="connsiteX8" fmla="*/ 217375 w 435077"/>
                <a:gd name="connsiteY8" fmla="*/ 217539 h 435077"/>
                <a:gd name="connsiteX9" fmla="*/ 0 w 435077"/>
                <a:gd name="connsiteY9" fmla="*/ 217539 h 435077"/>
                <a:gd name="connsiteX10" fmla="*/ 63711 w 435077"/>
                <a:gd name="connsiteY10" fmla="*/ 63739 h 435077"/>
                <a:gd name="connsiteX11" fmla="*/ 217539 w 435077"/>
                <a:gd name="connsiteY11" fmla="*/ 0 h 435077"/>
                <a:gd name="connsiteX12" fmla="*/ 371366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39"/>
                  </a:moveTo>
                  <a:cubicBezTo>
                    <a:pt x="412155" y="104527"/>
                    <a:pt x="435077" y="159864"/>
                    <a:pt x="435077" y="217539"/>
                  </a:cubicBezTo>
                  <a:lnTo>
                    <a:pt x="217702" y="217539"/>
                  </a:lnTo>
                  <a:cubicBezTo>
                    <a:pt x="275322" y="217593"/>
                    <a:pt x="330604" y="240516"/>
                    <a:pt x="371366" y="281277"/>
                  </a:cubicBezTo>
                  <a:cubicBezTo>
                    <a:pt x="412155" y="322066"/>
                    <a:pt x="435077" y="377402"/>
                    <a:pt x="435077" y="435077"/>
                  </a:cubicBezTo>
                  <a:lnTo>
                    <a:pt x="217539" y="435077"/>
                  </a:lnTo>
                  <a:lnTo>
                    <a:pt x="0" y="435077"/>
                  </a:lnTo>
                  <a:cubicBezTo>
                    <a:pt x="0" y="377402"/>
                    <a:pt x="22923" y="322066"/>
                    <a:pt x="63711" y="281277"/>
                  </a:cubicBezTo>
                  <a:cubicBezTo>
                    <a:pt x="104473" y="240516"/>
                    <a:pt x="159728" y="217593"/>
                    <a:pt x="217375" y="217539"/>
                  </a:cubicBezTo>
                  <a:lnTo>
                    <a:pt x="0" y="217539"/>
                  </a:lnTo>
                  <a:cubicBezTo>
                    <a:pt x="0" y="159864"/>
                    <a:pt x="22923" y="104527"/>
                    <a:pt x="63711" y="63739"/>
                  </a:cubicBezTo>
                  <a:cubicBezTo>
                    <a:pt x="104500" y="22923"/>
                    <a:pt x="159836" y="0"/>
                    <a:pt x="217539" y="0"/>
                  </a:cubicBezTo>
                  <a:cubicBezTo>
                    <a:pt x="275214" y="0"/>
                    <a:pt x="330550" y="22923"/>
                    <a:pt x="371366" y="63739"/>
                  </a:cubicBezTo>
                  <a:close/>
                </a:path>
              </a:pathLst>
            </a:custGeom>
            <a:grpFill/>
            <a:ln w="27192" cap="flat">
              <a:noFill/>
              <a:prstDash val="solid"/>
              <a:miter/>
            </a:ln>
          </p:spPr>
          <p:txBody>
            <a:bodyPr rtlCol="0" anchor="ctr"/>
            <a:lstStyle/>
            <a:p>
              <a:endParaRPr lang="uk-UA" sz="900"/>
            </a:p>
          </p:txBody>
        </p:sp>
        <p:sp>
          <p:nvSpPr>
            <p:cNvPr id="333" name="Freeform: Shape 332">
              <a:extLst>
                <a:ext uri="{FF2B5EF4-FFF2-40B4-BE49-F238E27FC236}">
                  <a16:creationId xmlns:a16="http://schemas.microsoft.com/office/drawing/2014/main" id="{DE8A812A-B9F6-2EF3-6790-313ED149B48B}"/>
                </a:ext>
              </a:extLst>
            </p:cNvPr>
            <p:cNvSpPr/>
            <p:nvPr/>
          </p:nvSpPr>
          <p:spPr>
            <a:xfrm>
              <a:off x="11277709" y="893014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334" name="Freeform: Shape 333">
              <a:extLst>
                <a:ext uri="{FF2B5EF4-FFF2-40B4-BE49-F238E27FC236}">
                  <a16:creationId xmlns:a16="http://schemas.microsoft.com/office/drawing/2014/main" id="{A20EA3EB-77D1-48E3-3D3A-89349E67EBBA}"/>
                </a:ext>
              </a:extLst>
            </p:cNvPr>
            <p:cNvSpPr/>
            <p:nvPr/>
          </p:nvSpPr>
          <p:spPr>
            <a:xfrm>
              <a:off x="10407554" y="8930148"/>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27 h 435077"/>
                <a:gd name="connsiteX5" fmla="*/ 435050 w 435077"/>
                <a:gd name="connsiteY5" fmla="*/ 217539 h 435077"/>
                <a:gd name="connsiteX6" fmla="*/ 435077 w 435077"/>
                <a:gd name="connsiteY6" fmla="*/ 217539 h 435077"/>
                <a:gd name="connsiteX7" fmla="*/ 435050 w 435077"/>
                <a:gd name="connsiteY7" fmla="*/ 217539 h 435077"/>
                <a:gd name="connsiteX8" fmla="*/ 435077 w 435077"/>
                <a:gd name="connsiteY8" fmla="*/ 217566 h 435077"/>
                <a:gd name="connsiteX9" fmla="*/ 435050 w 435077"/>
                <a:gd name="connsiteY9" fmla="*/ 217566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27"/>
                  </a:lnTo>
                  <a:lnTo>
                    <a:pt x="435050" y="217539"/>
                  </a:lnTo>
                  <a:lnTo>
                    <a:pt x="435077" y="217539"/>
                  </a:lnTo>
                  <a:lnTo>
                    <a:pt x="435050" y="217539"/>
                  </a:lnTo>
                  <a:lnTo>
                    <a:pt x="435077" y="217566"/>
                  </a:lnTo>
                  <a:lnTo>
                    <a:pt x="435050" y="217566"/>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335" name="Freeform: Shape 334">
              <a:extLst>
                <a:ext uri="{FF2B5EF4-FFF2-40B4-BE49-F238E27FC236}">
                  <a16:creationId xmlns:a16="http://schemas.microsoft.com/office/drawing/2014/main" id="{10F38D06-EC16-F8E5-8511-544051A80DC9}"/>
                </a:ext>
              </a:extLst>
            </p:cNvPr>
            <p:cNvSpPr/>
            <p:nvPr/>
          </p:nvSpPr>
          <p:spPr>
            <a:xfrm>
              <a:off x="12147864" y="8930148"/>
              <a:ext cx="435103" cy="435077"/>
            </a:xfrm>
            <a:custGeom>
              <a:avLst/>
              <a:gdLst>
                <a:gd name="connsiteX0" fmla="*/ 217539 w 435103"/>
                <a:gd name="connsiteY0" fmla="*/ 0 h 435077"/>
                <a:gd name="connsiteX1" fmla="*/ 0 w 435103"/>
                <a:gd name="connsiteY1" fmla="*/ 0 h 435077"/>
                <a:gd name="connsiteX2" fmla="*/ 0 w 435103"/>
                <a:gd name="connsiteY2" fmla="*/ 217539 h 435077"/>
                <a:gd name="connsiteX3" fmla="*/ 217539 w 435103"/>
                <a:gd name="connsiteY3" fmla="*/ 0 h 435077"/>
                <a:gd name="connsiteX4" fmla="*/ 435104 w 435103"/>
                <a:gd name="connsiteY4" fmla="*/ 27 h 435077"/>
                <a:gd name="connsiteX5" fmla="*/ 435104 w 435103"/>
                <a:gd name="connsiteY5" fmla="*/ 217566 h 435077"/>
                <a:gd name="connsiteX6" fmla="*/ 217565 w 435103"/>
                <a:gd name="connsiteY6" fmla="*/ 27 h 435077"/>
                <a:gd name="connsiteX7" fmla="*/ 435104 w 435103"/>
                <a:gd name="connsiteY7" fmla="*/ 27 h 435077"/>
                <a:gd name="connsiteX8" fmla="*/ 217565 w 435103"/>
                <a:gd name="connsiteY8" fmla="*/ 435077 h 435077"/>
                <a:gd name="connsiteX9" fmla="*/ 435104 w 435103"/>
                <a:gd name="connsiteY9" fmla="*/ 217566 h 435077"/>
                <a:gd name="connsiteX10" fmla="*/ 435104 w 435103"/>
                <a:gd name="connsiteY10" fmla="*/ 435077 h 435077"/>
                <a:gd name="connsiteX11" fmla="*/ 217565 w 435103"/>
                <a:gd name="connsiteY11" fmla="*/ 435077 h 435077"/>
                <a:gd name="connsiteX12" fmla="*/ 217565 w 435103"/>
                <a:gd name="connsiteY12" fmla="*/ 435077 h 435077"/>
                <a:gd name="connsiteX13" fmla="*/ 27 w 435103"/>
                <a:gd name="connsiteY13" fmla="*/ 217566 h 435077"/>
                <a:gd name="connsiteX14" fmla="*/ 27 w 435103"/>
                <a:gd name="connsiteY14" fmla="*/ 435077 h 435077"/>
                <a:gd name="connsiteX15" fmla="*/ 217565 w 435103"/>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3" h="435077">
                  <a:moveTo>
                    <a:pt x="217539" y="0"/>
                  </a:moveTo>
                  <a:lnTo>
                    <a:pt x="0" y="0"/>
                  </a:lnTo>
                  <a:lnTo>
                    <a:pt x="0" y="217539"/>
                  </a:lnTo>
                  <a:lnTo>
                    <a:pt x="217539" y="0"/>
                  </a:lnTo>
                  <a:close/>
                  <a:moveTo>
                    <a:pt x="435104" y="27"/>
                  </a:moveTo>
                  <a:lnTo>
                    <a:pt x="435104" y="217566"/>
                  </a:lnTo>
                  <a:lnTo>
                    <a:pt x="217565" y="27"/>
                  </a:lnTo>
                  <a:lnTo>
                    <a:pt x="435104" y="27"/>
                  </a:lnTo>
                  <a:close/>
                  <a:moveTo>
                    <a:pt x="217565" y="435077"/>
                  </a:moveTo>
                  <a:lnTo>
                    <a:pt x="435104" y="217566"/>
                  </a:lnTo>
                  <a:lnTo>
                    <a:pt x="435104" y="435077"/>
                  </a:lnTo>
                  <a:lnTo>
                    <a:pt x="217565" y="435077"/>
                  </a:lnTo>
                  <a:close/>
                  <a:moveTo>
                    <a:pt x="217565" y="435077"/>
                  </a:moveTo>
                  <a:lnTo>
                    <a:pt x="27" y="217566"/>
                  </a:lnTo>
                  <a:lnTo>
                    <a:pt x="27" y="435077"/>
                  </a:lnTo>
                  <a:lnTo>
                    <a:pt x="217565" y="435077"/>
                  </a:lnTo>
                  <a:close/>
                </a:path>
              </a:pathLst>
            </a:custGeom>
            <a:grpFill/>
            <a:ln w="27192" cap="flat">
              <a:noFill/>
              <a:prstDash val="solid"/>
              <a:miter/>
            </a:ln>
          </p:spPr>
          <p:txBody>
            <a:bodyPr rtlCol="0" anchor="ctr"/>
            <a:lstStyle/>
            <a:p>
              <a:endParaRPr lang="uk-UA" sz="900"/>
            </a:p>
          </p:txBody>
        </p:sp>
        <p:sp>
          <p:nvSpPr>
            <p:cNvPr id="336" name="Freeform: Shape 335">
              <a:extLst>
                <a:ext uri="{FF2B5EF4-FFF2-40B4-BE49-F238E27FC236}">
                  <a16:creationId xmlns:a16="http://schemas.microsoft.com/office/drawing/2014/main" id="{C7B7F383-EEFB-4F25-ECDD-19E09B2C4066}"/>
                </a:ext>
              </a:extLst>
            </p:cNvPr>
            <p:cNvSpPr/>
            <p:nvPr/>
          </p:nvSpPr>
          <p:spPr>
            <a:xfrm>
              <a:off x="13018045" y="8930148"/>
              <a:ext cx="435077" cy="435077"/>
            </a:xfrm>
            <a:custGeom>
              <a:avLst/>
              <a:gdLst>
                <a:gd name="connsiteX0" fmla="*/ 371365 w 435077"/>
                <a:gd name="connsiteY0" fmla="*/ 63739 h 435077"/>
                <a:gd name="connsiteX1" fmla="*/ 435077 w 435077"/>
                <a:gd name="connsiteY1" fmla="*/ 217539 h 435077"/>
                <a:gd name="connsiteX2" fmla="*/ 217701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5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39"/>
                  </a:moveTo>
                  <a:cubicBezTo>
                    <a:pt x="412154" y="104527"/>
                    <a:pt x="435077" y="159864"/>
                    <a:pt x="435077" y="217539"/>
                  </a:cubicBezTo>
                  <a:lnTo>
                    <a:pt x="217701" y="217539"/>
                  </a:lnTo>
                  <a:cubicBezTo>
                    <a:pt x="275349" y="217593"/>
                    <a:pt x="330605" y="240516"/>
                    <a:pt x="371365" y="281277"/>
                  </a:cubicBezTo>
                  <a:cubicBezTo>
                    <a:pt x="412154" y="322066"/>
                    <a:pt x="435077" y="377402"/>
                    <a:pt x="435077" y="435077"/>
                  </a:cubicBezTo>
                  <a:lnTo>
                    <a:pt x="217539" y="435077"/>
                  </a:lnTo>
                  <a:lnTo>
                    <a:pt x="0" y="435077"/>
                  </a:lnTo>
                  <a:cubicBezTo>
                    <a:pt x="0" y="377402"/>
                    <a:pt x="22924" y="322066"/>
                    <a:pt x="63712" y="281277"/>
                  </a:cubicBezTo>
                  <a:cubicBezTo>
                    <a:pt x="104472" y="240516"/>
                    <a:pt x="159728" y="217593"/>
                    <a:pt x="217376" y="217539"/>
                  </a:cubicBezTo>
                  <a:lnTo>
                    <a:pt x="0" y="217539"/>
                  </a:lnTo>
                  <a:cubicBezTo>
                    <a:pt x="0" y="159864"/>
                    <a:pt x="22924" y="104527"/>
                    <a:pt x="63712" y="63739"/>
                  </a:cubicBezTo>
                  <a:cubicBezTo>
                    <a:pt x="104501" y="22923"/>
                    <a:pt x="159836" y="0"/>
                    <a:pt x="217539" y="0"/>
                  </a:cubicBezTo>
                  <a:cubicBezTo>
                    <a:pt x="275241" y="0"/>
                    <a:pt x="330550" y="22923"/>
                    <a:pt x="371365" y="63739"/>
                  </a:cubicBezTo>
                  <a:close/>
                </a:path>
              </a:pathLst>
            </a:custGeom>
            <a:grpFill/>
            <a:ln w="27192" cap="flat">
              <a:noFill/>
              <a:prstDash val="solid"/>
              <a:miter/>
            </a:ln>
          </p:spPr>
          <p:txBody>
            <a:bodyPr rtlCol="0" anchor="ctr"/>
            <a:lstStyle/>
            <a:p>
              <a:endParaRPr lang="uk-UA" sz="900"/>
            </a:p>
          </p:txBody>
        </p:sp>
        <p:sp>
          <p:nvSpPr>
            <p:cNvPr id="337" name="Freeform: Shape 336">
              <a:extLst>
                <a:ext uri="{FF2B5EF4-FFF2-40B4-BE49-F238E27FC236}">
                  <a16:creationId xmlns:a16="http://schemas.microsoft.com/office/drawing/2014/main" id="{C580173D-F36C-0D33-2AD2-524608CD0898}"/>
                </a:ext>
              </a:extLst>
            </p:cNvPr>
            <p:cNvSpPr/>
            <p:nvPr/>
          </p:nvSpPr>
          <p:spPr>
            <a:xfrm>
              <a:off x="14758382" y="893014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338" name="Freeform: Shape 337">
              <a:extLst>
                <a:ext uri="{FF2B5EF4-FFF2-40B4-BE49-F238E27FC236}">
                  <a16:creationId xmlns:a16="http://schemas.microsoft.com/office/drawing/2014/main" id="{361A2EED-789E-CC64-15E2-C0580730EA41}"/>
                </a:ext>
              </a:extLst>
            </p:cNvPr>
            <p:cNvSpPr/>
            <p:nvPr/>
          </p:nvSpPr>
          <p:spPr>
            <a:xfrm>
              <a:off x="13888174" y="893014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339" name="Freeform: Shape 338">
              <a:extLst>
                <a:ext uri="{FF2B5EF4-FFF2-40B4-BE49-F238E27FC236}">
                  <a16:creationId xmlns:a16="http://schemas.microsoft.com/office/drawing/2014/main" id="{35762759-8D4F-FBA0-5D06-11DF9A54191A}"/>
                </a:ext>
              </a:extLst>
            </p:cNvPr>
            <p:cNvSpPr/>
            <p:nvPr/>
          </p:nvSpPr>
          <p:spPr>
            <a:xfrm>
              <a:off x="15628536" y="8930148"/>
              <a:ext cx="435077" cy="435077"/>
            </a:xfrm>
            <a:custGeom>
              <a:avLst/>
              <a:gdLst>
                <a:gd name="connsiteX0" fmla="*/ 217567 w 435077"/>
                <a:gd name="connsiteY0" fmla="*/ 0 h 435077"/>
                <a:gd name="connsiteX1" fmla="*/ 217539 w 435077"/>
                <a:gd name="connsiteY1" fmla="*/ 0 h 435077"/>
                <a:gd name="connsiteX2" fmla="*/ 28 w 435077"/>
                <a:gd name="connsiteY2" fmla="*/ 0 h 435077"/>
                <a:gd name="connsiteX3" fmla="*/ 28 w 435077"/>
                <a:gd name="connsiteY3" fmla="*/ 217539 h 435077"/>
                <a:gd name="connsiteX4" fmla="*/ 217567 w 435077"/>
                <a:gd name="connsiteY4" fmla="*/ 27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67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67" y="0"/>
                  </a:moveTo>
                  <a:lnTo>
                    <a:pt x="217539" y="0"/>
                  </a:lnTo>
                  <a:lnTo>
                    <a:pt x="28" y="0"/>
                  </a:lnTo>
                  <a:lnTo>
                    <a:pt x="28" y="217539"/>
                  </a:lnTo>
                  <a:lnTo>
                    <a:pt x="217567" y="27"/>
                  </a:lnTo>
                  <a:lnTo>
                    <a:pt x="435077" y="217539"/>
                  </a:lnTo>
                  <a:lnTo>
                    <a:pt x="217539" y="435077"/>
                  </a:lnTo>
                  <a:lnTo>
                    <a:pt x="0" y="217539"/>
                  </a:lnTo>
                  <a:lnTo>
                    <a:pt x="0" y="435077"/>
                  </a:lnTo>
                  <a:lnTo>
                    <a:pt x="217539" y="435077"/>
                  </a:lnTo>
                  <a:lnTo>
                    <a:pt x="435077" y="435077"/>
                  </a:lnTo>
                  <a:lnTo>
                    <a:pt x="435077" y="217539"/>
                  </a:lnTo>
                  <a:lnTo>
                    <a:pt x="435077" y="0"/>
                  </a:lnTo>
                  <a:lnTo>
                    <a:pt x="217567" y="0"/>
                  </a:lnTo>
                  <a:close/>
                </a:path>
              </a:pathLst>
            </a:custGeom>
            <a:grpFill/>
            <a:ln w="27192" cap="flat">
              <a:noFill/>
              <a:prstDash val="solid"/>
              <a:miter/>
            </a:ln>
          </p:spPr>
          <p:txBody>
            <a:bodyPr rtlCol="0" anchor="ctr"/>
            <a:lstStyle/>
            <a:p>
              <a:endParaRPr lang="uk-UA" sz="900"/>
            </a:p>
          </p:txBody>
        </p:sp>
        <p:sp>
          <p:nvSpPr>
            <p:cNvPr id="340" name="Freeform: Shape 339">
              <a:extLst>
                <a:ext uri="{FF2B5EF4-FFF2-40B4-BE49-F238E27FC236}">
                  <a16:creationId xmlns:a16="http://schemas.microsoft.com/office/drawing/2014/main" id="{184A2227-48C2-2332-DD1E-E0C2CE0DE50D}"/>
                </a:ext>
              </a:extLst>
            </p:cNvPr>
            <p:cNvSpPr/>
            <p:nvPr/>
          </p:nvSpPr>
          <p:spPr>
            <a:xfrm>
              <a:off x="16498719" y="8930148"/>
              <a:ext cx="435077" cy="435077"/>
            </a:xfrm>
            <a:custGeom>
              <a:avLst/>
              <a:gdLst>
                <a:gd name="connsiteX0" fmla="*/ 371339 w 435077"/>
                <a:gd name="connsiteY0" fmla="*/ 63739 h 435077"/>
                <a:gd name="connsiteX1" fmla="*/ 435077 w 435077"/>
                <a:gd name="connsiteY1" fmla="*/ 217539 h 435077"/>
                <a:gd name="connsiteX2" fmla="*/ 217701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0 w 435077"/>
                <a:gd name="connsiteY7" fmla="*/ 281277 h 435077"/>
                <a:gd name="connsiteX8" fmla="*/ 217374 w 435077"/>
                <a:gd name="connsiteY8" fmla="*/ 217539 h 435077"/>
                <a:gd name="connsiteX9" fmla="*/ 0 w 435077"/>
                <a:gd name="connsiteY9" fmla="*/ 217539 h 435077"/>
                <a:gd name="connsiteX10" fmla="*/ 63710 w 435077"/>
                <a:gd name="connsiteY10" fmla="*/ 63739 h 435077"/>
                <a:gd name="connsiteX11" fmla="*/ 217539 w 435077"/>
                <a:gd name="connsiteY11" fmla="*/ 0 h 435077"/>
                <a:gd name="connsiteX12" fmla="*/ 371339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39"/>
                  </a:moveTo>
                  <a:cubicBezTo>
                    <a:pt x="412154" y="104527"/>
                    <a:pt x="435077" y="159864"/>
                    <a:pt x="435077" y="217539"/>
                  </a:cubicBezTo>
                  <a:lnTo>
                    <a:pt x="217701" y="217539"/>
                  </a:lnTo>
                  <a:cubicBezTo>
                    <a:pt x="275322" y="217593"/>
                    <a:pt x="330603" y="240516"/>
                    <a:pt x="371365" y="281277"/>
                  </a:cubicBezTo>
                  <a:cubicBezTo>
                    <a:pt x="412154" y="322066"/>
                    <a:pt x="435077" y="377402"/>
                    <a:pt x="435077" y="435077"/>
                  </a:cubicBezTo>
                  <a:lnTo>
                    <a:pt x="217539" y="435077"/>
                  </a:lnTo>
                  <a:lnTo>
                    <a:pt x="0" y="435077"/>
                  </a:lnTo>
                  <a:cubicBezTo>
                    <a:pt x="0" y="377402"/>
                    <a:pt x="22922" y="322066"/>
                    <a:pt x="63710" y="281277"/>
                  </a:cubicBezTo>
                  <a:cubicBezTo>
                    <a:pt x="104472" y="240516"/>
                    <a:pt x="159727" y="217593"/>
                    <a:pt x="217374" y="217539"/>
                  </a:cubicBezTo>
                  <a:lnTo>
                    <a:pt x="0" y="217539"/>
                  </a:lnTo>
                  <a:cubicBezTo>
                    <a:pt x="0" y="159864"/>
                    <a:pt x="22895" y="104527"/>
                    <a:pt x="63710" y="63739"/>
                  </a:cubicBezTo>
                  <a:cubicBezTo>
                    <a:pt x="104499" y="22923"/>
                    <a:pt x="159836" y="0"/>
                    <a:pt x="217539" y="0"/>
                  </a:cubicBezTo>
                  <a:cubicBezTo>
                    <a:pt x="275213" y="0"/>
                    <a:pt x="330550" y="22923"/>
                    <a:pt x="371339" y="63739"/>
                  </a:cubicBezTo>
                  <a:close/>
                </a:path>
              </a:pathLst>
            </a:custGeom>
            <a:grpFill/>
            <a:ln w="27192" cap="flat">
              <a:noFill/>
              <a:prstDash val="solid"/>
              <a:miter/>
            </a:ln>
          </p:spPr>
          <p:txBody>
            <a:bodyPr rtlCol="0" anchor="ctr"/>
            <a:lstStyle/>
            <a:p>
              <a:endParaRPr lang="uk-UA" sz="900"/>
            </a:p>
          </p:txBody>
        </p:sp>
        <p:sp>
          <p:nvSpPr>
            <p:cNvPr id="341" name="Freeform: Shape 340">
              <a:extLst>
                <a:ext uri="{FF2B5EF4-FFF2-40B4-BE49-F238E27FC236}">
                  <a16:creationId xmlns:a16="http://schemas.microsoft.com/office/drawing/2014/main" id="{C9BB89B9-F9B9-0977-EA94-C8A64732EE90}"/>
                </a:ext>
              </a:extLst>
            </p:cNvPr>
            <p:cNvSpPr/>
            <p:nvPr/>
          </p:nvSpPr>
          <p:spPr>
            <a:xfrm>
              <a:off x="18239029" y="893014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342" name="Freeform: Shape 341">
              <a:extLst>
                <a:ext uri="{FF2B5EF4-FFF2-40B4-BE49-F238E27FC236}">
                  <a16:creationId xmlns:a16="http://schemas.microsoft.com/office/drawing/2014/main" id="{17710AE2-8F05-6249-F7A1-0D55C40D7E64}"/>
                </a:ext>
              </a:extLst>
            </p:cNvPr>
            <p:cNvSpPr/>
            <p:nvPr/>
          </p:nvSpPr>
          <p:spPr>
            <a:xfrm>
              <a:off x="17368874" y="893014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343" name="Freeform: Shape 342">
              <a:extLst>
                <a:ext uri="{FF2B5EF4-FFF2-40B4-BE49-F238E27FC236}">
                  <a16:creationId xmlns:a16="http://schemas.microsoft.com/office/drawing/2014/main" id="{BB4EBEFF-C2EF-A155-3FA0-334454A7939E}"/>
                </a:ext>
              </a:extLst>
            </p:cNvPr>
            <p:cNvSpPr/>
            <p:nvPr/>
          </p:nvSpPr>
          <p:spPr>
            <a:xfrm>
              <a:off x="19109210" y="893014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27 h 435077"/>
                <a:gd name="connsiteX5" fmla="*/ 435077 w 435077"/>
                <a:gd name="connsiteY5" fmla="*/ 217566 h 435077"/>
                <a:gd name="connsiteX6" fmla="*/ 217539 w 435077"/>
                <a:gd name="connsiteY6" fmla="*/ 27 h 435077"/>
                <a:gd name="connsiteX7" fmla="*/ 435077 w 435077"/>
                <a:gd name="connsiteY7" fmla="*/ 27 h 435077"/>
                <a:gd name="connsiteX8" fmla="*/ 217539 w 435077"/>
                <a:gd name="connsiteY8" fmla="*/ 435077 h 435077"/>
                <a:gd name="connsiteX9" fmla="*/ 435077 w 435077"/>
                <a:gd name="connsiteY9" fmla="*/ 217566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66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27"/>
                  </a:moveTo>
                  <a:lnTo>
                    <a:pt x="435077" y="217566"/>
                  </a:lnTo>
                  <a:lnTo>
                    <a:pt x="217539" y="27"/>
                  </a:lnTo>
                  <a:lnTo>
                    <a:pt x="435077" y="27"/>
                  </a:lnTo>
                  <a:close/>
                  <a:moveTo>
                    <a:pt x="217539" y="435077"/>
                  </a:moveTo>
                  <a:lnTo>
                    <a:pt x="435077" y="217566"/>
                  </a:lnTo>
                  <a:lnTo>
                    <a:pt x="435077" y="435077"/>
                  </a:lnTo>
                  <a:lnTo>
                    <a:pt x="217539" y="435077"/>
                  </a:lnTo>
                  <a:close/>
                  <a:moveTo>
                    <a:pt x="217539" y="435077"/>
                  </a:moveTo>
                  <a:lnTo>
                    <a:pt x="0" y="217566"/>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344" name="Freeform: Shape 343">
              <a:extLst>
                <a:ext uri="{FF2B5EF4-FFF2-40B4-BE49-F238E27FC236}">
                  <a16:creationId xmlns:a16="http://schemas.microsoft.com/office/drawing/2014/main" id="{A3EAC384-F257-435F-FCAB-1A2CA7F9E58E}"/>
                </a:ext>
              </a:extLst>
            </p:cNvPr>
            <p:cNvSpPr/>
            <p:nvPr/>
          </p:nvSpPr>
          <p:spPr>
            <a:xfrm>
              <a:off x="19979365" y="8930148"/>
              <a:ext cx="435077" cy="435077"/>
            </a:xfrm>
            <a:custGeom>
              <a:avLst/>
              <a:gdLst>
                <a:gd name="connsiteX0" fmla="*/ 371365 w 435077"/>
                <a:gd name="connsiteY0" fmla="*/ 63739 h 435077"/>
                <a:gd name="connsiteX1" fmla="*/ 435077 w 435077"/>
                <a:gd name="connsiteY1" fmla="*/ 217539 h 435077"/>
                <a:gd name="connsiteX2" fmla="*/ 217701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5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39"/>
                  </a:moveTo>
                  <a:cubicBezTo>
                    <a:pt x="412154" y="104527"/>
                    <a:pt x="435077" y="159864"/>
                    <a:pt x="435077" y="217539"/>
                  </a:cubicBezTo>
                  <a:lnTo>
                    <a:pt x="217701" y="217539"/>
                  </a:lnTo>
                  <a:cubicBezTo>
                    <a:pt x="275349" y="217593"/>
                    <a:pt x="330605" y="240516"/>
                    <a:pt x="371365" y="281277"/>
                  </a:cubicBezTo>
                  <a:cubicBezTo>
                    <a:pt x="412154" y="322066"/>
                    <a:pt x="435077" y="377402"/>
                    <a:pt x="435077" y="435077"/>
                  </a:cubicBezTo>
                  <a:lnTo>
                    <a:pt x="217539" y="435077"/>
                  </a:lnTo>
                  <a:lnTo>
                    <a:pt x="0" y="435077"/>
                  </a:lnTo>
                  <a:cubicBezTo>
                    <a:pt x="0" y="377402"/>
                    <a:pt x="22924" y="322066"/>
                    <a:pt x="63712" y="281277"/>
                  </a:cubicBezTo>
                  <a:cubicBezTo>
                    <a:pt x="104472" y="240516"/>
                    <a:pt x="159728" y="217593"/>
                    <a:pt x="217376" y="217539"/>
                  </a:cubicBezTo>
                  <a:lnTo>
                    <a:pt x="0" y="217539"/>
                  </a:lnTo>
                  <a:cubicBezTo>
                    <a:pt x="0" y="159864"/>
                    <a:pt x="22924" y="104527"/>
                    <a:pt x="63712" y="63739"/>
                  </a:cubicBezTo>
                  <a:cubicBezTo>
                    <a:pt x="104501" y="22923"/>
                    <a:pt x="159836" y="0"/>
                    <a:pt x="217539" y="0"/>
                  </a:cubicBezTo>
                  <a:cubicBezTo>
                    <a:pt x="275241" y="0"/>
                    <a:pt x="330550" y="22923"/>
                    <a:pt x="371365" y="63739"/>
                  </a:cubicBezTo>
                  <a:close/>
                </a:path>
              </a:pathLst>
            </a:custGeom>
            <a:grpFill/>
            <a:ln w="27192" cap="flat">
              <a:noFill/>
              <a:prstDash val="solid"/>
              <a:miter/>
            </a:ln>
          </p:spPr>
          <p:txBody>
            <a:bodyPr rtlCol="0" anchor="ctr"/>
            <a:lstStyle/>
            <a:p>
              <a:endParaRPr lang="uk-UA" sz="900"/>
            </a:p>
          </p:txBody>
        </p:sp>
        <p:sp>
          <p:nvSpPr>
            <p:cNvPr id="345" name="Freeform: Shape 344">
              <a:extLst>
                <a:ext uri="{FF2B5EF4-FFF2-40B4-BE49-F238E27FC236}">
                  <a16:creationId xmlns:a16="http://schemas.microsoft.com/office/drawing/2014/main" id="{2D91FED1-12FF-DA33-FABD-FEDA4314764D}"/>
                </a:ext>
              </a:extLst>
            </p:cNvPr>
            <p:cNvSpPr/>
            <p:nvPr/>
          </p:nvSpPr>
          <p:spPr>
            <a:xfrm>
              <a:off x="21719702" y="8930148"/>
              <a:ext cx="435077" cy="435104"/>
            </a:xfrm>
            <a:custGeom>
              <a:avLst/>
              <a:gdLst>
                <a:gd name="connsiteX0" fmla="*/ 0 w 435077"/>
                <a:gd name="connsiteY0" fmla="*/ 435077 h 435104"/>
                <a:gd name="connsiteX1" fmla="*/ 217512 w 435077"/>
                <a:gd name="connsiteY1" fmla="*/ 435077 h 435104"/>
                <a:gd name="connsiteX2" fmla="*/ 217512 w 435077"/>
                <a:gd name="connsiteY2" fmla="*/ 217566 h 435104"/>
                <a:gd name="connsiteX3" fmla="*/ 0 w 435077"/>
                <a:gd name="connsiteY3" fmla="*/ 435077 h 435104"/>
                <a:gd name="connsiteX4" fmla="*/ 217512 w 435077"/>
                <a:gd name="connsiteY4" fmla="*/ 0 h 435104"/>
                <a:gd name="connsiteX5" fmla="*/ 0 w 435077"/>
                <a:gd name="connsiteY5" fmla="*/ 0 h 435104"/>
                <a:gd name="connsiteX6" fmla="*/ 217512 w 435077"/>
                <a:gd name="connsiteY6" fmla="*/ 217539 h 435104"/>
                <a:gd name="connsiteX7" fmla="*/ 217512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12" y="435077"/>
                  </a:lnTo>
                  <a:lnTo>
                    <a:pt x="217512" y="217566"/>
                  </a:lnTo>
                  <a:lnTo>
                    <a:pt x="0" y="435077"/>
                  </a:lnTo>
                  <a:close/>
                  <a:moveTo>
                    <a:pt x="217512" y="0"/>
                  </a:moveTo>
                  <a:lnTo>
                    <a:pt x="0" y="0"/>
                  </a:lnTo>
                  <a:lnTo>
                    <a:pt x="217512" y="217539"/>
                  </a:lnTo>
                  <a:lnTo>
                    <a:pt x="217512"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346" name="Freeform: Shape 345">
              <a:extLst>
                <a:ext uri="{FF2B5EF4-FFF2-40B4-BE49-F238E27FC236}">
                  <a16:creationId xmlns:a16="http://schemas.microsoft.com/office/drawing/2014/main" id="{ED2AE294-4187-F62D-0B41-84FFF9F03D45}"/>
                </a:ext>
              </a:extLst>
            </p:cNvPr>
            <p:cNvSpPr/>
            <p:nvPr/>
          </p:nvSpPr>
          <p:spPr>
            <a:xfrm>
              <a:off x="20849520" y="893014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347" name="Freeform: Shape 346">
              <a:extLst>
                <a:ext uri="{FF2B5EF4-FFF2-40B4-BE49-F238E27FC236}">
                  <a16:creationId xmlns:a16="http://schemas.microsoft.com/office/drawing/2014/main" id="{0B3B8B64-0685-D965-CF01-0EF038C4BD36}"/>
                </a:ext>
              </a:extLst>
            </p:cNvPr>
            <p:cNvSpPr/>
            <p:nvPr/>
          </p:nvSpPr>
          <p:spPr>
            <a:xfrm>
              <a:off x="22589856" y="893014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27 h 435077"/>
                <a:gd name="connsiteX5" fmla="*/ 435077 w 435077"/>
                <a:gd name="connsiteY5" fmla="*/ 217566 h 435077"/>
                <a:gd name="connsiteX6" fmla="*/ 217539 w 435077"/>
                <a:gd name="connsiteY6" fmla="*/ 27 h 435077"/>
                <a:gd name="connsiteX7" fmla="*/ 435077 w 435077"/>
                <a:gd name="connsiteY7" fmla="*/ 27 h 435077"/>
                <a:gd name="connsiteX8" fmla="*/ 217539 w 435077"/>
                <a:gd name="connsiteY8" fmla="*/ 435077 h 435077"/>
                <a:gd name="connsiteX9" fmla="*/ 435077 w 435077"/>
                <a:gd name="connsiteY9" fmla="*/ 217566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66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27"/>
                  </a:moveTo>
                  <a:lnTo>
                    <a:pt x="435077" y="217566"/>
                  </a:lnTo>
                  <a:lnTo>
                    <a:pt x="217539" y="27"/>
                  </a:lnTo>
                  <a:lnTo>
                    <a:pt x="435077" y="27"/>
                  </a:lnTo>
                  <a:close/>
                  <a:moveTo>
                    <a:pt x="217539" y="435077"/>
                  </a:moveTo>
                  <a:lnTo>
                    <a:pt x="435077" y="217566"/>
                  </a:lnTo>
                  <a:lnTo>
                    <a:pt x="435077" y="435077"/>
                  </a:lnTo>
                  <a:lnTo>
                    <a:pt x="217539" y="435077"/>
                  </a:lnTo>
                  <a:close/>
                  <a:moveTo>
                    <a:pt x="217539" y="435077"/>
                  </a:moveTo>
                  <a:lnTo>
                    <a:pt x="0" y="217566"/>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348" name="Freeform: Shape 347">
              <a:extLst>
                <a:ext uri="{FF2B5EF4-FFF2-40B4-BE49-F238E27FC236}">
                  <a16:creationId xmlns:a16="http://schemas.microsoft.com/office/drawing/2014/main" id="{20E46D97-D62F-022A-B796-DD19C413643F}"/>
                </a:ext>
              </a:extLst>
            </p:cNvPr>
            <p:cNvSpPr/>
            <p:nvPr/>
          </p:nvSpPr>
          <p:spPr>
            <a:xfrm>
              <a:off x="23460039" y="8930148"/>
              <a:ext cx="435077" cy="435077"/>
            </a:xfrm>
            <a:custGeom>
              <a:avLst/>
              <a:gdLst>
                <a:gd name="connsiteX0" fmla="*/ 371339 w 435077"/>
                <a:gd name="connsiteY0" fmla="*/ 63739 h 435077"/>
                <a:gd name="connsiteX1" fmla="*/ 435077 w 435077"/>
                <a:gd name="connsiteY1" fmla="*/ 217539 h 435077"/>
                <a:gd name="connsiteX2" fmla="*/ 217701 w 435077"/>
                <a:gd name="connsiteY2" fmla="*/ 217539 h 435077"/>
                <a:gd name="connsiteX3" fmla="*/ 371339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48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39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39"/>
                  </a:moveTo>
                  <a:cubicBezTo>
                    <a:pt x="412154" y="104527"/>
                    <a:pt x="435077" y="159864"/>
                    <a:pt x="435077" y="217539"/>
                  </a:cubicBezTo>
                  <a:lnTo>
                    <a:pt x="217701" y="217539"/>
                  </a:lnTo>
                  <a:cubicBezTo>
                    <a:pt x="275322" y="217593"/>
                    <a:pt x="330605" y="240516"/>
                    <a:pt x="371339" y="281277"/>
                  </a:cubicBezTo>
                  <a:cubicBezTo>
                    <a:pt x="412154" y="322066"/>
                    <a:pt x="435077" y="377402"/>
                    <a:pt x="435077" y="435077"/>
                  </a:cubicBezTo>
                  <a:lnTo>
                    <a:pt x="217539" y="435077"/>
                  </a:lnTo>
                  <a:lnTo>
                    <a:pt x="0" y="435077"/>
                  </a:lnTo>
                  <a:cubicBezTo>
                    <a:pt x="0" y="377402"/>
                    <a:pt x="22895" y="322066"/>
                    <a:pt x="63712" y="281277"/>
                  </a:cubicBezTo>
                  <a:cubicBezTo>
                    <a:pt x="104472" y="240516"/>
                    <a:pt x="159727" y="217593"/>
                    <a:pt x="217348" y="217539"/>
                  </a:cubicBezTo>
                  <a:lnTo>
                    <a:pt x="0" y="217539"/>
                  </a:lnTo>
                  <a:cubicBezTo>
                    <a:pt x="0" y="159864"/>
                    <a:pt x="22895" y="104527"/>
                    <a:pt x="63712" y="63739"/>
                  </a:cubicBezTo>
                  <a:cubicBezTo>
                    <a:pt x="104501" y="22923"/>
                    <a:pt x="159836" y="0"/>
                    <a:pt x="217539" y="0"/>
                  </a:cubicBezTo>
                  <a:cubicBezTo>
                    <a:pt x="275213" y="0"/>
                    <a:pt x="330550" y="22923"/>
                    <a:pt x="371339" y="63739"/>
                  </a:cubicBezTo>
                  <a:close/>
                </a:path>
              </a:pathLst>
            </a:custGeom>
            <a:grpFill/>
            <a:ln w="27192" cap="flat">
              <a:noFill/>
              <a:prstDash val="solid"/>
              <a:miter/>
            </a:ln>
          </p:spPr>
          <p:txBody>
            <a:bodyPr rtlCol="0" anchor="ctr"/>
            <a:lstStyle/>
            <a:p>
              <a:endParaRPr lang="uk-UA" sz="900"/>
            </a:p>
          </p:txBody>
        </p:sp>
        <p:sp>
          <p:nvSpPr>
            <p:cNvPr id="349" name="Freeform: Shape 348">
              <a:extLst>
                <a:ext uri="{FF2B5EF4-FFF2-40B4-BE49-F238E27FC236}">
                  <a16:creationId xmlns:a16="http://schemas.microsoft.com/office/drawing/2014/main" id="{D5C02AE7-8E5E-A9DC-B41E-22B6994801FB}"/>
                </a:ext>
              </a:extLst>
            </p:cNvPr>
            <p:cNvSpPr/>
            <p:nvPr/>
          </p:nvSpPr>
          <p:spPr>
            <a:xfrm>
              <a:off x="24330194" y="893014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350" name="Freeform: Shape 349">
              <a:extLst>
                <a:ext uri="{FF2B5EF4-FFF2-40B4-BE49-F238E27FC236}">
                  <a16:creationId xmlns:a16="http://schemas.microsoft.com/office/drawing/2014/main" id="{D40825C1-67E6-6463-AB80-FEB65EFF8217}"/>
                </a:ext>
              </a:extLst>
            </p:cNvPr>
            <p:cNvSpPr/>
            <p:nvPr/>
          </p:nvSpPr>
          <p:spPr>
            <a:xfrm>
              <a:off x="835769" y="9800303"/>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351" name="Freeform: Shape 350">
              <a:extLst>
                <a:ext uri="{FF2B5EF4-FFF2-40B4-BE49-F238E27FC236}">
                  <a16:creationId xmlns:a16="http://schemas.microsoft.com/office/drawing/2014/main" id="{DBA0D9F7-6433-F6A8-1883-B0F6FFFCE6AF}"/>
                </a:ext>
              </a:extLst>
            </p:cNvPr>
            <p:cNvSpPr/>
            <p:nvPr/>
          </p:nvSpPr>
          <p:spPr>
            <a:xfrm>
              <a:off x="-34398" y="9800303"/>
              <a:ext cx="435063" cy="435077"/>
            </a:xfrm>
            <a:custGeom>
              <a:avLst/>
              <a:gdLst>
                <a:gd name="connsiteX0" fmla="*/ 435064 w 435063"/>
                <a:gd name="connsiteY0" fmla="*/ 435077 h 435077"/>
                <a:gd name="connsiteX1" fmla="*/ 435064 w 435063"/>
                <a:gd name="connsiteY1" fmla="*/ 217566 h 435077"/>
                <a:gd name="connsiteX2" fmla="*/ 435064 w 435063"/>
                <a:gd name="connsiteY2" fmla="*/ 27 h 435077"/>
                <a:gd name="connsiteX3" fmla="*/ 217552 w 435063"/>
                <a:gd name="connsiteY3" fmla="*/ 27 h 435077"/>
                <a:gd name="connsiteX4" fmla="*/ 435064 w 435063"/>
                <a:gd name="connsiteY4" fmla="*/ 217566 h 435077"/>
                <a:gd name="connsiteX5" fmla="*/ 217552 w 435063"/>
                <a:gd name="connsiteY5" fmla="*/ 435077 h 435077"/>
                <a:gd name="connsiteX6" fmla="*/ 435064 w 435063"/>
                <a:gd name="connsiteY6" fmla="*/ 435077 h 435077"/>
                <a:gd name="connsiteX7" fmla="*/ 0 w 435063"/>
                <a:gd name="connsiteY7" fmla="*/ 217539 h 435077"/>
                <a:gd name="connsiteX8" fmla="*/ 0 w 435063"/>
                <a:gd name="connsiteY8" fmla="*/ 0 h 435077"/>
                <a:gd name="connsiteX9" fmla="*/ 217525 w 435063"/>
                <a:gd name="connsiteY9" fmla="*/ 217539 h 435077"/>
                <a:gd name="connsiteX10" fmla="*/ 0 w 435063"/>
                <a:gd name="connsiteY10" fmla="*/ 217539 h 435077"/>
                <a:gd name="connsiteX11" fmla="*/ 0 w 435063"/>
                <a:gd name="connsiteY11" fmla="*/ 435077 h 435077"/>
                <a:gd name="connsiteX12" fmla="*/ 0 w 435063"/>
                <a:gd name="connsiteY12" fmla="*/ 217566 h 435077"/>
                <a:gd name="connsiteX13" fmla="*/ 217525 w 435063"/>
                <a:gd name="connsiteY13" fmla="*/ 217566 h 435077"/>
                <a:gd name="connsiteX14" fmla="*/ 0 w 435063"/>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63" h="435077">
                  <a:moveTo>
                    <a:pt x="435064" y="435077"/>
                  </a:moveTo>
                  <a:lnTo>
                    <a:pt x="435064" y="217566"/>
                  </a:lnTo>
                  <a:lnTo>
                    <a:pt x="435064" y="27"/>
                  </a:lnTo>
                  <a:lnTo>
                    <a:pt x="217552" y="27"/>
                  </a:lnTo>
                  <a:lnTo>
                    <a:pt x="435064" y="217566"/>
                  </a:lnTo>
                  <a:lnTo>
                    <a:pt x="217552" y="435077"/>
                  </a:lnTo>
                  <a:lnTo>
                    <a:pt x="435064" y="435077"/>
                  </a:lnTo>
                  <a:close/>
                  <a:moveTo>
                    <a:pt x="0" y="217539"/>
                  </a:moveTo>
                  <a:lnTo>
                    <a:pt x="0" y="0"/>
                  </a:lnTo>
                  <a:lnTo>
                    <a:pt x="217525" y="217539"/>
                  </a:lnTo>
                  <a:lnTo>
                    <a:pt x="0" y="217539"/>
                  </a:lnTo>
                  <a:close/>
                  <a:moveTo>
                    <a:pt x="0" y="435077"/>
                  </a:moveTo>
                  <a:lnTo>
                    <a:pt x="0" y="217566"/>
                  </a:lnTo>
                  <a:lnTo>
                    <a:pt x="217525" y="217566"/>
                  </a:lnTo>
                  <a:lnTo>
                    <a:pt x="0" y="435077"/>
                  </a:lnTo>
                  <a:close/>
                </a:path>
              </a:pathLst>
            </a:custGeom>
            <a:grpFill/>
            <a:ln w="27192" cap="flat">
              <a:noFill/>
              <a:prstDash val="solid"/>
              <a:miter/>
            </a:ln>
          </p:spPr>
          <p:txBody>
            <a:bodyPr rtlCol="0" anchor="ctr"/>
            <a:lstStyle/>
            <a:p>
              <a:endParaRPr lang="uk-UA" sz="900"/>
            </a:p>
          </p:txBody>
        </p:sp>
        <p:sp>
          <p:nvSpPr>
            <p:cNvPr id="352" name="Freeform: Shape 351">
              <a:extLst>
                <a:ext uri="{FF2B5EF4-FFF2-40B4-BE49-F238E27FC236}">
                  <a16:creationId xmlns:a16="http://schemas.microsoft.com/office/drawing/2014/main" id="{0AD99F76-4ADE-FBF6-7FE9-E8B73150E472}"/>
                </a:ext>
              </a:extLst>
            </p:cNvPr>
            <p:cNvSpPr/>
            <p:nvPr/>
          </p:nvSpPr>
          <p:spPr>
            <a:xfrm>
              <a:off x="1705924" y="9800330"/>
              <a:ext cx="435077" cy="435050"/>
            </a:xfrm>
            <a:custGeom>
              <a:avLst/>
              <a:gdLst>
                <a:gd name="connsiteX0" fmla="*/ 435077 w 435077"/>
                <a:gd name="connsiteY0" fmla="*/ 435050 h 435050"/>
                <a:gd name="connsiteX1" fmla="*/ 435077 w 435077"/>
                <a:gd name="connsiteY1" fmla="*/ 0 h 435050"/>
                <a:gd name="connsiteX2" fmla="*/ 217566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39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66" y="217539"/>
                  </a:lnTo>
                  <a:lnTo>
                    <a:pt x="435077" y="435050"/>
                  </a:lnTo>
                  <a:close/>
                  <a:moveTo>
                    <a:pt x="0" y="435050"/>
                  </a:moveTo>
                  <a:lnTo>
                    <a:pt x="0" y="0"/>
                  </a:lnTo>
                  <a:lnTo>
                    <a:pt x="217539" y="217539"/>
                  </a:lnTo>
                  <a:lnTo>
                    <a:pt x="0" y="435050"/>
                  </a:lnTo>
                  <a:close/>
                </a:path>
              </a:pathLst>
            </a:custGeom>
            <a:grpFill/>
            <a:ln w="27192" cap="flat">
              <a:noFill/>
              <a:prstDash val="solid"/>
              <a:miter/>
            </a:ln>
          </p:spPr>
          <p:txBody>
            <a:bodyPr rtlCol="0" anchor="ctr"/>
            <a:lstStyle/>
            <a:p>
              <a:endParaRPr lang="uk-UA" sz="900"/>
            </a:p>
          </p:txBody>
        </p:sp>
        <p:sp>
          <p:nvSpPr>
            <p:cNvPr id="353" name="Freeform: Shape 352">
              <a:extLst>
                <a:ext uri="{FF2B5EF4-FFF2-40B4-BE49-F238E27FC236}">
                  <a16:creationId xmlns:a16="http://schemas.microsoft.com/office/drawing/2014/main" id="{2BB8A862-79AF-D05C-E8A8-DA97F547D8B5}"/>
                </a:ext>
              </a:extLst>
            </p:cNvPr>
            <p:cNvSpPr/>
            <p:nvPr/>
          </p:nvSpPr>
          <p:spPr>
            <a:xfrm>
              <a:off x="2576106" y="980030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3" y="113039"/>
                    <a:pt x="0" y="57702"/>
                    <a:pt x="0" y="0"/>
                  </a:cubicBezTo>
                  <a:lnTo>
                    <a:pt x="217539" y="0"/>
                  </a:lnTo>
                  <a:lnTo>
                    <a:pt x="435077" y="0"/>
                  </a:lnTo>
                  <a:cubicBezTo>
                    <a:pt x="435077" y="57702"/>
                    <a:pt x="412154" y="113039"/>
                    <a:pt x="371366" y="153827"/>
                  </a:cubicBezTo>
                  <a:cubicBezTo>
                    <a:pt x="330550" y="194642"/>
                    <a:pt x="275214" y="217539"/>
                    <a:pt x="217539" y="217539"/>
                  </a:cubicBezTo>
                  <a:cubicBezTo>
                    <a:pt x="159837" y="217539"/>
                    <a:pt x="104500" y="194642"/>
                    <a:pt x="63712" y="153827"/>
                  </a:cubicBezTo>
                  <a:close/>
                  <a:moveTo>
                    <a:pt x="63712" y="281277"/>
                  </a:moveTo>
                  <a:cubicBezTo>
                    <a:pt x="22923" y="322066"/>
                    <a:pt x="0" y="377402"/>
                    <a:pt x="0" y="435077"/>
                  </a:cubicBezTo>
                  <a:lnTo>
                    <a:pt x="217539" y="435077"/>
                  </a:lnTo>
                  <a:lnTo>
                    <a:pt x="435077" y="435077"/>
                  </a:lnTo>
                  <a:cubicBezTo>
                    <a:pt x="435077" y="377402"/>
                    <a:pt x="412154" y="322066"/>
                    <a:pt x="371366" y="281277"/>
                  </a:cubicBezTo>
                  <a:cubicBezTo>
                    <a:pt x="330550" y="240462"/>
                    <a:pt x="275214" y="217539"/>
                    <a:pt x="217539" y="217539"/>
                  </a:cubicBezTo>
                  <a:cubicBezTo>
                    <a:pt x="159837" y="217539"/>
                    <a:pt x="104500" y="240462"/>
                    <a:pt x="63712" y="281277"/>
                  </a:cubicBezTo>
                  <a:close/>
                </a:path>
              </a:pathLst>
            </a:custGeom>
            <a:grpFill/>
            <a:ln w="27192" cap="flat">
              <a:noFill/>
              <a:prstDash val="solid"/>
              <a:miter/>
            </a:ln>
          </p:spPr>
          <p:txBody>
            <a:bodyPr rtlCol="0" anchor="ctr"/>
            <a:lstStyle/>
            <a:p>
              <a:endParaRPr lang="uk-UA" sz="900"/>
            </a:p>
          </p:txBody>
        </p:sp>
        <p:sp>
          <p:nvSpPr>
            <p:cNvPr id="354" name="Freeform: Shape 353">
              <a:extLst>
                <a:ext uri="{FF2B5EF4-FFF2-40B4-BE49-F238E27FC236}">
                  <a16:creationId xmlns:a16="http://schemas.microsoft.com/office/drawing/2014/main" id="{49F71BFD-ED98-8D0C-61C7-AEBDF2A6512C}"/>
                </a:ext>
              </a:extLst>
            </p:cNvPr>
            <p:cNvSpPr/>
            <p:nvPr/>
          </p:nvSpPr>
          <p:spPr>
            <a:xfrm>
              <a:off x="4316416" y="9800303"/>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65 w 435077"/>
                <a:gd name="connsiteY4" fmla="*/ 435077 h 435077"/>
                <a:gd name="connsiteX5" fmla="*/ 217565 w 435077"/>
                <a:gd name="connsiteY5" fmla="*/ 0 h 435077"/>
                <a:gd name="connsiteX6" fmla="*/ 435077 w 435077"/>
                <a:gd name="connsiteY6" fmla="*/ 217566 h 435077"/>
                <a:gd name="connsiteX7" fmla="*/ 217565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65" y="435077"/>
                  </a:moveTo>
                  <a:lnTo>
                    <a:pt x="217565" y="0"/>
                  </a:lnTo>
                  <a:lnTo>
                    <a:pt x="435077" y="217566"/>
                  </a:lnTo>
                  <a:lnTo>
                    <a:pt x="217565" y="435077"/>
                  </a:lnTo>
                  <a:close/>
                </a:path>
              </a:pathLst>
            </a:custGeom>
            <a:grpFill/>
            <a:ln w="27192" cap="flat">
              <a:noFill/>
              <a:prstDash val="solid"/>
              <a:miter/>
            </a:ln>
          </p:spPr>
          <p:txBody>
            <a:bodyPr rtlCol="0" anchor="ctr"/>
            <a:lstStyle/>
            <a:p>
              <a:endParaRPr lang="uk-UA" sz="900"/>
            </a:p>
          </p:txBody>
        </p:sp>
        <p:sp>
          <p:nvSpPr>
            <p:cNvPr id="355" name="Freeform: Shape 354">
              <a:extLst>
                <a:ext uri="{FF2B5EF4-FFF2-40B4-BE49-F238E27FC236}">
                  <a16:creationId xmlns:a16="http://schemas.microsoft.com/office/drawing/2014/main" id="{593C3CB0-53F6-D500-59D2-F57CDE84C81B}"/>
                </a:ext>
              </a:extLst>
            </p:cNvPr>
            <p:cNvSpPr/>
            <p:nvPr/>
          </p:nvSpPr>
          <p:spPr>
            <a:xfrm>
              <a:off x="3446261" y="980030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6 w 435077"/>
                <a:gd name="connsiteY3" fmla="*/ 27 h 435077"/>
                <a:gd name="connsiteX4" fmla="*/ 435077 w 435077"/>
                <a:gd name="connsiteY4" fmla="*/ 217566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6" y="27"/>
                  </a:lnTo>
                  <a:lnTo>
                    <a:pt x="435077" y="217566"/>
                  </a:lnTo>
                  <a:lnTo>
                    <a:pt x="217566"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356" name="Freeform: Shape 355">
              <a:extLst>
                <a:ext uri="{FF2B5EF4-FFF2-40B4-BE49-F238E27FC236}">
                  <a16:creationId xmlns:a16="http://schemas.microsoft.com/office/drawing/2014/main" id="{E3108F50-294F-1172-8519-17373858606F}"/>
                </a:ext>
              </a:extLst>
            </p:cNvPr>
            <p:cNvSpPr/>
            <p:nvPr/>
          </p:nvSpPr>
          <p:spPr>
            <a:xfrm>
              <a:off x="5186597" y="9800330"/>
              <a:ext cx="435077" cy="435050"/>
            </a:xfrm>
            <a:custGeom>
              <a:avLst/>
              <a:gdLst>
                <a:gd name="connsiteX0" fmla="*/ 435077 w 435077"/>
                <a:gd name="connsiteY0" fmla="*/ 435050 h 435050"/>
                <a:gd name="connsiteX1" fmla="*/ 435077 w 435077"/>
                <a:gd name="connsiteY1" fmla="*/ 0 h 435050"/>
                <a:gd name="connsiteX2" fmla="*/ 217566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39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66" y="217539"/>
                  </a:lnTo>
                  <a:lnTo>
                    <a:pt x="435077" y="435050"/>
                  </a:lnTo>
                  <a:close/>
                  <a:moveTo>
                    <a:pt x="0" y="435050"/>
                  </a:moveTo>
                  <a:lnTo>
                    <a:pt x="0" y="0"/>
                  </a:lnTo>
                  <a:lnTo>
                    <a:pt x="217539" y="217539"/>
                  </a:lnTo>
                  <a:lnTo>
                    <a:pt x="0" y="435050"/>
                  </a:lnTo>
                  <a:close/>
                </a:path>
              </a:pathLst>
            </a:custGeom>
            <a:grpFill/>
            <a:ln w="27192" cap="flat">
              <a:noFill/>
              <a:prstDash val="solid"/>
              <a:miter/>
            </a:ln>
          </p:spPr>
          <p:txBody>
            <a:bodyPr rtlCol="0" anchor="ctr"/>
            <a:lstStyle/>
            <a:p>
              <a:endParaRPr lang="uk-UA" sz="900"/>
            </a:p>
          </p:txBody>
        </p:sp>
        <p:sp>
          <p:nvSpPr>
            <p:cNvPr id="357" name="Freeform: Shape 356">
              <a:extLst>
                <a:ext uri="{FF2B5EF4-FFF2-40B4-BE49-F238E27FC236}">
                  <a16:creationId xmlns:a16="http://schemas.microsoft.com/office/drawing/2014/main" id="{B4676F4F-A29D-E79B-1442-1911A26CFFE4}"/>
                </a:ext>
              </a:extLst>
            </p:cNvPr>
            <p:cNvSpPr/>
            <p:nvPr/>
          </p:nvSpPr>
          <p:spPr>
            <a:xfrm>
              <a:off x="6056752" y="980030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6" y="153827"/>
                  </a:cubicBezTo>
                  <a:cubicBezTo>
                    <a:pt x="330550" y="194642"/>
                    <a:pt x="275241" y="217539"/>
                    <a:pt x="217539" y="217539"/>
                  </a:cubicBezTo>
                  <a:cubicBezTo>
                    <a:pt x="159837"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5" y="322066"/>
                    <a:pt x="371366" y="281277"/>
                  </a:cubicBezTo>
                  <a:cubicBezTo>
                    <a:pt x="330550" y="240462"/>
                    <a:pt x="275241" y="217539"/>
                    <a:pt x="217539" y="217539"/>
                  </a:cubicBezTo>
                  <a:cubicBezTo>
                    <a:pt x="159837" y="217539"/>
                    <a:pt x="104501" y="240462"/>
                    <a:pt x="63712" y="281277"/>
                  </a:cubicBezTo>
                  <a:close/>
                </a:path>
              </a:pathLst>
            </a:custGeom>
            <a:grpFill/>
            <a:ln w="27192" cap="flat">
              <a:noFill/>
              <a:prstDash val="solid"/>
              <a:miter/>
            </a:ln>
          </p:spPr>
          <p:txBody>
            <a:bodyPr rtlCol="0" anchor="ctr"/>
            <a:lstStyle/>
            <a:p>
              <a:endParaRPr lang="uk-UA" sz="900"/>
            </a:p>
          </p:txBody>
        </p:sp>
        <p:sp>
          <p:nvSpPr>
            <p:cNvPr id="358" name="Freeform: Shape 357">
              <a:extLst>
                <a:ext uri="{FF2B5EF4-FFF2-40B4-BE49-F238E27FC236}">
                  <a16:creationId xmlns:a16="http://schemas.microsoft.com/office/drawing/2014/main" id="{54D921E0-833D-1265-A12D-711606AD331B}"/>
                </a:ext>
              </a:extLst>
            </p:cNvPr>
            <p:cNvSpPr/>
            <p:nvPr/>
          </p:nvSpPr>
          <p:spPr>
            <a:xfrm>
              <a:off x="7797062" y="9800303"/>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66 w 435077"/>
                <a:gd name="connsiteY4" fmla="*/ 435077 h 435077"/>
                <a:gd name="connsiteX5" fmla="*/ 217566 w 435077"/>
                <a:gd name="connsiteY5" fmla="*/ 0 h 435077"/>
                <a:gd name="connsiteX6" fmla="*/ 435077 w 435077"/>
                <a:gd name="connsiteY6" fmla="*/ 217566 h 435077"/>
                <a:gd name="connsiteX7" fmla="*/ 217566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66" y="435077"/>
                  </a:moveTo>
                  <a:lnTo>
                    <a:pt x="217566" y="0"/>
                  </a:lnTo>
                  <a:lnTo>
                    <a:pt x="435077" y="217566"/>
                  </a:lnTo>
                  <a:lnTo>
                    <a:pt x="217566" y="435077"/>
                  </a:lnTo>
                  <a:close/>
                </a:path>
              </a:pathLst>
            </a:custGeom>
            <a:grpFill/>
            <a:ln w="27192" cap="flat">
              <a:noFill/>
              <a:prstDash val="solid"/>
              <a:miter/>
            </a:ln>
          </p:spPr>
          <p:txBody>
            <a:bodyPr rtlCol="0" anchor="ctr"/>
            <a:lstStyle/>
            <a:p>
              <a:endParaRPr lang="uk-UA" sz="900"/>
            </a:p>
          </p:txBody>
        </p:sp>
        <p:sp>
          <p:nvSpPr>
            <p:cNvPr id="359" name="Freeform: Shape 358">
              <a:extLst>
                <a:ext uri="{FF2B5EF4-FFF2-40B4-BE49-F238E27FC236}">
                  <a16:creationId xmlns:a16="http://schemas.microsoft.com/office/drawing/2014/main" id="{3AF960DC-545F-377F-FFFC-825D2E6928B4}"/>
                </a:ext>
              </a:extLst>
            </p:cNvPr>
            <p:cNvSpPr/>
            <p:nvPr/>
          </p:nvSpPr>
          <p:spPr>
            <a:xfrm>
              <a:off x="6926907" y="980030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6 w 435077"/>
                <a:gd name="connsiteY3" fmla="*/ 27 h 435077"/>
                <a:gd name="connsiteX4" fmla="*/ 435077 w 435077"/>
                <a:gd name="connsiteY4" fmla="*/ 217566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6" y="27"/>
                  </a:lnTo>
                  <a:lnTo>
                    <a:pt x="435077" y="217566"/>
                  </a:lnTo>
                  <a:lnTo>
                    <a:pt x="217566"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360" name="Freeform: Shape 359">
              <a:extLst>
                <a:ext uri="{FF2B5EF4-FFF2-40B4-BE49-F238E27FC236}">
                  <a16:creationId xmlns:a16="http://schemas.microsoft.com/office/drawing/2014/main" id="{B8AD5AE0-4294-8AFA-5432-DFA892344433}"/>
                </a:ext>
              </a:extLst>
            </p:cNvPr>
            <p:cNvSpPr/>
            <p:nvPr/>
          </p:nvSpPr>
          <p:spPr>
            <a:xfrm>
              <a:off x="8667244" y="980033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1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1" y="217539"/>
                  </a:lnTo>
                  <a:lnTo>
                    <a:pt x="0" y="435050"/>
                  </a:lnTo>
                  <a:close/>
                </a:path>
              </a:pathLst>
            </a:custGeom>
            <a:grpFill/>
            <a:ln w="27192" cap="flat">
              <a:noFill/>
              <a:prstDash val="solid"/>
              <a:miter/>
            </a:ln>
          </p:spPr>
          <p:txBody>
            <a:bodyPr rtlCol="0" anchor="ctr"/>
            <a:lstStyle/>
            <a:p>
              <a:endParaRPr lang="uk-UA" sz="900"/>
            </a:p>
          </p:txBody>
        </p:sp>
        <p:sp>
          <p:nvSpPr>
            <p:cNvPr id="361" name="Freeform: Shape 360">
              <a:extLst>
                <a:ext uri="{FF2B5EF4-FFF2-40B4-BE49-F238E27FC236}">
                  <a16:creationId xmlns:a16="http://schemas.microsoft.com/office/drawing/2014/main" id="{0F2EAF3C-FBBD-7A67-B7D9-ACE9B45D29B0}"/>
                </a:ext>
              </a:extLst>
            </p:cNvPr>
            <p:cNvSpPr/>
            <p:nvPr/>
          </p:nvSpPr>
          <p:spPr>
            <a:xfrm>
              <a:off x="9537399" y="9800303"/>
              <a:ext cx="435077" cy="435077"/>
            </a:xfrm>
            <a:custGeom>
              <a:avLst/>
              <a:gdLst>
                <a:gd name="connsiteX0" fmla="*/ 63711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1 w 435077"/>
                <a:gd name="connsiteY6" fmla="*/ 153827 h 435077"/>
                <a:gd name="connsiteX7" fmla="*/ 63711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11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1" y="153827"/>
                  </a:moveTo>
                  <a:cubicBezTo>
                    <a:pt x="22923" y="113039"/>
                    <a:pt x="0" y="57702"/>
                    <a:pt x="0" y="0"/>
                  </a:cubicBezTo>
                  <a:lnTo>
                    <a:pt x="217539" y="0"/>
                  </a:lnTo>
                  <a:lnTo>
                    <a:pt x="435077" y="0"/>
                  </a:lnTo>
                  <a:cubicBezTo>
                    <a:pt x="435077" y="57702"/>
                    <a:pt x="412155" y="113039"/>
                    <a:pt x="371366" y="153827"/>
                  </a:cubicBezTo>
                  <a:cubicBezTo>
                    <a:pt x="330550" y="194642"/>
                    <a:pt x="275214" y="217539"/>
                    <a:pt x="217539" y="217539"/>
                  </a:cubicBezTo>
                  <a:cubicBezTo>
                    <a:pt x="159836" y="217539"/>
                    <a:pt x="104500" y="194642"/>
                    <a:pt x="63711" y="153827"/>
                  </a:cubicBezTo>
                  <a:close/>
                  <a:moveTo>
                    <a:pt x="63711" y="281277"/>
                  </a:moveTo>
                  <a:cubicBezTo>
                    <a:pt x="22923" y="322066"/>
                    <a:pt x="0" y="377402"/>
                    <a:pt x="0" y="435077"/>
                  </a:cubicBezTo>
                  <a:lnTo>
                    <a:pt x="217539" y="435077"/>
                  </a:lnTo>
                  <a:lnTo>
                    <a:pt x="435077" y="435077"/>
                  </a:lnTo>
                  <a:cubicBezTo>
                    <a:pt x="435077" y="377402"/>
                    <a:pt x="412155" y="322066"/>
                    <a:pt x="371366" y="281277"/>
                  </a:cubicBezTo>
                  <a:cubicBezTo>
                    <a:pt x="330550" y="240462"/>
                    <a:pt x="275214" y="217539"/>
                    <a:pt x="217539" y="217539"/>
                  </a:cubicBezTo>
                  <a:cubicBezTo>
                    <a:pt x="159836" y="217539"/>
                    <a:pt x="104500" y="240462"/>
                    <a:pt x="63711" y="281277"/>
                  </a:cubicBezTo>
                  <a:close/>
                </a:path>
              </a:pathLst>
            </a:custGeom>
            <a:grpFill/>
            <a:ln w="27192" cap="flat">
              <a:noFill/>
              <a:prstDash val="solid"/>
              <a:miter/>
            </a:ln>
          </p:spPr>
          <p:txBody>
            <a:bodyPr rtlCol="0" anchor="ctr"/>
            <a:lstStyle/>
            <a:p>
              <a:endParaRPr lang="uk-UA" sz="900"/>
            </a:p>
          </p:txBody>
        </p:sp>
        <p:sp>
          <p:nvSpPr>
            <p:cNvPr id="362" name="Freeform: Shape 361">
              <a:extLst>
                <a:ext uri="{FF2B5EF4-FFF2-40B4-BE49-F238E27FC236}">
                  <a16:creationId xmlns:a16="http://schemas.microsoft.com/office/drawing/2014/main" id="{1BD2BB58-C188-7393-6005-EC2B9691EB09}"/>
                </a:ext>
              </a:extLst>
            </p:cNvPr>
            <p:cNvSpPr/>
            <p:nvPr/>
          </p:nvSpPr>
          <p:spPr>
            <a:xfrm>
              <a:off x="11277709" y="9800303"/>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363" name="Freeform: Shape 362">
              <a:extLst>
                <a:ext uri="{FF2B5EF4-FFF2-40B4-BE49-F238E27FC236}">
                  <a16:creationId xmlns:a16="http://schemas.microsoft.com/office/drawing/2014/main" id="{9BE60CBA-518F-81B1-6494-6FF198629A08}"/>
                </a:ext>
              </a:extLst>
            </p:cNvPr>
            <p:cNvSpPr/>
            <p:nvPr/>
          </p:nvSpPr>
          <p:spPr>
            <a:xfrm>
              <a:off x="10407554" y="980030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1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11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1" y="217539"/>
                  </a:lnTo>
                  <a:lnTo>
                    <a:pt x="0" y="217539"/>
                  </a:lnTo>
                  <a:close/>
                  <a:moveTo>
                    <a:pt x="0" y="435077"/>
                  </a:moveTo>
                  <a:lnTo>
                    <a:pt x="0" y="217566"/>
                  </a:lnTo>
                  <a:lnTo>
                    <a:pt x="217511" y="217566"/>
                  </a:lnTo>
                  <a:lnTo>
                    <a:pt x="0" y="435077"/>
                  </a:lnTo>
                  <a:close/>
                </a:path>
              </a:pathLst>
            </a:custGeom>
            <a:grpFill/>
            <a:ln w="27192" cap="flat">
              <a:noFill/>
              <a:prstDash val="solid"/>
              <a:miter/>
            </a:ln>
          </p:spPr>
          <p:txBody>
            <a:bodyPr rtlCol="0" anchor="ctr"/>
            <a:lstStyle/>
            <a:p>
              <a:endParaRPr lang="uk-UA" sz="900"/>
            </a:p>
          </p:txBody>
        </p:sp>
        <p:sp>
          <p:nvSpPr>
            <p:cNvPr id="364" name="Freeform: Shape 363">
              <a:extLst>
                <a:ext uri="{FF2B5EF4-FFF2-40B4-BE49-F238E27FC236}">
                  <a16:creationId xmlns:a16="http://schemas.microsoft.com/office/drawing/2014/main" id="{58660536-6428-55D0-E325-34768CBD75A4}"/>
                </a:ext>
              </a:extLst>
            </p:cNvPr>
            <p:cNvSpPr/>
            <p:nvPr/>
          </p:nvSpPr>
          <p:spPr>
            <a:xfrm>
              <a:off x="12147891" y="980033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2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2" y="217539"/>
                  </a:lnTo>
                  <a:lnTo>
                    <a:pt x="0" y="435050"/>
                  </a:lnTo>
                  <a:close/>
                </a:path>
              </a:pathLst>
            </a:custGeom>
            <a:grpFill/>
            <a:ln w="27192" cap="flat">
              <a:noFill/>
              <a:prstDash val="solid"/>
              <a:miter/>
            </a:ln>
          </p:spPr>
          <p:txBody>
            <a:bodyPr rtlCol="0" anchor="ctr"/>
            <a:lstStyle/>
            <a:p>
              <a:endParaRPr lang="uk-UA" sz="900"/>
            </a:p>
          </p:txBody>
        </p:sp>
        <p:sp>
          <p:nvSpPr>
            <p:cNvPr id="365" name="Freeform: Shape 364">
              <a:extLst>
                <a:ext uri="{FF2B5EF4-FFF2-40B4-BE49-F238E27FC236}">
                  <a16:creationId xmlns:a16="http://schemas.microsoft.com/office/drawing/2014/main" id="{EE44A181-8FB7-D7B9-1D19-812372D89DD0}"/>
                </a:ext>
              </a:extLst>
            </p:cNvPr>
            <p:cNvSpPr/>
            <p:nvPr/>
          </p:nvSpPr>
          <p:spPr>
            <a:xfrm>
              <a:off x="13018045" y="980030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4" y="113039"/>
                    <a:pt x="371365" y="153827"/>
                  </a:cubicBezTo>
                  <a:cubicBezTo>
                    <a:pt x="330550" y="194642"/>
                    <a:pt x="275241" y="217539"/>
                    <a:pt x="217539" y="217539"/>
                  </a:cubicBezTo>
                  <a:cubicBezTo>
                    <a:pt x="159836"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4" y="322066"/>
                    <a:pt x="371365" y="281277"/>
                  </a:cubicBezTo>
                  <a:cubicBezTo>
                    <a:pt x="330550" y="240462"/>
                    <a:pt x="275241" y="217539"/>
                    <a:pt x="217539" y="217539"/>
                  </a:cubicBezTo>
                  <a:cubicBezTo>
                    <a:pt x="159836" y="217539"/>
                    <a:pt x="104501" y="240462"/>
                    <a:pt x="63712" y="281277"/>
                  </a:cubicBezTo>
                  <a:close/>
                </a:path>
              </a:pathLst>
            </a:custGeom>
            <a:grpFill/>
            <a:ln w="27192" cap="flat">
              <a:noFill/>
              <a:prstDash val="solid"/>
              <a:miter/>
            </a:ln>
          </p:spPr>
          <p:txBody>
            <a:bodyPr rtlCol="0" anchor="ctr"/>
            <a:lstStyle/>
            <a:p>
              <a:endParaRPr lang="uk-UA" sz="900"/>
            </a:p>
          </p:txBody>
        </p:sp>
        <p:sp>
          <p:nvSpPr>
            <p:cNvPr id="366" name="Freeform: Shape 365">
              <a:extLst>
                <a:ext uri="{FF2B5EF4-FFF2-40B4-BE49-F238E27FC236}">
                  <a16:creationId xmlns:a16="http://schemas.microsoft.com/office/drawing/2014/main" id="{030963F9-17B7-1133-7343-2200B5AB82ED}"/>
                </a:ext>
              </a:extLst>
            </p:cNvPr>
            <p:cNvSpPr/>
            <p:nvPr/>
          </p:nvSpPr>
          <p:spPr>
            <a:xfrm>
              <a:off x="14758382" y="9800303"/>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367" name="Freeform: Shape 366">
              <a:extLst>
                <a:ext uri="{FF2B5EF4-FFF2-40B4-BE49-F238E27FC236}">
                  <a16:creationId xmlns:a16="http://schemas.microsoft.com/office/drawing/2014/main" id="{C04A0E7B-99AB-8B1C-AF76-6A6A7F903860}"/>
                </a:ext>
              </a:extLst>
            </p:cNvPr>
            <p:cNvSpPr/>
            <p:nvPr/>
          </p:nvSpPr>
          <p:spPr>
            <a:xfrm>
              <a:off x="13888200" y="980030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5 w 435077"/>
                <a:gd name="connsiteY3" fmla="*/ 27 h 435077"/>
                <a:gd name="connsiteX4" fmla="*/ 435077 w 435077"/>
                <a:gd name="connsiteY4" fmla="*/ 217566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5" y="27"/>
                  </a:lnTo>
                  <a:lnTo>
                    <a:pt x="435077" y="217566"/>
                  </a:lnTo>
                  <a:lnTo>
                    <a:pt x="217565"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368" name="Freeform: Shape 367">
              <a:extLst>
                <a:ext uri="{FF2B5EF4-FFF2-40B4-BE49-F238E27FC236}">
                  <a16:creationId xmlns:a16="http://schemas.microsoft.com/office/drawing/2014/main" id="{5347F872-F60F-E8B9-BF9E-D9353366D333}"/>
                </a:ext>
              </a:extLst>
            </p:cNvPr>
            <p:cNvSpPr/>
            <p:nvPr/>
          </p:nvSpPr>
          <p:spPr>
            <a:xfrm>
              <a:off x="15628565" y="980033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0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0" y="217539"/>
                  </a:lnTo>
                  <a:lnTo>
                    <a:pt x="0" y="435050"/>
                  </a:lnTo>
                  <a:close/>
                </a:path>
              </a:pathLst>
            </a:custGeom>
            <a:grpFill/>
            <a:ln w="27192" cap="flat">
              <a:noFill/>
              <a:prstDash val="solid"/>
              <a:miter/>
            </a:ln>
          </p:spPr>
          <p:txBody>
            <a:bodyPr rtlCol="0" anchor="ctr"/>
            <a:lstStyle/>
            <a:p>
              <a:endParaRPr lang="uk-UA" sz="900"/>
            </a:p>
          </p:txBody>
        </p:sp>
        <p:sp>
          <p:nvSpPr>
            <p:cNvPr id="369" name="Freeform: Shape 368">
              <a:extLst>
                <a:ext uri="{FF2B5EF4-FFF2-40B4-BE49-F238E27FC236}">
                  <a16:creationId xmlns:a16="http://schemas.microsoft.com/office/drawing/2014/main" id="{5584ED50-BED0-1C6A-9F7B-E297781A6133}"/>
                </a:ext>
              </a:extLst>
            </p:cNvPr>
            <p:cNvSpPr/>
            <p:nvPr/>
          </p:nvSpPr>
          <p:spPr>
            <a:xfrm>
              <a:off x="16498719" y="9800303"/>
              <a:ext cx="435077" cy="435077"/>
            </a:xfrm>
            <a:custGeom>
              <a:avLst/>
              <a:gdLst>
                <a:gd name="connsiteX0" fmla="*/ 63710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0 w 435077"/>
                <a:gd name="connsiteY6" fmla="*/ 153827 h 435077"/>
                <a:gd name="connsiteX7" fmla="*/ 63710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77 h 435077"/>
                <a:gd name="connsiteX12" fmla="*/ 217539 w 435077"/>
                <a:gd name="connsiteY12" fmla="*/ 217539 h 435077"/>
                <a:gd name="connsiteX13" fmla="*/ 63710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7"/>
                  </a:moveTo>
                  <a:cubicBezTo>
                    <a:pt x="22895" y="113039"/>
                    <a:pt x="0" y="57702"/>
                    <a:pt x="0" y="0"/>
                  </a:cubicBezTo>
                  <a:lnTo>
                    <a:pt x="217539" y="0"/>
                  </a:lnTo>
                  <a:lnTo>
                    <a:pt x="435077" y="0"/>
                  </a:lnTo>
                  <a:cubicBezTo>
                    <a:pt x="435077" y="57702"/>
                    <a:pt x="412154" y="113039"/>
                    <a:pt x="371339" y="153827"/>
                  </a:cubicBezTo>
                  <a:cubicBezTo>
                    <a:pt x="330550" y="194642"/>
                    <a:pt x="275213" y="217539"/>
                    <a:pt x="217539" y="217539"/>
                  </a:cubicBezTo>
                  <a:cubicBezTo>
                    <a:pt x="159836" y="217539"/>
                    <a:pt x="104499" y="194642"/>
                    <a:pt x="63710" y="153827"/>
                  </a:cubicBezTo>
                  <a:close/>
                  <a:moveTo>
                    <a:pt x="63710" y="281277"/>
                  </a:moveTo>
                  <a:cubicBezTo>
                    <a:pt x="22895" y="322066"/>
                    <a:pt x="0" y="377402"/>
                    <a:pt x="0" y="435077"/>
                  </a:cubicBezTo>
                  <a:lnTo>
                    <a:pt x="217539" y="435077"/>
                  </a:lnTo>
                  <a:lnTo>
                    <a:pt x="435077" y="435077"/>
                  </a:lnTo>
                  <a:cubicBezTo>
                    <a:pt x="435077" y="377402"/>
                    <a:pt x="412154" y="322066"/>
                    <a:pt x="371339" y="281277"/>
                  </a:cubicBezTo>
                  <a:cubicBezTo>
                    <a:pt x="330550" y="240462"/>
                    <a:pt x="275213" y="217539"/>
                    <a:pt x="217539" y="217539"/>
                  </a:cubicBezTo>
                  <a:cubicBezTo>
                    <a:pt x="159836" y="217539"/>
                    <a:pt x="104499" y="240462"/>
                    <a:pt x="63710" y="281277"/>
                  </a:cubicBezTo>
                  <a:close/>
                </a:path>
              </a:pathLst>
            </a:custGeom>
            <a:grpFill/>
            <a:ln w="27192" cap="flat">
              <a:noFill/>
              <a:prstDash val="solid"/>
              <a:miter/>
            </a:ln>
          </p:spPr>
          <p:txBody>
            <a:bodyPr rtlCol="0" anchor="ctr"/>
            <a:lstStyle/>
            <a:p>
              <a:endParaRPr lang="uk-UA" sz="900"/>
            </a:p>
          </p:txBody>
        </p:sp>
        <p:sp>
          <p:nvSpPr>
            <p:cNvPr id="370" name="Freeform: Shape 369">
              <a:extLst>
                <a:ext uri="{FF2B5EF4-FFF2-40B4-BE49-F238E27FC236}">
                  <a16:creationId xmlns:a16="http://schemas.microsoft.com/office/drawing/2014/main" id="{4087F72A-80B9-1245-68D0-491194A8074A}"/>
                </a:ext>
              </a:extLst>
            </p:cNvPr>
            <p:cNvSpPr/>
            <p:nvPr/>
          </p:nvSpPr>
          <p:spPr>
            <a:xfrm>
              <a:off x="18239029" y="9800303"/>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371" name="Freeform: Shape 370">
              <a:extLst>
                <a:ext uri="{FF2B5EF4-FFF2-40B4-BE49-F238E27FC236}">
                  <a16:creationId xmlns:a16="http://schemas.microsoft.com/office/drawing/2014/main" id="{9321B40A-C5EB-FDE2-8343-D445067C33AE}"/>
                </a:ext>
              </a:extLst>
            </p:cNvPr>
            <p:cNvSpPr/>
            <p:nvPr/>
          </p:nvSpPr>
          <p:spPr>
            <a:xfrm>
              <a:off x="17368874" y="980030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0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10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0" y="217539"/>
                  </a:lnTo>
                  <a:lnTo>
                    <a:pt x="0" y="217539"/>
                  </a:lnTo>
                  <a:close/>
                  <a:moveTo>
                    <a:pt x="0" y="435077"/>
                  </a:moveTo>
                  <a:lnTo>
                    <a:pt x="0" y="217566"/>
                  </a:lnTo>
                  <a:lnTo>
                    <a:pt x="217510" y="217566"/>
                  </a:lnTo>
                  <a:lnTo>
                    <a:pt x="0" y="435077"/>
                  </a:lnTo>
                  <a:close/>
                </a:path>
              </a:pathLst>
            </a:custGeom>
            <a:grpFill/>
            <a:ln w="27192" cap="flat">
              <a:noFill/>
              <a:prstDash val="solid"/>
              <a:miter/>
            </a:ln>
          </p:spPr>
          <p:txBody>
            <a:bodyPr rtlCol="0" anchor="ctr"/>
            <a:lstStyle/>
            <a:p>
              <a:endParaRPr lang="uk-UA" sz="900"/>
            </a:p>
          </p:txBody>
        </p:sp>
        <p:sp>
          <p:nvSpPr>
            <p:cNvPr id="372" name="Freeform: Shape 371">
              <a:extLst>
                <a:ext uri="{FF2B5EF4-FFF2-40B4-BE49-F238E27FC236}">
                  <a16:creationId xmlns:a16="http://schemas.microsoft.com/office/drawing/2014/main" id="{A135DC37-A601-1B3F-8E75-00FC0CCB8FDD}"/>
                </a:ext>
              </a:extLst>
            </p:cNvPr>
            <p:cNvSpPr/>
            <p:nvPr/>
          </p:nvSpPr>
          <p:spPr>
            <a:xfrm>
              <a:off x="19109210" y="9800303"/>
              <a:ext cx="435077" cy="435077"/>
            </a:xfrm>
            <a:custGeom>
              <a:avLst/>
              <a:gdLst>
                <a:gd name="connsiteX0" fmla="*/ 435077 w 435077"/>
                <a:gd name="connsiteY0" fmla="*/ 435077 h 435077"/>
                <a:gd name="connsiteX1" fmla="*/ 435077 w 435077"/>
                <a:gd name="connsiteY1" fmla="*/ 0 h 435077"/>
                <a:gd name="connsiteX2" fmla="*/ 217539 w 435077"/>
                <a:gd name="connsiteY2" fmla="*/ 217566 h 435077"/>
                <a:gd name="connsiteX3" fmla="*/ 435077 w 435077"/>
                <a:gd name="connsiteY3" fmla="*/ 435077 h 435077"/>
                <a:gd name="connsiteX4" fmla="*/ 0 w 435077"/>
                <a:gd name="connsiteY4" fmla="*/ 435077 h 435077"/>
                <a:gd name="connsiteX5" fmla="*/ 0 w 435077"/>
                <a:gd name="connsiteY5" fmla="*/ 0 h 435077"/>
                <a:gd name="connsiteX6" fmla="*/ 217512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66"/>
                  </a:lnTo>
                  <a:lnTo>
                    <a:pt x="435077" y="435077"/>
                  </a:lnTo>
                  <a:close/>
                  <a:moveTo>
                    <a:pt x="0" y="435077"/>
                  </a:moveTo>
                  <a:lnTo>
                    <a:pt x="0" y="0"/>
                  </a:lnTo>
                  <a:lnTo>
                    <a:pt x="217512" y="217566"/>
                  </a:lnTo>
                  <a:lnTo>
                    <a:pt x="0" y="435077"/>
                  </a:lnTo>
                  <a:close/>
                </a:path>
              </a:pathLst>
            </a:custGeom>
            <a:grpFill/>
            <a:ln w="27192" cap="flat">
              <a:noFill/>
              <a:prstDash val="solid"/>
              <a:miter/>
            </a:ln>
          </p:spPr>
          <p:txBody>
            <a:bodyPr rtlCol="0" anchor="ctr"/>
            <a:lstStyle/>
            <a:p>
              <a:endParaRPr lang="uk-UA" sz="900"/>
            </a:p>
          </p:txBody>
        </p:sp>
        <p:sp>
          <p:nvSpPr>
            <p:cNvPr id="373" name="Freeform: Shape 372">
              <a:extLst>
                <a:ext uri="{FF2B5EF4-FFF2-40B4-BE49-F238E27FC236}">
                  <a16:creationId xmlns:a16="http://schemas.microsoft.com/office/drawing/2014/main" id="{E50A0CB8-4760-E751-FA10-5E9E00BC58C6}"/>
                </a:ext>
              </a:extLst>
            </p:cNvPr>
            <p:cNvSpPr/>
            <p:nvPr/>
          </p:nvSpPr>
          <p:spPr>
            <a:xfrm>
              <a:off x="19979365" y="980030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4" y="113039"/>
                    <a:pt x="371365" y="153827"/>
                  </a:cubicBezTo>
                  <a:cubicBezTo>
                    <a:pt x="330550" y="194642"/>
                    <a:pt x="275241" y="217539"/>
                    <a:pt x="217539" y="217539"/>
                  </a:cubicBezTo>
                  <a:cubicBezTo>
                    <a:pt x="159836"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4" y="322066"/>
                    <a:pt x="371365" y="281277"/>
                  </a:cubicBezTo>
                  <a:cubicBezTo>
                    <a:pt x="330550" y="240462"/>
                    <a:pt x="275241" y="217539"/>
                    <a:pt x="217539" y="217539"/>
                  </a:cubicBezTo>
                  <a:cubicBezTo>
                    <a:pt x="159836" y="217539"/>
                    <a:pt x="104501" y="240462"/>
                    <a:pt x="63712" y="281277"/>
                  </a:cubicBezTo>
                  <a:close/>
                </a:path>
              </a:pathLst>
            </a:custGeom>
            <a:grpFill/>
            <a:ln w="27192" cap="flat">
              <a:noFill/>
              <a:prstDash val="solid"/>
              <a:miter/>
            </a:ln>
          </p:spPr>
          <p:txBody>
            <a:bodyPr rtlCol="0" anchor="ctr"/>
            <a:lstStyle/>
            <a:p>
              <a:endParaRPr lang="uk-UA" sz="900"/>
            </a:p>
          </p:txBody>
        </p:sp>
        <p:sp>
          <p:nvSpPr>
            <p:cNvPr id="374" name="Freeform: Shape 373">
              <a:extLst>
                <a:ext uri="{FF2B5EF4-FFF2-40B4-BE49-F238E27FC236}">
                  <a16:creationId xmlns:a16="http://schemas.microsoft.com/office/drawing/2014/main" id="{5A0DC31C-E80B-1C12-1657-A1E02C59219C}"/>
                </a:ext>
              </a:extLst>
            </p:cNvPr>
            <p:cNvSpPr/>
            <p:nvPr/>
          </p:nvSpPr>
          <p:spPr>
            <a:xfrm>
              <a:off x="21719702" y="9800303"/>
              <a:ext cx="435077" cy="435077"/>
            </a:xfrm>
            <a:custGeom>
              <a:avLst/>
              <a:gdLst>
                <a:gd name="connsiteX0" fmla="*/ 0 w 435077"/>
                <a:gd name="connsiteY0" fmla="*/ 435077 h 435077"/>
                <a:gd name="connsiteX1" fmla="*/ 0 w 435077"/>
                <a:gd name="connsiteY1" fmla="*/ 0 h 435077"/>
                <a:gd name="connsiteX2" fmla="*/ 217512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12"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375" name="Freeform: Shape 374">
              <a:extLst>
                <a:ext uri="{FF2B5EF4-FFF2-40B4-BE49-F238E27FC236}">
                  <a16:creationId xmlns:a16="http://schemas.microsoft.com/office/drawing/2014/main" id="{3C27C920-FCCA-BF92-46BF-FDBAEC6F6DF2}"/>
                </a:ext>
              </a:extLst>
            </p:cNvPr>
            <p:cNvSpPr/>
            <p:nvPr/>
          </p:nvSpPr>
          <p:spPr>
            <a:xfrm>
              <a:off x="20849520" y="980030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5 w 435077"/>
                <a:gd name="connsiteY3" fmla="*/ 27 h 435077"/>
                <a:gd name="connsiteX4" fmla="*/ 435077 w 435077"/>
                <a:gd name="connsiteY4" fmla="*/ 217566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5" y="27"/>
                  </a:lnTo>
                  <a:lnTo>
                    <a:pt x="435077" y="217566"/>
                  </a:lnTo>
                  <a:lnTo>
                    <a:pt x="217565"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376" name="Freeform: Shape 375">
              <a:extLst>
                <a:ext uri="{FF2B5EF4-FFF2-40B4-BE49-F238E27FC236}">
                  <a16:creationId xmlns:a16="http://schemas.microsoft.com/office/drawing/2014/main" id="{C73EF426-8571-AEAE-F4F5-6102AA4B6FA2}"/>
                </a:ext>
              </a:extLst>
            </p:cNvPr>
            <p:cNvSpPr/>
            <p:nvPr/>
          </p:nvSpPr>
          <p:spPr>
            <a:xfrm>
              <a:off x="22589856" y="9800303"/>
              <a:ext cx="435077" cy="435077"/>
            </a:xfrm>
            <a:custGeom>
              <a:avLst/>
              <a:gdLst>
                <a:gd name="connsiteX0" fmla="*/ 435077 w 435077"/>
                <a:gd name="connsiteY0" fmla="*/ 435077 h 435077"/>
                <a:gd name="connsiteX1" fmla="*/ 435077 w 435077"/>
                <a:gd name="connsiteY1" fmla="*/ 0 h 435077"/>
                <a:gd name="connsiteX2" fmla="*/ 217567 w 435077"/>
                <a:gd name="connsiteY2" fmla="*/ 217566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7" y="217566"/>
                  </a:lnTo>
                  <a:lnTo>
                    <a:pt x="435077" y="435077"/>
                  </a:lnTo>
                  <a:close/>
                  <a:moveTo>
                    <a:pt x="0" y="435077"/>
                  </a:moveTo>
                  <a:lnTo>
                    <a:pt x="0" y="0"/>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377" name="Freeform: Shape 376">
              <a:extLst>
                <a:ext uri="{FF2B5EF4-FFF2-40B4-BE49-F238E27FC236}">
                  <a16:creationId xmlns:a16="http://schemas.microsoft.com/office/drawing/2014/main" id="{C4BEA6BF-B7EB-3FC9-7F3E-F9EE243E16B6}"/>
                </a:ext>
              </a:extLst>
            </p:cNvPr>
            <p:cNvSpPr/>
            <p:nvPr/>
          </p:nvSpPr>
          <p:spPr>
            <a:xfrm>
              <a:off x="23460039" y="980030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895" y="113039"/>
                    <a:pt x="0" y="57702"/>
                    <a:pt x="0" y="0"/>
                  </a:cubicBezTo>
                  <a:lnTo>
                    <a:pt x="217539" y="0"/>
                  </a:lnTo>
                  <a:lnTo>
                    <a:pt x="435077" y="0"/>
                  </a:lnTo>
                  <a:cubicBezTo>
                    <a:pt x="435077" y="57702"/>
                    <a:pt x="412154" y="113039"/>
                    <a:pt x="371339" y="153827"/>
                  </a:cubicBezTo>
                  <a:cubicBezTo>
                    <a:pt x="330550" y="194642"/>
                    <a:pt x="275213" y="217539"/>
                    <a:pt x="217539" y="217539"/>
                  </a:cubicBezTo>
                  <a:cubicBezTo>
                    <a:pt x="159836" y="217539"/>
                    <a:pt x="104501" y="194642"/>
                    <a:pt x="63712" y="153827"/>
                  </a:cubicBezTo>
                  <a:close/>
                  <a:moveTo>
                    <a:pt x="63712" y="281277"/>
                  </a:moveTo>
                  <a:cubicBezTo>
                    <a:pt x="22895" y="322066"/>
                    <a:pt x="0" y="377402"/>
                    <a:pt x="0" y="435077"/>
                  </a:cubicBezTo>
                  <a:lnTo>
                    <a:pt x="217539" y="435077"/>
                  </a:lnTo>
                  <a:lnTo>
                    <a:pt x="435077" y="435077"/>
                  </a:lnTo>
                  <a:cubicBezTo>
                    <a:pt x="435077" y="377402"/>
                    <a:pt x="412154" y="322066"/>
                    <a:pt x="371339" y="281277"/>
                  </a:cubicBezTo>
                  <a:cubicBezTo>
                    <a:pt x="330550" y="240462"/>
                    <a:pt x="275213" y="217539"/>
                    <a:pt x="217539" y="217539"/>
                  </a:cubicBezTo>
                  <a:cubicBezTo>
                    <a:pt x="159836" y="217539"/>
                    <a:pt x="104501" y="240462"/>
                    <a:pt x="63712" y="281277"/>
                  </a:cubicBezTo>
                  <a:close/>
                </a:path>
              </a:pathLst>
            </a:custGeom>
            <a:grpFill/>
            <a:ln w="27192" cap="flat">
              <a:noFill/>
              <a:prstDash val="solid"/>
              <a:miter/>
            </a:ln>
          </p:spPr>
          <p:txBody>
            <a:bodyPr rtlCol="0" anchor="ctr"/>
            <a:lstStyle/>
            <a:p>
              <a:endParaRPr lang="uk-UA" sz="900"/>
            </a:p>
          </p:txBody>
        </p:sp>
        <p:sp>
          <p:nvSpPr>
            <p:cNvPr id="378" name="Freeform: Shape 377">
              <a:extLst>
                <a:ext uri="{FF2B5EF4-FFF2-40B4-BE49-F238E27FC236}">
                  <a16:creationId xmlns:a16="http://schemas.microsoft.com/office/drawing/2014/main" id="{F32324A6-9039-BA56-3502-7C747257D54E}"/>
                </a:ext>
              </a:extLst>
            </p:cNvPr>
            <p:cNvSpPr/>
            <p:nvPr/>
          </p:nvSpPr>
          <p:spPr>
            <a:xfrm>
              <a:off x="24330194" y="980030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379" name="Freeform: Shape 378">
              <a:extLst>
                <a:ext uri="{FF2B5EF4-FFF2-40B4-BE49-F238E27FC236}">
                  <a16:creationId xmlns:a16="http://schemas.microsoft.com/office/drawing/2014/main" id="{70BFB394-5AB7-6702-2236-C97A168FFAB1}"/>
                </a:ext>
              </a:extLst>
            </p:cNvPr>
            <p:cNvSpPr/>
            <p:nvPr/>
          </p:nvSpPr>
          <p:spPr>
            <a:xfrm>
              <a:off x="835742" y="1067045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380" name="Freeform: Shape 379">
              <a:extLst>
                <a:ext uri="{FF2B5EF4-FFF2-40B4-BE49-F238E27FC236}">
                  <a16:creationId xmlns:a16="http://schemas.microsoft.com/office/drawing/2014/main" id="{B034BCB1-386B-A2BA-1D28-6354FCC420EB}"/>
                </a:ext>
              </a:extLst>
            </p:cNvPr>
            <p:cNvSpPr/>
            <p:nvPr/>
          </p:nvSpPr>
          <p:spPr>
            <a:xfrm>
              <a:off x="-34407" y="10670458"/>
              <a:ext cx="435072" cy="435077"/>
            </a:xfrm>
            <a:custGeom>
              <a:avLst/>
              <a:gdLst>
                <a:gd name="connsiteX0" fmla="*/ 371360 w 435072"/>
                <a:gd name="connsiteY0" fmla="*/ 63739 h 435077"/>
                <a:gd name="connsiteX1" fmla="*/ 435072 w 435072"/>
                <a:gd name="connsiteY1" fmla="*/ 217539 h 435077"/>
                <a:gd name="connsiteX2" fmla="*/ 217724 w 435072"/>
                <a:gd name="connsiteY2" fmla="*/ 217539 h 435077"/>
                <a:gd name="connsiteX3" fmla="*/ 371360 w 435072"/>
                <a:gd name="connsiteY3" fmla="*/ 281277 h 435077"/>
                <a:gd name="connsiteX4" fmla="*/ 435072 w 435072"/>
                <a:gd name="connsiteY4" fmla="*/ 435077 h 435077"/>
                <a:gd name="connsiteX5" fmla="*/ 217533 w 435072"/>
                <a:gd name="connsiteY5" fmla="*/ 435077 h 435077"/>
                <a:gd name="connsiteX6" fmla="*/ 5 w 435072"/>
                <a:gd name="connsiteY6" fmla="*/ 435077 h 435077"/>
                <a:gd name="connsiteX7" fmla="*/ 63720 w 435072"/>
                <a:gd name="connsiteY7" fmla="*/ 281277 h 435077"/>
                <a:gd name="connsiteX8" fmla="*/ 217370 w 435072"/>
                <a:gd name="connsiteY8" fmla="*/ 217539 h 435077"/>
                <a:gd name="connsiteX9" fmla="*/ 0 w 435072"/>
                <a:gd name="connsiteY9" fmla="*/ 217539 h 435077"/>
                <a:gd name="connsiteX10" fmla="*/ 63717 w 435072"/>
                <a:gd name="connsiteY10" fmla="*/ 63739 h 435077"/>
                <a:gd name="connsiteX11" fmla="*/ 217533 w 435072"/>
                <a:gd name="connsiteY11" fmla="*/ 0 h 435077"/>
                <a:gd name="connsiteX12" fmla="*/ 371360 w 435072"/>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2" h="435077">
                  <a:moveTo>
                    <a:pt x="371360" y="63739"/>
                  </a:moveTo>
                  <a:cubicBezTo>
                    <a:pt x="412149" y="104527"/>
                    <a:pt x="435072" y="159864"/>
                    <a:pt x="435072" y="217539"/>
                  </a:cubicBezTo>
                  <a:lnTo>
                    <a:pt x="217724" y="217539"/>
                  </a:lnTo>
                  <a:cubicBezTo>
                    <a:pt x="275344" y="217593"/>
                    <a:pt x="330599" y="240516"/>
                    <a:pt x="371360" y="281277"/>
                  </a:cubicBezTo>
                  <a:cubicBezTo>
                    <a:pt x="412176" y="322066"/>
                    <a:pt x="435072" y="377402"/>
                    <a:pt x="435072" y="435077"/>
                  </a:cubicBezTo>
                  <a:lnTo>
                    <a:pt x="217533" y="435077"/>
                  </a:lnTo>
                  <a:lnTo>
                    <a:pt x="5" y="435077"/>
                  </a:lnTo>
                  <a:cubicBezTo>
                    <a:pt x="5" y="377402"/>
                    <a:pt x="22923" y="322066"/>
                    <a:pt x="63720" y="281277"/>
                  </a:cubicBezTo>
                  <a:cubicBezTo>
                    <a:pt x="104476" y="240516"/>
                    <a:pt x="159750" y="217593"/>
                    <a:pt x="217370" y="217539"/>
                  </a:cubicBezTo>
                  <a:lnTo>
                    <a:pt x="0" y="217539"/>
                  </a:lnTo>
                  <a:cubicBezTo>
                    <a:pt x="0" y="159864"/>
                    <a:pt x="22921" y="104527"/>
                    <a:pt x="63717" y="63739"/>
                  </a:cubicBezTo>
                  <a:cubicBezTo>
                    <a:pt x="104514" y="22923"/>
                    <a:pt x="159858" y="0"/>
                    <a:pt x="217533" y="0"/>
                  </a:cubicBezTo>
                  <a:cubicBezTo>
                    <a:pt x="275236" y="0"/>
                    <a:pt x="330572" y="22923"/>
                    <a:pt x="371360" y="63739"/>
                  </a:cubicBezTo>
                  <a:close/>
                </a:path>
              </a:pathLst>
            </a:custGeom>
            <a:grpFill/>
            <a:ln w="27192" cap="flat">
              <a:noFill/>
              <a:prstDash val="solid"/>
              <a:miter/>
            </a:ln>
          </p:spPr>
          <p:txBody>
            <a:bodyPr rtlCol="0" anchor="ctr"/>
            <a:lstStyle/>
            <a:p>
              <a:endParaRPr lang="uk-UA" sz="900"/>
            </a:p>
          </p:txBody>
        </p:sp>
        <p:sp>
          <p:nvSpPr>
            <p:cNvPr id="381" name="Freeform: Shape 380">
              <a:extLst>
                <a:ext uri="{FF2B5EF4-FFF2-40B4-BE49-F238E27FC236}">
                  <a16:creationId xmlns:a16="http://schemas.microsoft.com/office/drawing/2014/main" id="{4D8FD069-92D8-39E4-3DC7-D4258C053DAE}"/>
                </a:ext>
              </a:extLst>
            </p:cNvPr>
            <p:cNvSpPr/>
            <p:nvPr/>
          </p:nvSpPr>
          <p:spPr>
            <a:xfrm>
              <a:off x="1705924" y="1067045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382" name="Freeform: Shape 381">
              <a:extLst>
                <a:ext uri="{FF2B5EF4-FFF2-40B4-BE49-F238E27FC236}">
                  <a16:creationId xmlns:a16="http://schemas.microsoft.com/office/drawing/2014/main" id="{827CF896-C0CE-0853-886D-F8B905F9CECD}"/>
                </a:ext>
              </a:extLst>
            </p:cNvPr>
            <p:cNvSpPr/>
            <p:nvPr/>
          </p:nvSpPr>
          <p:spPr>
            <a:xfrm>
              <a:off x="2576079" y="10670458"/>
              <a:ext cx="435104" cy="435077"/>
            </a:xfrm>
            <a:custGeom>
              <a:avLst/>
              <a:gdLst>
                <a:gd name="connsiteX0" fmla="*/ 217539 w 435104"/>
                <a:gd name="connsiteY0" fmla="*/ 0 h 435077"/>
                <a:gd name="connsiteX1" fmla="*/ 0 w 435104"/>
                <a:gd name="connsiteY1" fmla="*/ 0 h 435077"/>
                <a:gd name="connsiteX2" fmla="*/ 0 w 435104"/>
                <a:gd name="connsiteY2" fmla="*/ 217539 h 435077"/>
                <a:gd name="connsiteX3" fmla="*/ 217539 w 435104"/>
                <a:gd name="connsiteY3" fmla="*/ 0 h 435077"/>
                <a:gd name="connsiteX4" fmla="*/ 435104 w 435104"/>
                <a:gd name="connsiteY4" fmla="*/ 0 h 435077"/>
                <a:gd name="connsiteX5" fmla="*/ 435104 w 435104"/>
                <a:gd name="connsiteY5" fmla="*/ 217539 h 435077"/>
                <a:gd name="connsiteX6" fmla="*/ 217566 w 435104"/>
                <a:gd name="connsiteY6" fmla="*/ 0 h 435077"/>
                <a:gd name="connsiteX7" fmla="*/ 435104 w 435104"/>
                <a:gd name="connsiteY7" fmla="*/ 0 h 435077"/>
                <a:gd name="connsiteX8" fmla="*/ 217566 w 435104"/>
                <a:gd name="connsiteY8" fmla="*/ 435077 h 435077"/>
                <a:gd name="connsiteX9" fmla="*/ 435104 w 435104"/>
                <a:gd name="connsiteY9" fmla="*/ 217539 h 435077"/>
                <a:gd name="connsiteX10" fmla="*/ 435104 w 435104"/>
                <a:gd name="connsiteY10" fmla="*/ 435077 h 435077"/>
                <a:gd name="connsiteX11" fmla="*/ 217566 w 435104"/>
                <a:gd name="connsiteY11" fmla="*/ 435077 h 435077"/>
                <a:gd name="connsiteX12" fmla="*/ 217566 w 435104"/>
                <a:gd name="connsiteY12" fmla="*/ 435077 h 435077"/>
                <a:gd name="connsiteX13" fmla="*/ 27 w 435104"/>
                <a:gd name="connsiteY13" fmla="*/ 217539 h 435077"/>
                <a:gd name="connsiteX14" fmla="*/ 27 w 435104"/>
                <a:gd name="connsiteY14" fmla="*/ 435077 h 435077"/>
                <a:gd name="connsiteX15" fmla="*/ 217566 w 435104"/>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4" h="435077">
                  <a:moveTo>
                    <a:pt x="217539" y="0"/>
                  </a:moveTo>
                  <a:lnTo>
                    <a:pt x="0" y="0"/>
                  </a:lnTo>
                  <a:lnTo>
                    <a:pt x="0" y="217539"/>
                  </a:lnTo>
                  <a:lnTo>
                    <a:pt x="217539" y="0"/>
                  </a:lnTo>
                  <a:close/>
                  <a:moveTo>
                    <a:pt x="435104" y="0"/>
                  </a:moveTo>
                  <a:lnTo>
                    <a:pt x="435104" y="217539"/>
                  </a:lnTo>
                  <a:lnTo>
                    <a:pt x="217566" y="0"/>
                  </a:lnTo>
                  <a:lnTo>
                    <a:pt x="435104" y="0"/>
                  </a:lnTo>
                  <a:close/>
                  <a:moveTo>
                    <a:pt x="217566" y="435077"/>
                  </a:moveTo>
                  <a:lnTo>
                    <a:pt x="435104" y="217539"/>
                  </a:lnTo>
                  <a:lnTo>
                    <a:pt x="435104" y="435077"/>
                  </a:lnTo>
                  <a:lnTo>
                    <a:pt x="217566" y="435077"/>
                  </a:lnTo>
                  <a:close/>
                  <a:moveTo>
                    <a:pt x="217566" y="435077"/>
                  </a:moveTo>
                  <a:lnTo>
                    <a:pt x="27" y="217539"/>
                  </a:lnTo>
                  <a:lnTo>
                    <a:pt x="27" y="435077"/>
                  </a:lnTo>
                  <a:lnTo>
                    <a:pt x="217566" y="435077"/>
                  </a:lnTo>
                  <a:close/>
                </a:path>
              </a:pathLst>
            </a:custGeom>
            <a:grpFill/>
            <a:ln w="27192" cap="flat">
              <a:noFill/>
              <a:prstDash val="solid"/>
              <a:miter/>
            </a:ln>
          </p:spPr>
          <p:txBody>
            <a:bodyPr rtlCol="0" anchor="ctr"/>
            <a:lstStyle/>
            <a:p>
              <a:endParaRPr lang="uk-UA" sz="900"/>
            </a:p>
          </p:txBody>
        </p:sp>
        <p:sp>
          <p:nvSpPr>
            <p:cNvPr id="383" name="Freeform: Shape 382">
              <a:extLst>
                <a:ext uri="{FF2B5EF4-FFF2-40B4-BE49-F238E27FC236}">
                  <a16:creationId xmlns:a16="http://schemas.microsoft.com/office/drawing/2014/main" id="{51ED0B3C-09F4-E896-4E67-A8899521D2AB}"/>
                </a:ext>
              </a:extLst>
            </p:cNvPr>
            <p:cNvSpPr/>
            <p:nvPr/>
          </p:nvSpPr>
          <p:spPr>
            <a:xfrm>
              <a:off x="4316416" y="1067045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384" name="Freeform: Shape 383">
              <a:extLst>
                <a:ext uri="{FF2B5EF4-FFF2-40B4-BE49-F238E27FC236}">
                  <a16:creationId xmlns:a16="http://schemas.microsoft.com/office/drawing/2014/main" id="{50EF2D02-0FCF-824D-55F2-062690E2295E}"/>
                </a:ext>
              </a:extLst>
            </p:cNvPr>
            <p:cNvSpPr/>
            <p:nvPr/>
          </p:nvSpPr>
          <p:spPr>
            <a:xfrm>
              <a:off x="3446261" y="10670458"/>
              <a:ext cx="435077" cy="435077"/>
            </a:xfrm>
            <a:custGeom>
              <a:avLst/>
              <a:gdLst>
                <a:gd name="connsiteX0" fmla="*/ 371366 w 435077"/>
                <a:gd name="connsiteY0" fmla="*/ 63739 h 435077"/>
                <a:gd name="connsiteX1" fmla="*/ 435077 w 435077"/>
                <a:gd name="connsiteY1" fmla="*/ 217539 h 435077"/>
                <a:gd name="connsiteX2" fmla="*/ 217702 w 435077"/>
                <a:gd name="connsiteY2" fmla="*/ 217539 h 435077"/>
                <a:gd name="connsiteX3" fmla="*/ 371366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6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39"/>
                  </a:moveTo>
                  <a:cubicBezTo>
                    <a:pt x="412154" y="104527"/>
                    <a:pt x="435077" y="159864"/>
                    <a:pt x="435077" y="217539"/>
                  </a:cubicBezTo>
                  <a:lnTo>
                    <a:pt x="217702" y="217539"/>
                  </a:lnTo>
                  <a:cubicBezTo>
                    <a:pt x="275350" y="217593"/>
                    <a:pt x="330605" y="240516"/>
                    <a:pt x="371366" y="281277"/>
                  </a:cubicBezTo>
                  <a:cubicBezTo>
                    <a:pt x="412154" y="322066"/>
                    <a:pt x="435077" y="377402"/>
                    <a:pt x="435077" y="435077"/>
                  </a:cubicBezTo>
                  <a:lnTo>
                    <a:pt x="217539" y="435077"/>
                  </a:lnTo>
                  <a:lnTo>
                    <a:pt x="0" y="435077"/>
                  </a:lnTo>
                  <a:cubicBezTo>
                    <a:pt x="0" y="377402"/>
                    <a:pt x="22923" y="322066"/>
                    <a:pt x="63712" y="281277"/>
                  </a:cubicBezTo>
                  <a:cubicBezTo>
                    <a:pt x="104473" y="240516"/>
                    <a:pt x="159728" y="217593"/>
                    <a:pt x="217376" y="217539"/>
                  </a:cubicBezTo>
                  <a:lnTo>
                    <a:pt x="0" y="217539"/>
                  </a:lnTo>
                  <a:cubicBezTo>
                    <a:pt x="0" y="159864"/>
                    <a:pt x="22923" y="104527"/>
                    <a:pt x="63712" y="63739"/>
                  </a:cubicBezTo>
                  <a:cubicBezTo>
                    <a:pt x="104500" y="22923"/>
                    <a:pt x="159837" y="0"/>
                    <a:pt x="217539" y="0"/>
                  </a:cubicBezTo>
                  <a:cubicBezTo>
                    <a:pt x="275241" y="0"/>
                    <a:pt x="330577" y="22923"/>
                    <a:pt x="371366" y="63739"/>
                  </a:cubicBezTo>
                  <a:close/>
                </a:path>
              </a:pathLst>
            </a:custGeom>
            <a:grpFill/>
            <a:ln w="27192" cap="flat">
              <a:noFill/>
              <a:prstDash val="solid"/>
              <a:miter/>
            </a:ln>
          </p:spPr>
          <p:txBody>
            <a:bodyPr rtlCol="0" anchor="ctr"/>
            <a:lstStyle/>
            <a:p>
              <a:endParaRPr lang="uk-UA" sz="900"/>
            </a:p>
          </p:txBody>
        </p:sp>
        <p:sp>
          <p:nvSpPr>
            <p:cNvPr id="385" name="Freeform: Shape 384">
              <a:extLst>
                <a:ext uri="{FF2B5EF4-FFF2-40B4-BE49-F238E27FC236}">
                  <a16:creationId xmlns:a16="http://schemas.microsoft.com/office/drawing/2014/main" id="{6293BA9C-B61F-E403-1D17-8873A39E0AFC}"/>
                </a:ext>
              </a:extLst>
            </p:cNvPr>
            <p:cNvSpPr/>
            <p:nvPr/>
          </p:nvSpPr>
          <p:spPr>
            <a:xfrm>
              <a:off x="5186597" y="10670458"/>
              <a:ext cx="435077" cy="435104"/>
            </a:xfrm>
            <a:custGeom>
              <a:avLst/>
              <a:gdLst>
                <a:gd name="connsiteX0" fmla="*/ 0 w 435077"/>
                <a:gd name="connsiteY0" fmla="*/ 435077 h 435104"/>
                <a:gd name="connsiteX1" fmla="*/ 217512 w 435077"/>
                <a:gd name="connsiteY1" fmla="*/ 435077 h 435104"/>
                <a:gd name="connsiteX2" fmla="*/ 217512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12" y="435077"/>
                  </a:lnTo>
                  <a:lnTo>
                    <a:pt x="217512"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386" name="Freeform: Shape 385">
              <a:extLst>
                <a:ext uri="{FF2B5EF4-FFF2-40B4-BE49-F238E27FC236}">
                  <a16:creationId xmlns:a16="http://schemas.microsoft.com/office/drawing/2014/main" id="{A54C1E27-6881-46CF-E7C8-03E26F09E03B}"/>
                </a:ext>
              </a:extLst>
            </p:cNvPr>
            <p:cNvSpPr/>
            <p:nvPr/>
          </p:nvSpPr>
          <p:spPr>
            <a:xfrm>
              <a:off x="6056752" y="10670458"/>
              <a:ext cx="435077" cy="435077"/>
            </a:xfrm>
            <a:custGeom>
              <a:avLst/>
              <a:gdLst>
                <a:gd name="connsiteX0" fmla="*/ 217539 w 435077"/>
                <a:gd name="connsiteY0" fmla="*/ 0 h 435077"/>
                <a:gd name="connsiteX1" fmla="*/ 217539 w 435077"/>
                <a:gd name="connsiteY1" fmla="*/ 0 h 435077"/>
                <a:gd name="connsiteX2" fmla="*/ 0 w 435077"/>
                <a:gd name="connsiteY2" fmla="*/ 0 h 435077"/>
                <a:gd name="connsiteX3" fmla="*/ 0 w 435077"/>
                <a:gd name="connsiteY3" fmla="*/ 217539 h 435077"/>
                <a:gd name="connsiteX4" fmla="*/ 217539 w 435077"/>
                <a:gd name="connsiteY4" fmla="*/ 27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217539" y="0"/>
                  </a:lnTo>
                  <a:lnTo>
                    <a:pt x="0" y="0"/>
                  </a:lnTo>
                  <a:lnTo>
                    <a:pt x="0" y="217539"/>
                  </a:lnTo>
                  <a:lnTo>
                    <a:pt x="217539" y="27"/>
                  </a:lnTo>
                  <a:lnTo>
                    <a:pt x="435077" y="217539"/>
                  </a:lnTo>
                  <a:lnTo>
                    <a:pt x="217539" y="435077"/>
                  </a:lnTo>
                  <a:lnTo>
                    <a:pt x="0" y="217539"/>
                  </a:lnTo>
                  <a:lnTo>
                    <a:pt x="0" y="435077"/>
                  </a:lnTo>
                  <a:lnTo>
                    <a:pt x="217539" y="435077"/>
                  </a:lnTo>
                  <a:lnTo>
                    <a:pt x="435077" y="435077"/>
                  </a:lnTo>
                  <a:lnTo>
                    <a:pt x="435077" y="217539"/>
                  </a:lnTo>
                  <a:lnTo>
                    <a:pt x="435077" y="0"/>
                  </a:lnTo>
                  <a:lnTo>
                    <a:pt x="217539" y="0"/>
                  </a:lnTo>
                  <a:close/>
                </a:path>
              </a:pathLst>
            </a:custGeom>
            <a:grpFill/>
            <a:ln w="27192" cap="flat">
              <a:noFill/>
              <a:prstDash val="solid"/>
              <a:miter/>
            </a:ln>
          </p:spPr>
          <p:txBody>
            <a:bodyPr rtlCol="0" anchor="ctr"/>
            <a:lstStyle/>
            <a:p>
              <a:endParaRPr lang="uk-UA" sz="900"/>
            </a:p>
          </p:txBody>
        </p:sp>
        <p:sp>
          <p:nvSpPr>
            <p:cNvPr id="387" name="Freeform: Shape 386">
              <a:extLst>
                <a:ext uri="{FF2B5EF4-FFF2-40B4-BE49-F238E27FC236}">
                  <a16:creationId xmlns:a16="http://schemas.microsoft.com/office/drawing/2014/main" id="{FDC0972F-E229-5A4A-CBE3-A81A3D324632}"/>
                </a:ext>
              </a:extLst>
            </p:cNvPr>
            <p:cNvSpPr/>
            <p:nvPr/>
          </p:nvSpPr>
          <p:spPr>
            <a:xfrm>
              <a:off x="7797062" y="10670458"/>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27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66 h 435077"/>
                <a:gd name="connsiteX9" fmla="*/ 435077 w 435077"/>
                <a:gd name="connsiteY9" fmla="*/ 217566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27"/>
                  </a:lnTo>
                  <a:lnTo>
                    <a:pt x="435077" y="217539"/>
                  </a:lnTo>
                  <a:lnTo>
                    <a:pt x="435077" y="217539"/>
                  </a:lnTo>
                  <a:lnTo>
                    <a:pt x="435077" y="217539"/>
                  </a:lnTo>
                  <a:lnTo>
                    <a:pt x="435077" y="217566"/>
                  </a:lnTo>
                  <a:lnTo>
                    <a:pt x="435077" y="217566"/>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388" name="Freeform: Shape 387">
              <a:extLst>
                <a:ext uri="{FF2B5EF4-FFF2-40B4-BE49-F238E27FC236}">
                  <a16:creationId xmlns:a16="http://schemas.microsoft.com/office/drawing/2014/main" id="{B94F97B9-B0D4-D551-E9CC-9B8E4914C29C}"/>
                </a:ext>
              </a:extLst>
            </p:cNvPr>
            <p:cNvSpPr/>
            <p:nvPr/>
          </p:nvSpPr>
          <p:spPr>
            <a:xfrm>
              <a:off x="6926907" y="10670458"/>
              <a:ext cx="435077" cy="435077"/>
            </a:xfrm>
            <a:custGeom>
              <a:avLst/>
              <a:gdLst>
                <a:gd name="connsiteX0" fmla="*/ 371366 w 435077"/>
                <a:gd name="connsiteY0" fmla="*/ 63739 h 435077"/>
                <a:gd name="connsiteX1" fmla="*/ 435077 w 435077"/>
                <a:gd name="connsiteY1" fmla="*/ 217539 h 435077"/>
                <a:gd name="connsiteX2" fmla="*/ 217702 w 435077"/>
                <a:gd name="connsiteY2" fmla="*/ 217539 h 435077"/>
                <a:gd name="connsiteX3" fmla="*/ 371366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6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39"/>
                  </a:moveTo>
                  <a:cubicBezTo>
                    <a:pt x="412155" y="104527"/>
                    <a:pt x="435077" y="159864"/>
                    <a:pt x="435077" y="217539"/>
                  </a:cubicBezTo>
                  <a:lnTo>
                    <a:pt x="217702" y="217539"/>
                  </a:lnTo>
                  <a:cubicBezTo>
                    <a:pt x="275350" y="217593"/>
                    <a:pt x="330605" y="240516"/>
                    <a:pt x="371366" y="281277"/>
                  </a:cubicBezTo>
                  <a:cubicBezTo>
                    <a:pt x="412155" y="322066"/>
                    <a:pt x="435077" y="377402"/>
                    <a:pt x="435077" y="435077"/>
                  </a:cubicBezTo>
                  <a:lnTo>
                    <a:pt x="217539" y="435077"/>
                  </a:lnTo>
                  <a:lnTo>
                    <a:pt x="0" y="435077"/>
                  </a:lnTo>
                  <a:cubicBezTo>
                    <a:pt x="0" y="377402"/>
                    <a:pt x="22924" y="322066"/>
                    <a:pt x="63712" y="281277"/>
                  </a:cubicBezTo>
                  <a:cubicBezTo>
                    <a:pt x="104473" y="240516"/>
                    <a:pt x="159728" y="217593"/>
                    <a:pt x="217376" y="217539"/>
                  </a:cubicBezTo>
                  <a:lnTo>
                    <a:pt x="0" y="217539"/>
                  </a:lnTo>
                  <a:cubicBezTo>
                    <a:pt x="0" y="159864"/>
                    <a:pt x="22924" y="104527"/>
                    <a:pt x="63712" y="63739"/>
                  </a:cubicBezTo>
                  <a:cubicBezTo>
                    <a:pt x="104501" y="22923"/>
                    <a:pt x="159837" y="0"/>
                    <a:pt x="217539" y="0"/>
                  </a:cubicBezTo>
                  <a:cubicBezTo>
                    <a:pt x="275241" y="0"/>
                    <a:pt x="330550" y="22923"/>
                    <a:pt x="371366" y="63739"/>
                  </a:cubicBezTo>
                  <a:close/>
                </a:path>
              </a:pathLst>
            </a:custGeom>
            <a:grpFill/>
            <a:ln w="27192" cap="flat">
              <a:noFill/>
              <a:prstDash val="solid"/>
              <a:miter/>
            </a:ln>
          </p:spPr>
          <p:txBody>
            <a:bodyPr rtlCol="0" anchor="ctr"/>
            <a:lstStyle/>
            <a:p>
              <a:endParaRPr lang="uk-UA" sz="900"/>
            </a:p>
          </p:txBody>
        </p:sp>
        <p:sp>
          <p:nvSpPr>
            <p:cNvPr id="389" name="Freeform: Shape 388">
              <a:extLst>
                <a:ext uri="{FF2B5EF4-FFF2-40B4-BE49-F238E27FC236}">
                  <a16:creationId xmlns:a16="http://schemas.microsoft.com/office/drawing/2014/main" id="{BDBA9CA4-85E3-F4D3-2E35-8D86C1784837}"/>
                </a:ext>
              </a:extLst>
            </p:cNvPr>
            <p:cNvSpPr/>
            <p:nvPr/>
          </p:nvSpPr>
          <p:spPr>
            <a:xfrm>
              <a:off x="8667217" y="1067045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390" name="Freeform: Shape 389">
              <a:extLst>
                <a:ext uri="{FF2B5EF4-FFF2-40B4-BE49-F238E27FC236}">
                  <a16:creationId xmlns:a16="http://schemas.microsoft.com/office/drawing/2014/main" id="{E1D33914-8E7C-2420-122B-5ECBEA7D5029}"/>
                </a:ext>
              </a:extLst>
            </p:cNvPr>
            <p:cNvSpPr/>
            <p:nvPr/>
          </p:nvSpPr>
          <p:spPr>
            <a:xfrm>
              <a:off x="9537371" y="1067045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p>
          </p:txBody>
        </p:sp>
        <p:sp>
          <p:nvSpPr>
            <p:cNvPr id="391" name="Freeform: Shape 390">
              <a:extLst>
                <a:ext uri="{FF2B5EF4-FFF2-40B4-BE49-F238E27FC236}">
                  <a16:creationId xmlns:a16="http://schemas.microsoft.com/office/drawing/2014/main" id="{E5801374-B8ED-8BFB-B73C-DA3E4CD13079}"/>
                </a:ext>
              </a:extLst>
            </p:cNvPr>
            <p:cNvSpPr/>
            <p:nvPr/>
          </p:nvSpPr>
          <p:spPr>
            <a:xfrm>
              <a:off x="11277709" y="10670458"/>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27 h 435077"/>
                <a:gd name="connsiteX5" fmla="*/ 435049 w 435077"/>
                <a:gd name="connsiteY5" fmla="*/ 217539 h 435077"/>
                <a:gd name="connsiteX6" fmla="*/ 435077 w 435077"/>
                <a:gd name="connsiteY6" fmla="*/ 217539 h 435077"/>
                <a:gd name="connsiteX7" fmla="*/ 435049 w 435077"/>
                <a:gd name="connsiteY7" fmla="*/ 217539 h 435077"/>
                <a:gd name="connsiteX8" fmla="*/ 435077 w 435077"/>
                <a:gd name="connsiteY8" fmla="*/ 217566 h 435077"/>
                <a:gd name="connsiteX9" fmla="*/ 435049 w 435077"/>
                <a:gd name="connsiteY9" fmla="*/ 217566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27"/>
                  </a:lnTo>
                  <a:lnTo>
                    <a:pt x="435049" y="217539"/>
                  </a:lnTo>
                  <a:lnTo>
                    <a:pt x="435077" y="217539"/>
                  </a:lnTo>
                  <a:lnTo>
                    <a:pt x="435049" y="217539"/>
                  </a:lnTo>
                  <a:lnTo>
                    <a:pt x="435077" y="217566"/>
                  </a:lnTo>
                  <a:lnTo>
                    <a:pt x="435049" y="217566"/>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392" name="Freeform: Shape 391">
              <a:extLst>
                <a:ext uri="{FF2B5EF4-FFF2-40B4-BE49-F238E27FC236}">
                  <a16:creationId xmlns:a16="http://schemas.microsoft.com/office/drawing/2014/main" id="{2753ED4F-A856-7621-509E-1B3F03C70848}"/>
                </a:ext>
              </a:extLst>
            </p:cNvPr>
            <p:cNvSpPr/>
            <p:nvPr/>
          </p:nvSpPr>
          <p:spPr>
            <a:xfrm>
              <a:off x="10407526" y="10670458"/>
              <a:ext cx="435104" cy="435077"/>
            </a:xfrm>
            <a:custGeom>
              <a:avLst/>
              <a:gdLst>
                <a:gd name="connsiteX0" fmla="*/ 371366 w 435104"/>
                <a:gd name="connsiteY0" fmla="*/ 63739 h 435077"/>
                <a:gd name="connsiteX1" fmla="*/ 435077 w 435104"/>
                <a:gd name="connsiteY1" fmla="*/ 217539 h 435077"/>
                <a:gd name="connsiteX2" fmla="*/ 217730 w 435104"/>
                <a:gd name="connsiteY2" fmla="*/ 217539 h 435077"/>
                <a:gd name="connsiteX3" fmla="*/ 371366 w 435104"/>
                <a:gd name="connsiteY3" fmla="*/ 281277 h 435077"/>
                <a:gd name="connsiteX4" fmla="*/ 435105 w 435104"/>
                <a:gd name="connsiteY4" fmla="*/ 435077 h 435077"/>
                <a:gd name="connsiteX5" fmla="*/ 217566 w 435104"/>
                <a:gd name="connsiteY5" fmla="*/ 435077 h 435077"/>
                <a:gd name="connsiteX6" fmla="*/ 27 w 435104"/>
                <a:gd name="connsiteY6" fmla="*/ 435077 h 435077"/>
                <a:gd name="connsiteX7" fmla="*/ 63739 w 435104"/>
                <a:gd name="connsiteY7" fmla="*/ 281277 h 435077"/>
                <a:gd name="connsiteX8" fmla="*/ 217376 w 435104"/>
                <a:gd name="connsiteY8" fmla="*/ 217539 h 435077"/>
                <a:gd name="connsiteX9" fmla="*/ 0 w 435104"/>
                <a:gd name="connsiteY9" fmla="*/ 217539 h 435077"/>
                <a:gd name="connsiteX10" fmla="*/ 63739 w 435104"/>
                <a:gd name="connsiteY10" fmla="*/ 63739 h 435077"/>
                <a:gd name="connsiteX11" fmla="*/ 217539 w 435104"/>
                <a:gd name="connsiteY11" fmla="*/ 0 h 435077"/>
                <a:gd name="connsiteX12" fmla="*/ 371366 w 435104"/>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4" h="435077">
                  <a:moveTo>
                    <a:pt x="371366" y="63739"/>
                  </a:moveTo>
                  <a:cubicBezTo>
                    <a:pt x="412182" y="104527"/>
                    <a:pt x="435077" y="159864"/>
                    <a:pt x="435077" y="217539"/>
                  </a:cubicBezTo>
                  <a:lnTo>
                    <a:pt x="217730" y="217539"/>
                  </a:lnTo>
                  <a:cubicBezTo>
                    <a:pt x="275350" y="217593"/>
                    <a:pt x="330632" y="240516"/>
                    <a:pt x="371366" y="281277"/>
                  </a:cubicBezTo>
                  <a:cubicBezTo>
                    <a:pt x="412182" y="322066"/>
                    <a:pt x="435105" y="377402"/>
                    <a:pt x="435105" y="435077"/>
                  </a:cubicBezTo>
                  <a:lnTo>
                    <a:pt x="217566" y="435077"/>
                  </a:lnTo>
                  <a:lnTo>
                    <a:pt x="27" y="435077"/>
                  </a:lnTo>
                  <a:cubicBezTo>
                    <a:pt x="27" y="377402"/>
                    <a:pt x="22924" y="322066"/>
                    <a:pt x="63739" y="281277"/>
                  </a:cubicBezTo>
                  <a:cubicBezTo>
                    <a:pt x="104501" y="240516"/>
                    <a:pt x="159755" y="217593"/>
                    <a:pt x="217376" y="217539"/>
                  </a:cubicBezTo>
                  <a:lnTo>
                    <a:pt x="0" y="217539"/>
                  </a:lnTo>
                  <a:cubicBezTo>
                    <a:pt x="0" y="159864"/>
                    <a:pt x="22924" y="104527"/>
                    <a:pt x="63739" y="63739"/>
                  </a:cubicBezTo>
                  <a:cubicBezTo>
                    <a:pt x="104527" y="22923"/>
                    <a:pt x="159864" y="0"/>
                    <a:pt x="217539" y="0"/>
                  </a:cubicBezTo>
                  <a:cubicBezTo>
                    <a:pt x="275241" y="0"/>
                    <a:pt x="330578" y="22923"/>
                    <a:pt x="371366" y="63739"/>
                  </a:cubicBezTo>
                  <a:close/>
                </a:path>
              </a:pathLst>
            </a:custGeom>
            <a:grpFill/>
            <a:ln w="27192" cap="flat">
              <a:noFill/>
              <a:prstDash val="solid"/>
              <a:miter/>
            </a:ln>
          </p:spPr>
          <p:txBody>
            <a:bodyPr rtlCol="0" anchor="ctr"/>
            <a:lstStyle/>
            <a:p>
              <a:endParaRPr lang="uk-UA" sz="900"/>
            </a:p>
          </p:txBody>
        </p:sp>
        <p:sp>
          <p:nvSpPr>
            <p:cNvPr id="393" name="Freeform: Shape 392">
              <a:extLst>
                <a:ext uri="{FF2B5EF4-FFF2-40B4-BE49-F238E27FC236}">
                  <a16:creationId xmlns:a16="http://schemas.microsoft.com/office/drawing/2014/main" id="{0A9BE7A0-B5E9-B290-8352-8F9D90104F71}"/>
                </a:ext>
              </a:extLst>
            </p:cNvPr>
            <p:cNvSpPr/>
            <p:nvPr/>
          </p:nvSpPr>
          <p:spPr>
            <a:xfrm>
              <a:off x="12147864" y="1067045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394" name="Freeform: Shape 393">
              <a:extLst>
                <a:ext uri="{FF2B5EF4-FFF2-40B4-BE49-F238E27FC236}">
                  <a16:creationId xmlns:a16="http://schemas.microsoft.com/office/drawing/2014/main" id="{EFF82F05-FE29-7A31-88EC-976CF441E31E}"/>
                </a:ext>
              </a:extLst>
            </p:cNvPr>
            <p:cNvSpPr/>
            <p:nvPr/>
          </p:nvSpPr>
          <p:spPr>
            <a:xfrm>
              <a:off x="13018045" y="1067045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395" name="Freeform: Shape 394">
              <a:extLst>
                <a:ext uri="{FF2B5EF4-FFF2-40B4-BE49-F238E27FC236}">
                  <a16:creationId xmlns:a16="http://schemas.microsoft.com/office/drawing/2014/main" id="{E32639B7-007A-7017-5AB1-7C1E592DF21E}"/>
                </a:ext>
              </a:extLst>
            </p:cNvPr>
            <p:cNvSpPr/>
            <p:nvPr/>
          </p:nvSpPr>
          <p:spPr>
            <a:xfrm>
              <a:off x="14758328" y="1067045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396" name="Freeform: Shape 395">
              <a:extLst>
                <a:ext uri="{FF2B5EF4-FFF2-40B4-BE49-F238E27FC236}">
                  <a16:creationId xmlns:a16="http://schemas.microsoft.com/office/drawing/2014/main" id="{50E91624-7634-6A0E-D610-058220B2DD4E}"/>
                </a:ext>
              </a:extLst>
            </p:cNvPr>
            <p:cNvSpPr/>
            <p:nvPr/>
          </p:nvSpPr>
          <p:spPr>
            <a:xfrm>
              <a:off x="13888200" y="10670458"/>
              <a:ext cx="435077" cy="435077"/>
            </a:xfrm>
            <a:custGeom>
              <a:avLst/>
              <a:gdLst>
                <a:gd name="connsiteX0" fmla="*/ 371365 w 435077"/>
                <a:gd name="connsiteY0" fmla="*/ 63739 h 435077"/>
                <a:gd name="connsiteX1" fmla="*/ 435077 w 435077"/>
                <a:gd name="connsiteY1" fmla="*/ 217539 h 435077"/>
                <a:gd name="connsiteX2" fmla="*/ 217730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39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5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39"/>
                  </a:moveTo>
                  <a:cubicBezTo>
                    <a:pt x="412154" y="104527"/>
                    <a:pt x="435077" y="159864"/>
                    <a:pt x="435077" y="217539"/>
                  </a:cubicBezTo>
                  <a:lnTo>
                    <a:pt x="217730" y="217539"/>
                  </a:lnTo>
                  <a:cubicBezTo>
                    <a:pt x="275349" y="217593"/>
                    <a:pt x="330605" y="240516"/>
                    <a:pt x="371365" y="281277"/>
                  </a:cubicBezTo>
                  <a:cubicBezTo>
                    <a:pt x="412182" y="322066"/>
                    <a:pt x="435077" y="377402"/>
                    <a:pt x="435077" y="435077"/>
                  </a:cubicBezTo>
                  <a:lnTo>
                    <a:pt x="217539" y="435077"/>
                  </a:lnTo>
                  <a:lnTo>
                    <a:pt x="0" y="435077"/>
                  </a:lnTo>
                  <a:cubicBezTo>
                    <a:pt x="0" y="377402"/>
                    <a:pt x="22924" y="322066"/>
                    <a:pt x="63739" y="281277"/>
                  </a:cubicBezTo>
                  <a:cubicBezTo>
                    <a:pt x="104472" y="240516"/>
                    <a:pt x="159755" y="217593"/>
                    <a:pt x="217376" y="217539"/>
                  </a:cubicBezTo>
                  <a:lnTo>
                    <a:pt x="0" y="217539"/>
                  </a:lnTo>
                  <a:cubicBezTo>
                    <a:pt x="0" y="159864"/>
                    <a:pt x="22924" y="104527"/>
                    <a:pt x="63712" y="63739"/>
                  </a:cubicBezTo>
                  <a:cubicBezTo>
                    <a:pt x="104527" y="22923"/>
                    <a:pt x="159836" y="0"/>
                    <a:pt x="217539" y="0"/>
                  </a:cubicBezTo>
                  <a:cubicBezTo>
                    <a:pt x="275241" y="0"/>
                    <a:pt x="330577" y="22923"/>
                    <a:pt x="371365" y="63739"/>
                  </a:cubicBezTo>
                  <a:close/>
                </a:path>
              </a:pathLst>
            </a:custGeom>
            <a:grpFill/>
            <a:ln w="27192" cap="flat">
              <a:noFill/>
              <a:prstDash val="solid"/>
              <a:miter/>
            </a:ln>
          </p:spPr>
          <p:txBody>
            <a:bodyPr rtlCol="0" anchor="ctr"/>
            <a:lstStyle/>
            <a:p>
              <a:endParaRPr lang="uk-UA" sz="900"/>
            </a:p>
          </p:txBody>
        </p:sp>
        <p:sp>
          <p:nvSpPr>
            <p:cNvPr id="397" name="Freeform: Shape 396">
              <a:extLst>
                <a:ext uri="{FF2B5EF4-FFF2-40B4-BE49-F238E27FC236}">
                  <a16:creationId xmlns:a16="http://schemas.microsoft.com/office/drawing/2014/main" id="{350AB415-FB67-A75A-85C2-3F11108AC26D}"/>
                </a:ext>
              </a:extLst>
            </p:cNvPr>
            <p:cNvSpPr/>
            <p:nvPr/>
          </p:nvSpPr>
          <p:spPr>
            <a:xfrm>
              <a:off x="15628536" y="1067045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398" name="Freeform: Shape 397">
              <a:extLst>
                <a:ext uri="{FF2B5EF4-FFF2-40B4-BE49-F238E27FC236}">
                  <a16:creationId xmlns:a16="http://schemas.microsoft.com/office/drawing/2014/main" id="{780BC2BB-5CAF-7BD4-794C-58C07FA9AAE5}"/>
                </a:ext>
              </a:extLst>
            </p:cNvPr>
            <p:cNvSpPr/>
            <p:nvPr/>
          </p:nvSpPr>
          <p:spPr>
            <a:xfrm>
              <a:off x="16498691" y="10670458"/>
              <a:ext cx="435077" cy="435077"/>
            </a:xfrm>
            <a:custGeom>
              <a:avLst/>
              <a:gdLst>
                <a:gd name="connsiteX0" fmla="*/ 217567 w 435077"/>
                <a:gd name="connsiteY0" fmla="*/ 0 h 435077"/>
                <a:gd name="connsiteX1" fmla="*/ 217539 w 435077"/>
                <a:gd name="connsiteY1" fmla="*/ 0 h 435077"/>
                <a:gd name="connsiteX2" fmla="*/ 28 w 435077"/>
                <a:gd name="connsiteY2" fmla="*/ 0 h 435077"/>
                <a:gd name="connsiteX3" fmla="*/ 28 w 435077"/>
                <a:gd name="connsiteY3" fmla="*/ 217539 h 435077"/>
                <a:gd name="connsiteX4" fmla="*/ 217567 w 435077"/>
                <a:gd name="connsiteY4" fmla="*/ 27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67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67" y="0"/>
                  </a:moveTo>
                  <a:lnTo>
                    <a:pt x="217539" y="0"/>
                  </a:lnTo>
                  <a:lnTo>
                    <a:pt x="28" y="0"/>
                  </a:lnTo>
                  <a:lnTo>
                    <a:pt x="28" y="217539"/>
                  </a:lnTo>
                  <a:lnTo>
                    <a:pt x="217567" y="27"/>
                  </a:lnTo>
                  <a:lnTo>
                    <a:pt x="435077" y="217539"/>
                  </a:lnTo>
                  <a:lnTo>
                    <a:pt x="217539" y="435077"/>
                  </a:lnTo>
                  <a:lnTo>
                    <a:pt x="0" y="217539"/>
                  </a:lnTo>
                  <a:lnTo>
                    <a:pt x="0" y="435077"/>
                  </a:lnTo>
                  <a:lnTo>
                    <a:pt x="217539" y="435077"/>
                  </a:lnTo>
                  <a:lnTo>
                    <a:pt x="435077" y="435077"/>
                  </a:lnTo>
                  <a:lnTo>
                    <a:pt x="435077" y="217539"/>
                  </a:lnTo>
                  <a:lnTo>
                    <a:pt x="435077" y="0"/>
                  </a:lnTo>
                  <a:lnTo>
                    <a:pt x="217567" y="0"/>
                  </a:lnTo>
                  <a:close/>
                </a:path>
              </a:pathLst>
            </a:custGeom>
            <a:grpFill/>
            <a:ln w="27192" cap="flat">
              <a:noFill/>
              <a:prstDash val="solid"/>
              <a:miter/>
            </a:ln>
          </p:spPr>
          <p:txBody>
            <a:bodyPr rtlCol="0" anchor="ctr"/>
            <a:lstStyle/>
            <a:p>
              <a:endParaRPr lang="uk-UA" sz="900"/>
            </a:p>
          </p:txBody>
        </p:sp>
        <p:sp>
          <p:nvSpPr>
            <p:cNvPr id="399" name="Freeform: Shape 398">
              <a:extLst>
                <a:ext uri="{FF2B5EF4-FFF2-40B4-BE49-F238E27FC236}">
                  <a16:creationId xmlns:a16="http://schemas.microsoft.com/office/drawing/2014/main" id="{D06A3F11-1A56-ABF7-7F0E-8C28190B0BCF}"/>
                </a:ext>
              </a:extLst>
            </p:cNvPr>
            <p:cNvSpPr/>
            <p:nvPr/>
          </p:nvSpPr>
          <p:spPr>
            <a:xfrm>
              <a:off x="18239029" y="1067045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400" name="Freeform: Shape 399">
              <a:extLst>
                <a:ext uri="{FF2B5EF4-FFF2-40B4-BE49-F238E27FC236}">
                  <a16:creationId xmlns:a16="http://schemas.microsoft.com/office/drawing/2014/main" id="{63CC0085-E706-60FC-0ABD-4586E549B998}"/>
                </a:ext>
              </a:extLst>
            </p:cNvPr>
            <p:cNvSpPr/>
            <p:nvPr/>
          </p:nvSpPr>
          <p:spPr>
            <a:xfrm>
              <a:off x="17368874" y="10670458"/>
              <a:ext cx="435077" cy="435077"/>
            </a:xfrm>
            <a:custGeom>
              <a:avLst/>
              <a:gdLst>
                <a:gd name="connsiteX0" fmla="*/ 371339 w 435077"/>
                <a:gd name="connsiteY0" fmla="*/ 63739 h 435077"/>
                <a:gd name="connsiteX1" fmla="*/ 435077 w 435077"/>
                <a:gd name="connsiteY1" fmla="*/ 217539 h 435077"/>
                <a:gd name="connsiteX2" fmla="*/ 217701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0 w 435077"/>
                <a:gd name="connsiteY7" fmla="*/ 281277 h 435077"/>
                <a:gd name="connsiteX8" fmla="*/ 217374 w 435077"/>
                <a:gd name="connsiteY8" fmla="*/ 217539 h 435077"/>
                <a:gd name="connsiteX9" fmla="*/ 0 w 435077"/>
                <a:gd name="connsiteY9" fmla="*/ 217539 h 435077"/>
                <a:gd name="connsiteX10" fmla="*/ 63710 w 435077"/>
                <a:gd name="connsiteY10" fmla="*/ 63739 h 435077"/>
                <a:gd name="connsiteX11" fmla="*/ 217539 w 435077"/>
                <a:gd name="connsiteY11" fmla="*/ 0 h 435077"/>
                <a:gd name="connsiteX12" fmla="*/ 371339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39"/>
                  </a:moveTo>
                  <a:cubicBezTo>
                    <a:pt x="412154" y="104527"/>
                    <a:pt x="435077" y="159864"/>
                    <a:pt x="435077" y="217539"/>
                  </a:cubicBezTo>
                  <a:lnTo>
                    <a:pt x="217701" y="217539"/>
                  </a:lnTo>
                  <a:cubicBezTo>
                    <a:pt x="275322" y="217593"/>
                    <a:pt x="330603" y="240516"/>
                    <a:pt x="371365" y="281277"/>
                  </a:cubicBezTo>
                  <a:cubicBezTo>
                    <a:pt x="412154" y="322066"/>
                    <a:pt x="435077" y="377402"/>
                    <a:pt x="435077" y="435077"/>
                  </a:cubicBezTo>
                  <a:lnTo>
                    <a:pt x="217539" y="435077"/>
                  </a:lnTo>
                  <a:lnTo>
                    <a:pt x="0" y="435077"/>
                  </a:lnTo>
                  <a:cubicBezTo>
                    <a:pt x="0" y="377402"/>
                    <a:pt x="22922" y="322066"/>
                    <a:pt x="63710" y="281277"/>
                  </a:cubicBezTo>
                  <a:cubicBezTo>
                    <a:pt x="104472" y="240516"/>
                    <a:pt x="159727" y="217593"/>
                    <a:pt x="217374" y="217539"/>
                  </a:cubicBezTo>
                  <a:lnTo>
                    <a:pt x="0" y="217539"/>
                  </a:lnTo>
                  <a:cubicBezTo>
                    <a:pt x="0" y="159864"/>
                    <a:pt x="22895" y="104527"/>
                    <a:pt x="63710" y="63739"/>
                  </a:cubicBezTo>
                  <a:cubicBezTo>
                    <a:pt x="104499" y="22923"/>
                    <a:pt x="159836" y="0"/>
                    <a:pt x="217539" y="0"/>
                  </a:cubicBezTo>
                  <a:cubicBezTo>
                    <a:pt x="275213" y="0"/>
                    <a:pt x="330550" y="22923"/>
                    <a:pt x="371339" y="63739"/>
                  </a:cubicBezTo>
                  <a:close/>
                </a:path>
              </a:pathLst>
            </a:custGeom>
            <a:grpFill/>
            <a:ln w="27192" cap="flat">
              <a:noFill/>
              <a:prstDash val="solid"/>
              <a:miter/>
            </a:ln>
          </p:spPr>
          <p:txBody>
            <a:bodyPr rtlCol="0" anchor="ctr"/>
            <a:lstStyle/>
            <a:p>
              <a:endParaRPr lang="uk-UA" sz="900"/>
            </a:p>
          </p:txBody>
        </p:sp>
        <p:sp>
          <p:nvSpPr>
            <p:cNvPr id="401" name="Freeform: Shape 400">
              <a:extLst>
                <a:ext uri="{FF2B5EF4-FFF2-40B4-BE49-F238E27FC236}">
                  <a16:creationId xmlns:a16="http://schemas.microsoft.com/office/drawing/2014/main" id="{359BBB53-63A4-F158-B23D-8A8759F06048}"/>
                </a:ext>
              </a:extLst>
            </p:cNvPr>
            <p:cNvSpPr/>
            <p:nvPr/>
          </p:nvSpPr>
          <p:spPr>
            <a:xfrm>
              <a:off x="19109184" y="1067045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65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65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65" y="435105"/>
                  </a:lnTo>
                  <a:lnTo>
                    <a:pt x="435077" y="217566"/>
                  </a:lnTo>
                  <a:lnTo>
                    <a:pt x="435077" y="435105"/>
                  </a:lnTo>
                  <a:close/>
                  <a:moveTo>
                    <a:pt x="435077" y="27"/>
                  </a:moveTo>
                  <a:lnTo>
                    <a:pt x="217565"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402" name="Freeform: Shape 401">
              <a:extLst>
                <a:ext uri="{FF2B5EF4-FFF2-40B4-BE49-F238E27FC236}">
                  <a16:creationId xmlns:a16="http://schemas.microsoft.com/office/drawing/2014/main" id="{2A54A2CD-09FF-EC1B-2BD9-4494299D61DE}"/>
                </a:ext>
              </a:extLst>
            </p:cNvPr>
            <p:cNvSpPr/>
            <p:nvPr/>
          </p:nvSpPr>
          <p:spPr>
            <a:xfrm>
              <a:off x="19979365" y="1067045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403" name="Freeform: Shape 402">
              <a:extLst>
                <a:ext uri="{FF2B5EF4-FFF2-40B4-BE49-F238E27FC236}">
                  <a16:creationId xmlns:a16="http://schemas.microsoft.com/office/drawing/2014/main" id="{BFAB6D0E-7DF3-9095-D204-7F56D766C709}"/>
                </a:ext>
              </a:extLst>
            </p:cNvPr>
            <p:cNvSpPr/>
            <p:nvPr/>
          </p:nvSpPr>
          <p:spPr>
            <a:xfrm>
              <a:off x="21719675" y="1067045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404" name="Freeform: Shape 403">
              <a:extLst>
                <a:ext uri="{FF2B5EF4-FFF2-40B4-BE49-F238E27FC236}">
                  <a16:creationId xmlns:a16="http://schemas.microsoft.com/office/drawing/2014/main" id="{98FAF6DA-F39B-3F29-0F10-FD3917A72049}"/>
                </a:ext>
              </a:extLst>
            </p:cNvPr>
            <p:cNvSpPr/>
            <p:nvPr/>
          </p:nvSpPr>
          <p:spPr>
            <a:xfrm>
              <a:off x="20849520" y="10670458"/>
              <a:ext cx="435077" cy="435077"/>
            </a:xfrm>
            <a:custGeom>
              <a:avLst/>
              <a:gdLst>
                <a:gd name="connsiteX0" fmla="*/ 371365 w 435077"/>
                <a:gd name="connsiteY0" fmla="*/ 63739 h 435077"/>
                <a:gd name="connsiteX1" fmla="*/ 435077 w 435077"/>
                <a:gd name="connsiteY1" fmla="*/ 217539 h 435077"/>
                <a:gd name="connsiteX2" fmla="*/ 217701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5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39"/>
                  </a:moveTo>
                  <a:cubicBezTo>
                    <a:pt x="412154" y="104527"/>
                    <a:pt x="435077" y="159864"/>
                    <a:pt x="435077" y="217539"/>
                  </a:cubicBezTo>
                  <a:lnTo>
                    <a:pt x="217701" y="217539"/>
                  </a:lnTo>
                  <a:cubicBezTo>
                    <a:pt x="275349" y="217593"/>
                    <a:pt x="330605" y="240516"/>
                    <a:pt x="371365" y="281277"/>
                  </a:cubicBezTo>
                  <a:cubicBezTo>
                    <a:pt x="412154" y="322066"/>
                    <a:pt x="435077" y="377402"/>
                    <a:pt x="435077" y="435077"/>
                  </a:cubicBezTo>
                  <a:lnTo>
                    <a:pt x="217539" y="435077"/>
                  </a:lnTo>
                  <a:lnTo>
                    <a:pt x="0" y="435077"/>
                  </a:lnTo>
                  <a:cubicBezTo>
                    <a:pt x="0" y="377402"/>
                    <a:pt x="22924" y="322066"/>
                    <a:pt x="63712" y="281277"/>
                  </a:cubicBezTo>
                  <a:cubicBezTo>
                    <a:pt x="104472" y="240516"/>
                    <a:pt x="159755" y="217593"/>
                    <a:pt x="217376" y="217539"/>
                  </a:cubicBezTo>
                  <a:lnTo>
                    <a:pt x="0" y="217539"/>
                  </a:lnTo>
                  <a:cubicBezTo>
                    <a:pt x="0" y="159864"/>
                    <a:pt x="22924" y="104527"/>
                    <a:pt x="63712" y="63739"/>
                  </a:cubicBezTo>
                  <a:cubicBezTo>
                    <a:pt x="104501" y="22923"/>
                    <a:pt x="159836" y="0"/>
                    <a:pt x="217539" y="0"/>
                  </a:cubicBezTo>
                  <a:cubicBezTo>
                    <a:pt x="275241" y="0"/>
                    <a:pt x="330577" y="22923"/>
                    <a:pt x="371365" y="63739"/>
                  </a:cubicBezTo>
                  <a:close/>
                </a:path>
              </a:pathLst>
            </a:custGeom>
            <a:grpFill/>
            <a:ln w="27192" cap="flat">
              <a:noFill/>
              <a:prstDash val="solid"/>
              <a:miter/>
            </a:ln>
          </p:spPr>
          <p:txBody>
            <a:bodyPr rtlCol="0" anchor="ctr"/>
            <a:lstStyle/>
            <a:p>
              <a:endParaRPr lang="uk-UA" sz="900"/>
            </a:p>
          </p:txBody>
        </p:sp>
        <p:sp>
          <p:nvSpPr>
            <p:cNvPr id="405" name="Freeform: Shape 404">
              <a:extLst>
                <a:ext uri="{FF2B5EF4-FFF2-40B4-BE49-F238E27FC236}">
                  <a16:creationId xmlns:a16="http://schemas.microsoft.com/office/drawing/2014/main" id="{CA6646F3-64B2-77A1-62B5-E75F6263D96C}"/>
                </a:ext>
              </a:extLst>
            </p:cNvPr>
            <p:cNvSpPr/>
            <p:nvPr/>
          </p:nvSpPr>
          <p:spPr>
            <a:xfrm>
              <a:off x="22589856" y="1067045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406" name="Freeform: Shape 405">
              <a:extLst>
                <a:ext uri="{FF2B5EF4-FFF2-40B4-BE49-F238E27FC236}">
                  <a16:creationId xmlns:a16="http://schemas.microsoft.com/office/drawing/2014/main" id="{02B634A5-D06D-3921-40F6-ECEE52D7B3A9}"/>
                </a:ext>
              </a:extLst>
            </p:cNvPr>
            <p:cNvSpPr/>
            <p:nvPr/>
          </p:nvSpPr>
          <p:spPr>
            <a:xfrm>
              <a:off x="23460011" y="10670458"/>
              <a:ext cx="435105" cy="435077"/>
            </a:xfrm>
            <a:custGeom>
              <a:avLst/>
              <a:gdLst>
                <a:gd name="connsiteX0" fmla="*/ 217539 w 435105"/>
                <a:gd name="connsiteY0" fmla="*/ 0 h 435077"/>
                <a:gd name="connsiteX1" fmla="*/ 0 w 435105"/>
                <a:gd name="connsiteY1" fmla="*/ 0 h 435077"/>
                <a:gd name="connsiteX2" fmla="*/ 0 w 435105"/>
                <a:gd name="connsiteY2" fmla="*/ 217539 h 435077"/>
                <a:gd name="connsiteX3" fmla="*/ 217539 w 435105"/>
                <a:gd name="connsiteY3" fmla="*/ 0 h 435077"/>
                <a:gd name="connsiteX4" fmla="*/ 435106 w 435105"/>
                <a:gd name="connsiteY4" fmla="*/ 27 h 435077"/>
                <a:gd name="connsiteX5" fmla="*/ 435106 w 435105"/>
                <a:gd name="connsiteY5" fmla="*/ 217566 h 435077"/>
                <a:gd name="connsiteX6" fmla="*/ 217567 w 435105"/>
                <a:gd name="connsiteY6" fmla="*/ 27 h 435077"/>
                <a:gd name="connsiteX7" fmla="*/ 435106 w 435105"/>
                <a:gd name="connsiteY7" fmla="*/ 27 h 435077"/>
                <a:gd name="connsiteX8" fmla="*/ 217567 w 435105"/>
                <a:gd name="connsiteY8" fmla="*/ 435077 h 435077"/>
                <a:gd name="connsiteX9" fmla="*/ 435106 w 435105"/>
                <a:gd name="connsiteY9" fmla="*/ 217566 h 435077"/>
                <a:gd name="connsiteX10" fmla="*/ 435106 w 435105"/>
                <a:gd name="connsiteY10" fmla="*/ 435077 h 435077"/>
                <a:gd name="connsiteX11" fmla="*/ 217567 w 435105"/>
                <a:gd name="connsiteY11" fmla="*/ 435077 h 435077"/>
                <a:gd name="connsiteX12" fmla="*/ 217567 w 435105"/>
                <a:gd name="connsiteY12" fmla="*/ 435077 h 435077"/>
                <a:gd name="connsiteX13" fmla="*/ 28 w 435105"/>
                <a:gd name="connsiteY13" fmla="*/ 217566 h 435077"/>
                <a:gd name="connsiteX14" fmla="*/ 28 w 435105"/>
                <a:gd name="connsiteY14" fmla="*/ 435077 h 435077"/>
                <a:gd name="connsiteX15" fmla="*/ 217567 w 435105"/>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5" h="435077">
                  <a:moveTo>
                    <a:pt x="217539" y="0"/>
                  </a:moveTo>
                  <a:lnTo>
                    <a:pt x="0" y="0"/>
                  </a:lnTo>
                  <a:lnTo>
                    <a:pt x="0" y="217539"/>
                  </a:lnTo>
                  <a:lnTo>
                    <a:pt x="217539" y="0"/>
                  </a:lnTo>
                  <a:close/>
                  <a:moveTo>
                    <a:pt x="435106" y="27"/>
                  </a:moveTo>
                  <a:lnTo>
                    <a:pt x="435106" y="217566"/>
                  </a:lnTo>
                  <a:lnTo>
                    <a:pt x="217567" y="27"/>
                  </a:lnTo>
                  <a:lnTo>
                    <a:pt x="435106" y="27"/>
                  </a:lnTo>
                  <a:close/>
                  <a:moveTo>
                    <a:pt x="217567" y="435077"/>
                  </a:moveTo>
                  <a:lnTo>
                    <a:pt x="435106" y="217566"/>
                  </a:lnTo>
                  <a:lnTo>
                    <a:pt x="435106" y="435077"/>
                  </a:lnTo>
                  <a:lnTo>
                    <a:pt x="217567" y="435077"/>
                  </a:lnTo>
                  <a:close/>
                  <a:moveTo>
                    <a:pt x="217567" y="435077"/>
                  </a:moveTo>
                  <a:lnTo>
                    <a:pt x="28" y="217566"/>
                  </a:lnTo>
                  <a:lnTo>
                    <a:pt x="28" y="435077"/>
                  </a:lnTo>
                  <a:lnTo>
                    <a:pt x="217567" y="435077"/>
                  </a:lnTo>
                  <a:close/>
                </a:path>
              </a:pathLst>
            </a:custGeom>
            <a:grpFill/>
            <a:ln w="27192" cap="flat">
              <a:noFill/>
              <a:prstDash val="solid"/>
              <a:miter/>
            </a:ln>
          </p:spPr>
          <p:txBody>
            <a:bodyPr rtlCol="0" anchor="ctr"/>
            <a:lstStyle/>
            <a:p>
              <a:endParaRPr lang="uk-UA" sz="900"/>
            </a:p>
          </p:txBody>
        </p:sp>
        <p:sp>
          <p:nvSpPr>
            <p:cNvPr id="407" name="Freeform: Shape 406">
              <a:extLst>
                <a:ext uri="{FF2B5EF4-FFF2-40B4-BE49-F238E27FC236}">
                  <a16:creationId xmlns:a16="http://schemas.microsoft.com/office/drawing/2014/main" id="{438CF70F-14C3-E410-72BD-A60B470E6743}"/>
                </a:ext>
              </a:extLst>
            </p:cNvPr>
            <p:cNvSpPr/>
            <p:nvPr/>
          </p:nvSpPr>
          <p:spPr>
            <a:xfrm>
              <a:off x="24330194" y="10670458"/>
              <a:ext cx="435077" cy="435077"/>
            </a:xfrm>
            <a:custGeom>
              <a:avLst/>
              <a:gdLst>
                <a:gd name="connsiteX0" fmla="*/ 371447 w 435077"/>
                <a:gd name="connsiteY0" fmla="*/ 63739 h 435077"/>
                <a:gd name="connsiteX1" fmla="*/ 435077 w 435077"/>
                <a:gd name="connsiteY1" fmla="*/ 217539 h 435077"/>
                <a:gd name="connsiteX2" fmla="*/ 217811 w 435077"/>
                <a:gd name="connsiteY2" fmla="*/ 217539 h 435077"/>
                <a:gd name="connsiteX3" fmla="*/ 371447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267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447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447" y="63739"/>
                  </a:moveTo>
                  <a:cubicBezTo>
                    <a:pt x="412235" y="104527"/>
                    <a:pt x="435077" y="159864"/>
                    <a:pt x="435077" y="217539"/>
                  </a:cubicBezTo>
                  <a:lnTo>
                    <a:pt x="217811" y="217539"/>
                  </a:lnTo>
                  <a:cubicBezTo>
                    <a:pt x="275459" y="217593"/>
                    <a:pt x="330658" y="240516"/>
                    <a:pt x="371447" y="281277"/>
                  </a:cubicBezTo>
                  <a:cubicBezTo>
                    <a:pt x="412235" y="322066"/>
                    <a:pt x="435077" y="377402"/>
                    <a:pt x="435077" y="435077"/>
                  </a:cubicBezTo>
                  <a:lnTo>
                    <a:pt x="217539" y="435077"/>
                  </a:lnTo>
                  <a:lnTo>
                    <a:pt x="0" y="435077"/>
                  </a:lnTo>
                  <a:cubicBezTo>
                    <a:pt x="0" y="377402"/>
                    <a:pt x="22924" y="322066"/>
                    <a:pt x="63712" y="281277"/>
                  </a:cubicBezTo>
                  <a:cubicBezTo>
                    <a:pt x="104472" y="240516"/>
                    <a:pt x="159727" y="217593"/>
                    <a:pt x="217267" y="217539"/>
                  </a:cubicBezTo>
                  <a:lnTo>
                    <a:pt x="0" y="217539"/>
                  </a:lnTo>
                  <a:cubicBezTo>
                    <a:pt x="0" y="159864"/>
                    <a:pt x="22924" y="104527"/>
                    <a:pt x="63712" y="63739"/>
                  </a:cubicBezTo>
                  <a:cubicBezTo>
                    <a:pt x="104501" y="22923"/>
                    <a:pt x="159836" y="0"/>
                    <a:pt x="217539" y="0"/>
                  </a:cubicBezTo>
                  <a:cubicBezTo>
                    <a:pt x="275186" y="0"/>
                    <a:pt x="330658" y="22923"/>
                    <a:pt x="371447" y="63739"/>
                  </a:cubicBezTo>
                  <a:close/>
                </a:path>
              </a:pathLst>
            </a:custGeom>
            <a:grpFill/>
            <a:ln w="27192" cap="flat">
              <a:noFill/>
              <a:prstDash val="solid"/>
              <a:miter/>
            </a:ln>
          </p:spPr>
          <p:txBody>
            <a:bodyPr rtlCol="0" anchor="ctr"/>
            <a:lstStyle/>
            <a:p>
              <a:endParaRPr lang="uk-UA" sz="900"/>
            </a:p>
          </p:txBody>
        </p:sp>
        <p:sp>
          <p:nvSpPr>
            <p:cNvPr id="408" name="Freeform: Shape 407">
              <a:extLst>
                <a:ext uri="{FF2B5EF4-FFF2-40B4-BE49-F238E27FC236}">
                  <a16:creationId xmlns:a16="http://schemas.microsoft.com/office/drawing/2014/main" id="{A2DF7987-C8AA-49FC-51A9-EFCA2533DE37}"/>
                </a:ext>
              </a:extLst>
            </p:cNvPr>
            <p:cNvSpPr/>
            <p:nvPr/>
          </p:nvSpPr>
          <p:spPr>
            <a:xfrm>
              <a:off x="835742" y="1154061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6 w 435077"/>
                <a:gd name="connsiteY3" fmla="*/ 27 h 435077"/>
                <a:gd name="connsiteX4" fmla="*/ 435077 w 435077"/>
                <a:gd name="connsiteY4" fmla="*/ 217566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6" y="27"/>
                  </a:lnTo>
                  <a:lnTo>
                    <a:pt x="435077" y="217566"/>
                  </a:lnTo>
                  <a:lnTo>
                    <a:pt x="217566"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409" name="Freeform: Shape 408">
              <a:extLst>
                <a:ext uri="{FF2B5EF4-FFF2-40B4-BE49-F238E27FC236}">
                  <a16:creationId xmlns:a16="http://schemas.microsoft.com/office/drawing/2014/main" id="{74E84A9F-6BED-A4DE-5BDE-EDF9D901433B}"/>
                </a:ext>
              </a:extLst>
            </p:cNvPr>
            <p:cNvSpPr/>
            <p:nvPr/>
          </p:nvSpPr>
          <p:spPr>
            <a:xfrm>
              <a:off x="-34407" y="11540612"/>
              <a:ext cx="435072" cy="435077"/>
            </a:xfrm>
            <a:custGeom>
              <a:avLst/>
              <a:gdLst>
                <a:gd name="connsiteX0" fmla="*/ 63717 w 435072"/>
                <a:gd name="connsiteY0" fmla="*/ 153827 h 435077"/>
                <a:gd name="connsiteX1" fmla="*/ 0 w 435072"/>
                <a:gd name="connsiteY1" fmla="*/ 0 h 435077"/>
                <a:gd name="connsiteX2" fmla="*/ 217533 w 435072"/>
                <a:gd name="connsiteY2" fmla="*/ 0 h 435077"/>
                <a:gd name="connsiteX3" fmla="*/ 435072 w 435072"/>
                <a:gd name="connsiteY3" fmla="*/ 0 h 435077"/>
                <a:gd name="connsiteX4" fmla="*/ 371360 w 435072"/>
                <a:gd name="connsiteY4" fmla="*/ 153827 h 435077"/>
                <a:gd name="connsiteX5" fmla="*/ 217533 w 435072"/>
                <a:gd name="connsiteY5" fmla="*/ 217539 h 435077"/>
                <a:gd name="connsiteX6" fmla="*/ 63717 w 435072"/>
                <a:gd name="connsiteY6" fmla="*/ 153827 h 435077"/>
                <a:gd name="connsiteX7" fmla="*/ 63717 w 435072"/>
                <a:gd name="connsiteY7" fmla="*/ 281277 h 435077"/>
                <a:gd name="connsiteX8" fmla="*/ 0 w 435072"/>
                <a:gd name="connsiteY8" fmla="*/ 435077 h 435077"/>
                <a:gd name="connsiteX9" fmla="*/ 217533 w 435072"/>
                <a:gd name="connsiteY9" fmla="*/ 435077 h 435077"/>
                <a:gd name="connsiteX10" fmla="*/ 435072 w 435072"/>
                <a:gd name="connsiteY10" fmla="*/ 435077 h 435077"/>
                <a:gd name="connsiteX11" fmla="*/ 371360 w 435072"/>
                <a:gd name="connsiteY11" fmla="*/ 281277 h 435077"/>
                <a:gd name="connsiteX12" fmla="*/ 217533 w 435072"/>
                <a:gd name="connsiteY12" fmla="*/ 217539 h 435077"/>
                <a:gd name="connsiteX13" fmla="*/ 63717 w 435072"/>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2" h="435077">
                  <a:moveTo>
                    <a:pt x="63717" y="153827"/>
                  </a:moveTo>
                  <a:cubicBezTo>
                    <a:pt x="22921" y="113039"/>
                    <a:pt x="0" y="57702"/>
                    <a:pt x="0" y="0"/>
                  </a:cubicBezTo>
                  <a:lnTo>
                    <a:pt x="217533" y="0"/>
                  </a:lnTo>
                  <a:lnTo>
                    <a:pt x="435072" y="0"/>
                  </a:lnTo>
                  <a:cubicBezTo>
                    <a:pt x="435072" y="57702"/>
                    <a:pt x="412149" y="113039"/>
                    <a:pt x="371360" y="153827"/>
                  </a:cubicBezTo>
                  <a:cubicBezTo>
                    <a:pt x="330572" y="194642"/>
                    <a:pt x="275236" y="217539"/>
                    <a:pt x="217533" y="217539"/>
                  </a:cubicBezTo>
                  <a:cubicBezTo>
                    <a:pt x="159858" y="217539"/>
                    <a:pt x="104514" y="194642"/>
                    <a:pt x="63717" y="153827"/>
                  </a:cubicBezTo>
                  <a:close/>
                  <a:moveTo>
                    <a:pt x="63717" y="281277"/>
                  </a:moveTo>
                  <a:cubicBezTo>
                    <a:pt x="22921" y="322066"/>
                    <a:pt x="0" y="377402"/>
                    <a:pt x="0" y="435077"/>
                  </a:cubicBezTo>
                  <a:lnTo>
                    <a:pt x="217533" y="435077"/>
                  </a:lnTo>
                  <a:lnTo>
                    <a:pt x="435072" y="435077"/>
                  </a:lnTo>
                  <a:cubicBezTo>
                    <a:pt x="435072" y="377402"/>
                    <a:pt x="412149" y="322066"/>
                    <a:pt x="371360" y="281277"/>
                  </a:cubicBezTo>
                  <a:cubicBezTo>
                    <a:pt x="330572" y="240462"/>
                    <a:pt x="275236" y="217539"/>
                    <a:pt x="217533" y="217539"/>
                  </a:cubicBezTo>
                  <a:cubicBezTo>
                    <a:pt x="159858" y="217539"/>
                    <a:pt x="104514" y="240462"/>
                    <a:pt x="63717" y="281277"/>
                  </a:cubicBezTo>
                  <a:close/>
                </a:path>
              </a:pathLst>
            </a:custGeom>
            <a:grpFill/>
            <a:ln w="27192" cap="flat">
              <a:noFill/>
              <a:prstDash val="solid"/>
              <a:miter/>
            </a:ln>
          </p:spPr>
          <p:txBody>
            <a:bodyPr rtlCol="0" anchor="ctr"/>
            <a:lstStyle/>
            <a:p>
              <a:endParaRPr lang="uk-UA" sz="900"/>
            </a:p>
          </p:txBody>
        </p:sp>
        <p:sp>
          <p:nvSpPr>
            <p:cNvPr id="410" name="Freeform: Shape 409">
              <a:extLst>
                <a:ext uri="{FF2B5EF4-FFF2-40B4-BE49-F238E27FC236}">
                  <a16:creationId xmlns:a16="http://schemas.microsoft.com/office/drawing/2014/main" id="{B0316AEF-9F8E-18D0-A94B-1AA4F14D37F3}"/>
                </a:ext>
              </a:extLst>
            </p:cNvPr>
            <p:cNvSpPr/>
            <p:nvPr/>
          </p:nvSpPr>
          <p:spPr>
            <a:xfrm>
              <a:off x="1705924" y="1154061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411" name="Freeform: Shape 410">
              <a:extLst>
                <a:ext uri="{FF2B5EF4-FFF2-40B4-BE49-F238E27FC236}">
                  <a16:creationId xmlns:a16="http://schemas.microsoft.com/office/drawing/2014/main" id="{40C8BA69-3447-5FC4-AD01-3431E180D6EC}"/>
                </a:ext>
              </a:extLst>
            </p:cNvPr>
            <p:cNvSpPr/>
            <p:nvPr/>
          </p:nvSpPr>
          <p:spPr>
            <a:xfrm>
              <a:off x="2576106" y="1154064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2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2" y="217539"/>
                  </a:lnTo>
                  <a:lnTo>
                    <a:pt x="0" y="435050"/>
                  </a:lnTo>
                  <a:close/>
                </a:path>
              </a:pathLst>
            </a:custGeom>
            <a:grpFill/>
            <a:ln w="27192" cap="flat">
              <a:noFill/>
              <a:prstDash val="solid"/>
              <a:miter/>
            </a:ln>
          </p:spPr>
          <p:txBody>
            <a:bodyPr rtlCol="0" anchor="ctr"/>
            <a:lstStyle/>
            <a:p>
              <a:endParaRPr lang="uk-UA" sz="900"/>
            </a:p>
          </p:txBody>
        </p:sp>
        <p:sp>
          <p:nvSpPr>
            <p:cNvPr id="412" name="Freeform: Shape 411">
              <a:extLst>
                <a:ext uri="{FF2B5EF4-FFF2-40B4-BE49-F238E27FC236}">
                  <a16:creationId xmlns:a16="http://schemas.microsoft.com/office/drawing/2014/main" id="{552AD917-D5F1-60C6-1972-CD7A80913AA3}"/>
                </a:ext>
              </a:extLst>
            </p:cNvPr>
            <p:cNvSpPr/>
            <p:nvPr/>
          </p:nvSpPr>
          <p:spPr>
            <a:xfrm>
              <a:off x="4316416" y="1154061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5 w 435077"/>
                <a:gd name="connsiteY3" fmla="*/ 27 h 435077"/>
                <a:gd name="connsiteX4" fmla="*/ 435077 w 435077"/>
                <a:gd name="connsiteY4" fmla="*/ 217566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5" y="27"/>
                  </a:lnTo>
                  <a:lnTo>
                    <a:pt x="435077" y="217566"/>
                  </a:lnTo>
                  <a:lnTo>
                    <a:pt x="217565"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413" name="Freeform: Shape 412">
              <a:extLst>
                <a:ext uri="{FF2B5EF4-FFF2-40B4-BE49-F238E27FC236}">
                  <a16:creationId xmlns:a16="http://schemas.microsoft.com/office/drawing/2014/main" id="{535C415E-A9AE-DCBD-7032-767D5691DE00}"/>
                </a:ext>
              </a:extLst>
            </p:cNvPr>
            <p:cNvSpPr/>
            <p:nvPr/>
          </p:nvSpPr>
          <p:spPr>
            <a:xfrm>
              <a:off x="3446261" y="1154061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3" y="113039"/>
                    <a:pt x="0" y="57702"/>
                    <a:pt x="0" y="0"/>
                  </a:cubicBezTo>
                  <a:lnTo>
                    <a:pt x="217539" y="0"/>
                  </a:lnTo>
                  <a:lnTo>
                    <a:pt x="435077" y="0"/>
                  </a:lnTo>
                  <a:cubicBezTo>
                    <a:pt x="435077" y="57702"/>
                    <a:pt x="412154" y="113039"/>
                    <a:pt x="371366" y="153827"/>
                  </a:cubicBezTo>
                  <a:cubicBezTo>
                    <a:pt x="330577" y="194642"/>
                    <a:pt x="275241" y="217539"/>
                    <a:pt x="217539" y="217539"/>
                  </a:cubicBezTo>
                  <a:cubicBezTo>
                    <a:pt x="159837" y="217539"/>
                    <a:pt x="104500" y="194642"/>
                    <a:pt x="63712" y="153827"/>
                  </a:cubicBezTo>
                  <a:close/>
                  <a:moveTo>
                    <a:pt x="63712" y="281277"/>
                  </a:moveTo>
                  <a:cubicBezTo>
                    <a:pt x="22923" y="322066"/>
                    <a:pt x="0" y="377402"/>
                    <a:pt x="0" y="435077"/>
                  </a:cubicBezTo>
                  <a:lnTo>
                    <a:pt x="217539" y="435077"/>
                  </a:lnTo>
                  <a:lnTo>
                    <a:pt x="435077" y="435077"/>
                  </a:lnTo>
                  <a:cubicBezTo>
                    <a:pt x="435077" y="377402"/>
                    <a:pt x="412154" y="322066"/>
                    <a:pt x="371366" y="281277"/>
                  </a:cubicBezTo>
                  <a:cubicBezTo>
                    <a:pt x="330577" y="240462"/>
                    <a:pt x="275241" y="217539"/>
                    <a:pt x="217539" y="217539"/>
                  </a:cubicBezTo>
                  <a:cubicBezTo>
                    <a:pt x="159837" y="217539"/>
                    <a:pt x="104500" y="240462"/>
                    <a:pt x="63712" y="281277"/>
                  </a:cubicBezTo>
                  <a:close/>
                </a:path>
              </a:pathLst>
            </a:custGeom>
            <a:grpFill/>
            <a:ln w="27192" cap="flat">
              <a:noFill/>
              <a:prstDash val="solid"/>
              <a:miter/>
            </a:ln>
          </p:spPr>
          <p:txBody>
            <a:bodyPr rtlCol="0" anchor="ctr"/>
            <a:lstStyle/>
            <a:p>
              <a:endParaRPr lang="uk-UA" sz="900"/>
            </a:p>
          </p:txBody>
        </p:sp>
        <p:sp>
          <p:nvSpPr>
            <p:cNvPr id="414" name="Freeform: Shape 413">
              <a:extLst>
                <a:ext uri="{FF2B5EF4-FFF2-40B4-BE49-F238E27FC236}">
                  <a16:creationId xmlns:a16="http://schemas.microsoft.com/office/drawing/2014/main" id="{B6ACF3E1-72B7-5BBE-A4E8-E194992E01CA}"/>
                </a:ext>
              </a:extLst>
            </p:cNvPr>
            <p:cNvSpPr/>
            <p:nvPr/>
          </p:nvSpPr>
          <p:spPr>
            <a:xfrm>
              <a:off x="5186597" y="11540612"/>
              <a:ext cx="435077" cy="435077"/>
            </a:xfrm>
            <a:custGeom>
              <a:avLst/>
              <a:gdLst>
                <a:gd name="connsiteX0" fmla="*/ 0 w 435077"/>
                <a:gd name="connsiteY0" fmla="*/ 435077 h 435077"/>
                <a:gd name="connsiteX1" fmla="*/ 0 w 435077"/>
                <a:gd name="connsiteY1" fmla="*/ 0 h 435077"/>
                <a:gd name="connsiteX2" fmla="*/ 217512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12"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415" name="Freeform: Shape 414">
              <a:extLst>
                <a:ext uri="{FF2B5EF4-FFF2-40B4-BE49-F238E27FC236}">
                  <a16:creationId xmlns:a16="http://schemas.microsoft.com/office/drawing/2014/main" id="{85D8CA9F-0441-2018-21CE-2A8F14D5FBB2}"/>
                </a:ext>
              </a:extLst>
            </p:cNvPr>
            <p:cNvSpPr/>
            <p:nvPr/>
          </p:nvSpPr>
          <p:spPr>
            <a:xfrm>
              <a:off x="6056752" y="1154064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2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2" y="217539"/>
                  </a:lnTo>
                  <a:lnTo>
                    <a:pt x="0" y="435050"/>
                  </a:lnTo>
                  <a:close/>
                </a:path>
              </a:pathLst>
            </a:custGeom>
            <a:grpFill/>
            <a:ln w="27192" cap="flat">
              <a:noFill/>
              <a:prstDash val="solid"/>
              <a:miter/>
            </a:ln>
          </p:spPr>
          <p:txBody>
            <a:bodyPr rtlCol="0" anchor="ctr"/>
            <a:lstStyle/>
            <a:p>
              <a:endParaRPr lang="uk-UA" sz="900"/>
            </a:p>
          </p:txBody>
        </p:sp>
        <p:sp>
          <p:nvSpPr>
            <p:cNvPr id="416" name="Freeform: Shape 415">
              <a:extLst>
                <a:ext uri="{FF2B5EF4-FFF2-40B4-BE49-F238E27FC236}">
                  <a16:creationId xmlns:a16="http://schemas.microsoft.com/office/drawing/2014/main" id="{5128F142-C2B0-1F20-0CF4-81E8DD32311B}"/>
                </a:ext>
              </a:extLst>
            </p:cNvPr>
            <p:cNvSpPr/>
            <p:nvPr/>
          </p:nvSpPr>
          <p:spPr>
            <a:xfrm>
              <a:off x="7797062" y="1154061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6 w 435077"/>
                <a:gd name="connsiteY3" fmla="*/ 27 h 435077"/>
                <a:gd name="connsiteX4" fmla="*/ 435077 w 435077"/>
                <a:gd name="connsiteY4" fmla="*/ 217566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6" y="27"/>
                  </a:lnTo>
                  <a:lnTo>
                    <a:pt x="435077" y="217566"/>
                  </a:lnTo>
                  <a:lnTo>
                    <a:pt x="217566"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417" name="Freeform: Shape 416">
              <a:extLst>
                <a:ext uri="{FF2B5EF4-FFF2-40B4-BE49-F238E27FC236}">
                  <a16:creationId xmlns:a16="http://schemas.microsoft.com/office/drawing/2014/main" id="{7A2401D4-7250-6343-68CD-778CB2609170}"/>
                </a:ext>
              </a:extLst>
            </p:cNvPr>
            <p:cNvSpPr/>
            <p:nvPr/>
          </p:nvSpPr>
          <p:spPr>
            <a:xfrm>
              <a:off x="6926907" y="1154061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6" y="153827"/>
                  </a:cubicBezTo>
                  <a:cubicBezTo>
                    <a:pt x="330550" y="194642"/>
                    <a:pt x="275241" y="217539"/>
                    <a:pt x="217539" y="217539"/>
                  </a:cubicBezTo>
                  <a:cubicBezTo>
                    <a:pt x="159837"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5" y="322066"/>
                    <a:pt x="371366" y="281277"/>
                  </a:cubicBezTo>
                  <a:cubicBezTo>
                    <a:pt x="330550" y="240462"/>
                    <a:pt x="275241" y="217539"/>
                    <a:pt x="217539" y="217539"/>
                  </a:cubicBezTo>
                  <a:cubicBezTo>
                    <a:pt x="159837" y="217539"/>
                    <a:pt x="104501" y="240462"/>
                    <a:pt x="63712" y="281277"/>
                  </a:cubicBezTo>
                  <a:close/>
                </a:path>
              </a:pathLst>
            </a:custGeom>
            <a:grpFill/>
            <a:ln w="27192" cap="flat">
              <a:noFill/>
              <a:prstDash val="solid"/>
              <a:miter/>
            </a:ln>
          </p:spPr>
          <p:txBody>
            <a:bodyPr rtlCol="0" anchor="ctr"/>
            <a:lstStyle/>
            <a:p>
              <a:endParaRPr lang="uk-UA" sz="900"/>
            </a:p>
          </p:txBody>
        </p:sp>
        <p:sp>
          <p:nvSpPr>
            <p:cNvPr id="418" name="Freeform: Shape 417">
              <a:extLst>
                <a:ext uri="{FF2B5EF4-FFF2-40B4-BE49-F238E27FC236}">
                  <a16:creationId xmlns:a16="http://schemas.microsoft.com/office/drawing/2014/main" id="{A18FCF8D-D5B7-D585-CB2A-DF38A1AF4D6D}"/>
                </a:ext>
              </a:extLst>
            </p:cNvPr>
            <p:cNvSpPr/>
            <p:nvPr/>
          </p:nvSpPr>
          <p:spPr>
            <a:xfrm>
              <a:off x="8667217" y="1154061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419" name="Freeform: Shape 418">
              <a:extLst>
                <a:ext uri="{FF2B5EF4-FFF2-40B4-BE49-F238E27FC236}">
                  <a16:creationId xmlns:a16="http://schemas.microsoft.com/office/drawing/2014/main" id="{1ED31D99-56A8-35A1-2E3A-962C16218109}"/>
                </a:ext>
              </a:extLst>
            </p:cNvPr>
            <p:cNvSpPr/>
            <p:nvPr/>
          </p:nvSpPr>
          <p:spPr>
            <a:xfrm>
              <a:off x="9537399" y="1154064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1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1" y="217539"/>
                  </a:lnTo>
                  <a:lnTo>
                    <a:pt x="0" y="435050"/>
                  </a:lnTo>
                  <a:close/>
                </a:path>
              </a:pathLst>
            </a:custGeom>
            <a:grpFill/>
            <a:ln w="27192" cap="flat">
              <a:noFill/>
              <a:prstDash val="solid"/>
              <a:miter/>
            </a:ln>
          </p:spPr>
          <p:txBody>
            <a:bodyPr rtlCol="0" anchor="ctr"/>
            <a:lstStyle/>
            <a:p>
              <a:endParaRPr lang="uk-UA" sz="900"/>
            </a:p>
          </p:txBody>
        </p:sp>
        <p:sp>
          <p:nvSpPr>
            <p:cNvPr id="420" name="Freeform: Shape 419">
              <a:extLst>
                <a:ext uri="{FF2B5EF4-FFF2-40B4-BE49-F238E27FC236}">
                  <a16:creationId xmlns:a16="http://schemas.microsoft.com/office/drawing/2014/main" id="{72B59D6B-736E-68E2-FD60-6CBEDC7E404A}"/>
                </a:ext>
              </a:extLst>
            </p:cNvPr>
            <p:cNvSpPr/>
            <p:nvPr/>
          </p:nvSpPr>
          <p:spPr>
            <a:xfrm>
              <a:off x="11277709" y="1154061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0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10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0" y="217539"/>
                  </a:lnTo>
                  <a:lnTo>
                    <a:pt x="0" y="217539"/>
                  </a:lnTo>
                  <a:close/>
                  <a:moveTo>
                    <a:pt x="0" y="435077"/>
                  </a:moveTo>
                  <a:lnTo>
                    <a:pt x="0" y="217566"/>
                  </a:lnTo>
                  <a:lnTo>
                    <a:pt x="217510" y="217566"/>
                  </a:lnTo>
                  <a:lnTo>
                    <a:pt x="0" y="435077"/>
                  </a:lnTo>
                  <a:close/>
                </a:path>
              </a:pathLst>
            </a:custGeom>
            <a:grpFill/>
            <a:ln w="27192" cap="flat">
              <a:noFill/>
              <a:prstDash val="solid"/>
              <a:miter/>
            </a:ln>
          </p:spPr>
          <p:txBody>
            <a:bodyPr rtlCol="0" anchor="ctr"/>
            <a:lstStyle/>
            <a:p>
              <a:endParaRPr lang="uk-UA" sz="900"/>
            </a:p>
          </p:txBody>
        </p:sp>
        <p:sp>
          <p:nvSpPr>
            <p:cNvPr id="421" name="Freeform: Shape 420">
              <a:extLst>
                <a:ext uri="{FF2B5EF4-FFF2-40B4-BE49-F238E27FC236}">
                  <a16:creationId xmlns:a16="http://schemas.microsoft.com/office/drawing/2014/main" id="{4D7F8994-05E4-8A37-FC1B-0FFD1E8D88E3}"/>
                </a:ext>
              </a:extLst>
            </p:cNvPr>
            <p:cNvSpPr/>
            <p:nvPr/>
          </p:nvSpPr>
          <p:spPr>
            <a:xfrm>
              <a:off x="10407526" y="11540612"/>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39 w 435077"/>
                <a:gd name="connsiteY6" fmla="*/ 153827 h 435077"/>
                <a:gd name="connsiteX7" fmla="*/ 63739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39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4" y="113039"/>
                    <a:pt x="0" y="57702"/>
                    <a:pt x="0" y="0"/>
                  </a:cubicBezTo>
                  <a:lnTo>
                    <a:pt x="217539" y="0"/>
                  </a:lnTo>
                  <a:lnTo>
                    <a:pt x="435077" y="0"/>
                  </a:lnTo>
                  <a:cubicBezTo>
                    <a:pt x="435077" y="57702"/>
                    <a:pt x="412182" y="113039"/>
                    <a:pt x="371366" y="153827"/>
                  </a:cubicBezTo>
                  <a:cubicBezTo>
                    <a:pt x="330578" y="194642"/>
                    <a:pt x="275241" y="217539"/>
                    <a:pt x="217539" y="217539"/>
                  </a:cubicBezTo>
                  <a:cubicBezTo>
                    <a:pt x="159864" y="217539"/>
                    <a:pt x="104527" y="194642"/>
                    <a:pt x="63739" y="153827"/>
                  </a:cubicBezTo>
                  <a:close/>
                  <a:moveTo>
                    <a:pt x="63739" y="281277"/>
                  </a:moveTo>
                  <a:cubicBezTo>
                    <a:pt x="22924" y="322066"/>
                    <a:pt x="0" y="377402"/>
                    <a:pt x="0" y="435077"/>
                  </a:cubicBezTo>
                  <a:lnTo>
                    <a:pt x="217539" y="435077"/>
                  </a:lnTo>
                  <a:lnTo>
                    <a:pt x="435077" y="435077"/>
                  </a:lnTo>
                  <a:cubicBezTo>
                    <a:pt x="435077" y="377402"/>
                    <a:pt x="412182" y="322066"/>
                    <a:pt x="371366" y="281277"/>
                  </a:cubicBezTo>
                  <a:cubicBezTo>
                    <a:pt x="330578" y="240462"/>
                    <a:pt x="275241" y="217539"/>
                    <a:pt x="217539" y="217539"/>
                  </a:cubicBezTo>
                  <a:cubicBezTo>
                    <a:pt x="159864" y="217539"/>
                    <a:pt x="104527" y="240462"/>
                    <a:pt x="63739" y="281277"/>
                  </a:cubicBezTo>
                  <a:close/>
                </a:path>
              </a:pathLst>
            </a:custGeom>
            <a:grpFill/>
            <a:ln w="27192" cap="flat">
              <a:noFill/>
              <a:prstDash val="solid"/>
              <a:miter/>
            </a:ln>
          </p:spPr>
          <p:txBody>
            <a:bodyPr rtlCol="0" anchor="ctr"/>
            <a:lstStyle/>
            <a:p>
              <a:endParaRPr lang="uk-UA" sz="900"/>
            </a:p>
          </p:txBody>
        </p:sp>
        <p:sp>
          <p:nvSpPr>
            <p:cNvPr id="422" name="Freeform: Shape 421">
              <a:extLst>
                <a:ext uri="{FF2B5EF4-FFF2-40B4-BE49-F238E27FC236}">
                  <a16:creationId xmlns:a16="http://schemas.microsoft.com/office/drawing/2014/main" id="{DA8D9A78-10C7-4C84-EAFC-7D827F9CAF6C}"/>
                </a:ext>
              </a:extLst>
            </p:cNvPr>
            <p:cNvSpPr/>
            <p:nvPr/>
          </p:nvSpPr>
          <p:spPr>
            <a:xfrm>
              <a:off x="12147864" y="1154061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423" name="Freeform: Shape 422">
              <a:extLst>
                <a:ext uri="{FF2B5EF4-FFF2-40B4-BE49-F238E27FC236}">
                  <a16:creationId xmlns:a16="http://schemas.microsoft.com/office/drawing/2014/main" id="{2C396062-AEAB-B643-C6B8-FF93E5565ABC}"/>
                </a:ext>
              </a:extLst>
            </p:cNvPr>
            <p:cNvSpPr/>
            <p:nvPr/>
          </p:nvSpPr>
          <p:spPr>
            <a:xfrm>
              <a:off x="13018045" y="1154064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2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2" y="217539"/>
                  </a:lnTo>
                  <a:lnTo>
                    <a:pt x="0" y="435050"/>
                  </a:lnTo>
                  <a:close/>
                </a:path>
              </a:pathLst>
            </a:custGeom>
            <a:grpFill/>
            <a:ln w="27192" cap="flat">
              <a:noFill/>
              <a:prstDash val="solid"/>
              <a:miter/>
            </a:ln>
          </p:spPr>
          <p:txBody>
            <a:bodyPr rtlCol="0" anchor="ctr"/>
            <a:lstStyle/>
            <a:p>
              <a:endParaRPr lang="uk-UA" sz="900"/>
            </a:p>
          </p:txBody>
        </p:sp>
        <p:sp>
          <p:nvSpPr>
            <p:cNvPr id="424" name="Freeform: Shape 423">
              <a:extLst>
                <a:ext uri="{FF2B5EF4-FFF2-40B4-BE49-F238E27FC236}">
                  <a16:creationId xmlns:a16="http://schemas.microsoft.com/office/drawing/2014/main" id="{E6357AF1-6B6F-6164-D7D0-48EA8E5BD31A}"/>
                </a:ext>
              </a:extLst>
            </p:cNvPr>
            <p:cNvSpPr/>
            <p:nvPr/>
          </p:nvSpPr>
          <p:spPr>
            <a:xfrm>
              <a:off x="14758355" y="11540612"/>
              <a:ext cx="435103" cy="435077"/>
            </a:xfrm>
            <a:custGeom>
              <a:avLst/>
              <a:gdLst>
                <a:gd name="connsiteX0" fmla="*/ 435104 w 435103"/>
                <a:gd name="connsiteY0" fmla="*/ 435077 h 435077"/>
                <a:gd name="connsiteX1" fmla="*/ 435104 w 435103"/>
                <a:gd name="connsiteY1" fmla="*/ 217566 h 435077"/>
                <a:gd name="connsiteX2" fmla="*/ 435104 w 435103"/>
                <a:gd name="connsiteY2" fmla="*/ 27 h 435077"/>
                <a:gd name="connsiteX3" fmla="*/ 217565 w 435103"/>
                <a:gd name="connsiteY3" fmla="*/ 27 h 435077"/>
                <a:gd name="connsiteX4" fmla="*/ 435104 w 435103"/>
                <a:gd name="connsiteY4" fmla="*/ 217566 h 435077"/>
                <a:gd name="connsiteX5" fmla="*/ 217565 w 435103"/>
                <a:gd name="connsiteY5" fmla="*/ 435077 h 435077"/>
                <a:gd name="connsiteX6" fmla="*/ 435104 w 435103"/>
                <a:gd name="connsiteY6" fmla="*/ 435077 h 435077"/>
                <a:gd name="connsiteX7" fmla="*/ 0 w 435103"/>
                <a:gd name="connsiteY7" fmla="*/ 217539 h 435077"/>
                <a:gd name="connsiteX8" fmla="*/ 0 w 435103"/>
                <a:gd name="connsiteY8" fmla="*/ 0 h 435077"/>
                <a:gd name="connsiteX9" fmla="*/ 217539 w 435103"/>
                <a:gd name="connsiteY9" fmla="*/ 217539 h 435077"/>
                <a:gd name="connsiteX10" fmla="*/ 0 w 435103"/>
                <a:gd name="connsiteY10" fmla="*/ 217539 h 435077"/>
                <a:gd name="connsiteX11" fmla="*/ 27 w 435103"/>
                <a:gd name="connsiteY11" fmla="*/ 435077 h 435077"/>
                <a:gd name="connsiteX12" fmla="*/ 27 w 435103"/>
                <a:gd name="connsiteY12" fmla="*/ 217566 h 435077"/>
                <a:gd name="connsiteX13" fmla="*/ 217539 w 435103"/>
                <a:gd name="connsiteY13" fmla="*/ 217566 h 435077"/>
                <a:gd name="connsiteX14" fmla="*/ 27 w 435103"/>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103" h="435077">
                  <a:moveTo>
                    <a:pt x="435104" y="435077"/>
                  </a:moveTo>
                  <a:lnTo>
                    <a:pt x="435104" y="217566"/>
                  </a:lnTo>
                  <a:lnTo>
                    <a:pt x="435104" y="27"/>
                  </a:lnTo>
                  <a:lnTo>
                    <a:pt x="217565" y="27"/>
                  </a:lnTo>
                  <a:lnTo>
                    <a:pt x="435104" y="217566"/>
                  </a:lnTo>
                  <a:lnTo>
                    <a:pt x="217565" y="435077"/>
                  </a:lnTo>
                  <a:lnTo>
                    <a:pt x="435104" y="435077"/>
                  </a:lnTo>
                  <a:close/>
                  <a:moveTo>
                    <a:pt x="0" y="217539"/>
                  </a:moveTo>
                  <a:lnTo>
                    <a:pt x="0" y="0"/>
                  </a:lnTo>
                  <a:lnTo>
                    <a:pt x="217539" y="217539"/>
                  </a:lnTo>
                  <a:lnTo>
                    <a:pt x="0" y="217539"/>
                  </a:lnTo>
                  <a:close/>
                  <a:moveTo>
                    <a:pt x="27" y="435077"/>
                  </a:moveTo>
                  <a:lnTo>
                    <a:pt x="27" y="217566"/>
                  </a:lnTo>
                  <a:lnTo>
                    <a:pt x="217539" y="217566"/>
                  </a:lnTo>
                  <a:lnTo>
                    <a:pt x="27" y="435077"/>
                  </a:lnTo>
                  <a:close/>
                </a:path>
              </a:pathLst>
            </a:custGeom>
            <a:grpFill/>
            <a:ln w="27192" cap="flat">
              <a:noFill/>
              <a:prstDash val="solid"/>
              <a:miter/>
            </a:ln>
          </p:spPr>
          <p:txBody>
            <a:bodyPr rtlCol="0" anchor="ctr"/>
            <a:lstStyle/>
            <a:p>
              <a:endParaRPr lang="uk-UA" sz="900"/>
            </a:p>
          </p:txBody>
        </p:sp>
        <p:sp>
          <p:nvSpPr>
            <p:cNvPr id="425" name="Freeform: Shape 424">
              <a:extLst>
                <a:ext uri="{FF2B5EF4-FFF2-40B4-BE49-F238E27FC236}">
                  <a16:creationId xmlns:a16="http://schemas.microsoft.com/office/drawing/2014/main" id="{712FEFD5-013F-5F28-F7F6-ED187D016C52}"/>
                </a:ext>
              </a:extLst>
            </p:cNvPr>
            <p:cNvSpPr/>
            <p:nvPr/>
          </p:nvSpPr>
          <p:spPr>
            <a:xfrm>
              <a:off x="13888200" y="1154061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4" y="113039"/>
                    <a:pt x="371365" y="153827"/>
                  </a:cubicBezTo>
                  <a:cubicBezTo>
                    <a:pt x="330577" y="194642"/>
                    <a:pt x="275241" y="217539"/>
                    <a:pt x="217539" y="217539"/>
                  </a:cubicBezTo>
                  <a:cubicBezTo>
                    <a:pt x="159836" y="217539"/>
                    <a:pt x="104527" y="194642"/>
                    <a:pt x="63712" y="153827"/>
                  </a:cubicBezTo>
                  <a:close/>
                  <a:moveTo>
                    <a:pt x="63712" y="281277"/>
                  </a:moveTo>
                  <a:cubicBezTo>
                    <a:pt x="22924" y="322066"/>
                    <a:pt x="0" y="377402"/>
                    <a:pt x="0" y="435077"/>
                  </a:cubicBezTo>
                  <a:lnTo>
                    <a:pt x="217539" y="435077"/>
                  </a:lnTo>
                  <a:lnTo>
                    <a:pt x="435077" y="435077"/>
                  </a:lnTo>
                  <a:cubicBezTo>
                    <a:pt x="435077" y="377402"/>
                    <a:pt x="412154" y="322066"/>
                    <a:pt x="371365" y="281277"/>
                  </a:cubicBezTo>
                  <a:cubicBezTo>
                    <a:pt x="330577" y="240462"/>
                    <a:pt x="275241" y="217539"/>
                    <a:pt x="217539" y="217539"/>
                  </a:cubicBezTo>
                  <a:cubicBezTo>
                    <a:pt x="159836" y="217539"/>
                    <a:pt x="104527" y="240462"/>
                    <a:pt x="63712" y="281277"/>
                  </a:cubicBezTo>
                  <a:close/>
                </a:path>
              </a:pathLst>
            </a:custGeom>
            <a:grpFill/>
            <a:ln w="27192" cap="flat">
              <a:noFill/>
              <a:prstDash val="solid"/>
              <a:miter/>
            </a:ln>
          </p:spPr>
          <p:txBody>
            <a:bodyPr rtlCol="0" anchor="ctr"/>
            <a:lstStyle/>
            <a:p>
              <a:endParaRPr lang="uk-UA" sz="900"/>
            </a:p>
          </p:txBody>
        </p:sp>
        <p:sp>
          <p:nvSpPr>
            <p:cNvPr id="426" name="Freeform: Shape 425">
              <a:extLst>
                <a:ext uri="{FF2B5EF4-FFF2-40B4-BE49-F238E27FC236}">
                  <a16:creationId xmlns:a16="http://schemas.microsoft.com/office/drawing/2014/main" id="{181F7E87-3519-190B-D445-698832C85C08}"/>
                </a:ext>
              </a:extLst>
            </p:cNvPr>
            <p:cNvSpPr/>
            <p:nvPr/>
          </p:nvSpPr>
          <p:spPr>
            <a:xfrm>
              <a:off x="15628536" y="1154061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427" name="Freeform: Shape 426">
              <a:extLst>
                <a:ext uri="{FF2B5EF4-FFF2-40B4-BE49-F238E27FC236}">
                  <a16:creationId xmlns:a16="http://schemas.microsoft.com/office/drawing/2014/main" id="{D8E4C2FA-C5E0-300A-43B6-5654DD4B3356}"/>
                </a:ext>
              </a:extLst>
            </p:cNvPr>
            <p:cNvSpPr/>
            <p:nvPr/>
          </p:nvSpPr>
          <p:spPr>
            <a:xfrm>
              <a:off x="16498719" y="1154064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0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0" y="217539"/>
                  </a:lnTo>
                  <a:lnTo>
                    <a:pt x="0" y="435050"/>
                  </a:lnTo>
                  <a:close/>
                </a:path>
              </a:pathLst>
            </a:custGeom>
            <a:grpFill/>
            <a:ln w="27192" cap="flat">
              <a:noFill/>
              <a:prstDash val="solid"/>
              <a:miter/>
            </a:ln>
          </p:spPr>
          <p:txBody>
            <a:bodyPr rtlCol="0" anchor="ctr"/>
            <a:lstStyle/>
            <a:p>
              <a:endParaRPr lang="uk-UA" sz="900"/>
            </a:p>
          </p:txBody>
        </p:sp>
        <p:sp>
          <p:nvSpPr>
            <p:cNvPr id="428" name="Freeform: Shape 427">
              <a:extLst>
                <a:ext uri="{FF2B5EF4-FFF2-40B4-BE49-F238E27FC236}">
                  <a16:creationId xmlns:a16="http://schemas.microsoft.com/office/drawing/2014/main" id="{588FDA5A-FE75-D962-4EB1-A1FBDBC03CC3}"/>
                </a:ext>
              </a:extLst>
            </p:cNvPr>
            <p:cNvSpPr/>
            <p:nvPr/>
          </p:nvSpPr>
          <p:spPr>
            <a:xfrm>
              <a:off x="18239029" y="1154061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0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10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0" y="217539"/>
                  </a:lnTo>
                  <a:lnTo>
                    <a:pt x="0" y="217539"/>
                  </a:lnTo>
                  <a:close/>
                  <a:moveTo>
                    <a:pt x="0" y="435077"/>
                  </a:moveTo>
                  <a:lnTo>
                    <a:pt x="0" y="217566"/>
                  </a:lnTo>
                  <a:lnTo>
                    <a:pt x="217510" y="217566"/>
                  </a:lnTo>
                  <a:lnTo>
                    <a:pt x="0" y="435077"/>
                  </a:lnTo>
                  <a:close/>
                </a:path>
              </a:pathLst>
            </a:custGeom>
            <a:grpFill/>
            <a:ln w="27192" cap="flat">
              <a:noFill/>
              <a:prstDash val="solid"/>
              <a:miter/>
            </a:ln>
          </p:spPr>
          <p:txBody>
            <a:bodyPr rtlCol="0" anchor="ctr"/>
            <a:lstStyle/>
            <a:p>
              <a:endParaRPr lang="uk-UA" sz="900"/>
            </a:p>
          </p:txBody>
        </p:sp>
        <p:sp>
          <p:nvSpPr>
            <p:cNvPr id="429" name="Freeform: Shape 428">
              <a:extLst>
                <a:ext uri="{FF2B5EF4-FFF2-40B4-BE49-F238E27FC236}">
                  <a16:creationId xmlns:a16="http://schemas.microsoft.com/office/drawing/2014/main" id="{991B4691-D7A3-38E0-E1DF-A8907D5345F8}"/>
                </a:ext>
              </a:extLst>
            </p:cNvPr>
            <p:cNvSpPr/>
            <p:nvPr/>
          </p:nvSpPr>
          <p:spPr>
            <a:xfrm>
              <a:off x="17368874" y="11540612"/>
              <a:ext cx="435077" cy="435077"/>
            </a:xfrm>
            <a:custGeom>
              <a:avLst/>
              <a:gdLst>
                <a:gd name="connsiteX0" fmla="*/ 63710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0 w 435077"/>
                <a:gd name="connsiteY6" fmla="*/ 153827 h 435077"/>
                <a:gd name="connsiteX7" fmla="*/ 63710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77 h 435077"/>
                <a:gd name="connsiteX12" fmla="*/ 217539 w 435077"/>
                <a:gd name="connsiteY12" fmla="*/ 217539 h 435077"/>
                <a:gd name="connsiteX13" fmla="*/ 63710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7"/>
                  </a:moveTo>
                  <a:cubicBezTo>
                    <a:pt x="22895" y="113039"/>
                    <a:pt x="0" y="57702"/>
                    <a:pt x="0" y="0"/>
                  </a:cubicBezTo>
                  <a:lnTo>
                    <a:pt x="217539" y="0"/>
                  </a:lnTo>
                  <a:lnTo>
                    <a:pt x="435077" y="0"/>
                  </a:lnTo>
                  <a:cubicBezTo>
                    <a:pt x="435077" y="57702"/>
                    <a:pt x="412154" y="113039"/>
                    <a:pt x="371339" y="153827"/>
                  </a:cubicBezTo>
                  <a:cubicBezTo>
                    <a:pt x="330550" y="194642"/>
                    <a:pt x="275213" y="217539"/>
                    <a:pt x="217539" y="217539"/>
                  </a:cubicBezTo>
                  <a:cubicBezTo>
                    <a:pt x="159836" y="217539"/>
                    <a:pt x="104499" y="194642"/>
                    <a:pt x="63710" y="153827"/>
                  </a:cubicBezTo>
                  <a:close/>
                  <a:moveTo>
                    <a:pt x="63710" y="281277"/>
                  </a:moveTo>
                  <a:cubicBezTo>
                    <a:pt x="22895" y="322066"/>
                    <a:pt x="0" y="377402"/>
                    <a:pt x="0" y="435077"/>
                  </a:cubicBezTo>
                  <a:lnTo>
                    <a:pt x="217539" y="435077"/>
                  </a:lnTo>
                  <a:lnTo>
                    <a:pt x="435077" y="435077"/>
                  </a:lnTo>
                  <a:cubicBezTo>
                    <a:pt x="435077" y="377402"/>
                    <a:pt x="412154" y="322066"/>
                    <a:pt x="371339" y="281277"/>
                  </a:cubicBezTo>
                  <a:cubicBezTo>
                    <a:pt x="330550" y="240462"/>
                    <a:pt x="275213" y="217539"/>
                    <a:pt x="217539" y="217539"/>
                  </a:cubicBezTo>
                  <a:cubicBezTo>
                    <a:pt x="159836" y="217539"/>
                    <a:pt x="104499" y="240462"/>
                    <a:pt x="63710" y="281277"/>
                  </a:cubicBezTo>
                  <a:close/>
                </a:path>
              </a:pathLst>
            </a:custGeom>
            <a:grpFill/>
            <a:ln w="27192" cap="flat">
              <a:noFill/>
              <a:prstDash val="solid"/>
              <a:miter/>
            </a:ln>
          </p:spPr>
          <p:txBody>
            <a:bodyPr rtlCol="0" anchor="ctr"/>
            <a:lstStyle/>
            <a:p>
              <a:endParaRPr lang="uk-UA" sz="900"/>
            </a:p>
          </p:txBody>
        </p:sp>
        <p:sp>
          <p:nvSpPr>
            <p:cNvPr id="430" name="Freeform: Shape 429">
              <a:extLst>
                <a:ext uri="{FF2B5EF4-FFF2-40B4-BE49-F238E27FC236}">
                  <a16:creationId xmlns:a16="http://schemas.microsoft.com/office/drawing/2014/main" id="{01AE160A-040B-D68D-CB06-351FBEB53F87}"/>
                </a:ext>
              </a:extLst>
            </p:cNvPr>
            <p:cNvSpPr/>
            <p:nvPr/>
          </p:nvSpPr>
          <p:spPr>
            <a:xfrm>
              <a:off x="19109184" y="1154061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431" name="Freeform: Shape 430">
              <a:extLst>
                <a:ext uri="{FF2B5EF4-FFF2-40B4-BE49-F238E27FC236}">
                  <a16:creationId xmlns:a16="http://schemas.microsoft.com/office/drawing/2014/main" id="{D5787A10-C32A-4B26-0298-28B874979B71}"/>
                </a:ext>
              </a:extLst>
            </p:cNvPr>
            <p:cNvSpPr/>
            <p:nvPr/>
          </p:nvSpPr>
          <p:spPr>
            <a:xfrm>
              <a:off x="19979365" y="11540612"/>
              <a:ext cx="435077" cy="435077"/>
            </a:xfrm>
            <a:custGeom>
              <a:avLst/>
              <a:gdLst>
                <a:gd name="connsiteX0" fmla="*/ 435077 w 435077"/>
                <a:gd name="connsiteY0" fmla="*/ 435077 h 435077"/>
                <a:gd name="connsiteX1" fmla="*/ 435077 w 435077"/>
                <a:gd name="connsiteY1" fmla="*/ 0 h 435077"/>
                <a:gd name="connsiteX2" fmla="*/ 217539 w 435077"/>
                <a:gd name="connsiteY2" fmla="*/ 217566 h 435077"/>
                <a:gd name="connsiteX3" fmla="*/ 435077 w 435077"/>
                <a:gd name="connsiteY3" fmla="*/ 435077 h 435077"/>
                <a:gd name="connsiteX4" fmla="*/ 0 w 435077"/>
                <a:gd name="connsiteY4" fmla="*/ 435077 h 435077"/>
                <a:gd name="connsiteX5" fmla="*/ 0 w 435077"/>
                <a:gd name="connsiteY5" fmla="*/ 0 h 435077"/>
                <a:gd name="connsiteX6" fmla="*/ 217512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66"/>
                  </a:lnTo>
                  <a:lnTo>
                    <a:pt x="435077" y="435077"/>
                  </a:lnTo>
                  <a:close/>
                  <a:moveTo>
                    <a:pt x="0" y="435077"/>
                  </a:moveTo>
                  <a:lnTo>
                    <a:pt x="0" y="0"/>
                  </a:lnTo>
                  <a:lnTo>
                    <a:pt x="217512" y="217566"/>
                  </a:lnTo>
                  <a:lnTo>
                    <a:pt x="0" y="435077"/>
                  </a:lnTo>
                  <a:close/>
                </a:path>
              </a:pathLst>
            </a:custGeom>
            <a:grpFill/>
            <a:ln w="27192" cap="flat">
              <a:noFill/>
              <a:prstDash val="solid"/>
              <a:miter/>
            </a:ln>
          </p:spPr>
          <p:txBody>
            <a:bodyPr rtlCol="0" anchor="ctr"/>
            <a:lstStyle/>
            <a:p>
              <a:endParaRPr lang="uk-UA" sz="900"/>
            </a:p>
          </p:txBody>
        </p:sp>
        <p:sp>
          <p:nvSpPr>
            <p:cNvPr id="432" name="Freeform: Shape 431">
              <a:extLst>
                <a:ext uri="{FF2B5EF4-FFF2-40B4-BE49-F238E27FC236}">
                  <a16:creationId xmlns:a16="http://schemas.microsoft.com/office/drawing/2014/main" id="{67C131D7-28DF-6D0F-1AB7-14445FB3BED6}"/>
                </a:ext>
              </a:extLst>
            </p:cNvPr>
            <p:cNvSpPr/>
            <p:nvPr/>
          </p:nvSpPr>
          <p:spPr>
            <a:xfrm>
              <a:off x="21719675" y="1154061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5 w 435077"/>
                <a:gd name="connsiteY3" fmla="*/ 27 h 435077"/>
                <a:gd name="connsiteX4" fmla="*/ 435077 w 435077"/>
                <a:gd name="connsiteY4" fmla="*/ 217566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5" y="27"/>
                  </a:lnTo>
                  <a:lnTo>
                    <a:pt x="435077" y="217566"/>
                  </a:lnTo>
                  <a:lnTo>
                    <a:pt x="217565"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433" name="Freeform: Shape 432">
              <a:extLst>
                <a:ext uri="{FF2B5EF4-FFF2-40B4-BE49-F238E27FC236}">
                  <a16:creationId xmlns:a16="http://schemas.microsoft.com/office/drawing/2014/main" id="{E2FBD339-1875-DDE7-5866-5DFE9BDB6EE2}"/>
                </a:ext>
              </a:extLst>
            </p:cNvPr>
            <p:cNvSpPr/>
            <p:nvPr/>
          </p:nvSpPr>
          <p:spPr>
            <a:xfrm>
              <a:off x="20849520" y="1154061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4" y="113039"/>
                    <a:pt x="371365" y="153827"/>
                  </a:cubicBezTo>
                  <a:cubicBezTo>
                    <a:pt x="330577" y="194642"/>
                    <a:pt x="275241" y="217539"/>
                    <a:pt x="217539" y="217539"/>
                  </a:cubicBezTo>
                  <a:cubicBezTo>
                    <a:pt x="159836"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4" y="322066"/>
                    <a:pt x="371365" y="281277"/>
                  </a:cubicBezTo>
                  <a:cubicBezTo>
                    <a:pt x="330577" y="240462"/>
                    <a:pt x="275241" y="217539"/>
                    <a:pt x="217539" y="217539"/>
                  </a:cubicBezTo>
                  <a:cubicBezTo>
                    <a:pt x="159836" y="217539"/>
                    <a:pt x="104501" y="240462"/>
                    <a:pt x="63712" y="281277"/>
                  </a:cubicBezTo>
                  <a:close/>
                </a:path>
              </a:pathLst>
            </a:custGeom>
            <a:grpFill/>
            <a:ln w="27192" cap="flat">
              <a:noFill/>
              <a:prstDash val="solid"/>
              <a:miter/>
            </a:ln>
          </p:spPr>
          <p:txBody>
            <a:bodyPr rtlCol="0" anchor="ctr"/>
            <a:lstStyle/>
            <a:p>
              <a:endParaRPr lang="uk-UA" sz="900"/>
            </a:p>
          </p:txBody>
        </p:sp>
        <p:sp>
          <p:nvSpPr>
            <p:cNvPr id="434" name="Freeform: Shape 433">
              <a:extLst>
                <a:ext uri="{FF2B5EF4-FFF2-40B4-BE49-F238E27FC236}">
                  <a16:creationId xmlns:a16="http://schemas.microsoft.com/office/drawing/2014/main" id="{394CBE46-D8F5-2CAB-E4D3-38276E45DE97}"/>
                </a:ext>
              </a:extLst>
            </p:cNvPr>
            <p:cNvSpPr/>
            <p:nvPr/>
          </p:nvSpPr>
          <p:spPr>
            <a:xfrm>
              <a:off x="22589856" y="1154061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435" name="Freeform: Shape 434">
              <a:extLst>
                <a:ext uri="{FF2B5EF4-FFF2-40B4-BE49-F238E27FC236}">
                  <a16:creationId xmlns:a16="http://schemas.microsoft.com/office/drawing/2014/main" id="{A3AF95AC-A585-081D-4054-A2622535A97B}"/>
                </a:ext>
              </a:extLst>
            </p:cNvPr>
            <p:cNvSpPr/>
            <p:nvPr/>
          </p:nvSpPr>
          <p:spPr>
            <a:xfrm>
              <a:off x="23460011" y="11540612"/>
              <a:ext cx="435077" cy="435077"/>
            </a:xfrm>
            <a:custGeom>
              <a:avLst/>
              <a:gdLst>
                <a:gd name="connsiteX0" fmla="*/ 435077 w 435077"/>
                <a:gd name="connsiteY0" fmla="*/ 435077 h 435077"/>
                <a:gd name="connsiteX1" fmla="*/ 435077 w 435077"/>
                <a:gd name="connsiteY1" fmla="*/ 0 h 435077"/>
                <a:gd name="connsiteX2" fmla="*/ 217567 w 435077"/>
                <a:gd name="connsiteY2" fmla="*/ 217566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7" y="217566"/>
                  </a:lnTo>
                  <a:lnTo>
                    <a:pt x="435077" y="435077"/>
                  </a:lnTo>
                  <a:close/>
                  <a:moveTo>
                    <a:pt x="0" y="435077"/>
                  </a:moveTo>
                  <a:lnTo>
                    <a:pt x="0" y="0"/>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436" name="Freeform: Shape 435">
              <a:extLst>
                <a:ext uri="{FF2B5EF4-FFF2-40B4-BE49-F238E27FC236}">
                  <a16:creationId xmlns:a16="http://schemas.microsoft.com/office/drawing/2014/main" id="{0DFCC5E1-6CA1-2284-CDB7-017859F40308}"/>
                </a:ext>
              </a:extLst>
            </p:cNvPr>
            <p:cNvSpPr/>
            <p:nvPr/>
          </p:nvSpPr>
          <p:spPr>
            <a:xfrm>
              <a:off x="24330194" y="1154061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447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447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235" y="113039"/>
                    <a:pt x="371447" y="153827"/>
                  </a:cubicBezTo>
                  <a:cubicBezTo>
                    <a:pt x="330658" y="194642"/>
                    <a:pt x="275186" y="217539"/>
                    <a:pt x="217539" y="217539"/>
                  </a:cubicBezTo>
                  <a:cubicBezTo>
                    <a:pt x="159836" y="217539"/>
                    <a:pt x="104501" y="194642"/>
                    <a:pt x="63712" y="153827"/>
                  </a:cubicBezTo>
                  <a:close/>
                  <a:moveTo>
                    <a:pt x="63712" y="281277"/>
                  </a:moveTo>
                  <a:cubicBezTo>
                    <a:pt x="22924" y="322066"/>
                    <a:pt x="0" y="377402"/>
                    <a:pt x="0" y="435077"/>
                  </a:cubicBezTo>
                  <a:lnTo>
                    <a:pt x="217539" y="435077"/>
                  </a:lnTo>
                  <a:lnTo>
                    <a:pt x="435077" y="435077"/>
                  </a:lnTo>
                  <a:cubicBezTo>
                    <a:pt x="435077" y="377402"/>
                    <a:pt x="412235" y="322066"/>
                    <a:pt x="371447" y="281277"/>
                  </a:cubicBezTo>
                  <a:cubicBezTo>
                    <a:pt x="330658" y="240462"/>
                    <a:pt x="275186" y="217539"/>
                    <a:pt x="217539" y="217539"/>
                  </a:cubicBezTo>
                  <a:cubicBezTo>
                    <a:pt x="159836" y="217539"/>
                    <a:pt x="104501" y="240462"/>
                    <a:pt x="63712" y="281277"/>
                  </a:cubicBezTo>
                  <a:close/>
                </a:path>
              </a:pathLst>
            </a:custGeom>
            <a:grpFill/>
            <a:ln w="27192" cap="flat">
              <a:noFill/>
              <a:prstDash val="solid"/>
              <a:miter/>
            </a:ln>
          </p:spPr>
          <p:txBody>
            <a:bodyPr rtlCol="0" anchor="ctr"/>
            <a:lstStyle/>
            <a:p>
              <a:endParaRPr lang="uk-UA" sz="900"/>
            </a:p>
          </p:txBody>
        </p:sp>
        <p:sp>
          <p:nvSpPr>
            <p:cNvPr id="437" name="Freeform: Shape 436">
              <a:extLst>
                <a:ext uri="{FF2B5EF4-FFF2-40B4-BE49-F238E27FC236}">
                  <a16:creationId xmlns:a16="http://schemas.microsoft.com/office/drawing/2014/main" id="{8BD96ABC-B727-8F12-F5DB-FE9132E19BF8}"/>
                </a:ext>
              </a:extLst>
            </p:cNvPr>
            <p:cNvSpPr/>
            <p:nvPr/>
          </p:nvSpPr>
          <p:spPr>
            <a:xfrm>
              <a:off x="835742" y="12410767"/>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p>
          </p:txBody>
        </p:sp>
        <p:sp>
          <p:nvSpPr>
            <p:cNvPr id="438" name="Freeform: Shape 437">
              <a:extLst>
                <a:ext uri="{FF2B5EF4-FFF2-40B4-BE49-F238E27FC236}">
                  <a16:creationId xmlns:a16="http://schemas.microsoft.com/office/drawing/2014/main" id="{2290D30B-AFE8-5A16-E921-F7D2FD734A24}"/>
                </a:ext>
              </a:extLst>
            </p:cNvPr>
            <p:cNvSpPr/>
            <p:nvPr/>
          </p:nvSpPr>
          <p:spPr>
            <a:xfrm>
              <a:off x="-34409" y="12410767"/>
              <a:ext cx="435074" cy="435104"/>
            </a:xfrm>
            <a:custGeom>
              <a:avLst/>
              <a:gdLst>
                <a:gd name="connsiteX0" fmla="*/ 0 w 435074"/>
                <a:gd name="connsiteY0" fmla="*/ 435077 h 435104"/>
                <a:gd name="connsiteX1" fmla="*/ 217536 w 435074"/>
                <a:gd name="connsiteY1" fmla="*/ 435077 h 435104"/>
                <a:gd name="connsiteX2" fmla="*/ 217536 w 435074"/>
                <a:gd name="connsiteY2" fmla="*/ 217566 h 435104"/>
                <a:gd name="connsiteX3" fmla="*/ 0 w 435074"/>
                <a:gd name="connsiteY3" fmla="*/ 435077 h 435104"/>
                <a:gd name="connsiteX4" fmla="*/ 217536 w 435074"/>
                <a:gd name="connsiteY4" fmla="*/ 0 h 435104"/>
                <a:gd name="connsiteX5" fmla="*/ 3 w 435074"/>
                <a:gd name="connsiteY5" fmla="*/ 0 h 435104"/>
                <a:gd name="connsiteX6" fmla="*/ 217536 w 435074"/>
                <a:gd name="connsiteY6" fmla="*/ 217539 h 435104"/>
                <a:gd name="connsiteX7" fmla="*/ 217536 w 435074"/>
                <a:gd name="connsiteY7" fmla="*/ 0 h 435104"/>
                <a:gd name="connsiteX8" fmla="*/ 435075 w 435074"/>
                <a:gd name="connsiteY8" fmla="*/ 435105 h 435104"/>
                <a:gd name="connsiteX9" fmla="*/ 217536 w 435074"/>
                <a:gd name="connsiteY9" fmla="*/ 435105 h 435104"/>
                <a:gd name="connsiteX10" fmla="*/ 435075 w 435074"/>
                <a:gd name="connsiteY10" fmla="*/ 217566 h 435104"/>
                <a:gd name="connsiteX11" fmla="*/ 435075 w 435074"/>
                <a:gd name="connsiteY11" fmla="*/ 435105 h 435104"/>
                <a:gd name="connsiteX12" fmla="*/ 435075 w 435074"/>
                <a:gd name="connsiteY12" fmla="*/ 27 h 435104"/>
                <a:gd name="connsiteX13" fmla="*/ 217536 w 435074"/>
                <a:gd name="connsiteY13" fmla="*/ 27 h 435104"/>
                <a:gd name="connsiteX14" fmla="*/ 435075 w 435074"/>
                <a:gd name="connsiteY14" fmla="*/ 217539 h 435104"/>
                <a:gd name="connsiteX15" fmla="*/ 435075 w 435074"/>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4" h="435104">
                  <a:moveTo>
                    <a:pt x="0" y="435077"/>
                  </a:moveTo>
                  <a:lnTo>
                    <a:pt x="217536" y="435077"/>
                  </a:lnTo>
                  <a:lnTo>
                    <a:pt x="217536" y="217566"/>
                  </a:lnTo>
                  <a:lnTo>
                    <a:pt x="0" y="435077"/>
                  </a:lnTo>
                  <a:close/>
                  <a:moveTo>
                    <a:pt x="217536" y="0"/>
                  </a:moveTo>
                  <a:lnTo>
                    <a:pt x="3" y="0"/>
                  </a:lnTo>
                  <a:lnTo>
                    <a:pt x="217536" y="217539"/>
                  </a:lnTo>
                  <a:lnTo>
                    <a:pt x="217536" y="0"/>
                  </a:lnTo>
                  <a:close/>
                  <a:moveTo>
                    <a:pt x="435075" y="435105"/>
                  </a:moveTo>
                  <a:lnTo>
                    <a:pt x="217536" y="435105"/>
                  </a:lnTo>
                  <a:lnTo>
                    <a:pt x="435075" y="217566"/>
                  </a:lnTo>
                  <a:lnTo>
                    <a:pt x="435075" y="435105"/>
                  </a:lnTo>
                  <a:close/>
                  <a:moveTo>
                    <a:pt x="435075" y="27"/>
                  </a:moveTo>
                  <a:lnTo>
                    <a:pt x="217536" y="27"/>
                  </a:lnTo>
                  <a:lnTo>
                    <a:pt x="435075" y="217539"/>
                  </a:lnTo>
                  <a:lnTo>
                    <a:pt x="435075" y="27"/>
                  </a:lnTo>
                  <a:close/>
                </a:path>
              </a:pathLst>
            </a:custGeom>
            <a:grpFill/>
            <a:ln w="27192" cap="flat">
              <a:noFill/>
              <a:prstDash val="solid"/>
              <a:miter/>
            </a:ln>
          </p:spPr>
          <p:txBody>
            <a:bodyPr rtlCol="0" anchor="ctr"/>
            <a:lstStyle/>
            <a:p>
              <a:endParaRPr lang="uk-UA" sz="900"/>
            </a:p>
          </p:txBody>
        </p:sp>
        <p:sp>
          <p:nvSpPr>
            <p:cNvPr id="439" name="Freeform: Shape 438">
              <a:extLst>
                <a:ext uri="{FF2B5EF4-FFF2-40B4-BE49-F238E27FC236}">
                  <a16:creationId xmlns:a16="http://schemas.microsoft.com/office/drawing/2014/main" id="{F317003A-9B64-6A83-0EC1-F3B740946190}"/>
                </a:ext>
              </a:extLst>
            </p:cNvPr>
            <p:cNvSpPr/>
            <p:nvPr/>
          </p:nvSpPr>
          <p:spPr>
            <a:xfrm>
              <a:off x="1705924" y="12410767"/>
              <a:ext cx="435077" cy="435077"/>
            </a:xfrm>
            <a:custGeom>
              <a:avLst/>
              <a:gdLst>
                <a:gd name="connsiteX0" fmla="*/ 371366 w 435077"/>
                <a:gd name="connsiteY0" fmla="*/ 63739 h 435077"/>
                <a:gd name="connsiteX1" fmla="*/ 435077 w 435077"/>
                <a:gd name="connsiteY1" fmla="*/ 217539 h 435077"/>
                <a:gd name="connsiteX2" fmla="*/ 217702 w 435077"/>
                <a:gd name="connsiteY2" fmla="*/ 217539 h 435077"/>
                <a:gd name="connsiteX3" fmla="*/ 371366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1 w 435077"/>
                <a:gd name="connsiteY7" fmla="*/ 281277 h 435077"/>
                <a:gd name="connsiteX8" fmla="*/ 217375 w 435077"/>
                <a:gd name="connsiteY8" fmla="*/ 217539 h 435077"/>
                <a:gd name="connsiteX9" fmla="*/ 0 w 435077"/>
                <a:gd name="connsiteY9" fmla="*/ 217539 h 435077"/>
                <a:gd name="connsiteX10" fmla="*/ 63711 w 435077"/>
                <a:gd name="connsiteY10" fmla="*/ 63739 h 435077"/>
                <a:gd name="connsiteX11" fmla="*/ 217539 w 435077"/>
                <a:gd name="connsiteY11" fmla="*/ 0 h 435077"/>
                <a:gd name="connsiteX12" fmla="*/ 371366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39"/>
                  </a:moveTo>
                  <a:cubicBezTo>
                    <a:pt x="412154" y="104527"/>
                    <a:pt x="435077" y="159864"/>
                    <a:pt x="435077" y="217539"/>
                  </a:cubicBezTo>
                  <a:lnTo>
                    <a:pt x="217702" y="217539"/>
                  </a:lnTo>
                  <a:cubicBezTo>
                    <a:pt x="275349" y="217593"/>
                    <a:pt x="330604" y="240516"/>
                    <a:pt x="371366" y="281277"/>
                  </a:cubicBezTo>
                  <a:cubicBezTo>
                    <a:pt x="412154" y="322066"/>
                    <a:pt x="435077" y="377402"/>
                    <a:pt x="435077" y="435077"/>
                  </a:cubicBezTo>
                  <a:lnTo>
                    <a:pt x="217539" y="435077"/>
                  </a:lnTo>
                  <a:lnTo>
                    <a:pt x="0" y="435077"/>
                  </a:lnTo>
                  <a:cubicBezTo>
                    <a:pt x="0" y="377402"/>
                    <a:pt x="22923" y="322066"/>
                    <a:pt x="63711" y="281277"/>
                  </a:cubicBezTo>
                  <a:cubicBezTo>
                    <a:pt x="104473" y="240516"/>
                    <a:pt x="159728" y="217593"/>
                    <a:pt x="217375" y="217539"/>
                  </a:cubicBezTo>
                  <a:lnTo>
                    <a:pt x="0" y="217539"/>
                  </a:lnTo>
                  <a:cubicBezTo>
                    <a:pt x="0" y="159864"/>
                    <a:pt x="22923" y="104527"/>
                    <a:pt x="63711" y="63739"/>
                  </a:cubicBezTo>
                  <a:cubicBezTo>
                    <a:pt x="104500" y="22923"/>
                    <a:pt x="159836" y="0"/>
                    <a:pt x="217539" y="0"/>
                  </a:cubicBezTo>
                  <a:cubicBezTo>
                    <a:pt x="275213" y="0"/>
                    <a:pt x="330550" y="22923"/>
                    <a:pt x="371366" y="63739"/>
                  </a:cubicBezTo>
                  <a:close/>
                </a:path>
              </a:pathLst>
            </a:custGeom>
            <a:grpFill/>
            <a:ln w="27192" cap="flat">
              <a:noFill/>
              <a:prstDash val="solid"/>
              <a:miter/>
            </a:ln>
          </p:spPr>
          <p:txBody>
            <a:bodyPr rtlCol="0" anchor="ctr"/>
            <a:lstStyle/>
            <a:p>
              <a:endParaRPr lang="uk-UA" sz="900"/>
            </a:p>
          </p:txBody>
        </p:sp>
        <p:sp>
          <p:nvSpPr>
            <p:cNvPr id="440" name="Freeform: Shape 439">
              <a:extLst>
                <a:ext uri="{FF2B5EF4-FFF2-40B4-BE49-F238E27FC236}">
                  <a16:creationId xmlns:a16="http://schemas.microsoft.com/office/drawing/2014/main" id="{9370FEFA-24AF-1BD1-34EA-40899AB8EA7F}"/>
                </a:ext>
              </a:extLst>
            </p:cNvPr>
            <p:cNvSpPr/>
            <p:nvPr/>
          </p:nvSpPr>
          <p:spPr>
            <a:xfrm>
              <a:off x="2576079" y="12410767"/>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441" name="Freeform: Shape 440">
              <a:extLst>
                <a:ext uri="{FF2B5EF4-FFF2-40B4-BE49-F238E27FC236}">
                  <a16:creationId xmlns:a16="http://schemas.microsoft.com/office/drawing/2014/main" id="{8D0D59C8-0092-29F3-885C-7CFDD153307F}"/>
                </a:ext>
              </a:extLst>
            </p:cNvPr>
            <p:cNvSpPr/>
            <p:nvPr/>
          </p:nvSpPr>
          <p:spPr>
            <a:xfrm>
              <a:off x="4316416" y="12410767"/>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442" name="Freeform: Shape 441">
              <a:extLst>
                <a:ext uri="{FF2B5EF4-FFF2-40B4-BE49-F238E27FC236}">
                  <a16:creationId xmlns:a16="http://schemas.microsoft.com/office/drawing/2014/main" id="{9C566BD1-98C7-451E-8D94-EC7EA1F36418}"/>
                </a:ext>
              </a:extLst>
            </p:cNvPr>
            <p:cNvSpPr/>
            <p:nvPr/>
          </p:nvSpPr>
          <p:spPr>
            <a:xfrm>
              <a:off x="3446261" y="12410767"/>
              <a:ext cx="435077" cy="435104"/>
            </a:xfrm>
            <a:custGeom>
              <a:avLst/>
              <a:gdLst>
                <a:gd name="connsiteX0" fmla="*/ 0 w 435077"/>
                <a:gd name="connsiteY0" fmla="*/ 435077 h 435104"/>
                <a:gd name="connsiteX1" fmla="*/ 217512 w 435077"/>
                <a:gd name="connsiteY1" fmla="*/ 435077 h 435104"/>
                <a:gd name="connsiteX2" fmla="*/ 217512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12" y="435077"/>
                  </a:lnTo>
                  <a:lnTo>
                    <a:pt x="217512"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443" name="Freeform: Shape 442">
              <a:extLst>
                <a:ext uri="{FF2B5EF4-FFF2-40B4-BE49-F238E27FC236}">
                  <a16:creationId xmlns:a16="http://schemas.microsoft.com/office/drawing/2014/main" id="{77B9E527-AB61-1537-29AC-A10CAF6C5AAA}"/>
                </a:ext>
              </a:extLst>
            </p:cNvPr>
            <p:cNvSpPr/>
            <p:nvPr/>
          </p:nvSpPr>
          <p:spPr>
            <a:xfrm>
              <a:off x="5186571" y="12410767"/>
              <a:ext cx="435103" cy="435077"/>
            </a:xfrm>
            <a:custGeom>
              <a:avLst/>
              <a:gdLst>
                <a:gd name="connsiteX0" fmla="*/ 371365 w 435103"/>
                <a:gd name="connsiteY0" fmla="*/ 63739 h 435077"/>
                <a:gd name="connsiteX1" fmla="*/ 435077 w 435103"/>
                <a:gd name="connsiteY1" fmla="*/ 217539 h 435077"/>
                <a:gd name="connsiteX2" fmla="*/ 217729 w 435103"/>
                <a:gd name="connsiteY2" fmla="*/ 217539 h 435077"/>
                <a:gd name="connsiteX3" fmla="*/ 371365 w 435103"/>
                <a:gd name="connsiteY3" fmla="*/ 281277 h 435077"/>
                <a:gd name="connsiteX4" fmla="*/ 435104 w 435103"/>
                <a:gd name="connsiteY4" fmla="*/ 435077 h 435077"/>
                <a:gd name="connsiteX5" fmla="*/ 217565 w 435103"/>
                <a:gd name="connsiteY5" fmla="*/ 435077 h 435077"/>
                <a:gd name="connsiteX6" fmla="*/ 27 w 435103"/>
                <a:gd name="connsiteY6" fmla="*/ 435077 h 435077"/>
                <a:gd name="connsiteX7" fmla="*/ 63739 w 435103"/>
                <a:gd name="connsiteY7" fmla="*/ 281277 h 435077"/>
                <a:gd name="connsiteX8" fmla="*/ 217375 w 435103"/>
                <a:gd name="connsiteY8" fmla="*/ 217539 h 435077"/>
                <a:gd name="connsiteX9" fmla="*/ 0 w 435103"/>
                <a:gd name="connsiteY9" fmla="*/ 217539 h 435077"/>
                <a:gd name="connsiteX10" fmla="*/ 63739 w 435103"/>
                <a:gd name="connsiteY10" fmla="*/ 63739 h 435077"/>
                <a:gd name="connsiteX11" fmla="*/ 217539 w 435103"/>
                <a:gd name="connsiteY11" fmla="*/ 0 h 435077"/>
                <a:gd name="connsiteX12" fmla="*/ 371365 w 435103"/>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3" h="435077">
                  <a:moveTo>
                    <a:pt x="371365" y="63739"/>
                  </a:moveTo>
                  <a:cubicBezTo>
                    <a:pt x="412181" y="104527"/>
                    <a:pt x="435077" y="159864"/>
                    <a:pt x="435077" y="217539"/>
                  </a:cubicBezTo>
                  <a:lnTo>
                    <a:pt x="217729" y="217539"/>
                  </a:lnTo>
                  <a:cubicBezTo>
                    <a:pt x="275349" y="217593"/>
                    <a:pt x="330632" y="240516"/>
                    <a:pt x="371365" y="281277"/>
                  </a:cubicBezTo>
                  <a:cubicBezTo>
                    <a:pt x="412181" y="322066"/>
                    <a:pt x="435104" y="377402"/>
                    <a:pt x="435104" y="435077"/>
                  </a:cubicBezTo>
                  <a:lnTo>
                    <a:pt x="217565" y="435077"/>
                  </a:lnTo>
                  <a:lnTo>
                    <a:pt x="27" y="435077"/>
                  </a:lnTo>
                  <a:cubicBezTo>
                    <a:pt x="27" y="377402"/>
                    <a:pt x="22923" y="322066"/>
                    <a:pt x="63739" y="281277"/>
                  </a:cubicBezTo>
                  <a:cubicBezTo>
                    <a:pt x="104500" y="240516"/>
                    <a:pt x="159755" y="217593"/>
                    <a:pt x="217375" y="217539"/>
                  </a:cubicBezTo>
                  <a:lnTo>
                    <a:pt x="0" y="217539"/>
                  </a:lnTo>
                  <a:cubicBezTo>
                    <a:pt x="0" y="159864"/>
                    <a:pt x="22923" y="104527"/>
                    <a:pt x="63739" y="63739"/>
                  </a:cubicBezTo>
                  <a:cubicBezTo>
                    <a:pt x="104527" y="22923"/>
                    <a:pt x="159864" y="0"/>
                    <a:pt x="217539" y="0"/>
                  </a:cubicBezTo>
                  <a:cubicBezTo>
                    <a:pt x="275240" y="0"/>
                    <a:pt x="330577" y="22923"/>
                    <a:pt x="371365" y="63739"/>
                  </a:cubicBezTo>
                  <a:close/>
                </a:path>
              </a:pathLst>
            </a:custGeom>
            <a:grpFill/>
            <a:ln w="27192" cap="flat">
              <a:noFill/>
              <a:prstDash val="solid"/>
              <a:miter/>
            </a:ln>
          </p:spPr>
          <p:txBody>
            <a:bodyPr rtlCol="0" anchor="ctr"/>
            <a:lstStyle/>
            <a:p>
              <a:endParaRPr lang="uk-UA" sz="900"/>
            </a:p>
          </p:txBody>
        </p:sp>
        <p:sp>
          <p:nvSpPr>
            <p:cNvPr id="444" name="Freeform: Shape 443">
              <a:extLst>
                <a:ext uri="{FF2B5EF4-FFF2-40B4-BE49-F238E27FC236}">
                  <a16:creationId xmlns:a16="http://schemas.microsoft.com/office/drawing/2014/main" id="{D0178CF2-031F-6CEA-A849-F98ADCB0C85C}"/>
                </a:ext>
              </a:extLst>
            </p:cNvPr>
            <p:cNvSpPr/>
            <p:nvPr/>
          </p:nvSpPr>
          <p:spPr>
            <a:xfrm>
              <a:off x="6056725" y="12410767"/>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445" name="Freeform: Shape 444">
              <a:extLst>
                <a:ext uri="{FF2B5EF4-FFF2-40B4-BE49-F238E27FC236}">
                  <a16:creationId xmlns:a16="http://schemas.microsoft.com/office/drawing/2014/main" id="{C3D76389-2707-325D-36A6-B99FA7466858}"/>
                </a:ext>
              </a:extLst>
            </p:cNvPr>
            <p:cNvSpPr/>
            <p:nvPr/>
          </p:nvSpPr>
          <p:spPr>
            <a:xfrm>
              <a:off x="7797062" y="12410767"/>
              <a:ext cx="435077" cy="435077"/>
            </a:xfrm>
            <a:custGeom>
              <a:avLst/>
              <a:gdLst>
                <a:gd name="connsiteX0" fmla="*/ 217539 w 435077"/>
                <a:gd name="connsiteY0" fmla="*/ 0 h 435077"/>
                <a:gd name="connsiteX1" fmla="*/ 217539 w 435077"/>
                <a:gd name="connsiteY1" fmla="*/ 0 h 435077"/>
                <a:gd name="connsiteX2" fmla="*/ 0 w 435077"/>
                <a:gd name="connsiteY2" fmla="*/ 0 h 435077"/>
                <a:gd name="connsiteX3" fmla="*/ 0 w 435077"/>
                <a:gd name="connsiteY3" fmla="*/ 217539 h 435077"/>
                <a:gd name="connsiteX4" fmla="*/ 217539 w 435077"/>
                <a:gd name="connsiteY4" fmla="*/ 27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217539" y="0"/>
                  </a:lnTo>
                  <a:lnTo>
                    <a:pt x="0" y="0"/>
                  </a:lnTo>
                  <a:lnTo>
                    <a:pt x="0" y="217539"/>
                  </a:lnTo>
                  <a:lnTo>
                    <a:pt x="217539" y="27"/>
                  </a:lnTo>
                  <a:lnTo>
                    <a:pt x="435077" y="217539"/>
                  </a:lnTo>
                  <a:lnTo>
                    <a:pt x="217539" y="435077"/>
                  </a:lnTo>
                  <a:lnTo>
                    <a:pt x="0" y="217539"/>
                  </a:lnTo>
                  <a:lnTo>
                    <a:pt x="0" y="435077"/>
                  </a:lnTo>
                  <a:lnTo>
                    <a:pt x="217539" y="435077"/>
                  </a:lnTo>
                  <a:lnTo>
                    <a:pt x="435077" y="435077"/>
                  </a:lnTo>
                  <a:lnTo>
                    <a:pt x="435077" y="217539"/>
                  </a:lnTo>
                  <a:lnTo>
                    <a:pt x="435077" y="0"/>
                  </a:lnTo>
                  <a:lnTo>
                    <a:pt x="217539" y="0"/>
                  </a:lnTo>
                  <a:close/>
                </a:path>
              </a:pathLst>
            </a:custGeom>
            <a:grpFill/>
            <a:ln w="27192" cap="flat">
              <a:noFill/>
              <a:prstDash val="solid"/>
              <a:miter/>
            </a:ln>
          </p:spPr>
          <p:txBody>
            <a:bodyPr rtlCol="0" anchor="ctr"/>
            <a:lstStyle/>
            <a:p>
              <a:endParaRPr lang="uk-UA" sz="900"/>
            </a:p>
          </p:txBody>
        </p:sp>
        <p:sp>
          <p:nvSpPr>
            <p:cNvPr id="446" name="Freeform: Shape 445">
              <a:extLst>
                <a:ext uri="{FF2B5EF4-FFF2-40B4-BE49-F238E27FC236}">
                  <a16:creationId xmlns:a16="http://schemas.microsoft.com/office/drawing/2014/main" id="{C781C4E2-2270-F7B3-0D95-73B610EDBB84}"/>
                </a:ext>
              </a:extLst>
            </p:cNvPr>
            <p:cNvSpPr/>
            <p:nvPr/>
          </p:nvSpPr>
          <p:spPr>
            <a:xfrm>
              <a:off x="6926907" y="12410767"/>
              <a:ext cx="435077" cy="435104"/>
            </a:xfrm>
            <a:custGeom>
              <a:avLst/>
              <a:gdLst>
                <a:gd name="connsiteX0" fmla="*/ 0 w 435077"/>
                <a:gd name="connsiteY0" fmla="*/ 435077 h 435104"/>
                <a:gd name="connsiteX1" fmla="*/ 217512 w 435077"/>
                <a:gd name="connsiteY1" fmla="*/ 435077 h 435104"/>
                <a:gd name="connsiteX2" fmla="*/ 217512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12" y="435077"/>
                  </a:lnTo>
                  <a:lnTo>
                    <a:pt x="217512"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447" name="Freeform: Shape 446">
              <a:extLst>
                <a:ext uri="{FF2B5EF4-FFF2-40B4-BE49-F238E27FC236}">
                  <a16:creationId xmlns:a16="http://schemas.microsoft.com/office/drawing/2014/main" id="{ACCC7589-B826-2812-9F15-405073A16652}"/>
                </a:ext>
              </a:extLst>
            </p:cNvPr>
            <p:cNvSpPr/>
            <p:nvPr/>
          </p:nvSpPr>
          <p:spPr>
            <a:xfrm>
              <a:off x="8667217" y="12410767"/>
              <a:ext cx="435077" cy="435077"/>
            </a:xfrm>
            <a:custGeom>
              <a:avLst/>
              <a:gdLst>
                <a:gd name="connsiteX0" fmla="*/ 371366 w 435077"/>
                <a:gd name="connsiteY0" fmla="*/ 63739 h 435077"/>
                <a:gd name="connsiteX1" fmla="*/ 435077 w 435077"/>
                <a:gd name="connsiteY1" fmla="*/ 217539 h 435077"/>
                <a:gd name="connsiteX2" fmla="*/ 217702 w 435077"/>
                <a:gd name="connsiteY2" fmla="*/ 217539 h 435077"/>
                <a:gd name="connsiteX3" fmla="*/ 371366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6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39"/>
                  </a:moveTo>
                  <a:cubicBezTo>
                    <a:pt x="412155" y="104527"/>
                    <a:pt x="435077" y="159864"/>
                    <a:pt x="435077" y="217539"/>
                  </a:cubicBezTo>
                  <a:lnTo>
                    <a:pt x="217702" y="217539"/>
                  </a:lnTo>
                  <a:cubicBezTo>
                    <a:pt x="275350" y="217593"/>
                    <a:pt x="330605" y="240516"/>
                    <a:pt x="371366" y="281277"/>
                  </a:cubicBezTo>
                  <a:cubicBezTo>
                    <a:pt x="412155" y="322066"/>
                    <a:pt x="435077" y="377402"/>
                    <a:pt x="435077" y="435077"/>
                  </a:cubicBezTo>
                  <a:lnTo>
                    <a:pt x="217539" y="435077"/>
                  </a:lnTo>
                  <a:lnTo>
                    <a:pt x="0" y="435077"/>
                  </a:lnTo>
                  <a:cubicBezTo>
                    <a:pt x="0" y="377402"/>
                    <a:pt x="22924" y="322066"/>
                    <a:pt x="63712" y="281277"/>
                  </a:cubicBezTo>
                  <a:cubicBezTo>
                    <a:pt x="104473" y="240516"/>
                    <a:pt x="159728" y="217593"/>
                    <a:pt x="217376" y="217539"/>
                  </a:cubicBezTo>
                  <a:lnTo>
                    <a:pt x="0" y="217539"/>
                  </a:lnTo>
                  <a:cubicBezTo>
                    <a:pt x="0" y="159864"/>
                    <a:pt x="22924" y="104527"/>
                    <a:pt x="63712" y="63739"/>
                  </a:cubicBezTo>
                  <a:cubicBezTo>
                    <a:pt x="104501" y="22923"/>
                    <a:pt x="159837" y="0"/>
                    <a:pt x="217539" y="0"/>
                  </a:cubicBezTo>
                  <a:cubicBezTo>
                    <a:pt x="275241" y="0"/>
                    <a:pt x="330550" y="22923"/>
                    <a:pt x="371366" y="63739"/>
                  </a:cubicBezTo>
                  <a:close/>
                </a:path>
              </a:pathLst>
            </a:custGeom>
            <a:grpFill/>
            <a:ln w="27192" cap="flat">
              <a:noFill/>
              <a:prstDash val="solid"/>
              <a:miter/>
            </a:ln>
          </p:spPr>
          <p:txBody>
            <a:bodyPr rtlCol="0" anchor="ctr"/>
            <a:lstStyle/>
            <a:p>
              <a:endParaRPr lang="uk-UA" sz="900"/>
            </a:p>
          </p:txBody>
        </p:sp>
        <p:sp>
          <p:nvSpPr>
            <p:cNvPr id="448" name="Freeform: Shape 447">
              <a:extLst>
                <a:ext uri="{FF2B5EF4-FFF2-40B4-BE49-F238E27FC236}">
                  <a16:creationId xmlns:a16="http://schemas.microsoft.com/office/drawing/2014/main" id="{E7F7204C-A54E-52D3-452A-44EC463A2CAF}"/>
                </a:ext>
              </a:extLst>
            </p:cNvPr>
            <p:cNvSpPr/>
            <p:nvPr/>
          </p:nvSpPr>
          <p:spPr>
            <a:xfrm>
              <a:off x="9537371" y="12410767"/>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27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66 h 435077"/>
                <a:gd name="connsiteX9" fmla="*/ 435077 w 435077"/>
                <a:gd name="connsiteY9" fmla="*/ 217566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27"/>
                  </a:lnTo>
                  <a:lnTo>
                    <a:pt x="435077" y="217539"/>
                  </a:lnTo>
                  <a:lnTo>
                    <a:pt x="435077" y="217539"/>
                  </a:lnTo>
                  <a:lnTo>
                    <a:pt x="435077" y="217539"/>
                  </a:lnTo>
                  <a:lnTo>
                    <a:pt x="435077" y="217566"/>
                  </a:lnTo>
                  <a:lnTo>
                    <a:pt x="435077" y="217566"/>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449" name="Freeform: Shape 448">
              <a:extLst>
                <a:ext uri="{FF2B5EF4-FFF2-40B4-BE49-F238E27FC236}">
                  <a16:creationId xmlns:a16="http://schemas.microsoft.com/office/drawing/2014/main" id="{842253C5-FE33-1735-2B5E-49DD375216DF}"/>
                </a:ext>
              </a:extLst>
            </p:cNvPr>
            <p:cNvSpPr/>
            <p:nvPr/>
          </p:nvSpPr>
          <p:spPr>
            <a:xfrm>
              <a:off x="11277681" y="12410767"/>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p>
          </p:txBody>
        </p:sp>
        <p:sp>
          <p:nvSpPr>
            <p:cNvPr id="450" name="Freeform: Shape 449">
              <a:extLst>
                <a:ext uri="{FF2B5EF4-FFF2-40B4-BE49-F238E27FC236}">
                  <a16:creationId xmlns:a16="http://schemas.microsoft.com/office/drawing/2014/main" id="{093D119F-A236-D28C-3C77-7C830B0CF16E}"/>
                </a:ext>
              </a:extLst>
            </p:cNvPr>
            <p:cNvSpPr/>
            <p:nvPr/>
          </p:nvSpPr>
          <p:spPr>
            <a:xfrm>
              <a:off x="10407526" y="12410767"/>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451" name="Freeform: Shape 450">
              <a:extLst>
                <a:ext uri="{FF2B5EF4-FFF2-40B4-BE49-F238E27FC236}">
                  <a16:creationId xmlns:a16="http://schemas.microsoft.com/office/drawing/2014/main" id="{01A824BC-9F41-8C7F-F410-503553CAB7C6}"/>
                </a:ext>
              </a:extLst>
            </p:cNvPr>
            <p:cNvSpPr/>
            <p:nvPr/>
          </p:nvSpPr>
          <p:spPr>
            <a:xfrm>
              <a:off x="12147864" y="12410767"/>
              <a:ext cx="435077" cy="435077"/>
            </a:xfrm>
            <a:custGeom>
              <a:avLst/>
              <a:gdLst>
                <a:gd name="connsiteX0" fmla="*/ 371365 w 435077"/>
                <a:gd name="connsiteY0" fmla="*/ 63739 h 435077"/>
                <a:gd name="connsiteX1" fmla="*/ 435077 w 435077"/>
                <a:gd name="connsiteY1" fmla="*/ 217539 h 435077"/>
                <a:gd name="connsiteX2" fmla="*/ 217701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0 w 435077"/>
                <a:gd name="connsiteY7" fmla="*/ 281277 h 435077"/>
                <a:gd name="connsiteX8" fmla="*/ 217374 w 435077"/>
                <a:gd name="connsiteY8" fmla="*/ 217539 h 435077"/>
                <a:gd name="connsiteX9" fmla="*/ 0 w 435077"/>
                <a:gd name="connsiteY9" fmla="*/ 217539 h 435077"/>
                <a:gd name="connsiteX10" fmla="*/ 63710 w 435077"/>
                <a:gd name="connsiteY10" fmla="*/ 63739 h 435077"/>
                <a:gd name="connsiteX11" fmla="*/ 217539 w 435077"/>
                <a:gd name="connsiteY11" fmla="*/ 0 h 435077"/>
                <a:gd name="connsiteX12" fmla="*/ 371365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39"/>
                  </a:moveTo>
                  <a:cubicBezTo>
                    <a:pt x="412154" y="104527"/>
                    <a:pt x="435077" y="159864"/>
                    <a:pt x="435077" y="217539"/>
                  </a:cubicBezTo>
                  <a:lnTo>
                    <a:pt x="217701" y="217539"/>
                  </a:lnTo>
                  <a:cubicBezTo>
                    <a:pt x="275349" y="217593"/>
                    <a:pt x="330603" y="240516"/>
                    <a:pt x="371365" y="281277"/>
                  </a:cubicBezTo>
                  <a:cubicBezTo>
                    <a:pt x="412154" y="322066"/>
                    <a:pt x="435077" y="377402"/>
                    <a:pt x="435077" y="435077"/>
                  </a:cubicBezTo>
                  <a:lnTo>
                    <a:pt x="217539" y="435077"/>
                  </a:lnTo>
                  <a:lnTo>
                    <a:pt x="0" y="435077"/>
                  </a:lnTo>
                  <a:cubicBezTo>
                    <a:pt x="0" y="377402"/>
                    <a:pt x="22922" y="322066"/>
                    <a:pt x="63710" y="281277"/>
                  </a:cubicBezTo>
                  <a:cubicBezTo>
                    <a:pt x="104472" y="240516"/>
                    <a:pt x="159727" y="217593"/>
                    <a:pt x="217374" y="217539"/>
                  </a:cubicBezTo>
                  <a:lnTo>
                    <a:pt x="0" y="217539"/>
                  </a:lnTo>
                  <a:cubicBezTo>
                    <a:pt x="0" y="159864"/>
                    <a:pt x="22922" y="104527"/>
                    <a:pt x="63710" y="63739"/>
                  </a:cubicBezTo>
                  <a:cubicBezTo>
                    <a:pt x="104499" y="22923"/>
                    <a:pt x="159836" y="0"/>
                    <a:pt x="217539" y="0"/>
                  </a:cubicBezTo>
                  <a:cubicBezTo>
                    <a:pt x="275239" y="0"/>
                    <a:pt x="330549" y="22923"/>
                    <a:pt x="371365" y="63739"/>
                  </a:cubicBezTo>
                  <a:close/>
                </a:path>
              </a:pathLst>
            </a:custGeom>
            <a:grpFill/>
            <a:ln w="27192" cap="flat">
              <a:noFill/>
              <a:prstDash val="solid"/>
              <a:miter/>
            </a:ln>
          </p:spPr>
          <p:txBody>
            <a:bodyPr rtlCol="0" anchor="ctr"/>
            <a:lstStyle/>
            <a:p>
              <a:endParaRPr lang="uk-UA" sz="900"/>
            </a:p>
          </p:txBody>
        </p:sp>
        <p:sp>
          <p:nvSpPr>
            <p:cNvPr id="452" name="Freeform: Shape 451">
              <a:extLst>
                <a:ext uri="{FF2B5EF4-FFF2-40B4-BE49-F238E27FC236}">
                  <a16:creationId xmlns:a16="http://schemas.microsoft.com/office/drawing/2014/main" id="{68ABAA27-6CE9-DE99-9481-D9E877EC20F4}"/>
                </a:ext>
              </a:extLst>
            </p:cNvPr>
            <p:cNvSpPr/>
            <p:nvPr/>
          </p:nvSpPr>
          <p:spPr>
            <a:xfrm>
              <a:off x="13018019" y="12410767"/>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27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66 h 435077"/>
                <a:gd name="connsiteX9" fmla="*/ 435077 w 435077"/>
                <a:gd name="connsiteY9" fmla="*/ 217566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27"/>
                  </a:lnTo>
                  <a:lnTo>
                    <a:pt x="435077" y="217539"/>
                  </a:lnTo>
                  <a:lnTo>
                    <a:pt x="435077" y="217539"/>
                  </a:lnTo>
                  <a:lnTo>
                    <a:pt x="435077" y="217539"/>
                  </a:lnTo>
                  <a:lnTo>
                    <a:pt x="435077" y="217566"/>
                  </a:lnTo>
                  <a:lnTo>
                    <a:pt x="435077" y="217566"/>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453" name="Freeform: Shape 452">
              <a:extLst>
                <a:ext uri="{FF2B5EF4-FFF2-40B4-BE49-F238E27FC236}">
                  <a16:creationId xmlns:a16="http://schemas.microsoft.com/office/drawing/2014/main" id="{BFE8805D-E3A6-9476-7B4A-29E825BFCC2E}"/>
                </a:ext>
              </a:extLst>
            </p:cNvPr>
            <p:cNvSpPr/>
            <p:nvPr/>
          </p:nvSpPr>
          <p:spPr>
            <a:xfrm>
              <a:off x="14758355" y="12410767"/>
              <a:ext cx="435103" cy="435077"/>
            </a:xfrm>
            <a:custGeom>
              <a:avLst/>
              <a:gdLst>
                <a:gd name="connsiteX0" fmla="*/ 217539 w 435103"/>
                <a:gd name="connsiteY0" fmla="*/ 0 h 435077"/>
                <a:gd name="connsiteX1" fmla="*/ 0 w 435103"/>
                <a:gd name="connsiteY1" fmla="*/ 0 h 435077"/>
                <a:gd name="connsiteX2" fmla="*/ 0 w 435103"/>
                <a:gd name="connsiteY2" fmla="*/ 217539 h 435077"/>
                <a:gd name="connsiteX3" fmla="*/ 217539 w 435103"/>
                <a:gd name="connsiteY3" fmla="*/ 0 h 435077"/>
                <a:gd name="connsiteX4" fmla="*/ 435104 w 435103"/>
                <a:gd name="connsiteY4" fmla="*/ 0 h 435077"/>
                <a:gd name="connsiteX5" fmla="*/ 435104 w 435103"/>
                <a:gd name="connsiteY5" fmla="*/ 217539 h 435077"/>
                <a:gd name="connsiteX6" fmla="*/ 217565 w 435103"/>
                <a:gd name="connsiteY6" fmla="*/ 0 h 435077"/>
                <a:gd name="connsiteX7" fmla="*/ 435104 w 435103"/>
                <a:gd name="connsiteY7" fmla="*/ 0 h 435077"/>
                <a:gd name="connsiteX8" fmla="*/ 217565 w 435103"/>
                <a:gd name="connsiteY8" fmla="*/ 435077 h 435077"/>
                <a:gd name="connsiteX9" fmla="*/ 435104 w 435103"/>
                <a:gd name="connsiteY9" fmla="*/ 217539 h 435077"/>
                <a:gd name="connsiteX10" fmla="*/ 435104 w 435103"/>
                <a:gd name="connsiteY10" fmla="*/ 435077 h 435077"/>
                <a:gd name="connsiteX11" fmla="*/ 217565 w 435103"/>
                <a:gd name="connsiteY11" fmla="*/ 435077 h 435077"/>
                <a:gd name="connsiteX12" fmla="*/ 217565 w 435103"/>
                <a:gd name="connsiteY12" fmla="*/ 435077 h 435077"/>
                <a:gd name="connsiteX13" fmla="*/ 27 w 435103"/>
                <a:gd name="connsiteY13" fmla="*/ 217539 h 435077"/>
                <a:gd name="connsiteX14" fmla="*/ 27 w 435103"/>
                <a:gd name="connsiteY14" fmla="*/ 435077 h 435077"/>
                <a:gd name="connsiteX15" fmla="*/ 217565 w 435103"/>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3" h="435077">
                  <a:moveTo>
                    <a:pt x="217539" y="0"/>
                  </a:moveTo>
                  <a:lnTo>
                    <a:pt x="0" y="0"/>
                  </a:lnTo>
                  <a:lnTo>
                    <a:pt x="0" y="217539"/>
                  </a:lnTo>
                  <a:lnTo>
                    <a:pt x="217539" y="0"/>
                  </a:lnTo>
                  <a:close/>
                  <a:moveTo>
                    <a:pt x="435104" y="0"/>
                  </a:moveTo>
                  <a:lnTo>
                    <a:pt x="435104" y="217539"/>
                  </a:lnTo>
                  <a:lnTo>
                    <a:pt x="217565" y="0"/>
                  </a:lnTo>
                  <a:lnTo>
                    <a:pt x="435104" y="0"/>
                  </a:lnTo>
                  <a:close/>
                  <a:moveTo>
                    <a:pt x="217565" y="435077"/>
                  </a:moveTo>
                  <a:lnTo>
                    <a:pt x="435104" y="217539"/>
                  </a:lnTo>
                  <a:lnTo>
                    <a:pt x="435104" y="435077"/>
                  </a:lnTo>
                  <a:lnTo>
                    <a:pt x="217565" y="435077"/>
                  </a:lnTo>
                  <a:close/>
                  <a:moveTo>
                    <a:pt x="217565" y="435077"/>
                  </a:moveTo>
                  <a:lnTo>
                    <a:pt x="27" y="217539"/>
                  </a:lnTo>
                  <a:lnTo>
                    <a:pt x="27" y="435077"/>
                  </a:lnTo>
                  <a:lnTo>
                    <a:pt x="217565" y="435077"/>
                  </a:lnTo>
                  <a:close/>
                </a:path>
              </a:pathLst>
            </a:custGeom>
            <a:grpFill/>
            <a:ln w="27192" cap="flat">
              <a:noFill/>
              <a:prstDash val="solid"/>
              <a:miter/>
            </a:ln>
          </p:spPr>
          <p:txBody>
            <a:bodyPr rtlCol="0" anchor="ctr"/>
            <a:lstStyle/>
            <a:p>
              <a:endParaRPr lang="uk-UA" sz="900"/>
            </a:p>
          </p:txBody>
        </p:sp>
        <p:sp>
          <p:nvSpPr>
            <p:cNvPr id="454" name="Freeform: Shape 453">
              <a:extLst>
                <a:ext uri="{FF2B5EF4-FFF2-40B4-BE49-F238E27FC236}">
                  <a16:creationId xmlns:a16="http://schemas.microsoft.com/office/drawing/2014/main" id="{FC61C8E5-1E8C-A434-36F5-0F88859FE842}"/>
                </a:ext>
              </a:extLst>
            </p:cNvPr>
            <p:cNvSpPr/>
            <p:nvPr/>
          </p:nvSpPr>
          <p:spPr>
            <a:xfrm>
              <a:off x="13888200" y="12410767"/>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455" name="Freeform: Shape 454">
              <a:extLst>
                <a:ext uri="{FF2B5EF4-FFF2-40B4-BE49-F238E27FC236}">
                  <a16:creationId xmlns:a16="http://schemas.microsoft.com/office/drawing/2014/main" id="{9EEE6DF9-8BDD-4A1E-1AD5-6C34041078A0}"/>
                </a:ext>
              </a:extLst>
            </p:cNvPr>
            <p:cNvSpPr/>
            <p:nvPr/>
          </p:nvSpPr>
          <p:spPr>
            <a:xfrm>
              <a:off x="15628536" y="12410767"/>
              <a:ext cx="435077" cy="435077"/>
            </a:xfrm>
            <a:custGeom>
              <a:avLst/>
              <a:gdLst>
                <a:gd name="connsiteX0" fmla="*/ 371367 w 435077"/>
                <a:gd name="connsiteY0" fmla="*/ 63739 h 435077"/>
                <a:gd name="connsiteX1" fmla="*/ 435077 w 435077"/>
                <a:gd name="connsiteY1" fmla="*/ 217539 h 435077"/>
                <a:gd name="connsiteX2" fmla="*/ 217703 w 435077"/>
                <a:gd name="connsiteY2" fmla="*/ 217539 h 435077"/>
                <a:gd name="connsiteX3" fmla="*/ 371367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7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7" y="63739"/>
                  </a:moveTo>
                  <a:cubicBezTo>
                    <a:pt x="412155" y="104527"/>
                    <a:pt x="435077" y="159864"/>
                    <a:pt x="435077" y="217539"/>
                  </a:cubicBezTo>
                  <a:lnTo>
                    <a:pt x="217703" y="217539"/>
                  </a:lnTo>
                  <a:cubicBezTo>
                    <a:pt x="275351" y="217593"/>
                    <a:pt x="330605" y="240516"/>
                    <a:pt x="371367" y="281277"/>
                  </a:cubicBezTo>
                  <a:cubicBezTo>
                    <a:pt x="412155" y="322066"/>
                    <a:pt x="435077" y="377402"/>
                    <a:pt x="435077" y="435077"/>
                  </a:cubicBezTo>
                  <a:lnTo>
                    <a:pt x="217539" y="435077"/>
                  </a:lnTo>
                  <a:lnTo>
                    <a:pt x="0" y="435077"/>
                  </a:lnTo>
                  <a:cubicBezTo>
                    <a:pt x="0" y="377402"/>
                    <a:pt x="22924" y="322066"/>
                    <a:pt x="63712" y="281277"/>
                  </a:cubicBezTo>
                  <a:cubicBezTo>
                    <a:pt x="104474" y="240516"/>
                    <a:pt x="159728" y="217593"/>
                    <a:pt x="217376" y="217539"/>
                  </a:cubicBezTo>
                  <a:lnTo>
                    <a:pt x="0" y="217539"/>
                  </a:lnTo>
                  <a:cubicBezTo>
                    <a:pt x="0" y="159864"/>
                    <a:pt x="22924" y="104527"/>
                    <a:pt x="63712" y="63739"/>
                  </a:cubicBezTo>
                  <a:cubicBezTo>
                    <a:pt x="104501" y="22923"/>
                    <a:pt x="159836" y="0"/>
                    <a:pt x="217539" y="0"/>
                  </a:cubicBezTo>
                  <a:cubicBezTo>
                    <a:pt x="275241" y="0"/>
                    <a:pt x="330550" y="22923"/>
                    <a:pt x="371367" y="63739"/>
                  </a:cubicBezTo>
                  <a:close/>
                </a:path>
              </a:pathLst>
            </a:custGeom>
            <a:grpFill/>
            <a:ln w="27192" cap="flat">
              <a:noFill/>
              <a:prstDash val="solid"/>
              <a:miter/>
            </a:ln>
          </p:spPr>
          <p:txBody>
            <a:bodyPr rtlCol="0" anchor="ctr"/>
            <a:lstStyle/>
            <a:p>
              <a:endParaRPr lang="uk-UA" sz="900"/>
            </a:p>
          </p:txBody>
        </p:sp>
        <p:sp>
          <p:nvSpPr>
            <p:cNvPr id="456" name="Freeform: Shape 455">
              <a:extLst>
                <a:ext uri="{FF2B5EF4-FFF2-40B4-BE49-F238E27FC236}">
                  <a16:creationId xmlns:a16="http://schemas.microsoft.com/office/drawing/2014/main" id="{585511F8-73B0-05AE-CFC4-FFD020A424EA}"/>
                </a:ext>
              </a:extLst>
            </p:cNvPr>
            <p:cNvSpPr/>
            <p:nvPr/>
          </p:nvSpPr>
          <p:spPr>
            <a:xfrm>
              <a:off x="16498665" y="12410767"/>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51 w 435077"/>
                <a:gd name="connsiteY7" fmla="*/ 217566 h 435077"/>
                <a:gd name="connsiteX8" fmla="*/ 435077 w 435077"/>
                <a:gd name="connsiteY8" fmla="*/ 217566 h 435077"/>
                <a:gd name="connsiteX9" fmla="*/ 435051 w 435077"/>
                <a:gd name="connsiteY9" fmla="*/ 217539 h 435077"/>
                <a:gd name="connsiteX10" fmla="*/ 435077 w 435077"/>
                <a:gd name="connsiteY10" fmla="*/ 217539 h 435077"/>
                <a:gd name="connsiteX11" fmla="*/ 435051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51" y="217566"/>
                  </a:lnTo>
                  <a:lnTo>
                    <a:pt x="435077" y="217566"/>
                  </a:lnTo>
                  <a:lnTo>
                    <a:pt x="435051" y="217539"/>
                  </a:lnTo>
                  <a:lnTo>
                    <a:pt x="435077" y="217539"/>
                  </a:lnTo>
                  <a:lnTo>
                    <a:pt x="435051"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457" name="Freeform: Shape 456">
              <a:extLst>
                <a:ext uri="{FF2B5EF4-FFF2-40B4-BE49-F238E27FC236}">
                  <a16:creationId xmlns:a16="http://schemas.microsoft.com/office/drawing/2014/main" id="{093AD73A-696C-9222-739F-D82F2A32F623}"/>
                </a:ext>
              </a:extLst>
            </p:cNvPr>
            <p:cNvSpPr/>
            <p:nvPr/>
          </p:nvSpPr>
          <p:spPr>
            <a:xfrm>
              <a:off x="18239029" y="12410767"/>
              <a:ext cx="435077" cy="435077"/>
            </a:xfrm>
            <a:custGeom>
              <a:avLst/>
              <a:gdLst>
                <a:gd name="connsiteX0" fmla="*/ 217539 w 435077"/>
                <a:gd name="connsiteY0" fmla="*/ 0 h 435077"/>
                <a:gd name="connsiteX1" fmla="*/ 217539 w 435077"/>
                <a:gd name="connsiteY1" fmla="*/ 0 h 435077"/>
                <a:gd name="connsiteX2" fmla="*/ 0 w 435077"/>
                <a:gd name="connsiteY2" fmla="*/ 0 h 435077"/>
                <a:gd name="connsiteX3" fmla="*/ 0 w 435077"/>
                <a:gd name="connsiteY3" fmla="*/ 217539 h 435077"/>
                <a:gd name="connsiteX4" fmla="*/ 217539 w 435077"/>
                <a:gd name="connsiteY4" fmla="*/ 27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217539" y="0"/>
                  </a:lnTo>
                  <a:lnTo>
                    <a:pt x="0" y="0"/>
                  </a:lnTo>
                  <a:lnTo>
                    <a:pt x="0" y="217539"/>
                  </a:lnTo>
                  <a:lnTo>
                    <a:pt x="217539" y="27"/>
                  </a:lnTo>
                  <a:lnTo>
                    <a:pt x="435077" y="217539"/>
                  </a:lnTo>
                  <a:lnTo>
                    <a:pt x="217539" y="435077"/>
                  </a:lnTo>
                  <a:lnTo>
                    <a:pt x="0" y="217539"/>
                  </a:lnTo>
                  <a:lnTo>
                    <a:pt x="0" y="435077"/>
                  </a:lnTo>
                  <a:lnTo>
                    <a:pt x="217539" y="435077"/>
                  </a:lnTo>
                  <a:lnTo>
                    <a:pt x="435077" y="435077"/>
                  </a:lnTo>
                  <a:lnTo>
                    <a:pt x="435077" y="217539"/>
                  </a:lnTo>
                  <a:lnTo>
                    <a:pt x="435077" y="0"/>
                  </a:lnTo>
                  <a:lnTo>
                    <a:pt x="217539" y="0"/>
                  </a:lnTo>
                  <a:close/>
                </a:path>
              </a:pathLst>
            </a:custGeom>
            <a:grpFill/>
            <a:ln w="27192" cap="flat">
              <a:noFill/>
              <a:prstDash val="solid"/>
              <a:miter/>
            </a:ln>
          </p:spPr>
          <p:txBody>
            <a:bodyPr rtlCol="0" anchor="ctr"/>
            <a:lstStyle/>
            <a:p>
              <a:endParaRPr lang="uk-UA" sz="900"/>
            </a:p>
          </p:txBody>
        </p:sp>
        <p:sp>
          <p:nvSpPr>
            <p:cNvPr id="458" name="Freeform: Shape 457">
              <a:extLst>
                <a:ext uri="{FF2B5EF4-FFF2-40B4-BE49-F238E27FC236}">
                  <a16:creationId xmlns:a16="http://schemas.microsoft.com/office/drawing/2014/main" id="{F11DC4A2-B9EF-D988-685B-49785B4CDE67}"/>
                </a:ext>
              </a:extLst>
            </p:cNvPr>
            <p:cNvSpPr/>
            <p:nvPr/>
          </p:nvSpPr>
          <p:spPr>
            <a:xfrm>
              <a:off x="17368846" y="12410767"/>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67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67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67" y="435105"/>
                  </a:lnTo>
                  <a:lnTo>
                    <a:pt x="435077" y="217566"/>
                  </a:lnTo>
                  <a:lnTo>
                    <a:pt x="435077" y="435105"/>
                  </a:lnTo>
                  <a:close/>
                  <a:moveTo>
                    <a:pt x="435077" y="27"/>
                  </a:moveTo>
                  <a:lnTo>
                    <a:pt x="217567"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459" name="Freeform: Shape 458">
              <a:extLst>
                <a:ext uri="{FF2B5EF4-FFF2-40B4-BE49-F238E27FC236}">
                  <a16:creationId xmlns:a16="http://schemas.microsoft.com/office/drawing/2014/main" id="{0AAFE614-6CCC-17A2-AE5D-5F282B7D007F}"/>
                </a:ext>
              </a:extLst>
            </p:cNvPr>
            <p:cNvSpPr/>
            <p:nvPr/>
          </p:nvSpPr>
          <p:spPr>
            <a:xfrm>
              <a:off x="19109184" y="12410767"/>
              <a:ext cx="435077" cy="435077"/>
            </a:xfrm>
            <a:custGeom>
              <a:avLst/>
              <a:gdLst>
                <a:gd name="connsiteX0" fmla="*/ 371365 w 435077"/>
                <a:gd name="connsiteY0" fmla="*/ 63739 h 435077"/>
                <a:gd name="connsiteX1" fmla="*/ 435077 w 435077"/>
                <a:gd name="connsiteY1" fmla="*/ 217539 h 435077"/>
                <a:gd name="connsiteX2" fmla="*/ 217701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0 w 435077"/>
                <a:gd name="connsiteY7" fmla="*/ 281277 h 435077"/>
                <a:gd name="connsiteX8" fmla="*/ 217374 w 435077"/>
                <a:gd name="connsiteY8" fmla="*/ 217539 h 435077"/>
                <a:gd name="connsiteX9" fmla="*/ 0 w 435077"/>
                <a:gd name="connsiteY9" fmla="*/ 217539 h 435077"/>
                <a:gd name="connsiteX10" fmla="*/ 63710 w 435077"/>
                <a:gd name="connsiteY10" fmla="*/ 63739 h 435077"/>
                <a:gd name="connsiteX11" fmla="*/ 217539 w 435077"/>
                <a:gd name="connsiteY11" fmla="*/ 0 h 435077"/>
                <a:gd name="connsiteX12" fmla="*/ 371365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39"/>
                  </a:moveTo>
                  <a:cubicBezTo>
                    <a:pt x="412154" y="104527"/>
                    <a:pt x="435077" y="159864"/>
                    <a:pt x="435077" y="217539"/>
                  </a:cubicBezTo>
                  <a:lnTo>
                    <a:pt x="217701" y="217539"/>
                  </a:lnTo>
                  <a:cubicBezTo>
                    <a:pt x="275349" y="217593"/>
                    <a:pt x="330603" y="240516"/>
                    <a:pt x="371365" y="281277"/>
                  </a:cubicBezTo>
                  <a:cubicBezTo>
                    <a:pt x="412154" y="322066"/>
                    <a:pt x="435077" y="377402"/>
                    <a:pt x="435077" y="435077"/>
                  </a:cubicBezTo>
                  <a:lnTo>
                    <a:pt x="217539" y="435077"/>
                  </a:lnTo>
                  <a:lnTo>
                    <a:pt x="0" y="435077"/>
                  </a:lnTo>
                  <a:cubicBezTo>
                    <a:pt x="0" y="377402"/>
                    <a:pt x="22922" y="322066"/>
                    <a:pt x="63710" y="281277"/>
                  </a:cubicBezTo>
                  <a:cubicBezTo>
                    <a:pt x="104472" y="240516"/>
                    <a:pt x="159755" y="217593"/>
                    <a:pt x="217374" y="217539"/>
                  </a:cubicBezTo>
                  <a:lnTo>
                    <a:pt x="0" y="217539"/>
                  </a:lnTo>
                  <a:cubicBezTo>
                    <a:pt x="0" y="159864"/>
                    <a:pt x="22922" y="104527"/>
                    <a:pt x="63710" y="63739"/>
                  </a:cubicBezTo>
                  <a:cubicBezTo>
                    <a:pt x="104527" y="22923"/>
                    <a:pt x="159836" y="0"/>
                    <a:pt x="217539" y="0"/>
                  </a:cubicBezTo>
                  <a:cubicBezTo>
                    <a:pt x="275241" y="0"/>
                    <a:pt x="330577" y="22923"/>
                    <a:pt x="371365" y="63739"/>
                  </a:cubicBezTo>
                  <a:close/>
                </a:path>
              </a:pathLst>
            </a:custGeom>
            <a:grpFill/>
            <a:ln w="27192" cap="flat">
              <a:noFill/>
              <a:prstDash val="solid"/>
              <a:miter/>
            </a:ln>
          </p:spPr>
          <p:txBody>
            <a:bodyPr rtlCol="0" anchor="ctr"/>
            <a:lstStyle/>
            <a:p>
              <a:endParaRPr lang="uk-UA" sz="900"/>
            </a:p>
          </p:txBody>
        </p:sp>
        <p:sp>
          <p:nvSpPr>
            <p:cNvPr id="460" name="Freeform: Shape 459">
              <a:extLst>
                <a:ext uri="{FF2B5EF4-FFF2-40B4-BE49-F238E27FC236}">
                  <a16:creationId xmlns:a16="http://schemas.microsoft.com/office/drawing/2014/main" id="{A444EC64-D563-3A08-0C90-B680D8CE504E}"/>
                </a:ext>
              </a:extLst>
            </p:cNvPr>
            <p:cNvSpPr/>
            <p:nvPr/>
          </p:nvSpPr>
          <p:spPr>
            <a:xfrm>
              <a:off x="19979339" y="12410767"/>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461" name="Freeform: Shape 460">
              <a:extLst>
                <a:ext uri="{FF2B5EF4-FFF2-40B4-BE49-F238E27FC236}">
                  <a16:creationId xmlns:a16="http://schemas.microsoft.com/office/drawing/2014/main" id="{30B8CF3E-3FA9-3438-D11B-98A39A8E9031}"/>
                </a:ext>
              </a:extLst>
            </p:cNvPr>
            <p:cNvSpPr/>
            <p:nvPr/>
          </p:nvSpPr>
          <p:spPr>
            <a:xfrm>
              <a:off x="21719675" y="12410767"/>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462" name="Freeform: Shape 461">
              <a:extLst>
                <a:ext uri="{FF2B5EF4-FFF2-40B4-BE49-F238E27FC236}">
                  <a16:creationId xmlns:a16="http://schemas.microsoft.com/office/drawing/2014/main" id="{FC5EB1E3-A944-749B-A22F-D862EC5C49FB}"/>
                </a:ext>
              </a:extLst>
            </p:cNvPr>
            <p:cNvSpPr/>
            <p:nvPr/>
          </p:nvSpPr>
          <p:spPr>
            <a:xfrm>
              <a:off x="20849520" y="12410767"/>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463" name="Freeform: Shape 462">
              <a:extLst>
                <a:ext uri="{FF2B5EF4-FFF2-40B4-BE49-F238E27FC236}">
                  <a16:creationId xmlns:a16="http://schemas.microsoft.com/office/drawing/2014/main" id="{CDCA25D9-E315-923D-19B1-A2016150E365}"/>
                </a:ext>
              </a:extLst>
            </p:cNvPr>
            <p:cNvSpPr/>
            <p:nvPr/>
          </p:nvSpPr>
          <p:spPr>
            <a:xfrm>
              <a:off x="22589856" y="12410767"/>
              <a:ext cx="435077" cy="435077"/>
            </a:xfrm>
            <a:custGeom>
              <a:avLst/>
              <a:gdLst>
                <a:gd name="connsiteX0" fmla="*/ 371367 w 435077"/>
                <a:gd name="connsiteY0" fmla="*/ 63739 h 435077"/>
                <a:gd name="connsiteX1" fmla="*/ 435077 w 435077"/>
                <a:gd name="connsiteY1" fmla="*/ 217539 h 435077"/>
                <a:gd name="connsiteX2" fmla="*/ 217703 w 435077"/>
                <a:gd name="connsiteY2" fmla="*/ 217539 h 435077"/>
                <a:gd name="connsiteX3" fmla="*/ 371367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7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7" y="63739"/>
                  </a:moveTo>
                  <a:cubicBezTo>
                    <a:pt x="412155" y="104527"/>
                    <a:pt x="435077" y="159864"/>
                    <a:pt x="435077" y="217539"/>
                  </a:cubicBezTo>
                  <a:lnTo>
                    <a:pt x="217703" y="217539"/>
                  </a:lnTo>
                  <a:cubicBezTo>
                    <a:pt x="275351" y="217593"/>
                    <a:pt x="330605" y="240516"/>
                    <a:pt x="371367" y="281277"/>
                  </a:cubicBezTo>
                  <a:cubicBezTo>
                    <a:pt x="412155" y="322066"/>
                    <a:pt x="435077" y="377402"/>
                    <a:pt x="435077" y="435077"/>
                  </a:cubicBezTo>
                  <a:lnTo>
                    <a:pt x="217539" y="435077"/>
                  </a:lnTo>
                  <a:lnTo>
                    <a:pt x="0" y="435077"/>
                  </a:lnTo>
                  <a:cubicBezTo>
                    <a:pt x="0" y="377402"/>
                    <a:pt x="22924" y="322066"/>
                    <a:pt x="63712" y="281277"/>
                  </a:cubicBezTo>
                  <a:cubicBezTo>
                    <a:pt x="104474" y="240516"/>
                    <a:pt x="159728" y="217593"/>
                    <a:pt x="217376" y="217539"/>
                  </a:cubicBezTo>
                  <a:lnTo>
                    <a:pt x="0" y="217539"/>
                  </a:lnTo>
                  <a:cubicBezTo>
                    <a:pt x="0" y="159864"/>
                    <a:pt x="22924" y="104527"/>
                    <a:pt x="63712" y="63739"/>
                  </a:cubicBezTo>
                  <a:cubicBezTo>
                    <a:pt x="104501" y="22923"/>
                    <a:pt x="159838" y="0"/>
                    <a:pt x="217539" y="0"/>
                  </a:cubicBezTo>
                  <a:cubicBezTo>
                    <a:pt x="275215" y="0"/>
                    <a:pt x="330550" y="22923"/>
                    <a:pt x="371367" y="63739"/>
                  </a:cubicBezTo>
                  <a:close/>
                </a:path>
              </a:pathLst>
            </a:custGeom>
            <a:grpFill/>
            <a:ln w="27192" cap="flat">
              <a:noFill/>
              <a:prstDash val="solid"/>
              <a:miter/>
            </a:ln>
          </p:spPr>
          <p:txBody>
            <a:bodyPr rtlCol="0" anchor="ctr"/>
            <a:lstStyle/>
            <a:p>
              <a:endParaRPr lang="uk-UA" sz="900"/>
            </a:p>
          </p:txBody>
        </p:sp>
        <p:sp>
          <p:nvSpPr>
            <p:cNvPr id="464" name="Freeform: Shape 463">
              <a:extLst>
                <a:ext uri="{FF2B5EF4-FFF2-40B4-BE49-F238E27FC236}">
                  <a16:creationId xmlns:a16="http://schemas.microsoft.com/office/drawing/2014/main" id="{C4CBE83B-148E-88D4-73B5-4433777B931D}"/>
                </a:ext>
              </a:extLst>
            </p:cNvPr>
            <p:cNvSpPr/>
            <p:nvPr/>
          </p:nvSpPr>
          <p:spPr>
            <a:xfrm>
              <a:off x="23460011" y="12410767"/>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465" name="Freeform: Shape 464">
              <a:extLst>
                <a:ext uri="{FF2B5EF4-FFF2-40B4-BE49-F238E27FC236}">
                  <a16:creationId xmlns:a16="http://schemas.microsoft.com/office/drawing/2014/main" id="{B28673B4-CF7C-60FD-9C7B-129E02172056}"/>
                </a:ext>
              </a:extLst>
            </p:cNvPr>
            <p:cNvSpPr/>
            <p:nvPr/>
          </p:nvSpPr>
          <p:spPr>
            <a:xfrm>
              <a:off x="24330194" y="12410767"/>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466" name="Freeform: Shape 465">
              <a:extLst>
                <a:ext uri="{FF2B5EF4-FFF2-40B4-BE49-F238E27FC236}">
                  <a16:creationId xmlns:a16="http://schemas.microsoft.com/office/drawing/2014/main" id="{4C80F170-4E82-BD83-3978-0CB7DD0EFF28}"/>
                </a:ext>
              </a:extLst>
            </p:cNvPr>
            <p:cNvSpPr/>
            <p:nvPr/>
          </p:nvSpPr>
          <p:spPr>
            <a:xfrm>
              <a:off x="835742" y="13280949"/>
              <a:ext cx="435077" cy="435050"/>
            </a:xfrm>
            <a:custGeom>
              <a:avLst/>
              <a:gdLst>
                <a:gd name="connsiteX0" fmla="*/ 435077 w 435077"/>
                <a:gd name="connsiteY0" fmla="*/ 435050 h 435050"/>
                <a:gd name="connsiteX1" fmla="*/ 435077 w 435077"/>
                <a:gd name="connsiteY1" fmla="*/ 0 h 435050"/>
                <a:gd name="connsiteX2" fmla="*/ 217566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39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66" y="217539"/>
                  </a:lnTo>
                  <a:lnTo>
                    <a:pt x="435077" y="435050"/>
                  </a:lnTo>
                  <a:close/>
                  <a:moveTo>
                    <a:pt x="0" y="435050"/>
                  </a:moveTo>
                  <a:lnTo>
                    <a:pt x="0" y="0"/>
                  </a:lnTo>
                  <a:lnTo>
                    <a:pt x="217539" y="217539"/>
                  </a:lnTo>
                  <a:lnTo>
                    <a:pt x="0" y="435050"/>
                  </a:lnTo>
                  <a:close/>
                </a:path>
              </a:pathLst>
            </a:custGeom>
            <a:grpFill/>
            <a:ln w="27192" cap="flat">
              <a:noFill/>
              <a:prstDash val="solid"/>
              <a:miter/>
            </a:ln>
          </p:spPr>
          <p:txBody>
            <a:bodyPr rtlCol="0" anchor="ctr"/>
            <a:lstStyle/>
            <a:p>
              <a:endParaRPr lang="uk-UA" sz="900"/>
            </a:p>
          </p:txBody>
        </p:sp>
        <p:sp>
          <p:nvSpPr>
            <p:cNvPr id="467" name="Freeform: Shape 466">
              <a:extLst>
                <a:ext uri="{FF2B5EF4-FFF2-40B4-BE49-F238E27FC236}">
                  <a16:creationId xmlns:a16="http://schemas.microsoft.com/office/drawing/2014/main" id="{2D7F812A-652D-ACFB-EFC9-4D91EAFC751F}"/>
                </a:ext>
              </a:extLst>
            </p:cNvPr>
            <p:cNvSpPr/>
            <p:nvPr/>
          </p:nvSpPr>
          <p:spPr>
            <a:xfrm>
              <a:off x="-34412" y="1328092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468" name="Freeform: Shape 467">
              <a:extLst>
                <a:ext uri="{FF2B5EF4-FFF2-40B4-BE49-F238E27FC236}">
                  <a16:creationId xmlns:a16="http://schemas.microsoft.com/office/drawing/2014/main" id="{8C69D1DA-C161-74DF-B711-B8321884E1B8}"/>
                </a:ext>
              </a:extLst>
            </p:cNvPr>
            <p:cNvSpPr/>
            <p:nvPr/>
          </p:nvSpPr>
          <p:spPr>
            <a:xfrm>
              <a:off x="1705924" y="13280922"/>
              <a:ext cx="435077" cy="435077"/>
            </a:xfrm>
            <a:custGeom>
              <a:avLst/>
              <a:gdLst>
                <a:gd name="connsiteX0" fmla="*/ 63711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1 w 435077"/>
                <a:gd name="connsiteY6" fmla="*/ 153827 h 435077"/>
                <a:gd name="connsiteX7" fmla="*/ 63711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11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1" y="153827"/>
                  </a:moveTo>
                  <a:cubicBezTo>
                    <a:pt x="22923" y="113039"/>
                    <a:pt x="0" y="57702"/>
                    <a:pt x="0" y="0"/>
                  </a:cubicBezTo>
                  <a:lnTo>
                    <a:pt x="217539" y="0"/>
                  </a:lnTo>
                  <a:lnTo>
                    <a:pt x="435077" y="0"/>
                  </a:lnTo>
                  <a:cubicBezTo>
                    <a:pt x="435077" y="57702"/>
                    <a:pt x="412154" y="113039"/>
                    <a:pt x="371366" y="153827"/>
                  </a:cubicBezTo>
                  <a:cubicBezTo>
                    <a:pt x="330550" y="194642"/>
                    <a:pt x="275213" y="217539"/>
                    <a:pt x="217539" y="217539"/>
                  </a:cubicBezTo>
                  <a:cubicBezTo>
                    <a:pt x="159836" y="217539"/>
                    <a:pt x="104500" y="194642"/>
                    <a:pt x="63711" y="153827"/>
                  </a:cubicBezTo>
                  <a:close/>
                  <a:moveTo>
                    <a:pt x="63711" y="281277"/>
                  </a:moveTo>
                  <a:cubicBezTo>
                    <a:pt x="22923" y="322066"/>
                    <a:pt x="0" y="377402"/>
                    <a:pt x="0" y="435077"/>
                  </a:cubicBezTo>
                  <a:lnTo>
                    <a:pt x="217539" y="435077"/>
                  </a:lnTo>
                  <a:lnTo>
                    <a:pt x="435077" y="435077"/>
                  </a:lnTo>
                  <a:cubicBezTo>
                    <a:pt x="435077" y="377402"/>
                    <a:pt x="412154" y="322066"/>
                    <a:pt x="371366" y="281277"/>
                  </a:cubicBezTo>
                  <a:cubicBezTo>
                    <a:pt x="330550" y="240462"/>
                    <a:pt x="275213" y="217539"/>
                    <a:pt x="217539" y="217539"/>
                  </a:cubicBezTo>
                  <a:cubicBezTo>
                    <a:pt x="159836" y="217539"/>
                    <a:pt x="104500" y="240462"/>
                    <a:pt x="63711" y="281277"/>
                  </a:cubicBezTo>
                  <a:close/>
                </a:path>
              </a:pathLst>
            </a:custGeom>
            <a:grpFill/>
            <a:ln w="27192" cap="flat">
              <a:noFill/>
              <a:prstDash val="solid"/>
              <a:miter/>
            </a:ln>
          </p:spPr>
          <p:txBody>
            <a:bodyPr rtlCol="0" anchor="ctr"/>
            <a:lstStyle/>
            <a:p>
              <a:endParaRPr lang="uk-UA" sz="900"/>
            </a:p>
          </p:txBody>
        </p:sp>
        <p:sp>
          <p:nvSpPr>
            <p:cNvPr id="469" name="Freeform: Shape 468">
              <a:extLst>
                <a:ext uri="{FF2B5EF4-FFF2-40B4-BE49-F238E27FC236}">
                  <a16:creationId xmlns:a16="http://schemas.microsoft.com/office/drawing/2014/main" id="{802110FB-C98E-1180-FC29-E1A7555E1405}"/>
                </a:ext>
              </a:extLst>
            </p:cNvPr>
            <p:cNvSpPr/>
            <p:nvPr/>
          </p:nvSpPr>
          <p:spPr>
            <a:xfrm>
              <a:off x="2576079" y="1328092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6 w 435077"/>
                <a:gd name="connsiteY3" fmla="*/ 27 h 435077"/>
                <a:gd name="connsiteX4" fmla="*/ 435077 w 435077"/>
                <a:gd name="connsiteY4" fmla="*/ 217566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6" y="27"/>
                  </a:lnTo>
                  <a:lnTo>
                    <a:pt x="435077" y="217566"/>
                  </a:lnTo>
                  <a:lnTo>
                    <a:pt x="217566"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470" name="Freeform: Shape 469">
              <a:extLst>
                <a:ext uri="{FF2B5EF4-FFF2-40B4-BE49-F238E27FC236}">
                  <a16:creationId xmlns:a16="http://schemas.microsoft.com/office/drawing/2014/main" id="{2093B8E9-E86A-8E63-5D9F-1A45566120B1}"/>
                </a:ext>
              </a:extLst>
            </p:cNvPr>
            <p:cNvSpPr/>
            <p:nvPr/>
          </p:nvSpPr>
          <p:spPr>
            <a:xfrm>
              <a:off x="4316416" y="13280949"/>
              <a:ext cx="435077" cy="435050"/>
            </a:xfrm>
            <a:custGeom>
              <a:avLst/>
              <a:gdLst>
                <a:gd name="connsiteX0" fmla="*/ 435077 w 435077"/>
                <a:gd name="connsiteY0" fmla="*/ 435050 h 435050"/>
                <a:gd name="connsiteX1" fmla="*/ 435077 w 435077"/>
                <a:gd name="connsiteY1" fmla="*/ 0 h 435050"/>
                <a:gd name="connsiteX2" fmla="*/ 217565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39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65" y="217539"/>
                  </a:lnTo>
                  <a:lnTo>
                    <a:pt x="435077" y="435050"/>
                  </a:lnTo>
                  <a:close/>
                  <a:moveTo>
                    <a:pt x="0" y="435050"/>
                  </a:moveTo>
                  <a:lnTo>
                    <a:pt x="0" y="0"/>
                  </a:lnTo>
                  <a:lnTo>
                    <a:pt x="217539" y="217539"/>
                  </a:lnTo>
                  <a:lnTo>
                    <a:pt x="0" y="435050"/>
                  </a:lnTo>
                  <a:close/>
                </a:path>
              </a:pathLst>
            </a:custGeom>
            <a:grpFill/>
            <a:ln w="27192" cap="flat">
              <a:noFill/>
              <a:prstDash val="solid"/>
              <a:miter/>
            </a:ln>
          </p:spPr>
          <p:txBody>
            <a:bodyPr rtlCol="0" anchor="ctr"/>
            <a:lstStyle/>
            <a:p>
              <a:endParaRPr lang="uk-UA" sz="900"/>
            </a:p>
          </p:txBody>
        </p:sp>
        <p:sp>
          <p:nvSpPr>
            <p:cNvPr id="471" name="Freeform: Shape 470">
              <a:extLst>
                <a:ext uri="{FF2B5EF4-FFF2-40B4-BE49-F238E27FC236}">
                  <a16:creationId xmlns:a16="http://schemas.microsoft.com/office/drawing/2014/main" id="{736788DD-607C-AF00-49CC-A3C89133D47C}"/>
                </a:ext>
              </a:extLst>
            </p:cNvPr>
            <p:cNvSpPr/>
            <p:nvPr/>
          </p:nvSpPr>
          <p:spPr>
            <a:xfrm>
              <a:off x="3446261" y="1328092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472" name="Freeform: Shape 471">
              <a:extLst>
                <a:ext uri="{FF2B5EF4-FFF2-40B4-BE49-F238E27FC236}">
                  <a16:creationId xmlns:a16="http://schemas.microsoft.com/office/drawing/2014/main" id="{6E950A50-8D86-DC55-1889-B74B40E53E61}"/>
                </a:ext>
              </a:extLst>
            </p:cNvPr>
            <p:cNvSpPr/>
            <p:nvPr/>
          </p:nvSpPr>
          <p:spPr>
            <a:xfrm>
              <a:off x="5186571" y="13280922"/>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39 w 435077"/>
                <a:gd name="connsiteY6" fmla="*/ 153827 h 435077"/>
                <a:gd name="connsiteX7" fmla="*/ 63739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77 h 435077"/>
                <a:gd name="connsiteX12" fmla="*/ 217539 w 435077"/>
                <a:gd name="connsiteY12" fmla="*/ 217539 h 435077"/>
                <a:gd name="connsiteX13" fmla="*/ 63739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3" y="113039"/>
                    <a:pt x="0" y="57702"/>
                    <a:pt x="0" y="0"/>
                  </a:cubicBezTo>
                  <a:lnTo>
                    <a:pt x="217539" y="0"/>
                  </a:lnTo>
                  <a:lnTo>
                    <a:pt x="435077" y="0"/>
                  </a:lnTo>
                  <a:cubicBezTo>
                    <a:pt x="435077" y="57702"/>
                    <a:pt x="412181" y="113039"/>
                    <a:pt x="371365" y="153827"/>
                  </a:cubicBezTo>
                  <a:cubicBezTo>
                    <a:pt x="330577" y="194642"/>
                    <a:pt x="275240" y="217539"/>
                    <a:pt x="217539" y="217539"/>
                  </a:cubicBezTo>
                  <a:cubicBezTo>
                    <a:pt x="159864" y="217539"/>
                    <a:pt x="104527" y="194642"/>
                    <a:pt x="63739" y="153827"/>
                  </a:cubicBezTo>
                  <a:close/>
                  <a:moveTo>
                    <a:pt x="63739" y="281277"/>
                  </a:moveTo>
                  <a:cubicBezTo>
                    <a:pt x="22923" y="322066"/>
                    <a:pt x="0" y="377402"/>
                    <a:pt x="0" y="435077"/>
                  </a:cubicBezTo>
                  <a:lnTo>
                    <a:pt x="217539" y="435077"/>
                  </a:lnTo>
                  <a:lnTo>
                    <a:pt x="435077" y="435077"/>
                  </a:lnTo>
                  <a:cubicBezTo>
                    <a:pt x="435077" y="377402"/>
                    <a:pt x="412181" y="322066"/>
                    <a:pt x="371365" y="281277"/>
                  </a:cubicBezTo>
                  <a:cubicBezTo>
                    <a:pt x="330577" y="240462"/>
                    <a:pt x="275240" y="217539"/>
                    <a:pt x="217539" y="217539"/>
                  </a:cubicBezTo>
                  <a:cubicBezTo>
                    <a:pt x="159864" y="217539"/>
                    <a:pt x="104527" y="240462"/>
                    <a:pt x="63739" y="281277"/>
                  </a:cubicBezTo>
                  <a:close/>
                </a:path>
              </a:pathLst>
            </a:custGeom>
            <a:grpFill/>
            <a:ln w="27192" cap="flat">
              <a:noFill/>
              <a:prstDash val="solid"/>
              <a:miter/>
            </a:ln>
          </p:spPr>
          <p:txBody>
            <a:bodyPr rtlCol="0" anchor="ctr"/>
            <a:lstStyle/>
            <a:p>
              <a:endParaRPr lang="uk-UA" sz="900"/>
            </a:p>
          </p:txBody>
        </p:sp>
        <p:sp>
          <p:nvSpPr>
            <p:cNvPr id="473" name="Freeform: Shape 472">
              <a:extLst>
                <a:ext uri="{FF2B5EF4-FFF2-40B4-BE49-F238E27FC236}">
                  <a16:creationId xmlns:a16="http://schemas.microsoft.com/office/drawing/2014/main" id="{E16BAEF5-65D7-B890-8251-9BEB36A5AEF5}"/>
                </a:ext>
              </a:extLst>
            </p:cNvPr>
            <p:cNvSpPr/>
            <p:nvPr/>
          </p:nvSpPr>
          <p:spPr>
            <a:xfrm>
              <a:off x="6056725" y="1328092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5 w 435077"/>
                <a:gd name="connsiteY3" fmla="*/ 27 h 435077"/>
                <a:gd name="connsiteX4" fmla="*/ 435077 w 435077"/>
                <a:gd name="connsiteY4" fmla="*/ 217566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5" y="27"/>
                  </a:lnTo>
                  <a:lnTo>
                    <a:pt x="435077" y="217566"/>
                  </a:lnTo>
                  <a:lnTo>
                    <a:pt x="217565"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474" name="Freeform: Shape 473">
              <a:extLst>
                <a:ext uri="{FF2B5EF4-FFF2-40B4-BE49-F238E27FC236}">
                  <a16:creationId xmlns:a16="http://schemas.microsoft.com/office/drawing/2014/main" id="{610199A5-9A93-8D11-D240-36FC5E5BB08B}"/>
                </a:ext>
              </a:extLst>
            </p:cNvPr>
            <p:cNvSpPr/>
            <p:nvPr/>
          </p:nvSpPr>
          <p:spPr>
            <a:xfrm>
              <a:off x="7797062" y="13280949"/>
              <a:ext cx="435077" cy="435050"/>
            </a:xfrm>
            <a:custGeom>
              <a:avLst/>
              <a:gdLst>
                <a:gd name="connsiteX0" fmla="*/ 435077 w 435077"/>
                <a:gd name="connsiteY0" fmla="*/ 435050 h 435050"/>
                <a:gd name="connsiteX1" fmla="*/ 435077 w 435077"/>
                <a:gd name="connsiteY1" fmla="*/ 0 h 435050"/>
                <a:gd name="connsiteX2" fmla="*/ 217566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39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66" y="217539"/>
                  </a:lnTo>
                  <a:lnTo>
                    <a:pt x="435077" y="435050"/>
                  </a:lnTo>
                  <a:close/>
                  <a:moveTo>
                    <a:pt x="0" y="435050"/>
                  </a:moveTo>
                  <a:lnTo>
                    <a:pt x="0" y="0"/>
                  </a:lnTo>
                  <a:lnTo>
                    <a:pt x="217539" y="217539"/>
                  </a:lnTo>
                  <a:lnTo>
                    <a:pt x="0" y="435050"/>
                  </a:lnTo>
                  <a:close/>
                </a:path>
              </a:pathLst>
            </a:custGeom>
            <a:grpFill/>
            <a:ln w="27192" cap="flat">
              <a:noFill/>
              <a:prstDash val="solid"/>
              <a:miter/>
            </a:ln>
          </p:spPr>
          <p:txBody>
            <a:bodyPr rtlCol="0" anchor="ctr"/>
            <a:lstStyle/>
            <a:p>
              <a:endParaRPr lang="uk-UA" sz="900"/>
            </a:p>
          </p:txBody>
        </p:sp>
        <p:sp>
          <p:nvSpPr>
            <p:cNvPr id="475" name="Freeform: Shape 474">
              <a:extLst>
                <a:ext uri="{FF2B5EF4-FFF2-40B4-BE49-F238E27FC236}">
                  <a16:creationId xmlns:a16="http://schemas.microsoft.com/office/drawing/2014/main" id="{50084ADA-928C-F35E-304B-AC34D44B59F4}"/>
                </a:ext>
              </a:extLst>
            </p:cNvPr>
            <p:cNvSpPr/>
            <p:nvPr/>
          </p:nvSpPr>
          <p:spPr>
            <a:xfrm>
              <a:off x="6926907" y="13280922"/>
              <a:ext cx="435077" cy="435077"/>
            </a:xfrm>
            <a:custGeom>
              <a:avLst/>
              <a:gdLst>
                <a:gd name="connsiteX0" fmla="*/ 0 w 435077"/>
                <a:gd name="connsiteY0" fmla="*/ 435077 h 435077"/>
                <a:gd name="connsiteX1" fmla="*/ 0 w 435077"/>
                <a:gd name="connsiteY1" fmla="*/ 0 h 435077"/>
                <a:gd name="connsiteX2" fmla="*/ 217512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12"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476" name="Freeform: Shape 475">
              <a:extLst>
                <a:ext uri="{FF2B5EF4-FFF2-40B4-BE49-F238E27FC236}">
                  <a16:creationId xmlns:a16="http://schemas.microsoft.com/office/drawing/2014/main" id="{28030654-0F6D-5044-485D-2E7996BAB484}"/>
                </a:ext>
              </a:extLst>
            </p:cNvPr>
            <p:cNvSpPr/>
            <p:nvPr/>
          </p:nvSpPr>
          <p:spPr>
            <a:xfrm>
              <a:off x="8667217" y="1328092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6" y="153827"/>
                  </a:cubicBezTo>
                  <a:cubicBezTo>
                    <a:pt x="330550" y="194642"/>
                    <a:pt x="275241" y="217539"/>
                    <a:pt x="217539" y="217539"/>
                  </a:cubicBezTo>
                  <a:cubicBezTo>
                    <a:pt x="159837"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5" y="322066"/>
                    <a:pt x="371366" y="281277"/>
                  </a:cubicBezTo>
                  <a:cubicBezTo>
                    <a:pt x="330550" y="240462"/>
                    <a:pt x="275241" y="217539"/>
                    <a:pt x="217539" y="217539"/>
                  </a:cubicBezTo>
                  <a:cubicBezTo>
                    <a:pt x="159837" y="217539"/>
                    <a:pt x="104501" y="240462"/>
                    <a:pt x="63712" y="281277"/>
                  </a:cubicBezTo>
                  <a:close/>
                </a:path>
              </a:pathLst>
            </a:custGeom>
            <a:grpFill/>
            <a:ln w="27192" cap="flat">
              <a:noFill/>
              <a:prstDash val="solid"/>
              <a:miter/>
            </a:ln>
          </p:spPr>
          <p:txBody>
            <a:bodyPr rtlCol="0" anchor="ctr"/>
            <a:lstStyle/>
            <a:p>
              <a:endParaRPr lang="uk-UA" sz="900"/>
            </a:p>
          </p:txBody>
        </p:sp>
        <p:sp>
          <p:nvSpPr>
            <p:cNvPr id="477" name="Freeform: Shape 476">
              <a:extLst>
                <a:ext uri="{FF2B5EF4-FFF2-40B4-BE49-F238E27FC236}">
                  <a16:creationId xmlns:a16="http://schemas.microsoft.com/office/drawing/2014/main" id="{8E9EBB2E-E7BC-8640-503A-185325D04B03}"/>
                </a:ext>
              </a:extLst>
            </p:cNvPr>
            <p:cNvSpPr/>
            <p:nvPr/>
          </p:nvSpPr>
          <p:spPr>
            <a:xfrm>
              <a:off x="9537371" y="1328092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6 w 435077"/>
                <a:gd name="connsiteY3" fmla="*/ 27 h 435077"/>
                <a:gd name="connsiteX4" fmla="*/ 435077 w 435077"/>
                <a:gd name="connsiteY4" fmla="*/ 217566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6" y="27"/>
                  </a:lnTo>
                  <a:lnTo>
                    <a:pt x="435077" y="217566"/>
                  </a:lnTo>
                  <a:lnTo>
                    <a:pt x="217566"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478" name="Freeform: Shape 477">
              <a:extLst>
                <a:ext uri="{FF2B5EF4-FFF2-40B4-BE49-F238E27FC236}">
                  <a16:creationId xmlns:a16="http://schemas.microsoft.com/office/drawing/2014/main" id="{AAE10BCC-1DC8-1CF8-64E7-189D2B367796}"/>
                </a:ext>
              </a:extLst>
            </p:cNvPr>
            <p:cNvSpPr/>
            <p:nvPr/>
          </p:nvSpPr>
          <p:spPr>
            <a:xfrm>
              <a:off x="11277709" y="13280949"/>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0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0" y="217539"/>
                  </a:lnTo>
                  <a:lnTo>
                    <a:pt x="0" y="435050"/>
                  </a:lnTo>
                  <a:close/>
                </a:path>
              </a:pathLst>
            </a:custGeom>
            <a:grpFill/>
            <a:ln w="27192" cap="flat">
              <a:noFill/>
              <a:prstDash val="solid"/>
              <a:miter/>
            </a:ln>
          </p:spPr>
          <p:txBody>
            <a:bodyPr rtlCol="0" anchor="ctr"/>
            <a:lstStyle/>
            <a:p>
              <a:endParaRPr lang="uk-UA" sz="900"/>
            </a:p>
          </p:txBody>
        </p:sp>
        <p:sp>
          <p:nvSpPr>
            <p:cNvPr id="479" name="Freeform: Shape 478">
              <a:extLst>
                <a:ext uri="{FF2B5EF4-FFF2-40B4-BE49-F238E27FC236}">
                  <a16:creationId xmlns:a16="http://schemas.microsoft.com/office/drawing/2014/main" id="{3E769481-233C-C80D-DFAD-1544935835B8}"/>
                </a:ext>
              </a:extLst>
            </p:cNvPr>
            <p:cNvSpPr/>
            <p:nvPr/>
          </p:nvSpPr>
          <p:spPr>
            <a:xfrm>
              <a:off x="10407526" y="1328092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480" name="Freeform: Shape 479">
              <a:extLst>
                <a:ext uri="{FF2B5EF4-FFF2-40B4-BE49-F238E27FC236}">
                  <a16:creationId xmlns:a16="http://schemas.microsoft.com/office/drawing/2014/main" id="{8ECAD28B-7A22-D5C0-8A99-B84724E2F5DB}"/>
                </a:ext>
              </a:extLst>
            </p:cNvPr>
            <p:cNvSpPr/>
            <p:nvPr/>
          </p:nvSpPr>
          <p:spPr>
            <a:xfrm>
              <a:off x="12147864" y="13280922"/>
              <a:ext cx="435077" cy="435077"/>
            </a:xfrm>
            <a:custGeom>
              <a:avLst/>
              <a:gdLst>
                <a:gd name="connsiteX0" fmla="*/ 63710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0 w 435077"/>
                <a:gd name="connsiteY6" fmla="*/ 153827 h 435077"/>
                <a:gd name="connsiteX7" fmla="*/ 63710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77 h 435077"/>
                <a:gd name="connsiteX12" fmla="*/ 217539 w 435077"/>
                <a:gd name="connsiteY12" fmla="*/ 217539 h 435077"/>
                <a:gd name="connsiteX13" fmla="*/ 63710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7"/>
                  </a:moveTo>
                  <a:cubicBezTo>
                    <a:pt x="22922" y="113039"/>
                    <a:pt x="0" y="57702"/>
                    <a:pt x="0" y="0"/>
                  </a:cubicBezTo>
                  <a:lnTo>
                    <a:pt x="217539" y="0"/>
                  </a:lnTo>
                  <a:lnTo>
                    <a:pt x="435077" y="0"/>
                  </a:lnTo>
                  <a:cubicBezTo>
                    <a:pt x="435077" y="57702"/>
                    <a:pt x="412154" y="113039"/>
                    <a:pt x="371365" y="153827"/>
                  </a:cubicBezTo>
                  <a:cubicBezTo>
                    <a:pt x="330549" y="194642"/>
                    <a:pt x="275239" y="217539"/>
                    <a:pt x="217539" y="217539"/>
                  </a:cubicBezTo>
                  <a:cubicBezTo>
                    <a:pt x="159836" y="217539"/>
                    <a:pt x="104499" y="194642"/>
                    <a:pt x="63710" y="153827"/>
                  </a:cubicBezTo>
                  <a:close/>
                  <a:moveTo>
                    <a:pt x="63710" y="281277"/>
                  </a:moveTo>
                  <a:cubicBezTo>
                    <a:pt x="22922" y="322066"/>
                    <a:pt x="0" y="377402"/>
                    <a:pt x="0" y="435077"/>
                  </a:cubicBezTo>
                  <a:lnTo>
                    <a:pt x="217539" y="435077"/>
                  </a:lnTo>
                  <a:lnTo>
                    <a:pt x="435077" y="435077"/>
                  </a:lnTo>
                  <a:cubicBezTo>
                    <a:pt x="435077" y="377402"/>
                    <a:pt x="412154" y="322066"/>
                    <a:pt x="371365" y="281277"/>
                  </a:cubicBezTo>
                  <a:cubicBezTo>
                    <a:pt x="330549" y="240462"/>
                    <a:pt x="275239" y="217539"/>
                    <a:pt x="217539" y="217539"/>
                  </a:cubicBezTo>
                  <a:cubicBezTo>
                    <a:pt x="159836" y="217539"/>
                    <a:pt x="104499" y="240462"/>
                    <a:pt x="63710" y="281277"/>
                  </a:cubicBezTo>
                  <a:close/>
                </a:path>
              </a:pathLst>
            </a:custGeom>
            <a:grpFill/>
            <a:ln w="27192" cap="flat">
              <a:noFill/>
              <a:prstDash val="solid"/>
              <a:miter/>
            </a:ln>
          </p:spPr>
          <p:txBody>
            <a:bodyPr rtlCol="0" anchor="ctr"/>
            <a:lstStyle/>
            <a:p>
              <a:endParaRPr lang="uk-UA" sz="900"/>
            </a:p>
          </p:txBody>
        </p:sp>
        <p:sp>
          <p:nvSpPr>
            <p:cNvPr id="481" name="Freeform: Shape 480">
              <a:extLst>
                <a:ext uri="{FF2B5EF4-FFF2-40B4-BE49-F238E27FC236}">
                  <a16:creationId xmlns:a16="http://schemas.microsoft.com/office/drawing/2014/main" id="{B1BFFC2C-548E-D97B-FEB3-5A7D4EEA0819}"/>
                </a:ext>
              </a:extLst>
            </p:cNvPr>
            <p:cNvSpPr/>
            <p:nvPr/>
          </p:nvSpPr>
          <p:spPr>
            <a:xfrm>
              <a:off x="13018019" y="1328092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5 w 435077"/>
                <a:gd name="connsiteY3" fmla="*/ 27 h 435077"/>
                <a:gd name="connsiteX4" fmla="*/ 435077 w 435077"/>
                <a:gd name="connsiteY4" fmla="*/ 217566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5" y="27"/>
                  </a:lnTo>
                  <a:lnTo>
                    <a:pt x="435077" y="217566"/>
                  </a:lnTo>
                  <a:lnTo>
                    <a:pt x="217565"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482" name="Freeform: Shape 481">
              <a:extLst>
                <a:ext uri="{FF2B5EF4-FFF2-40B4-BE49-F238E27FC236}">
                  <a16:creationId xmlns:a16="http://schemas.microsoft.com/office/drawing/2014/main" id="{D20D0889-8A2A-7BF4-2ACB-D9843089FEA5}"/>
                </a:ext>
              </a:extLst>
            </p:cNvPr>
            <p:cNvSpPr/>
            <p:nvPr/>
          </p:nvSpPr>
          <p:spPr>
            <a:xfrm>
              <a:off x="14758382" y="13280949"/>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2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2" y="217539"/>
                  </a:lnTo>
                  <a:lnTo>
                    <a:pt x="0" y="435050"/>
                  </a:lnTo>
                  <a:close/>
                </a:path>
              </a:pathLst>
            </a:custGeom>
            <a:grpFill/>
            <a:ln w="27192" cap="flat">
              <a:noFill/>
              <a:prstDash val="solid"/>
              <a:miter/>
            </a:ln>
          </p:spPr>
          <p:txBody>
            <a:bodyPr rtlCol="0" anchor="ctr"/>
            <a:lstStyle/>
            <a:p>
              <a:endParaRPr lang="uk-UA" sz="900"/>
            </a:p>
          </p:txBody>
        </p:sp>
        <p:sp>
          <p:nvSpPr>
            <p:cNvPr id="483" name="Freeform: Shape 482">
              <a:extLst>
                <a:ext uri="{FF2B5EF4-FFF2-40B4-BE49-F238E27FC236}">
                  <a16:creationId xmlns:a16="http://schemas.microsoft.com/office/drawing/2014/main" id="{A3F430B3-5013-26E3-2416-3117DFD5CCAA}"/>
                </a:ext>
              </a:extLst>
            </p:cNvPr>
            <p:cNvSpPr/>
            <p:nvPr/>
          </p:nvSpPr>
          <p:spPr>
            <a:xfrm>
              <a:off x="13888200" y="1328092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484" name="Freeform: Shape 483">
              <a:extLst>
                <a:ext uri="{FF2B5EF4-FFF2-40B4-BE49-F238E27FC236}">
                  <a16:creationId xmlns:a16="http://schemas.microsoft.com/office/drawing/2014/main" id="{B67DFA43-D033-0735-E1F1-C3C4DFDD9AD1}"/>
                </a:ext>
              </a:extLst>
            </p:cNvPr>
            <p:cNvSpPr/>
            <p:nvPr/>
          </p:nvSpPr>
          <p:spPr>
            <a:xfrm>
              <a:off x="15628536" y="1328092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7" y="153827"/>
                  </a:cubicBezTo>
                  <a:cubicBezTo>
                    <a:pt x="330550" y="194642"/>
                    <a:pt x="275241" y="217539"/>
                    <a:pt x="217539" y="217539"/>
                  </a:cubicBezTo>
                  <a:cubicBezTo>
                    <a:pt x="159836"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5" y="322066"/>
                    <a:pt x="371367" y="281277"/>
                  </a:cubicBezTo>
                  <a:cubicBezTo>
                    <a:pt x="330550" y="240462"/>
                    <a:pt x="275241" y="217539"/>
                    <a:pt x="217539" y="217539"/>
                  </a:cubicBezTo>
                  <a:cubicBezTo>
                    <a:pt x="159836" y="217539"/>
                    <a:pt x="104501" y="240462"/>
                    <a:pt x="63712" y="281277"/>
                  </a:cubicBezTo>
                  <a:close/>
                </a:path>
              </a:pathLst>
            </a:custGeom>
            <a:grpFill/>
            <a:ln w="27192" cap="flat">
              <a:noFill/>
              <a:prstDash val="solid"/>
              <a:miter/>
            </a:ln>
          </p:spPr>
          <p:txBody>
            <a:bodyPr rtlCol="0" anchor="ctr"/>
            <a:lstStyle/>
            <a:p>
              <a:endParaRPr lang="uk-UA" sz="900"/>
            </a:p>
          </p:txBody>
        </p:sp>
        <p:sp>
          <p:nvSpPr>
            <p:cNvPr id="485" name="Freeform: Shape 484">
              <a:extLst>
                <a:ext uri="{FF2B5EF4-FFF2-40B4-BE49-F238E27FC236}">
                  <a16:creationId xmlns:a16="http://schemas.microsoft.com/office/drawing/2014/main" id="{27C60126-8E91-E594-A7FB-D620B590543B}"/>
                </a:ext>
              </a:extLst>
            </p:cNvPr>
            <p:cNvSpPr/>
            <p:nvPr/>
          </p:nvSpPr>
          <p:spPr>
            <a:xfrm>
              <a:off x="16498691" y="1328092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7 w 435077"/>
                <a:gd name="connsiteY3" fmla="*/ 27 h 435077"/>
                <a:gd name="connsiteX4" fmla="*/ 435077 w 435077"/>
                <a:gd name="connsiteY4" fmla="*/ 217566 h 435077"/>
                <a:gd name="connsiteX5" fmla="*/ 217567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7" y="27"/>
                  </a:lnTo>
                  <a:lnTo>
                    <a:pt x="435077" y="217566"/>
                  </a:lnTo>
                  <a:lnTo>
                    <a:pt x="217567"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486" name="Freeform: Shape 485">
              <a:extLst>
                <a:ext uri="{FF2B5EF4-FFF2-40B4-BE49-F238E27FC236}">
                  <a16:creationId xmlns:a16="http://schemas.microsoft.com/office/drawing/2014/main" id="{63439DBB-298F-BFBF-46D5-7324EAA214C9}"/>
                </a:ext>
              </a:extLst>
            </p:cNvPr>
            <p:cNvSpPr/>
            <p:nvPr/>
          </p:nvSpPr>
          <p:spPr>
            <a:xfrm>
              <a:off x="18239029" y="13280949"/>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0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0" y="217539"/>
                  </a:lnTo>
                  <a:lnTo>
                    <a:pt x="0" y="435050"/>
                  </a:lnTo>
                  <a:close/>
                </a:path>
              </a:pathLst>
            </a:custGeom>
            <a:grpFill/>
            <a:ln w="27192" cap="flat">
              <a:noFill/>
              <a:prstDash val="solid"/>
              <a:miter/>
            </a:ln>
          </p:spPr>
          <p:txBody>
            <a:bodyPr rtlCol="0" anchor="ctr"/>
            <a:lstStyle/>
            <a:p>
              <a:endParaRPr lang="uk-UA" sz="900"/>
            </a:p>
          </p:txBody>
        </p:sp>
        <p:sp>
          <p:nvSpPr>
            <p:cNvPr id="487" name="Freeform: Shape 486">
              <a:extLst>
                <a:ext uri="{FF2B5EF4-FFF2-40B4-BE49-F238E27FC236}">
                  <a16:creationId xmlns:a16="http://schemas.microsoft.com/office/drawing/2014/main" id="{3C26AB2E-5071-2D60-C51B-66748A60E37D}"/>
                </a:ext>
              </a:extLst>
            </p:cNvPr>
            <p:cNvSpPr/>
            <p:nvPr/>
          </p:nvSpPr>
          <p:spPr>
            <a:xfrm>
              <a:off x="17368846" y="1328092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67 w 435077"/>
                <a:gd name="connsiteY4" fmla="*/ 435077 h 435077"/>
                <a:gd name="connsiteX5" fmla="*/ 217567 w 435077"/>
                <a:gd name="connsiteY5" fmla="*/ 0 h 435077"/>
                <a:gd name="connsiteX6" fmla="*/ 435077 w 435077"/>
                <a:gd name="connsiteY6" fmla="*/ 217566 h 435077"/>
                <a:gd name="connsiteX7" fmla="*/ 217567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67" y="435077"/>
                  </a:moveTo>
                  <a:lnTo>
                    <a:pt x="217567" y="0"/>
                  </a:lnTo>
                  <a:lnTo>
                    <a:pt x="435077" y="217566"/>
                  </a:lnTo>
                  <a:lnTo>
                    <a:pt x="217567" y="435077"/>
                  </a:lnTo>
                  <a:close/>
                </a:path>
              </a:pathLst>
            </a:custGeom>
            <a:grpFill/>
            <a:ln w="27192" cap="flat">
              <a:noFill/>
              <a:prstDash val="solid"/>
              <a:miter/>
            </a:ln>
          </p:spPr>
          <p:txBody>
            <a:bodyPr rtlCol="0" anchor="ctr"/>
            <a:lstStyle/>
            <a:p>
              <a:endParaRPr lang="uk-UA" sz="900"/>
            </a:p>
          </p:txBody>
        </p:sp>
        <p:sp>
          <p:nvSpPr>
            <p:cNvPr id="488" name="Freeform: Shape 487">
              <a:extLst>
                <a:ext uri="{FF2B5EF4-FFF2-40B4-BE49-F238E27FC236}">
                  <a16:creationId xmlns:a16="http://schemas.microsoft.com/office/drawing/2014/main" id="{A58F8C4E-27BB-6BC4-6911-97C305CC4621}"/>
                </a:ext>
              </a:extLst>
            </p:cNvPr>
            <p:cNvSpPr/>
            <p:nvPr/>
          </p:nvSpPr>
          <p:spPr>
            <a:xfrm>
              <a:off x="19109184" y="13280922"/>
              <a:ext cx="435077" cy="435077"/>
            </a:xfrm>
            <a:custGeom>
              <a:avLst/>
              <a:gdLst>
                <a:gd name="connsiteX0" fmla="*/ 63710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0 w 435077"/>
                <a:gd name="connsiteY6" fmla="*/ 153827 h 435077"/>
                <a:gd name="connsiteX7" fmla="*/ 63710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77 h 435077"/>
                <a:gd name="connsiteX12" fmla="*/ 217539 w 435077"/>
                <a:gd name="connsiteY12" fmla="*/ 217539 h 435077"/>
                <a:gd name="connsiteX13" fmla="*/ 63710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7"/>
                  </a:moveTo>
                  <a:cubicBezTo>
                    <a:pt x="22922" y="113039"/>
                    <a:pt x="0" y="57702"/>
                    <a:pt x="0" y="0"/>
                  </a:cubicBezTo>
                  <a:lnTo>
                    <a:pt x="217539" y="0"/>
                  </a:lnTo>
                  <a:lnTo>
                    <a:pt x="435077" y="0"/>
                  </a:lnTo>
                  <a:cubicBezTo>
                    <a:pt x="435077" y="57702"/>
                    <a:pt x="412154" y="113039"/>
                    <a:pt x="371365" y="153827"/>
                  </a:cubicBezTo>
                  <a:cubicBezTo>
                    <a:pt x="330577" y="194642"/>
                    <a:pt x="275241" y="217539"/>
                    <a:pt x="217539" y="217539"/>
                  </a:cubicBezTo>
                  <a:cubicBezTo>
                    <a:pt x="159836" y="217539"/>
                    <a:pt x="104527" y="194642"/>
                    <a:pt x="63710" y="153827"/>
                  </a:cubicBezTo>
                  <a:close/>
                  <a:moveTo>
                    <a:pt x="63710" y="281277"/>
                  </a:moveTo>
                  <a:cubicBezTo>
                    <a:pt x="22922" y="322066"/>
                    <a:pt x="0" y="377402"/>
                    <a:pt x="0" y="435077"/>
                  </a:cubicBezTo>
                  <a:lnTo>
                    <a:pt x="217539" y="435077"/>
                  </a:lnTo>
                  <a:lnTo>
                    <a:pt x="435077" y="435077"/>
                  </a:lnTo>
                  <a:cubicBezTo>
                    <a:pt x="435077" y="377402"/>
                    <a:pt x="412154" y="322066"/>
                    <a:pt x="371365" y="281277"/>
                  </a:cubicBezTo>
                  <a:cubicBezTo>
                    <a:pt x="330577" y="240462"/>
                    <a:pt x="275241" y="217539"/>
                    <a:pt x="217539" y="217539"/>
                  </a:cubicBezTo>
                  <a:cubicBezTo>
                    <a:pt x="159836" y="217539"/>
                    <a:pt x="104527" y="240462"/>
                    <a:pt x="63710" y="281277"/>
                  </a:cubicBezTo>
                  <a:close/>
                </a:path>
              </a:pathLst>
            </a:custGeom>
            <a:grpFill/>
            <a:ln w="27192" cap="flat">
              <a:noFill/>
              <a:prstDash val="solid"/>
              <a:miter/>
            </a:ln>
          </p:spPr>
          <p:txBody>
            <a:bodyPr rtlCol="0" anchor="ctr"/>
            <a:lstStyle/>
            <a:p>
              <a:endParaRPr lang="uk-UA" sz="900"/>
            </a:p>
          </p:txBody>
        </p:sp>
        <p:sp>
          <p:nvSpPr>
            <p:cNvPr id="489" name="Freeform: Shape 488">
              <a:extLst>
                <a:ext uri="{FF2B5EF4-FFF2-40B4-BE49-F238E27FC236}">
                  <a16:creationId xmlns:a16="http://schemas.microsoft.com/office/drawing/2014/main" id="{7ED7DE51-513D-C8AF-C6FC-22CA978413F4}"/>
                </a:ext>
              </a:extLst>
            </p:cNvPr>
            <p:cNvSpPr/>
            <p:nvPr/>
          </p:nvSpPr>
          <p:spPr>
            <a:xfrm>
              <a:off x="19979339" y="1328092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5 w 435077"/>
                <a:gd name="connsiteY3" fmla="*/ 27 h 435077"/>
                <a:gd name="connsiteX4" fmla="*/ 435077 w 435077"/>
                <a:gd name="connsiteY4" fmla="*/ 217566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5" y="27"/>
                  </a:lnTo>
                  <a:lnTo>
                    <a:pt x="435077" y="217566"/>
                  </a:lnTo>
                  <a:lnTo>
                    <a:pt x="217565"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490" name="Freeform: Shape 489">
              <a:extLst>
                <a:ext uri="{FF2B5EF4-FFF2-40B4-BE49-F238E27FC236}">
                  <a16:creationId xmlns:a16="http://schemas.microsoft.com/office/drawing/2014/main" id="{5D9E3F76-3A57-CD9D-4D4F-CD6053CDF844}"/>
                </a:ext>
              </a:extLst>
            </p:cNvPr>
            <p:cNvSpPr/>
            <p:nvPr/>
          </p:nvSpPr>
          <p:spPr>
            <a:xfrm>
              <a:off x="21719675" y="13280922"/>
              <a:ext cx="435077" cy="435077"/>
            </a:xfrm>
            <a:custGeom>
              <a:avLst/>
              <a:gdLst>
                <a:gd name="connsiteX0" fmla="*/ 435077 w 435077"/>
                <a:gd name="connsiteY0" fmla="*/ 435077 h 435077"/>
                <a:gd name="connsiteX1" fmla="*/ 435077 w 435077"/>
                <a:gd name="connsiteY1" fmla="*/ 0 h 435077"/>
                <a:gd name="connsiteX2" fmla="*/ 217565 w 435077"/>
                <a:gd name="connsiteY2" fmla="*/ 217566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66"/>
                  </a:lnTo>
                  <a:lnTo>
                    <a:pt x="435077" y="435077"/>
                  </a:lnTo>
                  <a:close/>
                  <a:moveTo>
                    <a:pt x="0" y="435077"/>
                  </a:moveTo>
                  <a:lnTo>
                    <a:pt x="0" y="0"/>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491" name="Freeform: Shape 490">
              <a:extLst>
                <a:ext uri="{FF2B5EF4-FFF2-40B4-BE49-F238E27FC236}">
                  <a16:creationId xmlns:a16="http://schemas.microsoft.com/office/drawing/2014/main" id="{9D59E841-8F76-A967-1695-44EFBE4C4C00}"/>
                </a:ext>
              </a:extLst>
            </p:cNvPr>
            <p:cNvSpPr/>
            <p:nvPr/>
          </p:nvSpPr>
          <p:spPr>
            <a:xfrm>
              <a:off x="20849520" y="1328092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492" name="Freeform: Shape 491">
              <a:extLst>
                <a:ext uri="{FF2B5EF4-FFF2-40B4-BE49-F238E27FC236}">
                  <a16:creationId xmlns:a16="http://schemas.microsoft.com/office/drawing/2014/main" id="{FF8FC70B-C3B7-8732-72C6-C8702D985818}"/>
                </a:ext>
              </a:extLst>
            </p:cNvPr>
            <p:cNvSpPr/>
            <p:nvPr/>
          </p:nvSpPr>
          <p:spPr>
            <a:xfrm>
              <a:off x="22589856" y="1328092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7" y="153827"/>
                  </a:cubicBezTo>
                  <a:cubicBezTo>
                    <a:pt x="330550" y="194642"/>
                    <a:pt x="275215" y="217539"/>
                    <a:pt x="217539" y="217539"/>
                  </a:cubicBezTo>
                  <a:cubicBezTo>
                    <a:pt x="159838"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5" y="322066"/>
                    <a:pt x="371367" y="281277"/>
                  </a:cubicBezTo>
                  <a:cubicBezTo>
                    <a:pt x="330550" y="240462"/>
                    <a:pt x="275215" y="217539"/>
                    <a:pt x="217539" y="217539"/>
                  </a:cubicBezTo>
                  <a:cubicBezTo>
                    <a:pt x="159838" y="217539"/>
                    <a:pt x="104501" y="240462"/>
                    <a:pt x="63712" y="281277"/>
                  </a:cubicBezTo>
                  <a:close/>
                </a:path>
              </a:pathLst>
            </a:custGeom>
            <a:grpFill/>
            <a:ln w="27192" cap="flat">
              <a:noFill/>
              <a:prstDash val="solid"/>
              <a:miter/>
            </a:ln>
          </p:spPr>
          <p:txBody>
            <a:bodyPr rtlCol="0" anchor="ctr"/>
            <a:lstStyle/>
            <a:p>
              <a:endParaRPr lang="uk-UA" sz="900"/>
            </a:p>
          </p:txBody>
        </p:sp>
        <p:sp>
          <p:nvSpPr>
            <p:cNvPr id="493" name="Freeform: Shape 492">
              <a:extLst>
                <a:ext uri="{FF2B5EF4-FFF2-40B4-BE49-F238E27FC236}">
                  <a16:creationId xmlns:a16="http://schemas.microsoft.com/office/drawing/2014/main" id="{A61090F7-89BB-D746-5CAA-6613F7FB5CE7}"/>
                </a:ext>
              </a:extLst>
            </p:cNvPr>
            <p:cNvSpPr/>
            <p:nvPr/>
          </p:nvSpPr>
          <p:spPr>
            <a:xfrm>
              <a:off x="23460011" y="1328092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7 w 435077"/>
                <a:gd name="connsiteY3" fmla="*/ 27 h 435077"/>
                <a:gd name="connsiteX4" fmla="*/ 435077 w 435077"/>
                <a:gd name="connsiteY4" fmla="*/ 217566 h 435077"/>
                <a:gd name="connsiteX5" fmla="*/ 217567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12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7" y="27"/>
                  </a:lnTo>
                  <a:lnTo>
                    <a:pt x="435077" y="217566"/>
                  </a:lnTo>
                  <a:lnTo>
                    <a:pt x="217567" y="435077"/>
                  </a:lnTo>
                  <a:lnTo>
                    <a:pt x="435077" y="435077"/>
                  </a:lnTo>
                  <a:close/>
                  <a:moveTo>
                    <a:pt x="0" y="217539"/>
                  </a:moveTo>
                  <a:lnTo>
                    <a:pt x="0" y="0"/>
                  </a:lnTo>
                  <a:lnTo>
                    <a:pt x="217512" y="217539"/>
                  </a:lnTo>
                  <a:lnTo>
                    <a:pt x="0" y="217539"/>
                  </a:lnTo>
                  <a:close/>
                  <a:moveTo>
                    <a:pt x="0" y="435077"/>
                  </a:moveTo>
                  <a:lnTo>
                    <a:pt x="0" y="217566"/>
                  </a:lnTo>
                  <a:lnTo>
                    <a:pt x="217512" y="217566"/>
                  </a:lnTo>
                  <a:lnTo>
                    <a:pt x="0" y="435077"/>
                  </a:lnTo>
                  <a:close/>
                </a:path>
              </a:pathLst>
            </a:custGeom>
            <a:grpFill/>
            <a:ln w="27192" cap="flat">
              <a:noFill/>
              <a:prstDash val="solid"/>
              <a:miter/>
            </a:ln>
          </p:spPr>
          <p:txBody>
            <a:bodyPr rtlCol="0" anchor="ctr"/>
            <a:lstStyle/>
            <a:p>
              <a:endParaRPr lang="uk-UA" sz="900"/>
            </a:p>
          </p:txBody>
        </p:sp>
        <p:sp>
          <p:nvSpPr>
            <p:cNvPr id="494" name="Freeform: Shape 493">
              <a:extLst>
                <a:ext uri="{FF2B5EF4-FFF2-40B4-BE49-F238E27FC236}">
                  <a16:creationId xmlns:a16="http://schemas.microsoft.com/office/drawing/2014/main" id="{60C653CE-0A37-939C-ABF2-C5D45168A01B}"/>
                </a:ext>
              </a:extLst>
            </p:cNvPr>
            <p:cNvSpPr/>
            <p:nvPr/>
          </p:nvSpPr>
          <p:spPr>
            <a:xfrm>
              <a:off x="24330194" y="1328092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grpSp>
      <p:sp>
        <p:nvSpPr>
          <p:cNvPr id="2" name="TextBox 1">
            <a:extLst>
              <a:ext uri="{FF2B5EF4-FFF2-40B4-BE49-F238E27FC236}">
                <a16:creationId xmlns:a16="http://schemas.microsoft.com/office/drawing/2014/main" id="{D891FEFF-BA87-51F4-AE21-6A6C5E801C93}"/>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chemeClr val="bg1"/>
                </a:solidFill>
                <a:latin typeface="IBM Plex Sans" panose="020B0503050203000203" pitchFamily="34" charset="0"/>
                <a:ea typeface="+mj-ea"/>
                <a:cs typeface="+mj-cs"/>
                <a:sym typeface="IBM Plex Sans Light"/>
              </a:rPr>
              <a:t>#IBMTechXchange</a:t>
            </a:r>
          </a:p>
        </p:txBody>
      </p:sp>
    </p:spTree>
    <p:extLst>
      <p:ext uri="{BB962C8B-B14F-4D97-AF65-F5344CB8AC3E}">
        <p14:creationId xmlns:p14="http://schemas.microsoft.com/office/powerpoint/2010/main" val="3605900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ig text with pattern 2">
    <p:bg>
      <p:bgPr>
        <a:solidFill>
          <a:schemeClr val="bg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5A00BF2-10A0-8384-8F1F-60EBBEFA9497}"/>
              </a:ext>
            </a:extLst>
          </p:cNvPr>
          <p:cNvGrpSpPr>
            <a:grpSpLocks noChangeAspect="1"/>
          </p:cNvGrpSpPr>
          <p:nvPr userDrawn="1"/>
        </p:nvGrpSpPr>
        <p:grpSpPr>
          <a:xfrm>
            <a:off x="254136" y="251460"/>
            <a:ext cx="11683728" cy="6355080"/>
            <a:chOff x="-34412" y="228570"/>
            <a:chExt cx="24799683" cy="13487429"/>
          </a:xfrm>
          <a:solidFill>
            <a:schemeClr val="bg2"/>
          </a:solidFill>
        </p:grpSpPr>
        <p:sp>
          <p:nvSpPr>
            <p:cNvPr id="3" name="Freeform: Shape 2">
              <a:extLst>
                <a:ext uri="{FF2B5EF4-FFF2-40B4-BE49-F238E27FC236}">
                  <a16:creationId xmlns:a16="http://schemas.microsoft.com/office/drawing/2014/main" id="{236BF704-8AC8-FDF0-42F9-67BFB0FA8F15}"/>
                </a:ext>
              </a:extLst>
            </p:cNvPr>
            <p:cNvSpPr/>
            <p:nvPr/>
          </p:nvSpPr>
          <p:spPr>
            <a:xfrm>
              <a:off x="835769" y="228598"/>
              <a:ext cx="435077" cy="435073"/>
            </a:xfrm>
            <a:custGeom>
              <a:avLst/>
              <a:gdLst>
                <a:gd name="connsiteX0" fmla="*/ 371366 w 435077"/>
                <a:gd name="connsiteY0" fmla="*/ 63716 h 435073"/>
                <a:gd name="connsiteX1" fmla="*/ 435077 w 435077"/>
                <a:gd name="connsiteY1" fmla="*/ 217539 h 435073"/>
                <a:gd name="connsiteX2" fmla="*/ 218925 w 435077"/>
                <a:gd name="connsiteY2" fmla="*/ 217539 h 435073"/>
                <a:gd name="connsiteX3" fmla="*/ 371366 w 435077"/>
                <a:gd name="connsiteY3" fmla="*/ 281249 h 435073"/>
                <a:gd name="connsiteX4" fmla="*/ 435077 w 435077"/>
                <a:gd name="connsiteY4" fmla="*/ 435073 h 435073"/>
                <a:gd name="connsiteX5" fmla="*/ 217539 w 435077"/>
                <a:gd name="connsiteY5" fmla="*/ 435073 h 435073"/>
                <a:gd name="connsiteX6" fmla="*/ 0 w 435077"/>
                <a:gd name="connsiteY6" fmla="*/ 435073 h 435073"/>
                <a:gd name="connsiteX7" fmla="*/ 63711 w 435077"/>
                <a:gd name="connsiteY7" fmla="*/ 281249 h 435073"/>
                <a:gd name="connsiteX8" fmla="*/ 216125 w 435077"/>
                <a:gd name="connsiteY8" fmla="*/ 217539 h 435073"/>
                <a:gd name="connsiteX9" fmla="*/ 0 w 435077"/>
                <a:gd name="connsiteY9" fmla="*/ 217539 h 435073"/>
                <a:gd name="connsiteX10" fmla="*/ 63711 w 435077"/>
                <a:gd name="connsiteY10" fmla="*/ 63716 h 435073"/>
                <a:gd name="connsiteX11" fmla="*/ 217539 w 435077"/>
                <a:gd name="connsiteY11" fmla="*/ 0 h 435073"/>
                <a:gd name="connsiteX12" fmla="*/ 371366 w 435077"/>
                <a:gd name="connsiteY12" fmla="*/ 63716 h 43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3">
                  <a:moveTo>
                    <a:pt x="371366" y="63716"/>
                  </a:moveTo>
                  <a:cubicBezTo>
                    <a:pt x="412154" y="104512"/>
                    <a:pt x="435077" y="159844"/>
                    <a:pt x="435077" y="217539"/>
                  </a:cubicBezTo>
                  <a:lnTo>
                    <a:pt x="218925" y="217539"/>
                  </a:lnTo>
                  <a:cubicBezTo>
                    <a:pt x="276138" y="217907"/>
                    <a:pt x="330903" y="240784"/>
                    <a:pt x="371366" y="281249"/>
                  </a:cubicBezTo>
                  <a:cubicBezTo>
                    <a:pt x="412154" y="322046"/>
                    <a:pt x="435077" y="377379"/>
                    <a:pt x="435077" y="435073"/>
                  </a:cubicBezTo>
                  <a:lnTo>
                    <a:pt x="217539" y="435073"/>
                  </a:lnTo>
                  <a:lnTo>
                    <a:pt x="0" y="435073"/>
                  </a:lnTo>
                  <a:cubicBezTo>
                    <a:pt x="0" y="377379"/>
                    <a:pt x="22923" y="322046"/>
                    <a:pt x="63711" y="281249"/>
                  </a:cubicBezTo>
                  <a:cubicBezTo>
                    <a:pt x="104174" y="240784"/>
                    <a:pt x="158939" y="217907"/>
                    <a:pt x="216125" y="217539"/>
                  </a:cubicBezTo>
                  <a:lnTo>
                    <a:pt x="0" y="217539"/>
                  </a:lnTo>
                  <a:cubicBezTo>
                    <a:pt x="0" y="159844"/>
                    <a:pt x="22923" y="104512"/>
                    <a:pt x="63711" y="63716"/>
                  </a:cubicBezTo>
                  <a:cubicBezTo>
                    <a:pt x="104500" y="22919"/>
                    <a:pt x="159836" y="0"/>
                    <a:pt x="217539" y="0"/>
                  </a:cubicBezTo>
                  <a:cubicBezTo>
                    <a:pt x="275213" y="0"/>
                    <a:pt x="330550" y="22919"/>
                    <a:pt x="371366" y="63716"/>
                  </a:cubicBezTo>
                  <a:close/>
                </a:path>
              </a:pathLst>
            </a:custGeom>
            <a:grpFill/>
            <a:ln w="27192" cap="flat">
              <a:noFill/>
              <a:prstDash val="solid"/>
              <a:miter/>
            </a:ln>
          </p:spPr>
          <p:txBody>
            <a:bodyPr rtlCol="0" anchor="ctr"/>
            <a:lstStyle/>
            <a:p>
              <a:endParaRPr lang="uk-UA" sz="900"/>
            </a:p>
          </p:txBody>
        </p:sp>
        <p:sp>
          <p:nvSpPr>
            <p:cNvPr id="5" name="Freeform: Shape 4">
              <a:extLst>
                <a:ext uri="{FF2B5EF4-FFF2-40B4-BE49-F238E27FC236}">
                  <a16:creationId xmlns:a16="http://schemas.microsoft.com/office/drawing/2014/main" id="{8C130A3E-6C1D-13C1-9112-00C7362A2E68}"/>
                </a:ext>
              </a:extLst>
            </p:cNvPr>
            <p:cNvSpPr/>
            <p:nvPr/>
          </p:nvSpPr>
          <p:spPr>
            <a:xfrm>
              <a:off x="-34398" y="228598"/>
              <a:ext cx="435090" cy="435078"/>
            </a:xfrm>
            <a:custGeom>
              <a:avLst/>
              <a:gdLst>
                <a:gd name="connsiteX0" fmla="*/ 217525 w 435090"/>
                <a:gd name="connsiteY0" fmla="*/ 0 h 435078"/>
                <a:gd name="connsiteX1" fmla="*/ 0 w 435090"/>
                <a:gd name="connsiteY1" fmla="*/ 0 h 435078"/>
                <a:gd name="connsiteX2" fmla="*/ 0 w 435090"/>
                <a:gd name="connsiteY2" fmla="*/ 217539 h 435078"/>
                <a:gd name="connsiteX3" fmla="*/ 217525 w 435090"/>
                <a:gd name="connsiteY3" fmla="*/ 0 h 435078"/>
                <a:gd name="connsiteX4" fmla="*/ 435091 w 435090"/>
                <a:gd name="connsiteY4" fmla="*/ 0 h 435078"/>
                <a:gd name="connsiteX5" fmla="*/ 435091 w 435090"/>
                <a:gd name="connsiteY5" fmla="*/ 217539 h 435078"/>
                <a:gd name="connsiteX6" fmla="*/ 217552 w 435090"/>
                <a:gd name="connsiteY6" fmla="*/ 0 h 435078"/>
                <a:gd name="connsiteX7" fmla="*/ 435091 w 435090"/>
                <a:gd name="connsiteY7" fmla="*/ 0 h 435078"/>
                <a:gd name="connsiteX8" fmla="*/ 217552 w 435090"/>
                <a:gd name="connsiteY8" fmla="*/ 435079 h 435078"/>
                <a:gd name="connsiteX9" fmla="*/ 435091 w 435090"/>
                <a:gd name="connsiteY9" fmla="*/ 217539 h 435078"/>
                <a:gd name="connsiteX10" fmla="*/ 435091 w 435090"/>
                <a:gd name="connsiteY10" fmla="*/ 435079 h 435078"/>
                <a:gd name="connsiteX11" fmla="*/ 217552 w 435090"/>
                <a:gd name="connsiteY11" fmla="*/ 435079 h 435078"/>
                <a:gd name="connsiteX12" fmla="*/ 217552 w 435090"/>
                <a:gd name="connsiteY12" fmla="*/ 435079 h 435078"/>
                <a:gd name="connsiteX13" fmla="*/ 11 w 435090"/>
                <a:gd name="connsiteY13" fmla="*/ 217539 h 435078"/>
                <a:gd name="connsiteX14" fmla="*/ 11 w 435090"/>
                <a:gd name="connsiteY14" fmla="*/ 435079 h 435078"/>
                <a:gd name="connsiteX15" fmla="*/ 217552 w 435090"/>
                <a:gd name="connsiteY15" fmla="*/ 435079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90" h="435078">
                  <a:moveTo>
                    <a:pt x="217525" y="0"/>
                  </a:moveTo>
                  <a:lnTo>
                    <a:pt x="0" y="0"/>
                  </a:lnTo>
                  <a:lnTo>
                    <a:pt x="0" y="217539"/>
                  </a:lnTo>
                  <a:lnTo>
                    <a:pt x="217525" y="0"/>
                  </a:lnTo>
                  <a:close/>
                  <a:moveTo>
                    <a:pt x="435091" y="0"/>
                  </a:moveTo>
                  <a:lnTo>
                    <a:pt x="435091" y="217539"/>
                  </a:lnTo>
                  <a:lnTo>
                    <a:pt x="217552" y="0"/>
                  </a:lnTo>
                  <a:lnTo>
                    <a:pt x="435091" y="0"/>
                  </a:lnTo>
                  <a:close/>
                  <a:moveTo>
                    <a:pt x="217552" y="435079"/>
                  </a:moveTo>
                  <a:lnTo>
                    <a:pt x="435091" y="217539"/>
                  </a:lnTo>
                  <a:lnTo>
                    <a:pt x="435091" y="435079"/>
                  </a:lnTo>
                  <a:lnTo>
                    <a:pt x="217552" y="435079"/>
                  </a:lnTo>
                  <a:close/>
                  <a:moveTo>
                    <a:pt x="217552" y="435079"/>
                  </a:moveTo>
                  <a:lnTo>
                    <a:pt x="11" y="217539"/>
                  </a:lnTo>
                  <a:lnTo>
                    <a:pt x="11" y="435079"/>
                  </a:lnTo>
                  <a:lnTo>
                    <a:pt x="217552" y="435079"/>
                  </a:lnTo>
                  <a:close/>
                </a:path>
              </a:pathLst>
            </a:custGeom>
            <a:grpFill/>
            <a:ln w="27192" cap="flat">
              <a:noFill/>
              <a:prstDash val="solid"/>
              <a:miter/>
            </a:ln>
          </p:spPr>
          <p:txBody>
            <a:bodyPr rtlCol="0" anchor="ctr"/>
            <a:lstStyle/>
            <a:p>
              <a:endParaRPr lang="uk-UA" sz="900"/>
            </a:p>
          </p:txBody>
        </p:sp>
        <p:sp>
          <p:nvSpPr>
            <p:cNvPr id="7" name="Freeform: Shape 6">
              <a:extLst>
                <a:ext uri="{FF2B5EF4-FFF2-40B4-BE49-F238E27FC236}">
                  <a16:creationId xmlns:a16="http://schemas.microsoft.com/office/drawing/2014/main" id="{DFA30437-68DF-085D-54C0-D0865501336A}"/>
                </a:ext>
              </a:extLst>
            </p:cNvPr>
            <p:cNvSpPr/>
            <p:nvPr/>
          </p:nvSpPr>
          <p:spPr>
            <a:xfrm>
              <a:off x="1705924" y="228598"/>
              <a:ext cx="435077" cy="435075"/>
            </a:xfrm>
            <a:custGeom>
              <a:avLst/>
              <a:gdLst>
                <a:gd name="connsiteX0" fmla="*/ 217539 w 435077"/>
                <a:gd name="connsiteY0" fmla="*/ 217533 h 435075"/>
                <a:gd name="connsiteX1" fmla="*/ 217539 w 435077"/>
                <a:gd name="connsiteY1" fmla="*/ 0 h 435075"/>
                <a:gd name="connsiteX2" fmla="*/ 0 w 435077"/>
                <a:gd name="connsiteY2" fmla="*/ 0 h 435075"/>
                <a:gd name="connsiteX3" fmla="*/ 217539 w 435077"/>
                <a:gd name="connsiteY3" fmla="*/ 217538 h 435075"/>
                <a:gd name="connsiteX4" fmla="*/ 0 w 435077"/>
                <a:gd name="connsiteY4" fmla="*/ 435076 h 435075"/>
                <a:gd name="connsiteX5" fmla="*/ 217539 w 435077"/>
                <a:gd name="connsiteY5" fmla="*/ 435076 h 435075"/>
                <a:gd name="connsiteX6" fmla="*/ 217539 w 435077"/>
                <a:gd name="connsiteY6" fmla="*/ 435071 h 435075"/>
                <a:gd name="connsiteX7" fmla="*/ 435077 w 435077"/>
                <a:gd name="connsiteY7" fmla="*/ 217543 h 435075"/>
                <a:gd name="connsiteX8" fmla="*/ 435077 w 435077"/>
                <a:gd name="connsiteY8" fmla="*/ 217543 h 435075"/>
                <a:gd name="connsiteX9" fmla="*/ 435077 w 435077"/>
                <a:gd name="connsiteY9" fmla="*/ 217538 h 435075"/>
                <a:gd name="connsiteX10" fmla="*/ 435077 w 435077"/>
                <a:gd name="connsiteY10" fmla="*/ 217533 h 435075"/>
                <a:gd name="connsiteX11" fmla="*/ 435077 w 435077"/>
                <a:gd name="connsiteY11" fmla="*/ 217533 h 435075"/>
                <a:gd name="connsiteX12" fmla="*/ 217539 w 435077"/>
                <a:gd name="connsiteY12" fmla="*/ 5 h 435075"/>
                <a:gd name="connsiteX13" fmla="*/ 217539 w 435077"/>
                <a:gd name="connsiteY13" fmla="*/ 217533 h 435075"/>
                <a:gd name="connsiteX14" fmla="*/ 217539 w 435077"/>
                <a:gd name="connsiteY14" fmla="*/ 217533 h 43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5">
                  <a:moveTo>
                    <a:pt x="217539" y="217533"/>
                  </a:moveTo>
                  <a:lnTo>
                    <a:pt x="217539" y="0"/>
                  </a:lnTo>
                  <a:lnTo>
                    <a:pt x="0" y="0"/>
                  </a:lnTo>
                  <a:lnTo>
                    <a:pt x="217539" y="217538"/>
                  </a:lnTo>
                  <a:lnTo>
                    <a:pt x="0" y="435076"/>
                  </a:lnTo>
                  <a:lnTo>
                    <a:pt x="217539" y="435076"/>
                  </a:lnTo>
                  <a:lnTo>
                    <a:pt x="217539" y="435071"/>
                  </a:lnTo>
                  <a:lnTo>
                    <a:pt x="435077" y="217543"/>
                  </a:lnTo>
                  <a:lnTo>
                    <a:pt x="435077" y="217543"/>
                  </a:lnTo>
                  <a:lnTo>
                    <a:pt x="435077" y="217538"/>
                  </a:lnTo>
                  <a:lnTo>
                    <a:pt x="435077" y="217533"/>
                  </a:lnTo>
                  <a:lnTo>
                    <a:pt x="435077" y="217533"/>
                  </a:lnTo>
                  <a:lnTo>
                    <a:pt x="217539" y="5"/>
                  </a:lnTo>
                  <a:lnTo>
                    <a:pt x="217539" y="217533"/>
                  </a:lnTo>
                  <a:lnTo>
                    <a:pt x="217539" y="217533"/>
                  </a:lnTo>
                  <a:close/>
                </a:path>
              </a:pathLst>
            </a:custGeom>
            <a:grpFill/>
            <a:ln w="27192" cap="flat">
              <a:noFill/>
              <a:prstDash val="solid"/>
              <a:miter/>
            </a:ln>
          </p:spPr>
          <p:txBody>
            <a:bodyPr rtlCol="0" anchor="ctr"/>
            <a:lstStyle/>
            <a:p>
              <a:endParaRPr lang="uk-UA" sz="900"/>
            </a:p>
          </p:txBody>
        </p:sp>
        <p:sp>
          <p:nvSpPr>
            <p:cNvPr id="9" name="Freeform: Shape 8">
              <a:extLst>
                <a:ext uri="{FF2B5EF4-FFF2-40B4-BE49-F238E27FC236}">
                  <a16:creationId xmlns:a16="http://schemas.microsoft.com/office/drawing/2014/main" id="{CA154C5D-F62A-1BBC-6DFE-A2ADE201B591}"/>
                </a:ext>
              </a:extLst>
            </p:cNvPr>
            <p:cNvSpPr/>
            <p:nvPr/>
          </p:nvSpPr>
          <p:spPr>
            <a:xfrm>
              <a:off x="2576106" y="228598"/>
              <a:ext cx="435077" cy="435078"/>
            </a:xfrm>
            <a:custGeom>
              <a:avLst/>
              <a:gdLst>
                <a:gd name="connsiteX0" fmla="*/ 0 w 435077"/>
                <a:gd name="connsiteY0" fmla="*/ 435079 h 435078"/>
                <a:gd name="connsiteX1" fmla="*/ 217512 w 435077"/>
                <a:gd name="connsiteY1" fmla="*/ 435079 h 435078"/>
                <a:gd name="connsiteX2" fmla="*/ 217512 w 435077"/>
                <a:gd name="connsiteY2" fmla="*/ 217546 h 435078"/>
                <a:gd name="connsiteX3" fmla="*/ 0 w 435077"/>
                <a:gd name="connsiteY3" fmla="*/ 435079 h 435078"/>
                <a:gd name="connsiteX4" fmla="*/ 217539 w 435077"/>
                <a:gd name="connsiteY4" fmla="*/ 0 h 435078"/>
                <a:gd name="connsiteX5" fmla="*/ 0 w 435077"/>
                <a:gd name="connsiteY5" fmla="*/ 0 h 435078"/>
                <a:gd name="connsiteX6" fmla="*/ 217539 w 435077"/>
                <a:gd name="connsiteY6" fmla="*/ 217532 h 435078"/>
                <a:gd name="connsiteX7" fmla="*/ 217539 w 435077"/>
                <a:gd name="connsiteY7" fmla="*/ 0 h 435078"/>
                <a:gd name="connsiteX8" fmla="*/ 435077 w 435077"/>
                <a:gd name="connsiteY8" fmla="*/ 435079 h 435078"/>
                <a:gd name="connsiteX9" fmla="*/ 217539 w 435077"/>
                <a:gd name="connsiteY9" fmla="*/ 435079 h 435078"/>
                <a:gd name="connsiteX10" fmla="*/ 435077 w 435077"/>
                <a:gd name="connsiteY10" fmla="*/ 217546 h 435078"/>
                <a:gd name="connsiteX11" fmla="*/ 435077 w 435077"/>
                <a:gd name="connsiteY11" fmla="*/ 435079 h 435078"/>
                <a:gd name="connsiteX12" fmla="*/ 435077 w 435077"/>
                <a:gd name="connsiteY12" fmla="*/ 0 h 435078"/>
                <a:gd name="connsiteX13" fmla="*/ 217539 w 435077"/>
                <a:gd name="connsiteY13" fmla="*/ 0 h 435078"/>
                <a:gd name="connsiteX14" fmla="*/ 435077 w 435077"/>
                <a:gd name="connsiteY14" fmla="*/ 217532 h 435078"/>
                <a:gd name="connsiteX15" fmla="*/ 435077 w 435077"/>
                <a:gd name="connsiteY15"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8">
                  <a:moveTo>
                    <a:pt x="0" y="435079"/>
                  </a:moveTo>
                  <a:lnTo>
                    <a:pt x="217512" y="435079"/>
                  </a:lnTo>
                  <a:lnTo>
                    <a:pt x="217512" y="217546"/>
                  </a:lnTo>
                  <a:lnTo>
                    <a:pt x="0" y="435079"/>
                  </a:lnTo>
                  <a:close/>
                  <a:moveTo>
                    <a:pt x="217539" y="0"/>
                  </a:moveTo>
                  <a:lnTo>
                    <a:pt x="0" y="0"/>
                  </a:lnTo>
                  <a:lnTo>
                    <a:pt x="217539" y="217532"/>
                  </a:lnTo>
                  <a:lnTo>
                    <a:pt x="217539" y="0"/>
                  </a:lnTo>
                  <a:close/>
                  <a:moveTo>
                    <a:pt x="435077" y="435079"/>
                  </a:moveTo>
                  <a:lnTo>
                    <a:pt x="217539" y="435079"/>
                  </a:lnTo>
                  <a:lnTo>
                    <a:pt x="435077" y="217546"/>
                  </a:lnTo>
                  <a:lnTo>
                    <a:pt x="435077" y="435079"/>
                  </a:lnTo>
                  <a:close/>
                  <a:moveTo>
                    <a:pt x="435077" y="0"/>
                  </a:moveTo>
                  <a:lnTo>
                    <a:pt x="217539" y="0"/>
                  </a:lnTo>
                  <a:lnTo>
                    <a:pt x="435077" y="217532"/>
                  </a:lnTo>
                  <a:lnTo>
                    <a:pt x="435077" y="0"/>
                  </a:lnTo>
                  <a:close/>
                </a:path>
              </a:pathLst>
            </a:custGeom>
            <a:grpFill/>
            <a:ln w="27192" cap="flat">
              <a:noFill/>
              <a:prstDash val="solid"/>
              <a:miter/>
            </a:ln>
          </p:spPr>
          <p:txBody>
            <a:bodyPr rtlCol="0" anchor="ctr"/>
            <a:lstStyle/>
            <a:p>
              <a:endParaRPr lang="uk-UA" sz="900"/>
            </a:p>
          </p:txBody>
        </p:sp>
        <p:sp>
          <p:nvSpPr>
            <p:cNvPr id="10" name="Freeform: Shape 9">
              <a:extLst>
                <a:ext uri="{FF2B5EF4-FFF2-40B4-BE49-F238E27FC236}">
                  <a16:creationId xmlns:a16="http://schemas.microsoft.com/office/drawing/2014/main" id="{31B7A70D-CF7E-A211-7950-A19AFFAE4898}"/>
                </a:ext>
              </a:extLst>
            </p:cNvPr>
            <p:cNvSpPr/>
            <p:nvPr/>
          </p:nvSpPr>
          <p:spPr>
            <a:xfrm>
              <a:off x="4316416" y="228598"/>
              <a:ext cx="435103" cy="435073"/>
            </a:xfrm>
            <a:custGeom>
              <a:avLst/>
              <a:gdLst>
                <a:gd name="connsiteX0" fmla="*/ 371365 w 435103"/>
                <a:gd name="connsiteY0" fmla="*/ 63716 h 435073"/>
                <a:gd name="connsiteX1" fmla="*/ 435077 w 435103"/>
                <a:gd name="connsiteY1" fmla="*/ 217539 h 435073"/>
                <a:gd name="connsiteX2" fmla="*/ 218952 w 435103"/>
                <a:gd name="connsiteY2" fmla="*/ 217539 h 435073"/>
                <a:gd name="connsiteX3" fmla="*/ 371365 w 435103"/>
                <a:gd name="connsiteY3" fmla="*/ 281249 h 435073"/>
                <a:gd name="connsiteX4" fmla="*/ 435104 w 435103"/>
                <a:gd name="connsiteY4" fmla="*/ 435073 h 435073"/>
                <a:gd name="connsiteX5" fmla="*/ 217565 w 435103"/>
                <a:gd name="connsiteY5" fmla="*/ 435073 h 435073"/>
                <a:gd name="connsiteX6" fmla="*/ 27 w 435103"/>
                <a:gd name="connsiteY6" fmla="*/ 435073 h 435073"/>
                <a:gd name="connsiteX7" fmla="*/ 63739 w 435103"/>
                <a:gd name="connsiteY7" fmla="*/ 281249 h 435073"/>
                <a:gd name="connsiteX8" fmla="*/ 216151 w 435103"/>
                <a:gd name="connsiteY8" fmla="*/ 217539 h 435073"/>
                <a:gd name="connsiteX9" fmla="*/ 0 w 435103"/>
                <a:gd name="connsiteY9" fmla="*/ 217539 h 435073"/>
                <a:gd name="connsiteX10" fmla="*/ 63739 w 435103"/>
                <a:gd name="connsiteY10" fmla="*/ 63716 h 435073"/>
                <a:gd name="connsiteX11" fmla="*/ 217539 w 435103"/>
                <a:gd name="connsiteY11" fmla="*/ 0 h 435073"/>
                <a:gd name="connsiteX12" fmla="*/ 371365 w 435103"/>
                <a:gd name="connsiteY12" fmla="*/ 63716 h 43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3" h="435073">
                  <a:moveTo>
                    <a:pt x="371365" y="63716"/>
                  </a:moveTo>
                  <a:cubicBezTo>
                    <a:pt x="412181" y="104512"/>
                    <a:pt x="435077" y="159844"/>
                    <a:pt x="435077" y="217539"/>
                  </a:cubicBezTo>
                  <a:lnTo>
                    <a:pt x="218952" y="217539"/>
                  </a:lnTo>
                  <a:cubicBezTo>
                    <a:pt x="276138" y="217907"/>
                    <a:pt x="330903" y="240784"/>
                    <a:pt x="371365" y="281249"/>
                  </a:cubicBezTo>
                  <a:cubicBezTo>
                    <a:pt x="412181" y="322046"/>
                    <a:pt x="435104" y="377379"/>
                    <a:pt x="435104" y="435073"/>
                  </a:cubicBezTo>
                  <a:lnTo>
                    <a:pt x="217565" y="435073"/>
                  </a:lnTo>
                  <a:lnTo>
                    <a:pt x="27" y="435073"/>
                  </a:lnTo>
                  <a:cubicBezTo>
                    <a:pt x="27" y="377379"/>
                    <a:pt x="22923" y="322046"/>
                    <a:pt x="63739" y="281249"/>
                  </a:cubicBezTo>
                  <a:cubicBezTo>
                    <a:pt x="104201" y="240784"/>
                    <a:pt x="158966" y="217907"/>
                    <a:pt x="216151" y="217539"/>
                  </a:cubicBezTo>
                  <a:lnTo>
                    <a:pt x="0" y="217539"/>
                  </a:lnTo>
                  <a:cubicBezTo>
                    <a:pt x="0" y="159844"/>
                    <a:pt x="22923" y="104512"/>
                    <a:pt x="63739" y="63716"/>
                  </a:cubicBezTo>
                  <a:cubicBezTo>
                    <a:pt x="104527" y="22919"/>
                    <a:pt x="159864" y="0"/>
                    <a:pt x="217539" y="0"/>
                  </a:cubicBezTo>
                  <a:cubicBezTo>
                    <a:pt x="275240" y="0"/>
                    <a:pt x="330577" y="22919"/>
                    <a:pt x="371365" y="63716"/>
                  </a:cubicBezTo>
                  <a:close/>
                </a:path>
              </a:pathLst>
            </a:custGeom>
            <a:grpFill/>
            <a:ln w="27192" cap="flat">
              <a:noFill/>
              <a:prstDash val="solid"/>
              <a:miter/>
            </a:ln>
          </p:spPr>
          <p:txBody>
            <a:bodyPr rtlCol="0" anchor="ctr"/>
            <a:lstStyle/>
            <a:p>
              <a:endParaRPr lang="uk-UA" sz="900"/>
            </a:p>
          </p:txBody>
        </p:sp>
        <p:sp>
          <p:nvSpPr>
            <p:cNvPr id="11" name="Freeform: Shape 10">
              <a:extLst>
                <a:ext uri="{FF2B5EF4-FFF2-40B4-BE49-F238E27FC236}">
                  <a16:creationId xmlns:a16="http://schemas.microsoft.com/office/drawing/2014/main" id="{F8CE4DFD-26A0-1553-841B-4AA2326B1FF2}"/>
                </a:ext>
              </a:extLst>
            </p:cNvPr>
            <p:cNvSpPr/>
            <p:nvPr/>
          </p:nvSpPr>
          <p:spPr>
            <a:xfrm>
              <a:off x="3446261" y="228598"/>
              <a:ext cx="435077" cy="435078"/>
            </a:xfrm>
            <a:custGeom>
              <a:avLst/>
              <a:gdLst>
                <a:gd name="connsiteX0" fmla="*/ 217566 w 435077"/>
                <a:gd name="connsiteY0" fmla="*/ 0 h 435078"/>
                <a:gd name="connsiteX1" fmla="*/ 217539 w 435077"/>
                <a:gd name="connsiteY1" fmla="*/ 0 h 435078"/>
                <a:gd name="connsiteX2" fmla="*/ 27 w 435077"/>
                <a:gd name="connsiteY2" fmla="*/ 0 h 435078"/>
                <a:gd name="connsiteX3" fmla="*/ 27 w 435077"/>
                <a:gd name="connsiteY3" fmla="*/ 217539 h 435078"/>
                <a:gd name="connsiteX4" fmla="*/ 217539 w 435077"/>
                <a:gd name="connsiteY4" fmla="*/ 7 h 435078"/>
                <a:gd name="connsiteX5" fmla="*/ 435077 w 435077"/>
                <a:gd name="connsiteY5" fmla="*/ 217539 h 435078"/>
                <a:gd name="connsiteX6" fmla="*/ 217539 w 435077"/>
                <a:gd name="connsiteY6" fmla="*/ 435079 h 435078"/>
                <a:gd name="connsiteX7" fmla="*/ 0 w 435077"/>
                <a:gd name="connsiteY7" fmla="*/ 217539 h 435078"/>
                <a:gd name="connsiteX8" fmla="*/ 0 w 435077"/>
                <a:gd name="connsiteY8" fmla="*/ 435079 h 435078"/>
                <a:gd name="connsiteX9" fmla="*/ 217539 w 435077"/>
                <a:gd name="connsiteY9" fmla="*/ 435079 h 435078"/>
                <a:gd name="connsiteX10" fmla="*/ 435077 w 435077"/>
                <a:gd name="connsiteY10" fmla="*/ 435079 h 435078"/>
                <a:gd name="connsiteX11" fmla="*/ 435077 w 435077"/>
                <a:gd name="connsiteY11" fmla="*/ 217539 h 435078"/>
                <a:gd name="connsiteX12" fmla="*/ 435077 w 435077"/>
                <a:gd name="connsiteY12" fmla="*/ 0 h 435078"/>
                <a:gd name="connsiteX13" fmla="*/ 217566 w 435077"/>
                <a:gd name="connsiteY13"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8">
                  <a:moveTo>
                    <a:pt x="217566" y="0"/>
                  </a:moveTo>
                  <a:lnTo>
                    <a:pt x="217539" y="0"/>
                  </a:lnTo>
                  <a:lnTo>
                    <a:pt x="27" y="0"/>
                  </a:lnTo>
                  <a:lnTo>
                    <a:pt x="27" y="217539"/>
                  </a:lnTo>
                  <a:lnTo>
                    <a:pt x="217539" y="7"/>
                  </a:lnTo>
                  <a:lnTo>
                    <a:pt x="435077" y="217539"/>
                  </a:lnTo>
                  <a:lnTo>
                    <a:pt x="217539" y="435079"/>
                  </a:lnTo>
                  <a:lnTo>
                    <a:pt x="0" y="217539"/>
                  </a:lnTo>
                  <a:lnTo>
                    <a:pt x="0" y="435079"/>
                  </a:lnTo>
                  <a:lnTo>
                    <a:pt x="217539" y="435079"/>
                  </a:lnTo>
                  <a:lnTo>
                    <a:pt x="435077" y="435079"/>
                  </a:lnTo>
                  <a:lnTo>
                    <a:pt x="435077" y="217539"/>
                  </a:lnTo>
                  <a:lnTo>
                    <a:pt x="435077" y="0"/>
                  </a:lnTo>
                  <a:lnTo>
                    <a:pt x="217566" y="0"/>
                  </a:lnTo>
                  <a:close/>
                </a:path>
              </a:pathLst>
            </a:custGeom>
            <a:grpFill/>
            <a:ln w="27192" cap="flat">
              <a:noFill/>
              <a:prstDash val="solid"/>
              <a:miter/>
            </a:ln>
          </p:spPr>
          <p:txBody>
            <a:bodyPr rtlCol="0" anchor="ctr"/>
            <a:lstStyle/>
            <a:p>
              <a:endParaRPr lang="uk-UA" sz="900"/>
            </a:p>
          </p:txBody>
        </p:sp>
        <p:sp>
          <p:nvSpPr>
            <p:cNvPr id="12" name="Freeform: Shape 11">
              <a:extLst>
                <a:ext uri="{FF2B5EF4-FFF2-40B4-BE49-F238E27FC236}">
                  <a16:creationId xmlns:a16="http://schemas.microsoft.com/office/drawing/2014/main" id="{3B23976C-C536-0688-E3A6-FAF3EEB07D4F}"/>
                </a:ext>
              </a:extLst>
            </p:cNvPr>
            <p:cNvSpPr/>
            <p:nvPr/>
          </p:nvSpPr>
          <p:spPr>
            <a:xfrm>
              <a:off x="5186597" y="228598"/>
              <a:ext cx="435077" cy="435075"/>
            </a:xfrm>
            <a:custGeom>
              <a:avLst/>
              <a:gdLst>
                <a:gd name="connsiteX0" fmla="*/ 217539 w 435077"/>
                <a:gd name="connsiteY0" fmla="*/ 217540 h 435075"/>
                <a:gd name="connsiteX1" fmla="*/ 217539 w 435077"/>
                <a:gd name="connsiteY1" fmla="*/ 217537 h 435075"/>
                <a:gd name="connsiteX2" fmla="*/ 0 w 435077"/>
                <a:gd name="connsiteY2" fmla="*/ 0 h 435075"/>
                <a:gd name="connsiteX3" fmla="*/ 217539 w 435077"/>
                <a:gd name="connsiteY3" fmla="*/ 0 h 435075"/>
                <a:gd name="connsiteX4" fmla="*/ 217539 w 435077"/>
                <a:gd name="connsiteY4" fmla="*/ 5 h 435075"/>
                <a:gd name="connsiteX5" fmla="*/ 435077 w 435077"/>
                <a:gd name="connsiteY5" fmla="*/ 217533 h 435075"/>
                <a:gd name="connsiteX6" fmla="*/ 435077 w 435077"/>
                <a:gd name="connsiteY6" fmla="*/ 217533 h 435075"/>
                <a:gd name="connsiteX7" fmla="*/ 435077 w 435077"/>
                <a:gd name="connsiteY7" fmla="*/ 217538 h 435075"/>
                <a:gd name="connsiteX8" fmla="*/ 435077 w 435077"/>
                <a:gd name="connsiteY8" fmla="*/ 217542 h 435075"/>
                <a:gd name="connsiteX9" fmla="*/ 435077 w 435077"/>
                <a:gd name="connsiteY9" fmla="*/ 217542 h 435075"/>
                <a:gd name="connsiteX10" fmla="*/ 217539 w 435077"/>
                <a:gd name="connsiteY10" fmla="*/ 435071 h 435075"/>
                <a:gd name="connsiteX11" fmla="*/ 217539 w 435077"/>
                <a:gd name="connsiteY11" fmla="*/ 435076 h 435075"/>
                <a:gd name="connsiteX12" fmla="*/ 0 w 435077"/>
                <a:gd name="connsiteY12" fmla="*/ 435076 h 435075"/>
                <a:gd name="connsiteX13" fmla="*/ 217539 w 435077"/>
                <a:gd name="connsiteY13" fmla="*/ 217540 h 43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5">
                  <a:moveTo>
                    <a:pt x="217539" y="217540"/>
                  </a:moveTo>
                  <a:lnTo>
                    <a:pt x="217539" y="217537"/>
                  </a:lnTo>
                  <a:lnTo>
                    <a:pt x="0" y="0"/>
                  </a:lnTo>
                  <a:lnTo>
                    <a:pt x="217539" y="0"/>
                  </a:lnTo>
                  <a:lnTo>
                    <a:pt x="217539" y="5"/>
                  </a:lnTo>
                  <a:lnTo>
                    <a:pt x="435077" y="217533"/>
                  </a:lnTo>
                  <a:lnTo>
                    <a:pt x="435077" y="217533"/>
                  </a:lnTo>
                  <a:lnTo>
                    <a:pt x="435077" y="217538"/>
                  </a:lnTo>
                  <a:lnTo>
                    <a:pt x="435077" y="217542"/>
                  </a:lnTo>
                  <a:lnTo>
                    <a:pt x="435077" y="217542"/>
                  </a:lnTo>
                  <a:lnTo>
                    <a:pt x="217539" y="435071"/>
                  </a:lnTo>
                  <a:lnTo>
                    <a:pt x="217539" y="435076"/>
                  </a:lnTo>
                  <a:lnTo>
                    <a:pt x="0" y="435076"/>
                  </a:lnTo>
                  <a:lnTo>
                    <a:pt x="217539" y="217540"/>
                  </a:lnTo>
                  <a:close/>
                </a:path>
              </a:pathLst>
            </a:custGeom>
            <a:grpFill/>
            <a:ln w="27192" cap="flat">
              <a:noFill/>
              <a:prstDash val="solid"/>
              <a:miter/>
            </a:ln>
          </p:spPr>
          <p:txBody>
            <a:bodyPr rtlCol="0" anchor="ctr"/>
            <a:lstStyle/>
            <a:p>
              <a:endParaRPr lang="uk-UA" sz="900"/>
            </a:p>
          </p:txBody>
        </p:sp>
        <p:sp>
          <p:nvSpPr>
            <p:cNvPr id="13" name="Freeform: Shape 12">
              <a:extLst>
                <a:ext uri="{FF2B5EF4-FFF2-40B4-BE49-F238E27FC236}">
                  <a16:creationId xmlns:a16="http://schemas.microsoft.com/office/drawing/2014/main" id="{73F9B260-06EC-2683-5D37-5DE74B16C6D0}"/>
                </a:ext>
              </a:extLst>
            </p:cNvPr>
            <p:cNvSpPr/>
            <p:nvPr/>
          </p:nvSpPr>
          <p:spPr>
            <a:xfrm>
              <a:off x="6056752" y="228598"/>
              <a:ext cx="435077" cy="435078"/>
            </a:xfrm>
            <a:custGeom>
              <a:avLst/>
              <a:gdLst>
                <a:gd name="connsiteX0" fmla="*/ 0 w 435077"/>
                <a:gd name="connsiteY0" fmla="*/ 435079 h 435078"/>
                <a:gd name="connsiteX1" fmla="*/ 217539 w 435077"/>
                <a:gd name="connsiteY1" fmla="*/ 435079 h 435078"/>
                <a:gd name="connsiteX2" fmla="*/ 217539 w 435077"/>
                <a:gd name="connsiteY2" fmla="*/ 217546 h 435078"/>
                <a:gd name="connsiteX3" fmla="*/ 0 w 435077"/>
                <a:gd name="connsiteY3" fmla="*/ 435079 h 435078"/>
                <a:gd name="connsiteX4" fmla="*/ 217539 w 435077"/>
                <a:gd name="connsiteY4" fmla="*/ 0 h 435078"/>
                <a:gd name="connsiteX5" fmla="*/ 0 w 435077"/>
                <a:gd name="connsiteY5" fmla="*/ 0 h 435078"/>
                <a:gd name="connsiteX6" fmla="*/ 217539 w 435077"/>
                <a:gd name="connsiteY6" fmla="*/ 217532 h 435078"/>
                <a:gd name="connsiteX7" fmla="*/ 217539 w 435077"/>
                <a:gd name="connsiteY7" fmla="*/ 0 h 435078"/>
                <a:gd name="connsiteX8" fmla="*/ 435077 w 435077"/>
                <a:gd name="connsiteY8" fmla="*/ 435079 h 435078"/>
                <a:gd name="connsiteX9" fmla="*/ 217539 w 435077"/>
                <a:gd name="connsiteY9" fmla="*/ 435079 h 435078"/>
                <a:gd name="connsiteX10" fmla="*/ 435077 w 435077"/>
                <a:gd name="connsiteY10" fmla="*/ 217546 h 435078"/>
                <a:gd name="connsiteX11" fmla="*/ 435077 w 435077"/>
                <a:gd name="connsiteY11" fmla="*/ 435079 h 435078"/>
                <a:gd name="connsiteX12" fmla="*/ 435077 w 435077"/>
                <a:gd name="connsiteY12" fmla="*/ 0 h 435078"/>
                <a:gd name="connsiteX13" fmla="*/ 217539 w 435077"/>
                <a:gd name="connsiteY13" fmla="*/ 0 h 435078"/>
                <a:gd name="connsiteX14" fmla="*/ 435077 w 435077"/>
                <a:gd name="connsiteY14" fmla="*/ 217532 h 435078"/>
                <a:gd name="connsiteX15" fmla="*/ 435077 w 435077"/>
                <a:gd name="connsiteY15"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8">
                  <a:moveTo>
                    <a:pt x="0" y="435079"/>
                  </a:moveTo>
                  <a:lnTo>
                    <a:pt x="217539" y="435079"/>
                  </a:lnTo>
                  <a:lnTo>
                    <a:pt x="217539" y="217546"/>
                  </a:lnTo>
                  <a:lnTo>
                    <a:pt x="0" y="435079"/>
                  </a:lnTo>
                  <a:close/>
                  <a:moveTo>
                    <a:pt x="217539" y="0"/>
                  </a:moveTo>
                  <a:lnTo>
                    <a:pt x="0" y="0"/>
                  </a:lnTo>
                  <a:lnTo>
                    <a:pt x="217539" y="217532"/>
                  </a:lnTo>
                  <a:lnTo>
                    <a:pt x="217539" y="0"/>
                  </a:lnTo>
                  <a:close/>
                  <a:moveTo>
                    <a:pt x="435077" y="435079"/>
                  </a:moveTo>
                  <a:lnTo>
                    <a:pt x="217539" y="435079"/>
                  </a:lnTo>
                  <a:lnTo>
                    <a:pt x="435077" y="217546"/>
                  </a:lnTo>
                  <a:lnTo>
                    <a:pt x="435077" y="435079"/>
                  </a:lnTo>
                  <a:close/>
                  <a:moveTo>
                    <a:pt x="435077" y="0"/>
                  </a:moveTo>
                  <a:lnTo>
                    <a:pt x="217539" y="0"/>
                  </a:lnTo>
                  <a:lnTo>
                    <a:pt x="435077" y="217532"/>
                  </a:lnTo>
                  <a:lnTo>
                    <a:pt x="435077" y="0"/>
                  </a:lnTo>
                  <a:close/>
                </a:path>
              </a:pathLst>
            </a:custGeom>
            <a:grpFill/>
            <a:ln w="27192" cap="flat">
              <a:noFill/>
              <a:prstDash val="solid"/>
              <a:miter/>
            </a:ln>
          </p:spPr>
          <p:txBody>
            <a:bodyPr rtlCol="0" anchor="ctr"/>
            <a:lstStyle/>
            <a:p>
              <a:endParaRPr lang="uk-UA" sz="900"/>
            </a:p>
          </p:txBody>
        </p:sp>
        <p:sp>
          <p:nvSpPr>
            <p:cNvPr id="14" name="Freeform: Shape 13">
              <a:extLst>
                <a:ext uri="{FF2B5EF4-FFF2-40B4-BE49-F238E27FC236}">
                  <a16:creationId xmlns:a16="http://schemas.microsoft.com/office/drawing/2014/main" id="{FDC987B4-C88C-1281-4885-1F88A59B7F5A}"/>
                </a:ext>
              </a:extLst>
            </p:cNvPr>
            <p:cNvSpPr/>
            <p:nvPr/>
          </p:nvSpPr>
          <p:spPr>
            <a:xfrm>
              <a:off x="7797062" y="228598"/>
              <a:ext cx="435104" cy="435073"/>
            </a:xfrm>
            <a:custGeom>
              <a:avLst/>
              <a:gdLst>
                <a:gd name="connsiteX0" fmla="*/ 371366 w 435104"/>
                <a:gd name="connsiteY0" fmla="*/ 63716 h 435073"/>
                <a:gd name="connsiteX1" fmla="*/ 435077 w 435104"/>
                <a:gd name="connsiteY1" fmla="*/ 217539 h 435073"/>
                <a:gd name="connsiteX2" fmla="*/ 218953 w 435104"/>
                <a:gd name="connsiteY2" fmla="*/ 217539 h 435073"/>
                <a:gd name="connsiteX3" fmla="*/ 371366 w 435104"/>
                <a:gd name="connsiteY3" fmla="*/ 281249 h 435073"/>
                <a:gd name="connsiteX4" fmla="*/ 435105 w 435104"/>
                <a:gd name="connsiteY4" fmla="*/ 435073 h 435073"/>
                <a:gd name="connsiteX5" fmla="*/ 217566 w 435104"/>
                <a:gd name="connsiteY5" fmla="*/ 435073 h 435073"/>
                <a:gd name="connsiteX6" fmla="*/ 27 w 435104"/>
                <a:gd name="connsiteY6" fmla="*/ 435073 h 435073"/>
                <a:gd name="connsiteX7" fmla="*/ 63739 w 435104"/>
                <a:gd name="connsiteY7" fmla="*/ 281249 h 435073"/>
                <a:gd name="connsiteX8" fmla="*/ 216152 w 435104"/>
                <a:gd name="connsiteY8" fmla="*/ 217539 h 435073"/>
                <a:gd name="connsiteX9" fmla="*/ 0 w 435104"/>
                <a:gd name="connsiteY9" fmla="*/ 217539 h 435073"/>
                <a:gd name="connsiteX10" fmla="*/ 63739 w 435104"/>
                <a:gd name="connsiteY10" fmla="*/ 63716 h 435073"/>
                <a:gd name="connsiteX11" fmla="*/ 217539 w 435104"/>
                <a:gd name="connsiteY11" fmla="*/ 0 h 435073"/>
                <a:gd name="connsiteX12" fmla="*/ 371366 w 435104"/>
                <a:gd name="connsiteY12" fmla="*/ 63716 h 43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4" h="435073">
                  <a:moveTo>
                    <a:pt x="371366" y="63716"/>
                  </a:moveTo>
                  <a:cubicBezTo>
                    <a:pt x="412182" y="104512"/>
                    <a:pt x="435077" y="159844"/>
                    <a:pt x="435077" y="217539"/>
                  </a:cubicBezTo>
                  <a:lnTo>
                    <a:pt x="218953" y="217539"/>
                  </a:lnTo>
                  <a:cubicBezTo>
                    <a:pt x="276138" y="217907"/>
                    <a:pt x="330904" y="240784"/>
                    <a:pt x="371366" y="281249"/>
                  </a:cubicBezTo>
                  <a:cubicBezTo>
                    <a:pt x="412182" y="322046"/>
                    <a:pt x="435105" y="377379"/>
                    <a:pt x="435105" y="435073"/>
                  </a:cubicBezTo>
                  <a:lnTo>
                    <a:pt x="217566" y="435073"/>
                  </a:lnTo>
                  <a:lnTo>
                    <a:pt x="27" y="435073"/>
                  </a:lnTo>
                  <a:cubicBezTo>
                    <a:pt x="27" y="377379"/>
                    <a:pt x="22924" y="322046"/>
                    <a:pt x="63739" y="281249"/>
                  </a:cubicBezTo>
                  <a:cubicBezTo>
                    <a:pt x="104201" y="240784"/>
                    <a:pt x="158967" y="217907"/>
                    <a:pt x="216152" y="217539"/>
                  </a:cubicBezTo>
                  <a:lnTo>
                    <a:pt x="0" y="217539"/>
                  </a:lnTo>
                  <a:cubicBezTo>
                    <a:pt x="0" y="159844"/>
                    <a:pt x="22924" y="104512"/>
                    <a:pt x="63739" y="63716"/>
                  </a:cubicBezTo>
                  <a:cubicBezTo>
                    <a:pt x="104527" y="22919"/>
                    <a:pt x="159864" y="0"/>
                    <a:pt x="217539" y="0"/>
                  </a:cubicBezTo>
                  <a:cubicBezTo>
                    <a:pt x="275241" y="0"/>
                    <a:pt x="330578" y="22919"/>
                    <a:pt x="371366" y="63716"/>
                  </a:cubicBezTo>
                  <a:close/>
                </a:path>
              </a:pathLst>
            </a:custGeom>
            <a:grpFill/>
            <a:ln w="27192" cap="flat">
              <a:noFill/>
              <a:prstDash val="solid"/>
              <a:miter/>
            </a:ln>
          </p:spPr>
          <p:txBody>
            <a:bodyPr rtlCol="0" anchor="ctr"/>
            <a:lstStyle/>
            <a:p>
              <a:endParaRPr lang="uk-UA" sz="900"/>
            </a:p>
          </p:txBody>
        </p:sp>
        <p:sp>
          <p:nvSpPr>
            <p:cNvPr id="15" name="Freeform: Shape 14">
              <a:extLst>
                <a:ext uri="{FF2B5EF4-FFF2-40B4-BE49-F238E27FC236}">
                  <a16:creationId xmlns:a16="http://schemas.microsoft.com/office/drawing/2014/main" id="{B89844AA-D53D-5ED2-9ABD-3C4385BD7233}"/>
                </a:ext>
              </a:extLst>
            </p:cNvPr>
            <p:cNvSpPr/>
            <p:nvPr/>
          </p:nvSpPr>
          <p:spPr>
            <a:xfrm>
              <a:off x="6926907" y="228598"/>
              <a:ext cx="435077" cy="435078"/>
            </a:xfrm>
            <a:custGeom>
              <a:avLst/>
              <a:gdLst>
                <a:gd name="connsiteX0" fmla="*/ 217539 w 435077"/>
                <a:gd name="connsiteY0" fmla="*/ 0 h 435078"/>
                <a:gd name="connsiteX1" fmla="*/ 0 w 435077"/>
                <a:gd name="connsiteY1" fmla="*/ 0 h 435078"/>
                <a:gd name="connsiteX2" fmla="*/ 0 w 435077"/>
                <a:gd name="connsiteY2" fmla="*/ 217539 h 435078"/>
                <a:gd name="connsiteX3" fmla="*/ 0 w 435077"/>
                <a:gd name="connsiteY3" fmla="*/ 435079 h 435078"/>
                <a:gd name="connsiteX4" fmla="*/ 217539 w 435077"/>
                <a:gd name="connsiteY4" fmla="*/ 435079 h 435078"/>
                <a:gd name="connsiteX5" fmla="*/ 435077 w 435077"/>
                <a:gd name="connsiteY5" fmla="*/ 435079 h 435078"/>
                <a:gd name="connsiteX6" fmla="*/ 435077 w 435077"/>
                <a:gd name="connsiteY6" fmla="*/ 217539 h 435078"/>
                <a:gd name="connsiteX7" fmla="*/ 435077 w 435077"/>
                <a:gd name="connsiteY7" fmla="*/ 0 h 435078"/>
                <a:gd name="connsiteX8" fmla="*/ 217539 w 435077"/>
                <a:gd name="connsiteY8" fmla="*/ 0 h 435078"/>
                <a:gd name="connsiteX9" fmla="*/ 217539 w 435077"/>
                <a:gd name="connsiteY9" fmla="*/ 0 h 435078"/>
                <a:gd name="connsiteX10" fmla="*/ 435077 w 435077"/>
                <a:gd name="connsiteY10" fmla="*/ 217539 h 435078"/>
                <a:gd name="connsiteX11" fmla="*/ 217539 w 435077"/>
                <a:gd name="connsiteY11" fmla="*/ 435079 h 435078"/>
                <a:gd name="connsiteX12" fmla="*/ 0 w 435077"/>
                <a:gd name="connsiteY12" fmla="*/ 217539 h 435078"/>
                <a:gd name="connsiteX13" fmla="*/ 217539 w 435077"/>
                <a:gd name="connsiteY13"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8">
                  <a:moveTo>
                    <a:pt x="217539" y="0"/>
                  </a:moveTo>
                  <a:lnTo>
                    <a:pt x="0" y="0"/>
                  </a:lnTo>
                  <a:lnTo>
                    <a:pt x="0" y="217539"/>
                  </a:lnTo>
                  <a:lnTo>
                    <a:pt x="0" y="435079"/>
                  </a:lnTo>
                  <a:lnTo>
                    <a:pt x="217539" y="435079"/>
                  </a:lnTo>
                  <a:lnTo>
                    <a:pt x="435077" y="435079"/>
                  </a:lnTo>
                  <a:lnTo>
                    <a:pt x="435077" y="217539"/>
                  </a:lnTo>
                  <a:lnTo>
                    <a:pt x="435077" y="0"/>
                  </a:lnTo>
                  <a:lnTo>
                    <a:pt x="217539" y="0"/>
                  </a:lnTo>
                  <a:close/>
                  <a:moveTo>
                    <a:pt x="217539" y="0"/>
                  </a:moveTo>
                  <a:lnTo>
                    <a:pt x="435077" y="217539"/>
                  </a:lnTo>
                  <a:lnTo>
                    <a:pt x="217539" y="435079"/>
                  </a:lnTo>
                  <a:lnTo>
                    <a:pt x="0" y="217539"/>
                  </a:lnTo>
                  <a:lnTo>
                    <a:pt x="217539" y="0"/>
                  </a:lnTo>
                  <a:close/>
                </a:path>
              </a:pathLst>
            </a:custGeom>
            <a:grpFill/>
            <a:ln w="27192" cap="flat">
              <a:noFill/>
              <a:prstDash val="solid"/>
              <a:miter/>
            </a:ln>
          </p:spPr>
          <p:txBody>
            <a:bodyPr rtlCol="0" anchor="ctr"/>
            <a:lstStyle/>
            <a:p>
              <a:endParaRPr lang="uk-UA" sz="900"/>
            </a:p>
          </p:txBody>
        </p:sp>
        <p:sp>
          <p:nvSpPr>
            <p:cNvPr id="16" name="Freeform: Shape 15">
              <a:extLst>
                <a:ext uri="{FF2B5EF4-FFF2-40B4-BE49-F238E27FC236}">
                  <a16:creationId xmlns:a16="http://schemas.microsoft.com/office/drawing/2014/main" id="{8086FCE4-E7C4-C491-675A-A762567954F9}"/>
                </a:ext>
              </a:extLst>
            </p:cNvPr>
            <p:cNvSpPr/>
            <p:nvPr/>
          </p:nvSpPr>
          <p:spPr>
            <a:xfrm>
              <a:off x="8667217" y="228598"/>
              <a:ext cx="435077" cy="435075"/>
            </a:xfrm>
            <a:custGeom>
              <a:avLst/>
              <a:gdLst>
                <a:gd name="connsiteX0" fmla="*/ 217539 w 435077"/>
                <a:gd name="connsiteY0" fmla="*/ 217540 h 435075"/>
                <a:gd name="connsiteX1" fmla="*/ 217539 w 435077"/>
                <a:gd name="connsiteY1" fmla="*/ 217537 h 435075"/>
                <a:gd name="connsiteX2" fmla="*/ 0 w 435077"/>
                <a:gd name="connsiteY2" fmla="*/ 0 h 435075"/>
                <a:gd name="connsiteX3" fmla="*/ 217539 w 435077"/>
                <a:gd name="connsiteY3" fmla="*/ 0 h 435075"/>
                <a:gd name="connsiteX4" fmla="*/ 217539 w 435077"/>
                <a:gd name="connsiteY4" fmla="*/ 5 h 435075"/>
                <a:gd name="connsiteX5" fmla="*/ 435077 w 435077"/>
                <a:gd name="connsiteY5" fmla="*/ 217533 h 435075"/>
                <a:gd name="connsiteX6" fmla="*/ 435077 w 435077"/>
                <a:gd name="connsiteY6" fmla="*/ 217533 h 435075"/>
                <a:gd name="connsiteX7" fmla="*/ 435077 w 435077"/>
                <a:gd name="connsiteY7" fmla="*/ 217538 h 435075"/>
                <a:gd name="connsiteX8" fmla="*/ 435077 w 435077"/>
                <a:gd name="connsiteY8" fmla="*/ 217542 h 435075"/>
                <a:gd name="connsiteX9" fmla="*/ 435077 w 435077"/>
                <a:gd name="connsiteY9" fmla="*/ 217542 h 435075"/>
                <a:gd name="connsiteX10" fmla="*/ 217539 w 435077"/>
                <a:gd name="connsiteY10" fmla="*/ 435071 h 435075"/>
                <a:gd name="connsiteX11" fmla="*/ 217539 w 435077"/>
                <a:gd name="connsiteY11" fmla="*/ 435076 h 435075"/>
                <a:gd name="connsiteX12" fmla="*/ 0 w 435077"/>
                <a:gd name="connsiteY12" fmla="*/ 435076 h 435075"/>
                <a:gd name="connsiteX13" fmla="*/ 217539 w 435077"/>
                <a:gd name="connsiteY13" fmla="*/ 217540 h 43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5">
                  <a:moveTo>
                    <a:pt x="217539" y="217540"/>
                  </a:moveTo>
                  <a:lnTo>
                    <a:pt x="217539" y="217537"/>
                  </a:lnTo>
                  <a:lnTo>
                    <a:pt x="0" y="0"/>
                  </a:lnTo>
                  <a:lnTo>
                    <a:pt x="217539" y="0"/>
                  </a:lnTo>
                  <a:lnTo>
                    <a:pt x="217539" y="5"/>
                  </a:lnTo>
                  <a:lnTo>
                    <a:pt x="435077" y="217533"/>
                  </a:lnTo>
                  <a:lnTo>
                    <a:pt x="435077" y="217533"/>
                  </a:lnTo>
                  <a:lnTo>
                    <a:pt x="435077" y="217538"/>
                  </a:lnTo>
                  <a:lnTo>
                    <a:pt x="435077" y="217542"/>
                  </a:lnTo>
                  <a:lnTo>
                    <a:pt x="435077" y="217542"/>
                  </a:lnTo>
                  <a:lnTo>
                    <a:pt x="217539" y="435071"/>
                  </a:lnTo>
                  <a:lnTo>
                    <a:pt x="217539" y="435076"/>
                  </a:lnTo>
                  <a:lnTo>
                    <a:pt x="0" y="435076"/>
                  </a:lnTo>
                  <a:lnTo>
                    <a:pt x="217539" y="217540"/>
                  </a:lnTo>
                  <a:close/>
                </a:path>
              </a:pathLst>
            </a:custGeom>
            <a:grpFill/>
            <a:ln w="27192" cap="flat">
              <a:noFill/>
              <a:prstDash val="solid"/>
              <a:miter/>
            </a:ln>
          </p:spPr>
          <p:txBody>
            <a:bodyPr rtlCol="0" anchor="ctr"/>
            <a:lstStyle/>
            <a:p>
              <a:endParaRPr lang="uk-UA" sz="900"/>
            </a:p>
          </p:txBody>
        </p:sp>
        <p:sp>
          <p:nvSpPr>
            <p:cNvPr id="17" name="Freeform: Shape 16">
              <a:extLst>
                <a:ext uri="{FF2B5EF4-FFF2-40B4-BE49-F238E27FC236}">
                  <a16:creationId xmlns:a16="http://schemas.microsoft.com/office/drawing/2014/main" id="{797BA298-67AC-2F40-72AA-4C9910D0076C}"/>
                </a:ext>
              </a:extLst>
            </p:cNvPr>
            <p:cNvSpPr/>
            <p:nvPr/>
          </p:nvSpPr>
          <p:spPr>
            <a:xfrm>
              <a:off x="9537399" y="228598"/>
              <a:ext cx="435077" cy="435078"/>
            </a:xfrm>
            <a:custGeom>
              <a:avLst/>
              <a:gdLst>
                <a:gd name="connsiteX0" fmla="*/ 0 w 435077"/>
                <a:gd name="connsiteY0" fmla="*/ 435079 h 435078"/>
                <a:gd name="connsiteX1" fmla="*/ 217511 w 435077"/>
                <a:gd name="connsiteY1" fmla="*/ 435079 h 435078"/>
                <a:gd name="connsiteX2" fmla="*/ 217511 w 435077"/>
                <a:gd name="connsiteY2" fmla="*/ 217546 h 435078"/>
                <a:gd name="connsiteX3" fmla="*/ 0 w 435077"/>
                <a:gd name="connsiteY3" fmla="*/ 435079 h 435078"/>
                <a:gd name="connsiteX4" fmla="*/ 217511 w 435077"/>
                <a:gd name="connsiteY4" fmla="*/ 0 h 435078"/>
                <a:gd name="connsiteX5" fmla="*/ 0 w 435077"/>
                <a:gd name="connsiteY5" fmla="*/ 0 h 435078"/>
                <a:gd name="connsiteX6" fmla="*/ 217511 w 435077"/>
                <a:gd name="connsiteY6" fmla="*/ 217532 h 435078"/>
                <a:gd name="connsiteX7" fmla="*/ 217511 w 435077"/>
                <a:gd name="connsiteY7" fmla="*/ 0 h 435078"/>
                <a:gd name="connsiteX8" fmla="*/ 435077 w 435077"/>
                <a:gd name="connsiteY8" fmla="*/ 435079 h 435078"/>
                <a:gd name="connsiteX9" fmla="*/ 217539 w 435077"/>
                <a:gd name="connsiteY9" fmla="*/ 435079 h 435078"/>
                <a:gd name="connsiteX10" fmla="*/ 435077 w 435077"/>
                <a:gd name="connsiteY10" fmla="*/ 217546 h 435078"/>
                <a:gd name="connsiteX11" fmla="*/ 435077 w 435077"/>
                <a:gd name="connsiteY11" fmla="*/ 435079 h 435078"/>
                <a:gd name="connsiteX12" fmla="*/ 435077 w 435077"/>
                <a:gd name="connsiteY12" fmla="*/ 0 h 435078"/>
                <a:gd name="connsiteX13" fmla="*/ 217539 w 435077"/>
                <a:gd name="connsiteY13" fmla="*/ 0 h 435078"/>
                <a:gd name="connsiteX14" fmla="*/ 435077 w 435077"/>
                <a:gd name="connsiteY14" fmla="*/ 217532 h 435078"/>
                <a:gd name="connsiteX15" fmla="*/ 435077 w 435077"/>
                <a:gd name="connsiteY15"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8">
                  <a:moveTo>
                    <a:pt x="0" y="435079"/>
                  </a:moveTo>
                  <a:lnTo>
                    <a:pt x="217511" y="435079"/>
                  </a:lnTo>
                  <a:lnTo>
                    <a:pt x="217511" y="217546"/>
                  </a:lnTo>
                  <a:lnTo>
                    <a:pt x="0" y="435079"/>
                  </a:lnTo>
                  <a:close/>
                  <a:moveTo>
                    <a:pt x="217511" y="0"/>
                  </a:moveTo>
                  <a:lnTo>
                    <a:pt x="0" y="0"/>
                  </a:lnTo>
                  <a:lnTo>
                    <a:pt x="217511" y="217532"/>
                  </a:lnTo>
                  <a:lnTo>
                    <a:pt x="217511" y="0"/>
                  </a:lnTo>
                  <a:close/>
                  <a:moveTo>
                    <a:pt x="435077" y="435079"/>
                  </a:moveTo>
                  <a:lnTo>
                    <a:pt x="217539" y="435079"/>
                  </a:lnTo>
                  <a:lnTo>
                    <a:pt x="435077" y="217546"/>
                  </a:lnTo>
                  <a:lnTo>
                    <a:pt x="435077" y="435079"/>
                  </a:lnTo>
                  <a:close/>
                  <a:moveTo>
                    <a:pt x="435077" y="0"/>
                  </a:moveTo>
                  <a:lnTo>
                    <a:pt x="217539" y="0"/>
                  </a:lnTo>
                  <a:lnTo>
                    <a:pt x="435077" y="217532"/>
                  </a:lnTo>
                  <a:lnTo>
                    <a:pt x="435077" y="0"/>
                  </a:lnTo>
                  <a:close/>
                </a:path>
              </a:pathLst>
            </a:custGeom>
            <a:grpFill/>
            <a:ln w="27192" cap="flat">
              <a:noFill/>
              <a:prstDash val="solid"/>
              <a:miter/>
            </a:ln>
          </p:spPr>
          <p:txBody>
            <a:bodyPr rtlCol="0" anchor="ctr"/>
            <a:lstStyle/>
            <a:p>
              <a:endParaRPr lang="uk-UA" sz="900"/>
            </a:p>
          </p:txBody>
        </p:sp>
        <p:sp>
          <p:nvSpPr>
            <p:cNvPr id="18" name="Freeform: Shape 17">
              <a:extLst>
                <a:ext uri="{FF2B5EF4-FFF2-40B4-BE49-F238E27FC236}">
                  <a16:creationId xmlns:a16="http://schemas.microsoft.com/office/drawing/2014/main" id="{C00E37CD-7676-854C-6B1C-69D7C296FA1C}"/>
                </a:ext>
              </a:extLst>
            </p:cNvPr>
            <p:cNvSpPr/>
            <p:nvPr/>
          </p:nvSpPr>
          <p:spPr>
            <a:xfrm>
              <a:off x="11277709" y="228598"/>
              <a:ext cx="435077" cy="435073"/>
            </a:xfrm>
            <a:custGeom>
              <a:avLst/>
              <a:gdLst>
                <a:gd name="connsiteX0" fmla="*/ 371365 w 435077"/>
                <a:gd name="connsiteY0" fmla="*/ 63716 h 435073"/>
                <a:gd name="connsiteX1" fmla="*/ 435077 w 435077"/>
                <a:gd name="connsiteY1" fmla="*/ 217539 h 435073"/>
                <a:gd name="connsiteX2" fmla="*/ 218953 w 435077"/>
                <a:gd name="connsiteY2" fmla="*/ 217539 h 435073"/>
                <a:gd name="connsiteX3" fmla="*/ 371365 w 435077"/>
                <a:gd name="connsiteY3" fmla="*/ 281249 h 435073"/>
                <a:gd name="connsiteX4" fmla="*/ 435077 w 435077"/>
                <a:gd name="connsiteY4" fmla="*/ 435073 h 435073"/>
                <a:gd name="connsiteX5" fmla="*/ 217539 w 435077"/>
                <a:gd name="connsiteY5" fmla="*/ 435073 h 435073"/>
                <a:gd name="connsiteX6" fmla="*/ 0 w 435077"/>
                <a:gd name="connsiteY6" fmla="*/ 435073 h 435073"/>
                <a:gd name="connsiteX7" fmla="*/ 63710 w 435077"/>
                <a:gd name="connsiteY7" fmla="*/ 281249 h 435073"/>
                <a:gd name="connsiteX8" fmla="*/ 216151 w 435077"/>
                <a:gd name="connsiteY8" fmla="*/ 217539 h 435073"/>
                <a:gd name="connsiteX9" fmla="*/ 0 w 435077"/>
                <a:gd name="connsiteY9" fmla="*/ 217539 h 435073"/>
                <a:gd name="connsiteX10" fmla="*/ 63710 w 435077"/>
                <a:gd name="connsiteY10" fmla="*/ 63716 h 435073"/>
                <a:gd name="connsiteX11" fmla="*/ 217539 w 435077"/>
                <a:gd name="connsiteY11" fmla="*/ 0 h 435073"/>
                <a:gd name="connsiteX12" fmla="*/ 371365 w 435077"/>
                <a:gd name="connsiteY12" fmla="*/ 63716 h 43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3">
                  <a:moveTo>
                    <a:pt x="371365" y="63716"/>
                  </a:moveTo>
                  <a:cubicBezTo>
                    <a:pt x="412154" y="104512"/>
                    <a:pt x="435077" y="159844"/>
                    <a:pt x="435077" y="217539"/>
                  </a:cubicBezTo>
                  <a:lnTo>
                    <a:pt x="218953" y="217539"/>
                  </a:lnTo>
                  <a:cubicBezTo>
                    <a:pt x="276137" y="217907"/>
                    <a:pt x="330902" y="240784"/>
                    <a:pt x="371365" y="281249"/>
                  </a:cubicBezTo>
                  <a:cubicBezTo>
                    <a:pt x="412154" y="322046"/>
                    <a:pt x="435077" y="377379"/>
                    <a:pt x="435077" y="435073"/>
                  </a:cubicBezTo>
                  <a:lnTo>
                    <a:pt x="217539" y="435073"/>
                  </a:lnTo>
                  <a:lnTo>
                    <a:pt x="0" y="435073"/>
                  </a:lnTo>
                  <a:cubicBezTo>
                    <a:pt x="0" y="377379"/>
                    <a:pt x="22922" y="322046"/>
                    <a:pt x="63710" y="281249"/>
                  </a:cubicBezTo>
                  <a:cubicBezTo>
                    <a:pt x="104174" y="240784"/>
                    <a:pt x="158938" y="217907"/>
                    <a:pt x="216151" y="217539"/>
                  </a:cubicBezTo>
                  <a:lnTo>
                    <a:pt x="0" y="217539"/>
                  </a:lnTo>
                  <a:cubicBezTo>
                    <a:pt x="0" y="159844"/>
                    <a:pt x="22922" y="104512"/>
                    <a:pt x="63710" y="63716"/>
                  </a:cubicBezTo>
                  <a:cubicBezTo>
                    <a:pt x="104499" y="22919"/>
                    <a:pt x="159836" y="0"/>
                    <a:pt x="217539" y="0"/>
                  </a:cubicBezTo>
                  <a:cubicBezTo>
                    <a:pt x="275239" y="0"/>
                    <a:pt x="330549" y="22919"/>
                    <a:pt x="371365" y="63716"/>
                  </a:cubicBezTo>
                  <a:close/>
                </a:path>
              </a:pathLst>
            </a:custGeom>
            <a:grpFill/>
            <a:ln w="27192" cap="flat">
              <a:noFill/>
              <a:prstDash val="solid"/>
              <a:miter/>
            </a:ln>
          </p:spPr>
          <p:txBody>
            <a:bodyPr rtlCol="0" anchor="ctr"/>
            <a:lstStyle/>
            <a:p>
              <a:endParaRPr lang="uk-UA" sz="900"/>
            </a:p>
          </p:txBody>
        </p:sp>
        <p:sp>
          <p:nvSpPr>
            <p:cNvPr id="19" name="Freeform: Shape 18">
              <a:extLst>
                <a:ext uri="{FF2B5EF4-FFF2-40B4-BE49-F238E27FC236}">
                  <a16:creationId xmlns:a16="http://schemas.microsoft.com/office/drawing/2014/main" id="{F352DDD0-30AF-0C93-081A-96C5A31F6AC4}"/>
                </a:ext>
              </a:extLst>
            </p:cNvPr>
            <p:cNvSpPr/>
            <p:nvPr/>
          </p:nvSpPr>
          <p:spPr>
            <a:xfrm>
              <a:off x="10407554" y="228598"/>
              <a:ext cx="435077" cy="435078"/>
            </a:xfrm>
            <a:custGeom>
              <a:avLst/>
              <a:gdLst>
                <a:gd name="connsiteX0" fmla="*/ 217539 w 435077"/>
                <a:gd name="connsiteY0" fmla="*/ 0 h 435078"/>
                <a:gd name="connsiteX1" fmla="*/ 0 w 435077"/>
                <a:gd name="connsiteY1" fmla="*/ 0 h 435078"/>
                <a:gd name="connsiteX2" fmla="*/ 0 w 435077"/>
                <a:gd name="connsiteY2" fmla="*/ 217539 h 435078"/>
                <a:gd name="connsiteX3" fmla="*/ 217539 w 435077"/>
                <a:gd name="connsiteY3" fmla="*/ 0 h 435078"/>
                <a:gd name="connsiteX4" fmla="*/ 435077 w 435077"/>
                <a:gd name="connsiteY4" fmla="*/ 0 h 435078"/>
                <a:gd name="connsiteX5" fmla="*/ 435077 w 435077"/>
                <a:gd name="connsiteY5" fmla="*/ 217539 h 435078"/>
                <a:gd name="connsiteX6" fmla="*/ 217539 w 435077"/>
                <a:gd name="connsiteY6" fmla="*/ 0 h 435078"/>
                <a:gd name="connsiteX7" fmla="*/ 435077 w 435077"/>
                <a:gd name="connsiteY7" fmla="*/ 0 h 435078"/>
                <a:gd name="connsiteX8" fmla="*/ 217539 w 435077"/>
                <a:gd name="connsiteY8" fmla="*/ 435079 h 435078"/>
                <a:gd name="connsiteX9" fmla="*/ 435077 w 435077"/>
                <a:gd name="connsiteY9" fmla="*/ 217539 h 435078"/>
                <a:gd name="connsiteX10" fmla="*/ 435077 w 435077"/>
                <a:gd name="connsiteY10" fmla="*/ 435079 h 435078"/>
                <a:gd name="connsiteX11" fmla="*/ 217539 w 435077"/>
                <a:gd name="connsiteY11" fmla="*/ 435079 h 435078"/>
                <a:gd name="connsiteX12" fmla="*/ 217539 w 435077"/>
                <a:gd name="connsiteY12" fmla="*/ 435079 h 435078"/>
                <a:gd name="connsiteX13" fmla="*/ 0 w 435077"/>
                <a:gd name="connsiteY13" fmla="*/ 217539 h 435078"/>
                <a:gd name="connsiteX14" fmla="*/ 0 w 435077"/>
                <a:gd name="connsiteY14" fmla="*/ 435079 h 435078"/>
                <a:gd name="connsiteX15" fmla="*/ 217539 w 435077"/>
                <a:gd name="connsiteY15" fmla="*/ 435079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8">
                  <a:moveTo>
                    <a:pt x="217539" y="0"/>
                  </a:moveTo>
                  <a:lnTo>
                    <a:pt x="0" y="0"/>
                  </a:lnTo>
                  <a:lnTo>
                    <a:pt x="0" y="217539"/>
                  </a:lnTo>
                  <a:lnTo>
                    <a:pt x="217539" y="0"/>
                  </a:lnTo>
                  <a:close/>
                  <a:moveTo>
                    <a:pt x="435077" y="0"/>
                  </a:moveTo>
                  <a:lnTo>
                    <a:pt x="435077" y="217539"/>
                  </a:lnTo>
                  <a:lnTo>
                    <a:pt x="217539" y="0"/>
                  </a:lnTo>
                  <a:lnTo>
                    <a:pt x="435077" y="0"/>
                  </a:lnTo>
                  <a:close/>
                  <a:moveTo>
                    <a:pt x="217539" y="435079"/>
                  </a:moveTo>
                  <a:lnTo>
                    <a:pt x="435077" y="217539"/>
                  </a:lnTo>
                  <a:lnTo>
                    <a:pt x="435077" y="435079"/>
                  </a:lnTo>
                  <a:lnTo>
                    <a:pt x="217539" y="435079"/>
                  </a:lnTo>
                  <a:close/>
                  <a:moveTo>
                    <a:pt x="217539" y="435079"/>
                  </a:moveTo>
                  <a:lnTo>
                    <a:pt x="0" y="217539"/>
                  </a:lnTo>
                  <a:lnTo>
                    <a:pt x="0" y="435079"/>
                  </a:lnTo>
                  <a:lnTo>
                    <a:pt x="217539" y="435079"/>
                  </a:lnTo>
                  <a:close/>
                </a:path>
              </a:pathLst>
            </a:custGeom>
            <a:grpFill/>
            <a:ln w="27192" cap="flat">
              <a:noFill/>
              <a:prstDash val="solid"/>
              <a:miter/>
            </a:ln>
          </p:spPr>
          <p:txBody>
            <a:bodyPr rtlCol="0" anchor="ctr"/>
            <a:lstStyle/>
            <a:p>
              <a:endParaRPr lang="uk-UA" sz="900"/>
            </a:p>
          </p:txBody>
        </p:sp>
        <p:sp>
          <p:nvSpPr>
            <p:cNvPr id="20" name="Freeform: Shape 19">
              <a:extLst>
                <a:ext uri="{FF2B5EF4-FFF2-40B4-BE49-F238E27FC236}">
                  <a16:creationId xmlns:a16="http://schemas.microsoft.com/office/drawing/2014/main" id="{CD5CE0CD-4451-CA32-DDB7-0207E130E8F5}"/>
                </a:ext>
              </a:extLst>
            </p:cNvPr>
            <p:cNvSpPr/>
            <p:nvPr/>
          </p:nvSpPr>
          <p:spPr>
            <a:xfrm>
              <a:off x="12147836" y="228570"/>
              <a:ext cx="435077" cy="435076"/>
            </a:xfrm>
            <a:custGeom>
              <a:avLst/>
              <a:gdLst>
                <a:gd name="connsiteX0" fmla="*/ 217539 w 435077"/>
                <a:gd name="connsiteY0" fmla="*/ 217534 h 435076"/>
                <a:gd name="connsiteX1" fmla="*/ 217539 w 435077"/>
                <a:gd name="connsiteY1" fmla="*/ 0 h 435076"/>
                <a:gd name="connsiteX2" fmla="*/ 0 w 435077"/>
                <a:gd name="connsiteY2" fmla="*/ 0 h 435076"/>
                <a:gd name="connsiteX3" fmla="*/ 217539 w 435077"/>
                <a:gd name="connsiteY3" fmla="*/ 217538 h 435076"/>
                <a:gd name="connsiteX4" fmla="*/ 0 w 435077"/>
                <a:gd name="connsiteY4" fmla="*/ 435077 h 435076"/>
                <a:gd name="connsiteX5" fmla="*/ 217539 w 435077"/>
                <a:gd name="connsiteY5" fmla="*/ 435077 h 435076"/>
                <a:gd name="connsiteX6" fmla="*/ 217539 w 435077"/>
                <a:gd name="connsiteY6" fmla="*/ 435071 h 435076"/>
                <a:gd name="connsiteX7" fmla="*/ 435077 w 435077"/>
                <a:gd name="connsiteY7" fmla="*/ 217543 h 435076"/>
                <a:gd name="connsiteX8" fmla="*/ 435077 w 435077"/>
                <a:gd name="connsiteY8" fmla="*/ 217543 h 435076"/>
                <a:gd name="connsiteX9" fmla="*/ 435077 w 435077"/>
                <a:gd name="connsiteY9" fmla="*/ 217538 h 435076"/>
                <a:gd name="connsiteX10" fmla="*/ 435077 w 435077"/>
                <a:gd name="connsiteY10" fmla="*/ 217534 h 435076"/>
                <a:gd name="connsiteX11" fmla="*/ 435077 w 435077"/>
                <a:gd name="connsiteY11" fmla="*/ 217534 h 435076"/>
                <a:gd name="connsiteX12" fmla="*/ 217539 w 435077"/>
                <a:gd name="connsiteY12" fmla="*/ 5 h 435076"/>
                <a:gd name="connsiteX13" fmla="*/ 217539 w 435077"/>
                <a:gd name="connsiteY13" fmla="*/ 217534 h 435076"/>
                <a:gd name="connsiteX14" fmla="*/ 217539 w 435077"/>
                <a:gd name="connsiteY14" fmla="*/ 217534 h 435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6">
                  <a:moveTo>
                    <a:pt x="217539" y="217534"/>
                  </a:moveTo>
                  <a:lnTo>
                    <a:pt x="217539" y="0"/>
                  </a:lnTo>
                  <a:lnTo>
                    <a:pt x="0" y="0"/>
                  </a:lnTo>
                  <a:lnTo>
                    <a:pt x="217539" y="217538"/>
                  </a:lnTo>
                  <a:lnTo>
                    <a:pt x="0" y="435077"/>
                  </a:lnTo>
                  <a:lnTo>
                    <a:pt x="217539" y="435077"/>
                  </a:lnTo>
                  <a:lnTo>
                    <a:pt x="217539" y="435071"/>
                  </a:lnTo>
                  <a:lnTo>
                    <a:pt x="435077" y="217543"/>
                  </a:lnTo>
                  <a:lnTo>
                    <a:pt x="435077" y="217543"/>
                  </a:lnTo>
                  <a:lnTo>
                    <a:pt x="435077" y="217538"/>
                  </a:lnTo>
                  <a:lnTo>
                    <a:pt x="435077" y="217534"/>
                  </a:lnTo>
                  <a:lnTo>
                    <a:pt x="435077" y="217534"/>
                  </a:lnTo>
                  <a:lnTo>
                    <a:pt x="217539" y="5"/>
                  </a:lnTo>
                  <a:lnTo>
                    <a:pt x="217539" y="217534"/>
                  </a:lnTo>
                  <a:lnTo>
                    <a:pt x="217539" y="217534"/>
                  </a:lnTo>
                  <a:close/>
                </a:path>
              </a:pathLst>
            </a:custGeom>
            <a:grpFill/>
            <a:ln w="27192" cap="flat">
              <a:noFill/>
              <a:prstDash val="solid"/>
              <a:miter/>
            </a:ln>
          </p:spPr>
          <p:txBody>
            <a:bodyPr rtlCol="0" anchor="ctr"/>
            <a:lstStyle/>
            <a:p>
              <a:endParaRPr lang="uk-UA" sz="900"/>
            </a:p>
          </p:txBody>
        </p:sp>
        <p:sp>
          <p:nvSpPr>
            <p:cNvPr id="21" name="Freeform: Shape 20">
              <a:extLst>
                <a:ext uri="{FF2B5EF4-FFF2-40B4-BE49-F238E27FC236}">
                  <a16:creationId xmlns:a16="http://schemas.microsoft.com/office/drawing/2014/main" id="{B4F9E74F-EDBB-3A04-C065-5EFFBBD7E527}"/>
                </a:ext>
              </a:extLst>
            </p:cNvPr>
            <p:cNvSpPr/>
            <p:nvPr/>
          </p:nvSpPr>
          <p:spPr>
            <a:xfrm>
              <a:off x="13018045" y="228598"/>
              <a:ext cx="435077" cy="435078"/>
            </a:xfrm>
            <a:custGeom>
              <a:avLst/>
              <a:gdLst>
                <a:gd name="connsiteX0" fmla="*/ 0 w 435077"/>
                <a:gd name="connsiteY0" fmla="*/ 435079 h 435078"/>
                <a:gd name="connsiteX1" fmla="*/ 217539 w 435077"/>
                <a:gd name="connsiteY1" fmla="*/ 435079 h 435078"/>
                <a:gd name="connsiteX2" fmla="*/ 217539 w 435077"/>
                <a:gd name="connsiteY2" fmla="*/ 217546 h 435078"/>
                <a:gd name="connsiteX3" fmla="*/ 0 w 435077"/>
                <a:gd name="connsiteY3" fmla="*/ 435079 h 435078"/>
                <a:gd name="connsiteX4" fmla="*/ 217539 w 435077"/>
                <a:gd name="connsiteY4" fmla="*/ 0 h 435078"/>
                <a:gd name="connsiteX5" fmla="*/ 0 w 435077"/>
                <a:gd name="connsiteY5" fmla="*/ 0 h 435078"/>
                <a:gd name="connsiteX6" fmla="*/ 217539 w 435077"/>
                <a:gd name="connsiteY6" fmla="*/ 217532 h 435078"/>
                <a:gd name="connsiteX7" fmla="*/ 217539 w 435077"/>
                <a:gd name="connsiteY7" fmla="*/ 0 h 435078"/>
                <a:gd name="connsiteX8" fmla="*/ 435077 w 435077"/>
                <a:gd name="connsiteY8" fmla="*/ 435079 h 435078"/>
                <a:gd name="connsiteX9" fmla="*/ 217539 w 435077"/>
                <a:gd name="connsiteY9" fmla="*/ 435079 h 435078"/>
                <a:gd name="connsiteX10" fmla="*/ 435077 w 435077"/>
                <a:gd name="connsiteY10" fmla="*/ 217546 h 435078"/>
                <a:gd name="connsiteX11" fmla="*/ 435077 w 435077"/>
                <a:gd name="connsiteY11" fmla="*/ 435079 h 435078"/>
                <a:gd name="connsiteX12" fmla="*/ 435077 w 435077"/>
                <a:gd name="connsiteY12" fmla="*/ 0 h 435078"/>
                <a:gd name="connsiteX13" fmla="*/ 217539 w 435077"/>
                <a:gd name="connsiteY13" fmla="*/ 0 h 435078"/>
                <a:gd name="connsiteX14" fmla="*/ 435077 w 435077"/>
                <a:gd name="connsiteY14" fmla="*/ 217532 h 435078"/>
                <a:gd name="connsiteX15" fmla="*/ 435077 w 435077"/>
                <a:gd name="connsiteY15"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8">
                  <a:moveTo>
                    <a:pt x="0" y="435079"/>
                  </a:moveTo>
                  <a:lnTo>
                    <a:pt x="217539" y="435079"/>
                  </a:lnTo>
                  <a:lnTo>
                    <a:pt x="217539" y="217546"/>
                  </a:lnTo>
                  <a:lnTo>
                    <a:pt x="0" y="435079"/>
                  </a:lnTo>
                  <a:close/>
                  <a:moveTo>
                    <a:pt x="217539" y="0"/>
                  </a:moveTo>
                  <a:lnTo>
                    <a:pt x="0" y="0"/>
                  </a:lnTo>
                  <a:lnTo>
                    <a:pt x="217539" y="217532"/>
                  </a:lnTo>
                  <a:lnTo>
                    <a:pt x="217539" y="0"/>
                  </a:lnTo>
                  <a:close/>
                  <a:moveTo>
                    <a:pt x="435077" y="435079"/>
                  </a:moveTo>
                  <a:lnTo>
                    <a:pt x="217539" y="435079"/>
                  </a:lnTo>
                  <a:lnTo>
                    <a:pt x="435077" y="217546"/>
                  </a:lnTo>
                  <a:lnTo>
                    <a:pt x="435077" y="435079"/>
                  </a:lnTo>
                  <a:close/>
                  <a:moveTo>
                    <a:pt x="435077" y="0"/>
                  </a:moveTo>
                  <a:lnTo>
                    <a:pt x="217539" y="0"/>
                  </a:lnTo>
                  <a:lnTo>
                    <a:pt x="435077" y="217532"/>
                  </a:lnTo>
                  <a:lnTo>
                    <a:pt x="435077" y="0"/>
                  </a:lnTo>
                  <a:close/>
                </a:path>
              </a:pathLst>
            </a:custGeom>
            <a:grpFill/>
            <a:ln w="27192" cap="flat">
              <a:noFill/>
              <a:prstDash val="solid"/>
              <a:miter/>
            </a:ln>
          </p:spPr>
          <p:txBody>
            <a:bodyPr rtlCol="0" anchor="ctr"/>
            <a:lstStyle/>
            <a:p>
              <a:endParaRPr lang="uk-UA" sz="900"/>
            </a:p>
          </p:txBody>
        </p:sp>
        <p:sp>
          <p:nvSpPr>
            <p:cNvPr id="22" name="Freeform: Shape 21">
              <a:extLst>
                <a:ext uri="{FF2B5EF4-FFF2-40B4-BE49-F238E27FC236}">
                  <a16:creationId xmlns:a16="http://schemas.microsoft.com/office/drawing/2014/main" id="{6683EEEA-B043-D965-E68A-B3AD9F0DF8E8}"/>
                </a:ext>
              </a:extLst>
            </p:cNvPr>
            <p:cNvSpPr/>
            <p:nvPr/>
          </p:nvSpPr>
          <p:spPr>
            <a:xfrm>
              <a:off x="14758382" y="228598"/>
              <a:ext cx="435077" cy="435073"/>
            </a:xfrm>
            <a:custGeom>
              <a:avLst/>
              <a:gdLst>
                <a:gd name="connsiteX0" fmla="*/ 371367 w 435077"/>
                <a:gd name="connsiteY0" fmla="*/ 63716 h 435073"/>
                <a:gd name="connsiteX1" fmla="*/ 435077 w 435077"/>
                <a:gd name="connsiteY1" fmla="*/ 217539 h 435073"/>
                <a:gd name="connsiteX2" fmla="*/ 218953 w 435077"/>
                <a:gd name="connsiteY2" fmla="*/ 217539 h 435073"/>
                <a:gd name="connsiteX3" fmla="*/ 371367 w 435077"/>
                <a:gd name="connsiteY3" fmla="*/ 281249 h 435073"/>
                <a:gd name="connsiteX4" fmla="*/ 435077 w 435077"/>
                <a:gd name="connsiteY4" fmla="*/ 435073 h 435073"/>
                <a:gd name="connsiteX5" fmla="*/ 217539 w 435077"/>
                <a:gd name="connsiteY5" fmla="*/ 435073 h 435073"/>
                <a:gd name="connsiteX6" fmla="*/ 0 w 435077"/>
                <a:gd name="connsiteY6" fmla="*/ 435073 h 435073"/>
                <a:gd name="connsiteX7" fmla="*/ 63712 w 435077"/>
                <a:gd name="connsiteY7" fmla="*/ 281249 h 435073"/>
                <a:gd name="connsiteX8" fmla="*/ 216125 w 435077"/>
                <a:gd name="connsiteY8" fmla="*/ 217539 h 435073"/>
                <a:gd name="connsiteX9" fmla="*/ 0 w 435077"/>
                <a:gd name="connsiteY9" fmla="*/ 217539 h 435073"/>
                <a:gd name="connsiteX10" fmla="*/ 63712 w 435077"/>
                <a:gd name="connsiteY10" fmla="*/ 63716 h 435073"/>
                <a:gd name="connsiteX11" fmla="*/ 217539 w 435077"/>
                <a:gd name="connsiteY11" fmla="*/ 0 h 435073"/>
                <a:gd name="connsiteX12" fmla="*/ 371367 w 435077"/>
                <a:gd name="connsiteY12" fmla="*/ 63716 h 43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3">
                  <a:moveTo>
                    <a:pt x="371367" y="63716"/>
                  </a:moveTo>
                  <a:cubicBezTo>
                    <a:pt x="412155" y="104512"/>
                    <a:pt x="435077" y="159844"/>
                    <a:pt x="435077" y="217539"/>
                  </a:cubicBezTo>
                  <a:lnTo>
                    <a:pt x="218953" y="217539"/>
                  </a:lnTo>
                  <a:cubicBezTo>
                    <a:pt x="276139" y="217907"/>
                    <a:pt x="330904" y="240784"/>
                    <a:pt x="371367" y="281249"/>
                  </a:cubicBezTo>
                  <a:cubicBezTo>
                    <a:pt x="412155" y="322046"/>
                    <a:pt x="435077" y="377379"/>
                    <a:pt x="435077" y="435073"/>
                  </a:cubicBezTo>
                  <a:lnTo>
                    <a:pt x="217539" y="435073"/>
                  </a:lnTo>
                  <a:lnTo>
                    <a:pt x="0" y="435073"/>
                  </a:lnTo>
                  <a:cubicBezTo>
                    <a:pt x="0" y="377379"/>
                    <a:pt x="22924" y="322046"/>
                    <a:pt x="63712" y="281249"/>
                  </a:cubicBezTo>
                  <a:cubicBezTo>
                    <a:pt x="104174" y="240784"/>
                    <a:pt x="158940" y="217907"/>
                    <a:pt x="216125" y="217539"/>
                  </a:cubicBezTo>
                  <a:lnTo>
                    <a:pt x="0" y="217539"/>
                  </a:lnTo>
                  <a:cubicBezTo>
                    <a:pt x="0" y="159844"/>
                    <a:pt x="22924" y="104512"/>
                    <a:pt x="63712" y="63716"/>
                  </a:cubicBezTo>
                  <a:cubicBezTo>
                    <a:pt x="104501" y="22919"/>
                    <a:pt x="159836" y="0"/>
                    <a:pt x="217539" y="0"/>
                  </a:cubicBezTo>
                  <a:cubicBezTo>
                    <a:pt x="275241" y="0"/>
                    <a:pt x="330550" y="22919"/>
                    <a:pt x="371367" y="63716"/>
                  </a:cubicBezTo>
                  <a:close/>
                </a:path>
              </a:pathLst>
            </a:custGeom>
            <a:grpFill/>
            <a:ln w="27192" cap="flat">
              <a:noFill/>
              <a:prstDash val="solid"/>
              <a:miter/>
            </a:ln>
          </p:spPr>
          <p:txBody>
            <a:bodyPr rtlCol="0" anchor="ctr"/>
            <a:lstStyle/>
            <a:p>
              <a:endParaRPr lang="uk-UA" sz="900"/>
            </a:p>
          </p:txBody>
        </p:sp>
        <p:sp>
          <p:nvSpPr>
            <p:cNvPr id="23" name="Freeform: Shape 22">
              <a:extLst>
                <a:ext uri="{FF2B5EF4-FFF2-40B4-BE49-F238E27FC236}">
                  <a16:creationId xmlns:a16="http://schemas.microsoft.com/office/drawing/2014/main" id="{1C241DB8-3DE2-2EF2-7EB0-1A9B6DEC4419}"/>
                </a:ext>
              </a:extLst>
            </p:cNvPr>
            <p:cNvSpPr/>
            <p:nvPr/>
          </p:nvSpPr>
          <p:spPr>
            <a:xfrm>
              <a:off x="13888200" y="228598"/>
              <a:ext cx="435077" cy="435078"/>
            </a:xfrm>
            <a:custGeom>
              <a:avLst/>
              <a:gdLst>
                <a:gd name="connsiteX0" fmla="*/ 217565 w 435077"/>
                <a:gd name="connsiteY0" fmla="*/ 0 h 435078"/>
                <a:gd name="connsiteX1" fmla="*/ 217539 w 435077"/>
                <a:gd name="connsiteY1" fmla="*/ 0 h 435078"/>
                <a:gd name="connsiteX2" fmla="*/ 27 w 435077"/>
                <a:gd name="connsiteY2" fmla="*/ 0 h 435078"/>
                <a:gd name="connsiteX3" fmla="*/ 27 w 435077"/>
                <a:gd name="connsiteY3" fmla="*/ 217539 h 435078"/>
                <a:gd name="connsiteX4" fmla="*/ 217565 w 435077"/>
                <a:gd name="connsiteY4" fmla="*/ 7 h 435078"/>
                <a:gd name="connsiteX5" fmla="*/ 435077 w 435077"/>
                <a:gd name="connsiteY5" fmla="*/ 217539 h 435078"/>
                <a:gd name="connsiteX6" fmla="*/ 217539 w 435077"/>
                <a:gd name="connsiteY6" fmla="*/ 435079 h 435078"/>
                <a:gd name="connsiteX7" fmla="*/ 0 w 435077"/>
                <a:gd name="connsiteY7" fmla="*/ 217539 h 435078"/>
                <a:gd name="connsiteX8" fmla="*/ 0 w 435077"/>
                <a:gd name="connsiteY8" fmla="*/ 435079 h 435078"/>
                <a:gd name="connsiteX9" fmla="*/ 217539 w 435077"/>
                <a:gd name="connsiteY9" fmla="*/ 435079 h 435078"/>
                <a:gd name="connsiteX10" fmla="*/ 435077 w 435077"/>
                <a:gd name="connsiteY10" fmla="*/ 435079 h 435078"/>
                <a:gd name="connsiteX11" fmla="*/ 435077 w 435077"/>
                <a:gd name="connsiteY11" fmla="*/ 217539 h 435078"/>
                <a:gd name="connsiteX12" fmla="*/ 435077 w 435077"/>
                <a:gd name="connsiteY12" fmla="*/ 0 h 435078"/>
                <a:gd name="connsiteX13" fmla="*/ 217565 w 435077"/>
                <a:gd name="connsiteY13"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8">
                  <a:moveTo>
                    <a:pt x="217565" y="0"/>
                  </a:moveTo>
                  <a:lnTo>
                    <a:pt x="217539" y="0"/>
                  </a:lnTo>
                  <a:lnTo>
                    <a:pt x="27" y="0"/>
                  </a:lnTo>
                  <a:lnTo>
                    <a:pt x="27" y="217539"/>
                  </a:lnTo>
                  <a:lnTo>
                    <a:pt x="217565" y="7"/>
                  </a:lnTo>
                  <a:lnTo>
                    <a:pt x="435077" y="217539"/>
                  </a:lnTo>
                  <a:lnTo>
                    <a:pt x="217539" y="435079"/>
                  </a:lnTo>
                  <a:lnTo>
                    <a:pt x="0" y="217539"/>
                  </a:lnTo>
                  <a:lnTo>
                    <a:pt x="0" y="435079"/>
                  </a:lnTo>
                  <a:lnTo>
                    <a:pt x="217539" y="435079"/>
                  </a:lnTo>
                  <a:lnTo>
                    <a:pt x="435077" y="435079"/>
                  </a:lnTo>
                  <a:lnTo>
                    <a:pt x="435077" y="217539"/>
                  </a:lnTo>
                  <a:lnTo>
                    <a:pt x="435077" y="0"/>
                  </a:lnTo>
                  <a:lnTo>
                    <a:pt x="217565" y="0"/>
                  </a:lnTo>
                  <a:close/>
                </a:path>
              </a:pathLst>
            </a:custGeom>
            <a:grpFill/>
            <a:ln w="27192" cap="flat">
              <a:noFill/>
              <a:prstDash val="solid"/>
              <a:miter/>
            </a:ln>
          </p:spPr>
          <p:txBody>
            <a:bodyPr rtlCol="0" anchor="ctr"/>
            <a:lstStyle/>
            <a:p>
              <a:endParaRPr lang="uk-UA" sz="900"/>
            </a:p>
          </p:txBody>
        </p:sp>
        <p:sp>
          <p:nvSpPr>
            <p:cNvPr id="24" name="Freeform: Shape 23">
              <a:extLst>
                <a:ext uri="{FF2B5EF4-FFF2-40B4-BE49-F238E27FC236}">
                  <a16:creationId xmlns:a16="http://schemas.microsoft.com/office/drawing/2014/main" id="{87B67B92-A3E6-F7F9-2579-D0ADCA16E8F1}"/>
                </a:ext>
              </a:extLst>
            </p:cNvPr>
            <p:cNvSpPr/>
            <p:nvPr/>
          </p:nvSpPr>
          <p:spPr>
            <a:xfrm>
              <a:off x="15628536" y="228598"/>
              <a:ext cx="435077" cy="435075"/>
            </a:xfrm>
            <a:custGeom>
              <a:avLst/>
              <a:gdLst>
                <a:gd name="connsiteX0" fmla="*/ 217539 w 435077"/>
                <a:gd name="connsiteY0" fmla="*/ 217540 h 435075"/>
                <a:gd name="connsiteX1" fmla="*/ 217539 w 435077"/>
                <a:gd name="connsiteY1" fmla="*/ 217537 h 435075"/>
                <a:gd name="connsiteX2" fmla="*/ 0 w 435077"/>
                <a:gd name="connsiteY2" fmla="*/ 0 h 435075"/>
                <a:gd name="connsiteX3" fmla="*/ 217539 w 435077"/>
                <a:gd name="connsiteY3" fmla="*/ 0 h 435075"/>
                <a:gd name="connsiteX4" fmla="*/ 217539 w 435077"/>
                <a:gd name="connsiteY4" fmla="*/ 5 h 435075"/>
                <a:gd name="connsiteX5" fmla="*/ 435077 w 435077"/>
                <a:gd name="connsiteY5" fmla="*/ 217533 h 435075"/>
                <a:gd name="connsiteX6" fmla="*/ 435077 w 435077"/>
                <a:gd name="connsiteY6" fmla="*/ 217533 h 435075"/>
                <a:gd name="connsiteX7" fmla="*/ 435077 w 435077"/>
                <a:gd name="connsiteY7" fmla="*/ 217538 h 435075"/>
                <a:gd name="connsiteX8" fmla="*/ 435077 w 435077"/>
                <a:gd name="connsiteY8" fmla="*/ 217542 h 435075"/>
                <a:gd name="connsiteX9" fmla="*/ 435077 w 435077"/>
                <a:gd name="connsiteY9" fmla="*/ 217542 h 435075"/>
                <a:gd name="connsiteX10" fmla="*/ 217539 w 435077"/>
                <a:gd name="connsiteY10" fmla="*/ 435071 h 435075"/>
                <a:gd name="connsiteX11" fmla="*/ 217539 w 435077"/>
                <a:gd name="connsiteY11" fmla="*/ 435076 h 435075"/>
                <a:gd name="connsiteX12" fmla="*/ 0 w 435077"/>
                <a:gd name="connsiteY12" fmla="*/ 435076 h 435075"/>
                <a:gd name="connsiteX13" fmla="*/ 217539 w 435077"/>
                <a:gd name="connsiteY13" fmla="*/ 217540 h 43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5">
                  <a:moveTo>
                    <a:pt x="217539" y="217540"/>
                  </a:moveTo>
                  <a:lnTo>
                    <a:pt x="217539" y="217537"/>
                  </a:lnTo>
                  <a:lnTo>
                    <a:pt x="0" y="0"/>
                  </a:lnTo>
                  <a:lnTo>
                    <a:pt x="217539" y="0"/>
                  </a:lnTo>
                  <a:lnTo>
                    <a:pt x="217539" y="5"/>
                  </a:lnTo>
                  <a:lnTo>
                    <a:pt x="435077" y="217533"/>
                  </a:lnTo>
                  <a:lnTo>
                    <a:pt x="435077" y="217533"/>
                  </a:lnTo>
                  <a:lnTo>
                    <a:pt x="435077" y="217538"/>
                  </a:lnTo>
                  <a:lnTo>
                    <a:pt x="435077" y="217542"/>
                  </a:lnTo>
                  <a:lnTo>
                    <a:pt x="435077" y="217542"/>
                  </a:lnTo>
                  <a:lnTo>
                    <a:pt x="217539" y="435071"/>
                  </a:lnTo>
                  <a:lnTo>
                    <a:pt x="217539" y="435076"/>
                  </a:lnTo>
                  <a:lnTo>
                    <a:pt x="0" y="435076"/>
                  </a:lnTo>
                  <a:lnTo>
                    <a:pt x="217539" y="217540"/>
                  </a:lnTo>
                  <a:close/>
                </a:path>
              </a:pathLst>
            </a:custGeom>
            <a:grpFill/>
            <a:ln w="27192" cap="flat">
              <a:noFill/>
              <a:prstDash val="solid"/>
              <a:miter/>
            </a:ln>
          </p:spPr>
          <p:txBody>
            <a:bodyPr rtlCol="0" anchor="ctr"/>
            <a:lstStyle/>
            <a:p>
              <a:endParaRPr lang="uk-UA" sz="900"/>
            </a:p>
          </p:txBody>
        </p:sp>
        <p:sp>
          <p:nvSpPr>
            <p:cNvPr id="25" name="Freeform: Shape 24">
              <a:extLst>
                <a:ext uri="{FF2B5EF4-FFF2-40B4-BE49-F238E27FC236}">
                  <a16:creationId xmlns:a16="http://schemas.microsoft.com/office/drawing/2014/main" id="{AC02A321-EBCC-0668-BF21-81820A029A7F}"/>
                </a:ext>
              </a:extLst>
            </p:cNvPr>
            <p:cNvSpPr/>
            <p:nvPr/>
          </p:nvSpPr>
          <p:spPr>
            <a:xfrm>
              <a:off x="16498719" y="228598"/>
              <a:ext cx="435077" cy="435078"/>
            </a:xfrm>
            <a:custGeom>
              <a:avLst/>
              <a:gdLst>
                <a:gd name="connsiteX0" fmla="*/ 0 w 435077"/>
                <a:gd name="connsiteY0" fmla="*/ 435079 h 435078"/>
                <a:gd name="connsiteX1" fmla="*/ 217510 w 435077"/>
                <a:gd name="connsiteY1" fmla="*/ 435079 h 435078"/>
                <a:gd name="connsiteX2" fmla="*/ 217510 w 435077"/>
                <a:gd name="connsiteY2" fmla="*/ 217546 h 435078"/>
                <a:gd name="connsiteX3" fmla="*/ 0 w 435077"/>
                <a:gd name="connsiteY3" fmla="*/ 435079 h 435078"/>
                <a:gd name="connsiteX4" fmla="*/ 217510 w 435077"/>
                <a:gd name="connsiteY4" fmla="*/ 0 h 435078"/>
                <a:gd name="connsiteX5" fmla="*/ 0 w 435077"/>
                <a:gd name="connsiteY5" fmla="*/ 0 h 435078"/>
                <a:gd name="connsiteX6" fmla="*/ 217510 w 435077"/>
                <a:gd name="connsiteY6" fmla="*/ 217532 h 435078"/>
                <a:gd name="connsiteX7" fmla="*/ 217510 w 435077"/>
                <a:gd name="connsiteY7" fmla="*/ 0 h 435078"/>
                <a:gd name="connsiteX8" fmla="*/ 435077 w 435077"/>
                <a:gd name="connsiteY8" fmla="*/ 435079 h 435078"/>
                <a:gd name="connsiteX9" fmla="*/ 217539 w 435077"/>
                <a:gd name="connsiteY9" fmla="*/ 435079 h 435078"/>
                <a:gd name="connsiteX10" fmla="*/ 435077 w 435077"/>
                <a:gd name="connsiteY10" fmla="*/ 217546 h 435078"/>
                <a:gd name="connsiteX11" fmla="*/ 435077 w 435077"/>
                <a:gd name="connsiteY11" fmla="*/ 435079 h 435078"/>
                <a:gd name="connsiteX12" fmla="*/ 435077 w 435077"/>
                <a:gd name="connsiteY12" fmla="*/ 0 h 435078"/>
                <a:gd name="connsiteX13" fmla="*/ 217539 w 435077"/>
                <a:gd name="connsiteY13" fmla="*/ 0 h 435078"/>
                <a:gd name="connsiteX14" fmla="*/ 435077 w 435077"/>
                <a:gd name="connsiteY14" fmla="*/ 217532 h 435078"/>
                <a:gd name="connsiteX15" fmla="*/ 435077 w 435077"/>
                <a:gd name="connsiteY15"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8">
                  <a:moveTo>
                    <a:pt x="0" y="435079"/>
                  </a:moveTo>
                  <a:lnTo>
                    <a:pt x="217510" y="435079"/>
                  </a:lnTo>
                  <a:lnTo>
                    <a:pt x="217510" y="217546"/>
                  </a:lnTo>
                  <a:lnTo>
                    <a:pt x="0" y="435079"/>
                  </a:lnTo>
                  <a:close/>
                  <a:moveTo>
                    <a:pt x="217510" y="0"/>
                  </a:moveTo>
                  <a:lnTo>
                    <a:pt x="0" y="0"/>
                  </a:lnTo>
                  <a:lnTo>
                    <a:pt x="217510" y="217532"/>
                  </a:lnTo>
                  <a:lnTo>
                    <a:pt x="217510" y="0"/>
                  </a:lnTo>
                  <a:close/>
                  <a:moveTo>
                    <a:pt x="435077" y="435079"/>
                  </a:moveTo>
                  <a:lnTo>
                    <a:pt x="217539" y="435079"/>
                  </a:lnTo>
                  <a:lnTo>
                    <a:pt x="435077" y="217546"/>
                  </a:lnTo>
                  <a:lnTo>
                    <a:pt x="435077" y="435079"/>
                  </a:lnTo>
                  <a:close/>
                  <a:moveTo>
                    <a:pt x="435077" y="0"/>
                  </a:moveTo>
                  <a:lnTo>
                    <a:pt x="217539" y="0"/>
                  </a:lnTo>
                  <a:lnTo>
                    <a:pt x="435077" y="217532"/>
                  </a:lnTo>
                  <a:lnTo>
                    <a:pt x="435077" y="0"/>
                  </a:lnTo>
                  <a:close/>
                </a:path>
              </a:pathLst>
            </a:custGeom>
            <a:grpFill/>
            <a:ln w="27192" cap="flat">
              <a:noFill/>
              <a:prstDash val="solid"/>
              <a:miter/>
            </a:ln>
          </p:spPr>
          <p:txBody>
            <a:bodyPr rtlCol="0" anchor="ctr"/>
            <a:lstStyle/>
            <a:p>
              <a:endParaRPr lang="uk-UA" sz="900"/>
            </a:p>
          </p:txBody>
        </p:sp>
        <p:sp>
          <p:nvSpPr>
            <p:cNvPr id="26" name="Freeform: Shape 25">
              <a:extLst>
                <a:ext uri="{FF2B5EF4-FFF2-40B4-BE49-F238E27FC236}">
                  <a16:creationId xmlns:a16="http://schemas.microsoft.com/office/drawing/2014/main" id="{4DBA00F0-E34B-5D73-558E-050D0C8D08C9}"/>
                </a:ext>
              </a:extLst>
            </p:cNvPr>
            <p:cNvSpPr/>
            <p:nvPr/>
          </p:nvSpPr>
          <p:spPr>
            <a:xfrm>
              <a:off x="18239029" y="228598"/>
              <a:ext cx="435077" cy="435073"/>
            </a:xfrm>
            <a:custGeom>
              <a:avLst/>
              <a:gdLst>
                <a:gd name="connsiteX0" fmla="*/ 371365 w 435077"/>
                <a:gd name="connsiteY0" fmla="*/ 63716 h 435073"/>
                <a:gd name="connsiteX1" fmla="*/ 435077 w 435077"/>
                <a:gd name="connsiteY1" fmla="*/ 217539 h 435073"/>
                <a:gd name="connsiteX2" fmla="*/ 218953 w 435077"/>
                <a:gd name="connsiteY2" fmla="*/ 217539 h 435073"/>
                <a:gd name="connsiteX3" fmla="*/ 371365 w 435077"/>
                <a:gd name="connsiteY3" fmla="*/ 281249 h 435073"/>
                <a:gd name="connsiteX4" fmla="*/ 435077 w 435077"/>
                <a:gd name="connsiteY4" fmla="*/ 435073 h 435073"/>
                <a:gd name="connsiteX5" fmla="*/ 217539 w 435077"/>
                <a:gd name="connsiteY5" fmla="*/ 435073 h 435073"/>
                <a:gd name="connsiteX6" fmla="*/ 0 w 435077"/>
                <a:gd name="connsiteY6" fmla="*/ 435073 h 435073"/>
                <a:gd name="connsiteX7" fmla="*/ 63710 w 435077"/>
                <a:gd name="connsiteY7" fmla="*/ 281249 h 435073"/>
                <a:gd name="connsiteX8" fmla="*/ 216151 w 435077"/>
                <a:gd name="connsiteY8" fmla="*/ 217539 h 435073"/>
                <a:gd name="connsiteX9" fmla="*/ 0 w 435077"/>
                <a:gd name="connsiteY9" fmla="*/ 217539 h 435073"/>
                <a:gd name="connsiteX10" fmla="*/ 63710 w 435077"/>
                <a:gd name="connsiteY10" fmla="*/ 63716 h 435073"/>
                <a:gd name="connsiteX11" fmla="*/ 217539 w 435077"/>
                <a:gd name="connsiteY11" fmla="*/ 0 h 435073"/>
                <a:gd name="connsiteX12" fmla="*/ 371365 w 435077"/>
                <a:gd name="connsiteY12" fmla="*/ 63716 h 43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3">
                  <a:moveTo>
                    <a:pt x="371365" y="63716"/>
                  </a:moveTo>
                  <a:cubicBezTo>
                    <a:pt x="412154" y="104512"/>
                    <a:pt x="435077" y="159844"/>
                    <a:pt x="435077" y="217539"/>
                  </a:cubicBezTo>
                  <a:lnTo>
                    <a:pt x="218953" y="217539"/>
                  </a:lnTo>
                  <a:cubicBezTo>
                    <a:pt x="276137" y="217907"/>
                    <a:pt x="330904" y="240784"/>
                    <a:pt x="371365" y="281249"/>
                  </a:cubicBezTo>
                  <a:cubicBezTo>
                    <a:pt x="412154" y="322046"/>
                    <a:pt x="435077" y="377379"/>
                    <a:pt x="435077" y="435073"/>
                  </a:cubicBezTo>
                  <a:lnTo>
                    <a:pt x="217539" y="435073"/>
                  </a:lnTo>
                  <a:lnTo>
                    <a:pt x="0" y="435073"/>
                  </a:lnTo>
                  <a:cubicBezTo>
                    <a:pt x="0" y="377379"/>
                    <a:pt x="22922" y="322046"/>
                    <a:pt x="63710" y="281249"/>
                  </a:cubicBezTo>
                  <a:cubicBezTo>
                    <a:pt x="104200" y="240784"/>
                    <a:pt x="158967" y="217907"/>
                    <a:pt x="216151" y="217539"/>
                  </a:cubicBezTo>
                  <a:lnTo>
                    <a:pt x="0" y="217539"/>
                  </a:lnTo>
                  <a:cubicBezTo>
                    <a:pt x="0" y="159844"/>
                    <a:pt x="22922" y="104512"/>
                    <a:pt x="63710" y="63716"/>
                  </a:cubicBezTo>
                  <a:cubicBezTo>
                    <a:pt x="104527" y="22919"/>
                    <a:pt x="159836" y="0"/>
                    <a:pt x="217539" y="0"/>
                  </a:cubicBezTo>
                  <a:cubicBezTo>
                    <a:pt x="275241" y="0"/>
                    <a:pt x="330577" y="22919"/>
                    <a:pt x="371365" y="63716"/>
                  </a:cubicBezTo>
                  <a:close/>
                </a:path>
              </a:pathLst>
            </a:custGeom>
            <a:grpFill/>
            <a:ln w="27192" cap="flat">
              <a:noFill/>
              <a:prstDash val="solid"/>
              <a:miter/>
            </a:ln>
          </p:spPr>
          <p:txBody>
            <a:bodyPr rtlCol="0" anchor="ctr"/>
            <a:lstStyle/>
            <a:p>
              <a:endParaRPr lang="uk-UA" sz="900"/>
            </a:p>
          </p:txBody>
        </p:sp>
        <p:sp>
          <p:nvSpPr>
            <p:cNvPr id="27" name="Freeform: Shape 26">
              <a:extLst>
                <a:ext uri="{FF2B5EF4-FFF2-40B4-BE49-F238E27FC236}">
                  <a16:creationId xmlns:a16="http://schemas.microsoft.com/office/drawing/2014/main" id="{F1EC7A0A-FA4D-1571-7447-0AA1A2FE4DBB}"/>
                </a:ext>
              </a:extLst>
            </p:cNvPr>
            <p:cNvSpPr/>
            <p:nvPr/>
          </p:nvSpPr>
          <p:spPr>
            <a:xfrm>
              <a:off x="17368874" y="228598"/>
              <a:ext cx="435077" cy="435078"/>
            </a:xfrm>
            <a:custGeom>
              <a:avLst/>
              <a:gdLst>
                <a:gd name="connsiteX0" fmla="*/ 217539 w 435077"/>
                <a:gd name="connsiteY0" fmla="*/ 0 h 435078"/>
                <a:gd name="connsiteX1" fmla="*/ 0 w 435077"/>
                <a:gd name="connsiteY1" fmla="*/ 0 h 435078"/>
                <a:gd name="connsiteX2" fmla="*/ 0 w 435077"/>
                <a:gd name="connsiteY2" fmla="*/ 217539 h 435078"/>
                <a:gd name="connsiteX3" fmla="*/ 217539 w 435077"/>
                <a:gd name="connsiteY3" fmla="*/ 0 h 435078"/>
                <a:gd name="connsiteX4" fmla="*/ 435077 w 435077"/>
                <a:gd name="connsiteY4" fmla="*/ 0 h 435078"/>
                <a:gd name="connsiteX5" fmla="*/ 435077 w 435077"/>
                <a:gd name="connsiteY5" fmla="*/ 217539 h 435078"/>
                <a:gd name="connsiteX6" fmla="*/ 217539 w 435077"/>
                <a:gd name="connsiteY6" fmla="*/ 0 h 435078"/>
                <a:gd name="connsiteX7" fmla="*/ 435077 w 435077"/>
                <a:gd name="connsiteY7" fmla="*/ 0 h 435078"/>
                <a:gd name="connsiteX8" fmla="*/ 217539 w 435077"/>
                <a:gd name="connsiteY8" fmla="*/ 435079 h 435078"/>
                <a:gd name="connsiteX9" fmla="*/ 435077 w 435077"/>
                <a:gd name="connsiteY9" fmla="*/ 217539 h 435078"/>
                <a:gd name="connsiteX10" fmla="*/ 435077 w 435077"/>
                <a:gd name="connsiteY10" fmla="*/ 435079 h 435078"/>
                <a:gd name="connsiteX11" fmla="*/ 217539 w 435077"/>
                <a:gd name="connsiteY11" fmla="*/ 435079 h 435078"/>
                <a:gd name="connsiteX12" fmla="*/ 217539 w 435077"/>
                <a:gd name="connsiteY12" fmla="*/ 435079 h 435078"/>
                <a:gd name="connsiteX13" fmla="*/ 0 w 435077"/>
                <a:gd name="connsiteY13" fmla="*/ 217539 h 435078"/>
                <a:gd name="connsiteX14" fmla="*/ 0 w 435077"/>
                <a:gd name="connsiteY14" fmla="*/ 435079 h 435078"/>
                <a:gd name="connsiteX15" fmla="*/ 217539 w 435077"/>
                <a:gd name="connsiteY15" fmla="*/ 435079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8">
                  <a:moveTo>
                    <a:pt x="217539" y="0"/>
                  </a:moveTo>
                  <a:lnTo>
                    <a:pt x="0" y="0"/>
                  </a:lnTo>
                  <a:lnTo>
                    <a:pt x="0" y="217539"/>
                  </a:lnTo>
                  <a:lnTo>
                    <a:pt x="217539" y="0"/>
                  </a:lnTo>
                  <a:close/>
                  <a:moveTo>
                    <a:pt x="435077" y="0"/>
                  </a:moveTo>
                  <a:lnTo>
                    <a:pt x="435077" y="217539"/>
                  </a:lnTo>
                  <a:lnTo>
                    <a:pt x="217539" y="0"/>
                  </a:lnTo>
                  <a:lnTo>
                    <a:pt x="435077" y="0"/>
                  </a:lnTo>
                  <a:close/>
                  <a:moveTo>
                    <a:pt x="217539" y="435079"/>
                  </a:moveTo>
                  <a:lnTo>
                    <a:pt x="435077" y="217539"/>
                  </a:lnTo>
                  <a:lnTo>
                    <a:pt x="435077" y="435079"/>
                  </a:lnTo>
                  <a:lnTo>
                    <a:pt x="217539" y="435079"/>
                  </a:lnTo>
                  <a:close/>
                  <a:moveTo>
                    <a:pt x="217539" y="435079"/>
                  </a:moveTo>
                  <a:lnTo>
                    <a:pt x="0" y="217539"/>
                  </a:lnTo>
                  <a:lnTo>
                    <a:pt x="0" y="435079"/>
                  </a:lnTo>
                  <a:lnTo>
                    <a:pt x="217539" y="435079"/>
                  </a:lnTo>
                  <a:close/>
                </a:path>
              </a:pathLst>
            </a:custGeom>
            <a:grpFill/>
            <a:ln w="27192" cap="flat">
              <a:noFill/>
              <a:prstDash val="solid"/>
              <a:miter/>
            </a:ln>
          </p:spPr>
          <p:txBody>
            <a:bodyPr rtlCol="0" anchor="ctr"/>
            <a:lstStyle/>
            <a:p>
              <a:endParaRPr lang="uk-UA" sz="900"/>
            </a:p>
          </p:txBody>
        </p:sp>
        <p:sp>
          <p:nvSpPr>
            <p:cNvPr id="28" name="Freeform: Shape 27">
              <a:extLst>
                <a:ext uri="{FF2B5EF4-FFF2-40B4-BE49-F238E27FC236}">
                  <a16:creationId xmlns:a16="http://schemas.microsoft.com/office/drawing/2014/main" id="{DCE27E21-E84C-940F-1B21-48C526EBA11F}"/>
                </a:ext>
              </a:extLst>
            </p:cNvPr>
            <p:cNvSpPr/>
            <p:nvPr/>
          </p:nvSpPr>
          <p:spPr>
            <a:xfrm>
              <a:off x="19109210" y="228598"/>
              <a:ext cx="435077" cy="435075"/>
            </a:xfrm>
            <a:custGeom>
              <a:avLst/>
              <a:gdLst>
                <a:gd name="connsiteX0" fmla="*/ 217539 w 435077"/>
                <a:gd name="connsiteY0" fmla="*/ 217533 h 435075"/>
                <a:gd name="connsiteX1" fmla="*/ 217539 w 435077"/>
                <a:gd name="connsiteY1" fmla="*/ 0 h 435075"/>
                <a:gd name="connsiteX2" fmla="*/ 0 w 435077"/>
                <a:gd name="connsiteY2" fmla="*/ 0 h 435075"/>
                <a:gd name="connsiteX3" fmla="*/ 217539 w 435077"/>
                <a:gd name="connsiteY3" fmla="*/ 217538 h 435075"/>
                <a:gd name="connsiteX4" fmla="*/ 0 w 435077"/>
                <a:gd name="connsiteY4" fmla="*/ 435076 h 435075"/>
                <a:gd name="connsiteX5" fmla="*/ 217539 w 435077"/>
                <a:gd name="connsiteY5" fmla="*/ 435076 h 435075"/>
                <a:gd name="connsiteX6" fmla="*/ 217539 w 435077"/>
                <a:gd name="connsiteY6" fmla="*/ 435071 h 435075"/>
                <a:gd name="connsiteX7" fmla="*/ 435051 w 435077"/>
                <a:gd name="connsiteY7" fmla="*/ 217542 h 435075"/>
                <a:gd name="connsiteX8" fmla="*/ 435077 w 435077"/>
                <a:gd name="connsiteY8" fmla="*/ 217542 h 435075"/>
                <a:gd name="connsiteX9" fmla="*/ 435051 w 435077"/>
                <a:gd name="connsiteY9" fmla="*/ 217537 h 435075"/>
                <a:gd name="connsiteX10" fmla="*/ 435077 w 435077"/>
                <a:gd name="connsiteY10" fmla="*/ 217533 h 435075"/>
                <a:gd name="connsiteX11" fmla="*/ 435051 w 435077"/>
                <a:gd name="connsiteY11" fmla="*/ 217533 h 435075"/>
                <a:gd name="connsiteX12" fmla="*/ 217539 w 435077"/>
                <a:gd name="connsiteY12" fmla="*/ 4 h 435075"/>
                <a:gd name="connsiteX13" fmla="*/ 217539 w 435077"/>
                <a:gd name="connsiteY13" fmla="*/ 217533 h 435075"/>
                <a:gd name="connsiteX14" fmla="*/ 217539 w 435077"/>
                <a:gd name="connsiteY14" fmla="*/ 217533 h 43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5">
                  <a:moveTo>
                    <a:pt x="217539" y="217533"/>
                  </a:moveTo>
                  <a:lnTo>
                    <a:pt x="217539" y="0"/>
                  </a:lnTo>
                  <a:lnTo>
                    <a:pt x="0" y="0"/>
                  </a:lnTo>
                  <a:lnTo>
                    <a:pt x="217539" y="217538"/>
                  </a:lnTo>
                  <a:lnTo>
                    <a:pt x="0" y="435076"/>
                  </a:lnTo>
                  <a:lnTo>
                    <a:pt x="217539" y="435076"/>
                  </a:lnTo>
                  <a:lnTo>
                    <a:pt x="217539" y="435071"/>
                  </a:lnTo>
                  <a:lnTo>
                    <a:pt x="435051" y="217542"/>
                  </a:lnTo>
                  <a:lnTo>
                    <a:pt x="435077" y="217542"/>
                  </a:lnTo>
                  <a:lnTo>
                    <a:pt x="435051" y="217537"/>
                  </a:lnTo>
                  <a:lnTo>
                    <a:pt x="435077" y="217533"/>
                  </a:lnTo>
                  <a:lnTo>
                    <a:pt x="435051" y="217533"/>
                  </a:lnTo>
                  <a:lnTo>
                    <a:pt x="217539" y="4"/>
                  </a:lnTo>
                  <a:lnTo>
                    <a:pt x="217539" y="217533"/>
                  </a:lnTo>
                  <a:lnTo>
                    <a:pt x="217539" y="217533"/>
                  </a:lnTo>
                  <a:close/>
                </a:path>
              </a:pathLst>
            </a:custGeom>
            <a:grpFill/>
            <a:ln w="27192" cap="flat">
              <a:noFill/>
              <a:prstDash val="solid"/>
              <a:miter/>
            </a:ln>
          </p:spPr>
          <p:txBody>
            <a:bodyPr rtlCol="0" anchor="ctr"/>
            <a:lstStyle/>
            <a:p>
              <a:endParaRPr lang="uk-UA" sz="900"/>
            </a:p>
          </p:txBody>
        </p:sp>
        <p:sp>
          <p:nvSpPr>
            <p:cNvPr id="29" name="Freeform: Shape 28">
              <a:extLst>
                <a:ext uri="{FF2B5EF4-FFF2-40B4-BE49-F238E27FC236}">
                  <a16:creationId xmlns:a16="http://schemas.microsoft.com/office/drawing/2014/main" id="{ABC0E1A1-D832-EC19-447D-85218C1C22F2}"/>
                </a:ext>
              </a:extLst>
            </p:cNvPr>
            <p:cNvSpPr/>
            <p:nvPr/>
          </p:nvSpPr>
          <p:spPr>
            <a:xfrm>
              <a:off x="19979365" y="228598"/>
              <a:ext cx="435077" cy="435067"/>
            </a:xfrm>
            <a:custGeom>
              <a:avLst/>
              <a:gdLst>
                <a:gd name="connsiteX0" fmla="*/ 0 w 435077"/>
                <a:gd name="connsiteY0" fmla="*/ 435068 h 435067"/>
                <a:gd name="connsiteX1" fmla="*/ 217539 w 435077"/>
                <a:gd name="connsiteY1" fmla="*/ 435068 h 435067"/>
                <a:gd name="connsiteX2" fmla="*/ 217539 w 435077"/>
                <a:gd name="connsiteY2" fmla="*/ 217535 h 435067"/>
                <a:gd name="connsiteX3" fmla="*/ 0 w 435077"/>
                <a:gd name="connsiteY3" fmla="*/ 435068 h 435067"/>
                <a:gd name="connsiteX4" fmla="*/ 217539 w 435077"/>
                <a:gd name="connsiteY4" fmla="*/ 0 h 435067"/>
                <a:gd name="connsiteX5" fmla="*/ 0 w 435077"/>
                <a:gd name="connsiteY5" fmla="*/ 0 h 435067"/>
                <a:gd name="connsiteX6" fmla="*/ 217539 w 435077"/>
                <a:gd name="connsiteY6" fmla="*/ 217532 h 435067"/>
                <a:gd name="connsiteX7" fmla="*/ 217539 w 435077"/>
                <a:gd name="connsiteY7" fmla="*/ 0 h 435067"/>
                <a:gd name="connsiteX8" fmla="*/ 435077 w 435077"/>
                <a:gd name="connsiteY8" fmla="*/ 435068 h 435067"/>
                <a:gd name="connsiteX9" fmla="*/ 217539 w 435077"/>
                <a:gd name="connsiteY9" fmla="*/ 435068 h 435067"/>
                <a:gd name="connsiteX10" fmla="*/ 435077 w 435077"/>
                <a:gd name="connsiteY10" fmla="*/ 217535 h 435067"/>
                <a:gd name="connsiteX11" fmla="*/ 435077 w 435077"/>
                <a:gd name="connsiteY11" fmla="*/ 435068 h 435067"/>
                <a:gd name="connsiteX12" fmla="*/ 435077 w 435077"/>
                <a:gd name="connsiteY12" fmla="*/ 0 h 435067"/>
                <a:gd name="connsiteX13" fmla="*/ 217539 w 435077"/>
                <a:gd name="connsiteY13" fmla="*/ 0 h 435067"/>
                <a:gd name="connsiteX14" fmla="*/ 435077 w 435077"/>
                <a:gd name="connsiteY14" fmla="*/ 217532 h 435067"/>
                <a:gd name="connsiteX15" fmla="*/ 435077 w 435077"/>
                <a:gd name="connsiteY15" fmla="*/ 0 h 435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67">
                  <a:moveTo>
                    <a:pt x="0" y="435068"/>
                  </a:moveTo>
                  <a:lnTo>
                    <a:pt x="217539" y="435068"/>
                  </a:lnTo>
                  <a:lnTo>
                    <a:pt x="217539" y="217535"/>
                  </a:lnTo>
                  <a:lnTo>
                    <a:pt x="0" y="435068"/>
                  </a:lnTo>
                  <a:close/>
                  <a:moveTo>
                    <a:pt x="217539" y="0"/>
                  </a:moveTo>
                  <a:lnTo>
                    <a:pt x="0" y="0"/>
                  </a:lnTo>
                  <a:lnTo>
                    <a:pt x="217539" y="217532"/>
                  </a:lnTo>
                  <a:lnTo>
                    <a:pt x="217539" y="0"/>
                  </a:lnTo>
                  <a:close/>
                  <a:moveTo>
                    <a:pt x="435077" y="435068"/>
                  </a:moveTo>
                  <a:lnTo>
                    <a:pt x="217539" y="435068"/>
                  </a:lnTo>
                  <a:lnTo>
                    <a:pt x="435077" y="217535"/>
                  </a:lnTo>
                  <a:lnTo>
                    <a:pt x="435077" y="435068"/>
                  </a:lnTo>
                  <a:close/>
                  <a:moveTo>
                    <a:pt x="435077" y="0"/>
                  </a:moveTo>
                  <a:lnTo>
                    <a:pt x="217539" y="0"/>
                  </a:lnTo>
                  <a:lnTo>
                    <a:pt x="435077" y="217532"/>
                  </a:lnTo>
                  <a:lnTo>
                    <a:pt x="435077" y="0"/>
                  </a:lnTo>
                  <a:close/>
                </a:path>
              </a:pathLst>
            </a:custGeom>
            <a:grpFill/>
            <a:ln w="27192" cap="flat">
              <a:noFill/>
              <a:prstDash val="solid"/>
              <a:miter/>
            </a:ln>
          </p:spPr>
          <p:txBody>
            <a:bodyPr rtlCol="0" anchor="ctr"/>
            <a:lstStyle/>
            <a:p>
              <a:endParaRPr lang="uk-UA" sz="900"/>
            </a:p>
          </p:txBody>
        </p:sp>
        <p:sp>
          <p:nvSpPr>
            <p:cNvPr id="42" name="Freeform: Shape 41">
              <a:extLst>
                <a:ext uri="{FF2B5EF4-FFF2-40B4-BE49-F238E27FC236}">
                  <a16:creationId xmlns:a16="http://schemas.microsoft.com/office/drawing/2014/main" id="{0967BE5A-BEEA-3964-520A-2FEAF0152D5E}"/>
                </a:ext>
              </a:extLst>
            </p:cNvPr>
            <p:cNvSpPr/>
            <p:nvPr/>
          </p:nvSpPr>
          <p:spPr>
            <a:xfrm>
              <a:off x="21719702" y="228598"/>
              <a:ext cx="435077" cy="435073"/>
            </a:xfrm>
            <a:custGeom>
              <a:avLst/>
              <a:gdLst>
                <a:gd name="connsiteX0" fmla="*/ 371339 w 435077"/>
                <a:gd name="connsiteY0" fmla="*/ 63716 h 435073"/>
                <a:gd name="connsiteX1" fmla="*/ 435077 w 435077"/>
                <a:gd name="connsiteY1" fmla="*/ 217539 h 435073"/>
                <a:gd name="connsiteX2" fmla="*/ 218926 w 435077"/>
                <a:gd name="connsiteY2" fmla="*/ 217539 h 435073"/>
                <a:gd name="connsiteX3" fmla="*/ 371367 w 435077"/>
                <a:gd name="connsiteY3" fmla="*/ 281249 h 435073"/>
                <a:gd name="connsiteX4" fmla="*/ 435077 w 435077"/>
                <a:gd name="connsiteY4" fmla="*/ 435073 h 435073"/>
                <a:gd name="connsiteX5" fmla="*/ 217539 w 435077"/>
                <a:gd name="connsiteY5" fmla="*/ 435073 h 435073"/>
                <a:gd name="connsiteX6" fmla="*/ 0 w 435077"/>
                <a:gd name="connsiteY6" fmla="*/ 435073 h 435073"/>
                <a:gd name="connsiteX7" fmla="*/ 63712 w 435077"/>
                <a:gd name="connsiteY7" fmla="*/ 281249 h 435073"/>
                <a:gd name="connsiteX8" fmla="*/ 216125 w 435077"/>
                <a:gd name="connsiteY8" fmla="*/ 217539 h 435073"/>
                <a:gd name="connsiteX9" fmla="*/ 0 w 435077"/>
                <a:gd name="connsiteY9" fmla="*/ 217539 h 435073"/>
                <a:gd name="connsiteX10" fmla="*/ 63712 w 435077"/>
                <a:gd name="connsiteY10" fmla="*/ 63716 h 435073"/>
                <a:gd name="connsiteX11" fmla="*/ 217539 w 435077"/>
                <a:gd name="connsiteY11" fmla="*/ 0 h 435073"/>
                <a:gd name="connsiteX12" fmla="*/ 371339 w 435077"/>
                <a:gd name="connsiteY12" fmla="*/ 63716 h 43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3">
                  <a:moveTo>
                    <a:pt x="371339" y="63716"/>
                  </a:moveTo>
                  <a:cubicBezTo>
                    <a:pt x="412155" y="104512"/>
                    <a:pt x="435077" y="159844"/>
                    <a:pt x="435077" y="217539"/>
                  </a:cubicBezTo>
                  <a:lnTo>
                    <a:pt x="218926" y="217539"/>
                  </a:lnTo>
                  <a:cubicBezTo>
                    <a:pt x="276112" y="217907"/>
                    <a:pt x="330877" y="240784"/>
                    <a:pt x="371367" y="281249"/>
                  </a:cubicBezTo>
                  <a:cubicBezTo>
                    <a:pt x="412155" y="322046"/>
                    <a:pt x="435077" y="377379"/>
                    <a:pt x="435077" y="435073"/>
                  </a:cubicBezTo>
                  <a:lnTo>
                    <a:pt x="217539" y="435073"/>
                  </a:lnTo>
                  <a:lnTo>
                    <a:pt x="0" y="435073"/>
                  </a:lnTo>
                  <a:cubicBezTo>
                    <a:pt x="0" y="377379"/>
                    <a:pt x="22924" y="322046"/>
                    <a:pt x="63712" y="281249"/>
                  </a:cubicBezTo>
                  <a:cubicBezTo>
                    <a:pt x="104175" y="240784"/>
                    <a:pt x="158940" y="217907"/>
                    <a:pt x="216125" y="217539"/>
                  </a:cubicBezTo>
                  <a:lnTo>
                    <a:pt x="0" y="217539"/>
                  </a:lnTo>
                  <a:cubicBezTo>
                    <a:pt x="0" y="159844"/>
                    <a:pt x="22897" y="104512"/>
                    <a:pt x="63712" y="63716"/>
                  </a:cubicBezTo>
                  <a:cubicBezTo>
                    <a:pt x="104501" y="22919"/>
                    <a:pt x="159838" y="0"/>
                    <a:pt x="217539" y="0"/>
                  </a:cubicBezTo>
                  <a:cubicBezTo>
                    <a:pt x="275215" y="0"/>
                    <a:pt x="330550" y="22919"/>
                    <a:pt x="371339" y="63716"/>
                  </a:cubicBezTo>
                  <a:close/>
                </a:path>
              </a:pathLst>
            </a:custGeom>
            <a:grpFill/>
            <a:ln w="27192" cap="flat">
              <a:noFill/>
              <a:prstDash val="solid"/>
              <a:miter/>
            </a:ln>
          </p:spPr>
          <p:txBody>
            <a:bodyPr rtlCol="0" anchor="ctr"/>
            <a:lstStyle/>
            <a:p>
              <a:endParaRPr lang="uk-UA" sz="900"/>
            </a:p>
          </p:txBody>
        </p:sp>
        <p:sp>
          <p:nvSpPr>
            <p:cNvPr id="43" name="Freeform: Shape 42">
              <a:extLst>
                <a:ext uri="{FF2B5EF4-FFF2-40B4-BE49-F238E27FC236}">
                  <a16:creationId xmlns:a16="http://schemas.microsoft.com/office/drawing/2014/main" id="{23DDD96F-C468-5BA0-C323-CAAF3519FE06}"/>
                </a:ext>
              </a:extLst>
            </p:cNvPr>
            <p:cNvSpPr/>
            <p:nvPr/>
          </p:nvSpPr>
          <p:spPr>
            <a:xfrm>
              <a:off x="20849520" y="228598"/>
              <a:ext cx="435103" cy="435078"/>
            </a:xfrm>
            <a:custGeom>
              <a:avLst/>
              <a:gdLst>
                <a:gd name="connsiteX0" fmla="*/ 217539 w 435103"/>
                <a:gd name="connsiteY0" fmla="*/ 0 h 435078"/>
                <a:gd name="connsiteX1" fmla="*/ 0 w 435103"/>
                <a:gd name="connsiteY1" fmla="*/ 0 h 435078"/>
                <a:gd name="connsiteX2" fmla="*/ 0 w 435103"/>
                <a:gd name="connsiteY2" fmla="*/ 217539 h 435078"/>
                <a:gd name="connsiteX3" fmla="*/ 217539 w 435103"/>
                <a:gd name="connsiteY3" fmla="*/ 0 h 435078"/>
                <a:gd name="connsiteX4" fmla="*/ 435104 w 435103"/>
                <a:gd name="connsiteY4" fmla="*/ 0 h 435078"/>
                <a:gd name="connsiteX5" fmla="*/ 435104 w 435103"/>
                <a:gd name="connsiteY5" fmla="*/ 217539 h 435078"/>
                <a:gd name="connsiteX6" fmla="*/ 217565 w 435103"/>
                <a:gd name="connsiteY6" fmla="*/ 0 h 435078"/>
                <a:gd name="connsiteX7" fmla="*/ 435104 w 435103"/>
                <a:gd name="connsiteY7" fmla="*/ 0 h 435078"/>
                <a:gd name="connsiteX8" fmla="*/ 217565 w 435103"/>
                <a:gd name="connsiteY8" fmla="*/ 435079 h 435078"/>
                <a:gd name="connsiteX9" fmla="*/ 435104 w 435103"/>
                <a:gd name="connsiteY9" fmla="*/ 217539 h 435078"/>
                <a:gd name="connsiteX10" fmla="*/ 435104 w 435103"/>
                <a:gd name="connsiteY10" fmla="*/ 435079 h 435078"/>
                <a:gd name="connsiteX11" fmla="*/ 217565 w 435103"/>
                <a:gd name="connsiteY11" fmla="*/ 435079 h 435078"/>
                <a:gd name="connsiteX12" fmla="*/ 217565 w 435103"/>
                <a:gd name="connsiteY12" fmla="*/ 435079 h 435078"/>
                <a:gd name="connsiteX13" fmla="*/ 27 w 435103"/>
                <a:gd name="connsiteY13" fmla="*/ 217539 h 435078"/>
                <a:gd name="connsiteX14" fmla="*/ 27 w 435103"/>
                <a:gd name="connsiteY14" fmla="*/ 435079 h 435078"/>
                <a:gd name="connsiteX15" fmla="*/ 217565 w 435103"/>
                <a:gd name="connsiteY15" fmla="*/ 435079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3" h="435078">
                  <a:moveTo>
                    <a:pt x="217539" y="0"/>
                  </a:moveTo>
                  <a:lnTo>
                    <a:pt x="0" y="0"/>
                  </a:lnTo>
                  <a:lnTo>
                    <a:pt x="0" y="217539"/>
                  </a:lnTo>
                  <a:lnTo>
                    <a:pt x="217539" y="0"/>
                  </a:lnTo>
                  <a:close/>
                  <a:moveTo>
                    <a:pt x="435104" y="0"/>
                  </a:moveTo>
                  <a:lnTo>
                    <a:pt x="435104" y="217539"/>
                  </a:lnTo>
                  <a:lnTo>
                    <a:pt x="217565" y="0"/>
                  </a:lnTo>
                  <a:lnTo>
                    <a:pt x="435104" y="0"/>
                  </a:lnTo>
                  <a:close/>
                  <a:moveTo>
                    <a:pt x="217565" y="435079"/>
                  </a:moveTo>
                  <a:lnTo>
                    <a:pt x="435104" y="217539"/>
                  </a:lnTo>
                  <a:lnTo>
                    <a:pt x="435104" y="435079"/>
                  </a:lnTo>
                  <a:lnTo>
                    <a:pt x="217565" y="435079"/>
                  </a:lnTo>
                  <a:close/>
                  <a:moveTo>
                    <a:pt x="217565" y="435079"/>
                  </a:moveTo>
                  <a:lnTo>
                    <a:pt x="27" y="217539"/>
                  </a:lnTo>
                  <a:lnTo>
                    <a:pt x="27" y="435079"/>
                  </a:lnTo>
                  <a:lnTo>
                    <a:pt x="217565" y="435079"/>
                  </a:lnTo>
                  <a:close/>
                </a:path>
              </a:pathLst>
            </a:custGeom>
            <a:grpFill/>
            <a:ln w="27192" cap="flat">
              <a:noFill/>
              <a:prstDash val="solid"/>
              <a:miter/>
            </a:ln>
          </p:spPr>
          <p:txBody>
            <a:bodyPr rtlCol="0" anchor="ctr"/>
            <a:lstStyle/>
            <a:p>
              <a:endParaRPr lang="uk-UA" sz="900"/>
            </a:p>
          </p:txBody>
        </p:sp>
        <p:sp>
          <p:nvSpPr>
            <p:cNvPr id="44" name="Freeform: Shape 43">
              <a:extLst>
                <a:ext uri="{FF2B5EF4-FFF2-40B4-BE49-F238E27FC236}">
                  <a16:creationId xmlns:a16="http://schemas.microsoft.com/office/drawing/2014/main" id="{429DFBD4-D1C5-C9AA-B75C-F1EBAEE7F4D4}"/>
                </a:ext>
              </a:extLst>
            </p:cNvPr>
            <p:cNvSpPr/>
            <p:nvPr/>
          </p:nvSpPr>
          <p:spPr>
            <a:xfrm>
              <a:off x="22589856" y="228598"/>
              <a:ext cx="435077" cy="435075"/>
            </a:xfrm>
            <a:custGeom>
              <a:avLst/>
              <a:gdLst>
                <a:gd name="connsiteX0" fmla="*/ 217539 w 435077"/>
                <a:gd name="connsiteY0" fmla="*/ 217533 h 435075"/>
                <a:gd name="connsiteX1" fmla="*/ 217539 w 435077"/>
                <a:gd name="connsiteY1" fmla="*/ 0 h 435075"/>
                <a:gd name="connsiteX2" fmla="*/ 0 w 435077"/>
                <a:gd name="connsiteY2" fmla="*/ 0 h 435075"/>
                <a:gd name="connsiteX3" fmla="*/ 217539 w 435077"/>
                <a:gd name="connsiteY3" fmla="*/ 217538 h 435075"/>
                <a:gd name="connsiteX4" fmla="*/ 0 w 435077"/>
                <a:gd name="connsiteY4" fmla="*/ 435076 h 435075"/>
                <a:gd name="connsiteX5" fmla="*/ 217539 w 435077"/>
                <a:gd name="connsiteY5" fmla="*/ 435076 h 435075"/>
                <a:gd name="connsiteX6" fmla="*/ 217539 w 435077"/>
                <a:gd name="connsiteY6" fmla="*/ 435071 h 435075"/>
                <a:gd name="connsiteX7" fmla="*/ 435077 w 435077"/>
                <a:gd name="connsiteY7" fmla="*/ 217542 h 435075"/>
                <a:gd name="connsiteX8" fmla="*/ 435077 w 435077"/>
                <a:gd name="connsiteY8" fmla="*/ 217542 h 435075"/>
                <a:gd name="connsiteX9" fmla="*/ 435077 w 435077"/>
                <a:gd name="connsiteY9" fmla="*/ 217537 h 435075"/>
                <a:gd name="connsiteX10" fmla="*/ 435077 w 435077"/>
                <a:gd name="connsiteY10" fmla="*/ 217533 h 435075"/>
                <a:gd name="connsiteX11" fmla="*/ 435077 w 435077"/>
                <a:gd name="connsiteY11" fmla="*/ 217533 h 435075"/>
                <a:gd name="connsiteX12" fmla="*/ 217539 w 435077"/>
                <a:gd name="connsiteY12" fmla="*/ 4 h 435075"/>
                <a:gd name="connsiteX13" fmla="*/ 217539 w 435077"/>
                <a:gd name="connsiteY13" fmla="*/ 217533 h 435075"/>
                <a:gd name="connsiteX14" fmla="*/ 217539 w 435077"/>
                <a:gd name="connsiteY14" fmla="*/ 217533 h 43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5">
                  <a:moveTo>
                    <a:pt x="217539" y="217533"/>
                  </a:moveTo>
                  <a:lnTo>
                    <a:pt x="217539" y="0"/>
                  </a:lnTo>
                  <a:lnTo>
                    <a:pt x="0" y="0"/>
                  </a:lnTo>
                  <a:lnTo>
                    <a:pt x="217539" y="217538"/>
                  </a:lnTo>
                  <a:lnTo>
                    <a:pt x="0" y="435076"/>
                  </a:lnTo>
                  <a:lnTo>
                    <a:pt x="217539" y="435076"/>
                  </a:lnTo>
                  <a:lnTo>
                    <a:pt x="217539" y="435071"/>
                  </a:lnTo>
                  <a:lnTo>
                    <a:pt x="435077" y="217542"/>
                  </a:lnTo>
                  <a:lnTo>
                    <a:pt x="435077" y="217542"/>
                  </a:lnTo>
                  <a:lnTo>
                    <a:pt x="435077" y="217537"/>
                  </a:lnTo>
                  <a:lnTo>
                    <a:pt x="435077" y="217533"/>
                  </a:lnTo>
                  <a:lnTo>
                    <a:pt x="435077" y="217533"/>
                  </a:lnTo>
                  <a:lnTo>
                    <a:pt x="217539" y="4"/>
                  </a:lnTo>
                  <a:lnTo>
                    <a:pt x="217539" y="217533"/>
                  </a:lnTo>
                  <a:lnTo>
                    <a:pt x="217539" y="217533"/>
                  </a:lnTo>
                  <a:close/>
                </a:path>
              </a:pathLst>
            </a:custGeom>
            <a:grpFill/>
            <a:ln w="27192" cap="flat">
              <a:noFill/>
              <a:prstDash val="solid"/>
              <a:miter/>
            </a:ln>
          </p:spPr>
          <p:txBody>
            <a:bodyPr rtlCol="0" anchor="ctr"/>
            <a:lstStyle/>
            <a:p>
              <a:endParaRPr lang="uk-UA" sz="900"/>
            </a:p>
          </p:txBody>
        </p:sp>
        <p:sp>
          <p:nvSpPr>
            <p:cNvPr id="45" name="Freeform: Shape 44">
              <a:extLst>
                <a:ext uri="{FF2B5EF4-FFF2-40B4-BE49-F238E27FC236}">
                  <a16:creationId xmlns:a16="http://schemas.microsoft.com/office/drawing/2014/main" id="{7F13CF4C-53AA-E6CF-79F1-4E3D1793023E}"/>
                </a:ext>
              </a:extLst>
            </p:cNvPr>
            <p:cNvSpPr/>
            <p:nvPr/>
          </p:nvSpPr>
          <p:spPr>
            <a:xfrm>
              <a:off x="23460039" y="228598"/>
              <a:ext cx="435077" cy="435067"/>
            </a:xfrm>
            <a:custGeom>
              <a:avLst/>
              <a:gdLst>
                <a:gd name="connsiteX0" fmla="*/ 0 w 435077"/>
                <a:gd name="connsiteY0" fmla="*/ 435065 h 435067"/>
                <a:gd name="connsiteX1" fmla="*/ 217510 w 435077"/>
                <a:gd name="connsiteY1" fmla="*/ 435068 h 435067"/>
                <a:gd name="connsiteX2" fmla="*/ 217510 w 435077"/>
                <a:gd name="connsiteY2" fmla="*/ 217535 h 435067"/>
                <a:gd name="connsiteX3" fmla="*/ 0 w 435077"/>
                <a:gd name="connsiteY3" fmla="*/ 435065 h 435067"/>
                <a:gd name="connsiteX4" fmla="*/ 217539 w 435077"/>
                <a:gd name="connsiteY4" fmla="*/ 0 h 435067"/>
                <a:gd name="connsiteX5" fmla="*/ 0 w 435077"/>
                <a:gd name="connsiteY5" fmla="*/ 0 h 435067"/>
                <a:gd name="connsiteX6" fmla="*/ 217539 w 435077"/>
                <a:gd name="connsiteY6" fmla="*/ 217532 h 435067"/>
                <a:gd name="connsiteX7" fmla="*/ 217539 w 435077"/>
                <a:gd name="connsiteY7" fmla="*/ 0 h 435067"/>
                <a:gd name="connsiteX8" fmla="*/ 435077 w 435077"/>
                <a:gd name="connsiteY8" fmla="*/ 435068 h 435067"/>
                <a:gd name="connsiteX9" fmla="*/ 217539 w 435077"/>
                <a:gd name="connsiteY9" fmla="*/ 435068 h 435067"/>
                <a:gd name="connsiteX10" fmla="*/ 435077 w 435077"/>
                <a:gd name="connsiteY10" fmla="*/ 217535 h 435067"/>
                <a:gd name="connsiteX11" fmla="*/ 435077 w 435077"/>
                <a:gd name="connsiteY11" fmla="*/ 435068 h 435067"/>
                <a:gd name="connsiteX12" fmla="*/ 435077 w 435077"/>
                <a:gd name="connsiteY12" fmla="*/ 0 h 435067"/>
                <a:gd name="connsiteX13" fmla="*/ 217539 w 435077"/>
                <a:gd name="connsiteY13" fmla="*/ 0 h 435067"/>
                <a:gd name="connsiteX14" fmla="*/ 435077 w 435077"/>
                <a:gd name="connsiteY14" fmla="*/ 217532 h 435067"/>
                <a:gd name="connsiteX15" fmla="*/ 435077 w 435077"/>
                <a:gd name="connsiteY15" fmla="*/ 0 h 435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67">
                  <a:moveTo>
                    <a:pt x="0" y="435065"/>
                  </a:moveTo>
                  <a:lnTo>
                    <a:pt x="217510" y="435068"/>
                  </a:lnTo>
                  <a:lnTo>
                    <a:pt x="217510" y="217535"/>
                  </a:lnTo>
                  <a:lnTo>
                    <a:pt x="0" y="435065"/>
                  </a:lnTo>
                  <a:close/>
                  <a:moveTo>
                    <a:pt x="217539" y="0"/>
                  </a:moveTo>
                  <a:lnTo>
                    <a:pt x="0" y="0"/>
                  </a:lnTo>
                  <a:lnTo>
                    <a:pt x="217539" y="217532"/>
                  </a:lnTo>
                  <a:lnTo>
                    <a:pt x="217539" y="0"/>
                  </a:lnTo>
                  <a:close/>
                  <a:moveTo>
                    <a:pt x="435077" y="435068"/>
                  </a:moveTo>
                  <a:lnTo>
                    <a:pt x="217539" y="435068"/>
                  </a:lnTo>
                  <a:lnTo>
                    <a:pt x="435077" y="217535"/>
                  </a:lnTo>
                  <a:lnTo>
                    <a:pt x="435077" y="435068"/>
                  </a:lnTo>
                  <a:close/>
                  <a:moveTo>
                    <a:pt x="435077" y="0"/>
                  </a:moveTo>
                  <a:lnTo>
                    <a:pt x="217539" y="0"/>
                  </a:lnTo>
                  <a:lnTo>
                    <a:pt x="435077" y="217532"/>
                  </a:lnTo>
                  <a:lnTo>
                    <a:pt x="435077" y="0"/>
                  </a:lnTo>
                  <a:close/>
                </a:path>
              </a:pathLst>
            </a:custGeom>
            <a:grpFill/>
            <a:ln w="27192" cap="flat">
              <a:noFill/>
              <a:prstDash val="solid"/>
              <a:miter/>
            </a:ln>
          </p:spPr>
          <p:txBody>
            <a:bodyPr rtlCol="0" anchor="ctr"/>
            <a:lstStyle/>
            <a:p>
              <a:endParaRPr lang="uk-UA" sz="900"/>
            </a:p>
          </p:txBody>
        </p:sp>
        <p:sp>
          <p:nvSpPr>
            <p:cNvPr id="46" name="Freeform: Shape 45">
              <a:extLst>
                <a:ext uri="{FF2B5EF4-FFF2-40B4-BE49-F238E27FC236}">
                  <a16:creationId xmlns:a16="http://schemas.microsoft.com/office/drawing/2014/main" id="{EC2D71C1-296F-446C-B2A9-E97C23CA8637}"/>
                </a:ext>
              </a:extLst>
            </p:cNvPr>
            <p:cNvSpPr/>
            <p:nvPr/>
          </p:nvSpPr>
          <p:spPr>
            <a:xfrm>
              <a:off x="24330194" y="228598"/>
              <a:ext cx="435077" cy="435078"/>
            </a:xfrm>
            <a:custGeom>
              <a:avLst/>
              <a:gdLst>
                <a:gd name="connsiteX0" fmla="*/ 217539 w 435077"/>
                <a:gd name="connsiteY0" fmla="*/ 0 h 435078"/>
                <a:gd name="connsiteX1" fmla="*/ 0 w 435077"/>
                <a:gd name="connsiteY1" fmla="*/ 0 h 435078"/>
                <a:gd name="connsiteX2" fmla="*/ 0 w 435077"/>
                <a:gd name="connsiteY2" fmla="*/ 217539 h 435078"/>
                <a:gd name="connsiteX3" fmla="*/ 0 w 435077"/>
                <a:gd name="connsiteY3" fmla="*/ 435079 h 435078"/>
                <a:gd name="connsiteX4" fmla="*/ 217539 w 435077"/>
                <a:gd name="connsiteY4" fmla="*/ 435079 h 435078"/>
                <a:gd name="connsiteX5" fmla="*/ 435077 w 435077"/>
                <a:gd name="connsiteY5" fmla="*/ 435079 h 435078"/>
                <a:gd name="connsiteX6" fmla="*/ 435077 w 435077"/>
                <a:gd name="connsiteY6" fmla="*/ 217539 h 435078"/>
                <a:gd name="connsiteX7" fmla="*/ 435077 w 435077"/>
                <a:gd name="connsiteY7" fmla="*/ 0 h 435078"/>
                <a:gd name="connsiteX8" fmla="*/ 217539 w 435077"/>
                <a:gd name="connsiteY8" fmla="*/ 0 h 435078"/>
                <a:gd name="connsiteX9" fmla="*/ 217539 w 435077"/>
                <a:gd name="connsiteY9" fmla="*/ 0 h 435078"/>
                <a:gd name="connsiteX10" fmla="*/ 435077 w 435077"/>
                <a:gd name="connsiteY10" fmla="*/ 217539 h 435078"/>
                <a:gd name="connsiteX11" fmla="*/ 217539 w 435077"/>
                <a:gd name="connsiteY11" fmla="*/ 435079 h 435078"/>
                <a:gd name="connsiteX12" fmla="*/ 0 w 435077"/>
                <a:gd name="connsiteY12" fmla="*/ 217539 h 435078"/>
                <a:gd name="connsiteX13" fmla="*/ 217539 w 435077"/>
                <a:gd name="connsiteY13"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8">
                  <a:moveTo>
                    <a:pt x="217539" y="0"/>
                  </a:moveTo>
                  <a:lnTo>
                    <a:pt x="0" y="0"/>
                  </a:lnTo>
                  <a:lnTo>
                    <a:pt x="0" y="217539"/>
                  </a:lnTo>
                  <a:lnTo>
                    <a:pt x="0" y="435079"/>
                  </a:lnTo>
                  <a:lnTo>
                    <a:pt x="217539" y="435079"/>
                  </a:lnTo>
                  <a:lnTo>
                    <a:pt x="435077" y="435079"/>
                  </a:lnTo>
                  <a:lnTo>
                    <a:pt x="435077" y="217539"/>
                  </a:lnTo>
                  <a:lnTo>
                    <a:pt x="435077" y="0"/>
                  </a:lnTo>
                  <a:lnTo>
                    <a:pt x="217539" y="0"/>
                  </a:lnTo>
                  <a:close/>
                  <a:moveTo>
                    <a:pt x="217539" y="0"/>
                  </a:moveTo>
                  <a:lnTo>
                    <a:pt x="435077" y="217539"/>
                  </a:lnTo>
                  <a:lnTo>
                    <a:pt x="217539" y="435079"/>
                  </a:lnTo>
                  <a:lnTo>
                    <a:pt x="0" y="217539"/>
                  </a:lnTo>
                  <a:lnTo>
                    <a:pt x="217539" y="0"/>
                  </a:lnTo>
                  <a:close/>
                </a:path>
              </a:pathLst>
            </a:custGeom>
            <a:grpFill/>
            <a:ln w="27192" cap="flat">
              <a:noFill/>
              <a:prstDash val="solid"/>
              <a:miter/>
            </a:ln>
          </p:spPr>
          <p:txBody>
            <a:bodyPr rtlCol="0" anchor="ctr"/>
            <a:lstStyle/>
            <a:p>
              <a:endParaRPr lang="uk-UA" sz="900"/>
            </a:p>
          </p:txBody>
        </p:sp>
        <p:sp>
          <p:nvSpPr>
            <p:cNvPr id="47" name="Freeform: Shape 46">
              <a:extLst>
                <a:ext uri="{FF2B5EF4-FFF2-40B4-BE49-F238E27FC236}">
                  <a16:creationId xmlns:a16="http://schemas.microsoft.com/office/drawing/2014/main" id="{6307F016-4B09-C252-1705-8B46F39BAB43}"/>
                </a:ext>
              </a:extLst>
            </p:cNvPr>
            <p:cNvSpPr/>
            <p:nvPr/>
          </p:nvSpPr>
          <p:spPr>
            <a:xfrm>
              <a:off x="835769" y="1098754"/>
              <a:ext cx="435077" cy="435077"/>
            </a:xfrm>
            <a:custGeom>
              <a:avLst/>
              <a:gdLst>
                <a:gd name="connsiteX0" fmla="*/ 63711 w 435077"/>
                <a:gd name="connsiteY0" fmla="*/ 153824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4 h 435077"/>
                <a:gd name="connsiteX5" fmla="*/ 217539 w 435077"/>
                <a:gd name="connsiteY5" fmla="*/ 217539 h 435077"/>
                <a:gd name="connsiteX6" fmla="*/ 63711 w 435077"/>
                <a:gd name="connsiteY6" fmla="*/ 153824 h 435077"/>
                <a:gd name="connsiteX7" fmla="*/ 63711 w 435077"/>
                <a:gd name="connsiteY7" fmla="*/ 281256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6 h 435077"/>
                <a:gd name="connsiteX12" fmla="*/ 217539 w 435077"/>
                <a:gd name="connsiteY12" fmla="*/ 217539 h 435077"/>
                <a:gd name="connsiteX13" fmla="*/ 63711 w 435077"/>
                <a:gd name="connsiteY13" fmla="*/ 281256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1" y="153824"/>
                  </a:moveTo>
                  <a:cubicBezTo>
                    <a:pt x="22923" y="113028"/>
                    <a:pt x="0" y="57697"/>
                    <a:pt x="0" y="0"/>
                  </a:cubicBezTo>
                  <a:lnTo>
                    <a:pt x="217539" y="0"/>
                  </a:lnTo>
                  <a:lnTo>
                    <a:pt x="435077" y="0"/>
                  </a:lnTo>
                  <a:cubicBezTo>
                    <a:pt x="435077" y="57697"/>
                    <a:pt x="412154" y="113028"/>
                    <a:pt x="371366" y="153824"/>
                  </a:cubicBezTo>
                  <a:cubicBezTo>
                    <a:pt x="330550" y="194621"/>
                    <a:pt x="275213" y="217539"/>
                    <a:pt x="217539" y="217539"/>
                  </a:cubicBezTo>
                  <a:cubicBezTo>
                    <a:pt x="159836" y="217539"/>
                    <a:pt x="104500" y="194621"/>
                    <a:pt x="63711" y="153824"/>
                  </a:cubicBezTo>
                  <a:close/>
                  <a:moveTo>
                    <a:pt x="63711" y="281256"/>
                  </a:moveTo>
                  <a:cubicBezTo>
                    <a:pt x="22923" y="322052"/>
                    <a:pt x="0" y="377383"/>
                    <a:pt x="0" y="435077"/>
                  </a:cubicBezTo>
                  <a:lnTo>
                    <a:pt x="217539" y="435077"/>
                  </a:lnTo>
                  <a:lnTo>
                    <a:pt x="435077" y="435077"/>
                  </a:lnTo>
                  <a:cubicBezTo>
                    <a:pt x="435077" y="377383"/>
                    <a:pt x="412154" y="322052"/>
                    <a:pt x="371366" y="281256"/>
                  </a:cubicBezTo>
                  <a:cubicBezTo>
                    <a:pt x="330550" y="240459"/>
                    <a:pt x="275213" y="217539"/>
                    <a:pt x="217539" y="217539"/>
                  </a:cubicBezTo>
                  <a:cubicBezTo>
                    <a:pt x="159836" y="217539"/>
                    <a:pt x="104500" y="240459"/>
                    <a:pt x="63711" y="281256"/>
                  </a:cubicBezTo>
                  <a:close/>
                </a:path>
              </a:pathLst>
            </a:custGeom>
            <a:grpFill/>
            <a:ln w="27192" cap="flat">
              <a:noFill/>
              <a:prstDash val="solid"/>
              <a:miter/>
            </a:ln>
          </p:spPr>
          <p:txBody>
            <a:bodyPr rtlCol="0" anchor="ctr"/>
            <a:lstStyle/>
            <a:p>
              <a:endParaRPr lang="uk-UA" sz="900"/>
            </a:p>
          </p:txBody>
        </p:sp>
        <p:sp>
          <p:nvSpPr>
            <p:cNvPr id="48" name="Freeform: Shape 47">
              <a:extLst>
                <a:ext uri="{FF2B5EF4-FFF2-40B4-BE49-F238E27FC236}">
                  <a16:creationId xmlns:a16="http://schemas.microsoft.com/office/drawing/2014/main" id="{8AB4E4EF-DCCC-C4A9-710D-3F02BFEA4DDD}"/>
                </a:ext>
              </a:extLst>
            </p:cNvPr>
            <p:cNvSpPr/>
            <p:nvPr/>
          </p:nvSpPr>
          <p:spPr>
            <a:xfrm>
              <a:off x="-34398" y="1098754"/>
              <a:ext cx="435063" cy="435077"/>
            </a:xfrm>
            <a:custGeom>
              <a:avLst/>
              <a:gdLst>
                <a:gd name="connsiteX0" fmla="*/ 435064 w 435063"/>
                <a:gd name="connsiteY0" fmla="*/ 435077 h 435077"/>
                <a:gd name="connsiteX1" fmla="*/ 435064 w 435063"/>
                <a:gd name="connsiteY1" fmla="*/ 0 h 435077"/>
                <a:gd name="connsiteX2" fmla="*/ 217552 w 435063"/>
                <a:gd name="connsiteY2" fmla="*/ 217544 h 435077"/>
                <a:gd name="connsiteX3" fmla="*/ 435064 w 435063"/>
                <a:gd name="connsiteY3" fmla="*/ 435077 h 435077"/>
                <a:gd name="connsiteX4" fmla="*/ 0 w 435063"/>
                <a:gd name="connsiteY4" fmla="*/ 435077 h 435077"/>
                <a:gd name="connsiteX5" fmla="*/ 0 w 435063"/>
                <a:gd name="connsiteY5" fmla="*/ 3 h 435077"/>
                <a:gd name="connsiteX6" fmla="*/ 217525 w 435063"/>
                <a:gd name="connsiteY6" fmla="*/ 217544 h 435077"/>
                <a:gd name="connsiteX7" fmla="*/ 0 w 435063"/>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63" h="435077">
                  <a:moveTo>
                    <a:pt x="435064" y="435077"/>
                  </a:moveTo>
                  <a:lnTo>
                    <a:pt x="435064" y="0"/>
                  </a:lnTo>
                  <a:lnTo>
                    <a:pt x="217552" y="217544"/>
                  </a:lnTo>
                  <a:lnTo>
                    <a:pt x="435064" y="435077"/>
                  </a:lnTo>
                  <a:close/>
                  <a:moveTo>
                    <a:pt x="0" y="435077"/>
                  </a:moveTo>
                  <a:lnTo>
                    <a:pt x="0" y="3"/>
                  </a:lnTo>
                  <a:lnTo>
                    <a:pt x="217525" y="217544"/>
                  </a:lnTo>
                  <a:lnTo>
                    <a:pt x="0" y="435077"/>
                  </a:lnTo>
                  <a:close/>
                </a:path>
              </a:pathLst>
            </a:custGeom>
            <a:grpFill/>
            <a:ln w="27192" cap="flat">
              <a:noFill/>
              <a:prstDash val="solid"/>
              <a:miter/>
            </a:ln>
          </p:spPr>
          <p:txBody>
            <a:bodyPr rtlCol="0" anchor="ctr"/>
            <a:lstStyle/>
            <a:p>
              <a:endParaRPr lang="uk-UA" sz="900"/>
            </a:p>
          </p:txBody>
        </p:sp>
        <p:sp>
          <p:nvSpPr>
            <p:cNvPr id="49" name="Freeform: Shape 48">
              <a:extLst>
                <a:ext uri="{FF2B5EF4-FFF2-40B4-BE49-F238E27FC236}">
                  <a16:creationId xmlns:a16="http://schemas.microsoft.com/office/drawing/2014/main" id="{5D73CBA5-F1F4-FC45-54A8-5E36DEAD5FE9}"/>
                </a:ext>
              </a:extLst>
            </p:cNvPr>
            <p:cNvSpPr/>
            <p:nvPr/>
          </p:nvSpPr>
          <p:spPr>
            <a:xfrm>
              <a:off x="1705924" y="1098754"/>
              <a:ext cx="435077" cy="435077"/>
            </a:xfrm>
            <a:custGeom>
              <a:avLst/>
              <a:gdLst>
                <a:gd name="connsiteX0" fmla="*/ 435077 w 435077"/>
                <a:gd name="connsiteY0" fmla="*/ 435077 h 435077"/>
                <a:gd name="connsiteX1" fmla="*/ 435077 w 435077"/>
                <a:gd name="connsiteY1" fmla="*/ 217547 h 435077"/>
                <a:gd name="connsiteX2" fmla="*/ 435077 w 435077"/>
                <a:gd name="connsiteY2" fmla="*/ 16 h 435077"/>
                <a:gd name="connsiteX3" fmla="*/ 217566 w 435077"/>
                <a:gd name="connsiteY3" fmla="*/ 16 h 435077"/>
                <a:gd name="connsiteX4" fmla="*/ 435077 w 435077"/>
                <a:gd name="connsiteY4" fmla="*/ 217547 h 435077"/>
                <a:gd name="connsiteX5" fmla="*/ 217566 w 435077"/>
                <a:gd name="connsiteY5" fmla="*/ 435077 h 435077"/>
                <a:gd name="connsiteX6" fmla="*/ 435077 w 435077"/>
                <a:gd name="connsiteY6" fmla="*/ 435077 h 435077"/>
                <a:gd name="connsiteX7" fmla="*/ 0 w 435077"/>
                <a:gd name="connsiteY7" fmla="*/ 217531 h 435077"/>
                <a:gd name="connsiteX8" fmla="*/ 0 w 435077"/>
                <a:gd name="connsiteY8" fmla="*/ 0 h 435077"/>
                <a:gd name="connsiteX9" fmla="*/ 217539 w 435077"/>
                <a:gd name="connsiteY9" fmla="*/ 217531 h 435077"/>
                <a:gd name="connsiteX10" fmla="*/ 0 w 435077"/>
                <a:gd name="connsiteY10" fmla="*/ 217531 h 435077"/>
                <a:gd name="connsiteX11" fmla="*/ 0 w 435077"/>
                <a:gd name="connsiteY11" fmla="*/ 435072 h 435077"/>
                <a:gd name="connsiteX12" fmla="*/ 0 w 435077"/>
                <a:gd name="connsiteY12" fmla="*/ 217541 h 435077"/>
                <a:gd name="connsiteX13" fmla="*/ 217539 w 435077"/>
                <a:gd name="connsiteY13" fmla="*/ 217541 h 435077"/>
                <a:gd name="connsiteX14" fmla="*/ 0 w 435077"/>
                <a:gd name="connsiteY14" fmla="*/ 43507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47"/>
                  </a:lnTo>
                  <a:lnTo>
                    <a:pt x="435077" y="16"/>
                  </a:lnTo>
                  <a:lnTo>
                    <a:pt x="217566" y="16"/>
                  </a:lnTo>
                  <a:lnTo>
                    <a:pt x="435077" y="217547"/>
                  </a:lnTo>
                  <a:lnTo>
                    <a:pt x="217566" y="435077"/>
                  </a:lnTo>
                  <a:lnTo>
                    <a:pt x="435077" y="435077"/>
                  </a:lnTo>
                  <a:close/>
                  <a:moveTo>
                    <a:pt x="0" y="217531"/>
                  </a:moveTo>
                  <a:lnTo>
                    <a:pt x="0" y="0"/>
                  </a:lnTo>
                  <a:lnTo>
                    <a:pt x="217539" y="217531"/>
                  </a:lnTo>
                  <a:lnTo>
                    <a:pt x="0" y="217531"/>
                  </a:lnTo>
                  <a:close/>
                  <a:moveTo>
                    <a:pt x="0" y="435072"/>
                  </a:moveTo>
                  <a:lnTo>
                    <a:pt x="0" y="217541"/>
                  </a:lnTo>
                  <a:lnTo>
                    <a:pt x="217539" y="217541"/>
                  </a:lnTo>
                  <a:lnTo>
                    <a:pt x="0" y="435072"/>
                  </a:lnTo>
                  <a:close/>
                </a:path>
              </a:pathLst>
            </a:custGeom>
            <a:grpFill/>
            <a:ln w="27192" cap="flat">
              <a:noFill/>
              <a:prstDash val="solid"/>
              <a:miter/>
            </a:ln>
          </p:spPr>
          <p:txBody>
            <a:bodyPr rtlCol="0" anchor="ctr"/>
            <a:lstStyle/>
            <a:p>
              <a:endParaRPr lang="uk-UA" sz="900"/>
            </a:p>
          </p:txBody>
        </p:sp>
        <p:sp>
          <p:nvSpPr>
            <p:cNvPr id="50" name="Freeform: Shape 49">
              <a:extLst>
                <a:ext uri="{FF2B5EF4-FFF2-40B4-BE49-F238E27FC236}">
                  <a16:creationId xmlns:a16="http://schemas.microsoft.com/office/drawing/2014/main" id="{8F36FA65-5240-ABCB-F19F-3498C3B7931F}"/>
                </a:ext>
              </a:extLst>
            </p:cNvPr>
            <p:cNvSpPr/>
            <p:nvPr/>
          </p:nvSpPr>
          <p:spPr>
            <a:xfrm>
              <a:off x="2576106" y="1098754"/>
              <a:ext cx="435077" cy="435077"/>
            </a:xfrm>
            <a:custGeom>
              <a:avLst/>
              <a:gdLst>
                <a:gd name="connsiteX0" fmla="*/ 217539 w 435077"/>
                <a:gd name="connsiteY0" fmla="*/ 435069 h 435077"/>
                <a:gd name="connsiteX1" fmla="*/ 217539 w 435077"/>
                <a:gd name="connsiteY1" fmla="*/ 0 h 435077"/>
                <a:gd name="connsiteX2" fmla="*/ 435077 w 435077"/>
                <a:gd name="connsiteY2" fmla="*/ 217541 h 435077"/>
                <a:gd name="connsiteX3" fmla="*/ 217539 w 435077"/>
                <a:gd name="connsiteY3" fmla="*/ 435069 h 435077"/>
                <a:gd name="connsiteX4" fmla="*/ 0 w 435077"/>
                <a:gd name="connsiteY4" fmla="*/ 435077 h 435077"/>
                <a:gd name="connsiteX5" fmla="*/ 0 w 435077"/>
                <a:gd name="connsiteY5" fmla="*/ 8 h 435077"/>
                <a:gd name="connsiteX6" fmla="*/ 217512 w 435077"/>
                <a:gd name="connsiteY6" fmla="*/ 217547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69"/>
                  </a:moveTo>
                  <a:lnTo>
                    <a:pt x="217539" y="0"/>
                  </a:lnTo>
                  <a:lnTo>
                    <a:pt x="435077" y="217541"/>
                  </a:lnTo>
                  <a:lnTo>
                    <a:pt x="217539" y="435069"/>
                  </a:lnTo>
                  <a:close/>
                  <a:moveTo>
                    <a:pt x="0" y="435077"/>
                  </a:moveTo>
                  <a:lnTo>
                    <a:pt x="0" y="8"/>
                  </a:lnTo>
                  <a:lnTo>
                    <a:pt x="217512" y="217547"/>
                  </a:lnTo>
                  <a:lnTo>
                    <a:pt x="0" y="435077"/>
                  </a:lnTo>
                  <a:close/>
                </a:path>
              </a:pathLst>
            </a:custGeom>
            <a:grpFill/>
            <a:ln w="27192" cap="flat">
              <a:noFill/>
              <a:prstDash val="solid"/>
              <a:miter/>
            </a:ln>
          </p:spPr>
          <p:txBody>
            <a:bodyPr rtlCol="0" anchor="ctr"/>
            <a:lstStyle/>
            <a:p>
              <a:endParaRPr lang="uk-UA" sz="900"/>
            </a:p>
          </p:txBody>
        </p:sp>
        <p:sp>
          <p:nvSpPr>
            <p:cNvPr id="51" name="Freeform: Shape 50">
              <a:extLst>
                <a:ext uri="{FF2B5EF4-FFF2-40B4-BE49-F238E27FC236}">
                  <a16:creationId xmlns:a16="http://schemas.microsoft.com/office/drawing/2014/main" id="{F17A33E8-B0D1-E32F-B76E-218D92475FE0}"/>
                </a:ext>
              </a:extLst>
            </p:cNvPr>
            <p:cNvSpPr/>
            <p:nvPr/>
          </p:nvSpPr>
          <p:spPr>
            <a:xfrm>
              <a:off x="4316416" y="1098754"/>
              <a:ext cx="435077" cy="435077"/>
            </a:xfrm>
            <a:custGeom>
              <a:avLst/>
              <a:gdLst>
                <a:gd name="connsiteX0" fmla="*/ 63739 w 435077"/>
                <a:gd name="connsiteY0" fmla="*/ 153824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4 h 435077"/>
                <a:gd name="connsiteX5" fmla="*/ 217539 w 435077"/>
                <a:gd name="connsiteY5" fmla="*/ 217539 h 435077"/>
                <a:gd name="connsiteX6" fmla="*/ 63739 w 435077"/>
                <a:gd name="connsiteY6" fmla="*/ 153824 h 435077"/>
                <a:gd name="connsiteX7" fmla="*/ 63739 w 435077"/>
                <a:gd name="connsiteY7" fmla="*/ 281256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6 h 435077"/>
                <a:gd name="connsiteX12" fmla="*/ 217539 w 435077"/>
                <a:gd name="connsiteY12" fmla="*/ 217539 h 435077"/>
                <a:gd name="connsiteX13" fmla="*/ 63739 w 435077"/>
                <a:gd name="connsiteY13" fmla="*/ 281256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4"/>
                  </a:moveTo>
                  <a:cubicBezTo>
                    <a:pt x="22923" y="113028"/>
                    <a:pt x="0" y="57697"/>
                    <a:pt x="0" y="0"/>
                  </a:cubicBezTo>
                  <a:lnTo>
                    <a:pt x="217539" y="0"/>
                  </a:lnTo>
                  <a:lnTo>
                    <a:pt x="435077" y="0"/>
                  </a:lnTo>
                  <a:cubicBezTo>
                    <a:pt x="435077" y="57697"/>
                    <a:pt x="412181" y="113028"/>
                    <a:pt x="371365" y="153824"/>
                  </a:cubicBezTo>
                  <a:cubicBezTo>
                    <a:pt x="330577" y="194621"/>
                    <a:pt x="275240" y="217539"/>
                    <a:pt x="217539" y="217539"/>
                  </a:cubicBezTo>
                  <a:cubicBezTo>
                    <a:pt x="159864" y="217539"/>
                    <a:pt x="104527" y="194621"/>
                    <a:pt x="63739" y="153824"/>
                  </a:cubicBezTo>
                  <a:close/>
                  <a:moveTo>
                    <a:pt x="63739" y="281256"/>
                  </a:moveTo>
                  <a:cubicBezTo>
                    <a:pt x="22923" y="322052"/>
                    <a:pt x="0" y="377383"/>
                    <a:pt x="0" y="435077"/>
                  </a:cubicBezTo>
                  <a:lnTo>
                    <a:pt x="217539" y="435077"/>
                  </a:lnTo>
                  <a:lnTo>
                    <a:pt x="435077" y="435077"/>
                  </a:lnTo>
                  <a:cubicBezTo>
                    <a:pt x="435077" y="377383"/>
                    <a:pt x="412181" y="322052"/>
                    <a:pt x="371365" y="281256"/>
                  </a:cubicBezTo>
                  <a:cubicBezTo>
                    <a:pt x="330577" y="240459"/>
                    <a:pt x="275240" y="217539"/>
                    <a:pt x="217539" y="217539"/>
                  </a:cubicBezTo>
                  <a:cubicBezTo>
                    <a:pt x="159864" y="217539"/>
                    <a:pt x="104527" y="240459"/>
                    <a:pt x="63739" y="281256"/>
                  </a:cubicBezTo>
                  <a:close/>
                </a:path>
              </a:pathLst>
            </a:custGeom>
            <a:grpFill/>
            <a:ln w="27192" cap="flat">
              <a:noFill/>
              <a:prstDash val="solid"/>
              <a:miter/>
            </a:ln>
          </p:spPr>
          <p:txBody>
            <a:bodyPr rtlCol="0" anchor="ctr"/>
            <a:lstStyle/>
            <a:p>
              <a:endParaRPr lang="uk-UA" sz="900"/>
            </a:p>
          </p:txBody>
        </p:sp>
        <p:sp>
          <p:nvSpPr>
            <p:cNvPr id="52" name="Freeform: Shape 51">
              <a:extLst>
                <a:ext uri="{FF2B5EF4-FFF2-40B4-BE49-F238E27FC236}">
                  <a16:creationId xmlns:a16="http://schemas.microsoft.com/office/drawing/2014/main" id="{FDAC6987-9C35-9D02-9A9A-25F438D89791}"/>
                </a:ext>
              </a:extLst>
            </p:cNvPr>
            <p:cNvSpPr/>
            <p:nvPr/>
          </p:nvSpPr>
          <p:spPr>
            <a:xfrm>
              <a:off x="3446261" y="1098754"/>
              <a:ext cx="435077" cy="435077"/>
            </a:xfrm>
            <a:custGeom>
              <a:avLst/>
              <a:gdLst>
                <a:gd name="connsiteX0" fmla="*/ 435077 w 435077"/>
                <a:gd name="connsiteY0" fmla="*/ 435077 h 435077"/>
                <a:gd name="connsiteX1" fmla="*/ 435077 w 435077"/>
                <a:gd name="connsiteY1" fmla="*/ 0 h 435077"/>
                <a:gd name="connsiteX2" fmla="*/ 217566 w 435077"/>
                <a:gd name="connsiteY2" fmla="*/ 217544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44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6" y="217544"/>
                  </a:lnTo>
                  <a:lnTo>
                    <a:pt x="435077" y="435077"/>
                  </a:lnTo>
                  <a:close/>
                  <a:moveTo>
                    <a:pt x="0" y="435077"/>
                  </a:moveTo>
                  <a:lnTo>
                    <a:pt x="0" y="3"/>
                  </a:lnTo>
                  <a:lnTo>
                    <a:pt x="217539" y="217544"/>
                  </a:lnTo>
                  <a:lnTo>
                    <a:pt x="0" y="435077"/>
                  </a:lnTo>
                  <a:close/>
                </a:path>
              </a:pathLst>
            </a:custGeom>
            <a:grpFill/>
            <a:ln w="27192" cap="flat">
              <a:noFill/>
              <a:prstDash val="solid"/>
              <a:miter/>
            </a:ln>
          </p:spPr>
          <p:txBody>
            <a:bodyPr rtlCol="0" anchor="ctr"/>
            <a:lstStyle/>
            <a:p>
              <a:endParaRPr lang="uk-UA" sz="900"/>
            </a:p>
          </p:txBody>
        </p:sp>
        <p:sp>
          <p:nvSpPr>
            <p:cNvPr id="53" name="Freeform: Shape 52">
              <a:extLst>
                <a:ext uri="{FF2B5EF4-FFF2-40B4-BE49-F238E27FC236}">
                  <a16:creationId xmlns:a16="http://schemas.microsoft.com/office/drawing/2014/main" id="{7D54DF1A-EE8B-BE7F-EC54-82C7F9E2D31B}"/>
                </a:ext>
              </a:extLst>
            </p:cNvPr>
            <p:cNvSpPr/>
            <p:nvPr/>
          </p:nvSpPr>
          <p:spPr>
            <a:xfrm>
              <a:off x="5186597" y="1098754"/>
              <a:ext cx="435077" cy="435077"/>
            </a:xfrm>
            <a:custGeom>
              <a:avLst/>
              <a:gdLst>
                <a:gd name="connsiteX0" fmla="*/ 435077 w 435077"/>
                <a:gd name="connsiteY0" fmla="*/ 435077 h 435077"/>
                <a:gd name="connsiteX1" fmla="*/ 435077 w 435077"/>
                <a:gd name="connsiteY1" fmla="*/ 217547 h 435077"/>
                <a:gd name="connsiteX2" fmla="*/ 435077 w 435077"/>
                <a:gd name="connsiteY2" fmla="*/ 16 h 435077"/>
                <a:gd name="connsiteX3" fmla="*/ 217539 w 435077"/>
                <a:gd name="connsiteY3" fmla="*/ 16 h 435077"/>
                <a:gd name="connsiteX4" fmla="*/ 435077 w 435077"/>
                <a:gd name="connsiteY4" fmla="*/ 217547 h 435077"/>
                <a:gd name="connsiteX5" fmla="*/ 217539 w 435077"/>
                <a:gd name="connsiteY5" fmla="*/ 435077 h 435077"/>
                <a:gd name="connsiteX6" fmla="*/ 435077 w 435077"/>
                <a:gd name="connsiteY6" fmla="*/ 435077 h 435077"/>
                <a:gd name="connsiteX7" fmla="*/ 0 w 435077"/>
                <a:gd name="connsiteY7" fmla="*/ 217531 h 435077"/>
                <a:gd name="connsiteX8" fmla="*/ 0 w 435077"/>
                <a:gd name="connsiteY8" fmla="*/ 0 h 435077"/>
                <a:gd name="connsiteX9" fmla="*/ 217512 w 435077"/>
                <a:gd name="connsiteY9" fmla="*/ 217531 h 435077"/>
                <a:gd name="connsiteX10" fmla="*/ 0 w 435077"/>
                <a:gd name="connsiteY10" fmla="*/ 217531 h 435077"/>
                <a:gd name="connsiteX11" fmla="*/ 0 w 435077"/>
                <a:gd name="connsiteY11" fmla="*/ 435072 h 435077"/>
                <a:gd name="connsiteX12" fmla="*/ 0 w 435077"/>
                <a:gd name="connsiteY12" fmla="*/ 217541 h 435077"/>
                <a:gd name="connsiteX13" fmla="*/ 217512 w 435077"/>
                <a:gd name="connsiteY13" fmla="*/ 217541 h 435077"/>
                <a:gd name="connsiteX14" fmla="*/ 0 w 435077"/>
                <a:gd name="connsiteY14" fmla="*/ 43507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47"/>
                  </a:lnTo>
                  <a:lnTo>
                    <a:pt x="435077" y="16"/>
                  </a:lnTo>
                  <a:lnTo>
                    <a:pt x="217539" y="16"/>
                  </a:lnTo>
                  <a:lnTo>
                    <a:pt x="435077" y="217547"/>
                  </a:lnTo>
                  <a:lnTo>
                    <a:pt x="217539" y="435077"/>
                  </a:lnTo>
                  <a:lnTo>
                    <a:pt x="435077" y="435077"/>
                  </a:lnTo>
                  <a:close/>
                  <a:moveTo>
                    <a:pt x="0" y="217531"/>
                  </a:moveTo>
                  <a:lnTo>
                    <a:pt x="0" y="0"/>
                  </a:lnTo>
                  <a:lnTo>
                    <a:pt x="217512" y="217531"/>
                  </a:lnTo>
                  <a:lnTo>
                    <a:pt x="0" y="217531"/>
                  </a:lnTo>
                  <a:close/>
                  <a:moveTo>
                    <a:pt x="0" y="435072"/>
                  </a:moveTo>
                  <a:lnTo>
                    <a:pt x="0" y="217541"/>
                  </a:lnTo>
                  <a:lnTo>
                    <a:pt x="217512" y="217541"/>
                  </a:lnTo>
                  <a:lnTo>
                    <a:pt x="0" y="435072"/>
                  </a:lnTo>
                  <a:close/>
                </a:path>
              </a:pathLst>
            </a:custGeom>
            <a:grpFill/>
            <a:ln w="27192" cap="flat">
              <a:noFill/>
              <a:prstDash val="solid"/>
              <a:miter/>
            </a:ln>
          </p:spPr>
          <p:txBody>
            <a:bodyPr rtlCol="0" anchor="ctr"/>
            <a:lstStyle/>
            <a:p>
              <a:endParaRPr lang="uk-UA" sz="900"/>
            </a:p>
          </p:txBody>
        </p:sp>
        <p:sp>
          <p:nvSpPr>
            <p:cNvPr id="54" name="Freeform: Shape 53">
              <a:extLst>
                <a:ext uri="{FF2B5EF4-FFF2-40B4-BE49-F238E27FC236}">
                  <a16:creationId xmlns:a16="http://schemas.microsoft.com/office/drawing/2014/main" id="{2FCAAFBA-1DE7-AF51-3819-89A0349E4F38}"/>
                </a:ext>
              </a:extLst>
            </p:cNvPr>
            <p:cNvSpPr/>
            <p:nvPr/>
          </p:nvSpPr>
          <p:spPr>
            <a:xfrm>
              <a:off x="6056752" y="1098754"/>
              <a:ext cx="435077" cy="435077"/>
            </a:xfrm>
            <a:custGeom>
              <a:avLst/>
              <a:gdLst>
                <a:gd name="connsiteX0" fmla="*/ 217539 w 435077"/>
                <a:gd name="connsiteY0" fmla="*/ 435069 h 435077"/>
                <a:gd name="connsiteX1" fmla="*/ 217539 w 435077"/>
                <a:gd name="connsiteY1" fmla="*/ 0 h 435077"/>
                <a:gd name="connsiteX2" fmla="*/ 435077 w 435077"/>
                <a:gd name="connsiteY2" fmla="*/ 217541 h 435077"/>
                <a:gd name="connsiteX3" fmla="*/ 217539 w 435077"/>
                <a:gd name="connsiteY3" fmla="*/ 435069 h 435077"/>
                <a:gd name="connsiteX4" fmla="*/ 0 w 435077"/>
                <a:gd name="connsiteY4" fmla="*/ 435077 h 435077"/>
                <a:gd name="connsiteX5" fmla="*/ 0 w 435077"/>
                <a:gd name="connsiteY5" fmla="*/ 8 h 435077"/>
                <a:gd name="connsiteX6" fmla="*/ 217539 w 435077"/>
                <a:gd name="connsiteY6" fmla="*/ 217547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69"/>
                  </a:moveTo>
                  <a:lnTo>
                    <a:pt x="217539" y="0"/>
                  </a:lnTo>
                  <a:lnTo>
                    <a:pt x="435077" y="217541"/>
                  </a:lnTo>
                  <a:lnTo>
                    <a:pt x="217539" y="435069"/>
                  </a:lnTo>
                  <a:close/>
                  <a:moveTo>
                    <a:pt x="0" y="435077"/>
                  </a:moveTo>
                  <a:lnTo>
                    <a:pt x="0" y="8"/>
                  </a:lnTo>
                  <a:lnTo>
                    <a:pt x="217539" y="217547"/>
                  </a:lnTo>
                  <a:lnTo>
                    <a:pt x="0" y="435077"/>
                  </a:lnTo>
                  <a:close/>
                </a:path>
              </a:pathLst>
            </a:custGeom>
            <a:grpFill/>
            <a:ln w="27192" cap="flat">
              <a:noFill/>
              <a:prstDash val="solid"/>
              <a:miter/>
            </a:ln>
          </p:spPr>
          <p:txBody>
            <a:bodyPr rtlCol="0" anchor="ctr"/>
            <a:lstStyle/>
            <a:p>
              <a:endParaRPr lang="uk-UA" sz="900"/>
            </a:p>
          </p:txBody>
        </p:sp>
        <p:sp>
          <p:nvSpPr>
            <p:cNvPr id="55" name="Freeform: Shape 54">
              <a:extLst>
                <a:ext uri="{FF2B5EF4-FFF2-40B4-BE49-F238E27FC236}">
                  <a16:creationId xmlns:a16="http://schemas.microsoft.com/office/drawing/2014/main" id="{5A73C534-D51B-1E10-5354-B9A68D51346B}"/>
                </a:ext>
              </a:extLst>
            </p:cNvPr>
            <p:cNvSpPr/>
            <p:nvPr/>
          </p:nvSpPr>
          <p:spPr>
            <a:xfrm>
              <a:off x="7797062" y="1098754"/>
              <a:ext cx="435077" cy="435077"/>
            </a:xfrm>
            <a:custGeom>
              <a:avLst/>
              <a:gdLst>
                <a:gd name="connsiteX0" fmla="*/ 63739 w 435077"/>
                <a:gd name="connsiteY0" fmla="*/ 153824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4 h 435077"/>
                <a:gd name="connsiteX5" fmla="*/ 217539 w 435077"/>
                <a:gd name="connsiteY5" fmla="*/ 217539 h 435077"/>
                <a:gd name="connsiteX6" fmla="*/ 63739 w 435077"/>
                <a:gd name="connsiteY6" fmla="*/ 153824 h 435077"/>
                <a:gd name="connsiteX7" fmla="*/ 63739 w 435077"/>
                <a:gd name="connsiteY7" fmla="*/ 281256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6 h 435077"/>
                <a:gd name="connsiteX12" fmla="*/ 217539 w 435077"/>
                <a:gd name="connsiteY12" fmla="*/ 217539 h 435077"/>
                <a:gd name="connsiteX13" fmla="*/ 63739 w 435077"/>
                <a:gd name="connsiteY13" fmla="*/ 281256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4"/>
                  </a:moveTo>
                  <a:cubicBezTo>
                    <a:pt x="22924" y="113028"/>
                    <a:pt x="0" y="57697"/>
                    <a:pt x="0" y="0"/>
                  </a:cubicBezTo>
                  <a:lnTo>
                    <a:pt x="217539" y="0"/>
                  </a:lnTo>
                  <a:lnTo>
                    <a:pt x="435077" y="0"/>
                  </a:lnTo>
                  <a:cubicBezTo>
                    <a:pt x="435077" y="57697"/>
                    <a:pt x="412182" y="113028"/>
                    <a:pt x="371366" y="153824"/>
                  </a:cubicBezTo>
                  <a:cubicBezTo>
                    <a:pt x="330578" y="194621"/>
                    <a:pt x="275241" y="217539"/>
                    <a:pt x="217539" y="217539"/>
                  </a:cubicBezTo>
                  <a:cubicBezTo>
                    <a:pt x="159864" y="217539"/>
                    <a:pt x="104527" y="194621"/>
                    <a:pt x="63739" y="153824"/>
                  </a:cubicBezTo>
                  <a:close/>
                  <a:moveTo>
                    <a:pt x="63739" y="281256"/>
                  </a:moveTo>
                  <a:cubicBezTo>
                    <a:pt x="22924" y="322052"/>
                    <a:pt x="0" y="377383"/>
                    <a:pt x="0" y="435077"/>
                  </a:cubicBezTo>
                  <a:lnTo>
                    <a:pt x="217539" y="435077"/>
                  </a:lnTo>
                  <a:lnTo>
                    <a:pt x="435077" y="435077"/>
                  </a:lnTo>
                  <a:cubicBezTo>
                    <a:pt x="435077" y="377383"/>
                    <a:pt x="412182" y="322052"/>
                    <a:pt x="371366" y="281256"/>
                  </a:cubicBezTo>
                  <a:cubicBezTo>
                    <a:pt x="330578" y="240459"/>
                    <a:pt x="275241" y="217539"/>
                    <a:pt x="217539" y="217539"/>
                  </a:cubicBezTo>
                  <a:cubicBezTo>
                    <a:pt x="159864" y="217539"/>
                    <a:pt x="104527" y="240459"/>
                    <a:pt x="63739" y="281256"/>
                  </a:cubicBezTo>
                  <a:close/>
                </a:path>
              </a:pathLst>
            </a:custGeom>
            <a:grpFill/>
            <a:ln w="27192" cap="flat">
              <a:noFill/>
              <a:prstDash val="solid"/>
              <a:miter/>
            </a:ln>
          </p:spPr>
          <p:txBody>
            <a:bodyPr rtlCol="0" anchor="ctr"/>
            <a:lstStyle/>
            <a:p>
              <a:endParaRPr lang="uk-UA" sz="900"/>
            </a:p>
          </p:txBody>
        </p:sp>
        <p:sp>
          <p:nvSpPr>
            <p:cNvPr id="56" name="Freeform: Shape 55">
              <a:extLst>
                <a:ext uri="{FF2B5EF4-FFF2-40B4-BE49-F238E27FC236}">
                  <a16:creationId xmlns:a16="http://schemas.microsoft.com/office/drawing/2014/main" id="{A923C15C-7C1A-13CC-9F62-7019B8E919F2}"/>
                </a:ext>
              </a:extLst>
            </p:cNvPr>
            <p:cNvSpPr/>
            <p:nvPr/>
          </p:nvSpPr>
          <p:spPr>
            <a:xfrm>
              <a:off x="6926907" y="1098754"/>
              <a:ext cx="435077" cy="435077"/>
            </a:xfrm>
            <a:custGeom>
              <a:avLst/>
              <a:gdLst>
                <a:gd name="connsiteX0" fmla="*/ 435077 w 435077"/>
                <a:gd name="connsiteY0" fmla="*/ 435077 h 435077"/>
                <a:gd name="connsiteX1" fmla="*/ 435077 w 435077"/>
                <a:gd name="connsiteY1" fmla="*/ 0 h 435077"/>
                <a:gd name="connsiteX2" fmla="*/ 217566 w 435077"/>
                <a:gd name="connsiteY2" fmla="*/ 217544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44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6" y="217544"/>
                  </a:lnTo>
                  <a:lnTo>
                    <a:pt x="435077" y="435077"/>
                  </a:lnTo>
                  <a:close/>
                  <a:moveTo>
                    <a:pt x="0" y="435077"/>
                  </a:moveTo>
                  <a:lnTo>
                    <a:pt x="0" y="3"/>
                  </a:lnTo>
                  <a:lnTo>
                    <a:pt x="217539" y="217544"/>
                  </a:lnTo>
                  <a:lnTo>
                    <a:pt x="0" y="435077"/>
                  </a:lnTo>
                  <a:close/>
                </a:path>
              </a:pathLst>
            </a:custGeom>
            <a:grpFill/>
            <a:ln w="27192" cap="flat">
              <a:noFill/>
              <a:prstDash val="solid"/>
              <a:miter/>
            </a:ln>
          </p:spPr>
          <p:txBody>
            <a:bodyPr rtlCol="0" anchor="ctr"/>
            <a:lstStyle/>
            <a:p>
              <a:endParaRPr lang="uk-UA" sz="900"/>
            </a:p>
          </p:txBody>
        </p:sp>
        <p:sp>
          <p:nvSpPr>
            <p:cNvPr id="57" name="Freeform: Shape 56">
              <a:extLst>
                <a:ext uri="{FF2B5EF4-FFF2-40B4-BE49-F238E27FC236}">
                  <a16:creationId xmlns:a16="http://schemas.microsoft.com/office/drawing/2014/main" id="{149BA382-AB4C-353F-657D-8C79A1E8D349}"/>
                </a:ext>
              </a:extLst>
            </p:cNvPr>
            <p:cNvSpPr/>
            <p:nvPr/>
          </p:nvSpPr>
          <p:spPr>
            <a:xfrm>
              <a:off x="8667217" y="1098754"/>
              <a:ext cx="435077" cy="435077"/>
            </a:xfrm>
            <a:custGeom>
              <a:avLst/>
              <a:gdLst>
                <a:gd name="connsiteX0" fmla="*/ 435077 w 435077"/>
                <a:gd name="connsiteY0" fmla="*/ 435077 h 435077"/>
                <a:gd name="connsiteX1" fmla="*/ 435077 w 435077"/>
                <a:gd name="connsiteY1" fmla="*/ 217547 h 435077"/>
                <a:gd name="connsiteX2" fmla="*/ 435077 w 435077"/>
                <a:gd name="connsiteY2" fmla="*/ 16 h 435077"/>
                <a:gd name="connsiteX3" fmla="*/ 217566 w 435077"/>
                <a:gd name="connsiteY3" fmla="*/ 16 h 435077"/>
                <a:gd name="connsiteX4" fmla="*/ 435077 w 435077"/>
                <a:gd name="connsiteY4" fmla="*/ 217547 h 435077"/>
                <a:gd name="connsiteX5" fmla="*/ 217566 w 435077"/>
                <a:gd name="connsiteY5" fmla="*/ 435077 h 435077"/>
                <a:gd name="connsiteX6" fmla="*/ 435077 w 435077"/>
                <a:gd name="connsiteY6" fmla="*/ 435077 h 435077"/>
                <a:gd name="connsiteX7" fmla="*/ 0 w 435077"/>
                <a:gd name="connsiteY7" fmla="*/ 217531 h 435077"/>
                <a:gd name="connsiteX8" fmla="*/ 0 w 435077"/>
                <a:gd name="connsiteY8" fmla="*/ 0 h 435077"/>
                <a:gd name="connsiteX9" fmla="*/ 217539 w 435077"/>
                <a:gd name="connsiteY9" fmla="*/ 217531 h 435077"/>
                <a:gd name="connsiteX10" fmla="*/ 0 w 435077"/>
                <a:gd name="connsiteY10" fmla="*/ 217531 h 435077"/>
                <a:gd name="connsiteX11" fmla="*/ 0 w 435077"/>
                <a:gd name="connsiteY11" fmla="*/ 435072 h 435077"/>
                <a:gd name="connsiteX12" fmla="*/ 0 w 435077"/>
                <a:gd name="connsiteY12" fmla="*/ 217541 h 435077"/>
                <a:gd name="connsiteX13" fmla="*/ 217539 w 435077"/>
                <a:gd name="connsiteY13" fmla="*/ 217541 h 435077"/>
                <a:gd name="connsiteX14" fmla="*/ 0 w 435077"/>
                <a:gd name="connsiteY14" fmla="*/ 43507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47"/>
                  </a:lnTo>
                  <a:lnTo>
                    <a:pt x="435077" y="16"/>
                  </a:lnTo>
                  <a:lnTo>
                    <a:pt x="217566" y="16"/>
                  </a:lnTo>
                  <a:lnTo>
                    <a:pt x="435077" y="217547"/>
                  </a:lnTo>
                  <a:lnTo>
                    <a:pt x="217566" y="435077"/>
                  </a:lnTo>
                  <a:lnTo>
                    <a:pt x="435077" y="435077"/>
                  </a:lnTo>
                  <a:close/>
                  <a:moveTo>
                    <a:pt x="0" y="217531"/>
                  </a:moveTo>
                  <a:lnTo>
                    <a:pt x="0" y="0"/>
                  </a:lnTo>
                  <a:lnTo>
                    <a:pt x="217539" y="217531"/>
                  </a:lnTo>
                  <a:lnTo>
                    <a:pt x="0" y="217531"/>
                  </a:lnTo>
                  <a:close/>
                  <a:moveTo>
                    <a:pt x="0" y="435072"/>
                  </a:moveTo>
                  <a:lnTo>
                    <a:pt x="0" y="217541"/>
                  </a:lnTo>
                  <a:lnTo>
                    <a:pt x="217539" y="217541"/>
                  </a:lnTo>
                  <a:lnTo>
                    <a:pt x="0" y="435072"/>
                  </a:lnTo>
                  <a:close/>
                </a:path>
              </a:pathLst>
            </a:custGeom>
            <a:grpFill/>
            <a:ln w="27192" cap="flat">
              <a:noFill/>
              <a:prstDash val="solid"/>
              <a:miter/>
            </a:ln>
          </p:spPr>
          <p:txBody>
            <a:bodyPr rtlCol="0" anchor="ctr"/>
            <a:lstStyle/>
            <a:p>
              <a:endParaRPr lang="uk-UA" sz="900"/>
            </a:p>
          </p:txBody>
        </p:sp>
        <p:sp>
          <p:nvSpPr>
            <p:cNvPr id="58" name="Freeform: Shape 57">
              <a:extLst>
                <a:ext uri="{FF2B5EF4-FFF2-40B4-BE49-F238E27FC236}">
                  <a16:creationId xmlns:a16="http://schemas.microsoft.com/office/drawing/2014/main" id="{EA8A6A0F-9606-BB85-7A1C-ECFFD19E9C9A}"/>
                </a:ext>
              </a:extLst>
            </p:cNvPr>
            <p:cNvSpPr/>
            <p:nvPr/>
          </p:nvSpPr>
          <p:spPr>
            <a:xfrm>
              <a:off x="9537399" y="1098754"/>
              <a:ext cx="435077" cy="435077"/>
            </a:xfrm>
            <a:custGeom>
              <a:avLst/>
              <a:gdLst>
                <a:gd name="connsiteX0" fmla="*/ 217539 w 435077"/>
                <a:gd name="connsiteY0" fmla="*/ 435069 h 435077"/>
                <a:gd name="connsiteX1" fmla="*/ 217539 w 435077"/>
                <a:gd name="connsiteY1" fmla="*/ 0 h 435077"/>
                <a:gd name="connsiteX2" fmla="*/ 435077 w 435077"/>
                <a:gd name="connsiteY2" fmla="*/ 217541 h 435077"/>
                <a:gd name="connsiteX3" fmla="*/ 217539 w 435077"/>
                <a:gd name="connsiteY3" fmla="*/ 435069 h 435077"/>
                <a:gd name="connsiteX4" fmla="*/ 0 w 435077"/>
                <a:gd name="connsiteY4" fmla="*/ 435077 h 435077"/>
                <a:gd name="connsiteX5" fmla="*/ 0 w 435077"/>
                <a:gd name="connsiteY5" fmla="*/ 8 h 435077"/>
                <a:gd name="connsiteX6" fmla="*/ 217539 w 435077"/>
                <a:gd name="connsiteY6" fmla="*/ 217547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69"/>
                  </a:moveTo>
                  <a:lnTo>
                    <a:pt x="217539" y="0"/>
                  </a:lnTo>
                  <a:lnTo>
                    <a:pt x="435077" y="217541"/>
                  </a:lnTo>
                  <a:lnTo>
                    <a:pt x="217539" y="435069"/>
                  </a:lnTo>
                  <a:close/>
                  <a:moveTo>
                    <a:pt x="0" y="435077"/>
                  </a:moveTo>
                  <a:lnTo>
                    <a:pt x="0" y="8"/>
                  </a:lnTo>
                  <a:lnTo>
                    <a:pt x="217539" y="217547"/>
                  </a:lnTo>
                  <a:lnTo>
                    <a:pt x="0" y="435077"/>
                  </a:lnTo>
                  <a:close/>
                </a:path>
              </a:pathLst>
            </a:custGeom>
            <a:grpFill/>
            <a:ln w="27192" cap="flat">
              <a:noFill/>
              <a:prstDash val="solid"/>
              <a:miter/>
            </a:ln>
          </p:spPr>
          <p:txBody>
            <a:bodyPr rtlCol="0" anchor="ctr"/>
            <a:lstStyle/>
            <a:p>
              <a:endParaRPr lang="uk-UA" sz="900"/>
            </a:p>
          </p:txBody>
        </p:sp>
        <p:sp>
          <p:nvSpPr>
            <p:cNvPr id="59" name="Freeform: Shape 58">
              <a:extLst>
                <a:ext uri="{FF2B5EF4-FFF2-40B4-BE49-F238E27FC236}">
                  <a16:creationId xmlns:a16="http://schemas.microsoft.com/office/drawing/2014/main" id="{8AE5B2E2-3D61-9631-7456-12EC8E375280}"/>
                </a:ext>
              </a:extLst>
            </p:cNvPr>
            <p:cNvSpPr/>
            <p:nvPr/>
          </p:nvSpPr>
          <p:spPr>
            <a:xfrm>
              <a:off x="11277709" y="1098754"/>
              <a:ext cx="435077" cy="435077"/>
            </a:xfrm>
            <a:custGeom>
              <a:avLst/>
              <a:gdLst>
                <a:gd name="connsiteX0" fmla="*/ 63710 w 435077"/>
                <a:gd name="connsiteY0" fmla="*/ 153824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4 h 435077"/>
                <a:gd name="connsiteX5" fmla="*/ 217539 w 435077"/>
                <a:gd name="connsiteY5" fmla="*/ 217539 h 435077"/>
                <a:gd name="connsiteX6" fmla="*/ 63710 w 435077"/>
                <a:gd name="connsiteY6" fmla="*/ 153824 h 435077"/>
                <a:gd name="connsiteX7" fmla="*/ 63710 w 435077"/>
                <a:gd name="connsiteY7" fmla="*/ 281256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6 h 435077"/>
                <a:gd name="connsiteX12" fmla="*/ 217539 w 435077"/>
                <a:gd name="connsiteY12" fmla="*/ 217539 h 435077"/>
                <a:gd name="connsiteX13" fmla="*/ 63710 w 435077"/>
                <a:gd name="connsiteY13" fmla="*/ 281256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4"/>
                  </a:moveTo>
                  <a:cubicBezTo>
                    <a:pt x="22922" y="113028"/>
                    <a:pt x="0" y="57697"/>
                    <a:pt x="0" y="0"/>
                  </a:cubicBezTo>
                  <a:lnTo>
                    <a:pt x="217539" y="0"/>
                  </a:lnTo>
                  <a:lnTo>
                    <a:pt x="435077" y="0"/>
                  </a:lnTo>
                  <a:cubicBezTo>
                    <a:pt x="435077" y="57697"/>
                    <a:pt x="412154" y="113028"/>
                    <a:pt x="371365" y="153824"/>
                  </a:cubicBezTo>
                  <a:cubicBezTo>
                    <a:pt x="330549" y="194621"/>
                    <a:pt x="275239" y="217539"/>
                    <a:pt x="217539" y="217539"/>
                  </a:cubicBezTo>
                  <a:cubicBezTo>
                    <a:pt x="159836" y="217539"/>
                    <a:pt x="104499" y="194621"/>
                    <a:pt x="63710" y="153824"/>
                  </a:cubicBezTo>
                  <a:close/>
                  <a:moveTo>
                    <a:pt x="63710" y="281256"/>
                  </a:moveTo>
                  <a:cubicBezTo>
                    <a:pt x="22922" y="322052"/>
                    <a:pt x="0" y="377383"/>
                    <a:pt x="0" y="435077"/>
                  </a:cubicBezTo>
                  <a:lnTo>
                    <a:pt x="217539" y="435077"/>
                  </a:lnTo>
                  <a:lnTo>
                    <a:pt x="435077" y="435077"/>
                  </a:lnTo>
                  <a:cubicBezTo>
                    <a:pt x="435077" y="377383"/>
                    <a:pt x="412154" y="322052"/>
                    <a:pt x="371365" y="281256"/>
                  </a:cubicBezTo>
                  <a:cubicBezTo>
                    <a:pt x="330549" y="240459"/>
                    <a:pt x="275239" y="217539"/>
                    <a:pt x="217539" y="217539"/>
                  </a:cubicBezTo>
                  <a:cubicBezTo>
                    <a:pt x="159836" y="217539"/>
                    <a:pt x="104499" y="240459"/>
                    <a:pt x="63710" y="281256"/>
                  </a:cubicBezTo>
                  <a:close/>
                </a:path>
              </a:pathLst>
            </a:custGeom>
            <a:grpFill/>
            <a:ln w="27192" cap="flat">
              <a:noFill/>
              <a:prstDash val="solid"/>
              <a:miter/>
            </a:ln>
          </p:spPr>
          <p:txBody>
            <a:bodyPr rtlCol="0" anchor="ctr"/>
            <a:lstStyle/>
            <a:p>
              <a:endParaRPr lang="uk-UA" sz="900"/>
            </a:p>
          </p:txBody>
        </p:sp>
        <p:sp>
          <p:nvSpPr>
            <p:cNvPr id="60" name="Freeform: Shape 59">
              <a:extLst>
                <a:ext uri="{FF2B5EF4-FFF2-40B4-BE49-F238E27FC236}">
                  <a16:creationId xmlns:a16="http://schemas.microsoft.com/office/drawing/2014/main" id="{DD67AFC5-1711-B93C-5A92-93FF83316850}"/>
                </a:ext>
              </a:extLst>
            </p:cNvPr>
            <p:cNvSpPr/>
            <p:nvPr/>
          </p:nvSpPr>
          <p:spPr>
            <a:xfrm>
              <a:off x="10407554" y="1098754"/>
              <a:ext cx="435077" cy="435077"/>
            </a:xfrm>
            <a:custGeom>
              <a:avLst/>
              <a:gdLst>
                <a:gd name="connsiteX0" fmla="*/ 435077 w 435077"/>
                <a:gd name="connsiteY0" fmla="*/ 435077 h 435077"/>
                <a:gd name="connsiteX1" fmla="*/ 435077 w 435077"/>
                <a:gd name="connsiteY1" fmla="*/ 0 h 435077"/>
                <a:gd name="connsiteX2" fmla="*/ 217539 w 435077"/>
                <a:gd name="connsiteY2" fmla="*/ 217544 h 435077"/>
                <a:gd name="connsiteX3" fmla="*/ 435077 w 435077"/>
                <a:gd name="connsiteY3" fmla="*/ 435077 h 435077"/>
                <a:gd name="connsiteX4" fmla="*/ 0 w 435077"/>
                <a:gd name="connsiteY4" fmla="*/ 435077 h 435077"/>
                <a:gd name="connsiteX5" fmla="*/ 0 w 435077"/>
                <a:gd name="connsiteY5" fmla="*/ 3 h 435077"/>
                <a:gd name="connsiteX6" fmla="*/ 217511 w 435077"/>
                <a:gd name="connsiteY6" fmla="*/ 217544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44"/>
                  </a:lnTo>
                  <a:lnTo>
                    <a:pt x="435077" y="435077"/>
                  </a:lnTo>
                  <a:close/>
                  <a:moveTo>
                    <a:pt x="0" y="435077"/>
                  </a:moveTo>
                  <a:lnTo>
                    <a:pt x="0" y="3"/>
                  </a:lnTo>
                  <a:lnTo>
                    <a:pt x="217511" y="217544"/>
                  </a:lnTo>
                  <a:lnTo>
                    <a:pt x="0" y="435077"/>
                  </a:lnTo>
                  <a:close/>
                </a:path>
              </a:pathLst>
            </a:custGeom>
            <a:grpFill/>
            <a:ln w="27192" cap="flat">
              <a:noFill/>
              <a:prstDash val="solid"/>
              <a:miter/>
            </a:ln>
          </p:spPr>
          <p:txBody>
            <a:bodyPr rtlCol="0" anchor="ctr"/>
            <a:lstStyle/>
            <a:p>
              <a:endParaRPr lang="uk-UA" sz="900"/>
            </a:p>
          </p:txBody>
        </p:sp>
        <p:sp>
          <p:nvSpPr>
            <p:cNvPr id="61" name="Freeform: Shape 60">
              <a:extLst>
                <a:ext uri="{FF2B5EF4-FFF2-40B4-BE49-F238E27FC236}">
                  <a16:creationId xmlns:a16="http://schemas.microsoft.com/office/drawing/2014/main" id="{A3437C13-5647-2924-5109-AEDD1E4BEA25}"/>
                </a:ext>
              </a:extLst>
            </p:cNvPr>
            <p:cNvSpPr/>
            <p:nvPr/>
          </p:nvSpPr>
          <p:spPr>
            <a:xfrm>
              <a:off x="12147864" y="1098754"/>
              <a:ext cx="435077" cy="435077"/>
            </a:xfrm>
            <a:custGeom>
              <a:avLst/>
              <a:gdLst>
                <a:gd name="connsiteX0" fmla="*/ 435077 w 435077"/>
                <a:gd name="connsiteY0" fmla="*/ 435077 h 435077"/>
                <a:gd name="connsiteX1" fmla="*/ 435077 w 435077"/>
                <a:gd name="connsiteY1" fmla="*/ 217547 h 435077"/>
                <a:gd name="connsiteX2" fmla="*/ 435077 w 435077"/>
                <a:gd name="connsiteY2" fmla="*/ 16 h 435077"/>
                <a:gd name="connsiteX3" fmla="*/ 217565 w 435077"/>
                <a:gd name="connsiteY3" fmla="*/ 16 h 435077"/>
                <a:gd name="connsiteX4" fmla="*/ 435077 w 435077"/>
                <a:gd name="connsiteY4" fmla="*/ 217547 h 435077"/>
                <a:gd name="connsiteX5" fmla="*/ 217565 w 435077"/>
                <a:gd name="connsiteY5" fmla="*/ 435077 h 435077"/>
                <a:gd name="connsiteX6" fmla="*/ 435077 w 435077"/>
                <a:gd name="connsiteY6" fmla="*/ 435077 h 435077"/>
                <a:gd name="connsiteX7" fmla="*/ 0 w 435077"/>
                <a:gd name="connsiteY7" fmla="*/ 217531 h 435077"/>
                <a:gd name="connsiteX8" fmla="*/ 0 w 435077"/>
                <a:gd name="connsiteY8" fmla="*/ 0 h 435077"/>
                <a:gd name="connsiteX9" fmla="*/ 217539 w 435077"/>
                <a:gd name="connsiteY9" fmla="*/ 217531 h 435077"/>
                <a:gd name="connsiteX10" fmla="*/ 0 w 435077"/>
                <a:gd name="connsiteY10" fmla="*/ 217531 h 435077"/>
                <a:gd name="connsiteX11" fmla="*/ 0 w 435077"/>
                <a:gd name="connsiteY11" fmla="*/ 435072 h 435077"/>
                <a:gd name="connsiteX12" fmla="*/ 0 w 435077"/>
                <a:gd name="connsiteY12" fmla="*/ 217541 h 435077"/>
                <a:gd name="connsiteX13" fmla="*/ 217539 w 435077"/>
                <a:gd name="connsiteY13" fmla="*/ 217541 h 435077"/>
                <a:gd name="connsiteX14" fmla="*/ 0 w 435077"/>
                <a:gd name="connsiteY14" fmla="*/ 43507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47"/>
                  </a:lnTo>
                  <a:lnTo>
                    <a:pt x="435077" y="16"/>
                  </a:lnTo>
                  <a:lnTo>
                    <a:pt x="217565" y="16"/>
                  </a:lnTo>
                  <a:lnTo>
                    <a:pt x="435077" y="217547"/>
                  </a:lnTo>
                  <a:lnTo>
                    <a:pt x="217565" y="435077"/>
                  </a:lnTo>
                  <a:lnTo>
                    <a:pt x="435077" y="435077"/>
                  </a:lnTo>
                  <a:close/>
                  <a:moveTo>
                    <a:pt x="0" y="217531"/>
                  </a:moveTo>
                  <a:lnTo>
                    <a:pt x="0" y="0"/>
                  </a:lnTo>
                  <a:lnTo>
                    <a:pt x="217539" y="217531"/>
                  </a:lnTo>
                  <a:lnTo>
                    <a:pt x="0" y="217531"/>
                  </a:lnTo>
                  <a:close/>
                  <a:moveTo>
                    <a:pt x="0" y="435072"/>
                  </a:moveTo>
                  <a:lnTo>
                    <a:pt x="0" y="217541"/>
                  </a:lnTo>
                  <a:lnTo>
                    <a:pt x="217539" y="217541"/>
                  </a:lnTo>
                  <a:lnTo>
                    <a:pt x="0" y="435072"/>
                  </a:lnTo>
                  <a:close/>
                </a:path>
              </a:pathLst>
            </a:custGeom>
            <a:grpFill/>
            <a:ln w="27192" cap="flat">
              <a:noFill/>
              <a:prstDash val="solid"/>
              <a:miter/>
            </a:ln>
          </p:spPr>
          <p:txBody>
            <a:bodyPr rtlCol="0" anchor="ctr"/>
            <a:lstStyle/>
            <a:p>
              <a:endParaRPr lang="uk-UA" sz="900"/>
            </a:p>
          </p:txBody>
        </p:sp>
        <p:sp>
          <p:nvSpPr>
            <p:cNvPr id="62" name="Freeform: Shape 61">
              <a:extLst>
                <a:ext uri="{FF2B5EF4-FFF2-40B4-BE49-F238E27FC236}">
                  <a16:creationId xmlns:a16="http://schemas.microsoft.com/office/drawing/2014/main" id="{9B9E1A70-86DA-F6A0-5577-3B2F7B15E2B3}"/>
                </a:ext>
              </a:extLst>
            </p:cNvPr>
            <p:cNvSpPr/>
            <p:nvPr/>
          </p:nvSpPr>
          <p:spPr>
            <a:xfrm>
              <a:off x="13018045" y="1098754"/>
              <a:ext cx="435077" cy="435077"/>
            </a:xfrm>
            <a:custGeom>
              <a:avLst/>
              <a:gdLst>
                <a:gd name="connsiteX0" fmla="*/ 217539 w 435077"/>
                <a:gd name="connsiteY0" fmla="*/ 435069 h 435077"/>
                <a:gd name="connsiteX1" fmla="*/ 217539 w 435077"/>
                <a:gd name="connsiteY1" fmla="*/ 0 h 435077"/>
                <a:gd name="connsiteX2" fmla="*/ 435077 w 435077"/>
                <a:gd name="connsiteY2" fmla="*/ 217541 h 435077"/>
                <a:gd name="connsiteX3" fmla="*/ 217539 w 435077"/>
                <a:gd name="connsiteY3" fmla="*/ 435069 h 435077"/>
                <a:gd name="connsiteX4" fmla="*/ 0 w 435077"/>
                <a:gd name="connsiteY4" fmla="*/ 435077 h 435077"/>
                <a:gd name="connsiteX5" fmla="*/ 0 w 435077"/>
                <a:gd name="connsiteY5" fmla="*/ 8 h 435077"/>
                <a:gd name="connsiteX6" fmla="*/ 217539 w 435077"/>
                <a:gd name="connsiteY6" fmla="*/ 217547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69"/>
                  </a:moveTo>
                  <a:lnTo>
                    <a:pt x="217539" y="0"/>
                  </a:lnTo>
                  <a:lnTo>
                    <a:pt x="435077" y="217541"/>
                  </a:lnTo>
                  <a:lnTo>
                    <a:pt x="217539" y="435069"/>
                  </a:lnTo>
                  <a:close/>
                  <a:moveTo>
                    <a:pt x="0" y="435077"/>
                  </a:moveTo>
                  <a:lnTo>
                    <a:pt x="0" y="8"/>
                  </a:lnTo>
                  <a:lnTo>
                    <a:pt x="217539" y="217547"/>
                  </a:lnTo>
                  <a:lnTo>
                    <a:pt x="0" y="435077"/>
                  </a:lnTo>
                  <a:close/>
                </a:path>
              </a:pathLst>
            </a:custGeom>
            <a:grpFill/>
            <a:ln w="27192" cap="flat">
              <a:noFill/>
              <a:prstDash val="solid"/>
              <a:miter/>
            </a:ln>
          </p:spPr>
          <p:txBody>
            <a:bodyPr rtlCol="0" anchor="ctr"/>
            <a:lstStyle/>
            <a:p>
              <a:endParaRPr lang="uk-UA" sz="900"/>
            </a:p>
          </p:txBody>
        </p:sp>
        <p:sp>
          <p:nvSpPr>
            <p:cNvPr id="63" name="Freeform: Shape 62">
              <a:extLst>
                <a:ext uri="{FF2B5EF4-FFF2-40B4-BE49-F238E27FC236}">
                  <a16:creationId xmlns:a16="http://schemas.microsoft.com/office/drawing/2014/main" id="{0C1BD60B-57B7-30DB-FAB3-EE383971286D}"/>
                </a:ext>
              </a:extLst>
            </p:cNvPr>
            <p:cNvSpPr/>
            <p:nvPr/>
          </p:nvSpPr>
          <p:spPr>
            <a:xfrm>
              <a:off x="14758382" y="1098754"/>
              <a:ext cx="435077" cy="435077"/>
            </a:xfrm>
            <a:custGeom>
              <a:avLst/>
              <a:gdLst>
                <a:gd name="connsiteX0" fmla="*/ 63712 w 435077"/>
                <a:gd name="connsiteY0" fmla="*/ 153824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4 h 435077"/>
                <a:gd name="connsiteX5" fmla="*/ 217539 w 435077"/>
                <a:gd name="connsiteY5" fmla="*/ 217539 h 435077"/>
                <a:gd name="connsiteX6" fmla="*/ 63712 w 435077"/>
                <a:gd name="connsiteY6" fmla="*/ 153824 h 435077"/>
                <a:gd name="connsiteX7" fmla="*/ 63712 w 435077"/>
                <a:gd name="connsiteY7" fmla="*/ 281256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56 h 435077"/>
                <a:gd name="connsiteX12" fmla="*/ 217539 w 435077"/>
                <a:gd name="connsiteY12" fmla="*/ 217539 h 435077"/>
                <a:gd name="connsiteX13" fmla="*/ 63712 w 435077"/>
                <a:gd name="connsiteY13" fmla="*/ 281256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4"/>
                  </a:moveTo>
                  <a:cubicBezTo>
                    <a:pt x="22924" y="113028"/>
                    <a:pt x="0" y="57697"/>
                    <a:pt x="0" y="0"/>
                  </a:cubicBezTo>
                  <a:lnTo>
                    <a:pt x="217539" y="0"/>
                  </a:lnTo>
                  <a:lnTo>
                    <a:pt x="435077" y="0"/>
                  </a:lnTo>
                  <a:cubicBezTo>
                    <a:pt x="435077" y="57697"/>
                    <a:pt x="412155" y="113028"/>
                    <a:pt x="371367" y="153824"/>
                  </a:cubicBezTo>
                  <a:cubicBezTo>
                    <a:pt x="330550" y="194621"/>
                    <a:pt x="275241" y="217539"/>
                    <a:pt x="217539" y="217539"/>
                  </a:cubicBezTo>
                  <a:cubicBezTo>
                    <a:pt x="159836" y="217539"/>
                    <a:pt x="104501" y="194621"/>
                    <a:pt x="63712" y="153824"/>
                  </a:cubicBezTo>
                  <a:close/>
                  <a:moveTo>
                    <a:pt x="63712" y="281256"/>
                  </a:moveTo>
                  <a:cubicBezTo>
                    <a:pt x="22924" y="322052"/>
                    <a:pt x="0" y="377383"/>
                    <a:pt x="0" y="435077"/>
                  </a:cubicBezTo>
                  <a:lnTo>
                    <a:pt x="217539" y="435077"/>
                  </a:lnTo>
                  <a:lnTo>
                    <a:pt x="435077" y="435077"/>
                  </a:lnTo>
                  <a:cubicBezTo>
                    <a:pt x="435077" y="377383"/>
                    <a:pt x="412155" y="322052"/>
                    <a:pt x="371367" y="281256"/>
                  </a:cubicBezTo>
                  <a:cubicBezTo>
                    <a:pt x="330550" y="240459"/>
                    <a:pt x="275241" y="217539"/>
                    <a:pt x="217539" y="217539"/>
                  </a:cubicBezTo>
                  <a:cubicBezTo>
                    <a:pt x="159836" y="217539"/>
                    <a:pt x="104501" y="240459"/>
                    <a:pt x="63712" y="281256"/>
                  </a:cubicBezTo>
                  <a:close/>
                </a:path>
              </a:pathLst>
            </a:custGeom>
            <a:grpFill/>
            <a:ln w="27192" cap="flat">
              <a:noFill/>
              <a:prstDash val="solid"/>
              <a:miter/>
            </a:ln>
          </p:spPr>
          <p:txBody>
            <a:bodyPr rtlCol="0" anchor="ctr"/>
            <a:lstStyle/>
            <a:p>
              <a:endParaRPr lang="uk-UA" sz="900"/>
            </a:p>
          </p:txBody>
        </p:sp>
        <p:sp>
          <p:nvSpPr>
            <p:cNvPr id="64" name="Freeform: Shape 63">
              <a:extLst>
                <a:ext uri="{FF2B5EF4-FFF2-40B4-BE49-F238E27FC236}">
                  <a16:creationId xmlns:a16="http://schemas.microsoft.com/office/drawing/2014/main" id="{2329981C-509F-71FB-B43B-BCFC40681E1F}"/>
                </a:ext>
              </a:extLst>
            </p:cNvPr>
            <p:cNvSpPr/>
            <p:nvPr/>
          </p:nvSpPr>
          <p:spPr>
            <a:xfrm>
              <a:off x="13888200" y="1098754"/>
              <a:ext cx="435077" cy="435077"/>
            </a:xfrm>
            <a:custGeom>
              <a:avLst/>
              <a:gdLst>
                <a:gd name="connsiteX0" fmla="*/ 435077 w 435077"/>
                <a:gd name="connsiteY0" fmla="*/ 435077 h 435077"/>
                <a:gd name="connsiteX1" fmla="*/ 435077 w 435077"/>
                <a:gd name="connsiteY1" fmla="*/ 0 h 435077"/>
                <a:gd name="connsiteX2" fmla="*/ 217565 w 435077"/>
                <a:gd name="connsiteY2" fmla="*/ 217544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44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44"/>
                  </a:lnTo>
                  <a:lnTo>
                    <a:pt x="435077" y="435077"/>
                  </a:lnTo>
                  <a:close/>
                  <a:moveTo>
                    <a:pt x="0" y="435077"/>
                  </a:moveTo>
                  <a:lnTo>
                    <a:pt x="0" y="3"/>
                  </a:lnTo>
                  <a:lnTo>
                    <a:pt x="217539" y="217544"/>
                  </a:lnTo>
                  <a:lnTo>
                    <a:pt x="0" y="435077"/>
                  </a:lnTo>
                  <a:close/>
                </a:path>
              </a:pathLst>
            </a:custGeom>
            <a:grpFill/>
            <a:ln w="27192" cap="flat">
              <a:noFill/>
              <a:prstDash val="solid"/>
              <a:miter/>
            </a:ln>
          </p:spPr>
          <p:txBody>
            <a:bodyPr rtlCol="0" anchor="ctr"/>
            <a:lstStyle/>
            <a:p>
              <a:endParaRPr lang="uk-UA" sz="900"/>
            </a:p>
          </p:txBody>
        </p:sp>
        <p:sp>
          <p:nvSpPr>
            <p:cNvPr id="65" name="Freeform: Shape 64">
              <a:extLst>
                <a:ext uri="{FF2B5EF4-FFF2-40B4-BE49-F238E27FC236}">
                  <a16:creationId xmlns:a16="http://schemas.microsoft.com/office/drawing/2014/main" id="{0CB5FF60-C5B6-78F8-CD5B-FBC81CCDF761}"/>
                </a:ext>
              </a:extLst>
            </p:cNvPr>
            <p:cNvSpPr/>
            <p:nvPr/>
          </p:nvSpPr>
          <p:spPr>
            <a:xfrm>
              <a:off x="15628536" y="1098754"/>
              <a:ext cx="435077" cy="435077"/>
            </a:xfrm>
            <a:custGeom>
              <a:avLst/>
              <a:gdLst>
                <a:gd name="connsiteX0" fmla="*/ 435077 w 435077"/>
                <a:gd name="connsiteY0" fmla="*/ 435077 h 435077"/>
                <a:gd name="connsiteX1" fmla="*/ 435077 w 435077"/>
                <a:gd name="connsiteY1" fmla="*/ 217547 h 435077"/>
                <a:gd name="connsiteX2" fmla="*/ 435077 w 435077"/>
                <a:gd name="connsiteY2" fmla="*/ 16 h 435077"/>
                <a:gd name="connsiteX3" fmla="*/ 217567 w 435077"/>
                <a:gd name="connsiteY3" fmla="*/ 16 h 435077"/>
                <a:gd name="connsiteX4" fmla="*/ 435077 w 435077"/>
                <a:gd name="connsiteY4" fmla="*/ 217547 h 435077"/>
                <a:gd name="connsiteX5" fmla="*/ 217567 w 435077"/>
                <a:gd name="connsiteY5" fmla="*/ 435077 h 435077"/>
                <a:gd name="connsiteX6" fmla="*/ 435077 w 435077"/>
                <a:gd name="connsiteY6" fmla="*/ 435077 h 435077"/>
                <a:gd name="connsiteX7" fmla="*/ 0 w 435077"/>
                <a:gd name="connsiteY7" fmla="*/ 217531 h 435077"/>
                <a:gd name="connsiteX8" fmla="*/ 0 w 435077"/>
                <a:gd name="connsiteY8" fmla="*/ 0 h 435077"/>
                <a:gd name="connsiteX9" fmla="*/ 217539 w 435077"/>
                <a:gd name="connsiteY9" fmla="*/ 217531 h 435077"/>
                <a:gd name="connsiteX10" fmla="*/ 0 w 435077"/>
                <a:gd name="connsiteY10" fmla="*/ 217531 h 435077"/>
                <a:gd name="connsiteX11" fmla="*/ 0 w 435077"/>
                <a:gd name="connsiteY11" fmla="*/ 435072 h 435077"/>
                <a:gd name="connsiteX12" fmla="*/ 0 w 435077"/>
                <a:gd name="connsiteY12" fmla="*/ 217541 h 435077"/>
                <a:gd name="connsiteX13" fmla="*/ 217539 w 435077"/>
                <a:gd name="connsiteY13" fmla="*/ 217541 h 435077"/>
                <a:gd name="connsiteX14" fmla="*/ 0 w 435077"/>
                <a:gd name="connsiteY14" fmla="*/ 43507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47"/>
                  </a:lnTo>
                  <a:lnTo>
                    <a:pt x="435077" y="16"/>
                  </a:lnTo>
                  <a:lnTo>
                    <a:pt x="217567" y="16"/>
                  </a:lnTo>
                  <a:lnTo>
                    <a:pt x="435077" y="217547"/>
                  </a:lnTo>
                  <a:lnTo>
                    <a:pt x="217567" y="435077"/>
                  </a:lnTo>
                  <a:lnTo>
                    <a:pt x="435077" y="435077"/>
                  </a:lnTo>
                  <a:close/>
                  <a:moveTo>
                    <a:pt x="0" y="217531"/>
                  </a:moveTo>
                  <a:lnTo>
                    <a:pt x="0" y="0"/>
                  </a:lnTo>
                  <a:lnTo>
                    <a:pt x="217539" y="217531"/>
                  </a:lnTo>
                  <a:lnTo>
                    <a:pt x="0" y="217531"/>
                  </a:lnTo>
                  <a:close/>
                  <a:moveTo>
                    <a:pt x="0" y="435072"/>
                  </a:moveTo>
                  <a:lnTo>
                    <a:pt x="0" y="217541"/>
                  </a:lnTo>
                  <a:lnTo>
                    <a:pt x="217539" y="217541"/>
                  </a:lnTo>
                  <a:lnTo>
                    <a:pt x="0" y="435072"/>
                  </a:lnTo>
                  <a:close/>
                </a:path>
              </a:pathLst>
            </a:custGeom>
            <a:grpFill/>
            <a:ln w="27192" cap="flat">
              <a:noFill/>
              <a:prstDash val="solid"/>
              <a:miter/>
            </a:ln>
          </p:spPr>
          <p:txBody>
            <a:bodyPr rtlCol="0" anchor="ctr"/>
            <a:lstStyle/>
            <a:p>
              <a:endParaRPr lang="uk-UA" sz="900"/>
            </a:p>
          </p:txBody>
        </p:sp>
        <p:sp>
          <p:nvSpPr>
            <p:cNvPr id="66" name="Freeform: Shape 65">
              <a:extLst>
                <a:ext uri="{FF2B5EF4-FFF2-40B4-BE49-F238E27FC236}">
                  <a16:creationId xmlns:a16="http://schemas.microsoft.com/office/drawing/2014/main" id="{EB34B526-E843-A669-D4F6-66AEB063AD8D}"/>
                </a:ext>
              </a:extLst>
            </p:cNvPr>
            <p:cNvSpPr/>
            <p:nvPr/>
          </p:nvSpPr>
          <p:spPr>
            <a:xfrm>
              <a:off x="16498719" y="1098754"/>
              <a:ext cx="435077" cy="435077"/>
            </a:xfrm>
            <a:custGeom>
              <a:avLst/>
              <a:gdLst>
                <a:gd name="connsiteX0" fmla="*/ 217539 w 435077"/>
                <a:gd name="connsiteY0" fmla="*/ 435069 h 435077"/>
                <a:gd name="connsiteX1" fmla="*/ 217539 w 435077"/>
                <a:gd name="connsiteY1" fmla="*/ 0 h 435077"/>
                <a:gd name="connsiteX2" fmla="*/ 435077 w 435077"/>
                <a:gd name="connsiteY2" fmla="*/ 217541 h 435077"/>
                <a:gd name="connsiteX3" fmla="*/ 217539 w 435077"/>
                <a:gd name="connsiteY3" fmla="*/ 435069 h 435077"/>
                <a:gd name="connsiteX4" fmla="*/ 0 w 435077"/>
                <a:gd name="connsiteY4" fmla="*/ 435077 h 435077"/>
                <a:gd name="connsiteX5" fmla="*/ 0 w 435077"/>
                <a:gd name="connsiteY5" fmla="*/ 8 h 435077"/>
                <a:gd name="connsiteX6" fmla="*/ 217539 w 435077"/>
                <a:gd name="connsiteY6" fmla="*/ 217547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69"/>
                  </a:moveTo>
                  <a:lnTo>
                    <a:pt x="217539" y="0"/>
                  </a:lnTo>
                  <a:lnTo>
                    <a:pt x="435077" y="217541"/>
                  </a:lnTo>
                  <a:lnTo>
                    <a:pt x="217539" y="435069"/>
                  </a:lnTo>
                  <a:close/>
                  <a:moveTo>
                    <a:pt x="0" y="435077"/>
                  </a:moveTo>
                  <a:lnTo>
                    <a:pt x="0" y="8"/>
                  </a:lnTo>
                  <a:lnTo>
                    <a:pt x="217539" y="217547"/>
                  </a:lnTo>
                  <a:lnTo>
                    <a:pt x="0" y="435077"/>
                  </a:lnTo>
                  <a:close/>
                </a:path>
              </a:pathLst>
            </a:custGeom>
            <a:grpFill/>
            <a:ln w="27192" cap="flat">
              <a:noFill/>
              <a:prstDash val="solid"/>
              <a:miter/>
            </a:ln>
          </p:spPr>
          <p:txBody>
            <a:bodyPr rtlCol="0" anchor="ctr"/>
            <a:lstStyle/>
            <a:p>
              <a:endParaRPr lang="uk-UA" sz="900"/>
            </a:p>
          </p:txBody>
        </p:sp>
        <p:sp>
          <p:nvSpPr>
            <p:cNvPr id="67" name="Freeform: Shape 66">
              <a:extLst>
                <a:ext uri="{FF2B5EF4-FFF2-40B4-BE49-F238E27FC236}">
                  <a16:creationId xmlns:a16="http://schemas.microsoft.com/office/drawing/2014/main" id="{2295EA93-8488-EBEF-EAA8-422997385A3F}"/>
                </a:ext>
              </a:extLst>
            </p:cNvPr>
            <p:cNvSpPr/>
            <p:nvPr/>
          </p:nvSpPr>
          <p:spPr>
            <a:xfrm>
              <a:off x="18239029" y="1098754"/>
              <a:ext cx="435077" cy="435077"/>
            </a:xfrm>
            <a:custGeom>
              <a:avLst/>
              <a:gdLst>
                <a:gd name="connsiteX0" fmla="*/ 63710 w 435077"/>
                <a:gd name="connsiteY0" fmla="*/ 153824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4 h 435077"/>
                <a:gd name="connsiteX5" fmla="*/ 217539 w 435077"/>
                <a:gd name="connsiteY5" fmla="*/ 217539 h 435077"/>
                <a:gd name="connsiteX6" fmla="*/ 63710 w 435077"/>
                <a:gd name="connsiteY6" fmla="*/ 153824 h 435077"/>
                <a:gd name="connsiteX7" fmla="*/ 63710 w 435077"/>
                <a:gd name="connsiteY7" fmla="*/ 281256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6 h 435077"/>
                <a:gd name="connsiteX12" fmla="*/ 217539 w 435077"/>
                <a:gd name="connsiteY12" fmla="*/ 217539 h 435077"/>
                <a:gd name="connsiteX13" fmla="*/ 63710 w 435077"/>
                <a:gd name="connsiteY13" fmla="*/ 281256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4"/>
                  </a:moveTo>
                  <a:cubicBezTo>
                    <a:pt x="22922" y="113028"/>
                    <a:pt x="0" y="57697"/>
                    <a:pt x="0" y="0"/>
                  </a:cubicBezTo>
                  <a:lnTo>
                    <a:pt x="217539" y="0"/>
                  </a:lnTo>
                  <a:lnTo>
                    <a:pt x="435077" y="0"/>
                  </a:lnTo>
                  <a:cubicBezTo>
                    <a:pt x="435077" y="57697"/>
                    <a:pt x="412154" y="113028"/>
                    <a:pt x="371365" y="153824"/>
                  </a:cubicBezTo>
                  <a:cubicBezTo>
                    <a:pt x="330577" y="194621"/>
                    <a:pt x="275241" y="217539"/>
                    <a:pt x="217539" y="217539"/>
                  </a:cubicBezTo>
                  <a:cubicBezTo>
                    <a:pt x="159836" y="217539"/>
                    <a:pt x="104527" y="194621"/>
                    <a:pt x="63710" y="153824"/>
                  </a:cubicBezTo>
                  <a:close/>
                  <a:moveTo>
                    <a:pt x="63710" y="281256"/>
                  </a:moveTo>
                  <a:cubicBezTo>
                    <a:pt x="22922" y="322052"/>
                    <a:pt x="0" y="377383"/>
                    <a:pt x="0" y="435077"/>
                  </a:cubicBezTo>
                  <a:lnTo>
                    <a:pt x="217539" y="435077"/>
                  </a:lnTo>
                  <a:lnTo>
                    <a:pt x="435077" y="435077"/>
                  </a:lnTo>
                  <a:cubicBezTo>
                    <a:pt x="435077" y="377383"/>
                    <a:pt x="412154" y="322052"/>
                    <a:pt x="371365" y="281256"/>
                  </a:cubicBezTo>
                  <a:cubicBezTo>
                    <a:pt x="330577" y="240459"/>
                    <a:pt x="275241" y="217539"/>
                    <a:pt x="217539" y="217539"/>
                  </a:cubicBezTo>
                  <a:cubicBezTo>
                    <a:pt x="159836" y="217539"/>
                    <a:pt x="104527" y="240459"/>
                    <a:pt x="63710" y="281256"/>
                  </a:cubicBezTo>
                  <a:close/>
                </a:path>
              </a:pathLst>
            </a:custGeom>
            <a:grpFill/>
            <a:ln w="27192" cap="flat">
              <a:noFill/>
              <a:prstDash val="solid"/>
              <a:miter/>
            </a:ln>
          </p:spPr>
          <p:txBody>
            <a:bodyPr rtlCol="0" anchor="ctr"/>
            <a:lstStyle/>
            <a:p>
              <a:endParaRPr lang="uk-UA" sz="900"/>
            </a:p>
          </p:txBody>
        </p:sp>
        <p:sp>
          <p:nvSpPr>
            <p:cNvPr id="68" name="Freeform: Shape 67">
              <a:extLst>
                <a:ext uri="{FF2B5EF4-FFF2-40B4-BE49-F238E27FC236}">
                  <a16:creationId xmlns:a16="http://schemas.microsoft.com/office/drawing/2014/main" id="{1FFD36A5-CF17-AB83-03F3-7FF93D2645D1}"/>
                </a:ext>
              </a:extLst>
            </p:cNvPr>
            <p:cNvSpPr/>
            <p:nvPr/>
          </p:nvSpPr>
          <p:spPr>
            <a:xfrm>
              <a:off x="17368874" y="1098754"/>
              <a:ext cx="435077" cy="435077"/>
            </a:xfrm>
            <a:custGeom>
              <a:avLst/>
              <a:gdLst>
                <a:gd name="connsiteX0" fmla="*/ 435077 w 435077"/>
                <a:gd name="connsiteY0" fmla="*/ 435077 h 435077"/>
                <a:gd name="connsiteX1" fmla="*/ 435077 w 435077"/>
                <a:gd name="connsiteY1" fmla="*/ 0 h 435077"/>
                <a:gd name="connsiteX2" fmla="*/ 217539 w 435077"/>
                <a:gd name="connsiteY2" fmla="*/ 217544 h 435077"/>
                <a:gd name="connsiteX3" fmla="*/ 435077 w 435077"/>
                <a:gd name="connsiteY3" fmla="*/ 435077 h 435077"/>
                <a:gd name="connsiteX4" fmla="*/ 0 w 435077"/>
                <a:gd name="connsiteY4" fmla="*/ 435077 h 435077"/>
                <a:gd name="connsiteX5" fmla="*/ 0 w 435077"/>
                <a:gd name="connsiteY5" fmla="*/ 3 h 435077"/>
                <a:gd name="connsiteX6" fmla="*/ 217510 w 435077"/>
                <a:gd name="connsiteY6" fmla="*/ 217544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44"/>
                  </a:lnTo>
                  <a:lnTo>
                    <a:pt x="435077" y="435077"/>
                  </a:lnTo>
                  <a:close/>
                  <a:moveTo>
                    <a:pt x="0" y="435077"/>
                  </a:moveTo>
                  <a:lnTo>
                    <a:pt x="0" y="3"/>
                  </a:lnTo>
                  <a:lnTo>
                    <a:pt x="217510" y="217544"/>
                  </a:lnTo>
                  <a:lnTo>
                    <a:pt x="0" y="435077"/>
                  </a:lnTo>
                  <a:close/>
                </a:path>
              </a:pathLst>
            </a:custGeom>
            <a:grpFill/>
            <a:ln w="27192" cap="flat">
              <a:noFill/>
              <a:prstDash val="solid"/>
              <a:miter/>
            </a:ln>
          </p:spPr>
          <p:txBody>
            <a:bodyPr rtlCol="0" anchor="ctr"/>
            <a:lstStyle/>
            <a:p>
              <a:endParaRPr lang="uk-UA" sz="900"/>
            </a:p>
          </p:txBody>
        </p:sp>
        <p:sp>
          <p:nvSpPr>
            <p:cNvPr id="69" name="Freeform: Shape 68">
              <a:extLst>
                <a:ext uri="{FF2B5EF4-FFF2-40B4-BE49-F238E27FC236}">
                  <a16:creationId xmlns:a16="http://schemas.microsoft.com/office/drawing/2014/main" id="{6A0063C1-FADB-1CCA-31E3-1EBDA802896F}"/>
                </a:ext>
              </a:extLst>
            </p:cNvPr>
            <p:cNvSpPr/>
            <p:nvPr/>
          </p:nvSpPr>
          <p:spPr>
            <a:xfrm>
              <a:off x="19109210" y="1098754"/>
              <a:ext cx="435077" cy="435077"/>
            </a:xfrm>
            <a:custGeom>
              <a:avLst/>
              <a:gdLst>
                <a:gd name="connsiteX0" fmla="*/ 435077 w 435077"/>
                <a:gd name="connsiteY0" fmla="*/ 435077 h 435077"/>
                <a:gd name="connsiteX1" fmla="*/ 435077 w 435077"/>
                <a:gd name="connsiteY1" fmla="*/ 217547 h 435077"/>
                <a:gd name="connsiteX2" fmla="*/ 435077 w 435077"/>
                <a:gd name="connsiteY2" fmla="*/ 16 h 435077"/>
                <a:gd name="connsiteX3" fmla="*/ 217539 w 435077"/>
                <a:gd name="connsiteY3" fmla="*/ 16 h 435077"/>
                <a:gd name="connsiteX4" fmla="*/ 435077 w 435077"/>
                <a:gd name="connsiteY4" fmla="*/ 217547 h 435077"/>
                <a:gd name="connsiteX5" fmla="*/ 217539 w 435077"/>
                <a:gd name="connsiteY5" fmla="*/ 435077 h 435077"/>
                <a:gd name="connsiteX6" fmla="*/ 435077 w 435077"/>
                <a:gd name="connsiteY6" fmla="*/ 435077 h 435077"/>
                <a:gd name="connsiteX7" fmla="*/ 0 w 435077"/>
                <a:gd name="connsiteY7" fmla="*/ 217531 h 435077"/>
                <a:gd name="connsiteX8" fmla="*/ 0 w 435077"/>
                <a:gd name="connsiteY8" fmla="*/ 0 h 435077"/>
                <a:gd name="connsiteX9" fmla="*/ 217512 w 435077"/>
                <a:gd name="connsiteY9" fmla="*/ 217531 h 435077"/>
                <a:gd name="connsiteX10" fmla="*/ 0 w 435077"/>
                <a:gd name="connsiteY10" fmla="*/ 217531 h 435077"/>
                <a:gd name="connsiteX11" fmla="*/ 0 w 435077"/>
                <a:gd name="connsiteY11" fmla="*/ 435072 h 435077"/>
                <a:gd name="connsiteX12" fmla="*/ 0 w 435077"/>
                <a:gd name="connsiteY12" fmla="*/ 217541 h 435077"/>
                <a:gd name="connsiteX13" fmla="*/ 217512 w 435077"/>
                <a:gd name="connsiteY13" fmla="*/ 217541 h 435077"/>
                <a:gd name="connsiteX14" fmla="*/ 0 w 435077"/>
                <a:gd name="connsiteY14" fmla="*/ 43507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47"/>
                  </a:lnTo>
                  <a:lnTo>
                    <a:pt x="435077" y="16"/>
                  </a:lnTo>
                  <a:lnTo>
                    <a:pt x="217539" y="16"/>
                  </a:lnTo>
                  <a:lnTo>
                    <a:pt x="435077" y="217547"/>
                  </a:lnTo>
                  <a:lnTo>
                    <a:pt x="217539" y="435077"/>
                  </a:lnTo>
                  <a:lnTo>
                    <a:pt x="435077" y="435077"/>
                  </a:lnTo>
                  <a:close/>
                  <a:moveTo>
                    <a:pt x="0" y="217531"/>
                  </a:moveTo>
                  <a:lnTo>
                    <a:pt x="0" y="0"/>
                  </a:lnTo>
                  <a:lnTo>
                    <a:pt x="217512" y="217531"/>
                  </a:lnTo>
                  <a:lnTo>
                    <a:pt x="0" y="217531"/>
                  </a:lnTo>
                  <a:close/>
                  <a:moveTo>
                    <a:pt x="0" y="435072"/>
                  </a:moveTo>
                  <a:lnTo>
                    <a:pt x="0" y="217541"/>
                  </a:lnTo>
                  <a:lnTo>
                    <a:pt x="217512" y="217541"/>
                  </a:lnTo>
                  <a:lnTo>
                    <a:pt x="0" y="435072"/>
                  </a:lnTo>
                  <a:close/>
                </a:path>
              </a:pathLst>
            </a:custGeom>
            <a:grpFill/>
            <a:ln w="27192" cap="flat">
              <a:noFill/>
              <a:prstDash val="solid"/>
              <a:miter/>
            </a:ln>
          </p:spPr>
          <p:txBody>
            <a:bodyPr rtlCol="0" anchor="ctr"/>
            <a:lstStyle/>
            <a:p>
              <a:endParaRPr lang="uk-UA" sz="900"/>
            </a:p>
          </p:txBody>
        </p:sp>
        <p:sp>
          <p:nvSpPr>
            <p:cNvPr id="70" name="Freeform: Shape 69">
              <a:extLst>
                <a:ext uri="{FF2B5EF4-FFF2-40B4-BE49-F238E27FC236}">
                  <a16:creationId xmlns:a16="http://schemas.microsoft.com/office/drawing/2014/main" id="{3CD36D04-C4F3-652F-C860-1E16844AC045}"/>
                </a:ext>
              </a:extLst>
            </p:cNvPr>
            <p:cNvSpPr/>
            <p:nvPr/>
          </p:nvSpPr>
          <p:spPr>
            <a:xfrm>
              <a:off x="19979365" y="1098754"/>
              <a:ext cx="435077" cy="435077"/>
            </a:xfrm>
            <a:custGeom>
              <a:avLst/>
              <a:gdLst>
                <a:gd name="connsiteX0" fmla="*/ 217539 w 435077"/>
                <a:gd name="connsiteY0" fmla="*/ 435069 h 435077"/>
                <a:gd name="connsiteX1" fmla="*/ 217539 w 435077"/>
                <a:gd name="connsiteY1" fmla="*/ 0 h 435077"/>
                <a:gd name="connsiteX2" fmla="*/ 435077 w 435077"/>
                <a:gd name="connsiteY2" fmla="*/ 217541 h 435077"/>
                <a:gd name="connsiteX3" fmla="*/ 217539 w 435077"/>
                <a:gd name="connsiteY3" fmla="*/ 435069 h 435077"/>
                <a:gd name="connsiteX4" fmla="*/ 0 w 435077"/>
                <a:gd name="connsiteY4" fmla="*/ 435077 h 435077"/>
                <a:gd name="connsiteX5" fmla="*/ 0 w 435077"/>
                <a:gd name="connsiteY5" fmla="*/ 8 h 435077"/>
                <a:gd name="connsiteX6" fmla="*/ 217539 w 435077"/>
                <a:gd name="connsiteY6" fmla="*/ 217547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69"/>
                  </a:moveTo>
                  <a:lnTo>
                    <a:pt x="217539" y="0"/>
                  </a:lnTo>
                  <a:lnTo>
                    <a:pt x="435077" y="217541"/>
                  </a:lnTo>
                  <a:lnTo>
                    <a:pt x="217539" y="435069"/>
                  </a:lnTo>
                  <a:close/>
                  <a:moveTo>
                    <a:pt x="0" y="435077"/>
                  </a:moveTo>
                  <a:lnTo>
                    <a:pt x="0" y="8"/>
                  </a:lnTo>
                  <a:lnTo>
                    <a:pt x="217539" y="217547"/>
                  </a:lnTo>
                  <a:lnTo>
                    <a:pt x="0" y="435077"/>
                  </a:lnTo>
                  <a:close/>
                </a:path>
              </a:pathLst>
            </a:custGeom>
            <a:grpFill/>
            <a:ln w="27192" cap="flat">
              <a:noFill/>
              <a:prstDash val="solid"/>
              <a:miter/>
            </a:ln>
          </p:spPr>
          <p:txBody>
            <a:bodyPr rtlCol="0" anchor="ctr"/>
            <a:lstStyle/>
            <a:p>
              <a:endParaRPr lang="uk-UA" sz="900"/>
            </a:p>
          </p:txBody>
        </p:sp>
        <p:sp>
          <p:nvSpPr>
            <p:cNvPr id="71" name="Freeform: Shape 70">
              <a:extLst>
                <a:ext uri="{FF2B5EF4-FFF2-40B4-BE49-F238E27FC236}">
                  <a16:creationId xmlns:a16="http://schemas.microsoft.com/office/drawing/2014/main" id="{0DAC703D-6D76-45CB-5389-40CF9E1905C7}"/>
                </a:ext>
              </a:extLst>
            </p:cNvPr>
            <p:cNvSpPr/>
            <p:nvPr/>
          </p:nvSpPr>
          <p:spPr>
            <a:xfrm>
              <a:off x="21719702" y="1098754"/>
              <a:ext cx="435077" cy="435077"/>
            </a:xfrm>
            <a:custGeom>
              <a:avLst/>
              <a:gdLst>
                <a:gd name="connsiteX0" fmla="*/ 63712 w 435077"/>
                <a:gd name="connsiteY0" fmla="*/ 153824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4 h 435077"/>
                <a:gd name="connsiteX5" fmla="*/ 217539 w 435077"/>
                <a:gd name="connsiteY5" fmla="*/ 217539 h 435077"/>
                <a:gd name="connsiteX6" fmla="*/ 63712 w 435077"/>
                <a:gd name="connsiteY6" fmla="*/ 153824 h 435077"/>
                <a:gd name="connsiteX7" fmla="*/ 63712 w 435077"/>
                <a:gd name="connsiteY7" fmla="*/ 281256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56 h 435077"/>
                <a:gd name="connsiteX12" fmla="*/ 217539 w 435077"/>
                <a:gd name="connsiteY12" fmla="*/ 217539 h 435077"/>
                <a:gd name="connsiteX13" fmla="*/ 63712 w 435077"/>
                <a:gd name="connsiteY13" fmla="*/ 281256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4"/>
                  </a:moveTo>
                  <a:cubicBezTo>
                    <a:pt x="22897" y="113028"/>
                    <a:pt x="0" y="57697"/>
                    <a:pt x="0" y="0"/>
                  </a:cubicBezTo>
                  <a:lnTo>
                    <a:pt x="217539" y="0"/>
                  </a:lnTo>
                  <a:lnTo>
                    <a:pt x="435077" y="0"/>
                  </a:lnTo>
                  <a:cubicBezTo>
                    <a:pt x="435077" y="57697"/>
                    <a:pt x="412155" y="113028"/>
                    <a:pt x="371339" y="153824"/>
                  </a:cubicBezTo>
                  <a:cubicBezTo>
                    <a:pt x="330550" y="194621"/>
                    <a:pt x="275215" y="217539"/>
                    <a:pt x="217539" y="217539"/>
                  </a:cubicBezTo>
                  <a:cubicBezTo>
                    <a:pt x="159838" y="217539"/>
                    <a:pt x="104501" y="194621"/>
                    <a:pt x="63712" y="153824"/>
                  </a:cubicBezTo>
                  <a:close/>
                  <a:moveTo>
                    <a:pt x="63712" y="281256"/>
                  </a:moveTo>
                  <a:cubicBezTo>
                    <a:pt x="22897" y="322052"/>
                    <a:pt x="0" y="377383"/>
                    <a:pt x="0" y="435077"/>
                  </a:cubicBezTo>
                  <a:lnTo>
                    <a:pt x="217539" y="435077"/>
                  </a:lnTo>
                  <a:lnTo>
                    <a:pt x="435077" y="435077"/>
                  </a:lnTo>
                  <a:cubicBezTo>
                    <a:pt x="435077" y="377383"/>
                    <a:pt x="412155" y="322052"/>
                    <a:pt x="371339" y="281256"/>
                  </a:cubicBezTo>
                  <a:cubicBezTo>
                    <a:pt x="330550" y="240459"/>
                    <a:pt x="275215" y="217539"/>
                    <a:pt x="217539" y="217539"/>
                  </a:cubicBezTo>
                  <a:cubicBezTo>
                    <a:pt x="159838" y="217539"/>
                    <a:pt x="104501" y="240459"/>
                    <a:pt x="63712" y="281256"/>
                  </a:cubicBezTo>
                  <a:close/>
                </a:path>
              </a:pathLst>
            </a:custGeom>
            <a:grpFill/>
            <a:ln w="27192" cap="flat">
              <a:noFill/>
              <a:prstDash val="solid"/>
              <a:miter/>
            </a:ln>
          </p:spPr>
          <p:txBody>
            <a:bodyPr rtlCol="0" anchor="ctr"/>
            <a:lstStyle/>
            <a:p>
              <a:endParaRPr lang="uk-UA" sz="900"/>
            </a:p>
          </p:txBody>
        </p:sp>
        <p:sp>
          <p:nvSpPr>
            <p:cNvPr id="72" name="Freeform: Shape 71">
              <a:extLst>
                <a:ext uri="{FF2B5EF4-FFF2-40B4-BE49-F238E27FC236}">
                  <a16:creationId xmlns:a16="http://schemas.microsoft.com/office/drawing/2014/main" id="{DF998D56-8B27-13C2-EC5E-2829B37AB5D8}"/>
                </a:ext>
              </a:extLst>
            </p:cNvPr>
            <p:cNvSpPr/>
            <p:nvPr/>
          </p:nvSpPr>
          <p:spPr>
            <a:xfrm>
              <a:off x="20849520" y="1098754"/>
              <a:ext cx="435077" cy="435077"/>
            </a:xfrm>
            <a:custGeom>
              <a:avLst/>
              <a:gdLst>
                <a:gd name="connsiteX0" fmla="*/ 435077 w 435077"/>
                <a:gd name="connsiteY0" fmla="*/ 435077 h 435077"/>
                <a:gd name="connsiteX1" fmla="*/ 435077 w 435077"/>
                <a:gd name="connsiteY1" fmla="*/ 0 h 435077"/>
                <a:gd name="connsiteX2" fmla="*/ 217565 w 435077"/>
                <a:gd name="connsiteY2" fmla="*/ 217544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44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44"/>
                  </a:lnTo>
                  <a:lnTo>
                    <a:pt x="435077" y="435077"/>
                  </a:lnTo>
                  <a:close/>
                  <a:moveTo>
                    <a:pt x="0" y="435077"/>
                  </a:moveTo>
                  <a:lnTo>
                    <a:pt x="0" y="3"/>
                  </a:lnTo>
                  <a:lnTo>
                    <a:pt x="217539" y="217544"/>
                  </a:lnTo>
                  <a:lnTo>
                    <a:pt x="0" y="435077"/>
                  </a:lnTo>
                  <a:close/>
                </a:path>
              </a:pathLst>
            </a:custGeom>
            <a:grpFill/>
            <a:ln w="27192" cap="flat">
              <a:noFill/>
              <a:prstDash val="solid"/>
              <a:miter/>
            </a:ln>
          </p:spPr>
          <p:txBody>
            <a:bodyPr rtlCol="0" anchor="ctr"/>
            <a:lstStyle/>
            <a:p>
              <a:endParaRPr lang="uk-UA" sz="900"/>
            </a:p>
          </p:txBody>
        </p:sp>
        <p:sp>
          <p:nvSpPr>
            <p:cNvPr id="73" name="Freeform: Shape 72">
              <a:extLst>
                <a:ext uri="{FF2B5EF4-FFF2-40B4-BE49-F238E27FC236}">
                  <a16:creationId xmlns:a16="http://schemas.microsoft.com/office/drawing/2014/main" id="{B58356A7-E3DF-87A9-C707-316545398A90}"/>
                </a:ext>
              </a:extLst>
            </p:cNvPr>
            <p:cNvSpPr/>
            <p:nvPr/>
          </p:nvSpPr>
          <p:spPr>
            <a:xfrm>
              <a:off x="22589856" y="1098754"/>
              <a:ext cx="435077" cy="435077"/>
            </a:xfrm>
            <a:custGeom>
              <a:avLst/>
              <a:gdLst>
                <a:gd name="connsiteX0" fmla="*/ 435077 w 435077"/>
                <a:gd name="connsiteY0" fmla="*/ 435077 h 435077"/>
                <a:gd name="connsiteX1" fmla="*/ 435077 w 435077"/>
                <a:gd name="connsiteY1" fmla="*/ 217547 h 435077"/>
                <a:gd name="connsiteX2" fmla="*/ 435077 w 435077"/>
                <a:gd name="connsiteY2" fmla="*/ 16 h 435077"/>
                <a:gd name="connsiteX3" fmla="*/ 217567 w 435077"/>
                <a:gd name="connsiteY3" fmla="*/ 16 h 435077"/>
                <a:gd name="connsiteX4" fmla="*/ 435077 w 435077"/>
                <a:gd name="connsiteY4" fmla="*/ 217547 h 435077"/>
                <a:gd name="connsiteX5" fmla="*/ 217567 w 435077"/>
                <a:gd name="connsiteY5" fmla="*/ 435077 h 435077"/>
                <a:gd name="connsiteX6" fmla="*/ 435077 w 435077"/>
                <a:gd name="connsiteY6" fmla="*/ 435077 h 435077"/>
                <a:gd name="connsiteX7" fmla="*/ 0 w 435077"/>
                <a:gd name="connsiteY7" fmla="*/ 217531 h 435077"/>
                <a:gd name="connsiteX8" fmla="*/ 0 w 435077"/>
                <a:gd name="connsiteY8" fmla="*/ 0 h 435077"/>
                <a:gd name="connsiteX9" fmla="*/ 217539 w 435077"/>
                <a:gd name="connsiteY9" fmla="*/ 217531 h 435077"/>
                <a:gd name="connsiteX10" fmla="*/ 0 w 435077"/>
                <a:gd name="connsiteY10" fmla="*/ 217531 h 435077"/>
                <a:gd name="connsiteX11" fmla="*/ 0 w 435077"/>
                <a:gd name="connsiteY11" fmla="*/ 435072 h 435077"/>
                <a:gd name="connsiteX12" fmla="*/ 0 w 435077"/>
                <a:gd name="connsiteY12" fmla="*/ 217541 h 435077"/>
                <a:gd name="connsiteX13" fmla="*/ 217539 w 435077"/>
                <a:gd name="connsiteY13" fmla="*/ 217541 h 435077"/>
                <a:gd name="connsiteX14" fmla="*/ 0 w 435077"/>
                <a:gd name="connsiteY14" fmla="*/ 43507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47"/>
                  </a:lnTo>
                  <a:lnTo>
                    <a:pt x="435077" y="16"/>
                  </a:lnTo>
                  <a:lnTo>
                    <a:pt x="217567" y="16"/>
                  </a:lnTo>
                  <a:lnTo>
                    <a:pt x="435077" y="217547"/>
                  </a:lnTo>
                  <a:lnTo>
                    <a:pt x="217567" y="435077"/>
                  </a:lnTo>
                  <a:lnTo>
                    <a:pt x="435077" y="435077"/>
                  </a:lnTo>
                  <a:close/>
                  <a:moveTo>
                    <a:pt x="0" y="217531"/>
                  </a:moveTo>
                  <a:lnTo>
                    <a:pt x="0" y="0"/>
                  </a:lnTo>
                  <a:lnTo>
                    <a:pt x="217539" y="217531"/>
                  </a:lnTo>
                  <a:lnTo>
                    <a:pt x="0" y="217531"/>
                  </a:lnTo>
                  <a:close/>
                  <a:moveTo>
                    <a:pt x="0" y="435072"/>
                  </a:moveTo>
                  <a:lnTo>
                    <a:pt x="0" y="217541"/>
                  </a:lnTo>
                  <a:lnTo>
                    <a:pt x="217539" y="217541"/>
                  </a:lnTo>
                  <a:lnTo>
                    <a:pt x="0" y="435072"/>
                  </a:lnTo>
                  <a:close/>
                </a:path>
              </a:pathLst>
            </a:custGeom>
            <a:grpFill/>
            <a:ln w="27192" cap="flat">
              <a:noFill/>
              <a:prstDash val="solid"/>
              <a:miter/>
            </a:ln>
          </p:spPr>
          <p:txBody>
            <a:bodyPr rtlCol="0" anchor="ctr"/>
            <a:lstStyle/>
            <a:p>
              <a:endParaRPr lang="uk-UA" sz="900"/>
            </a:p>
          </p:txBody>
        </p:sp>
        <p:sp>
          <p:nvSpPr>
            <p:cNvPr id="74" name="Freeform: Shape 73">
              <a:extLst>
                <a:ext uri="{FF2B5EF4-FFF2-40B4-BE49-F238E27FC236}">
                  <a16:creationId xmlns:a16="http://schemas.microsoft.com/office/drawing/2014/main" id="{7DAAFFF1-49C8-6361-71B8-BD5B00B7F8E3}"/>
                </a:ext>
              </a:extLst>
            </p:cNvPr>
            <p:cNvSpPr/>
            <p:nvPr/>
          </p:nvSpPr>
          <p:spPr>
            <a:xfrm>
              <a:off x="23460039" y="1098754"/>
              <a:ext cx="435077" cy="435077"/>
            </a:xfrm>
            <a:custGeom>
              <a:avLst/>
              <a:gdLst>
                <a:gd name="connsiteX0" fmla="*/ 217539 w 435077"/>
                <a:gd name="connsiteY0" fmla="*/ 435069 h 435077"/>
                <a:gd name="connsiteX1" fmla="*/ 217539 w 435077"/>
                <a:gd name="connsiteY1" fmla="*/ 0 h 435077"/>
                <a:gd name="connsiteX2" fmla="*/ 435077 w 435077"/>
                <a:gd name="connsiteY2" fmla="*/ 217541 h 435077"/>
                <a:gd name="connsiteX3" fmla="*/ 217539 w 435077"/>
                <a:gd name="connsiteY3" fmla="*/ 435069 h 435077"/>
                <a:gd name="connsiteX4" fmla="*/ 0 w 435077"/>
                <a:gd name="connsiteY4" fmla="*/ 435077 h 435077"/>
                <a:gd name="connsiteX5" fmla="*/ 0 w 435077"/>
                <a:gd name="connsiteY5" fmla="*/ 8 h 435077"/>
                <a:gd name="connsiteX6" fmla="*/ 217539 w 435077"/>
                <a:gd name="connsiteY6" fmla="*/ 217547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69"/>
                  </a:moveTo>
                  <a:lnTo>
                    <a:pt x="217539" y="0"/>
                  </a:lnTo>
                  <a:lnTo>
                    <a:pt x="435077" y="217541"/>
                  </a:lnTo>
                  <a:lnTo>
                    <a:pt x="217539" y="435069"/>
                  </a:lnTo>
                  <a:close/>
                  <a:moveTo>
                    <a:pt x="0" y="435077"/>
                  </a:moveTo>
                  <a:lnTo>
                    <a:pt x="0" y="8"/>
                  </a:lnTo>
                  <a:lnTo>
                    <a:pt x="217539" y="217547"/>
                  </a:lnTo>
                  <a:lnTo>
                    <a:pt x="0" y="435077"/>
                  </a:lnTo>
                  <a:close/>
                </a:path>
              </a:pathLst>
            </a:custGeom>
            <a:grpFill/>
            <a:ln w="27192" cap="flat">
              <a:noFill/>
              <a:prstDash val="solid"/>
              <a:miter/>
            </a:ln>
          </p:spPr>
          <p:txBody>
            <a:bodyPr rtlCol="0" anchor="ctr"/>
            <a:lstStyle/>
            <a:p>
              <a:endParaRPr lang="uk-UA" sz="900"/>
            </a:p>
          </p:txBody>
        </p:sp>
        <p:sp>
          <p:nvSpPr>
            <p:cNvPr id="75" name="Freeform: Shape 74">
              <a:extLst>
                <a:ext uri="{FF2B5EF4-FFF2-40B4-BE49-F238E27FC236}">
                  <a16:creationId xmlns:a16="http://schemas.microsoft.com/office/drawing/2014/main" id="{6307E039-EAC4-91CA-8957-F847515B1AF4}"/>
                </a:ext>
              </a:extLst>
            </p:cNvPr>
            <p:cNvSpPr/>
            <p:nvPr/>
          </p:nvSpPr>
          <p:spPr>
            <a:xfrm>
              <a:off x="24330194" y="1098754"/>
              <a:ext cx="435077" cy="435077"/>
            </a:xfrm>
            <a:custGeom>
              <a:avLst/>
              <a:gdLst>
                <a:gd name="connsiteX0" fmla="*/ 435077 w 435077"/>
                <a:gd name="connsiteY0" fmla="*/ 435077 h 435077"/>
                <a:gd name="connsiteX1" fmla="*/ 435077 w 435077"/>
                <a:gd name="connsiteY1" fmla="*/ 0 h 435077"/>
                <a:gd name="connsiteX2" fmla="*/ 217539 w 435077"/>
                <a:gd name="connsiteY2" fmla="*/ 217544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44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44"/>
                  </a:lnTo>
                  <a:lnTo>
                    <a:pt x="435077" y="435077"/>
                  </a:lnTo>
                  <a:close/>
                  <a:moveTo>
                    <a:pt x="0" y="435077"/>
                  </a:moveTo>
                  <a:lnTo>
                    <a:pt x="0" y="3"/>
                  </a:lnTo>
                  <a:lnTo>
                    <a:pt x="217539" y="217544"/>
                  </a:lnTo>
                  <a:lnTo>
                    <a:pt x="0" y="435077"/>
                  </a:lnTo>
                  <a:close/>
                </a:path>
              </a:pathLst>
            </a:custGeom>
            <a:grpFill/>
            <a:ln w="27192" cap="flat">
              <a:noFill/>
              <a:prstDash val="solid"/>
              <a:miter/>
            </a:ln>
          </p:spPr>
          <p:txBody>
            <a:bodyPr rtlCol="0" anchor="ctr"/>
            <a:lstStyle/>
            <a:p>
              <a:endParaRPr lang="uk-UA" sz="900"/>
            </a:p>
          </p:txBody>
        </p:sp>
        <p:sp>
          <p:nvSpPr>
            <p:cNvPr id="76" name="Freeform: Shape 75">
              <a:extLst>
                <a:ext uri="{FF2B5EF4-FFF2-40B4-BE49-F238E27FC236}">
                  <a16:creationId xmlns:a16="http://schemas.microsoft.com/office/drawing/2014/main" id="{4BD895F9-43AF-DB81-7E8B-6C8BC4206BF3}"/>
                </a:ext>
              </a:extLst>
            </p:cNvPr>
            <p:cNvSpPr/>
            <p:nvPr/>
          </p:nvSpPr>
          <p:spPr>
            <a:xfrm>
              <a:off x="835769" y="5449529"/>
              <a:ext cx="435077" cy="435077"/>
            </a:xfrm>
            <a:custGeom>
              <a:avLst/>
              <a:gdLst>
                <a:gd name="connsiteX0" fmla="*/ 371366 w 435077"/>
                <a:gd name="connsiteY0" fmla="*/ 63712 h 435077"/>
                <a:gd name="connsiteX1" fmla="*/ 435077 w 435077"/>
                <a:gd name="connsiteY1" fmla="*/ 217539 h 435077"/>
                <a:gd name="connsiteX2" fmla="*/ 217702 w 435077"/>
                <a:gd name="connsiteY2" fmla="*/ 217539 h 435077"/>
                <a:gd name="connsiteX3" fmla="*/ 371366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1 w 435077"/>
                <a:gd name="connsiteY7" fmla="*/ 281250 h 435077"/>
                <a:gd name="connsiteX8" fmla="*/ 217375 w 435077"/>
                <a:gd name="connsiteY8" fmla="*/ 217539 h 435077"/>
                <a:gd name="connsiteX9" fmla="*/ 0 w 435077"/>
                <a:gd name="connsiteY9" fmla="*/ 217539 h 435077"/>
                <a:gd name="connsiteX10" fmla="*/ 63711 w 435077"/>
                <a:gd name="connsiteY10" fmla="*/ 63712 h 435077"/>
                <a:gd name="connsiteX11" fmla="*/ 217539 w 435077"/>
                <a:gd name="connsiteY11" fmla="*/ 0 h 435077"/>
                <a:gd name="connsiteX12" fmla="*/ 371366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2"/>
                  </a:moveTo>
                  <a:cubicBezTo>
                    <a:pt x="412154" y="104527"/>
                    <a:pt x="435077" y="159837"/>
                    <a:pt x="435077" y="217539"/>
                  </a:cubicBezTo>
                  <a:lnTo>
                    <a:pt x="217702" y="217539"/>
                  </a:lnTo>
                  <a:cubicBezTo>
                    <a:pt x="275349" y="217593"/>
                    <a:pt x="330604" y="240489"/>
                    <a:pt x="371366" y="281250"/>
                  </a:cubicBezTo>
                  <a:cubicBezTo>
                    <a:pt x="412154" y="322066"/>
                    <a:pt x="435077" y="377375"/>
                    <a:pt x="435077" y="435077"/>
                  </a:cubicBezTo>
                  <a:lnTo>
                    <a:pt x="217539" y="435077"/>
                  </a:lnTo>
                  <a:lnTo>
                    <a:pt x="0" y="435077"/>
                  </a:lnTo>
                  <a:cubicBezTo>
                    <a:pt x="0" y="377375"/>
                    <a:pt x="22923" y="322066"/>
                    <a:pt x="63711" y="281250"/>
                  </a:cubicBezTo>
                  <a:cubicBezTo>
                    <a:pt x="104473" y="240489"/>
                    <a:pt x="159728" y="217593"/>
                    <a:pt x="217375" y="217539"/>
                  </a:cubicBezTo>
                  <a:lnTo>
                    <a:pt x="0" y="217539"/>
                  </a:lnTo>
                  <a:cubicBezTo>
                    <a:pt x="0" y="159837"/>
                    <a:pt x="22923" y="104527"/>
                    <a:pt x="63711" y="63712"/>
                  </a:cubicBezTo>
                  <a:cubicBezTo>
                    <a:pt x="104500" y="22923"/>
                    <a:pt x="159836" y="0"/>
                    <a:pt x="217539" y="0"/>
                  </a:cubicBezTo>
                  <a:cubicBezTo>
                    <a:pt x="275213" y="0"/>
                    <a:pt x="330550" y="22923"/>
                    <a:pt x="371366" y="63712"/>
                  </a:cubicBezTo>
                  <a:close/>
                </a:path>
              </a:pathLst>
            </a:custGeom>
            <a:grpFill/>
            <a:ln w="27192" cap="flat">
              <a:noFill/>
              <a:prstDash val="solid"/>
              <a:miter/>
            </a:ln>
          </p:spPr>
          <p:txBody>
            <a:bodyPr rtlCol="0" anchor="ctr"/>
            <a:lstStyle/>
            <a:p>
              <a:endParaRPr lang="uk-UA" sz="900"/>
            </a:p>
          </p:txBody>
        </p:sp>
        <p:sp>
          <p:nvSpPr>
            <p:cNvPr id="77" name="Freeform: Shape 76">
              <a:extLst>
                <a:ext uri="{FF2B5EF4-FFF2-40B4-BE49-F238E27FC236}">
                  <a16:creationId xmlns:a16="http://schemas.microsoft.com/office/drawing/2014/main" id="{417473F4-0E5A-5981-8E2A-0071CD0B6283}"/>
                </a:ext>
              </a:extLst>
            </p:cNvPr>
            <p:cNvSpPr/>
            <p:nvPr/>
          </p:nvSpPr>
          <p:spPr>
            <a:xfrm>
              <a:off x="-34398" y="5449529"/>
              <a:ext cx="435090" cy="435077"/>
            </a:xfrm>
            <a:custGeom>
              <a:avLst/>
              <a:gdLst>
                <a:gd name="connsiteX0" fmla="*/ 217525 w 435090"/>
                <a:gd name="connsiteY0" fmla="*/ 0 h 435077"/>
                <a:gd name="connsiteX1" fmla="*/ 0 w 435090"/>
                <a:gd name="connsiteY1" fmla="*/ 0 h 435077"/>
                <a:gd name="connsiteX2" fmla="*/ 0 w 435090"/>
                <a:gd name="connsiteY2" fmla="*/ 217539 h 435077"/>
                <a:gd name="connsiteX3" fmla="*/ 217525 w 435090"/>
                <a:gd name="connsiteY3" fmla="*/ 0 h 435077"/>
                <a:gd name="connsiteX4" fmla="*/ 435091 w 435090"/>
                <a:gd name="connsiteY4" fmla="*/ 0 h 435077"/>
                <a:gd name="connsiteX5" fmla="*/ 435091 w 435090"/>
                <a:gd name="connsiteY5" fmla="*/ 217539 h 435077"/>
                <a:gd name="connsiteX6" fmla="*/ 217552 w 435090"/>
                <a:gd name="connsiteY6" fmla="*/ 0 h 435077"/>
                <a:gd name="connsiteX7" fmla="*/ 435091 w 435090"/>
                <a:gd name="connsiteY7" fmla="*/ 0 h 435077"/>
                <a:gd name="connsiteX8" fmla="*/ 217552 w 435090"/>
                <a:gd name="connsiteY8" fmla="*/ 435077 h 435077"/>
                <a:gd name="connsiteX9" fmla="*/ 435091 w 435090"/>
                <a:gd name="connsiteY9" fmla="*/ 217539 h 435077"/>
                <a:gd name="connsiteX10" fmla="*/ 435091 w 435090"/>
                <a:gd name="connsiteY10" fmla="*/ 435077 h 435077"/>
                <a:gd name="connsiteX11" fmla="*/ 217552 w 435090"/>
                <a:gd name="connsiteY11" fmla="*/ 435077 h 435077"/>
                <a:gd name="connsiteX12" fmla="*/ 217552 w 435090"/>
                <a:gd name="connsiteY12" fmla="*/ 435077 h 435077"/>
                <a:gd name="connsiteX13" fmla="*/ 11 w 435090"/>
                <a:gd name="connsiteY13" fmla="*/ 217539 h 435077"/>
                <a:gd name="connsiteX14" fmla="*/ 11 w 435090"/>
                <a:gd name="connsiteY14" fmla="*/ 435077 h 435077"/>
                <a:gd name="connsiteX15" fmla="*/ 217552 w 435090"/>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90" h="435077">
                  <a:moveTo>
                    <a:pt x="217525" y="0"/>
                  </a:moveTo>
                  <a:lnTo>
                    <a:pt x="0" y="0"/>
                  </a:lnTo>
                  <a:lnTo>
                    <a:pt x="0" y="217539"/>
                  </a:lnTo>
                  <a:lnTo>
                    <a:pt x="217525" y="0"/>
                  </a:lnTo>
                  <a:close/>
                  <a:moveTo>
                    <a:pt x="435091" y="0"/>
                  </a:moveTo>
                  <a:lnTo>
                    <a:pt x="435091" y="217539"/>
                  </a:lnTo>
                  <a:lnTo>
                    <a:pt x="217552" y="0"/>
                  </a:lnTo>
                  <a:lnTo>
                    <a:pt x="435091" y="0"/>
                  </a:lnTo>
                  <a:close/>
                  <a:moveTo>
                    <a:pt x="217552" y="435077"/>
                  </a:moveTo>
                  <a:lnTo>
                    <a:pt x="435091" y="217539"/>
                  </a:lnTo>
                  <a:lnTo>
                    <a:pt x="435091" y="435077"/>
                  </a:lnTo>
                  <a:lnTo>
                    <a:pt x="217552" y="435077"/>
                  </a:lnTo>
                  <a:close/>
                  <a:moveTo>
                    <a:pt x="217552" y="435077"/>
                  </a:moveTo>
                  <a:lnTo>
                    <a:pt x="11" y="217539"/>
                  </a:lnTo>
                  <a:lnTo>
                    <a:pt x="11" y="435077"/>
                  </a:lnTo>
                  <a:lnTo>
                    <a:pt x="217552" y="435077"/>
                  </a:lnTo>
                  <a:close/>
                </a:path>
              </a:pathLst>
            </a:custGeom>
            <a:grpFill/>
            <a:ln w="27192" cap="flat">
              <a:noFill/>
              <a:prstDash val="solid"/>
              <a:miter/>
            </a:ln>
          </p:spPr>
          <p:txBody>
            <a:bodyPr rtlCol="0" anchor="ctr"/>
            <a:lstStyle/>
            <a:p>
              <a:endParaRPr lang="uk-UA" sz="900"/>
            </a:p>
          </p:txBody>
        </p:sp>
        <p:sp>
          <p:nvSpPr>
            <p:cNvPr id="78" name="Freeform: Shape 77">
              <a:extLst>
                <a:ext uri="{FF2B5EF4-FFF2-40B4-BE49-F238E27FC236}">
                  <a16:creationId xmlns:a16="http://schemas.microsoft.com/office/drawing/2014/main" id="{B3880223-B917-98F7-9032-4DA55E1B43BC}"/>
                </a:ext>
              </a:extLst>
            </p:cNvPr>
            <p:cNvSpPr/>
            <p:nvPr/>
          </p:nvSpPr>
          <p:spPr>
            <a:xfrm>
              <a:off x="1705924" y="544952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79" name="Freeform: Shape 78">
              <a:extLst>
                <a:ext uri="{FF2B5EF4-FFF2-40B4-BE49-F238E27FC236}">
                  <a16:creationId xmlns:a16="http://schemas.microsoft.com/office/drawing/2014/main" id="{079F0D1A-A428-2926-05A8-12CCDB8F3419}"/>
                </a:ext>
              </a:extLst>
            </p:cNvPr>
            <p:cNvSpPr/>
            <p:nvPr/>
          </p:nvSpPr>
          <p:spPr>
            <a:xfrm>
              <a:off x="2576106" y="5449529"/>
              <a:ext cx="435077" cy="435077"/>
            </a:xfrm>
            <a:custGeom>
              <a:avLst/>
              <a:gdLst>
                <a:gd name="connsiteX0" fmla="*/ 0 w 435077"/>
                <a:gd name="connsiteY0" fmla="*/ 435077 h 435077"/>
                <a:gd name="connsiteX1" fmla="*/ 217512 w 435077"/>
                <a:gd name="connsiteY1" fmla="*/ 435077 h 435077"/>
                <a:gd name="connsiteX2" fmla="*/ 217512 w 435077"/>
                <a:gd name="connsiteY2" fmla="*/ 217566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66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12" y="435077"/>
                  </a:lnTo>
                  <a:lnTo>
                    <a:pt x="217512" y="217566"/>
                  </a:lnTo>
                  <a:lnTo>
                    <a:pt x="0" y="435077"/>
                  </a:lnTo>
                  <a:close/>
                  <a:moveTo>
                    <a:pt x="217539" y="0"/>
                  </a:moveTo>
                  <a:lnTo>
                    <a:pt x="0" y="0"/>
                  </a:lnTo>
                  <a:lnTo>
                    <a:pt x="217539" y="217539"/>
                  </a:lnTo>
                  <a:lnTo>
                    <a:pt x="217539" y="0"/>
                  </a:lnTo>
                  <a:close/>
                  <a:moveTo>
                    <a:pt x="435077" y="435077"/>
                  </a:moveTo>
                  <a:lnTo>
                    <a:pt x="217539" y="435077"/>
                  </a:lnTo>
                  <a:lnTo>
                    <a:pt x="435077" y="217566"/>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80" name="Freeform: Shape 79">
              <a:extLst>
                <a:ext uri="{FF2B5EF4-FFF2-40B4-BE49-F238E27FC236}">
                  <a16:creationId xmlns:a16="http://schemas.microsoft.com/office/drawing/2014/main" id="{1C47C191-99CE-64B4-4911-9C8A856A9C84}"/>
                </a:ext>
              </a:extLst>
            </p:cNvPr>
            <p:cNvSpPr/>
            <p:nvPr/>
          </p:nvSpPr>
          <p:spPr>
            <a:xfrm>
              <a:off x="4316416" y="5449529"/>
              <a:ext cx="435103" cy="435077"/>
            </a:xfrm>
            <a:custGeom>
              <a:avLst/>
              <a:gdLst>
                <a:gd name="connsiteX0" fmla="*/ 371365 w 435103"/>
                <a:gd name="connsiteY0" fmla="*/ 63712 h 435077"/>
                <a:gd name="connsiteX1" fmla="*/ 435077 w 435103"/>
                <a:gd name="connsiteY1" fmla="*/ 217539 h 435077"/>
                <a:gd name="connsiteX2" fmla="*/ 217729 w 435103"/>
                <a:gd name="connsiteY2" fmla="*/ 217539 h 435077"/>
                <a:gd name="connsiteX3" fmla="*/ 371365 w 435103"/>
                <a:gd name="connsiteY3" fmla="*/ 281250 h 435077"/>
                <a:gd name="connsiteX4" fmla="*/ 435104 w 435103"/>
                <a:gd name="connsiteY4" fmla="*/ 435077 h 435077"/>
                <a:gd name="connsiteX5" fmla="*/ 217565 w 435103"/>
                <a:gd name="connsiteY5" fmla="*/ 435077 h 435077"/>
                <a:gd name="connsiteX6" fmla="*/ 27 w 435103"/>
                <a:gd name="connsiteY6" fmla="*/ 435077 h 435077"/>
                <a:gd name="connsiteX7" fmla="*/ 63739 w 435103"/>
                <a:gd name="connsiteY7" fmla="*/ 281250 h 435077"/>
                <a:gd name="connsiteX8" fmla="*/ 217375 w 435103"/>
                <a:gd name="connsiteY8" fmla="*/ 217539 h 435077"/>
                <a:gd name="connsiteX9" fmla="*/ 0 w 435103"/>
                <a:gd name="connsiteY9" fmla="*/ 217539 h 435077"/>
                <a:gd name="connsiteX10" fmla="*/ 63739 w 435103"/>
                <a:gd name="connsiteY10" fmla="*/ 63712 h 435077"/>
                <a:gd name="connsiteX11" fmla="*/ 217539 w 435103"/>
                <a:gd name="connsiteY11" fmla="*/ 0 h 435077"/>
                <a:gd name="connsiteX12" fmla="*/ 371365 w 435103"/>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3" h="435077">
                  <a:moveTo>
                    <a:pt x="371365" y="63712"/>
                  </a:moveTo>
                  <a:cubicBezTo>
                    <a:pt x="412181" y="104527"/>
                    <a:pt x="435077" y="159837"/>
                    <a:pt x="435077" y="217539"/>
                  </a:cubicBezTo>
                  <a:lnTo>
                    <a:pt x="217729" y="217539"/>
                  </a:lnTo>
                  <a:cubicBezTo>
                    <a:pt x="275349" y="217593"/>
                    <a:pt x="330632" y="240489"/>
                    <a:pt x="371365" y="281250"/>
                  </a:cubicBezTo>
                  <a:cubicBezTo>
                    <a:pt x="412181" y="322066"/>
                    <a:pt x="435104" y="377375"/>
                    <a:pt x="435104" y="435077"/>
                  </a:cubicBezTo>
                  <a:lnTo>
                    <a:pt x="217565" y="435077"/>
                  </a:lnTo>
                  <a:lnTo>
                    <a:pt x="27" y="435077"/>
                  </a:lnTo>
                  <a:cubicBezTo>
                    <a:pt x="27" y="377375"/>
                    <a:pt x="22923" y="322066"/>
                    <a:pt x="63739" y="281250"/>
                  </a:cubicBezTo>
                  <a:cubicBezTo>
                    <a:pt x="104500" y="240489"/>
                    <a:pt x="159755" y="217593"/>
                    <a:pt x="217375" y="217539"/>
                  </a:cubicBezTo>
                  <a:lnTo>
                    <a:pt x="0" y="217539"/>
                  </a:lnTo>
                  <a:cubicBezTo>
                    <a:pt x="0" y="159837"/>
                    <a:pt x="22923" y="104527"/>
                    <a:pt x="63739" y="63712"/>
                  </a:cubicBezTo>
                  <a:cubicBezTo>
                    <a:pt x="104527" y="22923"/>
                    <a:pt x="159864" y="0"/>
                    <a:pt x="217539" y="0"/>
                  </a:cubicBezTo>
                  <a:cubicBezTo>
                    <a:pt x="275240" y="0"/>
                    <a:pt x="330577" y="22923"/>
                    <a:pt x="371365" y="63712"/>
                  </a:cubicBezTo>
                  <a:close/>
                </a:path>
              </a:pathLst>
            </a:custGeom>
            <a:grpFill/>
            <a:ln w="27192" cap="flat">
              <a:noFill/>
              <a:prstDash val="solid"/>
              <a:miter/>
            </a:ln>
          </p:spPr>
          <p:txBody>
            <a:bodyPr rtlCol="0" anchor="ctr"/>
            <a:lstStyle/>
            <a:p>
              <a:endParaRPr lang="uk-UA" sz="900"/>
            </a:p>
          </p:txBody>
        </p:sp>
        <p:sp>
          <p:nvSpPr>
            <p:cNvPr id="81" name="Freeform: Shape 80">
              <a:extLst>
                <a:ext uri="{FF2B5EF4-FFF2-40B4-BE49-F238E27FC236}">
                  <a16:creationId xmlns:a16="http://schemas.microsoft.com/office/drawing/2014/main" id="{E06B3852-99CF-A70C-1793-88998836AD3A}"/>
                </a:ext>
              </a:extLst>
            </p:cNvPr>
            <p:cNvSpPr/>
            <p:nvPr/>
          </p:nvSpPr>
          <p:spPr>
            <a:xfrm>
              <a:off x="3446261" y="5449529"/>
              <a:ext cx="435077" cy="435077"/>
            </a:xfrm>
            <a:custGeom>
              <a:avLst/>
              <a:gdLst>
                <a:gd name="connsiteX0" fmla="*/ 217566 w 435077"/>
                <a:gd name="connsiteY0" fmla="*/ 0 h 435077"/>
                <a:gd name="connsiteX1" fmla="*/ 217539 w 435077"/>
                <a:gd name="connsiteY1" fmla="*/ 0 h 435077"/>
                <a:gd name="connsiteX2" fmla="*/ 27 w 435077"/>
                <a:gd name="connsiteY2" fmla="*/ 0 h 435077"/>
                <a:gd name="connsiteX3" fmla="*/ 27 w 435077"/>
                <a:gd name="connsiteY3" fmla="*/ 217539 h 435077"/>
                <a:gd name="connsiteX4" fmla="*/ 217539 w 435077"/>
                <a:gd name="connsiteY4" fmla="*/ 0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66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66" y="0"/>
                  </a:moveTo>
                  <a:lnTo>
                    <a:pt x="217539" y="0"/>
                  </a:lnTo>
                  <a:lnTo>
                    <a:pt x="27" y="0"/>
                  </a:lnTo>
                  <a:lnTo>
                    <a:pt x="27" y="217539"/>
                  </a:lnTo>
                  <a:lnTo>
                    <a:pt x="217539" y="0"/>
                  </a:lnTo>
                  <a:lnTo>
                    <a:pt x="435077" y="217539"/>
                  </a:lnTo>
                  <a:lnTo>
                    <a:pt x="217539" y="435077"/>
                  </a:lnTo>
                  <a:lnTo>
                    <a:pt x="0" y="217539"/>
                  </a:lnTo>
                  <a:lnTo>
                    <a:pt x="0" y="435077"/>
                  </a:lnTo>
                  <a:lnTo>
                    <a:pt x="217539" y="435077"/>
                  </a:lnTo>
                  <a:lnTo>
                    <a:pt x="435077" y="435077"/>
                  </a:lnTo>
                  <a:lnTo>
                    <a:pt x="435077" y="217539"/>
                  </a:lnTo>
                  <a:lnTo>
                    <a:pt x="435077" y="0"/>
                  </a:lnTo>
                  <a:lnTo>
                    <a:pt x="217566" y="0"/>
                  </a:lnTo>
                  <a:close/>
                </a:path>
              </a:pathLst>
            </a:custGeom>
            <a:grpFill/>
            <a:ln w="27192" cap="flat">
              <a:noFill/>
              <a:prstDash val="solid"/>
              <a:miter/>
            </a:ln>
          </p:spPr>
          <p:txBody>
            <a:bodyPr rtlCol="0" anchor="ctr"/>
            <a:lstStyle/>
            <a:p>
              <a:endParaRPr lang="uk-UA" sz="900"/>
            </a:p>
          </p:txBody>
        </p:sp>
        <p:sp>
          <p:nvSpPr>
            <p:cNvPr id="82" name="Freeform: Shape 81">
              <a:extLst>
                <a:ext uri="{FF2B5EF4-FFF2-40B4-BE49-F238E27FC236}">
                  <a16:creationId xmlns:a16="http://schemas.microsoft.com/office/drawing/2014/main" id="{88A369F7-78C0-5EEA-05D8-EDE4319ED697}"/>
                </a:ext>
              </a:extLst>
            </p:cNvPr>
            <p:cNvSpPr/>
            <p:nvPr/>
          </p:nvSpPr>
          <p:spPr>
            <a:xfrm>
              <a:off x="5186597" y="5449529"/>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0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39 h 435077"/>
                <a:gd name="connsiteX9" fmla="*/ 435077 w 435077"/>
                <a:gd name="connsiteY9" fmla="*/ 217539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0"/>
                  </a:lnTo>
                  <a:lnTo>
                    <a:pt x="435077" y="217539"/>
                  </a:lnTo>
                  <a:lnTo>
                    <a:pt x="435077" y="217539"/>
                  </a:lnTo>
                  <a:lnTo>
                    <a:pt x="435077" y="217539"/>
                  </a:lnTo>
                  <a:lnTo>
                    <a:pt x="435077" y="217539"/>
                  </a:lnTo>
                  <a:lnTo>
                    <a:pt x="435077" y="217539"/>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83" name="Freeform: Shape 82">
              <a:extLst>
                <a:ext uri="{FF2B5EF4-FFF2-40B4-BE49-F238E27FC236}">
                  <a16:creationId xmlns:a16="http://schemas.microsoft.com/office/drawing/2014/main" id="{69F47B5C-9CB8-9CA4-1ABF-CDA7DC14482C}"/>
                </a:ext>
              </a:extLst>
            </p:cNvPr>
            <p:cNvSpPr/>
            <p:nvPr/>
          </p:nvSpPr>
          <p:spPr>
            <a:xfrm>
              <a:off x="6056752" y="5449529"/>
              <a:ext cx="435077" cy="435077"/>
            </a:xfrm>
            <a:custGeom>
              <a:avLst/>
              <a:gdLst>
                <a:gd name="connsiteX0" fmla="*/ 0 w 435077"/>
                <a:gd name="connsiteY0" fmla="*/ 435077 h 435077"/>
                <a:gd name="connsiteX1" fmla="*/ 217539 w 435077"/>
                <a:gd name="connsiteY1" fmla="*/ 435077 h 435077"/>
                <a:gd name="connsiteX2" fmla="*/ 217539 w 435077"/>
                <a:gd name="connsiteY2" fmla="*/ 217566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66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66"/>
                  </a:lnTo>
                  <a:lnTo>
                    <a:pt x="0" y="435077"/>
                  </a:lnTo>
                  <a:close/>
                  <a:moveTo>
                    <a:pt x="217539" y="0"/>
                  </a:moveTo>
                  <a:lnTo>
                    <a:pt x="0" y="0"/>
                  </a:lnTo>
                  <a:lnTo>
                    <a:pt x="217539" y="217539"/>
                  </a:lnTo>
                  <a:lnTo>
                    <a:pt x="217539" y="0"/>
                  </a:lnTo>
                  <a:close/>
                  <a:moveTo>
                    <a:pt x="435077" y="435077"/>
                  </a:moveTo>
                  <a:lnTo>
                    <a:pt x="217539" y="435077"/>
                  </a:lnTo>
                  <a:lnTo>
                    <a:pt x="435077" y="217566"/>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84" name="Freeform: Shape 83">
              <a:extLst>
                <a:ext uri="{FF2B5EF4-FFF2-40B4-BE49-F238E27FC236}">
                  <a16:creationId xmlns:a16="http://schemas.microsoft.com/office/drawing/2014/main" id="{E5F0FB96-9E6B-63CA-7F6A-48F22BF6AE1E}"/>
                </a:ext>
              </a:extLst>
            </p:cNvPr>
            <p:cNvSpPr/>
            <p:nvPr/>
          </p:nvSpPr>
          <p:spPr>
            <a:xfrm>
              <a:off x="7797062" y="5449529"/>
              <a:ext cx="435104" cy="435077"/>
            </a:xfrm>
            <a:custGeom>
              <a:avLst/>
              <a:gdLst>
                <a:gd name="connsiteX0" fmla="*/ 371366 w 435104"/>
                <a:gd name="connsiteY0" fmla="*/ 63712 h 435077"/>
                <a:gd name="connsiteX1" fmla="*/ 435077 w 435104"/>
                <a:gd name="connsiteY1" fmla="*/ 217539 h 435077"/>
                <a:gd name="connsiteX2" fmla="*/ 217730 w 435104"/>
                <a:gd name="connsiteY2" fmla="*/ 217539 h 435077"/>
                <a:gd name="connsiteX3" fmla="*/ 371366 w 435104"/>
                <a:gd name="connsiteY3" fmla="*/ 281250 h 435077"/>
                <a:gd name="connsiteX4" fmla="*/ 435105 w 435104"/>
                <a:gd name="connsiteY4" fmla="*/ 435077 h 435077"/>
                <a:gd name="connsiteX5" fmla="*/ 217566 w 435104"/>
                <a:gd name="connsiteY5" fmla="*/ 435077 h 435077"/>
                <a:gd name="connsiteX6" fmla="*/ 27 w 435104"/>
                <a:gd name="connsiteY6" fmla="*/ 435077 h 435077"/>
                <a:gd name="connsiteX7" fmla="*/ 63739 w 435104"/>
                <a:gd name="connsiteY7" fmla="*/ 281250 h 435077"/>
                <a:gd name="connsiteX8" fmla="*/ 217376 w 435104"/>
                <a:gd name="connsiteY8" fmla="*/ 217539 h 435077"/>
                <a:gd name="connsiteX9" fmla="*/ 0 w 435104"/>
                <a:gd name="connsiteY9" fmla="*/ 217539 h 435077"/>
                <a:gd name="connsiteX10" fmla="*/ 63739 w 435104"/>
                <a:gd name="connsiteY10" fmla="*/ 63712 h 435077"/>
                <a:gd name="connsiteX11" fmla="*/ 217539 w 435104"/>
                <a:gd name="connsiteY11" fmla="*/ 0 h 435077"/>
                <a:gd name="connsiteX12" fmla="*/ 371366 w 435104"/>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4" h="435077">
                  <a:moveTo>
                    <a:pt x="371366" y="63712"/>
                  </a:moveTo>
                  <a:cubicBezTo>
                    <a:pt x="412182" y="104527"/>
                    <a:pt x="435077" y="159837"/>
                    <a:pt x="435077" y="217539"/>
                  </a:cubicBezTo>
                  <a:lnTo>
                    <a:pt x="217730" y="217539"/>
                  </a:lnTo>
                  <a:cubicBezTo>
                    <a:pt x="275350" y="217593"/>
                    <a:pt x="330632" y="240489"/>
                    <a:pt x="371366" y="281250"/>
                  </a:cubicBezTo>
                  <a:cubicBezTo>
                    <a:pt x="412182" y="322066"/>
                    <a:pt x="435105" y="377375"/>
                    <a:pt x="435105" y="435077"/>
                  </a:cubicBezTo>
                  <a:lnTo>
                    <a:pt x="217566" y="435077"/>
                  </a:lnTo>
                  <a:lnTo>
                    <a:pt x="27" y="435077"/>
                  </a:lnTo>
                  <a:cubicBezTo>
                    <a:pt x="27" y="377375"/>
                    <a:pt x="22924" y="322066"/>
                    <a:pt x="63739" y="281250"/>
                  </a:cubicBezTo>
                  <a:cubicBezTo>
                    <a:pt x="104501" y="240489"/>
                    <a:pt x="159755" y="217593"/>
                    <a:pt x="217376" y="217539"/>
                  </a:cubicBezTo>
                  <a:lnTo>
                    <a:pt x="0" y="217539"/>
                  </a:lnTo>
                  <a:cubicBezTo>
                    <a:pt x="0" y="159837"/>
                    <a:pt x="22924" y="104527"/>
                    <a:pt x="63739" y="63712"/>
                  </a:cubicBezTo>
                  <a:cubicBezTo>
                    <a:pt x="104527" y="22923"/>
                    <a:pt x="159864" y="0"/>
                    <a:pt x="217539" y="0"/>
                  </a:cubicBezTo>
                  <a:cubicBezTo>
                    <a:pt x="275241" y="0"/>
                    <a:pt x="330578" y="22923"/>
                    <a:pt x="371366" y="63712"/>
                  </a:cubicBezTo>
                  <a:close/>
                </a:path>
              </a:pathLst>
            </a:custGeom>
            <a:grpFill/>
            <a:ln w="27192" cap="flat">
              <a:noFill/>
              <a:prstDash val="solid"/>
              <a:miter/>
            </a:ln>
          </p:spPr>
          <p:txBody>
            <a:bodyPr rtlCol="0" anchor="ctr"/>
            <a:lstStyle/>
            <a:p>
              <a:endParaRPr lang="uk-UA" sz="900"/>
            </a:p>
          </p:txBody>
        </p:sp>
        <p:sp>
          <p:nvSpPr>
            <p:cNvPr id="85" name="Freeform: Shape 84">
              <a:extLst>
                <a:ext uri="{FF2B5EF4-FFF2-40B4-BE49-F238E27FC236}">
                  <a16:creationId xmlns:a16="http://schemas.microsoft.com/office/drawing/2014/main" id="{35B4A9A4-81A3-C1B7-9F60-BE3AC289495D}"/>
                </a:ext>
              </a:extLst>
            </p:cNvPr>
            <p:cNvSpPr/>
            <p:nvPr/>
          </p:nvSpPr>
          <p:spPr>
            <a:xfrm>
              <a:off x="6926907" y="544952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p>
          </p:txBody>
        </p:sp>
        <p:sp>
          <p:nvSpPr>
            <p:cNvPr id="86" name="Freeform: Shape 85">
              <a:extLst>
                <a:ext uri="{FF2B5EF4-FFF2-40B4-BE49-F238E27FC236}">
                  <a16:creationId xmlns:a16="http://schemas.microsoft.com/office/drawing/2014/main" id="{466C4CD8-F0FF-B6E0-E3BD-DC75E6074352}"/>
                </a:ext>
              </a:extLst>
            </p:cNvPr>
            <p:cNvSpPr/>
            <p:nvPr/>
          </p:nvSpPr>
          <p:spPr>
            <a:xfrm>
              <a:off x="8667217" y="5449529"/>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0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39 h 435077"/>
                <a:gd name="connsiteX9" fmla="*/ 435077 w 435077"/>
                <a:gd name="connsiteY9" fmla="*/ 217539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0"/>
                  </a:lnTo>
                  <a:lnTo>
                    <a:pt x="435077" y="217539"/>
                  </a:lnTo>
                  <a:lnTo>
                    <a:pt x="435077" y="217539"/>
                  </a:lnTo>
                  <a:lnTo>
                    <a:pt x="435077" y="217539"/>
                  </a:lnTo>
                  <a:lnTo>
                    <a:pt x="435077" y="217539"/>
                  </a:lnTo>
                  <a:lnTo>
                    <a:pt x="435077" y="217539"/>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87" name="Freeform: Shape 86">
              <a:extLst>
                <a:ext uri="{FF2B5EF4-FFF2-40B4-BE49-F238E27FC236}">
                  <a16:creationId xmlns:a16="http://schemas.microsoft.com/office/drawing/2014/main" id="{8C8D94D6-EE27-02F2-2165-DAA28D10AF9B}"/>
                </a:ext>
              </a:extLst>
            </p:cNvPr>
            <p:cNvSpPr/>
            <p:nvPr/>
          </p:nvSpPr>
          <p:spPr>
            <a:xfrm>
              <a:off x="9537399" y="5449529"/>
              <a:ext cx="435077" cy="435077"/>
            </a:xfrm>
            <a:custGeom>
              <a:avLst/>
              <a:gdLst>
                <a:gd name="connsiteX0" fmla="*/ 0 w 435077"/>
                <a:gd name="connsiteY0" fmla="*/ 435077 h 435077"/>
                <a:gd name="connsiteX1" fmla="*/ 217511 w 435077"/>
                <a:gd name="connsiteY1" fmla="*/ 435077 h 435077"/>
                <a:gd name="connsiteX2" fmla="*/ 217511 w 435077"/>
                <a:gd name="connsiteY2" fmla="*/ 217539 h 435077"/>
                <a:gd name="connsiteX3" fmla="*/ 0 w 435077"/>
                <a:gd name="connsiteY3" fmla="*/ 435077 h 435077"/>
                <a:gd name="connsiteX4" fmla="*/ 217511 w 435077"/>
                <a:gd name="connsiteY4" fmla="*/ 0 h 435077"/>
                <a:gd name="connsiteX5" fmla="*/ 0 w 435077"/>
                <a:gd name="connsiteY5" fmla="*/ 0 h 435077"/>
                <a:gd name="connsiteX6" fmla="*/ 217511 w 435077"/>
                <a:gd name="connsiteY6" fmla="*/ 217539 h 435077"/>
                <a:gd name="connsiteX7" fmla="*/ 217511 w 435077"/>
                <a:gd name="connsiteY7" fmla="*/ 0 h 435077"/>
                <a:gd name="connsiteX8" fmla="*/ 435077 w 435077"/>
                <a:gd name="connsiteY8" fmla="*/ 435077 h 435077"/>
                <a:gd name="connsiteX9" fmla="*/ 217539 w 435077"/>
                <a:gd name="connsiteY9" fmla="*/ 435077 h 435077"/>
                <a:gd name="connsiteX10" fmla="*/ 435077 w 435077"/>
                <a:gd name="connsiteY10" fmla="*/ 217566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11" y="435077"/>
                  </a:lnTo>
                  <a:lnTo>
                    <a:pt x="217511" y="217539"/>
                  </a:lnTo>
                  <a:lnTo>
                    <a:pt x="0" y="435077"/>
                  </a:lnTo>
                  <a:close/>
                  <a:moveTo>
                    <a:pt x="217511" y="0"/>
                  </a:moveTo>
                  <a:lnTo>
                    <a:pt x="0" y="0"/>
                  </a:lnTo>
                  <a:lnTo>
                    <a:pt x="217511" y="217539"/>
                  </a:lnTo>
                  <a:lnTo>
                    <a:pt x="217511" y="0"/>
                  </a:lnTo>
                  <a:close/>
                  <a:moveTo>
                    <a:pt x="435077" y="435077"/>
                  </a:moveTo>
                  <a:lnTo>
                    <a:pt x="217539" y="435077"/>
                  </a:lnTo>
                  <a:lnTo>
                    <a:pt x="435077" y="217566"/>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88" name="Freeform: Shape 87">
              <a:extLst>
                <a:ext uri="{FF2B5EF4-FFF2-40B4-BE49-F238E27FC236}">
                  <a16:creationId xmlns:a16="http://schemas.microsoft.com/office/drawing/2014/main" id="{6B8E434E-C41A-E192-41CA-8B36F20489EF}"/>
                </a:ext>
              </a:extLst>
            </p:cNvPr>
            <p:cNvSpPr/>
            <p:nvPr/>
          </p:nvSpPr>
          <p:spPr>
            <a:xfrm>
              <a:off x="11277709" y="5449529"/>
              <a:ext cx="435077" cy="435077"/>
            </a:xfrm>
            <a:custGeom>
              <a:avLst/>
              <a:gdLst>
                <a:gd name="connsiteX0" fmla="*/ 371365 w 435077"/>
                <a:gd name="connsiteY0" fmla="*/ 63712 h 435077"/>
                <a:gd name="connsiteX1" fmla="*/ 435077 w 435077"/>
                <a:gd name="connsiteY1" fmla="*/ 217539 h 435077"/>
                <a:gd name="connsiteX2" fmla="*/ 217701 w 435077"/>
                <a:gd name="connsiteY2" fmla="*/ 217539 h 435077"/>
                <a:gd name="connsiteX3" fmla="*/ 371365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0 w 435077"/>
                <a:gd name="connsiteY7" fmla="*/ 281250 h 435077"/>
                <a:gd name="connsiteX8" fmla="*/ 217374 w 435077"/>
                <a:gd name="connsiteY8" fmla="*/ 217539 h 435077"/>
                <a:gd name="connsiteX9" fmla="*/ 0 w 435077"/>
                <a:gd name="connsiteY9" fmla="*/ 217539 h 435077"/>
                <a:gd name="connsiteX10" fmla="*/ 63710 w 435077"/>
                <a:gd name="connsiteY10" fmla="*/ 63712 h 435077"/>
                <a:gd name="connsiteX11" fmla="*/ 217539 w 435077"/>
                <a:gd name="connsiteY11" fmla="*/ 0 h 435077"/>
                <a:gd name="connsiteX12" fmla="*/ 371365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12"/>
                  </a:moveTo>
                  <a:cubicBezTo>
                    <a:pt x="412154" y="104527"/>
                    <a:pt x="435077" y="159837"/>
                    <a:pt x="435077" y="217539"/>
                  </a:cubicBezTo>
                  <a:lnTo>
                    <a:pt x="217701" y="217539"/>
                  </a:lnTo>
                  <a:cubicBezTo>
                    <a:pt x="275349" y="217593"/>
                    <a:pt x="330603" y="240489"/>
                    <a:pt x="371365" y="281250"/>
                  </a:cubicBezTo>
                  <a:cubicBezTo>
                    <a:pt x="412154" y="322066"/>
                    <a:pt x="435077" y="377375"/>
                    <a:pt x="435077" y="435077"/>
                  </a:cubicBezTo>
                  <a:lnTo>
                    <a:pt x="217539" y="435077"/>
                  </a:lnTo>
                  <a:lnTo>
                    <a:pt x="0" y="435077"/>
                  </a:lnTo>
                  <a:cubicBezTo>
                    <a:pt x="0" y="377375"/>
                    <a:pt x="22922" y="322066"/>
                    <a:pt x="63710" y="281250"/>
                  </a:cubicBezTo>
                  <a:cubicBezTo>
                    <a:pt x="104472" y="240489"/>
                    <a:pt x="159727" y="217593"/>
                    <a:pt x="217374" y="217539"/>
                  </a:cubicBezTo>
                  <a:lnTo>
                    <a:pt x="0" y="217539"/>
                  </a:lnTo>
                  <a:cubicBezTo>
                    <a:pt x="0" y="159837"/>
                    <a:pt x="22922" y="104527"/>
                    <a:pt x="63710" y="63712"/>
                  </a:cubicBezTo>
                  <a:cubicBezTo>
                    <a:pt x="104499" y="22923"/>
                    <a:pt x="159836" y="0"/>
                    <a:pt x="217539" y="0"/>
                  </a:cubicBezTo>
                  <a:cubicBezTo>
                    <a:pt x="275239" y="0"/>
                    <a:pt x="330549" y="22923"/>
                    <a:pt x="371365" y="63712"/>
                  </a:cubicBezTo>
                  <a:close/>
                </a:path>
              </a:pathLst>
            </a:custGeom>
            <a:grpFill/>
            <a:ln w="27192" cap="flat">
              <a:noFill/>
              <a:prstDash val="solid"/>
              <a:miter/>
            </a:ln>
          </p:spPr>
          <p:txBody>
            <a:bodyPr rtlCol="0" anchor="ctr"/>
            <a:lstStyle/>
            <a:p>
              <a:endParaRPr lang="uk-UA" sz="900"/>
            </a:p>
          </p:txBody>
        </p:sp>
        <p:sp>
          <p:nvSpPr>
            <p:cNvPr id="89" name="Freeform: Shape 88">
              <a:extLst>
                <a:ext uri="{FF2B5EF4-FFF2-40B4-BE49-F238E27FC236}">
                  <a16:creationId xmlns:a16="http://schemas.microsoft.com/office/drawing/2014/main" id="{DF99154D-BC07-846D-E2CF-3405365DDC9C}"/>
                </a:ext>
              </a:extLst>
            </p:cNvPr>
            <p:cNvSpPr/>
            <p:nvPr/>
          </p:nvSpPr>
          <p:spPr>
            <a:xfrm>
              <a:off x="10407554" y="544952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90" name="Freeform: Shape 89">
              <a:extLst>
                <a:ext uri="{FF2B5EF4-FFF2-40B4-BE49-F238E27FC236}">
                  <a16:creationId xmlns:a16="http://schemas.microsoft.com/office/drawing/2014/main" id="{1AF1EE83-F85D-DF74-1816-10314FD46C4F}"/>
                </a:ext>
              </a:extLst>
            </p:cNvPr>
            <p:cNvSpPr/>
            <p:nvPr/>
          </p:nvSpPr>
          <p:spPr>
            <a:xfrm>
              <a:off x="12147836" y="544952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91" name="Freeform: Shape 90">
              <a:extLst>
                <a:ext uri="{FF2B5EF4-FFF2-40B4-BE49-F238E27FC236}">
                  <a16:creationId xmlns:a16="http://schemas.microsoft.com/office/drawing/2014/main" id="{FFDFCBEE-A7BA-0564-460F-F61DD08EAFFF}"/>
                </a:ext>
              </a:extLst>
            </p:cNvPr>
            <p:cNvSpPr/>
            <p:nvPr/>
          </p:nvSpPr>
          <p:spPr>
            <a:xfrm>
              <a:off x="13018045" y="5449529"/>
              <a:ext cx="435077" cy="435077"/>
            </a:xfrm>
            <a:custGeom>
              <a:avLst/>
              <a:gdLst>
                <a:gd name="connsiteX0" fmla="*/ 0 w 435077"/>
                <a:gd name="connsiteY0" fmla="*/ 435077 h 435077"/>
                <a:gd name="connsiteX1" fmla="*/ 217539 w 435077"/>
                <a:gd name="connsiteY1" fmla="*/ 435077 h 435077"/>
                <a:gd name="connsiteX2" fmla="*/ 217539 w 435077"/>
                <a:gd name="connsiteY2" fmla="*/ 217566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66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66"/>
                  </a:lnTo>
                  <a:lnTo>
                    <a:pt x="0" y="435077"/>
                  </a:lnTo>
                  <a:close/>
                  <a:moveTo>
                    <a:pt x="217539" y="0"/>
                  </a:moveTo>
                  <a:lnTo>
                    <a:pt x="0" y="0"/>
                  </a:lnTo>
                  <a:lnTo>
                    <a:pt x="217539" y="217539"/>
                  </a:lnTo>
                  <a:lnTo>
                    <a:pt x="217539" y="0"/>
                  </a:lnTo>
                  <a:close/>
                  <a:moveTo>
                    <a:pt x="435077" y="435077"/>
                  </a:moveTo>
                  <a:lnTo>
                    <a:pt x="217539" y="435077"/>
                  </a:lnTo>
                  <a:lnTo>
                    <a:pt x="435077" y="217566"/>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92" name="Freeform: Shape 91">
              <a:extLst>
                <a:ext uri="{FF2B5EF4-FFF2-40B4-BE49-F238E27FC236}">
                  <a16:creationId xmlns:a16="http://schemas.microsoft.com/office/drawing/2014/main" id="{71C8BB44-196C-6211-A208-25594DEC3513}"/>
                </a:ext>
              </a:extLst>
            </p:cNvPr>
            <p:cNvSpPr/>
            <p:nvPr/>
          </p:nvSpPr>
          <p:spPr>
            <a:xfrm>
              <a:off x="14758382" y="5449529"/>
              <a:ext cx="435077" cy="435077"/>
            </a:xfrm>
            <a:custGeom>
              <a:avLst/>
              <a:gdLst>
                <a:gd name="connsiteX0" fmla="*/ 371367 w 435077"/>
                <a:gd name="connsiteY0" fmla="*/ 63712 h 435077"/>
                <a:gd name="connsiteX1" fmla="*/ 435077 w 435077"/>
                <a:gd name="connsiteY1" fmla="*/ 217539 h 435077"/>
                <a:gd name="connsiteX2" fmla="*/ 217703 w 435077"/>
                <a:gd name="connsiteY2" fmla="*/ 217539 h 435077"/>
                <a:gd name="connsiteX3" fmla="*/ 371367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7376 w 435077"/>
                <a:gd name="connsiteY8" fmla="*/ 217539 h 435077"/>
                <a:gd name="connsiteX9" fmla="*/ 0 w 435077"/>
                <a:gd name="connsiteY9" fmla="*/ 217539 h 435077"/>
                <a:gd name="connsiteX10" fmla="*/ 63712 w 435077"/>
                <a:gd name="connsiteY10" fmla="*/ 63712 h 435077"/>
                <a:gd name="connsiteX11" fmla="*/ 217539 w 435077"/>
                <a:gd name="connsiteY11" fmla="*/ 0 h 435077"/>
                <a:gd name="connsiteX12" fmla="*/ 371367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7" y="63712"/>
                  </a:moveTo>
                  <a:cubicBezTo>
                    <a:pt x="412155" y="104527"/>
                    <a:pt x="435077" y="159837"/>
                    <a:pt x="435077" y="217539"/>
                  </a:cubicBezTo>
                  <a:lnTo>
                    <a:pt x="217703" y="217539"/>
                  </a:lnTo>
                  <a:cubicBezTo>
                    <a:pt x="275351" y="217593"/>
                    <a:pt x="330605" y="240489"/>
                    <a:pt x="371367" y="281250"/>
                  </a:cubicBezTo>
                  <a:cubicBezTo>
                    <a:pt x="412155" y="322066"/>
                    <a:pt x="435077" y="377375"/>
                    <a:pt x="435077" y="435077"/>
                  </a:cubicBezTo>
                  <a:lnTo>
                    <a:pt x="217539" y="435077"/>
                  </a:lnTo>
                  <a:lnTo>
                    <a:pt x="0" y="435077"/>
                  </a:lnTo>
                  <a:cubicBezTo>
                    <a:pt x="0" y="377375"/>
                    <a:pt x="22924" y="322066"/>
                    <a:pt x="63712" y="281250"/>
                  </a:cubicBezTo>
                  <a:cubicBezTo>
                    <a:pt x="104474" y="240489"/>
                    <a:pt x="159728" y="217593"/>
                    <a:pt x="217376" y="217539"/>
                  </a:cubicBezTo>
                  <a:lnTo>
                    <a:pt x="0" y="217539"/>
                  </a:lnTo>
                  <a:cubicBezTo>
                    <a:pt x="0" y="159837"/>
                    <a:pt x="22924" y="104527"/>
                    <a:pt x="63712" y="63712"/>
                  </a:cubicBezTo>
                  <a:cubicBezTo>
                    <a:pt x="104501" y="22923"/>
                    <a:pt x="159836" y="0"/>
                    <a:pt x="217539" y="0"/>
                  </a:cubicBezTo>
                  <a:cubicBezTo>
                    <a:pt x="275241" y="0"/>
                    <a:pt x="330550" y="22923"/>
                    <a:pt x="371367" y="63712"/>
                  </a:cubicBezTo>
                  <a:close/>
                </a:path>
              </a:pathLst>
            </a:custGeom>
            <a:grpFill/>
            <a:ln w="27192" cap="flat">
              <a:noFill/>
              <a:prstDash val="solid"/>
              <a:miter/>
            </a:ln>
          </p:spPr>
          <p:txBody>
            <a:bodyPr rtlCol="0" anchor="ctr"/>
            <a:lstStyle/>
            <a:p>
              <a:endParaRPr lang="uk-UA" sz="900"/>
            </a:p>
          </p:txBody>
        </p:sp>
        <p:sp>
          <p:nvSpPr>
            <p:cNvPr id="93" name="Freeform: Shape 92">
              <a:extLst>
                <a:ext uri="{FF2B5EF4-FFF2-40B4-BE49-F238E27FC236}">
                  <a16:creationId xmlns:a16="http://schemas.microsoft.com/office/drawing/2014/main" id="{B4975CCA-90FC-96FB-89DA-EB9CF6AEEAC9}"/>
                </a:ext>
              </a:extLst>
            </p:cNvPr>
            <p:cNvSpPr/>
            <p:nvPr/>
          </p:nvSpPr>
          <p:spPr>
            <a:xfrm>
              <a:off x="13888200" y="5449529"/>
              <a:ext cx="435077" cy="435077"/>
            </a:xfrm>
            <a:custGeom>
              <a:avLst/>
              <a:gdLst>
                <a:gd name="connsiteX0" fmla="*/ 217565 w 435077"/>
                <a:gd name="connsiteY0" fmla="*/ 0 h 435077"/>
                <a:gd name="connsiteX1" fmla="*/ 217539 w 435077"/>
                <a:gd name="connsiteY1" fmla="*/ 0 h 435077"/>
                <a:gd name="connsiteX2" fmla="*/ 27 w 435077"/>
                <a:gd name="connsiteY2" fmla="*/ 0 h 435077"/>
                <a:gd name="connsiteX3" fmla="*/ 27 w 435077"/>
                <a:gd name="connsiteY3" fmla="*/ 217539 h 435077"/>
                <a:gd name="connsiteX4" fmla="*/ 217565 w 435077"/>
                <a:gd name="connsiteY4" fmla="*/ 0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65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65" y="0"/>
                  </a:moveTo>
                  <a:lnTo>
                    <a:pt x="217539" y="0"/>
                  </a:lnTo>
                  <a:lnTo>
                    <a:pt x="27" y="0"/>
                  </a:lnTo>
                  <a:lnTo>
                    <a:pt x="27" y="217539"/>
                  </a:lnTo>
                  <a:lnTo>
                    <a:pt x="217565" y="0"/>
                  </a:lnTo>
                  <a:lnTo>
                    <a:pt x="435077" y="217539"/>
                  </a:lnTo>
                  <a:lnTo>
                    <a:pt x="217539" y="435077"/>
                  </a:lnTo>
                  <a:lnTo>
                    <a:pt x="0" y="217539"/>
                  </a:lnTo>
                  <a:lnTo>
                    <a:pt x="0" y="435077"/>
                  </a:lnTo>
                  <a:lnTo>
                    <a:pt x="217539" y="435077"/>
                  </a:lnTo>
                  <a:lnTo>
                    <a:pt x="435077" y="435077"/>
                  </a:lnTo>
                  <a:lnTo>
                    <a:pt x="435077" y="217539"/>
                  </a:lnTo>
                  <a:lnTo>
                    <a:pt x="435077" y="0"/>
                  </a:lnTo>
                  <a:lnTo>
                    <a:pt x="217565" y="0"/>
                  </a:lnTo>
                  <a:close/>
                </a:path>
              </a:pathLst>
            </a:custGeom>
            <a:grpFill/>
            <a:ln w="27192" cap="flat">
              <a:noFill/>
              <a:prstDash val="solid"/>
              <a:miter/>
            </a:ln>
          </p:spPr>
          <p:txBody>
            <a:bodyPr rtlCol="0" anchor="ctr"/>
            <a:lstStyle/>
            <a:p>
              <a:endParaRPr lang="uk-UA" sz="900"/>
            </a:p>
          </p:txBody>
        </p:sp>
        <p:sp>
          <p:nvSpPr>
            <p:cNvPr id="94" name="Freeform: Shape 93">
              <a:extLst>
                <a:ext uri="{FF2B5EF4-FFF2-40B4-BE49-F238E27FC236}">
                  <a16:creationId xmlns:a16="http://schemas.microsoft.com/office/drawing/2014/main" id="{629C300B-C2EB-AF41-1BB5-6085DE55C126}"/>
                </a:ext>
              </a:extLst>
            </p:cNvPr>
            <p:cNvSpPr/>
            <p:nvPr/>
          </p:nvSpPr>
          <p:spPr>
            <a:xfrm>
              <a:off x="15628536" y="5449529"/>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0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39 h 435077"/>
                <a:gd name="connsiteX9" fmla="*/ 435077 w 435077"/>
                <a:gd name="connsiteY9" fmla="*/ 217539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0"/>
                  </a:lnTo>
                  <a:lnTo>
                    <a:pt x="435077" y="217539"/>
                  </a:lnTo>
                  <a:lnTo>
                    <a:pt x="435077" y="217539"/>
                  </a:lnTo>
                  <a:lnTo>
                    <a:pt x="435077" y="217539"/>
                  </a:lnTo>
                  <a:lnTo>
                    <a:pt x="435077" y="217539"/>
                  </a:lnTo>
                  <a:lnTo>
                    <a:pt x="435077" y="217539"/>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95" name="Freeform: Shape 94">
              <a:extLst>
                <a:ext uri="{FF2B5EF4-FFF2-40B4-BE49-F238E27FC236}">
                  <a16:creationId xmlns:a16="http://schemas.microsoft.com/office/drawing/2014/main" id="{60FD3973-B9D0-2AD3-3538-3A1DE9125623}"/>
                </a:ext>
              </a:extLst>
            </p:cNvPr>
            <p:cNvSpPr/>
            <p:nvPr/>
          </p:nvSpPr>
          <p:spPr>
            <a:xfrm>
              <a:off x="16498719" y="5449529"/>
              <a:ext cx="435077" cy="435077"/>
            </a:xfrm>
            <a:custGeom>
              <a:avLst/>
              <a:gdLst>
                <a:gd name="connsiteX0" fmla="*/ 0 w 435077"/>
                <a:gd name="connsiteY0" fmla="*/ 435077 h 435077"/>
                <a:gd name="connsiteX1" fmla="*/ 217510 w 435077"/>
                <a:gd name="connsiteY1" fmla="*/ 435077 h 435077"/>
                <a:gd name="connsiteX2" fmla="*/ 217510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66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10" y="435077"/>
                  </a:lnTo>
                  <a:lnTo>
                    <a:pt x="217510" y="217539"/>
                  </a:lnTo>
                  <a:lnTo>
                    <a:pt x="0" y="435077"/>
                  </a:lnTo>
                  <a:close/>
                  <a:moveTo>
                    <a:pt x="217539" y="0"/>
                  </a:moveTo>
                  <a:lnTo>
                    <a:pt x="0" y="0"/>
                  </a:lnTo>
                  <a:lnTo>
                    <a:pt x="217539" y="217539"/>
                  </a:lnTo>
                  <a:lnTo>
                    <a:pt x="217539" y="0"/>
                  </a:lnTo>
                  <a:close/>
                  <a:moveTo>
                    <a:pt x="435077" y="435077"/>
                  </a:moveTo>
                  <a:lnTo>
                    <a:pt x="217539" y="435077"/>
                  </a:lnTo>
                  <a:lnTo>
                    <a:pt x="435077" y="217566"/>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96" name="Freeform: Shape 95">
              <a:extLst>
                <a:ext uri="{FF2B5EF4-FFF2-40B4-BE49-F238E27FC236}">
                  <a16:creationId xmlns:a16="http://schemas.microsoft.com/office/drawing/2014/main" id="{33ED9C01-FEF1-973D-F594-C9A5CF7264E8}"/>
                </a:ext>
              </a:extLst>
            </p:cNvPr>
            <p:cNvSpPr/>
            <p:nvPr/>
          </p:nvSpPr>
          <p:spPr>
            <a:xfrm>
              <a:off x="18239029" y="5449529"/>
              <a:ext cx="435077" cy="435077"/>
            </a:xfrm>
            <a:custGeom>
              <a:avLst/>
              <a:gdLst>
                <a:gd name="connsiteX0" fmla="*/ 371365 w 435077"/>
                <a:gd name="connsiteY0" fmla="*/ 63712 h 435077"/>
                <a:gd name="connsiteX1" fmla="*/ 435077 w 435077"/>
                <a:gd name="connsiteY1" fmla="*/ 217539 h 435077"/>
                <a:gd name="connsiteX2" fmla="*/ 217701 w 435077"/>
                <a:gd name="connsiteY2" fmla="*/ 217539 h 435077"/>
                <a:gd name="connsiteX3" fmla="*/ 371365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0 w 435077"/>
                <a:gd name="connsiteY7" fmla="*/ 281250 h 435077"/>
                <a:gd name="connsiteX8" fmla="*/ 217374 w 435077"/>
                <a:gd name="connsiteY8" fmla="*/ 217539 h 435077"/>
                <a:gd name="connsiteX9" fmla="*/ 0 w 435077"/>
                <a:gd name="connsiteY9" fmla="*/ 217539 h 435077"/>
                <a:gd name="connsiteX10" fmla="*/ 63710 w 435077"/>
                <a:gd name="connsiteY10" fmla="*/ 63712 h 435077"/>
                <a:gd name="connsiteX11" fmla="*/ 217539 w 435077"/>
                <a:gd name="connsiteY11" fmla="*/ 0 h 435077"/>
                <a:gd name="connsiteX12" fmla="*/ 371365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12"/>
                  </a:moveTo>
                  <a:cubicBezTo>
                    <a:pt x="412154" y="104527"/>
                    <a:pt x="435077" y="159837"/>
                    <a:pt x="435077" y="217539"/>
                  </a:cubicBezTo>
                  <a:lnTo>
                    <a:pt x="217701" y="217539"/>
                  </a:lnTo>
                  <a:cubicBezTo>
                    <a:pt x="275349" y="217593"/>
                    <a:pt x="330603" y="240489"/>
                    <a:pt x="371365" y="281250"/>
                  </a:cubicBezTo>
                  <a:cubicBezTo>
                    <a:pt x="412154" y="322066"/>
                    <a:pt x="435077" y="377375"/>
                    <a:pt x="435077" y="435077"/>
                  </a:cubicBezTo>
                  <a:lnTo>
                    <a:pt x="217539" y="435077"/>
                  </a:lnTo>
                  <a:lnTo>
                    <a:pt x="0" y="435077"/>
                  </a:lnTo>
                  <a:cubicBezTo>
                    <a:pt x="0" y="377375"/>
                    <a:pt x="22922" y="322066"/>
                    <a:pt x="63710" y="281250"/>
                  </a:cubicBezTo>
                  <a:cubicBezTo>
                    <a:pt x="104472" y="240489"/>
                    <a:pt x="159755" y="217593"/>
                    <a:pt x="217374" y="217539"/>
                  </a:cubicBezTo>
                  <a:lnTo>
                    <a:pt x="0" y="217539"/>
                  </a:lnTo>
                  <a:cubicBezTo>
                    <a:pt x="0" y="159837"/>
                    <a:pt x="22922" y="104527"/>
                    <a:pt x="63710" y="63712"/>
                  </a:cubicBezTo>
                  <a:cubicBezTo>
                    <a:pt x="104527" y="22923"/>
                    <a:pt x="159836" y="0"/>
                    <a:pt x="217539" y="0"/>
                  </a:cubicBezTo>
                  <a:cubicBezTo>
                    <a:pt x="275241" y="0"/>
                    <a:pt x="330577" y="22923"/>
                    <a:pt x="371365" y="63712"/>
                  </a:cubicBezTo>
                  <a:close/>
                </a:path>
              </a:pathLst>
            </a:custGeom>
            <a:grpFill/>
            <a:ln w="27192" cap="flat">
              <a:noFill/>
              <a:prstDash val="solid"/>
              <a:miter/>
            </a:ln>
          </p:spPr>
          <p:txBody>
            <a:bodyPr rtlCol="0" anchor="ctr"/>
            <a:lstStyle/>
            <a:p>
              <a:endParaRPr lang="uk-UA" sz="900"/>
            </a:p>
          </p:txBody>
        </p:sp>
        <p:sp>
          <p:nvSpPr>
            <p:cNvPr id="97" name="Freeform: Shape 96">
              <a:extLst>
                <a:ext uri="{FF2B5EF4-FFF2-40B4-BE49-F238E27FC236}">
                  <a16:creationId xmlns:a16="http://schemas.microsoft.com/office/drawing/2014/main" id="{0CC8E88D-D280-D121-80CC-36477A578445}"/>
                </a:ext>
              </a:extLst>
            </p:cNvPr>
            <p:cNvSpPr/>
            <p:nvPr/>
          </p:nvSpPr>
          <p:spPr>
            <a:xfrm>
              <a:off x="17368874" y="544952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98" name="Freeform: Shape 97">
              <a:extLst>
                <a:ext uri="{FF2B5EF4-FFF2-40B4-BE49-F238E27FC236}">
                  <a16:creationId xmlns:a16="http://schemas.microsoft.com/office/drawing/2014/main" id="{7A5B0567-E3F9-595F-868B-AE8D4C1236B2}"/>
                </a:ext>
              </a:extLst>
            </p:cNvPr>
            <p:cNvSpPr/>
            <p:nvPr/>
          </p:nvSpPr>
          <p:spPr>
            <a:xfrm>
              <a:off x="19109210" y="544952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51 w 435077"/>
                <a:gd name="connsiteY7" fmla="*/ 217539 h 435077"/>
                <a:gd name="connsiteX8" fmla="*/ 435077 w 435077"/>
                <a:gd name="connsiteY8" fmla="*/ 217539 h 435077"/>
                <a:gd name="connsiteX9" fmla="*/ 435051 w 435077"/>
                <a:gd name="connsiteY9" fmla="*/ 217539 h 435077"/>
                <a:gd name="connsiteX10" fmla="*/ 435077 w 435077"/>
                <a:gd name="connsiteY10" fmla="*/ 217539 h 435077"/>
                <a:gd name="connsiteX11" fmla="*/ 435051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51" y="217539"/>
                  </a:lnTo>
                  <a:lnTo>
                    <a:pt x="435077" y="217539"/>
                  </a:lnTo>
                  <a:lnTo>
                    <a:pt x="435051" y="217539"/>
                  </a:lnTo>
                  <a:lnTo>
                    <a:pt x="435077" y="217539"/>
                  </a:lnTo>
                  <a:lnTo>
                    <a:pt x="435051"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99" name="Freeform: Shape 98">
              <a:extLst>
                <a:ext uri="{FF2B5EF4-FFF2-40B4-BE49-F238E27FC236}">
                  <a16:creationId xmlns:a16="http://schemas.microsoft.com/office/drawing/2014/main" id="{665E31B9-1D84-04FE-7CEF-B7717E4A1340}"/>
                </a:ext>
              </a:extLst>
            </p:cNvPr>
            <p:cNvSpPr/>
            <p:nvPr/>
          </p:nvSpPr>
          <p:spPr>
            <a:xfrm>
              <a:off x="19979365" y="5449529"/>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66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39" y="435077"/>
                  </a:lnTo>
                  <a:lnTo>
                    <a:pt x="435077" y="217566"/>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100" name="Freeform: Shape 99">
              <a:extLst>
                <a:ext uri="{FF2B5EF4-FFF2-40B4-BE49-F238E27FC236}">
                  <a16:creationId xmlns:a16="http://schemas.microsoft.com/office/drawing/2014/main" id="{B2D7DC21-6E2A-998F-E3D6-3B98F054A0FD}"/>
                </a:ext>
              </a:extLst>
            </p:cNvPr>
            <p:cNvSpPr/>
            <p:nvPr/>
          </p:nvSpPr>
          <p:spPr>
            <a:xfrm>
              <a:off x="21719702" y="5449529"/>
              <a:ext cx="435077" cy="435077"/>
            </a:xfrm>
            <a:custGeom>
              <a:avLst/>
              <a:gdLst>
                <a:gd name="connsiteX0" fmla="*/ 371339 w 435077"/>
                <a:gd name="connsiteY0" fmla="*/ 63712 h 435077"/>
                <a:gd name="connsiteX1" fmla="*/ 435077 w 435077"/>
                <a:gd name="connsiteY1" fmla="*/ 217539 h 435077"/>
                <a:gd name="connsiteX2" fmla="*/ 217703 w 435077"/>
                <a:gd name="connsiteY2" fmla="*/ 217539 h 435077"/>
                <a:gd name="connsiteX3" fmla="*/ 371367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7350 w 435077"/>
                <a:gd name="connsiteY8" fmla="*/ 217539 h 435077"/>
                <a:gd name="connsiteX9" fmla="*/ 0 w 435077"/>
                <a:gd name="connsiteY9" fmla="*/ 217539 h 435077"/>
                <a:gd name="connsiteX10" fmla="*/ 63712 w 435077"/>
                <a:gd name="connsiteY10" fmla="*/ 63712 h 435077"/>
                <a:gd name="connsiteX11" fmla="*/ 217539 w 435077"/>
                <a:gd name="connsiteY11" fmla="*/ 0 h 435077"/>
                <a:gd name="connsiteX12" fmla="*/ 371339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12"/>
                  </a:moveTo>
                  <a:cubicBezTo>
                    <a:pt x="412155" y="104527"/>
                    <a:pt x="435077" y="159837"/>
                    <a:pt x="435077" y="217539"/>
                  </a:cubicBezTo>
                  <a:lnTo>
                    <a:pt x="217703" y="217539"/>
                  </a:lnTo>
                  <a:cubicBezTo>
                    <a:pt x="275322" y="217593"/>
                    <a:pt x="330605" y="240489"/>
                    <a:pt x="371367" y="281250"/>
                  </a:cubicBezTo>
                  <a:cubicBezTo>
                    <a:pt x="412155" y="322066"/>
                    <a:pt x="435077" y="377375"/>
                    <a:pt x="435077" y="435077"/>
                  </a:cubicBezTo>
                  <a:lnTo>
                    <a:pt x="217539" y="435077"/>
                  </a:lnTo>
                  <a:lnTo>
                    <a:pt x="0" y="435077"/>
                  </a:lnTo>
                  <a:cubicBezTo>
                    <a:pt x="0" y="377375"/>
                    <a:pt x="22924" y="322066"/>
                    <a:pt x="63712" y="281250"/>
                  </a:cubicBezTo>
                  <a:cubicBezTo>
                    <a:pt x="104474" y="240489"/>
                    <a:pt x="159728" y="217593"/>
                    <a:pt x="217350" y="217539"/>
                  </a:cubicBezTo>
                  <a:lnTo>
                    <a:pt x="0" y="217539"/>
                  </a:lnTo>
                  <a:cubicBezTo>
                    <a:pt x="0" y="159837"/>
                    <a:pt x="22897" y="104527"/>
                    <a:pt x="63712" y="63712"/>
                  </a:cubicBezTo>
                  <a:cubicBezTo>
                    <a:pt x="104501" y="22923"/>
                    <a:pt x="159838" y="0"/>
                    <a:pt x="217539" y="0"/>
                  </a:cubicBezTo>
                  <a:cubicBezTo>
                    <a:pt x="275215" y="0"/>
                    <a:pt x="330550" y="22923"/>
                    <a:pt x="371339" y="63712"/>
                  </a:cubicBezTo>
                  <a:close/>
                </a:path>
              </a:pathLst>
            </a:custGeom>
            <a:grpFill/>
            <a:ln w="27192" cap="flat">
              <a:noFill/>
              <a:prstDash val="solid"/>
              <a:miter/>
            </a:ln>
          </p:spPr>
          <p:txBody>
            <a:bodyPr rtlCol="0" anchor="ctr"/>
            <a:lstStyle/>
            <a:p>
              <a:endParaRPr lang="uk-UA" sz="900"/>
            </a:p>
          </p:txBody>
        </p:sp>
        <p:sp>
          <p:nvSpPr>
            <p:cNvPr id="101" name="Freeform: Shape 100">
              <a:extLst>
                <a:ext uri="{FF2B5EF4-FFF2-40B4-BE49-F238E27FC236}">
                  <a16:creationId xmlns:a16="http://schemas.microsoft.com/office/drawing/2014/main" id="{69C65F77-0057-8ECC-2755-9BA59FE9ECA0}"/>
                </a:ext>
              </a:extLst>
            </p:cNvPr>
            <p:cNvSpPr/>
            <p:nvPr/>
          </p:nvSpPr>
          <p:spPr>
            <a:xfrm>
              <a:off x="20849520" y="5449529"/>
              <a:ext cx="435103" cy="435077"/>
            </a:xfrm>
            <a:custGeom>
              <a:avLst/>
              <a:gdLst>
                <a:gd name="connsiteX0" fmla="*/ 217539 w 435103"/>
                <a:gd name="connsiteY0" fmla="*/ 0 h 435077"/>
                <a:gd name="connsiteX1" fmla="*/ 0 w 435103"/>
                <a:gd name="connsiteY1" fmla="*/ 0 h 435077"/>
                <a:gd name="connsiteX2" fmla="*/ 0 w 435103"/>
                <a:gd name="connsiteY2" fmla="*/ 217539 h 435077"/>
                <a:gd name="connsiteX3" fmla="*/ 217539 w 435103"/>
                <a:gd name="connsiteY3" fmla="*/ 0 h 435077"/>
                <a:gd name="connsiteX4" fmla="*/ 435104 w 435103"/>
                <a:gd name="connsiteY4" fmla="*/ 0 h 435077"/>
                <a:gd name="connsiteX5" fmla="*/ 435104 w 435103"/>
                <a:gd name="connsiteY5" fmla="*/ 217539 h 435077"/>
                <a:gd name="connsiteX6" fmla="*/ 217565 w 435103"/>
                <a:gd name="connsiteY6" fmla="*/ 0 h 435077"/>
                <a:gd name="connsiteX7" fmla="*/ 435104 w 435103"/>
                <a:gd name="connsiteY7" fmla="*/ 0 h 435077"/>
                <a:gd name="connsiteX8" fmla="*/ 217565 w 435103"/>
                <a:gd name="connsiteY8" fmla="*/ 435077 h 435077"/>
                <a:gd name="connsiteX9" fmla="*/ 435104 w 435103"/>
                <a:gd name="connsiteY9" fmla="*/ 217539 h 435077"/>
                <a:gd name="connsiteX10" fmla="*/ 435104 w 435103"/>
                <a:gd name="connsiteY10" fmla="*/ 435077 h 435077"/>
                <a:gd name="connsiteX11" fmla="*/ 217565 w 435103"/>
                <a:gd name="connsiteY11" fmla="*/ 435077 h 435077"/>
                <a:gd name="connsiteX12" fmla="*/ 217565 w 435103"/>
                <a:gd name="connsiteY12" fmla="*/ 435077 h 435077"/>
                <a:gd name="connsiteX13" fmla="*/ 27 w 435103"/>
                <a:gd name="connsiteY13" fmla="*/ 217539 h 435077"/>
                <a:gd name="connsiteX14" fmla="*/ 27 w 435103"/>
                <a:gd name="connsiteY14" fmla="*/ 435077 h 435077"/>
                <a:gd name="connsiteX15" fmla="*/ 217565 w 435103"/>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3" h="435077">
                  <a:moveTo>
                    <a:pt x="217539" y="0"/>
                  </a:moveTo>
                  <a:lnTo>
                    <a:pt x="0" y="0"/>
                  </a:lnTo>
                  <a:lnTo>
                    <a:pt x="0" y="217539"/>
                  </a:lnTo>
                  <a:lnTo>
                    <a:pt x="217539" y="0"/>
                  </a:lnTo>
                  <a:close/>
                  <a:moveTo>
                    <a:pt x="435104" y="0"/>
                  </a:moveTo>
                  <a:lnTo>
                    <a:pt x="435104" y="217539"/>
                  </a:lnTo>
                  <a:lnTo>
                    <a:pt x="217565" y="0"/>
                  </a:lnTo>
                  <a:lnTo>
                    <a:pt x="435104" y="0"/>
                  </a:lnTo>
                  <a:close/>
                  <a:moveTo>
                    <a:pt x="217565" y="435077"/>
                  </a:moveTo>
                  <a:lnTo>
                    <a:pt x="435104" y="217539"/>
                  </a:lnTo>
                  <a:lnTo>
                    <a:pt x="435104" y="435077"/>
                  </a:lnTo>
                  <a:lnTo>
                    <a:pt x="217565" y="435077"/>
                  </a:lnTo>
                  <a:close/>
                  <a:moveTo>
                    <a:pt x="217565" y="435077"/>
                  </a:moveTo>
                  <a:lnTo>
                    <a:pt x="27" y="217539"/>
                  </a:lnTo>
                  <a:lnTo>
                    <a:pt x="27" y="435077"/>
                  </a:lnTo>
                  <a:lnTo>
                    <a:pt x="217565" y="435077"/>
                  </a:lnTo>
                  <a:close/>
                </a:path>
              </a:pathLst>
            </a:custGeom>
            <a:grpFill/>
            <a:ln w="27192" cap="flat">
              <a:noFill/>
              <a:prstDash val="solid"/>
              <a:miter/>
            </a:ln>
          </p:spPr>
          <p:txBody>
            <a:bodyPr rtlCol="0" anchor="ctr"/>
            <a:lstStyle/>
            <a:p>
              <a:endParaRPr lang="uk-UA" sz="900"/>
            </a:p>
          </p:txBody>
        </p:sp>
        <p:sp>
          <p:nvSpPr>
            <p:cNvPr id="102" name="Freeform: Shape 101">
              <a:extLst>
                <a:ext uri="{FF2B5EF4-FFF2-40B4-BE49-F238E27FC236}">
                  <a16:creationId xmlns:a16="http://schemas.microsoft.com/office/drawing/2014/main" id="{E2070761-5D13-F1C7-96AB-715E3F9B7458}"/>
                </a:ext>
              </a:extLst>
            </p:cNvPr>
            <p:cNvSpPr/>
            <p:nvPr/>
          </p:nvSpPr>
          <p:spPr>
            <a:xfrm>
              <a:off x="22589856" y="544952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103" name="Freeform: Shape 102">
              <a:extLst>
                <a:ext uri="{FF2B5EF4-FFF2-40B4-BE49-F238E27FC236}">
                  <a16:creationId xmlns:a16="http://schemas.microsoft.com/office/drawing/2014/main" id="{6662584D-94F9-A264-3AE9-1C1F9506E9D8}"/>
                </a:ext>
              </a:extLst>
            </p:cNvPr>
            <p:cNvSpPr/>
            <p:nvPr/>
          </p:nvSpPr>
          <p:spPr>
            <a:xfrm>
              <a:off x="23460039" y="5449529"/>
              <a:ext cx="435077" cy="435077"/>
            </a:xfrm>
            <a:custGeom>
              <a:avLst/>
              <a:gdLst>
                <a:gd name="connsiteX0" fmla="*/ 0 w 435077"/>
                <a:gd name="connsiteY0" fmla="*/ 435077 h 435077"/>
                <a:gd name="connsiteX1" fmla="*/ 217510 w 435077"/>
                <a:gd name="connsiteY1" fmla="*/ 435077 h 435077"/>
                <a:gd name="connsiteX2" fmla="*/ 217510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66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10" y="435077"/>
                  </a:lnTo>
                  <a:lnTo>
                    <a:pt x="217510" y="217539"/>
                  </a:lnTo>
                  <a:lnTo>
                    <a:pt x="0" y="435077"/>
                  </a:lnTo>
                  <a:close/>
                  <a:moveTo>
                    <a:pt x="217539" y="0"/>
                  </a:moveTo>
                  <a:lnTo>
                    <a:pt x="0" y="0"/>
                  </a:lnTo>
                  <a:lnTo>
                    <a:pt x="217539" y="217539"/>
                  </a:lnTo>
                  <a:lnTo>
                    <a:pt x="217539" y="0"/>
                  </a:lnTo>
                  <a:close/>
                  <a:moveTo>
                    <a:pt x="435077" y="435077"/>
                  </a:moveTo>
                  <a:lnTo>
                    <a:pt x="217539" y="435077"/>
                  </a:lnTo>
                  <a:lnTo>
                    <a:pt x="435077" y="217566"/>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104" name="Freeform: Shape 103">
              <a:extLst>
                <a:ext uri="{FF2B5EF4-FFF2-40B4-BE49-F238E27FC236}">
                  <a16:creationId xmlns:a16="http://schemas.microsoft.com/office/drawing/2014/main" id="{A3829954-5A03-8F60-F537-94E6742A18E2}"/>
                </a:ext>
              </a:extLst>
            </p:cNvPr>
            <p:cNvSpPr/>
            <p:nvPr/>
          </p:nvSpPr>
          <p:spPr>
            <a:xfrm>
              <a:off x="24330194" y="544952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p>
          </p:txBody>
        </p:sp>
        <p:sp>
          <p:nvSpPr>
            <p:cNvPr id="105" name="Freeform: Shape 104">
              <a:extLst>
                <a:ext uri="{FF2B5EF4-FFF2-40B4-BE49-F238E27FC236}">
                  <a16:creationId xmlns:a16="http://schemas.microsoft.com/office/drawing/2014/main" id="{A6B97026-7A09-C2FB-D4A0-5D0CFDCA26BF}"/>
                </a:ext>
              </a:extLst>
            </p:cNvPr>
            <p:cNvSpPr/>
            <p:nvPr/>
          </p:nvSpPr>
          <p:spPr>
            <a:xfrm>
              <a:off x="835769" y="6319683"/>
              <a:ext cx="435077" cy="435077"/>
            </a:xfrm>
            <a:custGeom>
              <a:avLst/>
              <a:gdLst>
                <a:gd name="connsiteX0" fmla="*/ 63711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1 w 435077"/>
                <a:gd name="connsiteY6" fmla="*/ 153827 h 435077"/>
                <a:gd name="connsiteX7" fmla="*/ 63711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1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1" y="153827"/>
                  </a:moveTo>
                  <a:cubicBezTo>
                    <a:pt x="22923" y="113038"/>
                    <a:pt x="0" y="57702"/>
                    <a:pt x="0" y="0"/>
                  </a:cubicBezTo>
                  <a:lnTo>
                    <a:pt x="217539" y="0"/>
                  </a:lnTo>
                  <a:lnTo>
                    <a:pt x="435077" y="0"/>
                  </a:lnTo>
                  <a:cubicBezTo>
                    <a:pt x="435077" y="57702"/>
                    <a:pt x="412154" y="113038"/>
                    <a:pt x="371366" y="153827"/>
                  </a:cubicBezTo>
                  <a:cubicBezTo>
                    <a:pt x="330550" y="194616"/>
                    <a:pt x="275213" y="217539"/>
                    <a:pt x="217539" y="217539"/>
                  </a:cubicBezTo>
                  <a:cubicBezTo>
                    <a:pt x="159836" y="217539"/>
                    <a:pt x="104500" y="194616"/>
                    <a:pt x="63711" y="153827"/>
                  </a:cubicBezTo>
                  <a:close/>
                  <a:moveTo>
                    <a:pt x="63711" y="281250"/>
                  </a:moveTo>
                  <a:cubicBezTo>
                    <a:pt x="22923" y="322066"/>
                    <a:pt x="0" y="377375"/>
                    <a:pt x="0" y="435077"/>
                  </a:cubicBezTo>
                  <a:lnTo>
                    <a:pt x="217539" y="435077"/>
                  </a:lnTo>
                  <a:lnTo>
                    <a:pt x="435077" y="435077"/>
                  </a:lnTo>
                  <a:cubicBezTo>
                    <a:pt x="435077" y="377375"/>
                    <a:pt x="412154" y="322066"/>
                    <a:pt x="371366" y="281250"/>
                  </a:cubicBezTo>
                  <a:cubicBezTo>
                    <a:pt x="330550" y="240462"/>
                    <a:pt x="275213" y="217539"/>
                    <a:pt x="217539" y="217539"/>
                  </a:cubicBezTo>
                  <a:cubicBezTo>
                    <a:pt x="159836" y="217539"/>
                    <a:pt x="104500" y="240462"/>
                    <a:pt x="63711" y="281250"/>
                  </a:cubicBezTo>
                  <a:close/>
                </a:path>
              </a:pathLst>
            </a:custGeom>
            <a:grpFill/>
            <a:ln w="27192" cap="flat">
              <a:noFill/>
              <a:prstDash val="solid"/>
              <a:miter/>
            </a:ln>
          </p:spPr>
          <p:txBody>
            <a:bodyPr rtlCol="0" anchor="ctr"/>
            <a:lstStyle/>
            <a:p>
              <a:endParaRPr lang="uk-UA" sz="900"/>
            </a:p>
          </p:txBody>
        </p:sp>
        <p:sp>
          <p:nvSpPr>
            <p:cNvPr id="106" name="Freeform: Shape 105">
              <a:extLst>
                <a:ext uri="{FF2B5EF4-FFF2-40B4-BE49-F238E27FC236}">
                  <a16:creationId xmlns:a16="http://schemas.microsoft.com/office/drawing/2014/main" id="{27A907D0-0295-C30F-F902-A14ECAA61015}"/>
                </a:ext>
              </a:extLst>
            </p:cNvPr>
            <p:cNvSpPr/>
            <p:nvPr/>
          </p:nvSpPr>
          <p:spPr>
            <a:xfrm>
              <a:off x="-34393" y="6319683"/>
              <a:ext cx="435085" cy="435077"/>
            </a:xfrm>
            <a:custGeom>
              <a:avLst/>
              <a:gdLst>
                <a:gd name="connsiteX0" fmla="*/ 435086 w 435085"/>
                <a:gd name="connsiteY0" fmla="*/ 435077 h 435077"/>
                <a:gd name="connsiteX1" fmla="*/ 435086 w 435085"/>
                <a:gd name="connsiteY1" fmla="*/ 0 h 435077"/>
                <a:gd name="connsiteX2" fmla="*/ 217547 w 435085"/>
                <a:gd name="connsiteY2" fmla="*/ 217539 h 435077"/>
                <a:gd name="connsiteX3" fmla="*/ 435086 w 435085"/>
                <a:gd name="connsiteY3" fmla="*/ 435077 h 435077"/>
                <a:gd name="connsiteX4" fmla="*/ 0 w 435085"/>
                <a:gd name="connsiteY4" fmla="*/ 435077 h 435077"/>
                <a:gd name="connsiteX5" fmla="*/ 0 w 435085"/>
                <a:gd name="connsiteY5" fmla="*/ 0 h 435077"/>
                <a:gd name="connsiteX6" fmla="*/ 217520 w 435085"/>
                <a:gd name="connsiteY6" fmla="*/ 217539 h 435077"/>
                <a:gd name="connsiteX7" fmla="*/ 0 w 435085"/>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85" h="435077">
                  <a:moveTo>
                    <a:pt x="435086" y="435077"/>
                  </a:moveTo>
                  <a:lnTo>
                    <a:pt x="435086" y="0"/>
                  </a:lnTo>
                  <a:lnTo>
                    <a:pt x="217547" y="217539"/>
                  </a:lnTo>
                  <a:lnTo>
                    <a:pt x="435086" y="435077"/>
                  </a:lnTo>
                  <a:close/>
                  <a:moveTo>
                    <a:pt x="0" y="435077"/>
                  </a:moveTo>
                  <a:lnTo>
                    <a:pt x="0" y="0"/>
                  </a:lnTo>
                  <a:lnTo>
                    <a:pt x="217520" y="217539"/>
                  </a:lnTo>
                  <a:lnTo>
                    <a:pt x="0" y="435077"/>
                  </a:lnTo>
                  <a:close/>
                </a:path>
              </a:pathLst>
            </a:custGeom>
            <a:grpFill/>
            <a:ln w="27192" cap="flat">
              <a:noFill/>
              <a:prstDash val="solid"/>
              <a:miter/>
            </a:ln>
          </p:spPr>
          <p:txBody>
            <a:bodyPr rtlCol="0" anchor="ctr"/>
            <a:lstStyle/>
            <a:p>
              <a:endParaRPr lang="uk-UA" sz="900"/>
            </a:p>
          </p:txBody>
        </p:sp>
        <p:sp>
          <p:nvSpPr>
            <p:cNvPr id="107" name="Freeform: Shape 106">
              <a:extLst>
                <a:ext uri="{FF2B5EF4-FFF2-40B4-BE49-F238E27FC236}">
                  <a16:creationId xmlns:a16="http://schemas.microsoft.com/office/drawing/2014/main" id="{F44B551E-B2AF-1713-E382-D4F78F562553}"/>
                </a:ext>
              </a:extLst>
            </p:cNvPr>
            <p:cNvSpPr/>
            <p:nvPr/>
          </p:nvSpPr>
          <p:spPr>
            <a:xfrm>
              <a:off x="1705924" y="6319683"/>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6 w 435077"/>
                <a:gd name="connsiteY3" fmla="*/ 27 h 435077"/>
                <a:gd name="connsiteX4" fmla="*/ 435077 w 435077"/>
                <a:gd name="connsiteY4" fmla="*/ 217539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6" y="27"/>
                  </a:lnTo>
                  <a:lnTo>
                    <a:pt x="435077" y="217539"/>
                  </a:lnTo>
                  <a:lnTo>
                    <a:pt x="217566"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108" name="Freeform: Shape 107">
              <a:extLst>
                <a:ext uri="{FF2B5EF4-FFF2-40B4-BE49-F238E27FC236}">
                  <a16:creationId xmlns:a16="http://schemas.microsoft.com/office/drawing/2014/main" id="{347D8746-A387-DA32-EFE6-2A489A99CD93}"/>
                </a:ext>
              </a:extLst>
            </p:cNvPr>
            <p:cNvSpPr/>
            <p:nvPr/>
          </p:nvSpPr>
          <p:spPr>
            <a:xfrm>
              <a:off x="2576106" y="6319683"/>
              <a:ext cx="435077" cy="435077"/>
            </a:xfrm>
            <a:custGeom>
              <a:avLst/>
              <a:gdLst>
                <a:gd name="connsiteX0" fmla="*/ 0 w 435077"/>
                <a:gd name="connsiteY0" fmla="*/ 435077 h 435077"/>
                <a:gd name="connsiteX1" fmla="*/ 0 w 435077"/>
                <a:gd name="connsiteY1" fmla="*/ 0 h 435077"/>
                <a:gd name="connsiteX2" fmla="*/ 217512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12"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109" name="Freeform: Shape 108">
              <a:extLst>
                <a:ext uri="{FF2B5EF4-FFF2-40B4-BE49-F238E27FC236}">
                  <a16:creationId xmlns:a16="http://schemas.microsoft.com/office/drawing/2014/main" id="{1CBC0E8F-2974-5440-D891-ADE5066DFB0A}"/>
                </a:ext>
              </a:extLst>
            </p:cNvPr>
            <p:cNvSpPr/>
            <p:nvPr/>
          </p:nvSpPr>
          <p:spPr>
            <a:xfrm>
              <a:off x="4316416" y="6319683"/>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39 w 435077"/>
                <a:gd name="connsiteY6" fmla="*/ 153827 h 435077"/>
                <a:gd name="connsiteX7" fmla="*/ 63739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0 h 435077"/>
                <a:gd name="connsiteX12" fmla="*/ 217539 w 435077"/>
                <a:gd name="connsiteY12" fmla="*/ 217539 h 435077"/>
                <a:gd name="connsiteX13" fmla="*/ 63739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3" y="113038"/>
                    <a:pt x="0" y="57702"/>
                    <a:pt x="0" y="0"/>
                  </a:cubicBezTo>
                  <a:lnTo>
                    <a:pt x="217539" y="0"/>
                  </a:lnTo>
                  <a:lnTo>
                    <a:pt x="435077" y="0"/>
                  </a:lnTo>
                  <a:cubicBezTo>
                    <a:pt x="435077" y="57702"/>
                    <a:pt x="412181" y="113038"/>
                    <a:pt x="371365" y="153827"/>
                  </a:cubicBezTo>
                  <a:cubicBezTo>
                    <a:pt x="330577" y="194616"/>
                    <a:pt x="275240" y="217539"/>
                    <a:pt x="217539" y="217539"/>
                  </a:cubicBezTo>
                  <a:cubicBezTo>
                    <a:pt x="159864" y="217539"/>
                    <a:pt x="104527" y="194616"/>
                    <a:pt x="63739" y="153827"/>
                  </a:cubicBezTo>
                  <a:close/>
                  <a:moveTo>
                    <a:pt x="63739" y="281250"/>
                  </a:moveTo>
                  <a:cubicBezTo>
                    <a:pt x="22923" y="322066"/>
                    <a:pt x="0" y="377375"/>
                    <a:pt x="0" y="435077"/>
                  </a:cubicBezTo>
                  <a:lnTo>
                    <a:pt x="217539" y="435077"/>
                  </a:lnTo>
                  <a:lnTo>
                    <a:pt x="435077" y="435077"/>
                  </a:lnTo>
                  <a:cubicBezTo>
                    <a:pt x="435077" y="377375"/>
                    <a:pt x="412181" y="322066"/>
                    <a:pt x="371365" y="281250"/>
                  </a:cubicBezTo>
                  <a:cubicBezTo>
                    <a:pt x="330577" y="240462"/>
                    <a:pt x="275240" y="217539"/>
                    <a:pt x="217539" y="217539"/>
                  </a:cubicBezTo>
                  <a:cubicBezTo>
                    <a:pt x="159864" y="217539"/>
                    <a:pt x="104527" y="240462"/>
                    <a:pt x="63739" y="281250"/>
                  </a:cubicBezTo>
                  <a:close/>
                </a:path>
              </a:pathLst>
            </a:custGeom>
            <a:grpFill/>
            <a:ln w="27192" cap="flat">
              <a:noFill/>
              <a:prstDash val="solid"/>
              <a:miter/>
            </a:ln>
          </p:spPr>
          <p:txBody>
            <a:bodyPr rtlCol="0" anchor="ctr"/>
            <a:lstStyle/>
            <a:p>
              <a:endParaRPr lang="uk-UA" sz="900"/>
            </a:p>
          </p:txBody>
        </p:sp>
        <p:sp>
          <p:nvSpPr>
            <p:cNvPr id="110" name="Freeform: Shape 109">
              <a:extLst>
                <a:ext uri="{FF2B5EF4-FFF2-40B4-BE49-F238E27FC236}">
                  <a16:creationId xmlns:a16="http://schemas.microsoft.com/office/drawing/2014/main" id="{D9CD616B-57F0-EA53-C9E7-9E3F9289D719}"/>
                </a:ext>
              </a:extLst>
            </p:cNvPr>
            <p:cNvSpPr/>
            <p:nvPr/>
          </p:nvSpPr>
          <p:spPr>
            <a:xfrm>
              <a:off x="3446261" y="6319683"/>
              <a:ext cx="435077" cy="435077"/>
            </a:xfrm>
            <a:custGeom>
              <a:avLst/>
              <a:gdLst>
                <a:gd name="connsiteX0" fmla="*/ 435077 w 435077"/>
                <a:gd name="connsiteY0" fmla="*/ 435077 h 435077"/>
                <a:gd name="connsiteX1" fmla="*/ 435077 w 435077"/>
                <a:gd name="connsiteY1" fmla="*/ 0 h 435077"/>
                <a:gd name="connsiteX2" fmla="*/ 217566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6"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111" name="Freeform: Shape 110">
              <a:extLst>
                <a:ext uri="{FF2B5EF4-FFF2-40B4-BE49-F238E27FC236}">
                  <a16:creationId xmlns:a16="http://schemas.microsoft.com/office/drawing/2014/main" id="{7AD034AE-B3AA-C091-D91A-6A9030D26ABB}"/>
                </a:ext>
              </a:extLst>
            </p:cNvPr>
            <p:cNvSpPr/>
            <p:nvPr/>
          </p:nvSpPr>
          <p:spPr>
            <a:xfrm>
              <a:off x="5186597" y="6319683"/>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39 w 435077"/>
                <a:gd name="connsiteY3" fmla="*/ 27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39" y="27"/>
                  </a:lnTo>
                  <a:lnTo>
                    <a:pt x="435077" y="217539"/>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112" name="Freeform: Shape 111">
              <a:extLst>
                <a:ext uri="{FF2B5EF4-FFF2-40B4-BE49-F238E27FC236}">
                  <a16:creationId xmlns:a16="http://schemas.microsoft.com/office/drawing/2014/main" id="{2738D716-AB7F-C93F-8461-957D0D3221AC}"/>
                </a:ext>
              </a:extLst>
            </p:cNvPr>
            <p:cNvSpPr/>
            <p:nvPr/>
          </p:nvSpPr>
          <p:spPr>
            <a:xfrm>
              <a:off x="6056752" y="6319683"/>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113" name="Freeform: Shape 112">
              <a:extLst>
                <a:ext uri="{FF2B5EF4-FFF2-40B4-BE49-F238E27FC236}">
                  <a16:creationId xmlns:a16="http://schemas.microsoft.com/office/drawing/2014/main" id="{FF13895C-8052-E72F-0DC0-724BFFAD1A5D}"/>
                </a:ext>
              </a:extLst>
            </p:cNvPr>
            <p:cNvSpPr/>
            <p:nvPr/>
          </p:nvSpPr>
          <p:spPr>
            <a:xfrm>
              <a:off x="7797062" y="6319683"/>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39 w 435077"/>
                <a:gd name="connsiteY6" fmla="*/ 153827 h 435077"/>
                <a:gd name="connsiteX7" fmla="*/ 63739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39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4" y="113038"/>
                    <a:pt x="0" y="57702"/>
                    <a:pt x="0" y="0"/>
                  </a:cubicBezTo>
                  <a:lnTo>
                    <a:pt x="217539" y="0"/>
                  </a:lnTo>
                  <a:lnTo>
                    <a:pt x="435077" y="0"/>
                  </a:lnTo>
                  <a:cubicBezTo>
                    <a:pt x="435077" y="57702"/>
                    <a:pt x="412182" y="113038"/>
                    <a:pt x="371366" y="153827"/>
                  </a:cubicBezTo>
                  <a:cubicBezTo>
                    <a:pt x="330578" y="194616"/>
                    <a:pt x="275241" y="217539"/>
                    <a:pt x="217539" y="217539"/>
                  </a:cubicBezTo>
                  <a:cubicBezTo>
                    <a:pt x="159864" y="217539"/>
                    <a:pt x="104527" y="194616"/>
                    <a:pt x="63739" y="153827"/>
                  </a:cubicBezTo>
                  <a:close/>
                  <a:moveTo>
                    <a:pt x="63739" y="281250"/>
                  </a:moveTo>
                  <a:cubicBezTo>
                    <a:pt x="22924" y="322066"/>
                    <a:pt x="0" y="377375"/>
                    <a:pt x="0" y="435077"/>
                  </a:cubicBezTo>
                  <a:lnTo>
                    <a:pt x="217539" y="435077"/>
                  </a:lnTo>
                  <a:lnTo>
                    <a:pt x="435077" y="435077"/>
                  </a:lnTo>
                  <a:cubicBezTo>
                    <a:pt x="435077" y="377375"/>
                    <a:pt x="412182" y="322066"/>
                    <a:pt x="371366" y="281250"/>
                  </a:cubicBezTo>
                  <a:cubicBezTo>
                    <a:pt x="330578" y="240462"/>
                    <a:pt x="275241" y="217539"/>
                    <a:pt x="217539" y="217539"/>
                  </a:cubicBezTo>
                  <a:cubicBezTo>
                    <a:pt x="159864" y="217539"/>
                    <a:pt x="104527" y="240462"/>
                    <a:pt x="63739" y="281250"/>
                  </a:cubicBezTo>
                  <a:close/>
                </a:path>
              </a:pathLst>
            </a:custGeom>
            <a:grpFill/>
            <a:ln w="27192" cap="flat">
              <a:noFill/>
              <a:prstDash val="solid"/>
              <a:miter/>
            </a:ln>
          </p:spPr>
          <p:txBody>
            <a:bodyPr rtlCol="0" anchor="ctr"/>
            <a:lstStyle/>
            <a:p>
              <a:endParaRPr lang="uk-UA" sz="900"/>
            </a:p>
          </p:txBody>
        </p:sp>
        <p:sp>
          <p:nvSpPr>
            <p:cNvPr id="114" name="Freeform: Shape 113">
              <a:extLst>
                <a:ext uri="{FF2B5EF4-FFF2-40B4-BE49-F238E27FC236}">
                  <a16:creationId xmlns:a16="http://schemas.microsoft.com/office/drawing/2014/main" id="{80562ACF-0859-2C11-B795-CA6AA8C36C68}"/>
                </a:ext>
              </a:extLst>
            </p:cNvPr>
            <p:cNvSpPr/>
            <p:nvPr/>
          </p:nvSpPr>
          <p:spPr>
            <a:xfrm>
              <a:off x="6926907" y="6319683"/>
              <a:ext cx="435077" cy="435077"/>
            </a:xfrm>
            <a:custGeom>
              <a:avLst/>
              <a:gdLst>
                <a:gd name="connsiteX0" fmla="*/ 435077 w 435077"/>
                <a:gd name="connsiteY0" fmla="*/ 435077 h 435077"/>
                <a:gd name="connsiteX1" fmla="*/ 435077 w 435077"/>
                <a:gd name="connsiteY1" fmla="*/ 0 h 435077"/>
                <a:gd name="connsiteX2" fmla="*/ 217566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6"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115" name="Freeform: Shape 114">
              <a:extLst>
                <a:ext uri="{FF2B5EF4-FFF2-40B4-BE49-F238E27FC236}">
                  <a16:creationId xmlns:a16="http://schemas.microsoft.com/office/drawing/2014/main" id="{B026D5C4-08E2-0AB6-156A-CEBAE5E5C16C}"/>
                </a:ext>
              </a:extLst>
            </p:cNvPr>
            <p:cNvSpPr/>
            <p:nvPr/>
          </p:nvSpPr>
          <p:spPr>
            <a:xfrm>
              <a:off x="8667217" y="6319683"/>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6 w 435077"/>
                <a:gd name="connsiteY3" fmla="*/ 27 h 435077"/>
                <a:gd name="connsiteX4" fmla="*/ 435077 w 435077"/>
                <a:gd name="connsiteY4" fmla="*/ 217539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6" y="27"/>
                  </a:lnTo>
                  <a:lnTo>
                    <a:pt x="435077" y="217539"/>
                  </a:lnTo>
                  <a:lnTo>
                    <a:pt x="217566"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116" name="Freeform: Shape 115">
              <a:extLst>
                <a:ext uri="{FF2B5EF4-FFF2-40B4-BE49-F238E27FC236}">
                  <a16:creationId xmlns:a16="http://schemas.microsoft.com/office/drawing/2014/main" id="{007C1708-7274-9AEA-67C4-9321F71872A1}"/>
                </a:ext>
              </a:extLst>
            </p:cNvPr>
            <p:cNvSpPr/>
            <p:nvPr/>
          </p:nvSpPr>
          <p:spPr>
            <a:xfrm>
              <a:off x="9537399" y="6319683"/>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117" name="Freeform: Shape 116">
              <a:extLst>
                <a:ext uri="{FF2B5EF4-FFF2-40B4-BE49-F238E27FC236}">
                  <a16:creationId xmlns:a16="http://schemas.microsoft.com/office/drawing/2014/main" id="{B6B374E6-1AD0-09AF-CBA6-1815B7AEAA02}"/>
                </a:ext>
              </a:extLst>
            </p:cNvPr>
            <p:cNvSpPr/>
            <p:nvPr/>
          </p:nvSpPr>
          <p:spPr>
            <a:xfrm>
              <a:off x="11277709" y="6319683"/>
              <a:ext cx="435077" cy="435077"/>
            </a:xfrm>
            <a:custGeom>
              <a:avLst/>
              <a:gdLst>
                <a:gd name="connsiteX0" fmla="*/ 63710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0 w 435077"/>
                <a:gd name="connsiteY6" fmla="*/ 153827 h 435077"/>
                <a:gd name="connsiteX7" fmla="*/ 63710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0 h 435077"/>
                <a:gd name="connsiteX12" fmla="*/ 217539 w 435077"/>
                <a:gd name="connsiteY12" fmla="*/ 217539 h 435077"/>
                <a:gd name="connsiteX13" fmla="*/ 63710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7"/>
                  </a:moveTo>
                  <a:cubicBezTo>
                    <a:pt x="22922" y="113038"/>
                    <a:pt x="0" y="57702"/>
                    <a:pt x="0" y="0"/>
                  </a:cubicBezTo>
                  <a:lnTo>
                    <a:pt x="217539" y="0"/>
                  </a:lnTo>
                  <a:lnTo>
                    <a:pt x="435077" y="0"/>
                  </a:lnTo>
                  <a:cubicBezTo>
                    <a:pt x="435077" y="57702"/>
                    <a:pt x="412154" y="113038"/>
                    <a:pt x="371365" y="153827"/>
                  </a:cubicBezTo>
                  <a:cubicBezTo>
                    <a:pt x="330549" y="194616"/>
                    <a:pt x="275239" y="217539"/>
                    <a:pt x="217539" y="217539"/>
                  </a:cubicBezTo>
                  <a:cubicBezTo>
                    <a:pt x="159836" y="217539"/>
                    <a:pt x="104499" y="194616"/>
                    <a:pt x="63710" y="153827"/>
                  </a:cubicBezTo>
                  <a:close/>
                  <a:moveTo>
                    <a:pt x="63710" y="281250"/>
                  </a:moveTo>
                  <a:cubicBezTo>
                    <a:pt x="22922" y="322066"/>
                    <a:pt x="0" y="377375"/>
                    <a:pt x="0" y="435077"/>
                  </a:cubicBezTo>
                  <a:lnTo>
                    <a:pt x="217539" y="435077"/>
                  </a:lnTo>
                  <a:lnTo>
                    <a:pt x="435077" y="435077"/>
                  </a:lnTo>
                  <a:cubicBezTo>
                    <a:pt x="435077" y="377375"/>
                    <a:pt x="412154" y="322066"/>
                    <a:pt x="371365" y="281250"/>
                  </a:cubicBezTo>
                  <a:cubicBezTo>
                    <a:pt x="330549" y="240462"/>
                    <a:pt x="275239" y="217539"/>
                    <a:pt x="217539" y="217539"/>
                  </a:cubicBezTo>
                  <a:cubicBezTo>
                    <a:pt x="159836" y="217539"/>
                    <a:pt x="104499" y="240462"/>
                    <a:pt x="63710" y="281250"/>
                  </a:cubicBezTo>
                  <a:close/>
                </a:path>
              </a:pathLst>
            </a:custGeom>
            <a:grpFill/>
            <a:ln w="27192" cap="flat">
              <a:noFill/>
              <a:prstDash val="solid"/>
              <a:miter/>
            </a:ln>
          </p:spPr>
          <p:txBody>
            <a:bodyPr rtlCol="0" anchor="ctr"/>
            <a:lstStyle/>
            <a:p>
              <a:endParaRPr lang="uk-UA" sz="900"/>
            </a:p>
          </p:txBody>
        </p:sp>
        <p:sp>
          <p:nvSpPr>
            <p:cNvPr id="118" name="Freeform: Shape 117">
              <a:extLst>
                <a:ext uri="{FF2B5EF4-FFF2-40B4-BE49-F238E27FC236}">
                  <a16:creationId xmlns:a16="http://schemas.microsoft.com/office/drawing/2014/main" id="{3E0F135A-DB2C-194D-A100-D65EF9BF5DD5}"/>
                </a:ext>
              </a:extLst>
            </p:cNvPr>
            <p:cNvSpPr/>
            <p:nvPr/>
          </p:nvSpPr>
          <p:spPr>
            <a:xfrm>
              <a:off x="10407554" y="631968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1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1" y="217539"/>
                  </a:lnTo>
                  <a:lnTo>
                    <a:pt x="0" y="435077"/>
                  </a:lnTo>
                  <a:close/>
                </a:path>
              </a:pathLst>
            </a:custGeom>
            <a:grpFill/>
            <a:ln w="27192" cap="flat">
              <a:noFill/>
              <a:prstDash val="solid"/>
              <a:miter/>
            </a:ln>
          </p:spPr>
          <p:txBody>
            <a:bodyPr rtlCol="0" anchor="ctr"/>
            <a:lstStyle/>
            <a:p>
              <a:endParaRPr lang="uk-UA" sz="900"/>
            </a:p>
          </p:txBody>
        </p:sp>
        <p:sp>
          <p:nvSpPr>
            <p:cNvPr id="119" name="Freeform: Shape 118">
              <a:extLst>
                <a:ext uri="{FF2B5EF4-FFF2-40B4-BE49-F238E27FC236}">
                  <a16:creationId xmlns:a16="http://schemas.microsoft.com/office/drawing/2014/main" id="{DB40C623-4C8E-63B3-54B0-3DCD5494B29E}"/>
                </a:ext>
              </a:extLst>
            </p:cNvPr>
            <p:cNvSpPr/>
            <p:nvPr/>
          </p:nvSpPr>
          <p:spPr>
            <a:xfrm>
              <a:off x="12147864" y="6319683"/>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5 w 435077"/>
                <a:gd name="connsiteY3" fmla="*/ 27 h 435077"/>
                <a:gd name="connsiteX4" fmla="*/ 435077 w 435077"/>
                <a:gd name="connsiteY4" fmla="*/ 217539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5" y="27"/>
                  </a:lnTo>
                  <a:lnTo>
                    <a:pt x="435077" y="217539"/>
                  </a:lnTo>
                  <a:lnTo>
                    <a:pt x="217565"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120" name="Freeform: Shape 119">
              <a:extLst>
                <a:ext uri="{FF2B5EF4-FFF2-40B4-BE49-F238E27FC236}">
                  <a16:creationId xmlns:a16="http://schemas.microsoft.com/office/drawing/2014/main" id="{053E3283-1A39-361E-3386-DF4B9129FD15}"/>
                </a:ext>
              </a:extLst>
            </p:cNvPr>
            <p:cNvSpPr/>
            <p:nvPr/>
          </p:nvSpPr>
          <p:spPr>
            <a:xfrm>
              <a:off x="13018045" y="6319683"/>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121" name="Freeform: Shape 120">
              <a:extLst>
                <a:ext uri="{FF2B5EF4-FFF2-40B4-BE49-F238E27FC236}">
                  <a16:creationId xmlns:a16="http://schemas.microsoft.com/office/drawing/2014/main" id="{5491CCBD-A2F4-21D2-5533-23DA2BFEAF93}"/>
                </a:ext>
              </a:extLst>
            </p:cNvPr>
            <p:cNvSpPr/>
            <p:nvPr/>
          </p:nvSpPr>
          <p:spPr>
            <a:xfrm>
              <a:off x="14758382" y="631968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8"/>
                    <a:pt x="0" y="57702"/>
                    <a:pt x="0" y="0"/>
                  </a:cubicBezTo>
                  <a:lnTo>
                    <a:pt x="217539" y="0"/>
                  </a:lnTo>
                  <a:lnTo>
                    <a:pt x="435077" y="0"/>
                  </a:lnTo>
                  <a:cubicBezTo>
                    <a:pt x="435077" y="57702"/>
                    <a:pt x="412155" y="113038"/>
                    <a:pt x="371367" y="153827"/>
                  </a:cubicBezTo>
                  <a:cubicBezTo>
                    <a:pt x="330550" y="194616"/>
                    <a:pt x="275241" y="217539"/>
                    <a:pt x="217539" y="217539"/>
                  </a:cubicBezTo>
                  <a:cubicBezTo>
                    <a:pt x="159836" y="217539"/>
                    <a:pt x="104501" y="194616"/>
                    <a:pt x="63712" y="153827"/>
                  </a:cubicBezTo>
                  <a:close/>
                  <a:moveTo>
                    <a:pt x="63712" y="281250"/>
                  </a:moveTo>
                  <a:cubicBezTo>
                    <a:pt x="22924" y="322066"/>
                    <a:pt x="0" y="377375"/>
                    <a:pt x="0" y="435077"/>
                  </a:cubicBezTo>
                  <a:lnTo>
                    <a:pt x="217539" y="435077"/>
                  </a:lnTo>
                  <a:lnTo>
                    <a:pt x="435077" y="435077"/>
                  </a:lnTo>
                  <a:cubicBezTo>
                    <a:pt x="435077" y="377375"/>
                    <a:pt x="412155" y="322066"/>
                    <a:pt x="371367" y="281250"/>
                  </a:cubicBezTo>
                  <a:cubicBezTo>
                    <a:pt x="330550" y="240462"/>
                    <a:pt x="275241" y="217539"/>
                    <a:pt x="217539" y="217539"/>
                  </a:cubicBezTo>
                  <a:cubicBezTo>
                    <a:pt x="159836" y="217539"/>
                    <a:pt x="104501" y="240462"/>
                    <a:pt x="63712" y="281250"/>
                  </a:cubicBezTo>
                  <a:close/>
                </a:path>
              </a:pathLst>
            </a:custGeom>
            <a:grpFill/>
            <a:ln w="27192" cap="flat">
              <a:noFill/>
              <a:prstDash val="solid"/>
              <a:miter/>
            </a:ln>
          </p:spPr>
          <p:txBody>
            <a:bodyPr rtlCol="0" anchor="ctr"/>
            <a:lstStyle/>
            <a:p>
              <a:endParaRPr lang="uk-UA" sz="900"/>
            </a:p>
          </p:txBody>
        </p:sp>
        <p:sp>
          <p:nvSpPr>
            <p:cNvPr id="122" name="Freeform: Shape 121">
              <a:extLst>
                <a:ext uri="{FF2B5EF4-FFF2-40B4-BE49-F238E27FC236}">
                  <a16:creationId xmlns:a16="http://schemas.microsoft.com/office/drawing/2014/main" id="{86C8EFB7-28CE-BCFA-732F-E6685C5356B7}"/>
                </a:ext>
              </a:extLst>
            </p:cNvPr>
            <p:cNvSpPr/>
            <p:nvPr/>
          </p:nvSpPr>
          <p:spPr>
            <a:xfrm>
              <a:off x="13888227" y="631968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123" name="Freeform: Shape 122">
              <a:extLst>
                <a:ext uri="{FF2B5EF4-FFF2-40B4-BE49-F238E27FC236}">
                  <a16:creationId xmlns:a16="http://schemas.microsoft.com/office/drawing/2014/main" id="{16B305EA-3ED5-35FC-4849-DC5A7BCA3374}"/>
                </a:ext>
              </a:extLst>
            </p:cNvPr>
            <p:cNvSpPr/>
            <p:nvPr/>
          </p:nvSpPr>
          <p:spPr>
            <a:xfrm>
              <a:off x="15628536" y="6319683"/>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7 w 435077"/>
                <a:gd name="connsiteY3" fmla="*/ 27 h 435077"/>
                <a:gd name="connsiteX4" fmla="*/ 435077 w 435077"/>
                <a:gd name="connsiteY4" fmla="*/ 217539 h 435077"/>
                <a:gd name="connsiteX5" fmla="*/ 217567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7" y="27"/>
                  </a:lnTo>
                  <a:lnTo>
                    <a:pt x="435077" y="217539"/>
                  </a:lnTo>
                  <a:lnTo>
                    <a:pt x="217567"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124" name="Freeform: Shape 123">
              <a:extLst>
                <a:ext uri="{FF2B5EF4-FFF2-40B4-BE49-F238E27FC236}">
                  <a16:creationId xmlns:a16="http://schemas.microsoft.com/office/drawing/2014/main" id="{D0DD2CAF-DC5A-A395-6D07-4C716FEC75A6}"/>
                </a:ext>
              </a:extLst>
            </p:cNvPr>
            <p:cNvSpPr/>
            <p:nvPr/>
          </p:nvSpPr>
          <p:spPr>
            <a:xfrm>
              <a:off x="16498719" y="6319683"/>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125" name="Freeform: Shape 124">
              <a:extLst>
                <a:ext uri="{FF2B5EF4-FFF2-40B4-BE49-F238E27FC236}">
                  <a16:creationId xmlns:a16="http://schemas.microsoft.com/office/drawing/2014/main" id="{B9B9FC52-6175-DA7A-821A-7A26F1CAB639}"/>
                </a:ext>
              </a:extLst>
            </p:cNvPr>
            <p:cNvSpPr/>
            <p:nvPr/>
          </p:nvSpPr>
          <p:spPr>
            <a:xfrm>
              <a:off x="18239029" y="6319683"/>
              <a:ext cx="435077" cy="435077"/>
            </a:xfrm>
            <a:custGeom>
              <a:avLst/>
              <a:gdLst>
                <a:gd name="connsiteX0" fmla="*/ 63710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0 w 435077"/>
                <a:gd name="connsiteY6" fmla="*/ 153827 h 435077"/>
                <a:gd name="connsiteX7" fmla="*/ 63710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0 h 435077"/>
                <a:gd name="connsiteX12" fmla="*/ 217539 w 435077"/>
                <a:gd name="connsiteY12" fmla="*/ 217539 h 435077"/>
                <a:gd name="connsiteX13" fmla="*/ 63710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7"/>
                  </a:moveTo>
                  <a:cubicBezTo>
                    <a:pt x="22922" y="113038"/>
                    <a:pt x="0" y="57702"/>
                    <a:pt x="0" y="0"/>
                  </a:cubicBezTo>
                  <a:lnTo>
                    <a:pt x="217539" y="0"/>
                  </a:lnTo>
                  <a:lnTo>
                    <a:pt x="435077" y="0"/>
                  </a:lnTo>
                  <a:cubicBezTo>
                    <a:pt x="435077" y="57702"/>
                    <a:pt x="412154" y="113038"/>
                    <a:pt x="371365" y="153827"/>
                  </a:cubicBezTo>
                  <a:cubicBezTo>
                    <a:pt x="330577" y="194616"/>
                    <a:pt x="275241" y="217539"/>
                    <a:pt x="217539" y="217539"/>
                  </a:cubicBezTo>
                  <a:cubicBezTo>
                    <a:pt x="159836" y="217539"/>
                    <a:pt x="104527" y="194616"/>
                    <a:pt x="63710" y="153827"/>
                  </a:cubicBezTo>
                  <a:close/>
                  <a:moveTo>
                    <a:pt x="63710" y="281250"/>
                  </a:moveTo>
                  <a:cubicBezTo>
                    <a:pt x="22922" y="322066"/>
                    <a:pt x="0" y="377375"/>
                    <a:pt x="0" y="435077"/>
                  </a:cubicBezTo>
                  <a:lnTo>
                    <a:pt x="217539" y="435077"/>
                  </a:lnTo>
                  <a:lnTo>
                    <a:pt x="435077" y="435077"/>
                  </a:lnTo>
                  <a:cubicBezTo>
                    <a:pt x="435077" y="377375"/>
                    <a:pt x="412154" y="322066"/>
                    <a:pt x="371365" y="281250"/>
                  </a:cubicBezTo>
                  <a:cubicBezTo>
                    <a:pt x="330577" y="240462"/>
                    <a:pt x="275241" y="217539"/>
                    <a:pt x="217539" y="217539"/>
                  </a:cubicBezTo>
                  <a:cubicBezTo>
                    <a:pt x="159836" y="217539"/>
                    <a:pt x="104527" y="240462"/>
                    <a:pt x="63710" y="281250"/>
                  </a:cubicBezTo>
                  <a:close/>
                </a:path>
              </a:pathLst>
            </a:custGeom>
            <a:grpFill/>
            <a:ln w="27192" cap="flat">
              <a:noFill/>
              <a:prstDash val="solid"/>
              <a:miter/>
            </a:ln>
          </p:spPr>
          <p:txBody>
            <a:bodyPr rtlCol="0" anchor="ctr"/>
            <a:lstStyle/>
            <a:p>
              <a:endParaRPr lang="uk-UA" sz="900"/>
            </a:p>
          </p:txBody>
        </p:sp>
        <p:sp>
          <p:nvSpPr>
            <p:cNvPr id="126" name="Freeform: Shape 125">
              <a:extLst>
                <a:ext uri="{FF2B5EF4-FFF2-40B4-BE49-F238E27FC236}">
                  <a16:creationId xmlns:a16="http://schemas.microsoft.com/office/drawing/2014/main" id="{79AA288C-F188-E036-B07D-EA608AE45E62}"/>
                </a:ext>
              </a:extLst>
            </p:cNvPr>
            <p:cNvSpPr/>
            <p:nvPr/>
          </p:nvSpPr>
          <p:spPr>
            <a:xfrm>
              <a:off x="17368874" y="631968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0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0" y="217539"/>
                  </a:lnTo>
                  <a:lnTo>
                    <a:pt x="0" y="435077"/>
                  </a:lnTo>
                  <a:close/>
                </a:path>
              </a:pathLst>
            </a:custGeom>
            <a:grpFill/>
            <a:ln w="27192" cap="flat">
              <a:noFill/>
              <a:prstDash val="solid"/>
              <a:miter/>
            </a:ln>
          </p:spPr>
          <p:txBody>
            <a:bodyPr rtlCol="0" anchor="ctr"/>
            <a:lstStyle/>
            <a:p>
              <a:endParaRPr lang="uk-UA" sz="900"/>
            </a:p>
          </p:txBody>
        </p:sp>
        <p:sp>
          <p:nvSpPr>
            <p:cNvPr id="127" name="Freeform: Shape 126">
              <a:extLst>
                <a:ext uri="{FF2B5EF4-FFF2-40B4-BE49-F238E27FC236}">
                  <a16:creationId xmlns:a16="http://schemas.microsoft.com/office/drawing/2014/main" id="{D925485D-289C-F1AE-311E-E2E0DBA17C54}"/>
                </a:ext>
              </a:extLst>
            </p:cNvPr>
            <p:cNvSpPr/>
            <p:nvPr/>
          </p:nvSpPr>
          <p:spPr>
            <a:xfrm>
              <a:off x="19109210" y="6319683"/>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39 w 435077"/>
                <a:gd name="connsiteY3" fmla="*/ 27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39" y="27"/>
                  </a:lnTo>
                  <a:lnTo>
                    <a:pt x="435077" y="217539"/>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128" name="Freeform: Shape 127">
              <a:extLst>
                <a:ext uri="{FF2B5EF4-FFF2-40B4-BE49-F238E27FC236}">
                  <a16:creationId xmlns:a16="http://schemas.microsoft.com/office/drawing/2014/main" id="{580DAB8D-470C-C311-7C8A-4B52669582B5}"/>
                </a:ext>
              </a:extLst>
            </p:cNvPr>
            <p:cNvSpPr/>
            <p:nvPr/>
          </p:nvSpPr>
          <p:spPr>
            <a:xfrm>
              <a:off x="19979365" y="6319683"/>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129" name="Freeform: Shape 128">
              <a:extLst>
                <a:ext uri="{FF2B5EF4-FFF2-40B4-BE49-F238E27FC236}">
                  <a16:creationId xmlns:a16="http://schemas.microsoft.com/office/drawing/2014/main" id="{763FAD3A-6B59-6CA6-881E-6D0D6128CF18}"/>
                </a:ext>
              </a:extLst>
            </p:cNvPr>
            <p:cNvSpPr/>
            <p:nvPr/>
          </p:nvSpPr>
          <p:spPr>
            <a:xfrm>
              <a:off x="21719702" y="631968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897" y="113038"/>
                    <a:pt x="0" y="57702"/>
                    <a:pt x="0" y="0"/>
                  </a:cubicBezTo>
                  <a:lnTo>
                    <a:pt x="217539" y="0"/>
                  </a:lnTo>
                  <a:lnTo>
                    <a:pt x="435077" y="0"/>
                  </a:lnTo>
                  <a:cubicBezTo>
                    <a:pt x="435077" y="57702"/>
                    <a:pt x="412155" y="113038"/>
                    <a:pt x="371339" y="153827"/>
                  </a:cubicBezTo>
                  <a:cubicBezTo>
                    <a:pt x="330550" y="194616"/>
                    <a:pt x="275215" y="217539"/>
                    <a:pt x="217539" y="217539"/>
                  </a:cubicBezTo>
                  <a:cubicBezTo>
                    <a:pt x="159838" y="217539"/>
                    <a:pt x="104501" y="194616"/>
                    <a:pt x="63712" y="153827"/>
                  </a:cubicBezTo>
                  <a:close/>
                  <a:moveTo>
                    <a:pt x="63712" y="281250"/>
                  </a:moveTo>
                  <a:cubicBezTo>
                    <a:pt x="22897" y="322066"/>
                    <a:pt x="0" y="377375"/>
                    <a:pt x="0" y="435077"/>
                  </a:cubicBezTo>
                  <a:lnTo>
                    <a:pt x="217539" y="435077"/>
                  </a:lnTo>
                  <a:lnTo>
                    <a:pt x="435077" y="435077"/>
                  </a:lnTo>
                  <a:cubicBezTo>
                    <a:pt x="435077" y="377375"/>
                    <a:pt x="412155" y="322066"/>
                    <a:pt x="371339" y="281250"/>
                  </a:cubicBezTo>
                  <a:cubicBezTo>
                    <a:pt x="330550" y="240462"/>
                    <a:pt x="275215" y="217539"/>
                    <a:pt x="217539" y="217539"/>
                  </a:cubicBezTo>
                  <a:cubicBezTo>
                    <a:pt x="159838" y="217539"/>
                    <a:pt x="104501" y="240462"/>
                    <a:pt x="63712" y="281250"/>
                  </a:cubicBezTo>
                  <a:close/>
                </a:path>
              </a:pathLst>
            </a:custGeom>
            <a:grpFill/>
            <a:ln w="27192" cap="flat">
              <a:noFill/>
              <a:prstDash val="solid"/>
              <a:miter/>
            </a:ln>
          </p:spPr>
          <p:txBody>
            <a:bodyPr rtlCol="0" anchor="ctr"/>
            <a:lstStyle/>
            <a:p>
              <a:endParaRPr lang="uk-UA" sz="900"/>
            </a:p>
          </p:txBody>
        </p:sp>
        <p:sp>
          <p:nvSpPr>
            <p:cNvPr id="130" name="Freeform: Shape 129">
              <a:extLst>
                <a:ext uri="{FF2B5EF4-FFF2-40B4-BE49-F238E27FC236}">
                  <a16:creationId xmlns:a16="http://schemas.microsoft.com/office/drawing/2014/main" id="{283C5788-3EA5-84DD-A909-14FF3008D298}"/>
                </a:ext>
              </a:extLst>
            </p:cNvPr>
            <p:cNvSpPr/>
            <p:nvPr/>
          </p:nvSpPr>
          <p:spPr>
            <a:xfrm>
              <a:off x="20849520" y="6319683"/>
              <a:ext cx="435077" cy="435077"/>
            </a:xfrm>
            <a:custGeom>
              <a:avLst/>
              <a:gdLst>
                <a:gd name="connsiteX0" fmla="*/ 435077 w 435077"/>
                <a:gd name="connsiteY0" fmla="*/ 435077 h 435077"/>
                <a:gd name="connsiteX1" fmla="*/ 435077 w 435077"/>
                <a:gd name="connsiteY1" fmla="*/ 0 h 435077"/>
                <a:gd name="connsiteX2" fmla="*/ 217565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131" name="Freeform: Shape 130">
              <a:extLst>
                <a:ext uri="{FF2B5EF4-FFF2-40B4-BE49-F238E27FC236}">
                  <a16:creationId xmlns:a16="http://schemas.microsoft.com/office/drawing/2014/main" id="{43C06A91-EFEB-C668-5266-77B67716AAD6}"/>
                </a:ext>
              </a:extLst>
            </p:cNvPr>
            <p:cNvSpPr/>
            <p:nvPr/>
          </p:nvSpPr>
          <p:spPr>
            <a:xfrm>
              <a:off x="22589856" y="6319683"/>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7 w 435077"/>
                <a:gd name="connsiteY3" fmla="*/ 27 h 435077"/>
                <a:gd name="connsiteX4" fmla="*/ 435077 w 435077"/>
                <a:gd name="connsiteY4" fmla="*/ 217539 h 435077"/>
                <a:gd name="connsiteX5" fmla="*/ 217567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7" y="27"/>
                  </a:lnTo>
                  <a:lnTo>
                    <a:pt x="435077" y="217539"/>
                  </a:lnTo>
                  <a:lnTo>
                    <a:pt x="217567"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132" name="Freeform: Shape 131">
              <a:extLst>
                <a:ext uri="{FF2B5EF4-FFF2-40B4-BE49-F238E27FC236}">
                  <a16:creationId xmlns:a16="http://schemas.microsoft.com/office/drawing/2014/main" id="{242F580B-63C6-DB7F-F10E-4EF445B0B936}"/>
                </a:ext>
              </a:extLst>
            </p:cNvPr>
            <p:cNvSpPr/>
            <p:nvPr/>
          </p:nvSpPr>
          <p:spPr>
            <a:xfrm>
              <a:off x="23460039" y="6319683"/>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133" name="Freeform: Shape 132">
              <a:extLst>
                <a:ext uri="{FF2B5EF4-FFF2-40B4-BE49-F238E27FC236}">
                  <a16:creationId xmlns:a16="http://schemas.microsoft.com/office/drawing/2014/main" id="{4FD2EF04-0E63-83C9-FCB3-49CBD45B32D2}"/>
                </a:ext>
              </a:extLst>
            </p:cNvPr>
            <p:cNvSpPr/>
            <p:nvPr/>
          </p:nvSpPr>
          <p:spPr>
            <a:xfrm>
              <a:off x="24330194" y="631968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134" name="Freeform: Shape 133">
              <a:extLst>
                <a:ext uri="{FF2B5EF4-FFF2-40B4-BE49-F238E27FC236}">
                  <a16:creationId xmlns:a16="http://schemas.microsoft.com/office/drawing/2014/main" id="{FFFED09C-E787-D92D-8C8A-C9FA07B0BD7D}"/>
                </a:ext>
              </a:extLst>
            </p:cNvPr>
            <p:cNvSpPr/>
            <p:nvPr/>
          </p:nvSpPr>
          <p:spPr>
            <a:xfrm>
              <a:off x="835769" y="196890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135" name="Freeform: Shape 134">
              <a:extLst>
                <a:ext uri="{FF2B5EF4-FFF2-40B4-BE49-F238E27FC236}">
                  <a16:creationId xmlns:a16="http://schemas.microsoft.com/office/drawing/2014/main" id="{D9D4C8CB-1A95-5C03-D16C-B21E87416E6D}"/>
                </a:ext>
              </a:extLst>
            </p:cNvPr>
            <p:cNvSpPr/>
            <p:nvPr/>
          </p:nvSpPr>
          <p:spPr>
            <a:xfrm>
              <a:off x="-34398" y="1968909"/>
              <a:ext cx="435063" cy="435077"/>
            </a:xfrm>
            <a:custGeom>
              <a:avLst/>
              <a:gdLst>
                <a:gd name="connsiteX0" fmla="*/ 0 w 435063"/>
                <a:gd name="connsiteY0" fmla="*/ 435075 h 435077"/>
                <a:gd name="connsiteX1" fmla="*/ 217525 w 435063"/>
                <a:gd name="connsiteY1" fmla="*/ 435075 h 435077"/>
                <a:gd name="connsiteX2" fmla="*/ 217525 w 435063"/>
                <a:gd name="connsiteY2" fmla="*/ 217547 h 435077"/>
                <a:gd name="connsiteX3" fmla="*/ 0 w 435063"/>
                <a:gd name="connsiteY3" fmla="*/ 435075 h 435077"/>
                <a:gd name="connsiteX4" fmla="*/ 217525 w 435063"/>
                <a:gd name="connsiteY4" fmla="*/ 0 h 435077"/>
                <a:gd name="connsiteX5" fmla="*/ 3 w 435063"/>
                <a:gd name="connsiteY5" fmla="*/ 0 h 435077"/>
                <a:gd name="connsiteX6" fmla="*/ 217525 w 435063"/>
                <a:gd name="connsiteY6" fmla="*/ 217528 h 435077"/>
                <a:gd name="connsiteX7" fmla="*/ 217525 w 435063"/>
                <a:gd name="connsiteY7" fmla="*/ 0 h 435077"/>
                <a:gd name="connsiteX8" fmla="*/ 435064 w 435063"/>
                <a:gd name="connsiteY8" fmla="*/ 435077 h 435077"/>
                <a:gd name="connsiteX9" fmla="*/ 217552 w 435063"/>
                <a:gd name="connsiteY9" fmla="*/ 435077 h 435077"/>
                <a:gd name="connsiteX10" fmla="*/ 435064 w 435063"/>
                <a:gd name="connsiteY10" fmla="*/ 217547 h 435077"/>
                <a:gd name="connsiteX11" fmla="*/ 435064 w 435063"/>
                <a:gd name="connsiteY11" fmla="*/ 435077 h 435077"/>
                <a:gd name="connsiteX12" fmla="*/ 435064 w 435063"/>
                <a:gd name="connsiteY12" fmla="*/ 3 h 435077"/>
                <a:gd name="connsiteX13" fmla="*/ 217552 w 435063"/>
                <a:gd name="connsiteY13" fmla="*/ 3 h 435077"/>
                <a:gd name="connsiteX14" fmla="*/ 435064 w 435063"/>
                <a:gd name="connsiteY14" fmla="*/ 217531 h 435077"/>
                <a:gd name="connsiteX15" fmla="*/ 435064 w 435063"/>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63" h="435077">
                  <a:moveTo>
                    <a:pt x="0" y="435075"/>
                  </a:moveTo>
                  <a:lnTo>
                    <a:pt x="217525" y="435075"/>
                  </a:lnTo>
                  <a:lnTo>
                    <a:pt x="217525" y="217547"/>
                  </a:lnTo>
                  <a:lnTo>
                    <a:pt x="0" y="435075"/>
                  </a:lnTo>
                  <a:close/>
                  <a:moveTo>
                    <a:pt x="217525" y="0"/>
                  </a:moveTo>
                  <a:lnTo>
                    <a:pt x="3" y="0"/>
                  </a:lnTo>
                  <a:lnTo>
                    <a:pt x="217525" y="217528"/>
                  </a:lnTo>
                  <a:lnTo>
                    <a:pt x="217525" y="0"/>
                  </a:lnTo>
                  <a:close/>
                  <a:moveTo>
                    <a:pt x="435064" y="435077"/>
                  </a:moveTo>
                  <a:lnTo>
                    <a:pt x="217552" y="435077"/>
                  </a:lnTo>
                  <a:lnTo>
                    <a:pt x="435064" y="217547"/>
                  </a:lnTo>
                  <a:lnTo>
                    <a:pt x="435064" y="435077"/>
                  </a:lnTo>
                  <a:close/>
                  <a:moveTo>
                    <a:pt x="435064" y="3"/>
                  </a:moveTo>
                  <a:lnTo>
                    <a:pt x="217552" y="3"/>
                  </a:lnTo>
                  <a:lnTo>
                    <a:pt x="435064" y="217531"/>
                  </a:lnTo>
                  <a:lnTo>
                    <a:pt x="435064" y="3"/>
                  </a:lnTo>
                  <a:close/>
                </a:path>
              </a:pathLst>
            </a:custGeom>
            <a:grpFill/>
            <a:ln w="27192" cap="flat">
              <a:noFill/>
              <a:prstDash val="solid"/>
              <a:miter/>
            </a:ln>
          </p:spPr>
          <p:txBody>
            <a:bodyPr rtlCol="0" anchor="ctr"/>
            <a:lstStyle/>
            <a:p>
              <a:endParaRPr lang="uk-UA" sz="900"/>
            </a:p>
          </p:txBody>
        </p:sp>
        <p:sp>
          <p:nvSpPr>
            <p:cNvPr id="136" name="Freeform: Shape 135">
              <a:extLst>
                <a:ext uri="{FF2B5EF4-FFF2-40B4-BE49-F238E27FC236}">
                  <a16:creationId xmlns:a16="http://schemas.microsoft.com/office/drawing/2014/main" id="{9457E08C-E62B-04F0-7C93-D85EB2CE80CF}"/>
                </a:ext>
              </a:extLst>
            </p:cNvPr>
            <p:cNvSpPr/>
            <p:nvPr/>
          </p:nvSpPr>
          <p:spPr>
            <a:xfrm>
              <a:off x="1705924" y="1968909"/>
              <a:ext cx="435077" cy="435077"/>
            </a:xfrm>
            <a:custGeom>
              <a:avLst/>
              <a:gdLst>
                <a:gd name="connsiteX0" fmla="*/ 371366 w 435077"/>
                <a:gd name="connsiteY0" fmla="*/ 63714 h 435077"/>
                <a:gd name="connsiteX1" fmla="*/ 435077 w 435077"/>
                <a:gd name="connsiteY1" fmla="*/ 217539 h 435077"/>
                <a:gd name="connsiteX2" fmla="*/ 217729 w 435077"/>
                <a:gd name="connsiteY2" fmla="*/ 217539 h 435077"/>
                <a:gd name="connsiteX3" fmla="*/ 371366 w 435077"/>
                <a:gd name="connsiteY3" fmla="*/ 281253 h 435077"/>
                <a:gd name="connsiteX4" fmla="*/ 435077 w 435077"/>
                <a:gd name="connsiteY4" fmla="*/ 435077 h 435077"/>
                <a:gd name="connsiteX5" fmla="*/ 217539 w 435077"/>
                <a:gd name="connsiteY5" fmla="*/ 435077 h 435077"/>
                <a:gd name="connsiteX6" fmla="*/ 0 w 435077"/>
                <a:gd name="connsiteY6" fmla="*/ 435077 h 435077"/>
                <a:gd name="connsiteX7" fmla="*/ 63711 w 435077"/>
                <a:gd name="connsiteY7" fmla="*/ 281253 h 435077"/>
                <a:gd name="connsiteX8" fmla="*/ 217375 w 435077"/>
                <a:gd name="connsiteY8" fmla="*/ 217539 h 435077"/>
                <a:gd name="connsiteX9" fmla="*/ 0 w 435077"/>
                <a:gd name="connsiteY9" fmla="*/ 217539 h 435077"/>
                <a:gd name="connsiteX10" fmla="*/ 63711 w 435077"/>
                <a:gd name="connsiteY10" fmla="*/ 63714 h 435077"/>
                <a:gd name="connsiteX11" fmla="*/ 217539 w 435077"/>
                <a:gd name="connsiteY11" fmla="*/ 0 h 435077"/>
                <a:gd name="connsiteX12" fmla="*/ 371366 w 435077"/>
                <a:gd name="connsiteY12" fmla="*/ 63714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4"/>
                  </a:moveTo>
                  <a:cubicBezTo>
                    <a:pt x="412154" y="104511"/>
                    <a:pt x="435077" y="159842"/>
                    <a:pt x="435077" y="217539"/>
                  </a:cubicBezTo>
                  <a:lnTo>
                    <a:pt x="217729" y="217539"/>
                  </a:lnTo>
                  <a:cubicBezTo>
                    <a:pt x="275349" y="217582"/>
                    <a:pt x="330604" y="240497"/>
                    <a:pt x="371366" y="281253"/>
                  </a:cubicBezTo>
                  <a:cubicBezTo>
                    <a:pt x="412154" y="322050"/>
                    <a:pt x="435077" y="377381"/>
                    <a:pt x="435077" y="435077"/>
                  </a:cubicBezTo>
                  <a:lnTo>
                    <a:pt x="217539" y="435077"/>
                  </a:lnTo>
                  <a:lnTo>
                    <a:pt x="0" y="435077"/>
                  </a:lnTo>
                  <a:cubicBezTo>
                    <a:pt x="0" y="377381"/>
                    <a:pt x="22923" y="322050"/>
                    <a:pt x="63711" y="281253"/>
                  </a:cubicBezTo>
                  <a:cubicBezTo>
                    <a:pt x="104473" y="240497"/>
                    <a:pt x="159755" y="217582"/>
                    <a:pt x="217375" y="217539"/>
                  </a:cubicBezTo>
                  <a:lnTo>
                    <a:pt x="0" y="217539"/>
                  </a:lnTo>
                  <a:cubicBezTo>
                    <a:pt x="0" y="159842"/>
                    <a:pt x="22923" y="104511"/>
                    <a:pt x="63711" y="63714"/>
                  </a:cubicBezTo>
                  <a:cubicBezTo>
                    <a:pt x="104527" y="22918"/>
                    <a:pt x="159836" y="0"/>
                    <a:pt x="217539" y="0"/>
                  </a:cubicBezTo>
                  <a:cubicBezTo>
                    <a:pt x="275241" y="0"/>
                    <a:pt x="330577" y="22918"/>
                    <a:pt x="371366" y="63714"/>
                  </a:cubicBezTo>
                  <a:close/>
                </a:path>
              </a:pathLst>
            </a:custGeom>
            <a:grpFill/>
            <a:ln w="27192" cap="flat">
              <a:noFill/>
              <a:prstDash val="solid"/>
              <a:miter/>
            </a:ln>
          </p:spPr>
          <p:txBody>
            <a:bodyPr rtlCol="0" anchor="ctr"/>
            <a:lstStyle/>
            <a:p>
              <a:endParaRPr lang="uk-UA" sz="900"/>
            </a:p>
          </p:txBody>
        </p:sp>
        <p:sp>
          <p:nvSpPr>
            <p:cNvPr id="137" name="Freeform: Shape 136">
              <a:extLst>
                <a:ext uri="{FF2B5EF4-FFF2-40B4-BE49-F238E27FC236}">
                  <a16:creationId xmlns:a16="http://schemas.microsoft.com/office/drawing/2014/main" id="{51559FF8-3748-8875-5797-2DE143EB1F6F}"/>
                </a:ext>
              </a:extLst>
            </p:cNvPr>
            <p:cNvSpPr/>
            <p:nvPr/>
          </p:nvSpPr>
          <p:spPr>
            <a:xfrm>
              <a:off x="2576106" y="1968909"/>
              <a:ext cx="435077" cy="435074"/>
            </a:xfrm>
            <a:custGeom>
              <a:avLst/>
              <a:gdLst>
                <a:gd name="connsiteX0" fmla="*/ 217539 w 435077"/>
                <a:gd name="connsiteY0" fmla="*/ 217533 h 435074"/>
                <a:gd name="connsiteX1" fmla="*/ 217539 w 435077"/>
                <a:gd name="connsiteY1" fmla="*/ 0 h 435074"/>
                <a:gd name="connsiteX2" fmla="*/ 0 w 435077"/>
                <a:gd name="connsiteY2" fmla="*/ 0 h 435074"/>
                <a:gd name="connsiteX3" fmla="*/ 217539 w 435077"/>
                <a:gd name="connsiteY3" fmla="*/ 217539 h 435074"/>
                <a:gd name="connsiteX4" fmla="*/ 0 w 435077"/>
                <a:gd name="connsiteY4" fmla="*/ 435075 h 435074"/>
                <a:gd name="connsiteX5" fmla="*/ 217539 w 435077"/>
                <a:gd name="connsiteY5" fmla="*/ 435075 h 435074"/>
                <a:gd name="connsiteX6" fmla="*/ 217539 w 435077"/>
                <a:gd name="connsiteY6" fmla="*/ 435072 h 435074"/>
                <a:gd name="connsiteX7" fmla="*/ 435050 w 435077"/>
                <a:gd name="connsiteY7" fmla="*/ 217541 h 435074"/>
                <a:gd name="connsiteX8" fmla="*/ 435077 w 435077"/>
                <a:gd name="connsiteY8" fmla="*/ 217541 h 435074"/>
                <a:gd name="connsiteX9" fmla="*/ 435077 w 435077"/>
                <a:gd name="connsiteY9" fmla="*/ 217536 h 435074"/>
                <a:gd name="connsiteX10" fmla="*/ 435077 w 435077"/>
                <a:gd name="connsiteY10" fmla="*/ 217533 h 435074"/>
                <a:gd name="connsiteX11" fmla="*/ 435050 w 435077"/>
                <a:gd name="connsiteY11" fmla="*/ 217533 h 435074"/>
                <a:gd name="connsiteX12" fmla="*/ 217539 w 435077"/>
                <a:gd name="connsiteY12" fmla="*/ 3 h 435074"/>
                <a:gd name="connsiteX13" fmla="*/ 217539 w 435077"/>
                <a:gd name="connsiteY13" fmla="*/ 217533 h 435074"/>
                <a:gd name="connsiteX14" fmla="*/ 217539 w 435077"/>
                <a:gd name="connsiteY14" fmla="*/ 217533 h 43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4">
                  <a:moveTo>
                    <a:pt x="217539" y="217533"/>
                  </a:moveTo>
                  <a:lnTo>
                    <a:pt x="217539" y="0"/>
                  </a:lnTo>
                  <a:lnTo>
                    <a:pt x="0" y="0"/>
                  </a:lnTo>
                  <a:lnTo>
                    <a:pt x="217539" y="217539"/>
                  </a:lnTo>
                  <a:lnTo>
                    <a:pt x="0" y="435075"/>
                  </a:lnTo>
                  <a:lnTo>
                    <a:pt x="217539" y="435075"/>
                  </a:lnTo>
                  <a:lnTo>
                    <a:pt x="217539" y="435072"/>
                  </a:lnTo>
                  <a:lnTo>
                    <a:pt x="435050" y="217541"/>
                  </a:lnTo>
                  <a:lnTo>
                    <a:pt x="435077" y="217541"/>
                  </a:lnTo>
                  <a:lnTo>
                    <a:pt x="435077" y="217536"/>
                  </a:lnTo>
                  <a:lnTo>
                    <a:pt x="435077" y="217533"/>
                  </a:lnTo>
                  <a:lnTo>
                    <a:pt x="435050" y="217533"/>
                  </a:lnTo>
                  <a:lnTo>
                    <a:pt x="217539" y="3"/>
                  </a:lnTo>
                  <a:lnTo>
                    <a:pt x="217539" y="217533"/>
                  </a:lnTo>
                  <a:lnTo>
                    <a:pt x="217539" y="217533"/>
                  </a:lnTo>
                  <a:close/>
                </a:path>
              </a:pathLst>
            </a:custGeom>
            <a:grpFill/>
            <a:ln w="27192" cap="flat">
              <a:noFill/>
              <a:prstDash val="solid"/>
              <a:miter/>
            </a:ln>
          </p:spPr>
          <p:txBody>
            <a:bodyPr rtlCol="0" anchor="ctr"/>
            <a:lstStyle/>
            <a:p>
              <a:endParaRPr lang="uk-UA" sz="900"/>
            </a:p>
          </p:txBody>
        </p:sp>
        <p:sp>
          <p:nvSpPr>
            <p:cNvPr id="138" name="Freeform: Shape 137">
              <a:extLst>
                <a:ext uri="{FF2B5EF4-FFF2-40B4-BE49-F238E27FC236}">
                  <a16:creationId xmlns:a16="http://schemas.microsoft.com/office/drawing/2014/main" id="{E7773469-E5FD-30F9-74D7-FFD898C4274A}"/>
                </a:ext>
              </a:extLst>
            </p:cNvPr>
            <p:cNvSpPr/>
            <p:nvPr/>
          </p:nvSpPr>
          <p:spPr>
            <a:xfrm>
              <a:off x="4316416" y="1968909"/>
              <a:ext cx="435077" cy="435077"/>
            </a:xfrm>
            <a:custGeom>
              <a:avLst/>
              <a:gdLst>
                <a:gd name="connsiteX0" fmla="*/ 217565 w 435077"/>
                <a:gd name="connsiteY0" fmla="*/ 0 h 435077"/>
                <a:gd name="connsiteX1" fmla="*/ 217539 w 435077"/>
                <a:gd name="connsiteY1" fmla="*/ 0 h 435077"/>
                <a:gd name="connsiteX2" fmla="*/ 27 w 435077"/>
                <a:gd name="connsiteY2" fmla="*/ 0 h 435077"/>
                <a:gd name="connsiteX3" fmla="*/ 27 w 435077"/>
                <a:gd name="connsiteY3" fmla="*/ 217539 h 435077"/>
                <a:gd name="connsiteX4" fmla="*/ 217565 w 435077"/>
                <a:gd name="connsiteY4" fmla="*/ 5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65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65" y="0"/>
                  </a:moveTo>
                  <a:lnTo>
                    <a:pt x="217539" y="0"/>
                  </a:lnTo>
                  <a:lnTo>
                    <a:pt x="27" y="0"/>
                  </a:lnTo>
                  <a:lnTo>
                    <a:pt x="27" y="217539"/>
                  </a:lnTo>
                  <a:lnTo>
                    <a:pt x="217565" y="5"/>
                  </a:lnTo>
                  <a:lnTo>
                    <a:pt x="435077" y="217539"/>
                  </a:lnTo>
                  <a:lnTo>
                    <a:pt x="217539" y="435077"/>
                  </a:lnTo>
                  <a:lnTo>
                    <a:pt x="0" y="217539"/>
                  </a:lnTo>
                  <a:lnTo>
                    <a:pt x="0" y="435077"/>
                  </a:lnTo>
                  <a:lnTo>
                    <a:pt x="217539" y="435077"/>
                  </a:lnTo>
                  <a:lnTo>
                    <a:pt x="435077" y="435077"/>
                  </a:lnTo>
                  <a:lnTo>
                    <a:pt x="435077" y="217539"/>
                  </a:lnTo>
                  <a:lnTo>
                    <a:pt x="435077" y="0"/>
                  </a:lnTo>
                  <a:lnTo>
                    <a:pt x="217565" y="0"/>
                  </a:lnTo>
                  <a:close/>
                </a:path>
              </a:pathLst>
            </a:custGeom>
            <a:grpFill/>
            <a:ln w="27192" cap="flat">
              <a:noFill/>
              <a:prstDash val="solid"/>
              <a:miter/>
            </a:ln>
          </p:spPr>
          <p:txBody>
            <a:bodyPr rtlCol="0" anchor="ctr"/>
            <a:lstStyle/>
            <a:p>
              <a:endParaRPr lang="uk-UA" sz="900"/>
            </a:p>
          </p:txBody>
        </p:sp>
        <p:sp>
          <p:nvSpPr>
            <p:cNvPr id="139" name="Freeform: Shape 138">
              <a:extLst>
                <a:ext uri="{FF2B5EF4-FFF2-40B4-BE49-F238E27FC236}">
                  <a16:creationId xmlns:a16="http://schemas.microsoft.com/office/drawing/2014/main" id="{E741466A-19C1-9A23-E8CD-E29D3094483D}"/>
                </a:ext>
              </a:extLst>
            </p:cNvPr>
            <p:cNvSpPr/>
            <p:nvPr/>
          </p:nvSpPr>
          <p:spPr>
            <a:xfrm>
              <a:off x="3446261" y="1968909"/>
              <a:ext cx="435077" cy="435077"/>
            </a:xfrm>
            <a:custGeom>
              <a:avLst/>
              <a:gdLst>
                <a:gd name="connsiteX0" fmla="*/ 0 w 435077"/>
                <a:gd name="connsiteY0" fmla="*/ 435077 h 435077"/>
                <a:gd name="connsiteX1" fmla="*/ 217539 w 435077"/>
                <a:gd name="connsiteY1" fmla="*/ 435077 h 435077"/>
                <a:gd name="connsiteX2" fmla="*/ 217539 w 435077"/>
                <a:gd name="connsiteY2" fmla="*/ 217547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28 h 435077"/>
                <a:gd name="connsiteX7" fmla="*/ 217539 w 435077"/>
                <a:gd name="connsiteY7" fmla="*/ 0 h 435077"/>
                <a:gd name="connsiteX8" fmla="*/ 435077 w 435077"/>
                <a:gd name="connsiteY8" fmla="*/ 435077 h 435077"/>
                <a:gd name="connsiteX9" fmla="*/ 217566 w 435077"/>
                <a:gd name="connsiteY9" fmla="*/ 435077 h 435077"/>
                <a:gd name="connsiteX10" fmla="*/ 435077 w 435077"/>
                <a:gd name="connsiteY10" fmla="*/ 217547 h 435077"/>
                <a:gd name="connsiteX11" fmla="*/ 435077 w 435077"/>
                <a:gd name="connsiteY11" fmla="*/ 435077 h 435077"/>
                <a:gd name="connsiteX12" fmla="*/ 435077 w 435077"/>
                <a:gd name="connsiteY12" fmla="*/ 3 h 435077"/>
                <a:gd name="connsiteX13" fmla="*/ 217566 w 435077"/>
                <a:gd name="connsiteY13" fmla="*/ 3 h 435077"/>
                <a:gd name="connsiteX14" fmla="*/ 435077 w 435077"/>
                <a:gd name="connsiteY14" fmla="*/ 217531 h 435077"/>
                <a:gd name="connsiteX15" fmla="*/ 435077 w 435077"/>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47"/>
                  </a:lnTo>
                  <a:lnTo>
                    <a:pt x="0" y="435077"/>
                  </a:lnTo>
                  <a:close/>
                  <a:moveTo>
                    <a:pt x="217539" y="0"/>
                  </a:moveTo>
                  <a:lnTo>
                    <a:pt x="0" y="0"/>
                  </a:lnTo>
                  <a:lnTo>
                    <a:pt x="217539" y="217528"/>
                  </a:lnTo>
                  <a:lnTo>
                    <a:pt x="217539" y="0"/>
                  </a:lnTo>
                  <a:close/>
                  <a:moveTo>
                    <a:pt x="435077" y="435077"/>
                  </a:moveTo>
                  <a:lnTo>
                    <a:pt x="217566" y="435077"/>
                  </a:lnTo>
                  <a:lnTo>
                    <a:pt x="435077" y="217547"/>
                  </a:lnTo>
                  <a:lnTo>
                    <a:pt x="435077" y="435077"/>
                  </a:lnTo>
                  <a:close/>
                  <a:moveTo>
                    <a:pt x="435077" y="3"/>
                  </a:moveTo>
                  <a:lnTo>
                    <a:pt x="217566" y="3"/>
                  </a:lnTo>
                  <a:lnTo>
                    <a:pt x="435077" y="217531"/>
                  </a:lnTo>
                  <a:lnTo>
                    <a:pt x="435077" y="3"/>
                  </a:lnTo>
                  <a:close/>
                </a:path>
              </a:pathLst>
            </a:custGeom>
            <a:grpFill/>
            <a:ln w="27192" cap="flat">
              <a:noFill/>
              <a:prstDash val="solid"/>
              <a:miter/>
            </a:ln>
          </p:spPr>
          <p:txBody>
            <a:bodyPr rtlCol="0" anchor="ctr"/>
            <a:lstStyle/>
            <a:p>
              <a:endParaRPr lang="uk-UA" sz="900"/>
            </a:p>
          </p:txBody>
        </p:sp>
        <p:sp>
          <p:nvSpPr>
            <p:cNvPr id="140" name="Freeform: Shape 139">
              <a:extLst>
                <a:ext uri="{FF2B5EF4-FFF2-40B4-BE49-F238E27FC236}">
                  <a16:creationId xmlns:a16="http://schemas.microsoft.com/office/drawing/2014/main" id="{BAEE9FED-E85C-EB86-AAE9-D2663D6CFF3D}"/>
                </a:ext>
              </a:extLst>
            </p:cNvPr>
            <p:cNvSpPr/>
            <p:nvPr/>
          </p:nvSpPr>
          <p:spPr>
            <a:xfrm>
              <a:off x="5186597" y="1968909"/>
              <a:ext cx="435077" cy="435077"/>
            </a:xfrm>
            <a:custGeom>
              <a:avLst/>
              <a:gdLst>
                <a:gd name="connsiteX0" fmla="*/ 371366 w 435077"/>
                <a:gd name="connsiteY0" fmla="*/ 63714 h 435077"/>
                <a:gd name="connsiteX1" fmla="*/ 435077 w 435077"/>
                <a:gd name="connsiteY1" fmla="*/ 217539 h 435077"/>
                <a:gd name="connsiteX2" fmla="*/ 217702 w 435077"/>
                <a:gd name="connsiteY2" fmla="*/ 217539 h 435077"/>
                <a:gd name="connsiteX3" fmla="*/ 371366 w 435077"/>
                <a:gd name="connsiteY3" fmla="*/ 281253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3 h 435077"/>
                <a:gd name="connsiteX8" fmla="*/ 217376 w 435077"/>
                <a:gd name="connsiteY8" fmla="*/ 217539 h 435077"/>
                <a:gd name="connsiteX9" fmla="*/ 0 w 435077"/>
                <a:gd name="connsiteY9" fmla="*/ 217539 h 435077"/>
                <a:gd name="connsiteX10" fmla="*/ 63712 w 435077"/>
                <a:gd name="connsiteY10" fmla="*/ 63714 h 435077"/>
                <a:gd name="connsiteX11" fmla="*/ 217539 w 435077"/>
                <a:gd name="connsiteY11" fmla="*/ 0 h 435077"/>
                <a:gd name="connsiteX12" fmla="*/ 371366 w 435077"/>
                <a:gd name="connsiteY12" fmla="*/ 63714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4"/>
                  </a:moveTo>
                  <a:cubicBezTo>
                    <a:pt x="412155" y="104511"/>
                    <a:pt x="435077" y="159842"/>
                    <a:pt x="435077" y="217539"/>
                  </a:cubicBezTo>
                  <a:lnTo>
                    <a:pt x="217702" y="217539"/>
                  </a:lnTo>
                  <a:cubicBezTo>
                    <a:pt x="275350" y="217582"/>
                    <a:pt x="330605" y="240497"/>
                    <a:pt x="371366" y="281253"/>
                  </a:cubicBezTo>
                  <a:cubicBezTo>
                    <a:pt x="412155" y="322050"/>
                    <a:pt x="435077" y="377381"/>
                    <a:pt x="435077" y="435077"/>
                  </a:cubicBezTo>
                  <a:lnTo>
                    <a:pt x="217539" y="435077"/>
                  </a:lnTo>
                  <a:lnTo>
                    <a:pt x="0" y="435077"/>
                  </a:lnTo>
                  <a:cubicBezTo>
                    <a:pt x="0" y="377381"/>
                    <a:pt x="22924" y="322050"/>
                    <a:pt x="63712" y="281253"/>
                  </a:cubicBezTo>
                  <a:cubicBezTo>
                    <a:pt x="104473" y="240497"/>
                    <a:pt x="159728" y="217582"/>
                    <a:pt x="217376" y="217539"/>
                  </a:cubicBezTo>
                  <a:lnTo>
                    <a:pt x="0" y="217539"/>
                  </a:lnTo>
                  <a:cubicBezTo>
                    <a:pt x="0" y="159842"/>
                    <a:pt x="22924" y="104511"/>
                    <a:pt x="63712" y="63714"/>
                  </a:cubicBezTo>
                  <a:cubicBezTo>
                    <a:pt x="104501" y="22918"/>
                    <a:pt x="159837" y="0"/>
                    <a:pt x="217539" y="0"/>
                  </a:cubicBezTo>
                  <a:cubicBezTo>
                    <a:pt x="275241" y="0"/>
                    <a:pt x="330550" y="22918"/>
                    <a:pt x="371366" y="63714"/>
                  </a:cubicBezTo>
                  <a:close/>
                </a:path>
              </a:pathLst>
            </a:custGeom>
            <a:grpFill/>
            <a:ln w="27192" cap="flat">
              <a:noFill/>
              <a:prstDash val="solid"/>
              <a:miter/>
            </a:ln>
          </p:spPr>
          <p:txBody>
            <a:bodyPr rtlCol="0" anchor="ctr"/>
            <a:lstStyle/>
            <a:p>
              <a:endParaRPr lang="uk-UA" sz="900"/>
            </a:p>
          </p:txBody>
        </p:sp>
        <p:sp>
          <p:nvSpPr>
            <p:cNvPr id="141" name="Freeform: Shape 140">
              <a:extLst>
                <a:ext uri="{FF2B5EF4-FFF2-40B4-BE49-F238E27FC236}">
                  <a16:creationId xmlns:a16="http://schemas.microsoft.com/office/drawing/2014/main" id="{A597CFC6-7325-B538-DCC8-5C6B8C76C9FF}"/>
                </a:ext>
              </a:extLst>
            </p:cNvPr>
            <p:cNvSpPr/>
            <p:nvPr/>
          </p:nvSpPr>
          <p:spPr>
            <a:xfrm>
              <a:off x="6056752" y="1968909"/>
              <a:ext cx="435077" cy="435074"/>
            </a:xfrm>
            <a:custGeom>
              <a:avLst/>
              <a:gdLst>
                <a:gd name="connsiteX0" fmla="*/ 217539 w 435077"/>
                <a:gd name="connsiteY0" fmla="*/ 217539 h 435074"/>
                <a:gd name="connsiteX1" fmla="*/ 217539 w 435077"/>
                <a:gd name="connsiteY1" fmla="*/ 217536 h 435074"/>
                <a:gd name="connsiteX2" fmla="*/ 0 w 435077"/>
                <a:gd name="connsiteY2" fmla="*/ 0 h 435074"/>
                <a:gd name="connsiteX3" fmla="*/ 217539 w 435077"/>
                <a:gd name="connsiteY3" fmla="*/ 0 h 435074"/>
                <a:gd name="connsiteX4" fmla="*/ 217539 w 435077"/>
                <a:gd name="connsiteY4" fmla="*/ 5 h 435074"/>
                <a:gd name="connsiteX5" fmla="*/ 435077 w 435077"/>
                <a:gd name="connsiteY5" fmla="*/ 217533 h 435074"/>
                <a:gd name="connsiteX6" fmla="*/ 435077 w 435077"/>
                <a:gd name="connsiteY6" fmla="*/ 217533 h 435074"/>
                <a:gd name="connsiteX7" fmla="*/ 435077 w 435077"/>
                <a:gd name="connsiteY7" fmla="*/ 217539 h 435074"/>
                <a:gd name="connsiteX8" fmla="*/ 435077 w 435077"/>
                <a:gd name="connsiteY8" fmla="*/ 217541 h 435074"/>
                <a:gd name="connsiteX9" fmla="*/ 435077 w 435077"/>
                <a:gd name="connsiteY9" fmla="*/ 217541 h 435074"/>
                <a:gd name="connsiteX10" fmla="*/ 217539 w 435077"/>
                <a:gd name="connsiteY10" fmla="*/ 435072 h 435074"/>
                <a:gd name="connsiteX11" fmla="*/ 217539 w 435077"/>
                <a:gd name="connsiteY11" fmla="*/ 435075 h 435074"/>
                <a:gd name="connsiteX12" fmla="*/ 0 w 435077"/>
                <a:gd name="connsiteY12" fmla="*/ 435075 h 435074"/>
                <a:gd name="connsiteX13" fmla="*/ 217539 w 435077"/>
                <a:gd name="connsiteY13" fmla="*/ 217539 h 43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4">
                  <a:moveTo>
                    <a:pt x="217539" y="217539"/>
                  </a:moveTo>
                  <a:lnTo>
                    <a:pt x="217539" y="217536"/>
                  </a:lnTo>
                  <a:lnTo>
                    <a:pt x="0" y="0"/>
                  </a:lnTo>
                  <a:lnTo>
                    <a:pt x="217539" y="0"/>
                  </a:lnTo>
                  <a:lnTo>
                    <a:pt x="217539" y="5"/>
                  </a:lnTo>
                  <a:lnTo>
                    <a:pt x="435077" y="217533"/>
                  </a:lnTo>
                  <a:lnTo>
                    <a:pt x="435077" y="217533"/>
                  </a:lnTo>
                  <a:lnTo>
                    <a:pt x="435077" y="217539"/>
                  </a:lnTo>
                  <a:lnTo>
                    <a:pt x="435077" y="217541"/>
                  </a:lnTo>
                  <a:lnTo>
                    <a:pt x="435077" y="217541"/>
                  </a:lnTo>
                  <a:lnTo>
                    <a:pt x="217539" y="435072"/>
                  </a:lnTo>
                  <a:lnTo>
                    <a:pt x="217539" y="435075"/>
                  </a:lnTo>
                  <a:lnTo>
                    <a:pt x="0" y="435075"/>
                  </a:lnTo>
                  <a:lnTo>
                    <a:pt x="217539" y="217539"/>
                  </a:lnTo>
                  <a:close/>
                </a:path>
              </a:pathLst>
            </a:custGeom>
            <a:grpFill/>
            <a:ln w="27192" cap="flat">
              <a:noFill/>
              <a:prstDash val="solid"/>
              <a:miter/>
            </a:ln>
          </p:spPr>
          <p:txBody>
            <a:bodyPr rtlCol="0" anchor="ctr"/>
            <a:lstStyle/>
            <a:p>
              <a:endParaRPr lang="uk-UA" sz="900"/>
            </a:p>
          </p:txBody>
        </p:sp>
        <p:sp>
          <p:nvSpPr>
            <p:cNvPr id="142" name="Freeform: Shape 141">
              <a:extLst>
                <a:ext uri="{FF2B5EF4-FFF2-40B4-BE49-F238E27FC236}">
                  <a16:creationId xmlns:a16="http://schemas.microsoft.com/office/drawing/2014/main" id="{56586DBD-C264-269C-A16E-7332FD0F2219}"/>
                </a:ext>
              </a:extLst>
            </p:cNvPr>
            <p:cNvSpPr/>
            <p:nvPr/>
          </p:nvSpPr>
          <p:spPr>
            <a:xfrm>
              <a:off x="7797062" y="196890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p>
          </p:txBody>
        </p:sp>
        <p:sp>
          <p:nvSpPr>
            <p:cNvPr id="143" name="Freeform: Shape 142">
              <a:extLst>
                <a:ext uri="{FF2B5EF4-FFF2-40B4-BE49-F238E27FC236}">
                  <a16:creationId xmlns:a16="http://schemas.microsoft.com/office/drawing/2014/main" id="{3150BABF-813E-B0A3-FBE3-E477FB66D2ED}"/>
                </a:ext>
              </a:extLst>
            </p:cNvPr>
            <p:cNvSpPr/>
            <p:nvPr/>
          </p:nvSpPr>
          <p:spPr>
            <a:xfrm>
              <a:off x="6926907" y="1968909"/>
              <a:ext cx="435077" cy="435077"/>
            </a:xfrm>
            <a:custGeom>
              <a:avLst/>
              <a:gdLst>
                <a:gd name="connsiteX0" fmla="*/ 0 w 435077"/>
                <a:gd name="connsiteY0" fmla="*/ 435077 h 435077"/>
                <a:gd name="connsiteX1" fmla="*/ 217539 w 435077"/>
                <a:gd name="connsiteY1" fmla="*/ 435077 h 435077"/>
                <a:gd name="connsiteX2" fmla="*/ 217539 w 435077"/>
                <a:gd name="connsiteY2" fmla="*/ 217547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28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47 h 435077"/>
                <a:gd name="connsiteX11" fmla="*/ 435077 w 435077"/>
                <a:gd name="connsiteY11" fmla="*/ 435077 h 435077"/>
                <a:gd name="connsiteX12" fmla="*/ 435077 w 435077"/>
                <a:gd name="connsiteY12" fmla="*/ 3 h 435077"/>
                <a:gd name="connsiteX13" fmla="*/ 217539 w 435077"/>
                <a:gd name="connsiteY13" fmla="*/ 3 h 435077"/>
                <a:gd name="connsiteX14" fmla="*/ 435077 w 435077"/>
                <a:gd name="connsiteY14" fmla="*/ 217531 h 435077"/>
                <a:gd name="connsiteX15" fmla="*/ 435077 w 435077"/>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47"/>
                  </a:lnTo>
                  <a:lnTo>
                    <a:pt x="0" y="435077"/>
                  </a:lnTo>
                  <a:close/>
                  <a:moveTo>
                    <a:pt x="217539" y="0"/>
                  </a:moveTo>
                  <a:lnTo>
                    <a:pt x="0" y="0"/>
                  </a:lnTo>
                  <a:lnTo>
                    <a:pt x="217539" y="217528"/>
                  </a:lnTo>
                  <a:lnTo>
                    <a:pt x="217539" y="0"/>
                  </a:lnTo>
                  <a:close/>
                  <a:moveTo>
                    <a:pt x="435077" y="435077"/>
                  </a:moveTo>
                  <a:lnTo>
                    <a:pt x="217539" y="435077"/>
                  </a:lnTo>
                  <a:lnTo>
                    <a:pt x="435077" y="217547"/>
                  </a:lnTo>
                  <a:lnTo>
                    <a:pt x="435077" y="435077"/>
                  </a:lnTo>
                  <a:close/>
                  <a:moveTo>
                    <a:pt x="435077" y="3"/>
                  </a:moveTo>
                  <a:lnTo>
                    <a:pt x="217539" y="3"/>
                  </a:lnTo>
                  <a:lnTo>
                    <a:pt x="435077" y="217531"/>
                  </a:lnTo>
                  <a:lnTo>
                    <a:pt x="435077" y="3"/>
                  </a:lnTo>
                  <a:close/>
                </a:path>
              </a:pathLst>
            </a:custGeom>
            <a:grpFill/>
            <a:ln w="27192" cap="flat">
              <a:noFill/>
              <a:prstDash val="solid"/>
              <a:miter/>
            </a:ln>
          </p:spPr>
          <p:txBody>
            <a:bodyPr rtlCol="0" anchor="ctr"/>
            <a:lstStyle/>
            <a:p>
              <a:endParaRPr lang="uk-UA" sz="900"/>
            </a:p>
          </p:txBody>
        </p:sp>
        <p:sp>
          <p:nvSpPr>
            <p:cNvPr id="144" name="Freeform: Shape 143">
              <a:extLst>
                <a:ext uri="{FF2B5EF4-FFF2-40B4-BE49-F238E27FC236}">
                  <a16:creationId xmlns:a16="http://schemas.microsoft.com/office/drawing/2014/main" id="{1BF18B8C-7A76-714B-6819-27332C8FA825}"/>
                </a:ext>
              </a:extLst>
            </p:cNvPr>
            <p:cNvSpPr/>
            <p:nvPr/>
          </p:nvSpPr>
          <p:spPr>
            <a:xfrm>
              <a:off x="8667217" y="1968909"/>
              <a:ext cx="435104" cy="435077"/>
            </a:xfrm>
            <a:custGeom>
              <a:avLst/>
              <a:gdLst>
                <a:gd name="connsiteX0" fmla="*/ 371366 w 435104"/>
                <a:gd name="connsiteY0" fmla="*/ 63714 h 435077"/>
                <a:gd name="connsiteX1" fmla="*/ 435077 w 435104"/>
                <a:gd name="connsiteY1" fmla="*/ 217539 h 435077"/>
                <a:gd name="connsiteX2" fmla="*/ 217730 w 435104"/>
                <a:gd name="connsiteY2" fmla="*/ 217539 h 435077"/>
                <a:gd name="connsiteX3" fmla="*/ 371366 w 435104"/>
                <a:gd name="connsiteY3" fmla="*/ 281253 h 435077"/>
                <a:gd name="connsiteX4" fmla="*/ 435105 w 435104"/>
                <a:gd name="connsiteY4" fmla="*/ 435077 h 435077"/>
                <a:gd name="connsiteX5" fmla="*/ 217566 w 435104"/>
                <a:gd name="connsiteY5" fmla="*/ 435077 h 435077"/>
                <a:gd name="connsiteX6" fmla="*/ 27 w 435104"/>
                <a:gd name="connsiteY6" fmla="*/ 435077 h 435077"/>
                <a:gd name="connsiteX7" fmla="*/ 63739 w 435104"/>
                <a:gd name="connsiteY7" fmla="*/ 281253 h 435077"/>
                <a:gd name="connsiteX8" fmla="*/ 217376 w 435104"/>
                <a:gd name="connsiteY8" fmla="*/ 217539 h 435077"/>
                <a:gd name="connsiteX9" fmla="*/ 0 w 435104"/>
                <a:gd name="connsiteY9" fmla="*/ 217539 h 435077"/>
                <a:gd name="connsiteX10" fmla="*/ 63739 w 435104"/>
                <a:gd name="connsiteY10" fmla="*/ 63714 h 435077"/>
                <a:gd name="connsiteX11" fmla="*/ 217539 w 435104"/>
                <a:gd name="connsiteY11" fmla="*/ 0 h 435077"/>
                <a:gd name="connsiteX12" fmla="*/ 371366 w 435104"/>
                <a:gd name="connsiteY12" fmla="*/ 63714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4" h="435077">
                  <a:moveTo>
                    <a:pt x="371366" y="63714"/>
                  </a:moveTo>
                  <a:cubicBezTo>
                    <a:pt x="412182" y="104511"/>
                    <a:pt x="435077" y="159842"/>
                    <a:pt x="435077" y="217539"/>
                  </a:cubicBezTo>
                  <a:lnTo>
                    <a:pt x="217730" y="217539"/>
                  </a:lnTo>
                  <a:cubicBezTo>
                    <a:pt x="275350" y="217582"/>
                    <a:pt x="330632" y="240497"/>
                    <a:pt x="371366" y="281253"/>
                  </a:cubicBezTo>
                  <a:cubicBezTo>
                    <a:pt x="412182" y="322050"/>
                    <a:pt x="435105" y="377381"/>
                    <a:pt x="435105" y="435077"/>
                  </a:cubicBezTo>
                  <a:lnTo>
                    <a:pt x="217566" y="435077"/>
                  </a:lnTo>
                  <a:lnTo>
                    <a:pt x="27" y="435077"/>
                  </a:lnTo>
                  <a:cubicBezTo>
                    <a:pt x="27" y="377381"/>
                    <a:pt x="22924" y="322050"/>
                    <a:pt x="63739" y="281253"/>
                  </a:cubicBezTo>
                  <a:cubicBezTo>
                    <a:pt x="104501" y="240497"/>
                    <a:pt x="159755" y="217582"/>
                    <a:pt x="217376" y="217539"/>
                  </a:cubicBezTo>
                  <a:lnTo>
                    <a:pt x="0" y="217539"/>
                  </a:lnTo>
                  <a:cubicBezTo>
                    <a:pt x="0" y="159842"/>
                    <a:pt x="22924" y="104511"/>
                    <a:pt x="63739" y="63714"/>
                  </a:cubicBezTo>
                  <a:cubicBezTo>
                    <a:pt x="104527" y="22918"/>
                    <a:pt x="159864" y="0"/>
                    <a:pt x="217539" y="0"/>
                  </a:cubicBezTo>
                  <a:cubicBezTo>
                    <a:pt x="275241" y="0"/>
                    <a:pt x="330578" y="22918"/>
                    <a:pt x="371366" y="63714"/>
                  </a:cubicBezTo>
                  <a:close/>
                </a:path>
              </a:pathLst>
            </a:custGeom>
            <a:grpFill/>
            <a:ln w="27192" cap="flat">
              <a:noFill/>
              <a:prstDash val="solid"/>
              <a:miter/>
            </a:ln>
          </p:spPr>
          <p:txBody>
            <a:bodyPr rtlCol="0" anchor="ctr"/>
            <a:lstStyle/>
            <a:p>
              <a:endParaRPr lang="uk-UA" sz="900"/>
            </a:p>
          </p:txBody>
        </p:sp>
        <p:sp>
          <p:nvSpPr>
            <p:cNvPr id="145" name="Freeform: Shape 144">
              <a:extLst>
                <a:ext uri="{FF2B5EF4-FFF2-40B4-BE49-F238E27FC236}">
                  <a16:creationId xmlns:a16="http://schemas.microsoft.com/office/drawing/2014/main" id="{8E18CE4D-9398-C525-3AA6-16DF218CD4DD}"/>
                </a:ext>
              </a:extLst>
            </p:cNvPr>
            <p:cNvSpPr/>
            <p:nvPr/>
          </p:nvSpPr>
          <p:spPr>
            <a:xfrm>
              <a:off x="9537399" y="1968909"/>
              <a:ext cx="435077" cy="435074"/>
            </a:xfrm>
            <a:custGeom>
              <a:avLst/>
              <a:gdLst>
                <a:gd name="connsiteX0" fmla="*/ 217539 w 435077"/>
                <a:gd name="connsiteY0" fmla="*/ 217539 h 435074"/>
                <a:gd name="connsiteX1" fmla="*/ 217539 w 435077"/>
                <a:gd name="connsiteY1" fmla="*/ 217536 h 435074"/>
                <a:gd name="connsiteX2" fmla="*/ 0 w 435077"/>
                <a:gd name="connsiteY2" fmla="*/ 0 h 435074"/>
                <a:gd name="connsiteX3" fmla="*/ 217539 w 435077"/>
                <a:gd name="connsiteY3" fmla="*/ 0 h 435074"/>
                <a:gd name="connsiteX4" fmla="*/ 217539 w 435077"/>
                <a:gd name="connsiteY4" fmla="*/ 5 h 435074"/>
                <a:gd name="connsiteX5" fmla="*/ 435050 w 435077"/>
                <a:gd name="connsiteY5" fmla="*/ 217533 h 435074"/>
                <a:gd name="connsiteX6" fmla="*/ 435077 w 435077"/>
                <a:gd name="connsiteY6" fmla="*/ 217533 h 435074"/>
                <a:gd name="connsiteX7" fmla="*/ 435050 w 435077"/>
                <a:gd name="connsiteY7" fmla="*/ 217539 h 435074"/>
                <a:gd name="connsiteX8" fmla="*/ 435077 w 435077"/>
                <a:gd name="connsiteY8" fmla="*/ 217541 h 435074"/>
                <a:gd name="connsiteX9" fmla="*/ 435050 w 435077"/>
                <a:gd name="connsiteY9" fmla="*/ 217541 h 435074"/>
                <a:gd name="connsiteX10" fmla="*/ 217539 w 435077"/>
                <a:gd name="connsiteY10" fmla="*/ 435072 h 435074"/>
                <a:gd name="connsiteX11" fmla="*/ 217539 w 435077"/>
                <a:gd name="connsiteY11" fmla="*/ 435075 h 435074"/>
                <a:gd name="connsiteX12" fmla="*/ 0 w 435077"/>
                <a:gd name="connsiteY12" fmla="*/ 435075 h 435074"/>
                <a:gd name="connsiteX13" fmla="*/ 217539 w 435077"/>
                <a:gd name="connsiteY13" fmla="*/ 217539 h 43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4">
                  <a:moveTo>
                    <a:pt x="217539" y="217539"/>
                  </a:moveTo>
                  <a:lnTo>
                    <a:pt x="217539" y="217536"/>
                  </a:lnTo>
                  <a:lnTo>
                    <a:pt x="0" y="0"/>
                  </a:lnTo>
                  <a:lnTo>
                    <a:pt x="217539" y="0"/>
                  </a:lnTo>
                  <a:lnTo>
                    <a:pt x="217539" y="5"/>
                  </a:lnTo>
                  <a:lnTo>
                    <a:pt x="435050" y="217533"/>
                  </a:lnTo>
                  <a:lnTo>
                    <a:pt x="435077" y="217533"/>
                  </a:lnTo>
                  <a:lnTo>
                    <a:pt x="435050" y="217539"/>
                  </a:lnTo>
                  <a:lnTo>
                    <a:pt x="435077" y="217541"/>
                  </a:lnTo>
                  <a:lnTo>
                    <a:pt x="435050" y="217541"/>
                  </a:lnTo>
                  <a:lnTo>
                    <a:pt x="217539" y="435072"/>
                  </a:lnTo>
                  <a:lnTo>
                    <a:pt x="217539" y="435075"/>
                  </a:lnTo>
                  <a:lnTo>
                    <a:pt x="0" y="435075"/>
                  </a:lnTo>
                  <a:lnTo>
                    <a:pt x="217539" y="217539"/>
                  </a:lnTo>
                  <a:close/>
                </a:path>
              </a:pathLst>
            </a:custGeom>
            <a:grpFill/>
            <a:ln w="27192" cap="flat">
              <a:noFill/>
              <a:prstDash val="solid"/>
              <a:miter/>
            </a:ln>
          </p:spPr>
          <p:txBody>
            <a:bodyPr rtlCol="0" anchor="ctr"/>
            <a:lstStyle/>
            <a:p>
              <a:endParaRPr lang="uk-UA" sz="900"/>
            </a:p>
          </p:txBody>
        </p:sp>
        <p:sp>
          <p:nvSpPr>
            <p:cNvPr id="146" name="Freeform: Shape 145">
              <a:extLst>
                <a:ext uri="{FF2B5EF4-FFF2-40B4-BE49-F238E27FC236}">
                  <a16:creationId xmlns:a16="http://schemas.microsoft.com/office/drawing/2014/main" id="{34EDEEF5-44AB-4695-6736-C2B898D377DE}"/>
                </a:ext>
              </a:extLst>
            </p:cNvPr>
            <p:cNvSpPr/>
            <p:nvPr/>
          </p:nvSpPr>
          <p:spPr>
            <a:xfrm>
              <a:off x="11277709" y="196890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147" name="Freeform: Shape 146">
              <a:extLst>
                <a:ext uri="{FF2B5EF4-FFF2-40B4-BE49-F238E27FC236}">
                  <a16:creationId xmlns:a16="http://schemas.microsoft.com/office/drawing/2014/main" id="{48C24EB3-9C4A-E359-C1B5-20D13710D7DC}"/>
                </a:ext>
              </a:extLst>
            </p:cNvPr>
            <p:cNvSpPr/>
            <p:nvPr/>
          </p:nvSpPr>
          <p:spPr>
            <a:xfrm>
              <a:off x="10407554" y="1968909"/>
              <a:ext cx="435077" cy="435077"/>
            </a:xfrm>
            <a:custGeom>
              <a:avLst/>
              <a:gdLst>
                <a:gd name="connsiteX0" fmla="*/ 0 w 435077"/>
                <a:gd name="connsiteY0" fmla="*/ 435075 h 435077"/>
                <a:gd name="connsiteX1" fmla="*/ 217511 w 435077"/>
                <a:gd name="connsiteY1" fmla="*/ 435075 h 435077"/>
                <a:gd name="connsiteX2" fmla="*/ 217511 w 435077"/>
                <a:gd name="connsiteY2" fmla="*/ 217547 h 435077"/>
                <a:gd name="connsiteX3" fmla="*/ 0 w 435077"/>
                <a:gd name="connsiteY3" fmla="*/ 435075 h 435077"/>
                <a:gd name="connsiteX4" fmla="*/ 217511 w 435077"/>
                <a:gd name="connsiteY4" fmla="*/ 0 h 435077"/>
                <a:gd name="connsiteX5" fmla="*/ 0 w 435077"/>
                <a:gd name="connsiteY5" fmla="*/ 0 h 435077"/>
                <a:gd name="connsiteX6" fmla="*/ 217511 w 435077"/>
                <a:gd name="connsiteY6" fmla="*/ 217528 h 435077"/>
                <a:gd name="connsiteX7" fmla="*/ 217511 w 435077"/>
                <a:gd name="connsiteY7" fmla="*/ 0 h 435077"/>
                <a:gd name="connsiteX8" fmla="*/ 435077 w 435077"/>
                <a:gd name="connsiteY8" fmla="*/ 435077 h 435077"/>
                <a:gd name="connsiteX9" fmla="*/ 217539 w 435077"/>
                <a:gd name="connsiteY9" fmla="*/ 435077 h 435077"/>
                <a:gd name="connsiteX10" fmla="*/ 435077 w 435077"/>
                <a:gd name="connsiteY10" fmla="*/ 217547 h 435077"/>
                <a:gd name="connsiteX11" fmla="*/ 435077 w 435077"/>
                <a:gd name="connsiteY11" fmla="*/ 435077 h 435077"/>
                <a:gd name="connsiteX12" fmla="*/ 435077 w 435077"/>
                <a:gd name="connsiteY12" fmla="*/ 3 h 435077"/>
                <a:gd name="connsiteX13" fmla="*/ 217539 w 435077"/>
                <a:gd name="connsiteY13" fmla="*/ 3 h 435077"/>
                <a:gd name="connsiteX14" fmla="*/ 435077 w 435077"/>
                <a:gd name="connsiteY14" fmla="*/ 217531 h 435077"/>
                <a:gd name="connsiteX15" fmla="*/ 435077 w 435077"/>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5"/>
                  </a:moveTo>
                  <a:lnTo>
                    <a:pt x="217511" y="435075"/>
                  </a:lnTo>
                  <a:lnTo>
                    <a:pt x="217511" y="217547"/>
                  </a:lnTo>
                  <a:lnTo>
                    <a:pt x="0" y="435075"/>
                  </a:lnTo>
                  <a:close/>
                  <a:moveTo>
                    <a:pt x="217511" y="0"/>
                  </a:moveTo>
                  <a:lnTo>
                    <a:pt x="0" y="0"/>
                  </a:lnTo>
                  <a:lnTo>
                    <a:pt x="217511" y="217528"/>
                  </a:lnTo>
                  <a:lnTo>
                    <a:pt x="217511" y="0"/>
                  </a:lnTo>
                  <a:close/>
                  <a:moveTo>
                    <a:pt x="435077" y="435077"/>
                  </a:moveTo>
                  <a:lnTo>
                    <a:pt x="217539" y="435077"/>
                  </a:lnTo>
                  <a:lnTo>
                    <a:pt x="435077" y="217547"/>
                  </a:lnTo>
                  <a:lnTo>
                    <a:pt x="435077" y="435077"/>
                  </a:lnTo>
                  <a:close/>
                  <a:moveTo>
                    <a:pt x="435077" y="3"/>
                  </a:moveTo>
                  <a:lnTo>
                    <a:pt x="217539" y="3"/>
                  </a:lnTo>
                  <a:lnTo>
                    <a:pt x="435077" y="217531"/>
                  </a:lnTo>
                  <a:lnTo>
                    <a:pt x="435077" y="3"/>
                  </a:lnTo>
                  <a:close/>
                </a:path>
              </a:pathLst>
            </a:custGeom>
            <a:grpFill/>
            <a:ln w="27192" cap="flat">
              <a:noFill/>
              <a:prstDash val="solid"/>
              <a:miter/>
            </a:ln>
          </p:spPr>
          <p:txBody>
            <a:bodyPr rtlCol="0" anchor="ctr"/>
            <a:lstStyle/>
            <a:p>
              <a:endParaRPr lang="uk-UA" sz="900"/>
            </a:p>
          </p:txBody>
        </p:sp>
        <p:sp>
          <p:nvSpPr>
            <p:cNvPr id="148" name="Freeform: Shape 147">
              <a:extLst>
                <a:ext uri="{FF2B5EF4-FFF2-40B4-BE49-F238E27FC236}">
                  <a16:creationId xmlns:a16="http://schemas.microsoft.com/office/drawing/2014/main" id="{0705C804-C665-8317-F579-B59C4B824748}"/>
                </a:ext>
              </a:extLst>
            </p:cNvPr>
            <p:cNvSpPr/>
            <p:nvPr/>
          </p:nvSpPr>
          <p:spPr>
            <a:xfrm>
              <a:off x="12147864" y="1968909"/>
              <a:ext cx="435103" cy="435077"/>
            </a:xfrm>
            <a:custGeom>
              <a:avLst/>
              <a:gdLst>
                <a:gd name="connsiteX0" fmla="*/ 371365 w 435103"/>
                <a:gd name="connsiteY0" fmla="*/ 63714 h 435077"/>
                <a:gd name="connsiteX1" fmla="*/ 435077 w 435103"/>
                <a:gd name="connsiteY1" fmla="*/ 217539 h 435077"/>
                <a:gd name="connsiteX2" fmla="*/ 217728 w 435103"/>
                <a:gd name="connsiteY2" fmla="*/ 217539 h 435077"/>
                <a:gd name="connsiteX3" fmla="*/ 371365 w 435103"/>
                <a:gd name="connsiteY3" fmla="*/ 281253 h 435077"/>
                <a:gd name="connsiteX4" fmla="*/ 435104 w 435103"/>
                <a:gd name="connsiteY4" fmla="*/ 435077 h 435077"/>
                <a:gd name="connsiteX5" fmla="*/ 217565 w 435103"/>
                <a:gd name="connsiteY5" fmla="*/ 435077 h 435077"/>
                <a:gd name="connsiteX6" fmla="*/ 27 w 435103"/>
                <a:gd name="connsiteY6" fmla="*/ 435077 h 435077"/>
                <a:gd name="connsiteX7" fmla="*/ 63739 w 435103"/>
                <a:gd name="connsiteY7" fmla="*/ 281253 h 435077"/>
                <a:gd name="connsiteX8" fmla="*/ 217374 w 435103"/>
                <a:gd name="connsiteY8" fmla="*/ 217539 h 435077"/>
                <a:gd name="connsiteX9" fmla="*/ 0 w 435103"/>
                <a:gd name="connsiteY9" fmla="*/ 217539 h 435077"/>
                <a:gd name="connsiteX10" fmla="*/ 63739 w 435103"/>
                <a:gd name="connsiteY10" fmla="*/ 63714 h 435077"/>
                <a:gd name="connsiteX11" fmla="*/ 217539 w 435103"/>
                <a:gd name="connsiteY11" fmla="*/ 0 h 435077"/>
                <a:gd name="connsiteX12" fmla="*/ 371365 w 435103"/>
                <a:gd name="connsiteY12" fmla="*/ 63714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3" h="435077">
                  <a:moveTo>
                    <a:pt x="371365" y="63714"/>
                  </a:moveTo>
                  <a:cubicBezTo>
                    <a:pt x="412180" y="104511"/>
                    <a:pt x="435077" y="159842"/>
                    <a:pt x="435077" y="217539"/>
                  </a:cubicBezTo>
                  <a:lnTo>
                    <a:pt x="217728" y="217539"/>
                  </a:lnTo>
                  <a:cubicBezTo>
                    <a:pt x="275349" y="217582"/>
                    <a:pt x="330632" y="240497"/>
                    <a:pt x="371365" y="281253"/>
                  </a:cubicBezTo>
                  <a:cubicBezTo>
                    <a:pt x="412180" y="322050"/>
                    <a:pt x="435104" y="377381"/>
                    <a:pt x="435104" y="435077"/>
                  </a:cubicBezTo>
                  <a:lnTo>
                    <a:pt x="217565" y="435077"/>
                  </a:lnTo>
                  <a:lnTo>
                    <a:pt x="27" y="435077"/>
                  </a:lnTo>
                  <a:cubicBezTo>
                    <a:pt x="27" y="377381"/>
                    <a:pt x="22922" y="322050"/>
                    <a:pt x="63739" y="281253"/>
                  </a:cubicBezTo>
                  <a:cubicBezTo>
                    <a:pt x="104499" y="240497"/>
                    <a:pt x="159755" y="217582"/>
                    <a:pt x="217374" y="217539"/>
                  </a:cubicBezTo>
                  <a:lnTo>
                    <a:pt x="0" y="217539"/>
                  </a:lnTo>
                  <a:cubicBezTo>
                    <a:pt x="0" y="159842"/>
                    <a:pt x="22922" y="104511"/>
                    <a:pt x="63739" y="63714"/>
                  </a:cubicBezTo>
                  <a:cubicBezTo>
                    <a:pt x="104527" y="22918"/>
                    <a:pt x="159863" y="0"/>
                    <a:pt x="217539" y="0"/>
                  </a:cubicBezTo>
                  <a:cubicBezTo>
                    <a:pt x="275239" y="0"/>
                    <a:pt x="330577" y="22918"/>
                    <a:pt x="371365" y="63714"/>
                  </a:cubicBezTo>
                  <a:close/>
                </a:path>
              </a:pathLst>
            </a:custGeom>
            <a:grpFill/>
            <a:ln w="27192" cap="flat">
              <a:noFill/>
              <a:prstDash val="solid"/>
              <a:miter/>
            </a:ln>
          </p:spPr>
          <p:txBody>
            <a:bodyPr rtlCol="0" anchor="ctr"/>
            <a:lstStyle/>
            <a:p>
              <a:endParaRPr lang="uk-UA" sz="900"/>
            </a:p>
          </p:txBody>
        </p:sp>
        <p:sp>
          <p:nvSpPr>
            <p:cNvPr id="149" name="Freeform: Shape 148">
              <a:extLst>
                <a:ext uri="{FF2B5EF4-FFF2-40B4-BE49-F238E27FC236}">
                  <a16:creationId xmlns:a16="http://schemas.microsoft.com/office/drawing/2014/main" id="{5020E2B4-96EF-0F90-D2FD-BD3CA19CA0FA}"/>
                </a:ext>
              </a:extLst>
            </p:cNvPr>
            <p:cNvSpPr/>
            <p:nvPr/>
          </p:nvSpPr>
          <p:spPr>
            <a:xfrm>
              <a:off x="13017991" y="1968906"/>
              <a:ext cx="435077" cy="435077"/>
            </a:xfrm>
            <a:custGeom>
              <a:avLst/>
              <a:gdLst>
                <a:gd name="connsiteX0" fmla="*/ 217539 w 435077"/>
                <a:gd name="connsiteY0" fmla="*/ 217533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2 h 435077"/>
                <a:gd name="connsiteX7" fmla="*/ 435077 w 435077"/>
                <a:gd name="connsiteY7" fmla="*/ 217541 h 435077"/>
                <a:gd name="connsiteX8" fmla="*/ 435077 w 435077"/>
                <a:gd name="connsiteY8" fmla="*/ 217541 h 435077"/>
                <a:gd name="connsiteX9" fmla="*/ 435077 w 435077"/>
                <a:gd name="connsiteY9" fmla="*/ 217539 h 435077"/>
                <a:gd name="connsiteX10" fmla="*/ 435077 w 435077"/>
                <a:gd name="connsiteY10" fmla="*/ 217533 h 435077"/>
                <a:gd name="connsiteX11" fmla="*/ 435077 w 435077"/>
                <a:gd name="connsiteY11" fmla="*/ 217533 h 435077"/>
                <a:gd name="connsiteX12" fmla="*/ 217539 w 435077"/>
                <a:gd name="connsiteY12" fmla="*/ 5 h 435077"/>
                <a:gd name="connsiteX13" fmla="*/ 217539 w 435077"/>
                <a:gd name="connsiteY13" fmla="*/ 217533 h 435077"/>
                <a:gd name="connsiteX14" fmla="*/ 217539 w 435077"/>
                <a:gd name="connsiteY14" fmla="*/ 21753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3"/>
                  </a:moveTo>
                  <a:lnTo>
                    <a:pt x="217539" y="0"/>
                  </a:lnTo>
                  <a:lnTo>
                    <a:pt x="0" y="0"/>
                  </a:lnTo>
                  <a:lnTo>
                    <a:pt x="217539" y="217539"/>
                  </a:lnTo>
                  <a:lnTo>
                    <a:pt x="0" y="435077"/>
                  </a:lnTo>
                  <a:lnTo>
                    <a:pt x="217539" y="435077"/>
                  </a:lnTo>
                  <a:lnTo>
                    <a:pt x="217539" y="435072"/>
                  </a:lnTo>
                  <a:lnTo>
                    <a:pt x="435077" y="217541"/>
                  </a:lnTo>
                  <a:lnTo>
                    <a:pt x="435077" y="217541"/>
                  </a:lnTo>
                  <a:lnTo>
                    <a:pt x="435077" y="217539"/>
                  </a:lnTo>
                  <a:lnTo>
                    <a:pt x="435077" y="217533"/>
                  </a:lnTo>
                  <a:lnTo>
                    <a:pt x="435077" y="217533"/>
                  </a:lnTo>
                  <a:lnTo>
                    <a:pt x="217539" y="5"/>
                  </a:lnTo>
                  <a:lnTo>
                    <a:pt x="217539" y="217533"/>
                  </a:lnTo>
                  <a:lnTo>
                    <a:pt x="217539" y="217533"/>
                  </a:lnTo>
                  <a:close/>
                </a:path>
              </a:pathLst>
            </a:custGeom>
            <a:grpFill/>
            <a:ln w="27192" cap="flat">
              <a:noFill/>
              <a:prstDash val="solid"/>
              <a:miter/>
            </a:ln>
          </p:spPr>
          <p:txBody>
            <a:bodyPr rtlCol="0" anchor="ctr"/>
            <a:lstStyle/>
            <a:p>
              <a:endParaRPr lang="uk-UA" sz="900"/>
            </a:p>
          </p:txBody>
        </p:sp>
        <p:sp>
          <p:nvSpPr>
            <p:cNvPr id="150" name="Freeform: Shape 149">
              <a:extLst>
                <a:ext uri="{FF2B5EF4-FFF2-40B4-BE49-F238E27FC236}">
                  <a16:creationId xmlns:a16="http://schemas.microsoft.com/office/drawing/2014/main" id="{2F0FF714-63B8-BDBC-7A7C-EAD8EF140D2E}"/>
                </a:ext>
              </a:extLst>
            </p:cNvPr>
            <p:cNvSpPr/>
            <p:nvPr/>
          </p:nvSpPr>
          <p:spPr>
            <a:xfrm>
              <a:off x="14758382" y="1968909"/>
              <a:ext cx="435077" cy="435077"/>
            </a:xfrm>
            <a:custGeom>
              <a:avLst/>
              <a:gdLst>
                <a:gd name="connsiteX0" fmla="*/ 217539 w 435077"/>
                <a:gd name="connsiteY0" fmla="*/ 0 h 435077"/>
                <a:gd name="connsiteX1" fmla="*/ 217539 w 435077"/>
                <a:gd name="connsiteY1" fmla="*/ 0 h 435077"/>
                <a:gd name="connsiteX2" fmla="*/ 0 w 435077"/>
                <a:gd name="connsiteY2" fmla="*/ 0 h 435077"/>
                <a:gd name="connsiteX3" fmla="*/ 0 w 435077"/>
                <a:gd name="connsiteY3" fmla="*/ 217539 h 435077"/>
                <a:gd name="connsiteX4" fmla="*/ 217539 w 435077"/>
                <a:gd name="connsiteY4" fmla="*/ 5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217539" y="0"/>
                  </a:lnTo>
                  <a:lnTo>
                    <a:pt x="0" y="0"/>
                  </a:lnTo>
                  <a:lnTo>
                    <a:pt x="0" y="217539"/>
                  </a:lnTo>
                  <a:lnTo>
                    <a:pt x="217539" y="5"/>
                  </a:lnTo>
                  <a:lnTo>
                    <a:pt x="435077" y="217539"/>
                  </a:lnTo>
                  <a:lnTo>
                    <a:pt x="217539" y="435077"/>
                  </a:lnTo>
                  <a:lnTo>
                    <a:pt x="0" y="217539"/>
                  </a:lnTo>
                  <a:lnTo>
                    <a:pt x="0" y="435077"/>
                  </a:lnTo>
                  <a:lnTo>
                    <a:pt x="217539" y="435077"/>
                  </a:lnTo>
                  <a:lnTo>
                    <a:pt x="435077" y="435077"/>
                  </a:lnTo>
                  <a:lnTo>
                    <a:pt x="435077" y="217539"/>
                  </a:lnTo>
                  <a:lnTo>
                    <a:pt x="435077" y="0"/>
                  </a:lnTo>
                  <a:lnTo>
                    <a:pt x="217539" y="0"/>
                  </a:lnTo>
                  <a:close/>
                </a:path>
              </a:pathLst>
            </a:custGeom>
            <a:grpFill/>
            <a:ln w="27192" cap="flat">
              <a:noFill/>
              <a:prstDash val="solid"/>
              <a:miter/>
            </a:ln>
          </p:spPr>
          <p:txBody>
            <a:bodyPr rtlCol="0" anchor="ctr"/>
            <a:lstStyle/>
            <a:p>
              <a:endParaRPr lang="uk-UA" sz="900"/>
            </a:p>
          </p:txBody>
        </p:sp>
        <p:sp>
          <p:nvSpPr>
            <p:cNvPr id="151" name="Freeform: Shape 150">
              <a:extLst>
                <a:ext uri="{FF2B5EF4-FFF2-40B4-BE49-F238E27FC236}">
                  <a16:creationId xmlns:a16="http://schemas.microsoft.com/office/drawing/2014/main" id="{56A12373-A3DB-5A08-3169-2B8B97720490}"/>
                </a:ext>
              </a:extLst>
            </p:cNvPr>
            <p:cNvSpPr/>
            <p:nvPr/>
          </p:nvSpPr>
          <p:spPr>
            <a:xfrm>
              <a:off x="13888200" y="1968909"/>
              <a:ext cx="435077" cy="435077"/>
            </a:xfrm>
            <a:custGeom>
              <a:avLst/>
              <a:gdLst>
                <a:gd name="connsiteX0" fmla="*/ 0 w 435077"/>
                <a:gd name="connsiteY0" fmla="*/ 435077 h 435077"/>
                <a:gd name="connsiteX1" fmla="*/ 217539 w 435077"/>
                <a:gd name="connsiteY1" fmla="*/ 435077 h 435077"/>
                <a:gd name="connsiteX2" fmla="*/ 217539 w 435077"/>
                <a:gd name="connsiteY2" fmla="*/ 217547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28 h 435077"/>
                <a:gd name="connsiteX7" fmla="*/ 217539 w 435077"/>
                <a:gd name="connsiteY7" fmla="*/ 0 h 435077"/>
                <a:gd name="connsiteX8" fmla="*/ 435077 w 435077"/>
                <a:gd name="connsiteY8" fmla="*/ 435077 h 435077"/>
                <a:gd name="connsiteX9" fmla="*/ 217565 w 435077"/>
                <a:gd name="connsiteY9" fmla="*/ 435077 h 435077"/>
                <a:gd name="connsiteX10" fmla="*/ 435077 w 435077"/>
                <a:gd name="connsiteY10" fmla="*/ 217547 h 435077"/>
                <a:gd name="connsiteX11" fmla="*/ 435077 w 435077"/>
                <a:gd name="connsiteY11" fmla="*/ 435077 h 435077"/>
                <a:gd name="connsiteX12" fmla="*/ 435077 w 435077"/>
                <a:gd name="connsiteY12" fmla="*/ 3 h 435077"/>
                <a:gd name="connsiteX13" fmla="*/ 217565 w 435077"/>
                <a:gd name="connsiteY13" fmla="*/ 3 h 435077"/>
                <a:gd name="connsiteX14" fmla="*/ 435077 w 435077"/>
                <a:gd name="connsiteY14" fmla="*/ 217531 h 435077"/>
                <a:gd name="connsiteX15" fmla="*/ 435077 w 435077"/>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47"/>
                  </a:lnTo>
                  <a:lnTo>
                    <a:pt x="0" y="435077"/>
                  </a:lnTo>
                  <a:close/>
                  <a:moveTo>
                    <a:pt x="217539" y="0"/>
                  </a:moveTo>
                  <a:lnTo>
                    <a:pt x="0" y="0"/>
                  </a:lnTo>
                  <a:lnTo>
                    <a:pt x="217539" y="217528"/>
                  </a:lnTo>
                  <a:lnTo>
                    <a:pt x="217539" y="0"/>
                  </a:lnTo>
                  <a:close/>
                  <a:moveTo>
                    <a:pt x="435077" y="435077"/>
                  </a:moveTo>
                  <a:lnTo>
                    <a:pt x="217565" y="435077"/>
                  </a:lnTo>
                  <a:lnTo>
                    <a:pt x="435077" y="217547"/>
                  </a:lnTo>
                  <a:lnTo>
                    <a:pt x="435077" y="435077"/>
                  </a:lnTo>
                  <a:close/>
                  <a:moveTo>
                    <a:pt x="435077" y="3"/>
                  </a:moveTo>
                  <a:lnTo>
                    <a:pt x="217565" y="3"/>
                  </a:lnTo>
                  <a:lnTo>
                    <a:pt x="435077" y="217531"/>
                  </a:lnTo>
                  <a:lnTo>
                    <a:pt x="435077" y="3"/>
                  </a:lnTo>
                  <a:close/>
                </a:path>
              </a:pathLst>
            </a:custGeom>
            <a:grpFill/>
            <a:ln w="27192" cap="flat">
              <a:noFill/>
              <a:prstDash val="solid"/>
              <a:miter/>
            </a:ln>
          </p:spPr>
          <p:txBody>
            <a:bodyPr rtlCol="0" anchor="ctr"/>
            <a:lstStyle/>
            <a:p>
              <a:endParaRPr lang="uk-UA" sz="900"/>
            </a:p>
          </p:txBody>
        </p:sp>
        <p:sp>
          <p:nvSpPr>
            <p:cNvPr id="152" name="Freeform: Shape 151">
              <a:extLst>
                <a:ext uri="{FF2B5EF4-FFF2-40B4-BE49-F238E27FC236}">
                  <a16:creationId xmlns:a16="http://schemas.microsoft.com/office/drawing/2014/main" id="{5B6562B5-91B8-987F-608E-7885E50185C7}"/>
                </a:ext>
              </a:extLst>
            </p:cNvPr>
            <p:cNvSpPr/>
            <p:nvPr/>
          </p:nvSpPr>
          <p:spPr>
            <a:xfrm>
              <a:off x="15628536" y="1968909"/>
              <a:ext cx="435077" cy="435077"/>
            </a:xfrm>
            <a:custGeom>
              <a:avLst/>
              <a:gdLst>
                <a:gd name="connsiteX0" fmla="*/ 371367 w 435077"/>
                <a:gd name="connsiteY0" fmla="*/ 63714 h 435077"/>
                <a:gd name="connsiteX1" fmla="*/ 435077 w 435077"/>
                <a:gd name="connsiteY1" fmla="*/ 217539 h 435077"/>
                <a:gd name="connsiteX2" fmla="*/ 217730 w 435077"/>
                <a:gd name="connsiteY2" fmla="*/ 217539 h 435077"/>
                <a:gd name="connsiteX3" fmla="*/ 371367 w 435077"/>
                <a:gd name="connsiteY3" fmla="*/ 281253 h 435077"/>
                <a:gd name="connsiteX4" fmla="*/ 435077 w 435077"/>
                <a:gd name="connsiteY4" fmla="*/ 435077 h 435077"/>
                <a:gd name="connsiteX5" fmla="*/ 217539 w 435077"/>
                <a:gd name="connsiteY5" fmla="*/ 435077 h 435077"/>
                <a:gd name="connsiteX6" fmla="*/ 0 w 435077"/>
                <a:gd name="connsiteY6" fmla="*/ 435077 h 435077"/>
                <a:gd name="connsiteX7" fmla="*/ 63739 w 435077"/>
                <a:gd name="connsiteY7" fmla="*/ 281253 h 435077"/>
                <a:gd name="connsiteX8" fmla="*/ 217376 w 435077"/>
                <a:gd name="connsiteY8" fmla="*/ 217539 h 435077"/>
                <a:gd name="connsiteX9" fmla="*/ 0 w 435077"/>
                <a:gd name="connsiteY9" fmla="*/ 217539 h 435077"/>
                <a:gd name="connsiteX10" fmla="*/ 63712 w 435077"/>
                <a:gd name="connsiteY10" fmla="*/ 63714 h 435077"/>
                <a:gd name="connsiteX11" fmla="*/ 217539 w 435077"/>
                <a:gd name="connsiteY11" fmla="*/ 0 h 435077"/>
                <a:gd name="connsiteX12" fmla="*/ 371367 w 435077"/>
                <a:gd name="connsiteY12" fmla="*/ 63714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7" y="63714"/>
                  </a:moveTo>
                  <a:cubicBezTo>
                    <a:pt x="412155" y="104511"/>
                    <a:pt x="435077" y="159842"/>
                    <a:pt x="435077" y="217539"/>
                  </a:cubicBezTo>
                  <a:lnTo>
                    <a:pt x="217730" y="217539"/>
                  </a:lnTo>
                  <a:cubicBezTo>
                    <a:pt x="275351" y="217582"/>
                    <a:pt x="330605" y="240497"/>
                    <a:pt x="371367" y="281253"/>
                  </a:cubicBezTo>
                  <a:cubicBezTo>
                    <a:pt x="412182" y="322050"/>
                    <a:pt x="435077" y="377381"/>
                    <a:pt x="435077" y="435077"/>
                  </a:cubicBezTo>
                  <a:lnTo>
                    <a:pt x="217539" y="435077"/>
                  </a:lnTo>
                  <a:lnTo>
                    <a:pt x="0" y="435077"/>
                  </a:lnTo>
                  <a:cubicBezTo>
                    <a:pt x="0" y="377381"/>
                    <a:pt x="22924" y="322050"/>
                    <a:pt x="63739" y="281253"/>
                  </a:cubicBezTo>
                  <a:cubicBezTo>
                    <a:pt x="104474" y="240497"/>
                    <a:pt x="159755" y="217582"/>
                    <a:pt x="217376" y="217539"/>
                  </a:cubicBezTo>
                  <a:lnTo>
                    <a:pt x="0" y="217539"/>
                  </a:lnTo>
                  <a:cubicBezTo>
                    <a:pt x="0" y="159842"/>
                    <a:pt x="22924" y="104511"/>
                    <a:pt x="63712" y="63714"/>
                  </a:cubicBezTo>
                  <a:cubicBezTo>
                    <a:pt x="104527" y="22918"/>
                    <a:pt x="159865" y="0"/>
                    <a:pt x="217539" y="0"/>
                  </a:cubicBezTo>
                  <a:cubicBezTo>
                    <a:pt x="275241" y="0"/>
                    <a:pt x="330578" y="22918"/>
                    <a:pt x="371367" y="63714"/>
                  </a:cubicBezTo>
                  <a:close/>
                </a:path>
              </a:pathLst>
            </a:custGeom>
            <a:grpFill/>
            <a:ln w="27192" cap="flat">
              <a:noFill/>
              <a:prstDash val="solid"/>
              <a:miter/>
            </a:ln>
          </p:spPr>
          <p:txBody>
            <a:bodyPr rtlCol="0" anchor="ctr"/>
            <a:lstStyle/>
            <a:p>
              <a:endParaRPr lang="uk-UA" sz="900"/>
            </a:p>
          </p:txBody>
        </p:sp>
        <p:sp>
          <p:nvSpPr>
            <p:cNvPr id="153" name="Freeform: Shape 152">
              <a:extLst>
                <a:ext uri="{FF2B5EF4-FFF2-40B4-BE49-F238E27FC236}">
                  <a16:creationId xmlns:a16="http://schemas.microsoft.com/office/drawing/2014/main" id="{497BE5EF-D13E-F48D-659C-4FB014407F36}"/>
                </a:ext>
              </a:extLst>
            </p:cNvPr>
            <p:cNvSpPr/>
            <p:nvPr/>
          </p:nvSpPr>
          <p:spPr>
            <a:xfrm>
              <a:off x="16498719" y="1968909"/>
              <a:ext cx="435077" cy="435074"/>
            </a:xfrm>
            <a:custGeom>
              <a:avLst/>
              <a:gdLst>
                <a:gd name="connsiteX0" fmla="*/ 217539 w 435077"/>
                <a:gd name="connsiteY0" fmla="*/ 217533 h 435074"/>
                <a:gd name="connsiteX1" fmla="*/ 217539 w 435077"/>
                <a:gd name="connsiteY1" fmla="*/ 0 h 435074"/>
                <a:gd name="connsiteX2" fmla="*/ 0 w 435077"/>
                <a:gd name="connsiteY2" fmla="*/ 0 h 435074"/>
                <a:gd name="connsiteX3" fmla="*/ 217539 w 435077"/>
                <a:gd name="connsiteY3" fmla="*/ 217539 h 435074"/>
                <a:gd name="connsiteX4" fmla="*/ 0 w 435077"/>
                <a:gd name="connsiteY4" fmla="*/ 435075 h 435074"/>
                <a:gd name="connsiteX5" fmla="*/ 217539 w 435077"/>
                <a:gd name="connsiteY5" fmla="*/ 435075 h 435074"/>
                <a:gd name="connsiteX6" fmla="*/ 217539 w 435077"/>
                <a:gd name="connsiteY6" fmla="*/ 435072 h 435074"/>
                <a:gd name="connsiteX7" fmla="*/ 435049 w 435077"/>
                <a:gd name="connsiteY7" fmla="*/ 217541 h 435074"/>
                <a:gd name="connsiteX8" fmla="*/ 435077 w 435077"/>
                <a:gd name="connsiteY8" fmla="*/ 217541 h 435074"/>
                <a:gd name="connsiteX9" fmla="*/ 435049 w 435077"/>
                <a:gd name="connsiteY9" fmla="*/ 217536 h 435074"/>
                <a:gd name="connsiteX10" fmla="*/ 435077 w 435077"/>
                <a:gd name="connsiteY10" fmla="*/ 217533 h 435074"/>
                <a:gd name="connsiteX11" fmla="*/ 435049 w 435077"/>
                <a:gd name="connsiteY11" fmla="*/ 217533 h 435074"/>
                <a:gd name="connsiteX12" fmla="*/ 217539 w 435077"/>
                <a:gd name="connsiteY12" fmla="*/ 3 h 435074"/>
                <a:gd name="connsiteX13" fmla="*/ 217539 w 435077"/>
                <a:gd name="connsiteY13" fmla="*/ 217533 h 435074"/>
                <a:gd name="connsiteX14" fmla="*/ 217539 w 435077"/>
                <a:gd name="connsiteY14" fmla="*/ 217533 h 43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4">
                  <a:moveTo>
                    <a:pt x="217539" y="217533"/>
                  </a:moveTo>
                  <a:lnTo>
                    <a:pt x="217539" y="0"/>
                  </a:lnTo>
                  <a:lnTo>
                    <a:pt x="0" y="0"/>
                  </a:lnTo>
                  <a:lnTo>
                    <a:pt x="217539" y="217539"/>
                  </a:lnTo>
                  <a:lnTo>
                    <a:pt x="0" y="435075"/>
                  </a:lnTo>
                  <a:lnTo>
                    <a:pt x="217539" y="435075"/>
                  </a:lnTo>
                  <a:lnTo>
                    <a:pt x="217539" y="435072"/>
                  </a:lnTo>
                  <a:lnTo>
                    <a:pt x="435049" y="217541"/>
                  </a:lnTo>
                  <a:lnTo>
                    <a:pt x="435077" y="217541"/>
                  </a:lnTo>
                  <a:lnTo>
                    <a:pt x="435049" y="217536"/>
                  </a:lnTo>
                  <a:lnTo>
                    <a:pt x="435077" y="217533"/>
                  </a:lnTo>
                  <a:lnTo>
                    <a:pt x="435049" y="217533"/>
                  </a:lnTo>
                  <a:lnTo>
                    <a:pt x="217539" y="3"/>
                  </a:lnTo>
                  <a:lnTo>
                    <a:pt x="217539" y="217533"/>
                  </a:lnTo>
                  <a:lnTo>
                    <a:pt x="217539" y="217533"/>
                  </a:lnTo>
                  <a:close/>
                </a:path>
              </a:pathLst>
            </a:custGeom>
            <a:grpFill/>
            <a:ln w="27192" cap="flat">
              <a:noFill/>
              <a:prstDash val="solid"/>
              <a:miter/>
            </a:ln>
          </p:spPr>
          <p:txBody>
            <a:bodyPr rtlCol="0" anchor="ctr"/>
            <a:lstStyle/>
            <a:p>
              <a:endParaRPr lang="uk-UA" sz="900"/>
            </a:p>
          </p:txBody>
        </p:sp>
        <p:sp>
          <p:nvSpPr>
            <p:cNvPr id="154" name="Freeform: Shape 153">
              <a:extLst>
                <a:ext uri="{FF2B5EF4-FFF2-40B4-BE49-F238E27FC236}">
                  <a16:creationId xmlns:a16="http://schemas.microsoft.com/office/drawing/2014/main" id="{30FBFC3A-C3BE-6C67-A9CB-CA9179D43CCF}"/>
                </a:ext>
              </a:extLst>
            </p:cNvPr>
            <p:cNvSpPr/>
            <p:nvPr/>
          </p:nvSpPr>
          <p:spPr>
            <a:xfrm>
              <a:off x="18239029" y="196890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155" name="Freeform: Shape 154">
              <a:extLst>
                <a:ext uri="{FF2B5EF4-FFF2-40B4-BE49-F238E27FC236}">
                  <a16:creationId xmlns:a16="http://schemas.microsoft.com/office/drawing/2014/main" id="{9B80C94C-28BF-1FBE-C6E6-88948A50E5D8}"/>
                </a:ext>
              </a:extLst>
            </p:cNvPr>
            <p:cNvSpPr/>
            <p:nvPr/>
          </p:nvSpPr>
          <p:spPr>
            <a:xfrm>
              <a:off x="17368874" y="1968909"/>
              <a:ext cx="435077" cy="435077"/>
            </a:xfrm>
            <a:custGeom>
              <a:avLst/>
              <a:gdLst>
                <a:gd name="connsiteX0" fmla="*/ 0 w 435077"/>
                <a:gd name="connsiteY0" fmla="*/ 435077 h 435077"/>
                <a:gd name="connsiteX1" fmla="*/ 217539 w 435077"/>
                <a:gd name="connsiteY1" fmla="*/ 435077 h 435077"/>
                <a:gd name="connsiteX2" fmla="*/ 217539 w 435077"/>
                <a:gd name="connsiteY2" fmla="*/ 217547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28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47 h 435077"/>
                <a:gd name="connsiteX11" fmla="*/ 435077 w 435077"/>
                <a:gd name="connsiteY11" fmla="*/ 435077 h 435077"/>
                <a:gd name="connsiteX12" fmla="*/ 435077 w 435077"/>
                <a:gd name="connsiteY12" fmla="*/ 3 h 435077"/>
                <a:gd name="connsiteX13" fmla="*/ 217539 w 435077"/>
                <a:gd name="connsiteY13" fmla="*/ 3 h 435077"/>
                <a:gd name="connsiteX14" fmla="*/ 435077 w 435077"/>
                <a:gd name="connsiteY14" fmla="*/ 217531 h 435077"/>
                <a:gd name="connsiteX15" fmla="*/ 435077 w 435077"/>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47"/>
                  </a:lnTo>
                  <a:lnTo>
                    <a:pt x="0" y="435077"/>
                  </a:lnTo>
                  <a:close/>
                  <a:moveTo>
                    <a:pt x="217539" y="0"/>
                  </a:moveTo>
                  <a:lnTo>
                    <a:pt x="0" y="0"/>
                  </a:lnTo>
                  <a:lnTo>
                    <a:pt x="217539" y="217528"/>
                  </a:lnTo>
                  <a:lnTo>
                    <a:pt x="217539" y="0"/>
                  </a:lnTo>
                  <a:close/>
                  <a:moveTo>
                    <a:pt x="435077" y="435077"/>
                  </a:moveTo>
                  <a:lnTo>
                    <a:pt x="217539" y="435077"/>
                  </a:lnTo>
                  <a:lnTo>
                    <a:pt x="435077" y="217547"/>
                  </a:lnTo>
                  <a:lnTo>
                    <a:pt x="435077" y="435077"/>
                  </a:lnTo>
                  <a:close/>
                  <a:moveTo>
                    <a:pt x="435077" y="3"/>
                  </a:moveTo>
                  <a:lnTo>
                    <a:pt x="217539" y="3"/>
                  </a:lnTo>
                  <a:lnTo>
                    <a:pt x="435077" y="217531"/>
                  </a:lnTo>
                  <a:lnTo>
                    <a:pt x="435077" y="3"/>
                  </a:lnTo>
                  <a:close/>
                </a:path>
              </a:pathLst>
            </a:custGeom>
            <a:grpFill/>
            <a:ln w="27192" cap="flat">
              <a:noFill/>
              <a:prstDash val="solid"/>
              <a:miter/>
            </a:ln>
          </p:spPr>
          <p:txBody>
            <a:bodyPr rtlCol="0" anchor="ctr"/>
            <a:lstStyle/>
            <a:p>
              <a:endParaRPr lang="uk-UA" sz="900"/>
            </a:p>
          </p:txBody>
        </p:sp>
        <p:sp>
          <p:nvSpPr>
            <p:cNvPr id="156" name="Freeform: Shape 155">
              <a:extLst>
                <a:ext uri="{FF2B5EF4-FFF2-40B4-BE49-F238E27FC236}">
                  <a16:creationId xmlns:a16="http://schemas.microsoft.com/office/drawing/2014/main" id="{E04013A0-0BB6-E958-0AA9-5AC732F37882}"/>
                </a:ext>
              </a:extLst>
            </p:cNvPr>
            <p:cNvSpPr/>
            <p:nvPr/>
          </p:nvSpPr>
          <p:spPr>
            <a:xfrm>
              <a:off x="19109210" y="1968909"/>
              <a:ext cx="435077" cy="435077"/>
            </a:xfrm>
            <a:custGeom>
              <a:avLst/>
              <a:gdLst>
                <a:gd name="connsiteX0" fmla="*/ 371339 w 435077"/>
                <a:gd name="connsiteY0" fmla="*/ 63714 h 435077"/>
                <a:gd name="connsiteX1" fmla="*/ 435077 w 435077"/>
                <a:gd name="connsiteY1" fmla="*/ 217539 h 435077"/>
                <a:gd name="connsiteX2" fmla="*/ 217701 w 435077"/>
                <a:gd name="connsiteY2" fmla="*/ 217539 h 435077"/>
                <a:gd name="connsiteX3" fmla="*/ 371365 w 435077"/>
                <a:gd name="connsiteY3" fmla="*/ 281253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3 h 435077"/>
                <a:gd name="connsiteX8" fmla="*/ 217376 w 435077"/>
                <a:gd name="connsiteY8" fmla="*/ 217539 h 435077"/>
                <a:gd name="connsiteX9" fmla="*/ 0 w 435077"/>
                <a:gd name="connsiteY9" fmla="*/ 217539 h 435077"/>
                <a:gd name="connsiteX10" fmla="*/ 63712 w 435077"/>
                <a:gd name="connsiteY10" fmla="*/ 63714 h 435077"/>
                <a:gd name="connsiteX11" fmla="*/ 217539 w 435077"/>
                <a:gd name="connsiteY11" fmla="*/ 0 h 435077"/>
                <a:gd name="connsiteX12" fmla="*/ 371339 w 435077"/>
                <a:gd name="connsiteY12" fmla="*/ 63714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14"/>
                  </a:moveTo>
                  <a:cubicBezTo>
                    <a:pt x="412154" y="104511"/>
                    <a:pt x="435077" y="159842"/>
                    <a:pt x="435077" y="217539"/>
                  </a:cubicBezTo>
                  <a:lnTo>
                    <a:pt x="217701" y="217539"/>
                  </a:lnTo>
                  <a:cubicBezTo>
                    <a:pt x="275322" y="217582"/>
                    <a:pt x="330605" y="240497"/>
                    <a:pt x="371365" y="281253"/>
                  </a:cubicBezTo>
                  <a:cubicBezTo>
                    <a:pt x="412154" y="322050"/>
                    <a:pt x="435077" y="377381"/>
                    <a:pt x="435077" y="435077"/>
                  </a:cubicBezTo>
                  <a:lnTo>
                    <a:pt x="217539" y="435077"/>
                  </a:lnTo>
                  <a:lnTo>
                    <a:pt x="0" y="435077"/>
                  </a:lnTo>
                  <a:cubicBezTo>
                    <a:pt x="0" y="377381"/>
                    <a:pt x="22924" y="322050"/>
                    <a:pt x="63712" y="281253"/>
                  </a:cubicBezTo>
                  <a:cubicBezTo>
                    <a:pt x="104472" y="240497"/>
                    <a:pt x="159728" y="217582"/>
                    <a:pt x="217376" y="217539"/>
                  </a:cubicBezTo>
                  <a:lnTo>
                    <a:pt x="0" y="217539"/>
                  </a:lnTo>
                  <a:cubicBezTo>
                    <a:pt x="0" y="159842"/>
                    <a:pt x="22895" y="104511"/>
                    <a:pt x="63712" y="63714"/>
                  </a:cubicBezTo>
                  <a:cubicBezTo>
                    <a:pt x="104501" y="22918"/>
                    <a:pt x="159836" y="0"/>
                    <a:pt x="217539" y="0"/>
                  </a:cubicBezTo>
                  <a:cubicBezTo>
                    <a:pt x="275215" y="0"/>
                    <a:pt x="330550" y="22918"/>
                    <a:pt x="371339" y="63714"/>
                  </a:cubicBezTo>
                  <a:close/>
                </a:path>
              </a:pathLst>
            </a:custGeom>
            <a:grpFill/>
            <a:ln w="27192" cap="flat">
              <a:noFill/>
              <a:prstDash val="solid"/>
              <a:miter/>
            </a:ln>
          </p:spPr>
          <p:txBody>
            <a:bodyPr rtlCol="0" anchor="ctr"/>
            <a:lstStyle/>
            <a:p>
              <a:endParaRPr lang="uk-UA" sz="900"/>
            </a:p>
          </p:txBody>
        </p:sp>
        <p:sp>
          <p:nvSpPr>
            <p:cNvPr id="157" name="Freeform: Shape 156">
              <a:extLst>
                <a:ext uri="{FF2B5EF4-FFF2-40B4-BE49-F238E27FC236}">
                  <a16:creationId xmlns:a16="http://schemas.microsoft.com/office/drawing/2014/main" id="{DEE50643-B79A-D073-E0FE-4E7B3FFB73D9}"/>
                </a:ext>
              </a:extLst>
            </p:cNvPr>
            <p:cNvSpPr/>
            <p:nvPr/>
          </p:nvSpPr>
          <p:spPr>
            <a:xfrm>
              <a:off x="19979365" y="1968909"/>
              <a:ext cx="435077" cy="435074"/>
            </a:xfrm>
            <a:custGeom>
              <a:avLst/>
              <a:gdLst>
                <a:gd name="connsiteX0" fmla="*/ 217539 w 435077"/>
                <a:gd name="connsiteY0" fmla="*/ 217533 h 435074"/>
                <a:gd name="connsiteX1" fmla="*/ 217539 w 435077"/>
                <a:gd name="connsiteY1" fmla="*/ 0 h 435074"/>
                <a:gd name="connsiteX2" fmla="*/ 0 w 435077"/>
                <a:gd name="connsiteY2" fmla="*/ 0 h 435074"/>
                <a:gd name="connsiteX3" fmla="*/ 217539 w 435077"/>
                <a:gd name="connsiteY3" fmla="*/ 217539 h 435074"/>
                <a:gd name="connsiteX4" fmla="*/ 0 w 435077"/>
                <a:gd name="connsiteY4" fmla="*/ 435075 h 435074"/>
                <a:gd name="connsiteX5" fmla="*/ 217539 w 435077"/>
                <a:gd name="connsiteY5" fmla="*/ 435075 h 435074"/>
                <a:gd name="connsiteX6" fmla="*/ 217539 w 435077"/>
                <a:gd name="connsiteY6" fmla="*/ 435072 h 435074"/>
                <a:gd name="connsiteX7" fmla="*/ 435051 w 435077"/>
                <a:gd name="connsiteY7" fmla="*/ 217541 h 435074"/>
                <a:gd name="connsiteX8" fmla="*/ 435077 w 435077"/>
                <a:gd name="connsiteY8" fmla="*/ 217541 h 435074"/>
                <a:gd name="connsiteX9" fmla="*/ 435077 w 435077"/>
                <a:gd name="connsiteY9" fmla="*/ 217536 h 435074"/>
                <a:gd name="connsiteX10" fmla="*/ 435077 w 435077"/>
                <a:gd name="connsiteY10" fmla="*/ 217533 h 435074"/>
                <a:gd name="connsiteX11" fmla="*/ 435077 w 435077"/>
                <a:gd name="connsiteY11" fmla="*/ 217533 h 435074"/>
                <a:gd name="connsiteX12" fmla="*/ 217539 w 435077"/>
                <a:gd name="connsiteY12" fmla="*/ 3 h 435074"/>
                <a:gd name="connsiteX13" fmla="*/ 217539 w 435077"/>
                <a:gd name="connsiteY13" fmla="*/ 217533 h 435074"/>
                <a:gd name="connsiteX14" fmla="*/ 217539 w 435077"/>
                <a:gd name="connsiteY14" fmla="*/ 217533 h 43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4">
                  <a:moveTo>
                    <a:pt x="217539" y="217533"/>
                  </a:moveTo>
                  <a:lnTo>
                    <a:pt x="217539" y="0"/>
                  </a:lnTo>
                  <a:lnTo>
                    <a:pt x="0" y="0"/>
                  </a:lnTo>
                  <a:lnTo>
                    <a:pt x="217539" y="217539"/>
                  </a:lnTo>
                  <a:lnTo>
                    <a:pt x="0" y="435075"/>
                  </a:lnTo>
                  <a:lnTo>
                    <a:pt x="217539" y="435075"/>
                  </a:lnTo>
                  <a:lnTo>
                    <a:pt x="217539" y="435072"/>
                  </a:lnTo>
                  <a:lnTo>
                    <a:pt x="435051" y="217541"/>
                  </a:lnTo>
                  <a:lnTo>
                    <a:pt x="435077" y="217541"/>
                  </a:lnTo>
                  <a:lnTo>
                    <a:pt x="435077" y="217536"/>
                  </a:lnTo>
                  <a:lnTo>
                    <a:pt x="435077" y="217533"/>
                  </a:lnTo>
                  <a:lnTo>
                    <a:pt x="435077" y="217533"/>
                  </a:lnTo>
                  <a:lnTo>
                    <a:pt x="217539" y="3"/>
                  </a:lnTo>
                  <a:lnTo>
                    <a:pt x="217539" y="217533"/>
                  </a:lnTo>
                  <a:lnTo>
                    <a:pt x="217539" y="217533"/>
                  </a:lnTo>
                  <a:close/>
                </a:path>
              </a:pathLst>
            </a:custGeom>
            <a:grpFill/>
            <a:ln w="27192" cap="flat">
              <a:noFill/>
              <a:prstDash val="solid"/>
              <a:miter/>
            </a:ln>
          </p:spPr>
          <p:txBody>
            <a:bodyPr rtlCol="0" anchor="ctr"/>
            <a:lstStyle/>
            <a:p>
              <a:endParaRPr lang="uk-UA" sz="900"/>
            </a:p>
          </p:txBody>
        </p:sp>
        <p:sp>
          <p:nvSpPr>
            <p:cNvPr id="158" name="Freeform: Shape 157">
              <a:extLst>
                <a:ext uri="{FF2B5EF4-FFF2-40B4-BE49-F238E27FC236}">
                  <a16:creationId xmlns:a16="http://schemas.microsoft.com/office/drawing/2014/main" id="{90A20D6E-32BB-4F33-41D0-A0DDE139B8EB}"/>
                </a:ext>
              </a:extLst>
            </p:cNvPr>
            <p:cNvSpPr/>
            <p:nvPr/>
          </p:nvSpPr>
          <p:spPr>
            <a:xfrm>
              <a:off x="21719702" y="196890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159" name="Freeform: Shape 158">
              <a:extLst>
                <a:ext uri="{FF2B5EF4-FFF2-40B4-BE49-F238E27FC236}">
                  <a16:creationId xmlns:a16="http://schemas.microsoft.com/office/drawing/2014/main" id="{1386D111-7ACE-A828-6F3F-D9624FD00E28}"/>
                </a:ext>
              </a:extLst>
            </p:cNvPr>
            <p:cNvSpPr/>
            <p:nvPr/>
          </p:nvSpPr>
          <p:spPr>
            <a:xfrm>
              <a:off x="20849520" y="1968909"/>
              <a:ext cx="435077" cy="435077"/>
            </a:xfrm>
            <a:custGeom>
              <a:avLst/>
              <a:gdLst>
                <a:gd name="connsiteX0" fmla="*/ 0 w 435077"/>
                <a:gd name="connsiteY0" fmla="*/ 435077 h 435077"/>
                <a:gd name="connsiteX1" fmla="*/ 217539 w 435077"/>
                <a:gd name="connsiteY1" fmla="*/ 435077 h 435077"/>
                <a:gd name="connsiteX2" fmla="*/ 217539 w 435077"/>
                <a:gd name="connsiteY2" fmla="*/ 217547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28 h 435077"/>
                <a:gd name="connsiteX7" fmla="*/ 217539 w 435077"/>
                <a:gd name="connsiteY7" fmla="*/ 0 h 435077"/>
                <a:gd name="connsiteX8" fmla="*/ 435077 w 435077"/>
                <a:gd name="connsiteY8" fmla="*/ 435077 h 435077"/>
                <a:gd name="connsiteX9" fmla="*/ 217565 w 435077"/>
                <a:gd name="connsiteY9" fmla="*/ 435077 h 435077"/>
                <a:gd name="connsiteX10" fmla="*/ 435077 w 435077"/>
                <a:gd name="connsiteY10" fmla="*/ 217547 h 435077"/>
                <a:gd name="connsiteX11" fmla="*/ 435077 w 435077"/>
                <a:gd name="connsiteY11" fmla="*/ 435077 h 435077"/>
                <a:gd name="connsiteX12" fmla="*/ 435077 w 435077"/>
                <a:gd name="connsiteY12" fmla="*/ 3 h 435077"/>
                <a:gd name="connsiteX13" fmla="*/ 217565 w 435077"/>
                <a:gd name="connsiteY13" fmla="*/ 3 h 435077"/>
                <a:gd name="connsiteX14" fmla="*/ 435077 w 435077"/>
                <a:gd name="connsiteY14" fmla="*/ 217531 h 435077"/>
                <a:gd name="connsiteX15" fmla="*/ 435077 w 435077"/>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47"/>
                  </a:lnTo>
                  <a:lnTo>
                    <a:pt x="0" y="435077"/>
                  </a:lnTo>
                  <a:close/>
                  <a:moveTo>
                    <a:pt x="217539" y="0"/>
                  </a:moveTo>
                  <a:lnTo>
                    <a:pt x="0" y="0"/>
                  </a:lnTo>
                  <a:lnTo>
                    <a:pt x="217539" y="217528"/>
                  </a:lnTo>
                  <a:lnTo>
                    <a:pt x="217539" y="0"/>
                  </a:lnTo>
                  <a:close/>
                  <a:moveTo>
                    <a:pt x="435077" y="435077"/>
                  </a:moveTo>
                  <a:lnTo>
                    <a:pt x="217565" y="435077"/>
                  </a:lnTo>
                  <a:lnTo>
                    <a:pt x="435077" y="217547"/>
                  </a:lnTo>
                  <a:lnTo>
                    <a:pt x="435077" y="435077"/>
                  </a:lnTo>
                  <a:close/>
                  <a:moveTo>
                    <a:pt x="435077" y="3"/>
                  </a:moveTo>
                  <a:lnTo>
                    <a:pt x="217565" y="3"/>
                  </a:lnTo>
                  <a:lnTo>
                    <a:pt x="435077" y="217531"/>
                  </a:lnTo>
                  <a:lnTo>
                    <a:pt x="435077" y="3"/>
                  </a:lnTo>
                  <a:close/>
                </a:path>
              </a:pathLst>
            </a:custGeom>
            <a:grpFill/>
            <a:ln w="27192" cap="flat">
              <a:noFill/>
              <a:prstDash val="solid"/>
              <a:miter/>
            </a:ln>
          </p:spPr>
          <p:txBody>
            <a:bodyPr rtlCol="0" anchor="ctr"/>
            <a:lstStyle/>
            <a:p>
              <a:endParaRPr lang="uk-UA" sz="900"/>
            </a:p>
          </p:txBody>
        </p:sp>
        <p:sp>
          <p:nvSpPr>
            <p:cNvPr id="160" name="Freeform: Shape 159">
              <a:extLst>
                <a:ext uri="{FF2B5EF4-FFF2-40B4-BE49-F238E27FC236}">
                  <a16:creationId xmlns:a16="http://schemas.microsoft.com/office/drawing/2014/main" id="{2B07150A-3195-031E-4C8F-AF2BBA221539}"/>
                </a:ext>
              </a:extLst>
            </p:cNvPr>
            <p:cNvSpPr/>
            <p:nvPr/>
          </p:nvSpPr>
          <p:spPr>
            <a:xfrm>
              <a:off x="22589856" y="1968909"/>
              <a:ext cx="435077" cy="435077"/>
            </a:xfrm>
            <a:custGeom>
              <a:avLst/>
              <a:gdLst>
                <a:gd name="connsiteX0" fmla="*/ 371367 w 435077"/>
                <a:gd name="connsiteY0" fmla="*/ 63714 h 435077"/>
                <a:gd name="connsiteX1" fmla="*/ 435077 w 435077"/>
                <a:gd name="connsiteY1" fmla="*/ 217539 h 435077"/>
                <a:gd name="connsiteX2" fmla="*/ 217703 w 435077"/>
                <a:gd name="connsiteY2" fmla="*/ 217539 h 435077"/>
                <a:gd name="connsiteX3" fmla="*/ 371367 w 435077"/>
                <a:gd name="connsiteY3" fmla="*/ 281253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3 h 435077"/>
                <a:gd name="connsiteX8" fmla="*/ 217376 w 435077"/>
                <a:gd name="connsiteY8" fmla="*/ 217539 h 435077"/>
                <a:gd name="connsiteX9" fmla="*/ 0 w 435077"/>
                <a:gd name="connsiteY9" fmla="*/ 217539 h 435077"/>
                <a:gd name="connsiteX10" fmla="*/ 63712 w 435077"/>
                <a:gd name="connsiteY10" fmla="*/ 63714 h 435077"/>
                <a:gd name="connsiteX11" fmla="*/ 217539 w 435077"/>
                <a:gd name="connsiteY11" fmla="*/ 0 h 435077"/>
                <a:gd name="connsiteX12" fmla="*/ 371367 w 435077"/>
                <a:gd name="connsiteY12" fmla="*/ 63714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7" y="63714"/>
                  </a:moveTo>
                  <a:cubicBezTo>
                    <a:pt x="412155" y="104511"/>
                    <a:pt x="435077" y="159842"/>
                    <a:pt x="435077" y="217539"/>
                  </a:cubicBezTo>
                  <a:lnTo>
                    <a:pt x="217703" y="217539"/>
                  </a:lnTo>
                  <a:cubicBezTo>
                    <a:pt x="275351" y="217582"/>
                    <a:pt x="330605" y="240497"/>
                    <a:pt x="371367" y="281253"/>
                  </a:cubicBezTo>
                  <a:cubicBezTo>
                    <a:pt x="412155" y="322050"/>
                    <a:pt x="435077" y="377381"/>
                    <a:pt x="435077" y="435077"/>
                  </a:cubicBezTo>
                  <a:lnTo>
                    <a:pt x="217539" y="435077"/>
                  </a:lnTo>
                  <a:lnTo>
                    <a:pt x="0" y="435077"/>
                  </a:lnTo>
                  <a:cubicBezTo>
                    <a:pt x="0" y="377381"/>
                    <a:pt x="22924" y="322050"/>
                    <a:pt x="63712" y="281253"/>
                  </a:cubicBezTo>
                  <a:cubicBezTo>
                    <a:pt x="104474" y="240497"/>
                    <a:pt x="159755" y="217582"/>
                    <a:pt x="217376" y="217539"/>
                  </a:cubicBezTo>
                  <a:lnTo>
                    <a:pt x="0" y="217539"/>
                  </a:lnTo>
                  <a:cubicBezTo>
                    <a:pt x="0" y="159842"/>
                    <a:pt x="22924" y="104511"/>
                    <a:pt x="63712" y="63714"/>
                  </a:cubicBezTo>
                  <a:cubicBezTo>
                    <a:pt x="104529" y="22918"/>
                    <a:pt x="159838" y="0"/>
                    <a:pt x="217539" y="0"/>
                  </a:cubicBezTo>
                  <a:cubicBezTo>
                    <a:pt x="275241" y="0"/>
                    <a:pt x="330578" y="22918"/>
                    <a:pt x="371367" y="63714"/>
                  </a:cubicBezTo>
                  <a:close/>
                </a:path>
              </a:pathLst>
            </a:custGeom>
            <a:grpFill/>
            <a:ln w="27192" cap="flat">
              <a:noFill/>
              <a:prstDash val="solid"/>
              <a:miter/>
            </a:ln>
          </p:spPr>
          <p:txBody>
            <a:bodyPr rtlCol="0" anchor="ctr"/>
            <a:lstStyle/>
            <a:p>
              <a:endParaRPr lang="uk-UA" sz="900"/>
            </a:p>
          </p:txBody>
        </p:sp>
        <p:sp>
          <p:nvSpPr>
            <p:cNvPr id="161" name="Freeform: Shape 160">
              <a:extLst>
                <a:ext uri="{FF2B5EF4-FFF2-40B4-BE49-F238E27FC236}">
                  <a16:creationId xmlns:a16="http://schemas.microsoft.com/office/drawing/2014/main" id="{9955B6B7-4902-D88A-11B1-C288DE41729C}"/>
                </a:ext>
              </a:extLst>
            </p:cNvPr>
            <p:cNvSpPr/>
            <p:nvPr/>
          </p:nvSpPr>
          <p:spPr>
            <a:xfrm>
              <a:off x="23460039" y="1968909"/>
              <a:ext cx="435077" cy="435074"/>
            </a:xfrm>
            <a:custGeom>
              <a:avLst/>
              <a:gdLst>
                <a:gd name="connsiteX0" fmla="*/ 217539 w 435077"/>
                <a:gd name="connsiteY0" fmla="*/ 217533 h 435074"/>
                <a:gd name="connsiteX1" fmla="*/ 217539 w 435077"/>
                <a:gd name="connsiteY1" fmla="*/ 0 h 435074"/>
                <a:gd name="connsiteX2" fmla="*/ 0 w 435077"/>
                <a:gd name="connsiteY2" fmla="*/ 0 h 435074"/>
                <a:gd name="connsiteX3" fmla="*/ 217539 w 435077"/>
                <a:gd name="connsiteY3" fmla="*/ 217539 h 435074"/>
                <a:gd name="connsiteX4" fmla="*/ 0 w 435077"/>
                <a:gd name="connsiteY4" fmla="*/ 435075 h 435074"/>
                <a:gd name="connsiteX5" fmla="*/ 217510 w 435077"/>
                <a:gd name="connsiteY5" fmla="*/ 435075 h 435074"/>
                <a:gd name="connsiteX6" fmla="*/ 217510 w 435077"/>
                <a:gd name="connsiteY6" fmla="*/ 435072 h 435074"/>
                <a:gd name="connsiteX7" fmla="*/ 435049 w 435077"/>
                <a:gd name="connsiteY7" fmla="*/ 217541 h 435074"/>
                <a:gd name="connsiteX8" fmla="*/ 435077 w 435077"/>
                <a:gd name="connsiteY8" fmla="*/ 217541 h 435074"/>
                <a:gd name="connsiteX9" fmla="*/ 435049 w 435077"/>
                <a:gd name="connsiteY9" fmla="*/ 217536 h 435074"/>
                <a:gd name="connsiteX10" fmla="*/ 435049 w 435077"/>
                <a:gd name="connsiteY10" fmla="*/ 217533 h 435074"/>
                <a:gd name="connsiteX11" fmla="*/ 435049 w 435077"/>
                <a:gd name="connsiteY11" fmla="*/ 217533 h 435074"/>
                <a:gd name="connsiteX12" fmla="*/ 217539 w 435077"/>
                <a:gd name="connsiteY12" fmla="*/ 3 h 435074"/>
                <a:gd name="connsiteX13" fmla="*/ 217539 w 435077"/>
                <a:gd name="connsiteY13" fmla="*/ 217533 h 435074"/>
                <a:gd name="connsiteX14" fmla="*/ 217539 w 435077"/>
                <a:gd name="connsiteY14" fmla="*/ 217533 h 43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4">
                  <a:moveTo>
                    <a:pt x="217539" y="217533"/>
                  </a:moveTo>
                  <a:lnTo>
                    <a:pt x="217539" y="0"/>
                  </a:lnTo>
                  <a:lnTo>
                    <a:pt x="0" y="0"/>
                  </a:lnTo>
                  <a:lnTo>
                    <a:pt x="217539" y="217539"/>
                  </a:lnTo>
                  <a:lnTo>
                    <a:pt x="0" y="435075"/>
                  </a:lnTo>
                  <a:lnTo>
                    <a:pt x="217510" y="435075"/>
                  </a:lnTo>
                  <a:lnTo>
                    <a:pt x="217510" y="435072"/>
                  </a:lnTo>
                  <a:lnTo>
                    <a:pt x="435049" y="217541"/>
                  </a:lnTo>
                  <a:lnTo>
                    <a:pt x="435077" y="217541"/>
                  </a:lnTo>
                  <a:lnTo>
                    <a:pt x="435049" y="217536"/>
                  </a:lnTo>
                  <a:lnTo>
                    <a:pt x="435049" y="217533"/>
                  </a:lnTo>
                  <a:lnTo>
                    <a:pt x="435049" y="217533"/>
                  </a:lnTo>
                  <a:lnTo>
                    <a:pt x="217539" y="3"/>
                  </a:lnTo>
                  <a:lnTo>
                    <a:pt x="217539" y="217533"/>
                  </a:lnTo>
                  <a:lnTo>
                    <a:pt x="217539" y="217533"/>
                  </a:lnTo>
                  <a:close/>
                </a:path>
              </a:pathLst>
            </a:custGeom>
            <a:grpFill/>
            <a:ln w="27192" cap="flat">
              <a:noFill/>
              <a:prstDash val="solid"/>
              <a:miter/>
            </a:ln>
          </p:spPr>
          <p:txBody>
            <a:bodyPr rtlCol="0" anchor="ctr"/>
            <a:lstStyle/>
            <a:p>
              <a:endParaRPr lang="uk-UA" sz="900"/>
            </a:p>
          </p:txBody>
        </p:sp>
        <p:sp>
          <p:nvSpPr>
            <p:cNvPr id="162" name="Freeform: Shape 161">
              <a:extLst>
                <a:ext uri="{FF2B5EF4-FFF2-40B4-BE49-F238E27FC236}">
                  <a16:creationId xmlns:a16="http://schemas.microsoft.com/office/drawing/2014/main" id="{7E7D8440-2F0C-A140-E46A-B6EE7AF3F8CB}"/>
                </a:ext>
              </a:extLst>
            </p:cNvPr>
            <p:cNvSpPr/>
            <p:nvPr/>
          </p:nvSpPr>
          <p:spPr>
            <a:xfrm>
              <a:off x="24330194" y="1968909"/>
              <a:ext cx="435077" cy="435077"/>
            </a:xfrm>
            <a:custGeom>
              <a:avLst/>
              <a:gdLst>
                <a:gd name="connsiteX0" fmla="*/ 0 w 435077"/>
                <a:gd name="connsiteY0" fmla="*/ 435077 h 435077"/>
                <a:gd name="connsiteX1" fmla="*/ 217539 w 435077"/>
                <a:gd name="connsiteY1" fmla="*/ 435077 h 435077"/>
                <a:gd name="connsiteX2" fmla="*/ 217539 w 435077"/>
                <a:gd name="connsiteY2" fmla="*/ 217547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28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47 h 435077"/>
                <a:gd name="connsiteX11" fmla="*/ 435077 w 435077"/>
                <a:gd name="connsiteY11" fmla="*/ 435077 h 435077"/>
                <a:gd name="connsiteX12" fmla="*/ 435077 w 435077"/>
                <a:gd name="connsiteY12" fmla="*/ 3 h 435077"/>
                <a:gd name="connsiteX13" fmla="*/ 217539 w 435077"/>
                <a:gd name="connsiteY13" fmla="*/ 3 h 435077"/>
                <a:gd name="connsiteX14" fmla="*/ 435077 w 435077"/>
                <a:gd name="connsiteY14" fmla="*/ 217531 h 435077"/>
                <a:gd name="connsiteX15" fmla="*/ 435077 w 435077"/>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47"/>
                  </a:lnTo>
                  <a:lnTo>
                    <a:pt x="0" y="435077"/>
                  </a:lnTo>
                  <a:close/>
                  <a:moveTo>
                    <a:pt x="217539" y="0"/>
                  </a:moveTo>
                  <a:lnTo>
                    <a:pt x="0" y="0"/>
                  </a:lnTo>
                  <a:lnTo>
                    <a:pt x="217539" y="217528"/>
                  </a:lnTo>
                  <a:lnTo>
                    <a:pt x="217539" y="0"/>
                  </a:lnTo>
                  <a:close/>
                  <a:moveTo>
                    <a:pt x="435077" y="435077"/>
                  </a:moveTo>
                  <a:lnTo>
                    <a:pt x="217539" y="435077"/>
                  </a:lnTo>
                  <a:lnTo>
                    <a:pt x="435077" y="217547"/>
                  </a:lnTo>
                  <a:lnTo>
                    <a:pt x="435077" y="435077"/>
                  </a:lnTo>
                  <a:close/>
                  <a:moveTo>
                    <a:pt x="435077" y="3"/>
                  </a:moveTo>
                  <a:lnTo>
                    <a:pt x="217539" y="3"/>
                  </a:lnTo>
                  <a:lnTo>
                    <a:pt x="435077" y="217531"/>
                  </a:lnTo>
                  <a:lnTo>
                    <a:pt x="435077" y="3"/>
                  </a:lnTo>
                  <a:close/>
                </a:path>
              </a:pathLst>
            </a:custGeom>
            <a:grpFill/>
            <a:ln w="27192" cap="flat">
              <a:noFill/>
              <a:prstDash val="solid"/>
              <a:miter/>
            </a:ln>
          </p:spPr>
          <p:txBody>
            <a:bodyPr rtlCol="0" anchor="ctr"/>
            <a:lstStyle/>
            <a:p>
              <a:endParaRPr lang="uk-UA" sz="900"/>
            </a:p>
          </p:txBody>
        </p:sp>
        <p:sp>
          <p:nvSpPr>
            <p:cNvPr id="163" name="Freeform: Shape 162">
              <a:extLst>
                <a:ext uri="{FF2B5EF4-FFF2-40B4-BE49-F238E27FC236}">
                  <a16:creationId xmlns:a16="http://schemas.microsoft.com/office/drawing/2014/main" id="{164BEFD1-850B-7383-8D6E-9CBAB7CC1879}"/>
                </a:ext>
              </a:extLst>
            </p:cNvPr>
            <p:cNvSpPr/>
            <p:nvPr/>
          </p:nvSpPr>
          <p:spPr>
            <a:xfrm>
              <a:off x="835769" y="2839064"/>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3 h 435077"/>
                <a:gd name="connsiteX6" fmla="*/ 217511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3"/>
                  </a:lnTo>
                  <a:lnTo>
                    <a:pt x="217511" y="217539"/>
                  </a:lnTo>
                  <a:lnTo>
                    <a:pt x="0" y="435077"/>
                  </a:lnTo>
                  <a:close/>
                </a:path>
              </a:pathLst>
            </a:custGeom>
            <a:grpFill/>
            <a:ln w="27192" cap="flat">
              <a:noFill/>
              <a:prstDash val="solid"/>
              <a:miter/>
            </a:ln>
          </p:spPr>
          <p:txBody>
            <a:bodyPr rtlCol="0" anchor="ctr"/>
            <a:lstStyle/>
            <a:p>
              <a:endParaRPr lang="uk-UA" sz="900"/>
            </a:p>
          </p:txBody>
        </p:sp>
        <p:sp>
          <p:nvSpPr>
            <p:cNvPr id="164" name="Freeform: Shape 163">
              <a:extLst>
                <a:ext uri="{FF2B5EF4-FFF2-40B4-BE49-F238E27FC236}">
                  <a16:creationId xmlns:a16="http://schemas.microsoft.com/office/drawing/2014/main" id="{E5E5466E-3DC4-8951-7A3D-A73447D63C78}"/>
                </a:ext>
              </a:extLst>
            </p:cNvPr>
            <p:cNvSpPr/>
            <p:nvPr/>
          </p:nvSpPr>
          <p:spPr>
            <a:xfrm>
              <a:off x="-34398" y="2839064"/>
              <a:ext cx="435090" cy="435077"/>
            </a:xfrm>
            <a:custGeom>
              <a:avLst/>
              <a:gdLst>
                <a:gd name="connsiteX0" fmla="*/ 0 w 435090"/>
                <a:gd name="connsiteY0" fmla="*/ 435077 h 435077"/>
                <a:gd name="connsiteX1" fmla="*/ 0 w 435090"/>
                <a:gd name="connsiteY1" fmla="*/ 0 h 435077"/>
                <a:gd name="connsiteX2" fmla="*/ 217525 w 435090"/>
                <a:gd name="connsiteY2" fmla="*/ 217539 h 435077"/>
                <a:gd name="connsiteX3" fmla="*/ 0 w 435090"/>
                <a:gd name="connsiteY3" fmla="*/ 435077 h 435077"/>
                <a:gd name="connsiteX4" fmla="*/ 217552 w 435090"/>
                <a:gd name="connsiteY4" fmla="*/ 435077 h 435077"/>
                <a:gd name="connsiteX5" fmla="*/ 217552 w 435090"/>
                <a:gd name="connsiteY5" fmla="*/ 0 h 435077"/>
                <a:gd name="connsiteX6" fmla="*/ 435091 w 435090"/>
                <a:gd name="connsiteY6" fmla="*/ 217539 h 435077"/>
                <a:gd name="connsiteX7" fmla="*/ 217552 w 435090"/>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90" h="435077">
                  <a:moveTo>
                    <a:pt x="0" y="435077"/>
                  </a:moveTo>
                  <a:lnTo>
                    <a:pt x="0" y="0"/>
                  </a:lnTo>
                  <a:lnTo>
                    <a:pt x="217525" y="217539"/>
                  </a:lnTo>
                  <a:lnTo>
                    <a:pt x="0" y="435077"/>
                  </a:lnTo>
                  <a:close/>
                  <a:moveTo>
                    <a:pt x="217552" y="435077"/>
                  </a:moveTo>
                  <a:lnTo>
                    <a:pt x="217552" y="0"/>
                  </a:lnTo>
                  <a:lnTo>
                    <a:pt x="435091" y="217539"/>
                  </a:lnTo>
                  <a:lnTo>
                    <a:pt x="217552" y="435077"/>
                  </a:lnTo>
                  <a:close/>
                </a:path>
              </a:pathLst>
            </a:custGeom>
            <a:grpFill/>
            <a:ln w="27192" cap="flat">
              <a:noFill/>
              <a:prstDash val="solid"/>
              <a:miter/>
            </a:ln>
          </p:spPr>
          <p:txBody>
            <a:bodyPr rtlCol="0" anchor="ctr"/>
            <a:lstStyle/>
            <a:p>
              <a:endParaRPr lang="uk-UA" sz="900"/>
            </a:p>
          </p:txBody>
        </p:sp>
        <p:sp>
          <p:nvSpPr>
            <p:cNvPr id="165" name="Freeform: Shape 164">
              <a:extLst>
                <a:ext uri="{FF2B5EF4-FFF2-40B4-BE49-F238E27FC236}">
                  <a16:creationId xmlns:a16="http://schemas.microsoft.com/office/drawing/2014/main" id="{98A9EBFB-3DA8-177A-9565-AD25CC986986}"/>
                </a:ext>
              </a:extLst>
            </p:cNvPr>
            <p:cNvSpPr/>
            <p:nvPr/>
          </p:nvSpPr>
          <p:spPr>
            <a:xfrm>
              <a:off x="1705924" y="2839064"/>
              <a:ext cx="435077" cy="435077"/>
            </a:xfrm>
            <a:custGeom>
              <a:avLst/>
              <a:gdLst>
                <a:gd name="connsiteX0" fmla="*/ 63711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1 w 435077"/>
                <a:gd name="connsiteY6" fmla="*/ 153827 h 435077"/>
                <a:gd name="connsiteX7" fmla="*/ 63711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1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1" y="153827"/>
                  </a:moveTo>
                  <a:cubicBezTo>
                    <a:pt x="22923" y="113038"/>
                    <a:pt x="0" y="57694"/>
                    <a:pt x="0" y="0"/>
                  </a:cubicBezTo>
                  <a:lnTo>
                    <a:pt x="217539" y="0"/>
                  </a:lnTo>
                  <a:lnTo>
                    <a:pt x="435077" y="0"/>
                  </a:lnTo>
                  <a:cubicBezTo>
                    <a:pt x="435077" y="57694"/>
                    <a:pt x="412154" y="113038"/>
                    <a:pt x="371366" y="153827"/>
                  </a:cubicBezTo>
                  <a:cubicBezTo>
                    <a:pt x="330577" y="194616"/>
                    <a:pt x="275241" y="217539"/>
                    <a:pt x="217539" y="217539"/>
                  </a:cubicBezTo>
                  <a:cubicBezTo>
                    <a:pt x="159836" y="217539"/>
                    <a:pt x="104527" y="194616"/>
                    <a:pt x="63711" y="153827"/>
                  </a:cubicBezTo>
                  <a:close/>
                  <a:moveTo>
                    <a:pt x="63711" y="281250"/>
                  </a:moveTo>
                  <a:cubicBezTo>
                    <a:pt x="22923" y="322039"/>
                    <a:pt x="0" y="377375"/>
                    <a:pt x="0" y="435077"/>
                  </a:cubicBezTo>
                  <a:lnTo>
                    <a:pt x="217539" y="435077"/>
                  </a:lnTo>
                  <a:lnTo>
                    <a:pt x="435077" y="435077"/>
                  </a:lnTo>
                  <a:cubicBezTo>
                    <a:pt x="435077" y="377375"/>
                    <a:pt x="412154" y="322039"/>
                    <a:pt x="371366" y="281250"/>
                  </a:cubicBezTo>
                  <a:cubicBezTo>
                    <a:pt x="330577" y="240462"/>
                    <a:pt x="275241" y="217539"/>
                    <a:pt x="217539" y="217539"/>
                  </a:cubicBezTo>
                  <a:cubicBezTo>
                    <a:pt x="159836" y="217539"/>
                    <a:pt x="104527" y="240462"/>
                    <a:pt x="63711" y="281250"/>
                  </a:cubicBezTo>
                  <a:close/>
                </a:path>
              </a:pathLst>
            </a:custGeom>
            <a:grpFill/>
            <a:ln w="27192" cap="flat">
              <a:noFill/>
              <a:prstDash val="solid"/>
              <a:miter/>
            </a:ln>
          </p:spPr>
          <p:txBody>
            <a:bodyPr rtlCol="0" anchor="ctr"/>
            <a:lstStyle/>
            <a:p>
              <a:endParaRPr lang="uk-UA" sz="900"/>
            </a:p>
          </p:txBody>
        </p:sp>
        <p:sp>
          <p:nvSpPr>
            <p:cNvPr id="166" name="Freeform: Shape 165">
              <a:extLst>
                <a:ext uri="{FF2B5EF4-FFF2-40B4-BE49-F238E27FC236}">
                  <a16:creationId xmlns:a16="http://schemas.microsoft.com/office/drawing/2014/main" id="{5F4491E5-1F50-37AC-1282-D2CA6F5684AD}"/>
                </a:ext>
              </a:extLst>
            </p:cNvPr>
            <p:cNvSpPr/>
            <p:nvPr/>
          </p:nvSpPr>
          <p:spPr>
            <a:xfrm>
              <a:off x="2576106" y="2839064"/>
              <a:ext cx="435077" cy="435077"/>
            </a:xfrm>
            <a:custGeom>
              <a:avLst/>
              <a:gdLst>
                <a:gd name="connsiteX0" fmla="*/ 435077 w 435077"/>
                <a:gd name="connsiteY0" fmla="*/ 435077 h 435077"/>
                <a:gd name="connsiteX1" fmla="*/ 435077 w 435077"/>
                <a:gd name="connsiteY1" fmla="*/ 217539 h 435077"/>
                <a:gd name="connsiteX2" fmla="*/ 435077 w 435077"/>
                <a:gd name="connsiteY2" fmla="*/ 14 h 435077"/>
                <a:gd name="connsiteX3" fmla="*/ 217539 w 435077"/>
                <a:gd name="connsiteY3" fmla="*/ 14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14"/>
                  </a:lnTo>
                  <a:lnTo>
                    <a:pt x="217539" y="14"/>
                  </a:lnTo>
                  <a:lnTo>
                    <a:pt x="435077" y="217539"/>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167" name="Freeform: Shape 166">
              <a:extLst>
                <a:ext uri="{FF2B5EF4-FFF2-40B4-BE49-F238E27FC236}">
                  <a16:creationId xmlns:a16="http://schemas.microsoft.com/office/drawing/2014/main" id="{844279E7-246B-A22D-29FD-CDBE3BFACA16}"/>
                </a:ext>
              </a:extLst>
            </p:cNvPr>
            <p:cNvSpPr/>
            <p:nvPr/>
          </p:nvSpPr>
          <p:spPr>
            <a:xfrm>
              <a:off x="4316442" y="2839064"/>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3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3"/>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168" name="Freeform: Shape 167">
              <a:extLst>
                <a:ext uri="{FF2B5EF4-FFF2-40B4-BE49-F238E27FC236}">
                  <a16:creationId xmlns:a16="http://schemas.microsoft.com/office/drawing/2014/main" id="{7CFFB147-9FA0-63D1-A8BD-139831365A71}"/>
                </a:ext>
              </a:extLst>
            </p:cNvPr>
            <p:cNvSpPr/>
            <p:nvPr/>
          </p:nvSpPr>
          <p:spPr>
            <a:xfrm>
              <a:off x="3446261" y="2839064"/>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169" name="Freeform: Shape 168">
              <a:extLst>
                <a:ext uri="{FF2B5EF4-FFF2-40B4-BE49-F238E27FC236}">
                  <a16:creationId xmlns:a16="http://schemas.microsoft.com/office/drawing/2014/main" id="{CE11246C-5DA6-2DC0-E105-269DE633A852}"/>
                </a:ext>
              </a:extLst>
            </p:cNvPr>
            <p:cNvSpPr/>
            <p:nvPr/>
          </p:nvSpPr>
          <p:spPr>
            <a:xfrm>
              <a:off x="5186597" y="283906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8"/>
                    <a:pt x="0" y="57694"/>
                    <a:pt x="0" y="0"/>
                  </a:cubicBezTo>
                  <a:lnTo>
                    <a:pt x="217539" y="0"/>
                  </a:lnTo>
                  <a:lnTo>
                    <a:pt x="435077" y="0"/>
                  </a:lnTo>
                  <a:cubicBezTo>
                    <a:pt x="435077" y="57694"/>
                    <a:pt x="412155" y="113038"/>
                    <a:pt x="371366" y="153827"/>
                  </a:cubicBezTo>
                  <a:cubicBezTo>
                    <a:pt x="330550" y="194616"/>
                    <a:pt x="275241" y="217539"/>
                    <a:pt x="217539" y="217539"/>
                  </a:cubicBezTo>
                  <a:cubicBezTo>
                    <a:pt x="159837" y="217539"/>
                    <a:pt x="104501" y="194616"/>
                    <a:pt x="63712" y="153827"/>
                  </a:cubicBezTo>
                  <a:close/>
                  <a:moveTo>
                    <a:pt x="63712" y="281250"/>
                  </a:moveTo>
                  <a:cubicBezTo>
                    <a:pt x="22924" y="322039"/>
                    <a:pt x="0" y="377375"/>
                    <a:pt x="0" y="435077"/>
                  </a:cubicBezTo>
                  <a:lnTo>
                    <a:pt x="217539" y="435077"/>
                  </a:lnTo>
                  <a:lnTo>
                    <a:pt x="435077" y="435077"/>
                  </a:lnTo>
                  <a:cubicBezTo>
                    <a:pt x="435077" y="377375"/>
                    <a:pt x="412155" y="322039"/>
                    <a:pt x="371366" y="281250"/>
                  </a:cubicBezTo>
                  <a:cubicBezTo>
                    <a:pt x="330550" y="240462"/>
                    <a:pt x="275241" y="217539"/>
                    <a:pt x="217539" y="217539"/>
                  </a:cubicBezTo>
                  <a:cubicBezTo>
                    <a:pt x="159837" y="217539"/>
                    <a:pt x="104501" y="240462"/>
                    <a:pt x="63712" y="281250"/>
                  </a:cubicBezTo>
                  <a:close/>
                </a:path>
              </a:pathLst>
            </a:custGeom>
            <a:grpFill/>
            <a:ln w="27192" cap="flat">
              <a:noFill/>
              <a:prstDash val="solid"/>
              <a:miter/>
            </a:ln>
          </p:spPr>
          <p:txBody>
            <a:bodyPr rtlCol="0" anchor="ctr"/>
            <a:lstStyle/>
            <a:p>
              <a:endParaRPr lang="uk-UA" sz="900"/>
            </a:p>
          </p:txBody>
        </p:sp>
        <p:sp>
          <p:nvSpPr>
            <p:cNvPr id="170" name="Freeform: Shape 169">
              <a:extLst>
                <a:ext uri="{FF2B5EF4-FFF2-40B4-BE49-F238E27FC236}">
                  <a16:creationId xmlns:a16="http://schemas.microsoft.com/office/drawing/2014/main" id="{1675C62F-A306-0C6A-7930-F596822F4B83}"/>
                </a:ext>
              </a:extLst>
            </p:cNvPr>
            <p:cNvSpPr/>
            <p:nvPr/>
          </p:nvSpPr>
          <p:spPr>
            <a:xfrm>
              <a:off x="6056752" y="2839064"/>
              <a:ext cx="435077" cy="435077"/>
            </a:xfrm>
            <a:custGeom>
              <a:avLst/>
              <a:gdLst>
                <a:gd name="connsiteX0" fmla="*/ 435077 w 435077"/>
                <a:gd name="connsiteY0" fmla="*/ 435077 h 435077"/>
                <a:gd name="connsiteX1" fmla="*/ 435077 w 435077"/>
                <a:gd name="connsiteY1" fmla="*/ 217539 h 435077"/>
                <a:gd name="connsiteX2" fmla="*/ 435077 w 435077"/>
                <a:gd name="connsiteY2" fmla="*/ 14 h 435077"/>
                <a:gd name="connsiteX3" fmla="*/ 217539 w 435077"/>
                <a:gd name="connsiteY3" fmla="*/ 14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14"/>
                  </a:lnTo>
                  <a:lnTo>
                    <a:pt x="217539" y="14"/>
                  </a:lnTo>
                  <a:lnTo>
                    <a:pt x="435077" y="217539"/>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171" name="Freeform: Shape 170">
              <a:extLst>
                <a:ext uri="{FF2B5EF4-FFF2-40B4-BE49-F238E27FC236}">
                  <a16:creationId xmlns:a16="http://schemas.microsoft.com/office/drawing/2014/main" id="{3BD7164A-3B07-388B-1D5D-B2B89AB39E94}"/>
                </a:ext>
              </a:extLst>
            </p:cNvPr>
            <p:cNvSpPr/>
            <p:nvPr/>
          </p:nvSpPr>
          <p:spPr>
            <a:xfrm>
              <a:off x="7797089" y="2839064"/>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3 h 435077"/>
                <a:gd name="connsiteX6" fmla="*/ 217511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3"/>
                  </a:lnTo>
                  <a:lnTo>
                    <a:pt x="217511" y="217539"/>
                  </a:lnTo>
                  <a:lnTo>
                    <a:pt x="0" y="435077"/>
                  </a:lnTo>
                  <a:close/>
                </a:path>
              </a:pathLst>
            </a:custGeom>
            <a:grpFill/>
            <a:ln w="27192" cap="flat">
              <a:noFill/>
              <a:prstDash val="solid"/>
              <a:miter/>
            </a:ln>
          </p:spPr>
          <p:txBody>
            <a:bodyPr rtlCol="0" anchor="ctr"/>
            <a:lstStyle/>
            <a:p>
              <a:endParaRPr lang="uk-UA" sz="900"/>
            </a:p>
          </p:txBody>
        </p:sp>
        <p:sp>
          <p:nvSpPr>
            <p:cNvPr id="172" name="Freeform: Shape 171">
              <a:extLst>
                <a:ext uri="{FF2B5EF4-FFF2-40B4-BE49-F238E27FC236}">
                  <a16:creationId xmlns:a16="http://schemas.microsoft.com/office/drawing/2014/main" id="{8AA12BD7-F653-74F2-5C9C-92897869338D}"/>
                </a:ext>
              </a:extLst>
            </p:cNvPr>
            <p:cNvSpPr/>
            <p:nvPr/>
          </p:nvSpPr>
          <p:spPr>
            <a:xfrm>
              <a:off x="6926907" y="2839064"/>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173" name="Freeform: Shape 172">
              <a:extLst>
                <a:ext uri="{FF2B5EF4-FFF2-40B4-BE49-F238E27FC236}">
                  <a16:creationId xmlns:a16="http://schemas.microsoft.com/office/drawing/2014/main" id="{79209284-3C42-72CB-9074-181A86C10227}"/>
                </a:ext>
              </a:extLst>
            </p:cNvPr>
            <p:cNvSpPr/>
            <p:nvPr/>
          </p:nvSpPr>
          <p:spPr>
            <a:xfrm>
              <a:off x="8667217" y="2839064"/>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39 w 435077"/>
                <a:gd name="connsiteY6" fmla="*/ 153827 h 435077"/>
                <a:gd name="connsiteX7" fmla="*/ 63739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39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4" y="113038"/>
                    <a:pt x="0" y="57694"/>
                    <a:pt x="0" y="0"/>
                  </a:cubicBezTo>
                  <a:lnTo>
                    <a:pt x="217539" y="0"/>
                  </a:lnTo>
                  <a:lnTo>
                    <a:pt x="435077" y="0"/>
                  </a:lnTo>
                  <a:cubicBezTo>
                    <a:pt x="435077" y="57694"/>
                    <a:pt x="412182" y="113038"/>
                    <a:pt x="371366" y="153827"/>
                  </a:cubicBezTo>
                  <a:cubicBezTo>
                    <a:pt x="330578" y="194616"/>
                    <a:pt x="275241" y="217539"/>
                    <a:pt x="217539" y="217539"/>
                  </a:cubicBezTo>
                  <a:cubicBezTo>
                    <a:pt x="159864" y="217539"/>
                    <a:pt x="104527" y="194616"/>
                    <a:pt x="63739" y="153827"/>
                  </a:cubicBezTo>
                  <a:close/>
                  <a:moveTo>
                    <a:pt x="63739" y="281250"/>
                  </a:moveTo>
                  <a:cubicBezTo>
                    <a:pt x="22924" y="322039"/>
                    <a:pt x="0" y="377375"/>
                    <a:pt x="0" y="435077"/>
                  </a:cubicBezTo>
                  <a:lnTo>
                    <a:pt x="217539" y="435077"/>
                  </a:lnTo>
                  <a:lnTo>
                    <a:pt x="435077" y="435077"/>
                  </a:lnTo>
                  <a:cubicBezTo>
                    <a:pt x="435077" y="377375"/>
                    <a:pt x="412182" y="322039"/>
                    <a:pt x="371366" y="281250"/>
                  </a:cubicBezTo>
                  <a:cubicBezTo>
                    <a:pt x="330578" y="240462"/>
                    <a:pt x="275241" y="217539"/>
                    <a:pt x="217539" y="217539"/>
                  </a:cubicBezTo>
                  <a:cubicBezTo>
                    <a:pt x="159864" y="217539"/>
                    <a:pt x="104527" y="240462"/>
                    <a:pt x="63739" y="281250"/>
                  </a:cubicBezTo>
                  <a:close/>
                </a:path>
              </a:pathLst>
            </a:custGeom>
            <a:grpFill/>
            <a:ln w="27192" cap="flat">
              <a:noFill/>
              <a:prstDash val="solid"/>
              <a:miter/>
            </a:ln>
          </p:spPr>
          <p:txBody>
            <a:bodyPr rtlCol="0" anchor="ctr"/>
            <a:lstStyle/>
            <a:p>
              <a:endParaRPr lang="uk-UA" sz="900"/>
            </a:p>
          </p:txBody>
        </p:sp>
        <p:sp>
          <p:nvSpPr>
            <p:cNvPr id="174" name="Freeform: Shape 173">
              <a:extLst>
                <a:ext uri="{FF2B5EF4-FFF2-40B4-BE49-F238E27FC236}">
                  <a16:creationId xmlns:a16="http://schemas.microsoft.com/office/drawing/2014/main" id="{F41738AC-2ED1-3A60-5F32-4340E7407DB2}"/>
                </a:ext>
              </a:extLst>
            </p:cNvPr>
            <p:cNvSpPr/>
            <p:nvPr/>
          </p:nvSpPr>
          <p:spPr>
            <a:xfrm>
              <a:off x="9537399" y="2839064"/>
              <a:ext cx="435077" cy="435077"/>
            </a:xfrm>
            <a:custGeom>
              <a:avLst/>
              <a:gdLst>
                <a:gd name="connsiteX0" fmla="*/ 435077 w 435077"/>
                <a:gd name="connsiteY0" fmla="*/ 435077 h 435077"/>
                <a:gd name="connsiteX1" fmla="*/ 435077 w 435077"/>
                <a:gd name="connsiteY1" fmla="*/ 217539 h 435077"/>
                <a:gd name="connsiteX2" fmla="*/ 435077 w 435077"/>
                <a:gd name="connsiteY2" fmla="*/ 14 h 435077"/>
                <a:gd name="connsiteX3" fmla="*/ 217539 w 435077"/>
                <a:gd name="connsiteY3" fmla="*/ 14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1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1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14"/>
                  </a:lnTo>
                  <a:lnTo>
                    <a:pt x="217539" y="14"/>
                  </a:lnTo>
                  <a:lnTo>
                    <a:pt x="435077" y="217539"/>
                  </a:lnTo>
                  <a:lnTo>
                    <a:pt x="217539" y="435077"/>
                  </a:lnTo>
                  <a:lnTo>
                    <a:pt x="435077" y="435077"/>
                  </a:lnTo>
                  <a:close/>
                  <a:moveTo>
                    <a:pt x="0" y="217539"/>
                  </a:moveTo>
                  <a:lnTo>
                    <a:pt x="0" y="0"/>
                  </a:lnTo>
                  <a:lnTo>
                    <a:pt x="217511" y="217539"/>
                  </a:lnTo>
                  <a:lnTo>
                    <a:pt x="0" y="217539"/>
                  </a:lnTo>
                  <a:close/>
                  <a:moveTo>
                    <a:pt x="0" y="435077"/>
                  </a:moveTo>
                  <a:lnTo>
                    <a:pt x="0" y="217539"/>
                  </a:lnTo>
                  <a:lnTo>
                    <a:pt x="217511" y="217539"/>
                  </a:lnTo>
                  <a:lnTo>
                    <a:pt x="0" y="435077"/>
                  </a:lnTo>
                  <a:close/>
                </a:path>
              </a:pathLst>
            </a:custGeom>
            <a:grpFill/>
            <a:ln w="27192" cap="flat">
              <a:noFill/>
              <a:prstDash val="solid"/>
              <a:miter/>
            </a:ln>
          </p:spPr>
          <p:txBody>
            <a:bodyPr rtlCol="0" anchor="ctr"/>
            <a:lstStyle/>
            <a:p>
              <a:endParaRPr lang="uk-UA" sz="900"/>
            </a:p>
          </p:txBody>
        </p:sp>
        <p:sp>
          <p:nvSpPr>
            <p:cNvPr id="175" name="Freeform: Shape 174">
              <a:extLst>
                <a:ext uri="{FF2B5EF4-FFF2-40B4-BE49-F238E27FC236}">
                  <a16:creationId xmlns:a16="http://schemas.microsoft.com/office/drawing/2014/main" id="{6FC21675-6E75-B40A-F0D5-882EA3857DF0}"/>
                </a:ext>
              </a:extLst>
            </p:cNvPr>
            <p:cNvSpPr/>
            <p:nvPr/>
          </p:nvSpPr>
          <p:spPr>
            <a:xfrm>
              <a:off x="11277709" y="2839064"/>
              <a:ext cx="435077" cy="435077"/>
            </a:xfrm>
            <a:custGeom>
              <a:avLst/>
              <a:gdLst>
                <a:gd name="connsiteX0" fmla="*/ 435077 w 435077"/>
                <a:gd name="connsiteY0" fmla="*/ 435077 h 435077"/>
                <a:gd name="connsiteX1" fmla="*/ 435077 w 435077"/>
                <a:gd name="connsiteY1" fmla="*/ 0 h 435077"/>
                <a:gd name="connsiteX2" fmla="*/ 217565 w 435077"/>
                <a:gd name="connsiteY2" fmla="*/ 217539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39"/>
                  </a:lnTo>
                  <a:lnTo>
                    <a:pt x="435077" y="435077"/>
                  </a:lnTo>
                  <a:close/>
                  <a:moveTo>
                    <a:pt x="0" y="435077"/>
                  </a:moveTo>
                  <a:lnTo>
                    <a:pt x="0" y="3"/>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176" name="Freeform: Shape 175">
              <a:extLst>
                <a:ext uri="{FF2B5EF4-FFF2-40B4-BE49-F238E27FC236}">
                  <a16:creationId xmlns:a16="http://schemas.microsoft.com/office/drawing/2014/main" id="{6F8CB533-5AC8-989C-340C-5CCB95BD8F4A}"/>
                </a:ext>
              </a:extLst>
            </p:cNvPr>
            <p:cNvSpPr/>
            <p:nvPr/>
          </p:nvSpPr>
          <p:spPr>
            <a:xfrm>
              <a:off x="10407554" y="2839064"/>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177" name="Freeform: Shape 176">
              <a:extLst>
                <a:ext uri="{FF2B5EF4-FFF2-40B4-BE49-F238E27FC236}">
                  <a16:creationId xmlns:a16="http://schemas.microsoft.com/office/drawing/2014/main" id="{3A722EF0-0057-D77B-5A4F-228CD87D8539}"/>
                </a:ext>
              </a:extLst>
            </p:cNvPr>
            <p:cNvSpPr/>
            <p:nvPr/>
          </p:nvSpPr>
          <p:spPr>
            <a:xfrm>
              <a:off x="12147864" y="2839064"/>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39 w 435077"/>
                <a:gd name="connsiteY6" fmla="*/ 153827 h 435077"/>
                <a:gd name="connsiteX7" fmla="*/ 63739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0 h 435077"/>
                <a:gd name="connsiteX12" fmla="*/ 217539 w 435077"/>
                <a:gd name="connsiteY12" fmla="*/ 217539 h 435077"/>
                <a:gd name="connsiteX13" fmla="*/ 63739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2" y="113038"/>
                    <a:pt x="0" y="57694"/>
                    <a:pt x="0" y="0"/>
                  </a:cubicBezTo>
                  <a:lnTo>
                    <a:pt x="217539" y="0"/>
                  </a:lnTo>
                  <a:lnTo>
                    <a:pt x="435077" y="0"/>
                  </a:lnTo>
                  <a:cubicBezTo>
                    <a:pt x="435077" y="57694"/>
                    <a:pt x="412180" y="113038"/>
                    <a:pt x="371365" y="153827"/>
                  </a:cubicBezTo>
                  <a:cubicBezTo>
                    <a:pt x="330577" y="194616"/>
                    <a:pt x="275239" y="217539"/>
                    <a:pt x="217539" y="217539"/>
                  </a:cubicBezTo>
                  <a:cubicBezTo>
                    <a:pt x="159863" y="217539"/>
                    <a:pt x="104527" y="194616"/>
                    <a:pt x="63739" y="153827"/>
                  </a:cubicBezTo>
                  <a:close/>
                  <a:moveTo>
                    <a:pt x="63739" y="281250"/>
                  </a:moveTo>
                  <a:cubicBezTo>
                    <a:pt x="22922" y="322039"/>
                    <a:pt x="0" y="377375"/>
                    <a:pt x="0" y="435077"/>
                  </a:cubicBezTo>
                  <a:lnTo>
                    <a:pt x="217539" y="435077"/>
                  </a:lnTo>
                  <a:lnTo>
                    <a:pt x="435077" y="435077"/>
                  </a:lnTo>
                  <a:cubicBezTo>
                    <a:pt x="435077" y="377375"/>
                    <a:pt x="412180" y="322039"/>
                    <a:pt x="371365" y="281250"/>
                  </a:cubicBezTo>
                  <a:cubicBezTo>
                    <a:pt x="330577" y="240462"/>
                    <a:pt x="275239" y="217539"/>
                    <a:pt x="217539" y="217539"/>
                  </a:cubicBezTo>
                  <a:cubicBezTo>
                    <a:pt x="159863" y="217539"/>
                    <a:pt x="104527" y="240462"/>
                    <a:pt x="63739" y="281250"/>
                  </a:cubicBezTo>
                  <a:close/>
                </a:path>
              </a:pathLst>
            </a:custGeom>
            <a:grpFill/>
            <a:ln w="27192" cap="flat">
              <a:noFill/>
              <a:prstDash val="solid"/>
              <a:miter/>
            </a:ln>
          </p:spPr>
          <p:txBody>
            <a:bodyPr rtlCol="0" anchor="ctr"/>
            <a:lstStyle/>
            <a:p>
              <a:endParaRPr lang="uk-UA" sz="900"/>
            </a:p>
          </p:txBody>
        </p:sp>
        <p:sp>
          <p:nvSpPr>
            <p:cNvPr id="178" name="Freeform: Shape 177">
              <a:extLst>
                <a:ext uri="{FF2B5EF4-FFF2-40B4-BE49-F238E27FC236}">
                  <a16:creationId xmlns:a16="http://schemas.microsoft.com/office/drawing/2014/main" id="{2857A2AC-F5C1-840C-5742-149329C5F152}"/>
                </a:ext>
              </a:extLst>
            </p:cNvPr>
            <p:cNvSpPr/>
            <p:nvPr/>
          </p:nvSpPr>
          <p:spPr>
            <a:xfrm>
              <a:off x="13018045" y="2839064"/>
              <a:ext cx="435077" cy="435077"/>
            </a:xfrm>
            <a:custGeom>
              <a:avLst/>
              <a:gdLst>
                <a:gd name="connsiteX0" fmla="*/ 435077 w 435077"/>
                <a:gd name="connsiteY0" fmla="*/ 435077 h 435077"/>
                <a:gd name="connsiteX1" fmla="*/ 435077 w 435077"/>
                <a:gd name="connsiteY1" fmla="*/ 217539 h 435077"/>
                <a:gd name="connsiteX2" fmla="*/ 435077 w 435077"/>
                <a:gd name="connsiteY2" fmla="*/ 14 h 435077"/>
                <a:gd name="connsiteX3" fmla="*/ 217539 w 435077"/>
                <a:gd name="connsiteY3" fmla="*/ 14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14"/>
                  </a:lnTo>
                  <a:lnTo>
                    <a:pt x="217539" y="14"/>
                  </a:lnTo>
                  <a:lnTo>
                    <a:pt x="435077" y="217539"/>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179" name="Freeform: Shape 178">
              <a:extLst>
                <a:ext uri="{FF2B5EF4-FFF2-40B4-BE49-F238E27FC236}">
                  <a16:creationId xmlns:a16="http://schemas.microsoft.com/office/drawing/2014/main" id="{C4E025C1-9283-54F2-4F95-C08F261B0B2E}"/>
                </a:ext>
              </a:extLst>
            </p:cNvPr>
            <p:cNvSpPr/>
            <p:nvPr/>
          </p:nvSpPr>
          <p:spPr>
            <a:xfrm>
              <a:off x="14758382" y="2839064"/>
              <a:ext cx="435077" cy="435077"/>
            </a:xfrm>
            <a:custGeom>
              <a:avLst/>
              <a:gdLst>
                <a:gd name="connsiteX0" fmla="*/ 435077 w 435077"/>
                <a:gd name="connsiteY0" fmla="*/ 435077 h 435077"/>
                <a:gd name="connsiteX1" fmla="*/ 435077 w 435077"/>
                <a:gd name="connsiteY1" fmla="*/ 0 h 435077"/>
                <a:gd name="connsiteX2" fmla="*/ 217567 w 435077"/>
                <a:gd name="connsiteY2" fmla="*/ 217539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7" y="217539"/>
                  </a:lnTo>
                  <a:lnTo>
                    <a:pt x="435077" y="435077"/>
                  </a:lnTo>
                  <a:close/>
                  <a:moveTo>
                    <a:pt x="0" y="435077"/>
                  </a:moveTo>
                  <a:lnTo>
                    <a:pt x="0" y="3"/>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180" name="Freeform: Shape 179">
              <a:extLst>
                <a:ext uri="{FF2B5EF4-FFF2-40B4-BE49-F238E27FC236}">
                  <a16:creationId xmlns:a16="http://schemas.microsoft.com/office/drawing/2014/main" id="{36CEDCA2-0683-57D9-65F4-C7DF1DAAC775}"/>
                </a:ext>
              </a:extLst>
            </p:cNvPr>
            <p:cNvSpPr/>
            <p:nvPr/>
          </p:nvSpPr>
          <p:spPr>
            <a:xfrm>
              <a:off x="13888200" y="2839064"/>
              <a:ext cx="435103" cy="435077"/>
            </a:xfrm>
            <a:custGeom>
              <a:avLst/>
              <a:gdLst>
                <a:gd name="connsiteX0" fmla="*/ 0 w 435103"/>
                <a:gd name="connsiteY0" fmla="*/ 435077 h 435077"/>
                <a:gd name="connsiteX1" fmla="*/ 0 w 435103"/>
                <a:gd name="connsiteY1" fmla="*/ 0 h 435077"/>
                <a:gd name="connsiteX2" fmla="*/ 217539 w 435103"/>
                <a:gd name="connsiteY2" fmla="*/ 217539 h 435077"/>
                <a:gd name="connsiteX3" fmla="*/ 0 w 435103"/>
                <a:gd name="connsiteY3" fmla="*/ 435077 h 435077"/>
                <a:gd name="connsiteX4" fmla="*/ 217565 w 435103"/>
                <a:gd name="connsiteY4" fmla="*/ 435077 h 435077"/>
                <a:gd name="connsiteX5" fmla="*/ 217565 w 435103"/>
                <a:gd name="connsiteY5" fmla="*/ 0 h 435077"/>
                <a:gd name="connsiteX6" fmla="*/ 435104 w 435103"/>
                <a:gd name="connsiteY6" fmla="*/ 217539 h 435077"/>
                <a:gd name="connsiteX7" fmla="*/ 217565 w 435103"/>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103" h="435077">
                  <a:moveTo>
                    <a:pt x="0" y="435077"/>
                  </a:moveTo>
                  <a:lnTo>
                    <a:pt x="0" y="0"/>
                  </a:lnTo>
                  <a:lnTo>
                    <a:pt x="217539" y="217539"/>
                  </a:lnTo>
                  <a:lnTo>
                    <a:pt x="0" y="435077"/>
                  </a:lnTo>
                  <a:close/>
                  <a:moveTo>
                    <a:pt x="217565" y="435077"/>
                  </a:moveTo>
                  <a:lnTo>
                    <a:pt x="217565" y="0"/>
                  </a:lnTo>
                  <a:lnTo>
                    <a:pt x="435104" y="217539"/>
                  </a:lnTo>
                  <a:lnTo>
                    <a:pt x="217565" y="435077"/>
                  </a:lnTo>
                  <a:close/>
                </a:path>
              </a:pathLst>
            </a:custGeom>
            <a:grpFill/>
            <a:ln w="27192" cap="flat">
              <a:noFill/>
              <a:prstDash val="solid"/>
              <a:miter/>
            </a:ln>
          </p:spPr>
          <p:txBody>
            <a:bodyPr rtlCol="0" anchor="ctr"/>
            <a:lstStyle/>
            <a:p>
              <a:endParaRPr lang="uk-UA" sz="900"/>
            </a:p>
          </p:txBody>
        </p:sp>
        <p:sp>
          <p:nvSpPr>
            <p:cNvPr id="181" name="Freeform: Shape 180">
              <a:extLst>
                <a:ext uri="{FF2B5EF4-FFF2-40B4-BE49-F238E27FC236}">
                  <a16:creationId xmlns:a16="http://schemas.microsoft.com/office/drawing/2014/main" id="{F652C6A9-4E6F-BC6C-67E1-A2912D621312}"/>
                </a:ext>
              </a:extLst>
            </p:cNvPr>
            <p:cNvSpPr/>
            <p:nvPr/>
          </p:nvSpPr>
          <p:spPr>
            <a:xfrm>
              <a:off x="15628536" y="283906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8"/>
                    <a:pt x="0" y="57694"/>
                    <a:pt x="0" y="0"/>
                  </a:cubicBezTo>
                  <a:lnTo>
                    <a:pt x="217539" y="0"/>
                  </a:lnTo>
                  <a:lnTo>
                    <a:pt x="435077" y="0"/>
                  </a:lnTo>
                  <a:cubicBezTo>
                    <a:pt x="435077" y="57694"/>
                    <a:pt x="412155" y="113038"/>
                    <a:pt x="371367" y="153827"/>
                  </a:cubicBezTo>
                  <a:cubicBezTo>
                    <a:pt x="330578" y="194616"/>
                    <a:pt x="275241" y="217539"/>
                    <a:pt x="217539" y="217539"/>
                  </a:cubicBezTo>
                  <a:cubicBezTo>
                    <a:pt x="159865" y="217539"/>
                    <a:pt x="104527" y="194616"/>
                    <a:pt x="63712" y="153827"/>
                  </a:cubicBezTo>
                  <a:close/>
                  <a:moveTo>
                    <a:pt x="63712" y="281250"/>
                  </a:moveTo>
                  <a:cubicBezTo>
                    <a:pt x="22924" y="322039"/>
                    <a:pt x="0" y="377375"/>
                    <a:pt x="0" y="435077"/>
                  </a:cubicBezTo>
                  <a:lnTo>
                    <a:pt x="217539" y="435077"/>
                  </a:lnTo>
                  <a:lnTo>
                    <a:pt x="435077" y="435077"/>
                  </a:lnTo>
                  <a:cubicBezTo>
                    <a:pt x="435077" y="377375"/>
                    <a:pt x="412155" y="322039"/>
                    <a:pt x="371367" y="281250"/>
                  </a:cubicBezTo>
                  <a:cubicBezTo>
                    <a:pt x="330578" y="240462"/>
                    <a:pt x="275241" y="217539"/>
                    <a:pt x="217539" y="217539"/>
                  </a:cubicBezTo>
                  <a:cubicBezTo>
                    <a:pt x="159865" y="217539"/>
                    <a:pt x="104527" y="240462"/>
                    <a:pt x="63712" y="281250"/>
                  </a:cubicBezTo>
                  <a:close/>
                </a:path>
              </a:pathLst>
            </a:custGeom>
            <a:grpFill/>
            <a:ln w="27192" cap="flat">
              <a:noFill/>
              <a:prstDash val="solid"/>
              <a:miter/>
            </a:ln>
          </p:spPr>
          <p:txBody>
            <a:bodyPr rtlCol="0" anchor="ctr"/>
            <a:lstStyle/>
            <a:p>
              <a:endParaRPr lang="uk-UA" sz="900"/>
            </a:p>
          </p:txBody>
        </p:sp>
        <p:sp>
          <p:nvSpPr>
            <p:cNvPr id="182" name="Freeform: Shape 181">
              <a:extLst>
                <a:ext uri="{FF2B5EF4-FFF2-40B4-BE49-F238E27FC236}">
                  <a16:creationId xmlns:a16="http://schemas.microsoft.com/office/drawing/2014/main" id="{DD75707F-709C-4AEE-0C80-29A4B26F7E39}"/>
                </a:ext>
              </a:extLst>
            </p:cNvPr>
            <p:cNvSpPr/>
            <p:nvPr/>
          </p:nvSpPr>
          <p:spPr>
            <a:xfrm>
              <a:off x="16498719" y="2839064"/>
              <a:ext cx="435077" cy="435077"/>
            </a:xfrm>
            <a:custGeom>
              <a:avLst/>
              <a:gdLst>
                <a:gd name="connsiteX0" fmla="*/ 435077 w 435077"/>
                <a:gd name="connsiteY0" fmla="*/ 435077 h 435077"/>
                <a:gd name="connsiteX1" fmla="*/ 435077 w 435077"/>
                <a:gd name="connsiteY1" fmla="*/ 217539 h 435077"/>
                <a:gd name="connsiteX2" fmla="*/ 435077 w 435077"/>
                <a:gd name="connsiteY2" fmla="*/ 14 h 435077"/>
                <a:gd name="connsiteX3" fmla="*/ 217539 w 435077"/>
                <a:gd name="connsiteY3" fmla="*/ 14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0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0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14"/>
                  </a:lnTo>
                  <a:lnTo>
                    <a:pt x="217539" y="14"/>
                  </a:lnTo>
                  <a:lnTo>
                    <a:pt x="435077" y="217539"/>
                  </a:lnTo>
                  <a:lnTo>
                    <a:pt x="217539" y="435077"/>
                  </a:lnTo>
                  <a:lnTo>
                    <a:pt x="435077" y="435077"/>
                  </a:lnTo>
                  <a:close/>
                  <a:moveTo>
                    <a:pt x="0" y="217539"/>
                  </a:moveTo>
                  <a:lnTo>
                    <a:pt x="0" y="0"/>
                  </a:lnTo>
                  <a:lnTo>
                    <a:pt x="217510" y="217539"/>
                  </a:lnTo>
                  <a:lnTo>
                    <a:pt x="0" y="217539"/>
                  </a:lnTo>
                  <a:close/>
                  <a:moveTo>
                    <a:pt x="0" y="435077"/>
                  </a:moveTo>
                  <a:lnTo>
                    <a:pt x="0" y="217539"/>
                  </a:lnTo>
                  <a:lnTo>
                    <a:pt x="217510" y="217539"/>
                  </a:lnTo>
                  <a:lnTo>
                    <a:pt x="0" y="435077"/>
                  </a:lnTo>
                  <a:close/>
                </a:path>
              </a:pathLst>
            </a:custGeom>
            <a:grpFill/>
            <a:ln w="27192" cap="flat">
              <a:noFill/>
              <a:prstDash val="solid"/>
              <a:miter/>
            </a:ln>
          </p:spPr>
          <p:txBody>
            <a:bodyPr rtlCol="0" anchor="ctr"/>
            <a:lstStyle/>
            <a:p>
              <a:endParaRPr lang="uk-UA" sz="900"/>
            </a:p>
          </p:txBody>
        </p:sp>
        <p:sp>
          <p:nvSpPr>
            <p:cNvPr id="183" name="Freeform: Shape 182">
              <a:extLst>
                <a:ext uri="{FF2B5EF4-FFF2-40B4-BE49-F238E27FC236}">
                  <a16:creationId xmlns:a16="http://schemas.microsoft.com/office/drawing/2014/main" id="{D2D903C8-911D-90B8-24EA-2C79308204A8}"/>
                </a:ext>
              </a:extLst>
            </p:cNvPr>
            <p:cNvSpPr/>
            <p:nvPr/>
          </p:nvSpPr>
          <p:spPr>
            <a:xfrm>
              <a:off x="18239029" y="2839064"/>
              <a:ext cx="435077" cy="435077"/>
            </a:xfrm>
            <a:custGeom>
              <a:avLst/>
              <a:gdLst>
                <a:gd name="connsiteX0" fmla="*/ 435077 w 435077"/>
                <a:gd name="connsiteY0" fmla="*/ 435077 h 435077"/>
                <a:gd name="connsiteX1" fmla="*/ 435077 w 435077"/>
                <a:gd name="connsiteY1" fmla="*/ 0 h 435077"/>
                <a:gd name="connsiteX2" fmla="*/ 217565 w 435077"/>
                <a:gd name="connsiteY2" fmla="*/ 217539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39"/>
                  </a:lnTo>
                  <a:lnTo>
                    <a:pt x="435077" y="435077"/>
                  </a:lnTo>
                  <a:close/>
                  <a:moveTo>
                    <a:pt x="0" y="435077"/>
                  </a:moveTo>
                  <a:lnTo>
                    <a:pt x="0" y="3"/>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184" name="Freeform: Shape 183">
              <a:extLst>
                <a:ext uri="{FF2B5EF4-FFF2-40B4-BE49-F238E27FC236}">
                  <a16:creationId xmlns:a16="http://schemas.microsoft.com/office/drawing/2014/main" id="{E2EEF09E-1AD9-0676-DA71-1021D79FBD7B}"/>
                </a:ext>
              </a:extLst>
            </p:cNvPr>
            <p:cNvSpPr/>
            <p:nvPr/>
          </p:nvSpPr>
          <p:spPr>
            <a:xfrm>
              <a:off x="17368874" y="2839064"/>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185" name="Freeform: Shape 184">
              <a:extLst>
                <a:ext uri="{FF2B5EF4-FFF2-40B4-BE49-F238E27FC236}">
                  <a16:creationId xmlns:a16="http://schemas.microsoft.com/office/drawing/2014/main" id="{03EEBF6E-DA94-34D5-4B5D-3FDCADF02E44}"/>
                </a:ext>
              </a:extLst>
            </p:cNvPr>
            <p:cNvSpPr/>
            <p:nvPr/>
          </p:nvSpPr>
          <p:spPr>
            <a:xfrm>
              <a:off x="19109210" y="283906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895" y="113038"/>
                    <a:pt x="0" y="57694"/>
                    <a:pt x="0" y="0"/>
                  </a:cubicBezTo>
                  <a:lnTo>
                    <a:pt x="217539" y="0"/>
                  </a:lnTo>
                  <a:lnTo>
                    <a:pt x="435077" y="0"/>
                  </a:lnTo>
                  <a:cubicBezTo>
                    <a:pt x="435077" y="57694"/>
                    <a:pt x="412154" y="113038"/>
                    <a:pt x="371339" y="153827"/>
                  </a:cubicBezTo>
                  <a:cubicBezTo>
                    <a:pt x="330550" y="194616"/>
                    <a:pt x="275215" y="217539"/>
                    <a:pt x="217539" y="217539"/>
                  </a:cubicBezTo>
                  <a:cubicBezTo>
                    <a:pt x="159836" y="217539"/>
                    <a:pt x="104501" y="194616"/>
                    <a:pt x="63712" y="153827"/>
                  </a:cubicBezTo>
                  <a:close/>
                  <a:moveTo>
                    <a:pt x="63712" y="281250"/>
                  </a:moveTo>
                  <a:cubicBezTo>
                    <a:pt x="22895" y="322039"/>
                    <a:pt x="0" y="377375"/>
                    <a:pt x="0" y="435077"/>
                  </a:cubicBezTo>
                  <a:lnTo>
                    <a:pt x="217539" y="435077"/>
                  </a:lnTo>
                  <a:lnTo>
                    <a:pt x="435077" y="435077"/>
                  </a:lnTo>
                  <a:cubicBezTo>
                    <a:pt x="435077" y="377375"/>
                    <a:pt x="412154" y="322039"/>
                    <a:pt x="371339" y="281250"/>
                  </a:cubicBezTo>
                  <a:cubicBezTo>
                    <a:pt x="330550" y="240462"/>
                    <a:pt x="275215" y="217539"/>
                    <a:pt x="217539" y="217539"/>
                  </a:cubicBezTo>
                  <a:cubicBezTo>
                    <a:pt x="159836" y="217539"/>
                    <a:pt x="104501" y="240462"/>
                    <a:pt x="63712" y="281250"/>
                  </a:cubicBezTo>
                  <a:close/>
                </a:path>
              </a:pathLst>
            </a:custGeom>
            <a:grpFill/>
            <a:ln w="27192" cap="flat">
              <a:noFill/>
              <a:prstDash val="solid"/>
              <a:miter/>
            </a:ln>
          </p:spPr>
          <p:txBody>
            <a:bodyPr rtlCol="0" anchor="ctr"/>
            <a:lstStyle/>
            <a:p>
              <a:endParaRPr lang="uk-UA" sz="900"/>
            </a:p>
          </p:txBody>
        </p:sp>
        <p:sp>
          <p:nvSpPr>
            <p:cNvPr id="186" name="Freeform: Shape 185">
              <a:extLst>
                <a:ext uri="{FF2B5EF4-FFF2-40B4-BE49-F238E27FC236}">
                  <a16:creationId xmlns:a16="http://schemas.microsoft.com/office/drawing/2014/main" id="{92234AA6-BB88-7FD6-08B6-A3EA727733B0}"/>
                </a:ext>
              </a:extLst>
            </p:cNvPr>
            <p:cNvSpPr/>
            <p:nvPr/>
          </p:nvSpPr>
          <p:spPr>
            <a:xfrm>
              <a:off x="19979365" y="2839064"/>
              <a:ext cx="435077" cy="435077"/>
            </a:xfrm>
            <a:custGeom>
              <a:avLst/>
              <a:gdLst>
                <a:gd name="connsiteX0" fmla="*/ 435077 w 435077"/>
                <a:gd name="connsiteY0" fmla="*/ 435077 h 435077"/>
                <a:gd name="connsiteX1" fmla="*/ 435077 w 435077"/>
                <a:gd name="connsiteY1" fmla="*/ 217539 h 435077"/>
                <a:gd name="connsiteX2" fmla="*/ 435077 w 435077"/>
                <a:gd name="connsiteY2" fmla="*/ 14 h 435077"/>
                <a:gd name="connsiteX3" fmla="*/ 217539 w 435077"/>
                <a:gd name="connsiteY3" fmla="*/ 14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14"/>
                  </a:lnTo>
                  <a:lnTo>
                    <a:pt x="217539" y="14"/>
                  </a:lnTo>
                  <a:lnTo>
                    <a:pt x="435077" y="217539"/>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187" name="Freeform: Shape 186">
              <a:extLst>
                <a:ext uri="{FF2B5EF4-FFF2-40B4-BE49-F238E27FC236}">
                  <a16:creationId xmlns:a16="http://schemas.microsoft.com/office/drawing/2014/main" id="{F381FAD5-937A-B08A-0BB7-4C88CEB3B080}"/>
                </a:ext>
              </a:extLst>
            </p:cNvPr>
            <p:cNvSpPr/>
            <p:nvPr/>
          </p:nvSpPr>
          <p:spPr>
            <a:xfrm>
              <a:off x="21719702" y="2839064"/>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3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3"/>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188" name="Freeform: Shape 187">
              <a:extLst>
                <a:ext uri="{FF2B5EF4-FFF2-40B4-BE49-F238E27FC236}">
                  <a16:creationId xmlns:a16="http://schemas.microsoft.com/office/drawing/2014/main" id="{8E9DD2F1-6E62-B111-4CDF-F966BA57444B}"/>
                </a:ext>
              </a:extLst>
            </p:cNvPr>
            <p:cNvSpPr/>
            <p:nvPr/>
          </p:nvSpPr>
          <p:spPr>
            <a:xfrm>
              <a:off x="20849520" y="2839064"/>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65 w 435077"/>
                <a:gd name="connsiteY4" fmla="*/ 435077 h 435077"/>
                <a:gd name="connsiteX5" fmla="*/ 217565 w 435077"/>
                <a:gd name="connsiteY5" fmla="*/ 0 h 435077"/>
                <a:gd name="connsiteX6" fmla="*/ 435077 w 435077"/>
                <a:gd name="connsiteY6" fmla="*/ 217539 h 435077"/>
                <a:gd name="connsiteX7" fmla="*/ 217565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65" y="435077"/>
                  </a:moveTo>
                  <a:lnTo>
                    <a:pt x="217565" y="0"/>
                  </a:lnTo>
                  <a:lnTo>
                    <a:pt x="435077" y="217539"/>
                  </a:lnTo>
                  <a:lnTo>
                    <a:pt x="217565" y="435077"/>
                  </a:lnTo>
                  <a:close/>
                </a:path>
              </a:pathLst>
            </a:custGeom>
            <a:grpFill/>
            <a:ln w="27192" cap="flat">
              <a:noFill/>
              <a:prstDash val="solid"/>
              <a:miter/>
            </a:ln>
          </p:spPr>
          <p:txBody>
            <a:bodyPr rtlCol="0" anchor="ctr"/>
            <a:lstStyle/>
            <a:p>
              <a:endParaRPr lang="uk-UA" sz="900"/>
            </a:p>
          </p:txBody>
        </p:sp>
        <p:sp>
          <p:nvSpPr>
            <p:cNvPr id="189" name="Freeform: Shape 188">
              <a:extLst>
                <a:ext uri="{FF2B5EF4-FFF2-40B4-BE49-F238E27FC236}">
                  <a16:creationId xmlns:a16="http://schemas.microsoft.com/office/drawing/2014/main" id="{8EEED6FF-2DB6-39DD-C688-6694CCBA0632}"/>
                </a:ext>
              </a:extLst>
            </p:cNvPr>
            <p:cNvSpPr/>
            <p:nvPr/>
          </p:nvSpPr>
          <p:spPr>
            <a:xfrm>
              <a:off x="22589856" y="283906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8"/>
                    <a:pt x="0" y="57694"/>
                    <a:pt x="0" y="0"/>
                  </a:cubicBezTo>
                  <a:lnTo>
                    <a:pt x="217539" y="0"/>
                  </a:lnTo>
                  <a:lnTo>
                    <a:pt x="435077" y="0"/>
                  </a:lnTo>
                  <a:cubicBezTo>
                    <a:pt x="435077" y="57694"/>
                    <a:pt x="412155" y="113038"/>
                    <a:pt x="371367" y="153827"/>
                  </a:cubicBezTo>
                  <a:cubicBezTo>
                    <a:pt x="330578" y="194616"/>
                    <a:pt x="275241" y="217539"/>
                    <a:pt x="217539" y="217539"/>
                  </a:cubicBezTo>
                  <a:cubicBezTo>
                    <a:pt x="159838" y="217539"/>
                    <a:pt x="104529" y="194616"/>
                    <a:pt x="63712" y="153827"/>
                  </a:cubicBezTo>
                  <a:close/>
                  <a:moveTo>
                    <a:pt x="63712" y="281250"/>
                  </a:moveTo>
                  <a:cubicBezTo>
                    <a:pt x="22924" y="322039"/>
                    <a:pt x="0" y="377375"/>
                    <a:pt x="0" y="435077"/>
                  </a:cubicBezTo>
                  <a:lnTo>
                    <a:pt x="217539" y="435077"/>
                  </a:lnTo>
                  <a:lnTo>
                    <a:pt x="435077" y="435077"/>
                  </a:lnTo>
                  <a:cubicBezTo>
                    <a:pt x="435077" y="377375"/>
                    <a:pt x="412155" y="322039"/>
                    <a:pt x="371367" y="281250"/>
                  </a:cubicBezTo>
                  <a:cubicBezTo>
                    <a:pt x="330578" y="240462"/>
                    <a:pt x="275241" y="217539"/>
                    <a:pt x="217539" y="217539"/>
                  </a:cubicBezTo>
                  <a:cubicBezTo>
                    <a:pt x="159838" y="217539"/>
                    <a:pt x="104529" y="240462"/>
                    <a:pt x="63712" y="281250"/>
                  </a:cubicBezTo>
                  <a:close/>
                </a:path>
              </a:pathLst>
            </a:custGeom>
            <a:grpFill/>
            <a:ln w="27192" cap="flat">
              <a:noFill/>
              <a:prstDash val="solid"/>
              <a:miter/>
            </a:ln>
          </p:spPr>
          <p:txBody>
            <a:bodyPr rtlCol="0" anchor="ctr"/>
            <a:lstStyle/>
            <a:p>
              <a:endParaRPr lang="uk-UA" sz="900"/>
            </a:p>
          </p:txBody>
        </p:sp>
        <p:sp>
          <p:nvSpPr>
            <p:cNvPr id="190" name="Freeform: Shape 189">
              <a:extLst>
                <a:ext uri="{FF2B5EF4-FFF2-40B4-BE49-F238E27FC236}">
                  <a16:creationId xmlns:a16="http://schemas.microsoft.com/office/drawing/2014/main" id="{59E75712-941B-B599-1B5C-F54EC0E12164}"/>
                </a:ext>
              </a:extLst>
            </p:cNvPr>
            <p:cNvSpPr/>
            <p:nvPr/>
          </p:nvSpPr>
          <p:spPr>
            <a:xfrm>
              <a:off x="23460011" y="2839064"/>
              <a:ext cx="435105" cy="435077"/>
            </a:xfrm>
            <a:custGeom>
              <a:avLst/>
              <a:gdLst>
                <a:gd name="connsiteX0" fmla="*/ 435106 w 435105"/>
                <a:gd name="connsiteY0" fmla="*/ 435077 h 435077"/>
                <a:gd name="connsiteX1" fmla="*/ 435106 w 435105"/>
                <a:gd name="connsiteY1" fmla="*/ 217539 h 435077"/>
                <a:gd name="connsiteX2" fmla="*/ 435106 w 435105"/>
                <a:gd name="connsiteY2" fmla="*/ 14 h 435077"/>
                <a:gd name="connsiteX3" fmla="*/ 217567 w 435105"/>
                <a:gd name="connsiteY3" fmla="*/ 14 h 435077"/>
                <a:gd name="connsiteX4" fmla="*/ 435106 w 435105"/>
                <a:gd name="connsiteY4" fmla="*/ 217539 h 435077"/>
                <a:gd name="connsiteX5" fmla="*/ 217567 w 435105"/>
                <a:gd name="connsiteY5" fmla="*/ 435077 h 435077"/>
                <a:gd name="connsiteX6" fmla="*/ 435106 w 435105"/>
                <a:gd name="connsiteY6" fmla="*/ 435077 h 435077"/>
                <a:gd name="connsiteX7" fmla="*/ 0 w 435105"/>
                <a:gd name="connsiteY7" fmla="*/ 217539 h 435077"/>
                <a:gd name="connsiteX8" fmla="*/ 0 w 435105"/>
                <a:gd name="connsiteY8" fmla="*/ 0 h 435077"/>
                <a:gd name="connsiteX9" fmla="*/ 217539 w 435105"/>
                <a:gd name="connsiteY9" fmla="*/ 217539 h 435077"/>
                <a:gd name="connsiteX10" fmla="*/ 0 w 435105"/>
                <a:gd name="connsiteY10" fmla="*/ 217539 h 435077"/>
                <a:gd name="connsiteX11" fmla="*/ 0 w 435105"/>
                <a:gd name="connsiteY11" fmla="*/ 435077 h 435077"/>
                <a:gd name="connsiteX12" fmla="*/ 0 w 435105"/>
                <a:gd name="connsiteY12" fmla="*/ 217539 h 435077"/>
                <a:gd name="connsiteX13" fmla="*/ 217539 w 435105"/>
                <a:gd name="connsiteY13" fmla="*/ 217539 h 435077"/>
                <a:gd name="connsiteX14" fmla="*/ 0 w 435105"/>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105" h="435077">
                  <a:moveTo>
                    <a:pt x="435106" y="435077"/>
                  </a:moveTo>
                  <a:lnTo>
                    <a:pt x="435106" y="217539"/>
                  </a:lnTo>
                  <a:lnTo>
                    <a:pt x="435106" y="14"/>
                  </a:lnTo>
                  <a:lnTo>
                    <a:pt x="217567" y="14"/>
                  </a:lnTo>
                  <a:lnTo>
                    <a:pt x="435106" y="217539"/>
                  </a:lnTo>
                  <a:lnTo>
                    <a:pt x="217567" y="435077"/>
                  </a:lnTo>
                  <a:lnTo>
                    <a:pt x="435106"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191" name="Freeform: Shape 190">
              <a:extLst>
                <a:ext uri="{FF2B5EF4-FFF2-40B4-BE49-F238E27FC236}">
                  <a16:creationId xmlns:a16="http://schemas.microsoft.com/office/drawing/2014/main" id="{7A7F164A-5202-2640-FC21-4ED8B72F2D93}"/>
                </a:ext>
              </a:extLst>
            </p:cNvPr>
            <p:cNvSpPr/>
            <p:nvPr/>
          </p:nvSpPr>
          <p:spPr>
            <a:xfrm>
              <a:off x="24330194" y="2839064"/>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192" name="Freeform: Shape 191">
              <a:extLst>
                <a:ext uri="{FF2B5EF4-FFF2-40B4-BE49-F238E27FC236}">
                  <a16:creationId xmlns:a16="http://schemas.microsoft.com/office/drawing/2014/main" id="{1B277D80-B384-7EC9-93A7-B4D740168950}"/>
                </a:ext>
              </a:extLst>
            </p:cNvPr>
            <p:cNvSpPr/>
            <p:nvPr/>
          </p:nvSpPr>
          <p:spPr>
            <a:xfrm>
              <a:off x="835769" y="3709219"/>
              <a:ext cx="435077" cy="435077"/>
            </a:xfrm>
            <a:custGeom>
              <a:avLst/>
              <a:gdLst>
                <a:gd name="connsiteX0" fmla="*/ 0 w 435077"/>
                <a:gd name="connsiteY0" fmla="*/ 435077 h 435077"/>
                <a:gd name="connsiteX1" fmla="*/ 217511 w 435077"/>
                <a:gd name="connsiteY1" fmla="*/ 435077 h 435077"/>
                <a:gd name="connsiteX2" fmla="*/ 217511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11" y="435077"/>
                  </a:lnTo>
                  <a:lnTo>
                    <a:pt x="217511"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193" name="Freeform: Shape 192">
              <a:extLst>
                <a:ext uri="{FF2B5EF4-FFF2-40B4-BE49-F238E27FC236}">
                  <a16:creationId xmlns:a16="http://schemas.microsoft.com/office/drawing/2014/main" id="{1C9DEA28-88A0-4907-6C6B-7CA02C514AFF}"/>
                </a:ext>
              </a:extLst>
            </p:cNvPr>
            <p:cNvSpPr/>
            <p:nvPr/>
          </p:nvSpPr>
          <p:spPr>
            <a:xfrm>
              <a:off x="-34398" y="3709219"/>
              <a:ext cx="435063" cy="435077"/>
            </a:xfrm>
            <a:custGeom>
              <a:avLst/>
              <a:gdLst>
                <a:gd name="connsiteX0" fmla="*/ 217525 w 435063"/>
                <a:gd name="connsiteY0" fmla="*/ 217539 h 435077"/>
                <a:gd name="connsiteX1" fmla="*/ 217525 w 435063"/>
                <a:gd name="connsiteY1" fmla="*/ 0 h 435077"/>
                <a:gd name="connsiteX2" fmla="*/ 0 w 435063"/>
                <a:gd name="connsiteY2" fmla="*/ 0 h 435077"/>
                <a:gd name="connsiteX3" fmla="*/ 217525 w 435063"/>
                <a:gd name="connsiteY3" fmla="*/ 217539 h 435077"/>
                <a:gd name="connsiteX4" fmla="*/ 0 w 435063"/>
                <a:gd name="connsiteY4" fmla="*/ 435077 h 435077"/>
                <a:gd name="connsiteX5" fmla="*/ 217525 w 435063"/>
                <a:gd name="connsiteY5" fmla="*/ 435077 h 435077"/>
                <a:gd name="connsiteX6" fmla="*/ 217525 w 435063"/>
                <a:gd name="connsiteY6" fmla="*/ 435077 h 435077"/>
                <a:gd name="connsiteX7" fmla="*/ 435064 w 435063"/>
                <a:gd name="connsiteY7" fmla="*/ 217539 h 435077"/>
                <a:gd name="connsiteX8" fmla="*/ 435064 w 435063"/>
                <a:gd name="connsiteY8" fmla="*/ 217539 h 435077"/>
                <a:gd name="connsiteX9" fmla="*/ 435064 w 435063"/>
                <a:gd name="connsiteY9" fmla="*/ 217539 h 435077"/>
                <a:gd name="connsiteX10" fmla="*/ 435064 w 435063"/>
                <a:gd name="connsiteY10" fmla="*/ 217539 h 435077"/>
                <a:gd name="connsiteX11" fmla="*/ 435064 w 435063"/>
                <a:gd name="connsiteY11" fmla="*/ 217539 h 435077"/>
                <a:gd name="connsiteX12" fmla="*/ 217525 w 435063"/>
                <a:gd name="connsiteY12" fmla="*/ 0 h 435077"/>
                <a:gd name="connsiteX13" fmla="*/ 217525 w 435063"/>
                <a:gd name="connsiteY13" fmla="*/ 217539 h 435077"/>
                <a:gd name="connsiteX14" fmla="*/ 217525 w 435063"/>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63" h="435077">
                  <a:moveTo>
                    <a:pt x="217525" y="217539"/>
                  </a:moveTo>
                  <a:lnTo>
                    <a:pt x="217525" y="0"/>
                  </a:lnTo>
                  <a:lnTo>
                    <a:pt x="0" y="0"/>
                  </a:lnTo>
                  <a:lnTo>
                    <a:pt x="217525" y="217539"/>
                  </a:lnTo>
                  <a:lnTo>
                    <a:pt x="0" y="435077"/>
                  </a:lnTo>
                  <a:lnTo>
                    <a:pt x="217525" y="435077"/>
                  </a:lnTo>
                  <a:lnTo>
                    <a:pt x="217525" y="435077"/>
                  </a:lnTo>
                  <a:lnTo>
                    <a:pt x="435064" y="217539"/>
                  </a:lnTo>
                  <a:lnTo>
                    <a:pt x="435064" y="217539"/>
                  </a:lnTo>
                  <a:lnTo>
                    <a:pt x="435064" y="217539"/>
                  </a:lnTo>
                  <a:lnTo>
                    <a:pt x="435064" y="217539"/>
                  </a:lnTo>
                  <a:lnTo>
                    <a:pt x="435064" y="217539"/>
                  </a:lnTo>
                  <a:lnTo>
                    <a:pt x="217525" y="0"/>
                  </a:lnTo>
                  <a:lnTo>
                    <a:pt x="217525" y="217539"/>
                  </a:lnTo>
                  <a:lnTo>
                    <a:pt x="217525" y="217539"/>
                  </a:lnTo>
                  <a:close/>
                </a:path>
              </a:pathLst>
            </a:custGeom>
            <a:grpFill/>
            <a:ln w="27192" cap="flat">
              <a:noFill/>
              <a:prstDash val="solid"/>
              <a:miter/>
            </a:ln>
          </p:spPr>
          <p:txBody>
            <a:bodyPr rtlCol="0" anchor="ctr"/>
            <a:lstStyle/>
            <a:p>
              <a:endParaRPr lang="uk-UA" sz="900"/>
            </a:p>
          </p:txBody>
        </p:sp>
        <p:sp>
          <p:nvSpPr>
            <p:cNvPr id="194" name="Freeform: Shape 193">
              <a:extLst>
                <a:ext uri="{FF2B5EF4-FFF2-40B4-BE49-F238E27FC236}">
                  <a16:creationId xmlns:a16="http://schemas.microsoft.com/office/drawing/2014/main" id="{0DCE0C1A-FC13-AA82-AE09-5F2F27A64BF0}"/>
                </a:ext>
              </a:extLst>
            </p:cNvPr>
            <p:cNvSpPr/>
            <p:nvPr/>
          </p:nvSpPr>
          <p:spPr>
            <a:xfrm>
              <a:off x="1705924" y="3709219"/>
              <a:ext cx="435104" cy="435077"/>
            </a:xfrm>
            <a:custGeom>
              <a:avLst/>
              <a:gdLst>
                <a:gd name="connsiteX0" fmla="*/ 217539 w 435104"/>
                <a:gd name="connsiteY0" fmla="*/ 0 h 435077"/>
                <a:gd name="connsiteX1" fmla="*/ 0 w 435104"/>
                <a:gd name="connsiteY1" fmla="*/ 0 h 435077"/>
                <a:gd name="connsiteX2" fmla="*/ 0 w 435104"/>
                <a:gd name="connsiteY2" fmla="*/ 217539 h 435077"/>
                <a:gd name="connsiteX3" fmla="*/ 217539 w 435104"/>
                <a:gd name="connsiteY3" fmla="*/ 0 h 435077"/>
                <a:gd name="connsiteX4" fmla="*/ 435104 w 435104"/>
                <a:gd name="connsiteY4" fmla="*/ 0 h 435077"/>
                <a:gd name="connsiteX5" fmla="*/ 435104 w 435104"/>
                <a:gd name="connsiteY5" fmla="*/ 217539 h 435077"/>
                <a:gd name="connsiteX6" fmla="*/ 217566 w 435104"/>
                <a:gd name="connsiteY6" fmla="*/ 0 h 435077"/>
                <a:gd name="connsiteX7" fmla="*/ 435104 w 435104"/>
                <a:gd name="connsiteY7" fmla="*/ 0 h 435077"/>
                <a:gd name="connsiteX8" fmla="*/ 217566 w 435104"/>
                <a:gd name="connsiteY8" fmla="*/ 435077 h 435077"/>
                <a:gd name="connsiteX9" fmla="*/ 435104 w 435104"/>
                <a:gd name="connsiteY9" fmla="*/ 217539 h 435077"/>
                <a:gd name="connsiteX10" fmla="*/ 435104 w 435104"/>
                <a:gd name="connsiteY10" fmla="*/ 435077 h 435077"/>
                <a:gd name="connsiteX11" fmla="*/ 217566 w 435104"/>
                <a:gd name="connsiteY11" fmla="*/ 435077 h 435077"/>
                <a:gd name="connsiteX12" fmla="*/ 217566 w 435104"/>
                <a:gd name="connsiteY12" fmla="*/ 435077 h 435077"/>
                <a:gd name="connsiteX13" fmla="*/ 27 w 435104"/>
                <a:gd name="connsiteY13" fmla="*/ 217539 h 435077"/>
                <a:gd name="connsiteX14" fmla="*/ 27 w 435104"/>
                <a:gd name="connsiteY14" fmla="*/ 435077 h 435077"/>
                <a:gd name="connsiteX15" fmla="*/ 217566 w 435104"/>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4" h="435077">
                  <a:moveTo>
                    <a:pt x="217539" y="0"/>
                  </a:moveTo>
                  <a:lnTo>
                    <a:pt x="0" y="0"/>
                  </a:lnTo>
                  <a:lnTo>
                    <a:pt x="0" y="217539"/>
                  </a:lnTo>
                  <a:lnTo>
                    <a:pt x="217539" y="0"/>
                  </a:lnTo>
                  <a:close/>
                  <a:moveTo>
                    <a:pt x="435104" y="0"/>
                  </a:moveTo>
                  <a:lnTo>
                    <a:pt x="435104" y="217539"/>
                  </a:lnTo>
                  <a:lnTo>
                    <a:pt x="217566" y="0"/>
                  </a:lnTo>
                  <a:lnTo>
                    <a:pt x="435104" y="0"/>
                  </a:lnTo>
                  <a:close/>
                  <a:moveTo>
                    <a:pt x="217566" y="435077"/>
                  </a:moveTo>
                  <a:lnTo>
                    <a:pt x="435104" y="217539"/>
                  </a:lnTo>
                  <a:lnTo>
                    <a:pt x="435104" y="435077"/>
                  </a:lnTo>
                  <a:lnTo>
                    <a:pt x="217566" y="435077"/>
                  </a:lnTo>
                  <a:close/>
                  <a:moveTo>
                    <a:pt x="217566" y="435077"/>
                  </a:moveTo>
                  <a:lnTo>
                    <a:pt x="27" y="217539"/>
                  </a:lnTo>
                  <a:lnTo>
                    <a:pt x="27" y="435077"/>
                  </a:lnTo>
                  <a:lnTo>
                    <a:pt x="217566" y="435077"/>
                  </a:lnTo>
                  <a:close/>
                </a:path>
              </a:pathLst>
            </a:custGeom>
            <a:grpFill/>
            <a:ln w="27192" cap="flat">
              <a:noFill/>
              <a:prstDash val="solid"/>
              <a:miter/>
            </a:ln>
          </p:spPr>
          <p:txBody>
            <a:bodyPr rtlCol="0" anchor="ctr"/>
            <a:lstStyle/>
            <a:p>
              <a:endParaRPr lang="uk-UA" sz="900"/>
            </a:p>
          </p:txBody>
        </p:sp>
        <p:sp>
          <p:nvSpPr>
            <p:cNvPr id="195" name="Freeform: Shape 194">
              <a:extLst>
                <a:ext uri="{FF2B5EF4-FFF2-40B4-BE49-F238E27FC236}">
                  <a16:creationId xmlns:a16="http://schemas.microsoft.com/office/drawing/2014/main" id="{036E71AD-9FE1-B67C-CB24-529F979B52B4}"/>
                </a:ext>
              </a:extLst>
            </p:cNvPr>
            <p:cNvSpPr/>
            <p:nvPr/>
          </p:nvSpPr>
          <p:spPr>
            <a:xfrm>
              <a:off x="2576106" y="3709219"/>
              <a:ext cx="435077" cy="435077"/>
            </a:xfrm>
            <a:custGeom>
              <a:avLst/>
              <a:gdLst>
                <a:gd name="connsiteX0" fmla="*/ 371366 w 435077"/>
                <a:gd name="connsiteY0" fmla="*/ 63712 h 435077"/>
                <a:gd name="connsiteX1" fmla="*/ 435077 w 435077"/>
                <a:gd name="connsiteY1" fmla="*/ 217539 h 435077"/>
                <a:gd name="connsiteX2" fmla="*/ 218925 w 435077"/>
                <a:gd name="connsiteY2" fmla="*/ 217539 h 435077"/>
                <a:gd name="connsiteX3" fmla="*/ 371366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25 w 435077"/>
                <a:gd name="connsiteY8" fmla="*/ 217539 h 435077"/>
                <a:gd name="connsiteX9" fmla="*/ 0 w 435077"/>
                <a:gd name="connsiteY9" fmla="*/ 217539 h 435077"/>
                <a:gd name="connsiteX10" fmla="*/ 63712 w 435077"/>
                <a:gd name="connsiteY10" fmla="*/ 63712 h 435077"/>
                <a:gd name="connsiteX11" fmla="*/ 217539 w 435077"/>
                <a:gd name="connsiteY11" fmla="*/ 0 h 435077"/>
                <a:gd name="connsiteX12" fmla="*/ 371366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2"/>
                  </a:moveTo>
                  <a:cubicBezTo>
                    <a:pt x="412154" y="104500"/>
                    <a:pt x="435077" y="159837"/>
                    <a:pt x="435077" y="217539"/>
                  </a:cubicBezTo>
                  <a:lnTo>
                    <a:pt x="218925" y="217539"/>
                  </a:lnTo>
                  <a:cubicBezTo>
                    <a:pt x="276138" y="217892"/>
                    <a:pt x="330904" y="240788"/>
                    <a:pt x="371366" y="281250"/>
                  </a:cubicBezTo>
                  <a:cubicBezTo>
                    <a:pt x="412154" y="322039"/>
                    <a:pt x="435077" y="377375"/>
                    <a:pt x="435077" y="435077"/>
                  </a:cubicBezTo>
                  <a:lnTo>
                    <a:pt x="217539" y="435077"/>
                  </a:lnTo>
                  <a:lnTo>
                    <a:pt x="0" y="435077"/>
                  </a:lnTo>
                  <a:cubicBezTo>
                    <a:pt x="0" y="377375"/>
                    <a:pt x="22923" y="322039"/>
                    <a:pt x="63712" y="281250"/>
                  </a:cubicBezTo>
                  <a:cubicBezTo>
                    <a:pt x="104174" y="240788"/>
                    <a:pt x="158939" y="217892"/>
                    <a:pt x="216125" y="217539"/>
                  </a:cubicBezTo>
                  <a:lnTo>
                    <a:pt x="0" y="217539"/>
                  </a:lnTo>
                  <a:cubicBezTo>
                    <a:pt x="0" y="159837"/>
                    <a:pt x="22923" y="104500"/>
                    <a:pt x="63712" y="63712"/>
                  </a:cubicBezTo>
                  <a:cubicBezTo>
                    <a:pt x="104500" y="22923"/>
                    <a:pt x="159837" y="0"/>
                    <a:pt x="217539" y="0"/>
                  </a:cubicBezTo>
                  <a:cubicBezTo>
                    <a:pt x="275214" y="0"/>
                    <a:pt x="330550" y="22923"/>
                    <a:pt x="371366" y="63712"/>
                  </a:cubicBezTo>
                  <a:close/>
                </a:path>
              </a:pathLst>
            </a:custGeom>
            <a:grpFill/>
            <a:ln w="27192" cap="flat">
              <a:noFill/>
              <a:prstDash val="solid"/>
              <a:miter/>
            </a:ln>
          </p:spPr>
          <p:txBody>
            <a:bodyPr rtlCol="0" anchor="ctr"/>
            <a:lstStyle/>
            <a:p>
              <a:endParaRPr lang="uk-UA" sz="900"/>
            </a:p>
          </p:txBody>
        </p:sp>
        <p:sp>
          <p:nvSpPr>
            <p:cNvPr id="196" name="Freeform: Shape 195">
              <a:extLst>
                <a:ext uri="{FF2B5EF4-FFF2-40B4-BE49-F238E27FC236}">
                  <a16:creationId xmlns:a16="http://schemas.microsoft.com/office/drawing/2014/main" id="{65DA2ECA-20CB-ADED-070B-3C5B435143F9}"/>
                </a:ext>
              </a:extLst>
            </p:cNvPr>
            <p:cNvSpPr/>
            <p:nvPr/>
          </p:nvSpPr>
          <p:spPr>
            <a:xfrm>
              <a:off x="4316442" y="3709219"/>
              <a:ext cx="435050" cy="435077"/>
            </a:xfrm>
            <a:custGeom>
              <a:avLst/>
              <a:gdLst>
                <a:gd name="connsiteX0" fmla="*/ 0 w 435050"/>
                <a:gd name="connsiteY0" fmla="*/ 435077 h 435077"/>
                <a:gd name="connsiteX1" fmla="*/ 217512 w 435050"/>
                <a:gd name="connsiteY1" fmla="*/ 435077 h 435077"/>
                <a:gd name="connsiteX2" fmla="*/ 217512 w 435050"/>
                <a:gd name="connsiteY2" fmla="*/ 217539 h 435077"/>
                <a:gd name="connsiteX3" fmla="*/ 0 w 435050"/>
                <a:gd name="connsiteY3" fmla="*/ 435077 h 435077"/>
                <a:gd name="connsiteX4" fmla="*/ 217512 w 435050"/>
                <a:gd name="connsiteY4" fmla="*/ 0 h 435077"/>
                <a:gd name="connsiteX5" fmla="*/ 0 w 435050"/>
                <a:gd name="connsiteY5" fmla="*/ 0 h 435077"/>
                <a:gd name="connsiteX6" fmla="*/ 217512 w 435050"/>
                <a:gd name="connsiteY6" fmla="*/ 217539 h 435077"/>
                <a:gd name="connsiteX7" fmla="*/ 217512 w 435050"/>
                <a:gd name="connsiteY7" fmla="*/ 0 h 435077"/>
                <a:gd name="connsiteX8" fmla="*/ 435051 w 435050"/>
                <a:gd name="connsiteY8" fmla="*/ 435077 h 435077"/>
                <a:gd name="connsiteX9" fmla="*/ 217539 w 435050"/>
                <a:gd name="connsiteY9" fmla="*/ 435077 h 435077"/>
                <a:gd name="connsiteX10" fmla="*/ 435051 w 435050"/>
                <a:gd name="connsiteY10" fmla="*/ 217539 h 435077"/>
                <a:gd name="connsiteX11" fmla="*/ 435051 w 435050"/>
                <a:gd name="connsiteY11" fmla="*/ 435077 h 435077"/>
                <a:gd name="connsiteX12" fmla="*/ 435051 w 435050"/>
                <a:gd name="connsiteY12" fmla="*/ 0 h 435077"/>
                <a:gd name="connsiteX13" fmla="*/ 217539 w 435050"/>
                <a:gd name="connsiteY13" fmla="*/ 0 h 435077"/>
                <a:gd name="connsiteX14" fmla="*/ 435051 w 435050"/>
                <a:gd name="connsiteY14" fmla="*/ 217539 h 435077"/>
                <a:gd name="connsiteX15" fmla="*/ 435051 w 435050"/>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50" h="435077">
                  <a:moveTo>
                    <a:pt x="0" y="435077"/>
                  </a:moveTo>
                  <a:lnTo>
                    <a:pt x="217512" y="435077"/>
                  </a:lnTo>
                  <a:lnTo>
                    <a:pt x="217512" y="217539"/>
                  </a:lnTo>
                  <a:lnTo>
                    <a:pt x="0" y="435077"/>
                  </a:lnTo>
                  <a:close/>
                  <a:moveTo>
                    <a:pt x="217512" y="0"/>
                  </a:moveTo>
                  <a:lnTo>
                    <a:pt x="0" y="0"/>
                  </a:lnTo>
                  <a:lnTo>
                    <a:pt x="217512" y="217539"/>
                  </a:lnTo>
                  <a:lnTo>
                    <a:pt x="217512" y="0"/>
                  </a:lnTo>
                  <a:close/>
                  <a:moveTo>
                    <a:pt x="435051" y="435077"/>
                  </a:moveTo>
                  <a:lnTo>
                    <a:pt x="217539" y="435077"/>
                  </a:lnTo>
                  <a:lnTo>
                    <a:pt x="435051" y="217539"/>
                  </a:lnTo>
                  <a:lnTo>
                    <a:pt x="435051" y="435077"/>
                  </a:lnTo>
                  <a:close/>
                  <a:moveTo>
                    <a:pt x="435051" y="0"/>
                  </a:moveTo>
                  <a:lnTo>
                    <a:pt x="217539" y="0"/>
                  </a:lnTo>
                  <a:lnTo>
                    <a:pt x="435051" y="217539"/>
                  </a:lnTo>
                  <a:lnTo>
                    <a:pt x="435051" y="0"/>
                  </a:lnTo>
                  <a:close/>
                </a:path>
              </a:pathLst>
            </a:custGeom>
            <a:grpFill/>
            <a:ln w="27192" cap="flat">
              <a:noFill/>
              <a:prstDash val="solid"/>
              <a:miter/>
            </a:ln>
          </p:spPr>
          <p:txBody>
            <a:bodyPr rtlCol="0" anchor="ctr"/>
            <a:lstStyle/>
            <a:p>
              <a:endParaRPr lang="uk-UA" sz="900"/>
            </a:p>
          </p:txBody>
        </p:sp>
        <p:sp>
          <p:nvSpPr>
            <p:cNvPr id="197" name="Freeform: Shape 196">
              <a:extLst>
                <a:ext uri="{FF2B5EF4-FFF2-40B4-BE49-F238E27FC236}">
                  <a16:creationId xmlns:a16="http://schemas.microsoft.com/office/drawing/2014/main" id="{99CEC8EB-2BAF-3E12-370B-5AEB45D0C23E}"/>
                </a:ext>
              </a:extLst>
            </p:cNvPr>
            <p:cNvSpPr/>
            <p:nvPr/>
          </p:nvSpPr>
          <p:spPr>
            <a:xfrm>
              <a:off x="3446261" y="370921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198" name="Freeform: Shape 197">
              <a:extLst>
                <a:ext uri="{FF2B5EF4-FFF2-40B4-BE49-F238E27FC236}">
                  <a16:creationId xmlns:a16="http://schemas.microsoft.com/office/drawing/2014/main" id="{A64F9433-5E6F-F4D9-22C5-1D8D928BB1FC}"/>
                </a:ext>
              </a:extLst>
            </p:cNvPr>
            <p:cNvSpPr/>
            <p:nvPr/>
          </p:nvSpPr>
          <p:spPr>
            <a:xfrm>
              <a:off x="5186597" y="3709219"/>
              <a:ext cx="435077" cy="435077"/>
            </a:xfrm>
            <a:custGeom>
              <a:avLst/>
              <a:gdLst>
                <a:gd name="connsiteX0" fmla="*/ 217539 w 435077"/>
                <a:gd name="connsiteY0" fmla="*/ 0 h 435077"/>
                <a:gd name="connsiteX1" fmla="*/ 217539 w 435077"/>
                <a:gd name="connsiteY1" fmla="*/ 0 h 435077"/>
                <a:gd name="connsiteX2" fmla="*/ 0 w 435077"/>
                <a:gd name="connsiteY2" fmla="*/ 0 h 435077"/>
                <a:gd name="connsiteX3" fmla="*/ 0 w 435077"/>
                <a:gd name="connsiteY3" fmla="*/ 217539 h 435077"/>
                <a:gd name="connsiteX4" fmla="*/ 217539 w 435077"/>
                <a:gd name="connsiteY4" fmla="*/ 0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217539" y="0"/>
                  </a:lnTo>
                  <a:lnTo>
                    <a:pt x="0" y="0"/>
                  </a:lnTo>
                  <a:lnTo>
                    <a:pt x="0" y="217539"/>
                  </a:lnTo>
                  <a:lnTo>
                    <a:pt x="217539" y="0"/>
                  </a:lnTo>
                  <a:lnTo>
                    <a:pt x="435077" y="217539"/>
                  </a:lnTo>
                  <a:lnTo>
                    <a:pt x="217539" y="435077"/>
                  </a:lnTo>
                  <a:lnTo>
                    <a:pt x="0" y="217539"/>
                  </a:lnTo>
                  <a:lnTo>
                    <a:pt x="0" y="435077"/>
                  </a:lnTo>
                  <a:lnTo>
                    <a:pt x="217539" y="435077"/>
                  </a:lnTo>
                  <a:lnTo>
                    <a:pt x="435077" y="435077"/>
                  </a:lnTo>
                  <a:lnTo>
                    <a:pt x="435077" y="217539"/>
                  </a:lnTo>
                  <a:lnTo>
                    <a:pt x="435077" y="0"/>
                  </a:lnTo>
                  <a:lnTo>
                    <a:pt x="217539" y="0"/>
                  </a:lnTo>
                  <a:close/>
                </a:path>
              </a:pathLst>
            </a:custGeom>
            <a:grpFill/>
            <a:ln w="27192" cap="flat">
              <a:noFill/>
              <a:prstDash val="solid"/>
              <a:miter/>
            </a:ln>
          </p:spPr>
          <p:txBody>
            <a:bodyPr rtlCol="0" anchor="ctr"/>
            <a:lstStyle/>
            <a:p>
              <a:endParaRPr lang="uk-UA" sz="900"/>
            </a:p>
          </p:txBody>
        </p:sp>
        <p:sp>
          <p:nvSpPr>
            <p:cNvPr id="199" name="Freeform: Shape 198">
              <a:extLst>
                <a:ext uri="{FF2B5EF4-FFF2-40B4-BE49-F238E27FC236}">
                  <a16:creationId xmlns:a16="http://schemas.microsoft.com/office/drawing/2014/main" id="{FFC8BF21-A456-1D38-580C-B76FC49F5E29}"/>
                </a:ext>
              </a:extLst>
            </p:cNvPr>
            <p:cNvSpPr/>
            <p:nvPr/>
          </p:nvSpPr>
          <p:spPr>
            <a:xfrm>
              <a:off x="6056752" y="3709219"/>
              <a:ext cx="435077" cy="435077"/>
            </a:xfrm>
            <a:custGeom>
              <a:avLst/>
              <a:gdLst>
                <a:gd name="connsiteX0" fmla="*/ 371366 w 435077"/>
                <a:gd name="connsiteY0" fmla="*/ 63712 h 435077"/>
                <a:gd name="connsiteX1" fmla="*/ 435077 w 435077"/>
                <a:gd name="connsiteY1" fmla="*/ 217539 h 435077"/>
                <a:gd name="connsiteX2" fmla="*/ 218953 w 435077"/>
                <a:gd name="connsiteY2" fmla="*/ 217539 h 435077"/>
                <a:gd name="connsiteX3" fmla="*/ 371366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25 w 435077"/>
                <a:gd name="connsiteY8" fmla="*/ 217539 h 435077"/>
                <a:gd name="connsiteX9" fmla="*/ 0 w 435077"/>
                <a:gd name="connsiteY9" fmla="*/ 217539 h 435077"/>
                <a:gd name="connsiteX10" fmla="*/ 63712 w 435077"/>
                <a:gd name="connsiteY10" fmla="*/ 63712 h 435077"/>
                <a:gd name="connsiteX11" fmla="*/ 217539 w 435077"/>
                <a:gd name="connsiteY11" fmla="*/ 0 h 435077"/>
                <a:gd name="connsiteX12" fmla="*/ 371366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2"/>
                  </a:moveTo>
                  <a:cubicBezTo>
                    <a:pt x="412155" y="104500"/>
                    <a:pt x="435077" y="159837"/>
                    <a:pt x="435077" y="217539"/>
                  </a:cubicBezTo>
                  <a:lnTo>
                    <a:pt x="218953" y="217539"/>
                  </a:lnTo>
                  <a:cubicBezTo>
                    <a:pt x="276138" y="217892"/>
                    <a:pt x="330904" y="240788"/>
                    <a:pt x="371366" y="281250"/>
                  </a:cubicBezTo>
                  <a:cubicBezTo>
                    <a:pt x="412155" y="322039"/>
                    <a:pt x="435077" y="377375"/>
                    <a:pt x="435077" y="435077"/>
                  </a:cubicBezTo>
                  <a:lnTo>
                    <a:pt x="217539" y="435077"/>
                  </a:lnTo>
                  <a:lnTo>
                    <a:pt x="0" y="435077"/>
                  </a:lnTo>
                  <a:cubicBezTo>
                    <a:pt x="0" y="377375"/>
                    <a:pt x="22924" y="322039"/>
                    <a:pt x="63712" y="281250"/>
                  </a:cubicBezTo>
                  <a:cubicBezTo>
                    <a:pt x="104175" y="240788"/>
                    <a:pt x="158939" y="217892"/>
                    <a:pt x="216125" y="217539"/>
                  </a:cubicBezTo>
                  <a:lnTo>
                    <a:pt x="0" y="217539"/>
                  </a:lnTo>
                  <a:cubicBezTo>
                    <a:pt x="0" y="159837"/>
                    <a:pt x="22924" y="104500"/>
                    <a:pt x="63712" y="63712"/>
                  </a:cubicBezTo>
                  <a:cubicBezTo>
                    <a:pt x="104501" y="22923"/>
                    <a:pt x="159837" y="0"/>
                    <a:pt x="217539" y="0"/>
                  </a:cubicBezTo>
                  <a:cubicBezTo>
                    <a:pt x="275241" y="0"/>
                    <a:pt x="330550" y="22923"/>
                    <a:pt x="371366" y="63712"/>
                  </a:cubicBezTo>
                  <a:close/>
                </a:path>
              </a:pathLst>
            </a:custGeom>
            <a:grpFill/>
            <a:ln w="27192" cap="flat">
              <a:noFill/>
              <a:prstDash val="solid"/>
              <a:miter/>
            </a:ln>
          </p:spPr>
          <p:txBody>
            <a:bodyPr rtlCol="0" anchor="ctr"/>
            <a:lstStyle/>
            <a:p>
              <a:endParaRPr lang="uk-UA" sz="900"/>
            </a:p>
          </p:txBody>
        </p:sp>
        <p:sp>
          <p:nvSpPr>
            <p:cNvPr id="200" name="Freeform: Shape 199">
              <a:extLst>
                <a:ext uri="{FF2B5EF4-FFF2-40B4-BE49-F238E27FC236}">
                  <a16:creationId xmlns:a16="http://schemas.microsoft.com/office/drawing/2014/main" id="{456B6163-B343-3349-22D5-2BF5A4BB161F}"/>
                </a:ext>
              </a:extLst>
            </p:cNvPr>
            <p:cNvSpPr/>
            <p:nvPr/>
          </p:nvSpPr>
          <p:spPr>
            <a:xfrm>
              <a:off x="7797089" y="3709219"/>
              <a:ext cx="435050" cy="435077"/>
            </a:xfrm>
            <a:custGeom>
              <a:avLst/>
              <a:gdLst>
                <a:gd name="connsiteX0" fmla="*/ 0 w 435050"/>
                <a:gd name="connsiteY0" fmla="*/ 435077 h 435077"/>
                <a:gd name="connsiteX1" fmla="*/ 217511 w 435050"/>
                <a:gd name="connsiteY1" fmla="*/ 435077 h 435077"/>
                <a:gd name="connsiteX2" fmla="*/ 217511 w 435050"/>
                <a:gd name="connsiteY2" fmla="*/ 217539 h 435077"/>
                <a:gd name="connsiteX3" fmla="*/ 0 w 435050"/>
                <a:gd name="connsiteY3" fmla="*/ 435077 h 435077"/>
                <a:gd name="connsiteX4" fmla="*/ 217511 w 435050"/>
                <a:gd name="connsiteY4" fmla="*/ 0 h 435077"/>
                <a:gd name="connsiteX5" fmla="*/ 0 w 435050"/>
                <a:gd name="connsiteY5" fmla="*/ 0 h 435077"/>
                <a:gd name="connsiteX6" fmla="*/ 217511 w 435050"/>
                <a:gd name="connsiteY6" fmla="*/ 217539 h 435077"/>
                <a:gd name="connsiteX7" fmla="*/ 217511 w 435050"/>
                <a:gd name="connsiteY7" fmla="*/ 0 h 435077"/>
                <a:gd name="connsiteX8" fmla="*/ 435050 w 435050"/>
                <a:gd name="connsiteY8" fmla="*/ 435077 h 435077"/>
                <a:gd name="connsiteX9" fmla="*/ 217539 w 435050"/>
                <a:gd name="connsiteY9" fmla="*/ 435077 h 435077"/>
                <a:gd name="connsiteX10" fmla="*/ 435050 w 435050"/>
                <a:gd name="connsiteY10" fmla="*/ 217539 h 435077"/>
                <a:gd name="connsiteX11" fmla="*/ 435050 w 435050"/>
                <a:gd name="connsiteY11" fmla="*/ 435077 h 435077"/>
                <a:gd name="connsiteX12" fmla="*/ 435050 w 435050"/>
                <a:gd name="connsiteY12" fmla="*/ 0 h 435077"/>
                <a:gd name="connsiteX13" fmla="*/ 217539 w 435050"/>
                <a:gd name="connsiteY13" fmla="*/ 0 h 435077"/>
                <a:gd name="connsiteX14" fmla="*/ 435050 w 435050"/>
                <a:gd name="connsiteY14" fmla="*/ 217539 h 435077"/>
                <a:gd name="connsiteX15" fmla="*/ 435050 w 435050"/>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50" h="435077">
                  <a:moveTo>
                    <a:pt x="0" y="435077"/>
                  </a:moveTo>
                  <a:lnTo>
                    <a:pt x="217511" y="435077"/>
                  </a:lnTo>
                  <a:lnTo>
                    <a:pt x="217511" y="217539"/>
                  </a:lnTo>
                  <a:lnTo>
                    <a:pt x="0" y="435077"/>
                  </a:lnTo>
                  <a:close/>
                  <a:moveTo>
                    <a:pt x="217511" y="0"/>
                  </a:moveTo>
                  <a:lnTo>
                    <a:pt x="0" y="0"/>
                  </a:lnTo>
                  <a:lnTo>
                    <a:pt x="217511" y="217539"/>
                  </a:lnTo>
                  <a:lnTo>
                    <a:pt x="217511" y="0"/>
                  </a:lnTo>
                  <a:close/>
                  <a:moveTo>
                    <a:pt x="435050" y="435077"/>
                  </a:moveTo>
                  <a:lnTo>
                    <a:pt x="217539" y="435077"/>
                  </a:lnTo>
                  <a:lnTo>
                    <a:pt x="435050" y="217539"/>
                  </a:lnTo>
                  <a:lnTo>
                    <a:pt x="435050" y="435077"/>
                  </a:lnTo>
                  <a:close/>
                  <a:moveTo>
                    <a:pt x="435050" y="0"/>
                  </a:moveTo>
                  <a:lnTo>
                    <a:pt x="217539" y="0"/>
                  </a:lnTo>
                  <a:lnTo>
                    <a:pt x="435050" y="217539"/>
                  </a:lnTo>
                  <a:lnTo>
                    <a:pt x="435050" y="0"/>
                  </a:lnTo>
                  <a:close/>
                </a:path>
              </a:pathLst>
            </a:custGeom>
            <a:grpFill/>
            <a:ln w="27192" cap="flat">
              <a:noFill/>
              <a:prstDash val="solid"/>
              <a:miter/>
            </a:ln>
          </p:spPr>
          <p:txBody>
            <a:bodyPr rtlCol="0" anchor="ctr"/>
            <a:lstStyle/>
            <a:p>
              <a:endParaRPr lang="uk-UA" sz="900"/>
            </a:p>
          </p:txBody>
        </p:sp>
        <p:sp>
          <p:nvSpPr>
            <p:cNvPr id="201" name="Freeform: Shape 200">
              <a:extLst>
                <a:ext uri="{FF2B5EF4-FFF2-40B4-BE49-F238E27FC236}">
                  <a16:creationId xmlns:a16="http://schemas.microsoft.com/office/drawing/2014/main" id="{4BBF4AA9-B19C-A5A4-E511-47A3476552F1}"/>
                </a:ext>
              </a:extLst>
            </p:cNvPr>
            <p:cNvSpPr/>
            <p:nvPr/>
          </p:nvSpPr>
          <p:spPr>
            <a:xfrm>
              <a:off x="6926907" y="3709219"/>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0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39 h 435077"/>
                <a:gd name="connsiteX9" fmla="*/ 435077 w 435077"/>
                <a:gd name="connsiteY9" fmla="*/ 217539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0"/>
                  </a:lnTo>
                  <a:lnTo>
                    <a:pt x="435077" y="217539"/>
                  </a:lnTo>
                  <a:lnTo>
                    <a:pt x="435077" y="217539"/>
                  </a:lnTo>
                  <a:lnTo>
                    <a:pt x="435077" y="217539"/>
                  </a:lnTo>
                  <a:lnTo>
                    <a:pt x="435077" y="217539"/>
                  </a:lnTo>
                  <a:lnTo>
                    <a:pt x="435077" y="217539"/>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202" name="Freeform: Shape 201">
              <a:extLst>
                <a:ext uri="{FF2B5EF4-FFF2-40B4-BE49-F238E27FC236}">
                  <a16:creationId xmlns:a16="http://schemas.microsoft.com/office/drawing/2014/main" id="{A2644A85-081D-8C8D-A940-92EB79F1BE01}"/>
                </a:ext>
              </a:extLst>
            </p:cNvPr>
            <p:cNvSpPr/>
            <p:nvPr/>
          </p:nvSpPr>
          <p:spPr>
            <a:xfrm>
              <a:off x="8667217" y="370921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p>
          </p:txBody>
        </p:sp>
        <p:sp>
          <p:nvSpPr>
            <p:cNvPr id="203" name="Freeform: Shape 202">
              <a:extLst>
                <a:ext uri="{FF2B5EF4-FFF2-40B4-BE49-F238E27FC236}">
                  <a16:creationId xmlns:a16="http://schemas.microsoft.com/office/drawing/2014/main" id="{28EDC7E2-340E-C40E-9FE1-CB076E76F7EA}"/>
                </a:ext>
              </a:extLst>
            </p:cNvPr>
            <p:cNvSpPr/>
            <p:nvPr/>
          </p:nvSpPr>
          <p:spPr>
            <a:xfrm>
              <a:off x="9537399" y="3709219"/>
              <a:ext cx="435077" cy="435077"/>
            </a:xfrm>
            <a:custGeom>
              <a:avLst/>
              <a:gdLst>
                <a:gd name="connsiteX0" fmla="*/ 371366 w 435077"/>
                <a:gd name="connsiteY0" fmla="*/ 63712 h 435077"/>
                <a:gd name="connsiteX1" fmla="*/ 435077 w 435077"/>
                <a:gd name="connsiteY1" fmla="*/ 217539 h 435077"/>
                <a:gd name="connsiteX2" fmla="*/ 218925 w 435077"/>
                <a:gd name="connsiteY2" fmla="*/ 217539 h 435077"/>
                <a:gd name="connsiteX3" fmla="*/ 371366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1 w 435077"/>
                <a:gd name="connsiteY7" fmla="*/ 281250 h 435077"/>
                <a:gd name="connsiteX8" fmla="*/ 216125 w 435077"/>
                <a:gd name="connsiteY8" fmla="*/ 217539 h 435077"/>
                <a:gd name="connsiteX9" fmla="*/ 0 w 435077"/>
                <a:gd name="connsiteY9" fmla="*/ 217539 h 435077"/>
                <a:gd name="connsiteX10" fmla="*/ 63711 w 435077"/>
                <a:gd name="connsiteY10" fmla="*/ 63712 h 435077"/>
                <a:gd name="connsiteX11" fmla="*/ 217539 w 435077"/>
                <a:gd name="connsiteY11" fmla="*/ 0 h 435077"/>
                <a:gd name="connsiteX12" fmla="*/ 371366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2"/>
                  </a:moveTo>
                  <a:cubicBezTo>
                    <a:pt x="412155" y="104500"/>
                    <a:pt x="435077" y="159837"/>
                    <a:pt x="435077" y="217539"/>
                  </a:cubicBezTo>
                  <a:lnTo>
                    <a:pt x="218925" y="217539"/>
                  </a:lnTo>
                  <a:cubicBezTo>
                    <a:pt x="276111" y="217892"/>
                    <a:pt x="330904" y="240788"/>
                    <a:pt x="371366" y="281250"/>
                  </a:cubicBezTo>
                  <a:cubicBezTo>
                    <a:pt x="412155" y="322039"/>
                    <a:pt x="435077" y="377375"/>
                    <a:pt x="435077" y="435077"/>
                  </a:cubicBezTo>
                  <a:lnTo>
                    <a:pt x="217539" y="435077"/>
                  </a:lnTo>
                  <a:lnTo>
                    <a:pt x="0" y="435077"/>
                  </a:lnTo>
                  <a:cubicBezTo>
                    <a:pt x="0" y="377375"/>
                    <a:pt x="22923" y="322039"/>
                    <a:pt x="63711" y="281250"/>
                  </a:cubicBezTo>
                  <a:cubicBezTo>
                    <a:pt x="104174" y="240788"/>
                    <a:pt x="158939" y="217892"/>
                    <a:pt x="216125" y="217539"/>
                  </a:cubicBezTo>
                  <a:lnTo>
                    <a:pt x="0" y="217539"/>
                  </a:lnTo>
                  <a:cubicBezTo>
                    <a:pt x="0" y="159837"/>
                    <a:pt x="22923" y="104500"/>
                    <a:pt x="63711" y="63712"/>
                  </a:cubicBezTo>
                  <a:cubicBezTo>
                    <a:pt x="104500" y="22923"/>
                    <a:pt x="159836" y="0"/>
                    <a:pt x="217539" y="0"/>
                  </a:cubicBezTo>
                  <a:cubicBezTo>
                    <a:pt x="275214" y="0"/>
                    <a:pt x="330550" y="22923"/>
                    <a:pt x="371366" y="63712"/>
                  </a:cubicBezTo>
                  <a:close/>
                </a:path>
              </a:pathLst>
            </a:custGeom>
            <a:grpFill/>
            <a:ln w="27192" cap="flat">
              <a:noFill/>
              <a:prstDash val="solid"/>
              <a:miter/>
            </a:ln>
          </p:spPr>
          <p:txBody>
            <a:bodyPr rtlCol="0" anchor="ctr"/>
            <a:lstStyle/>
            <a:p>
              <a:endParaRPr lang="uk-UA" sz="900"/>
            </a:p>
          </p:txBody>
        </p:sp>
        <p:sp>
          <p:nvSpPr>
            <p:cNvPr id="204" name="Freeform: Shape 203">
              <a:extLst>
                <a:ext uri="{FF2B5EF4-FFF2-40B4-BE49-F238E27FC236}">
                  <a16:creationId xmlns:a16="http://schemas.microsoft.com/office/drawing/2014/main" id="{E2850C8E-EB4A-D8F4-E84B-15AC9AC84CA9}"/>
                </a:ext>
              </a:extLst>
            </p:cNvPr>
            <p:cNvSpPr/>
            <p:nvPr/>
          </p:nvSpPr>
          <p:spPr>
            <a:xfrm>
              <a:off x="11277709" y="3709219"/>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205" name="Freeform: Shape 204">
              <a:extLst>
                <a:ext uri="{FF2B5EF4-FFF2-40B4-BE49-F238E27FC236}">
                  <a16:creationId xmlns:a16="http://schemas.microsoft.com/office/drawing/2014/main" id="{AE4252EC-F014-6A4F-F6EB-87B38FD9B7B9}"/>
                </a:ext>
              </a:extLst>
            </p:cNvPr>
            <p:cNvSpPr/>
            <p:nvPr/>
          </p:nvSpPr>
          <p:spPr>
            <a:xfrm>
              <a:off x="10407554" y="3709219"/>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0 h 435077"/>
                <a:gd name="connsiteX5" fmla="*/ 435050 w 435077"/>
                <a:gd name="connsiteY5" fmla="*/ 217539 h 435077"/>
                <a:gd name="connsiteX6" fmla="*/ 435077 w 435077"/>
                <a:gd name="connsiteY6" fmla="*/ 217539 h 435077"/>
                <a:gd name="connsiteX7" fmla="*/ 435050 w 435077"/>
                <a:gd name="connsiteY7" fmla="*/ 217539 h 435077"/>
                <a:gd name="connsiteX8" fmla="*/ 435077 w 435077"/>
                <a:gd name="connsiteY8" fmla="*/ 217539 h 435077"/>
                <a:gd name="connsiteX9" fmla="*/ 435050 w 435077"/>
                <a:gd name="connsiteY9" fmla="*/ 217539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0"/>
                  </a:lnTo>
                  <a:lnTo>
                    <a:pt x="435050" y="217539"/>
                  </a:lnTo>
                  <a:lnTo>
                    <a:pt x="435077" y="217539"/>
                  </a:lnTo>
                  <a:lnTo>
                    <a:pt x="435050" y="217539"/>
                  </a:lnTo>
                  <a:lnTo>
                    <a:pt x="435077" y="217539"/>
                  </a:lnTo>
                  <a:lnTo>
                    <a:pt x="435050" y="217539"/>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206" name="Freeform: Shape 205">
              <a:extLst>
                <a:ext uri="{FF2B5EF4-FFF2-40B4-BE49-F238E27FC236}">
                  <a16:creationId xmlns:a16="http://schemas.microsoft.com/office/drawing/2014/main" id="{2AB5EE33-944D-7E7E-F547-55A871A6A194}"/>
                </a:ext>
              </a:extLst>
            </p:cNvPr>
            <p:cNvSpPr/>
            <p:nvPr/>
          </p:nvSpPr>
          <p:spPr>
            <a:xfrm>
              <a:off x="12147864" y="3709219"/>
              <a:ext cx="435103" cy="435077"/>
            </a:xfrm>
            <a:custGeom>
              <a:avLst/>
              <a:gdLst>
                <a:gd name="connsiteX0" fmla="*/ 217539 w 435103"/>
                <a:gd name="connsiteY0" fmla="*/ 0 h 435077"/>
                <a:gd name="connsiteX1" fmla="*/ 0 w 435103"/>
                <a:gd name="connsiteY1" fmla="*/ 0 h 435077"/>
                <a:gd name="connsiteX2" fmla="*/ 0 w 435103"/>
                <a:gd name="connsiteY2" fmla="*/ 217539 h 435077"/>
                <a:gd name="connsiteX3" fmla="*/ 217539 w 435103"/>
                <a:gd name="connsiteY3" fmla="*/ 0 h 435077"/>
                <a:gd name="connsiteX4" fmla="*/ 435104 w 435103"/>
                <a:gd name="connsiteY4" fmla="*/ 0 h 435077"/>
                <a:gd name="connsiteX5" fmla="*/ 435104 w 435103"/>
                <a:gd name="connsiteY5" fmla="*/ 217539 h 435077"/>
                <a:gd name="connsiteX6" fmla="*/ 217565 w 435103"/>
                <a:gd name="connsiteY6" fmla="*/ 0 h 435077"/>
                <a:gd name="connsiteX7" fmla="*/ 435104 w 435103"/>
                <a:gd name="connsiteY7" fmla="*/ 0 h 435077"/>
                <a:gd name="connsiteX8" fmla="*/ 217565 w 435103"/>
                <a:gd name="connsiteY8" fmla="*/ 435077 h 435077"/>
                <a:gd name="connsiteX9" fmla="*/ 435104 w 435103"/>
                <a:gd name="connsiteY9" fmla="*/ 217539 h 435077"/>
                <a:gd name="connsiteX10" fmla="*/ 435104 w 435103"/>
                <a:gd name="connsiteY10" fmla="*/ 435077 h 435077"/>
                <a:gd name="connsiteX11" fmla="*/ 217565 w 435103"/>
                <a:gd name="connsiteY11" fmla="*/ 435077 h 435077"/>
                <a:gd name="connsiteX12" fmla="*/ 217565 w 435103"/>
                <a:gd name="connsiteY12" fmla="*/ 435077 h 435077"/>
                <a:gd name="connsiteX13" fmla="*/ 27 w 435103"/>
                <a:gd name="connsiteY13" fmla="*/ 217539 h 435077"/>
                <a:gd name="connsiteX14" fmla="*/ 27 w 435103"/>
                <a:gd name="connsiteY14" fmla="*/ 435077 h 435077"/>
                <a:gd name="connsiteX15" fmla="*/ 217565 w 435103"/>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3" h="435077">
                  <a:moveTo>
                    <a:pt x="217539" y="0"/>
                  </a:moveTo>
                  <a:lnTo>
                    <a:pt x="0" y="0"/>
                  </a:lnTo>
                  <a:lnTo>
                    <a:pt x="0" y="217539"/>
                  </a:lnTo>
                  <a:lnTo>
                    <a:pt x="217539" y="0"/>
                  </a:lnTo>
                  <a:close/>
                  <a:moveTo>
                    <a:pt x="435104" y="0"/>
                  </a:moveTo>
                  <a:lnTo>
                    <a:pt x="435104" y="217539"/>
                  </a:lnTo>
                  <a:lnTo>
                    <a:pt x="217565" y="0"/>
                  </a:lnTo>
                  <a:lnTo>
                    <a:pt x="435104" y="0"/>
                  </a:lnTo>
                  <a:close/>
                  <a:moveTo>
                    <a:pt x="217565" y="435077"/>
                  </a:moveTo>
                  <a:lnTo>
                    <a:pt x="435104" y="217539"/>
                  </a:lnTo>
                  <a:lnTo>
                    <a:pt x="435104" y="435077"/>
                  </a:lnTo>
                  <a:lnTo>
                    <a:pt x="217565" y="435077"/>
                  </a:lnTo>
                  <a:close/>
                  <a:moveTo>
                    <a:pt x="217565" y="435077"/>
                  </a:moveTo>
                  <a:lnTo>
                    <a:pt x="27" y="217539"/>
                  </a:lnTo>
                  <a:lnTo>
                    <a:pt x="27" y="435077"/>
                  </a:lnTo>
                  <a:lnTo>
                    <a:pt x="217565" y="435077"/>
                  </a:lnTo>
                  <a:close/>
                </a:path>
              </a:pathLst>
            </a:custGeom>
            <a:grpFill/>
            <a:ln w="27192" cap="flat">
              <a:noFill/>
              <a:prstDash val="solid"/>
              <a:miter/>
            </a:ln>
          </p:spPr>
          <p:txBody>
            <a:bodyPr rtlCol="0" anchor="ctr"/>
            <a:lstStyle/>
            <a:p>
              <a:endParaRPr lang="uk-UA" sz="900"/>
            </a:p>
          </p:txBody>
        </p:sp>
        <p:sp>
          <p:nvSpPr>
            <p:cNvPr id="207" name="Freeform: Shape 206">
              <a:extLst>
                <a:ext uri="{FF2B5EF4-FFF2-40B4-BE49-F238E27FC236}">
                  <a16:creationId xmlns:a16="http://schemas.microsoft.com/office/drawing/2014/main" id="{93C4C6B9-F562-53E9-8DE6-57331A459958}"/>
                </a:ext>
              </a:extLst>
            </p:cNvPr>
            <p:cNvSpPr/>
            <p:nvPr/>
          </p:nvSpPr>
          <p:spPr>
            <a:xfrm>
              <a:off x="13018045" y="3709219"/>
              <a:ext cx="435077" cy="435077"/>
            </a:xfrm>
            <a:custGeom>
              <a:avLst/>
              <a:gdLst>
                <a:gd name="connsiteX0" fmla="*/ 371365 w 435077"/>
                <a:gd name="connsiteY0" fmla="*/ 63712 h 435077"/>
                <a:gd name="connsiteX1" fmla="*/ 435077 w 435077"/>
                <a:gd name="connsiteY1" fmla="*/ 217539 h 435077"/>
                <a:gd name="connsiteX2" fmla="*/ 218953 w 435077"/>
                <a:gd name="connsiteY2" fmla="*/ 217539 h 435077"/>
                <a:gd name="connsiteX3" fmla="*/ 371365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51 w 435077"/>
                <a:gd name="connsiteY8" fmla="*/ 217539 h 435077"/>
                <a:gd name="connsiteX9" fmla="*/ 0 w 435077"/>
                <a:gd name="connsiteY9" fmla="*/ 217539 h 435077"/>
                <a:gd name="connsiteX10" fmla="*/ 63712 w 435077"/>
                <a:gd name="connsiteY10" fmla="*/ 63712 h 435077"/>
                <a:gd name="connsiteX11" fmla="*/ 217539 w 435077"/>
                <a:gd name="connsiteY11" fmla="*/ 0 h 435077"/>
                <a:gd name="connsiteX12" fmla="*/ 371365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12"/>
                  </a:moveTo>
                  <a:cubicBezTo>
                    <a:pt x="412154" y="104500"/>
                    <a:pt x="435077" y="159837"/>
                    <a:pt x="435077" y="217539"/>
                  </a:cubicBezTo>
                  <a:lnTo>
                    <a:pt x="218953" y="217539"/>
                  </a:lnTo>
                  <a:cubicBezTo>
                    <a:pt x="276137" y="217892"/>
                    <a:pt x="330904" y="240788"/>
                    <a:pt x="371365" y="281250"/>
                  </a:cubicBezTo>
                  <a:cubicBezTo>
                    <a:pt x="412154" y="322039"/>
                    <a:pt x="435077" y="377375"/>
                    <a:pt x="435077" y="435077"/>
                  </a:cubicBezTo>
                  <a:lnTo>
                    <a:pt x="217539" y="435077"/>
                  </a:lnTo>
                  <a:lnTo>
                    <a:pt x="0" y="435077"/>
                  </a:lnTo>
                  <a:cubicBezTo>
                    <a:pt x="0" y="377375"/>
                    <a:pt x="22924" y="322039"/>
                    <a:pt x="63712" y="281250"/>
                  </a:cubicBezTo>
                  <a:cubicBezTo>
                    <a:pt x="104174" y="240788"/>
                    <a:pt x="158938" y="217892"/>
                    <a:pt x="216151" y="217539"/>
                  </a:cubicBezTo>
                  <a:lnTo>
                    <a:pt x="0" y="217539"/>
                  </a:lnTo>
                  <a:cubicBezTo>
                    <a:pt x="0" y="159837"/>
                    <a:pt x="22924" y="104500"/>
                    <a:pt x="63712" y="63712"/>
                  </a:cubicBezTo>
                  <a:cubicBezTo>
                    <a:pt x="104501" y="22923"/>
                    <a:pt x="159836" y="0"/>
                    <a:pt x="217539" y="0"/>
                  </a:cubicBezTo>
                  <a:cubicBezTo>
                    <a:pt x="275241" y="0"/>
                    <a:pt x="330550" y="22923"/>
                    <a:pt x="371365" y="63712"/>
                  </a:cubicBezTo>
                  <a:close/>
                </a:path>
              </a:pathLst>
            </a:custGeom>
            <a:grpFill/>
            <a:ln w="27192" cap="flat">
              <a:noFill/>
              <a:prstDash val="solid"/>
              <a:miter/>
            </a:ln>
          </p:spPr>
          <p:txBody>
            <a:bodyPr rtlCol="0" anchor="ctr"/>
            <a:lstStyle/>
            <a:p>
              <a:endParaRPr lang="uk-UA" sz="900"/>
            </a:p>
          </p:txBody>
        </p:sp>
        <p:sp>
          <p:nvSpPr>
            <p:cNvPr id="208" name="Freeform: Shape 207">
              <a:extLst>
                <a:ext uri="{FF2B5EF4-FFF2-40B4-BE49-F238E27FC236}">
                  <a16:creationId xmlns:a16="http://schemas.microsoft.com/office/drawing/2014/main" id="{D1FD0916-2663-3405-948A-276B32FBE97B}"/>
                </a:ext>
              </a:extLst>
            </p:cNvPr>
            <p:cNvSpPr/>
            <p:nvPr/>
          </p:nvSpPr>
          <p:spPr>
            <a:xfrm>
              <a:off x="14758382" y="3709219"/>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209" name="Freeform: Shape 208">
              <a:extLst>
                <a:ext uri="{FF2B5EF4-FFF2-40B4-BE49-F238E27FC236}">
                  <a16:creationId xmlns:a16="http://schemas.microsoft.com/office/drawing/2014/main" id="{11D94B39-7ABE-548C-D4EA-9B00A494091C}"/>
                </a:ext>
              </a:extLst>
            </p:cNvPr>
            <p:cNvSpPr/>
            <p:nvPr/>
          </p:nvSpPr>
          <p:spPr>
            <a:xfrm>
              <a:off x="13888174" y="3709192"/>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210" name="Freeform: Shape 209">
              <a:extLst>
                <a:ext uri="{FF2B5EF4-FFF2-40B4-BE49-F238E27FC236}">
                  <a16:creationId xmlns:a16="http://schemas.microsoft.com/office/drawing/2014/main" id="{7AD70C04-8EB3-6CB7-8016-8DDD26EF3C1E}"/>
                </a:ext>
              </a:extLst>
            </p:cNvPr>
            <p:cNvSpPr/>
            <p:nvPr/>
          </p:nvSpPr>
          <p:spPr>
            <a:xfrm>
              <a:off x="15628536" y="3709219"/>
              <a:ext cx="435077" cy="435077"/>
            </a:xfrm>
            <a:custGeom>
              <a:avLst/>
              <a:gdLst>
                <a:gd name="connsiteX0" fmla="*/ 217567 w 435077"/>
                <a:gd name="connsiteY0" fmla="*/ 0 h 435077"/>
                <a:gd name="connsiteX1" fmla="*/ 217539 w 435077"/>
                <a:gd name="connsiteY1" fmla="*/ 0 h 435077"/>
                <a:gd name="connsiteX2" fmla="*/ 28 w 435077"/>
                <a:gd name="connsiteY2" fmla="*/ 0 h 435077"/>
                <a:gd name="connsiteX3" fmla="*/ 28 w 435077"/>
                <a:gd name="connsiteY3" fmla="*/ 217539 h 435077"/>
                <a:gd name="connsiteX4" fmla="*/ 217567 w 435077"/>
                <a:gd name="connsiteY4" fmla="*/ 0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67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67" y="0"/>
                  </a:moveTo>
                  <a:lnTo>
                    <a:pt x="217539" y="0"/>
                  </a:lnTo>
                  <a:lnTo>
                    <a:pt x="28" y="0"/>
                  </a:lnTo>
                  <a:lnTo>
                    <a:pt x="28" y="217539"/>
                  </a:lnTo>
                  <a:lnTo>
                    <a:pt x="217567" y="0"/>
                  </a:lnTo>
                  <a:lnTo>
                    <a:pt x="435077" y="217539"/>
                  </a:lnTo>
                  <a:lnTo>
                    <a:pt x="217539" y="435077"/>
                  </a:lnTo>
                  <a:lnTo>
                    <a:pt x="0" y="217539"/>
                  </a:lnTo>
                  <a:lnTo>
                    <a:pt x="0" y="435077"/>
                  </a:lnTo>
                  <a:lnTo>
                    <a:pt x="217539" y="435077"/>
                  </a:lnTo>
                  <a:lnTo>
                    <a:pt x="435077" y="435077"/>
                  </a:lnTo>
                  <a:lnTo>
                    <a:pt x="435077" y="217539"/>
                  </a:lnTo>
                  <a:lnTo>
                    <a:pt x="435077" y="0"/>
                  </a:lnTo>
                  <a:lnTo>
                    <a:pt x="217567" y="0"/>
                  </a:lnTo>
                  <a:close/>
                </a:path>
              </a:pathLst>
            </a:custGeom>
            <a:grpFill/>
            <a:ln w="27192" cap="flat">
              <a:noFill/>
              <a:prstDash val="solid"/>
              <a:miter/>
            </a:ln>
          </p:spPr>
          <p:txBody>
            <a:bodyPr rtlCol="0" anchor="ctr"/>
            <a:lstStyle/>
            <a:p>
              <a:endParaRPr lang="uk-UA" sz="900"/>
            </a:p>
          </p:txBody>
        </p:sp>
        <p:sp>
          <p:nvSpPr>
            <p:cNvPr id="211" name="Freeform: Shape 210">
              <a:extLst>
                <a:ext uri="{FF2B5EF4-FFF2-40B4-BE49-F238E27FC236}">
                  <a16:creationId xmlns:a16="http://schemas.microsoft.com/office/drawing/2014/main" id="{6AA78748-15C6-E432-5C7A-38D3482E7581}"/>
                </a:ext>
              </a:extLst>
            </p:cNvPr>
            <p:cNvSpPr/>
            <p:nvPr/>
          </p:nvSpPr>
          <p:spPr>
            <a:xfrm>
              <a:off x="16498719" y="3709219"/>
              <a:ext cx="435077" cy="435077"/>
            </a:xfrm>
            <a:custGeom>
              <a:avLst/>
              <a:gdLst>
                <a:gd name="connsiteX0" fmla="*/ 371339 w 435077"/>
                <a:gd name="connsiteY0" fmla="*/ 63712 h 435077"/>
                <a:gd name="connsiteX1" fmla="*/ 435077 w 435077"/>
                <a:gd name="connsiteY1" fmla="*/ 217539 h 435077"/>
                <a:gd name="connsiteX2" fmla="*/ 218925 w 435077"/>
                <a:gd name="connsiteY2" fmla="*/ 217539 h 435077"/>
                <a:gd name="connsiteX3" fmla="*/ 371365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0 w 435077"/>
                <a:gd name="connsiteY7" fmla="*/ 281250 h 435077"/>
                <a:gd name="connsiteX8" fmla="*/ 216125 w 435077"/>
                <a:gd name="connsiteY8" fmla="*/ 217539 h 435077"/>
                <a:gd name="connsiteX9" fmla="*/ 0 w 435077"/>
                <a:gd name="connsiteY9" fmla="*/ 217539 h 435077"/>
                <a:gd name="connsiteX10" fmla="*/ 63710 w 435077"/>
                <a:gd name="connsiteY10" fmla="*/ 63712 h 435077"/>
                <a:gd name="connsiteX11" fmla="*/ 217539 w 435077"/>
                <a:gd name="connsiteY11" fmla="*/ 0 h 435077"/>
                <a:gd name="connsiteX12" fmla="*/ 371339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12"/>
                  </a:moveTo>
                  <a:cubicBezTo>
                    <a:pt x="412154" y="104500"/>
                    <a:pt x="435077" y="159837"/>
                    <a:pt x="435077" y="217539"/>
                  </a:cubicBezTo>
                  <a:lnTo>
                    <a:pt x="218925" y="217539"/>
                  </a:lnTo>
                  <a:cubicBezTo>
                    <a:pt x="276111" y="217892"/>
                    <a:pt x="330876" y="240788"/>
                    <a:pt x="371365" y="281250"/>
                  </a:cubicBezTo>
                  <a:cubicBezTo>
                    <a:pt x="412154" y="322039"/>
                    <a:pt x="435077" y="377375"/>
                    <a:pt x="435077" y="435077"/>
                  </a:cubicBezTo>
                  <a:lnTo>
                    <a:pt x="217539" y="435077"/>
                  </a:lnTo>
                  <a:lnTo>
                    <a:pt x="0" y="435077"/>
                  </a:lnTo>
                  <a:cubicBezTo>
                    <a:pt x="0" y="377375"/>
                    <a:pt x="22922" y="322039"/>
                    <a:pt x="63710" y="281250"/>
                  </a:cubicBezTo>
                  <a:cubicBezTo>
                    <a:pt x="104174" y="240788"/>
                    <a:pt x="158938" y="217892"/>
                    <a:pt x="216125" y="217539"/>
                  </a:cubicBezTo>
                  <a:lnTo>
                    <a:pt x="0" y="217539"/>
                  </a:lnTo>
                  <a:cubicBezTo>
                    <a:pt x="0" y="159837"/>
                    <a:pt x="22895" y="104500"/>
                    <a:pt x="63710" y="63712"/>
                  </a:cubicBezTo>
                  <a:cubicBezTo>
                    <a:pt x="104499" y="22923"/>
                    <a:pt x="159836" y="0"/>
                    <a:pt x="217539" y="0"/>
                  </a:cubicBezTo>
                  <a:cubicBezTo>
                    <a:pt x="275213" y="0"/>
                    <a:pt x="330550" y="22923"/>
                    <a:pt x="371339" y="63712"/>
                  </a:cubicBezTo>
                  <a:close/>
                </a:path>
              </a:pathLst>
            </a:custGeom>
            <a:grpFill/>
            <a:ln w="27192" cap="flat">
              <a:noFill/>
              <a:prstDash val="solid"/>
              <a:miter/>
            </a:ln>
          </p:spPr>
          <p:txBody>
            <a:bodyPr rtlCol="0" anchor="ctr"/>
            <a:lstStyle/>
            <a:p>
              <a:endParaRPr lang="uk-UA" sz="900"/>
            </a:p>
          </p:txBody>
        </p:sp>
        <p:sp>
          <p:nvSpPr>
            <p:cNvPr id="212" name="Freeform: Shape 211">
              <a:extLst>
                <a:ext uri="{FF2B5EF4-FFF2-40B4-BE49-F238E27FC236}">
                  <a16:creationId xmlns:a16="http://schemas.microsoft.com/office/drawing/2014/main" id="{80C5A608-BBBC-C3CE-8C5C-B22F6DDAE2C7}"/>
                </a:ext>
              </a:extLst>
            </p:cNvPr>
            <p:cNvSpPr/>
            <p:nvPr/>
          </p:nvSpPr>
          <p:spPr>
            <a:xfrm>
              <a:off x="18239029" y="3709219"/>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65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65"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213" name="Freeform: Shape 212">
              <a:extLst>
                <a:ext uri="{FF2B5EF4-FFF2-40B4-BE49-F238E27FC236}">
                  <a16:creationId xmlns:a16="http://schemas.microsoft.com/office/drawing/2014/main" id="{8B8BCA65-88C6-999D-52E9-573C4B7B31EC}"/>
                </a:ext>
              </a:extLst>
            </p:cNvPr>
            <p:cNvSpPr/>
            <p:nvPr/>
          </p:nvSpPr>
          <p:spPr>
            <a:xfrm>
              <a:off x="17368874" y="370921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214" name="Freeform: Shape 213">
              <a:extLst>
                <a:ext uri="{FF2B5EF4-FFF2-40B4-BE49-F238E27FC236}">
                  <a16:creationId xmlns:a16="http://schemas.microsoft.com/office/drawing/2014/main" id="{C61F25E4-3512-4B2D-9FFE-7505E0230F30}"/>
                </a:ext>
              </a:extLst>
            </p:cNvPr>
            <p:cNvSpPr/>
            <p:nvPr/>
          </p:nvSpPr>
          <p:spPr>
            <a:xfrm>
              <a:off x="19109210" y="370921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215" name="Freeform: Shape 214">
              <a:extLst>
                <a:ext uri="{FF2B5EF4-FFF2-40B4-BE49-F238E27FC236}">
                  <a16:creationId xmlns:a16="http://schemas.microsoft.com/office/drawing/2014/main" id="{EA699DD9-6186-DA43-E78E-CBD2A4F07AD7}"/>
                </a:ext>
              </a:extLst>
            </p:cNvPr>
            <p:cNvSpPr/>
            <p:nvPr/>
          </p:nvSpPr>
          <p:spPr>
            <a:xfrm>
              <a:off x="19979365" y="3709219"/>
              <a:ext cx="435077" cy="435077"/>
            </a:xfrm>
            <a:custGeom>
              <a:avLst/>
              <a:gdLst>
                <a:gd name="connsiteX0" fmla="*/ 371365 w 435077"/>
                <a:gd name="connsiteY0" fmla="*/ 63712 h 435077"/>
                <a:gd name="connsiteX1" fmla="*/ 435077 w 435077"/>
                <a:gd name="connsiteY1" fmla="*/ 217539 h 435077"/>
                <a:gd name="connsiteX2" fmla="*/ 218953 w 435077"/>
                <a:gd name="connsiteY2" fmla="*/ 217539 h 435077"/>
                <a:gd name="connsiteX3" fmla="*/ 371365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25 w 435077"/>
                <a:gd name="connsiteY8" fmla="*/ 217539 h 435077"/>
                <a:gd name="connsiteX9" fmla="*/ 0 w 435077"/>
                <a:gd name="connsiteY9" fmla="*/ 217539 h 435077"/>
                <a:gd name="connsiteX10" fmla="*/ 63712 w 435077"/>
                <a:gd name="connsiteY10" fmla="*/ 63712 h 435077"/>
                <a:gd name="connsiteX11" fmla="*/ 217539 w 435077"/>
                <a:gd name="connsiteY11" fmla="*/ 0 h 435077"/>
                <a:gd name="connsiteX12" fmla="*/ 371365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12"/>
                  </a:moveTo>
                  <a:cubicBezTo>
                    <a:pt x="412154" y="104500"/>
                    <a:pt x="435077" y="159837"/>
                    <a:pt x="435077" y="217539"/>
                  </a:cubicBezTo>
                  <a:lnTo>
                    <a:pt x="218953" y="217539"/>
                  </a:lnTo>
                  <a:cubicBezTo>
                    <a:pt x="276139" y="217892"/>
                    <a:pt x="330904" y="240788"/>
                    <a:pt x="371365" y="281250"/>
                  </a:cubicBezTo>
                  <a:cubicBezTo>
                    <a:pt x="412154" y="322039"/>
                    <a:pt x="435077" y="377375"/>
                    <a:pt x="435077" y="435077"/>
                  </a:cubicBezTo>
                  <a:lnTo>
                    <a:pt x="217539" y="435077"/>
                  </a:lnTo>
                  <a:lnTo>
                    <a:pt x="0" y="435077"/>
                  </a:lnTo>
                  <a:cubicBezTo>
                    <a:pt x="0" y="377375"/>
                    <a:pt x="22924" y="322039"/>
                    <a:pt x="63712" y="281250"/>
                  </a:cubicBezTo>
                  <a:cubicBezTo>
                    <a:pt x="104174" y="240788"/>
                    <a:pt x="158940" y="217892"/>
                    <a:pt x="216125" y="217539"/>
                  </a:cubicBezTo>
                  <a:lnTo>
                    <a:pt x="0" y="217539"/>
                  </a:lnTo>
                  <a:cubicBezTo>
                    <a:pt x="0" y="159837"/>
                    <a:pt x="22924" y="104500"/>
                    <a:pt x="63712" y="63712"/>
                  </a:cubicBezTo>
                  <a:cubicBezTo>
                    <a:pt x="104501" y="22923"/>
                    <a:pt x="159836" y="0"/>
                    <a:pt x="217539" y="0"/>
                  </a:cubicBezTo>
                  <a:cubicBezTo>
                    <a:pt x="275241" y="0"/>
                    <a:pt x="330550" y="22923"/>
                    <a:pt x="371365" y="63712"/>
                  </a:cubicBezTo>
                  <a:close/>
                </a:path>
              </a:pathLst>
            </a:custGeom>
            <a:grpFill/>
            <a:ln w="27192" cap="flat">
              <a:noFill/>
              <a:prstDash val="solid"/>
              <a:miter/>
            </a:ln>
          </p:spPr>
          <p:txBody>
            <a:bodyPr rtlCol="0" anchor="ctr"/>
            <a:lstStyle/>
            <a:p>
              <a:endParaRPr lang="uk-UA" sz="900"/>
            </a:p>
          </p:txBody>
        </p:sp>
        <p:sp>
          <p:nvSpPr>
            <p:cNvPr id="216" name="Freeform: Shape 215">
              <a:extLst>
                <a:ext uri="{FF2B5EF4-FFF2-40B4-BE49-F238E27FC236}">
                  <a16:creationId xmlns:a16="http://schemas.microsoft.com/office/drawing/2014/main" id="{61D398A7-6624-D096-33B7-797FC867EA7D}"/>
                </a:ext>
              </a:extLst>
            </p:cNvPr>
            <p:cNvSpPr/>
            <p:nvPr/>
          </p:nvSpPr>
          <p:spPr>
            <a:xfrm>
              <a:off x="21719702" y="3709219"/>
              <a:ext cx="435077" cy="435077"/>
            </a:xfrm>
            <a:custGeom>
              <a:avLst/>
              <a:gdLst>
                <a:gd name="connsiteX0" fmla="*/ 0 w 435077"/>
                <a:gd name="connsiteY0" fmla="*/ 435077 h 435077"/>
                <a:gd name="connsiteX1" fmla="*/ 217512 w 435077"/>
                <a:gd name="connsiteY1" fmla="*/ 435077 h 435077"/>
                <a:gd name="connsiteX2" fmla="*/ 217512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12" y="435077"/>
                  </a:lnTo>
                  <a:lnTo>
                    <a:pt x="217512"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217" name="Freeform: Shape 216">
              <a:extLst>
                <a:ext uri="{FF2B5EF4-FFF2-40B4-BE49-F238E27FC236}">
                  <a16:creationId xmlns:a16="http://schemas.microsoft.com/office/drawing/2014/main" id="{B7EC6928-9295-414E-A8C8-1FB7BCE3FF44}"/>
                </a:ext>
              </a:extLst>
            </p:cNvPr>
            <p:cNvSpPr/>
            <p:nvPr/>
          </p:nvSpPr>
          <p:spPr>
            <a:xfrm>
              <a:off x="20849520" y="370921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218" name="Freeform: Shape 217">
              <a:extLst>
                <a:ext uri="{FF2B5EF4-FFF2-40B4-BE49-F238E27FC236}">
                  <a16:creationId xmlns:a16="http://schemas.microsoft.com/office/drawing/2014/main" id="{CB20C862-1D32-360B-AC61-36C3FE3D6617}"/>
                </a:ext>
              </a:extLst>
            </p:cNvPr>
            <p:cNvSpPr/>
            <p:nvPr/>
          </p:nvSpPr>
          <p:spPr>
            <a:xfrm>
              <a:off x="22589856" y="370921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219" name="Freeform: Shape 218">
              <a:extLst>
                <a:ext uri="{FF2B5EF4-FFF2-40B4-BE49-F238E27FC236}">
                  <a16:creationId xmlns:a16="http://schemas.microsoft.com/office/drawing/2014/main" id="{EAD38310-5DDA-1EF9-AEBB-DA156CF4C854}"/>
                </a:ext>
              </a:extLst>
            </p:cNvPr>
            <p:cNvSpPr/>
            <p:nvPr/>
          </p:nvSpPr>
          <p:spPr>
            <a:xfrm>
              <a:off x="23460039" y="3709219"/>
              <a:ext cx="435077" cy="435077"/>
            </a:xfrm>
            <a:custGeom>
              <a:avLst/>
              <a:gdLst>
                <a:gd name="connsiteX0" fmla="*/ 371339 w 435077"/>
                <a:gd name="connsiteY0" fmla="*/ 63712 h 435077"/>
                <a:gd name="connsiteX1" fmla="*/ 435077 w 435077"/>
                <a:gd name="connsiteY1" fmla="*/ 217539 h 435077"/>
                <a:gd name="connsiteX2" fmla="*/ 218925 w 435077"/>
                <a:gd name="connsiteY2" fmla="*/ 217539 h 435077"/>
                <a:gd name="connsiteX3" fmla="*/ 371339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25 w 435077"/>
                <a:gd name="connsiteY8" fmla="*/ 217539 h 435077"/>
                <a:gd name="connsiteX9" fmla="*/ 0 w 435077"/>
                <a:gd name="connsiteY9" fmla="*/ 217539 h 435077"/>
                <a:gd name="connsiteX10" fmla="*/ 63712 w 435077"/>
                <a:gd name="connsiteY10" fmla="*/ 63712 h 435077"/>
                <a:gd name="connsiteX11" fmla="*/ 217539 w 435077"/>
                <a:gd name="connsiteY11" fmla="*/ 0 h 435077"/>
                <a:gd name="connsiteX12" fmla="*/ 371339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12"/>
                  </a:moveTo>
                  <a:cubicBezTo>
                    <a:pt x="412154" y="104500"/>
                    <a:pt x="435077" y="159837"/>
                    <a:pt x="435077" y="217539"/>
                  </a:cubicBezTo>
                  <a:lnTo>
                    <a:pt x="218925" y="217539"/>
                  </a:lnTo>
                  <a:cubicBezTo>
                    <a:pt x="276111" y="217892"/>
                    <a:pt x="330876" y="240788"/>
                    <a:pt x="371339" y="281250"/>
                  </a:cubicBezTo>
                  <a:cubicBezTo>
                    <a:pt x="412154" y="322039"/>
                    <a:pt x="435077" y="377375"/>
                    <a:pt x="435077" y="435077"/>
                  </a:cubicBezTo>
                  <a:lnTo>
                    <a:pt x="217539" y="435077"/>
                  </a:lnTo>
                  <a:lnTo>
                    <a:pt x="0" y="435077"/>
                  </a:lnTo>
                  <a:cubicBezTo>
                    <a:pt x="0" y="377375"/>
                    <a:pt x="22895" y="322039"/>
                    <a:pt x="63712" y="281250"/>
                  </a:cubicBezTo>
                  <a:cubicBezTo>
                    <a:pt x="104174" y="240788"/>
                    <a:pt x="158938" y="217892"/>
                    <a:pt x="216125" y="217539"/>
                  </a:cubicBezTo>
                  <a:lnTo>
                    <a:pt x="0" y="217539"/>
                  </a:lnTo>
                  <a:cubicBezTo>
                    <a:pt x="0" y="159837"/>
                    <a:pt x="22895" y="104500"/>
                    <a:pt x="63712" y="63712"/>
                  </a:cubicBezTo>
                  <a:cubicBezTo>
                    <a:pt x="104501" y="22923"/>
                    <a:pt x="159836" y="0"/>
                    <a:pt x="217539" y="0"/>
                  </a:cubicBezTo>
                  <a:cubicBezTo>
                    <a:pt x="275213" y="0"/>
                    <a:pt x="330550" y="22923"/>
                    <a:pt x="371339" y="63712"/>
                  </a:cubicBezTo>
                  <a:close/>
                </a:path>
              </a:pathLst>
            </a:custGeom>
            <a:grpFill/>
            <a:ln w="27192" cap="flat">
              <a:noFill/>
              <a:prstDash val="solid"/>
              <a:miter/>
            </a:ln>
          </p:spPr>
          <p:txBody>
            <a:bodyPr rtlCol="0" anchor="ctr"/>
            <a:lstStyle/>
            <a:p>
              <a:endParaRPr lang="uk-UA" sz="900"/>
            </a:p>
          </p:txBody>
        </p:sp>
        <p:sp>
          <p:nvSpPr>
            <p:cNvPr id="220" name="Freeform: Shape 219">
              <a:extLst>
                <a:ext uri="{FF2B5EF4-FFF2-40B4-BE49-F238E27FC236}">
                  <a16:creationId xmlns:a16="http://schemas.microsoft.com/office/drawing/2014/main" id="{5D8A2495-12DD-31EC-778D-16466BDFAA3D}"/>
                </a:ext>
              </a:extLst>
            </p:cNvPr>
            <p:cNvSpPr/>
            <p:nvPr/>
          </p:nvSpPr>
          <p:spPr>
            <a:xfrm>
              <a:off x="24330194" y="370921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221" name="Freeform: Shape 220">
              <a:extLst>
                <a:ext uri="{FF2B5EF4-FFF2-40B4-BE49-F238E27FC236}">
                  <a16:creationId xmlns:a16="http://schemas.microsoft.com/office/drawing/2014/main" id="{46D0CB10-B6C4-253D-52EB-4B376698D76C}"/>
                </a:ext>
              </a:extLst>
            </p:cNvPr>
            <p:cNvSpPr/>
            <p:nvPr/>
          </p:nvSpPr>
          <p:spPr>
            <a:xfrm>
              <a:off x="835769" y="4579374"/>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22" name="Freeform: Shape 221">
              <a:extLst>
                <a:ext uri="{FF2B5EF4-FFF2-40B4-BE49-F238E27FC236}">
                  <a16:creationId xmlns:a16="http://schemas.microsoft.com/office/drawing/2014/main" id="{F5480C7F-6611-F0BD-95D9-4C8264AD9009}"/>
                </a:ext>
              </a:extLst>
            </p:cNvPr>
            <p:cNvSpPr/>
            <p:nvPr/>
          </p:nvSpPr>
          <p:spPr>
            <a:xfrm>
              <a:off x="-34398" y="4579374"/>
              <a:ext cx="435063" cy="435077"/>
            </a:xfrm>
            <a:custGeom>
              <a:avLst/>
              <a:gdLst>
                <a:gd name="connsiteX0" fmla="*/ 435064 w 435063"/>
                <a:gd name="connsiteY0" fmla="*/ 435077 h 435077"/>
                <a:gd name="connsiteX1" fmla="*/ 435064 w 435063"/>
                <a:gd name="connsiteY1" fmla="*/ 217539 h 435077"/>
                <a:gd name="connsiteX2" fmla="*/ 435064 w 435063"/>
                <a:gd name="connsiteY2" fmla="*/ 27 h 435077"/>
                <a:gd name="connsiteX3" fmla="*/ 217552 w 435063"/>
                <a:gd name="connsiteY3" fmla="*/ 27 h 435077"/>
                <a:gd name="connsiteX4" fmla="*/ 435064 w 435063"/>
                <a:gd name="connsiteY4" fmla="*/ 217539 h 435077"/>
                <a:gd name="connsiteX5" fmla="*/ 217552 w 435063"/>
                <a:gd name="connsiteY5" fmla="*/ 435077 h 435077"/>
                <a:gd name="connsiteX6" fmla="*/ 435064 w 435063"/>
                <a:gd name="connsiteY6" fmla="*/ 435077 h 435077"/>
                <a:gd name="connsiteX7" fmla="*/ 0 w 435063"/>
                <a:gd name="connsiteY7" fmla="*/ 217539 h 435077"/>
                <a:gd name="connsiteX8" fmla="*/ 0 w 435063"/>
                <a:gd name="connsiteY8" fmla="*/ 0 h 435077"/>
                <a:gd name="connsiteX9" fmla="*/ 217525 w 435063"/>
                <a:gd name="connsiteY9" fmla="*/ 217539 h 435077"/>
                <a:gd name="connsiteX10" fmla="*/ 0 w 435063"/>
                <a:gd name="connsiteY10" fmla="*/ 217539 h 435077"/>
                <a:gd name="connsiteX11" fmla="*/ 0 w 435063"/>
                <a:gd name="connsiteY11" fmla="*/ 435077 h 435077"/>
                <a:gd name="connsiteX12" fmla="*/ 0 w 435063"/>
                <a:gd name="connsiteY12" fmla="*/ 217539 h 435077"/>
                <a:gd name="connsiteX13" fmla="*/ 217525 w 435063"/>
                <a:gd name="connsiteY13" fmla="*/ 217539 h 435077"/>
                <a:gd name="connsiteX14" fmla="*/ 0 w 435063"/>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63" h="435077">
                  <a:moveTo>
                    <a:pt x="435064" y="435077"/>
                  </a:moveTo>
                  <a:lnTo>
                    <a:pt x="435064" y="217539"/>
                  </a:lnTo>
                  <a:lnTo>
                    <a:pt x="435064" y="27"/>
                  </a:lnTo>
                  <a:lnTo>
                    <a:pt x="217552" y="27"/>
                  </a:lnTo>
                  <a:lnTo>
                    <a:pt x="435064" y="217539"/>
                  </a:lnTo>
                  <a:lnTo>
                    <a:pt x="217552" y="435077"/>
                  </a:lnTo>
                  <a:lnTo>
                    <a:pt x="435064" y="435077"/>
                  </a:lnTo>
                  <a:close/>
                  <a:moveTo>
                    <a:pt x="0" y="217539"/>
                  </a:moveTo>
                  <a:lnTo>
                    <a:pt x="0" y="0"/>
                  </a:lnTo>
                  <a:lnTo>
                    <a:pt x="217525" y="217539"/>
                  </a:lnTo>
                  <a:lnTo>
                    <a:pt x="0" y="217539"/>
                  </a:lnTo>
                  <a:close/>
                  <a:moveTo>
                    <a:pt x="0" y="435077"/>
                  </a:moveTo>
                  <a:lnTo>
                    <a:pt x="0" y="217539"/>
                  </a:lnTo>
                  <a:lnTo>
                    <a:pt x="217525" y="217539"/>
                  </a:lnTo>
                  <a:lnTo>
                    <a:pt x="0" y="435077"/>
                  </a:lnTo>
                  <a:close/>
                </a:path>
              </a:pathLst>
            </a:custGeom>
            <a:grpFill/>
            <a:ln w="27192" cap="flat">
              <a:noFill/>
              <a:prstDash val="solid"/>
              <a:miter/>
            </a:ln>
          </p:spPr>
          <p:txBody>
            <a:bodyPr rtlCol="0" anchor="ctr"/>
            <a:lstStyle/>
            <a:p>
              <a:endParaRPr lang="uk-UA" sz="900"/>
            </a:p>
          </p:txBody>
        </p:sp>
        <p:sp>
          <p:nvSpPr>
            <p:cNvPr id="223" name="Freeform: Shape 222">
              <a:extLst>
                <a:ext uri="{FF2B5EF4-FFF2-40B4-BE49-F238E27FC236}">
                  <a16:creationId xmlns:a16="http://schemas.microsoft.com/office/drawing/2014/main" id="{BF2F6C03-F245-E6D9-A214-4BEF3D501DE6}"/>
                </a:ext>
              </a:extLst>
            </p:cNvPr>
            <p:cNvSpPr/>
            <p:nvPr/>
          </p:nvSpPr>
          <p:spPr>
            <a:xfrm>
              <a:off x="1705924" y="4579374"/>
              <a:ext cx="435077" cy="435077"/>
            </a:xfrm>
            <a:custGeom>
              <a:avLst/>
              <a:gdLst>
                <a:gd name="connsiteX0" fmla="*/ 435077 w 435077"/>
                <a:gd name="connsiteY0" fmla="*/ 435077 h 435077"/>
                <a:gd name="connsiteX1" fmla="*/ 435077 w 435077"/>
                <a:gd name="connsiteY1" fmla="*/ 0 h 435077"/>
                <a:gd name="connsiteX2" fmla="*/ 217566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6"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24" name="Freeform: Shape 223">
              <a:extLst>
                <a:ext uri="{FF2B5EF4-FFF2-40B4-BE49-F238E27FC236}">
                  <a16:creationId xmlns:a16="http://schemas.microsoft.com/office/drawing/2014/main" id="{60CB0FF3-6DE4-B352-4488-A0D230A2ACDA}"/>
                </a:ext>
              </a:extLst>
            </p:cNvPr>
            <p:cNvSpPr/>
            <p:nvPr/>
          </p:nvSpPr>
          <p:spPr>
            <a:xfrm>
              <a:off x="2576106" y="457937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3" y="113038"/>
                    <a:pt x="0" y="57702"/>
                    <a:pt x="0" y="0"/>
                  </a:cubicBezTo>
                  <a:lnTo>
                    <a:pt x="217539" y="0"/>
                  </a:lnTo>
                  <a:lnTo>
                    <a:pt x="435077" y="0"/>
                  </a:lnTo>
                  <a:cubicBezTo>
                    <a:pt x="435077" y="57702"/>
                    <a:pt x="412154" y="113038"/>
                    <a:pt x="371366" y="153827"/>
                  </a:cubicBezTo>
                  <a:cubicBezTo>
                    <a:pt x="330550" y="194616"/>
                    <a:pt x="275214" y="217539"/>
                    <a:pt x="217539" y="217539"/>
                  </a:cubicBezTo>
                  <a:cubicBezTo>
                    <a:pt x="159837" y="217539"/>
                    <a:pt x="104500" y="194616"/>
                    <a:pt x="63712" y="153827"/>
                  </a:cubicBezTo>
                  <a:close/>
                  <a:moveTo>
                    <a:pt x="63712" y="281250"/>
                  </a:moveTo>
                  <a:cubicBezTo>
                    <a:pt x="22923" y="322066"/>
                    <a:pt x="0" y="377375"/>
                    <a:pt x="0" y="435077"/>
                  </a:cubicBezTo>
                  <a:lnTo>
                    <a:pt x="217539" y="435077"/>
                  </a:lnTo>
                  <a:lnTo>
                    <a:pt x="435077" y="435077"/>
                  </a:lnTo>
                  <a:cubicBezTo>
                    <a:pt x="435077" y="377375"/>
                    <a:pt x="412154" y="322066"/>
                    <a:pt x="371366" y="281250"/>
                  </a:cubicBezTo>
                  <a:cubicBezTo>
                    <a:pt x="330550" y="240462"/>
                    <a:pt x="275214" y="217539"/>
                    <a:pt x="217539" y="217539"/>
                  </a:cubicBezTo>
                  <a:cubicBezTo>
                    <a:pt x="159837" y="217539"/>
                    <a:pt x="104500" y="240462"/>
                    <a:pt x="63712" y="281250"/>
                  </a:cubicBezTo>
                  <a:close/>
                </a:path>
              </a:pathLst>
            </a:custGeom>
            <a:grpFill/>
            <a:ln w="27192" cap="flat">
              <a:noFill/>
              <a:prstDash val="solid"/>
              <a:miter/>
            </a:ln>
          </p:spPr>
          <p:txBody>
            <a:bodyPr rtlCol="0" anchor="ctr"/>
            <a:lstStyle/>
            <a:p>
              <a:endParaRPr lang="uk-UA" sz="900"/>
            </a:p>
          </p:txBody>
        </p:sp>
        <p:sp>
          <p:nvSpPr>
            <p:cNvPr id="225" name="Freeform: Shape 224">
              <a:extLst>
                <a:ext uri="{FF2B5EF4-FFF2-40B4-BE49-F238E27FC236}">
                  <a16:creationId xmlns:a16="http://schemas.microsoft.com/office/drawing/2014/main" id="{1C429E64-01C6-A61C-24E7-C6BC46891C95}"/>
                </a:ext>
              </a:extLst>
            </p:cNvPr>
            <p:cNvSpPr/>
            <p:nvPr/>
          </p:nvSpPr>
          <p:spPr>
            <a:xfrm>
              <a:off x="4316416" y="4579374"/>
              <a:ext cx="435077" cy="435077"/>
            </a:xfrm>
            <a:custGeom>
              <a:avLst/>
              <a:gdLst>
                <a:gd name="connsiteX0" fmla="*/ 217565 w 435077"/>
                <a:gd name="connsiteY0" fmla="*/ 435077 h 435077"/>
                <a:gd name="connsiteX1" fmla="*/ 217565 w 435077"/>
                <a:gd name="connsiteY1" fmla="*/ 0 h 435077"/>
                <a:gd name="connsiteX2" fmla="*/ 435077 w 435077"/>
                <a:gd name="connsiteY2" fmla="*/ 217539 h 435077"/>
                <a:gd name="connsiteX3" fmla="*/ 217565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65" y="435077"/>
                  </a:moveTo>
                  <a:lnTo>
                    <a:pt x="217565" y="0"/>
                  </a:lnTo>
                  <a:lnTo>
                    <a:pt x="435077" y="217539"/>
                  </a:lnTo>
                  <a:lnTo>
                    <a:pt x="217565"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26" name="Freeform: Shape 225">
              <a:extLst>
                <a:ext uri="{FF2B5EF4-FFF2-40B4-BE49-F238E27FC236}">
                  <a16:creationId xmlns:a16="http://schemas.microsoft.com/office/drawing/2014/main" id="{BF655429-DDBE-B974-0A67-C84FE47DB9B3}"/>
                </a:ext>
              </a:extLst>
            </p:cNvPr>
            <p:cNvSpPr/>
            <p:nvPr/>
          </p:nvSpPr>
          <p:spPr>
            <a:xfrm>
              <a:off x="3446261" y="4579374"/>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6 w 435077"/>
                <a:gd name="connsiteY3" fmla="*/ 27 h 435077"/>
                <a:gd name="connsiteX4" fmla="*/ 435077 w 435077"/>
                <a:gd name="connsiteY4" fmla="*/ 217539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6" y="27"/>
                  </a:lnTo>
                  <a:lnTo>
                    <a:pt x="435077" y="217539"/>
                  </a:lnTo>
                  <a:lnTo>
                    <a:pt x="217566"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27" name="Freeform: Shape 226">
              <a:extLst>
                <a:ext uri="{FF2B5EF4-FFF2-40B4-BE49-F238E27FC236}">
                  <a16:creationId xmlns:a16="http://schemas.microsoft.com/office/drawing/2014/main" id="{2564A185-B985-E0F2-41A7-CCB7F8222EEB}"/>
                </a:ext>
              </a:extLst>
            </p:cNvPr>
            <p:cNvSpPr/>
            <p:nvPr/>
          </p:nvSpPr>
          <p:spPr>
            <a:xfrm>
              <a:off x="5186597" y="4579374"/>
              <a:ext cx="435077" cy="435077"/>
            </a:xfrm>
            <a:custGeom>
              <a:avLst/>
              <a:gdLst>
                <a:gd name="connsiteX0" fmla="*/ 435077 w 435077"/>
                <a:gd name="connsiteY0" fmla="*/ 435077 h 435077"/>
                <a:gd name="connsiteX1" fmla="*/ 435077 w 435077"/>
                <a:gd name="connsiteY1" fmla="*/ 0 h 435077"/>
                <a:gd name="connsiteX2" fmla="*/ 217566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6"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28" name="Freeform: Shape 227">
              <a:extLst>
                <a:ext uri="{FF2B5EF4-FFF2-40B4-BE49-F238E27FC236}">
                  <a16:creationId xmlns:a16="http://schemas.microsoft.com/office/drawing/2014/main" id="{443FF249-47CA-F2F3-4E34-C7947CA6E6BD}"/>
                </a:ext>
              </a:extLst>
            </p:cNvPr>
            <p:cNvSpPr/>
            <p:nvPr/>
          </p:nvSpPr>
          <p:spPr>
            <a:xfrm>
              <a:off x="6056752" y="457937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8"/>
                    <a:pt x="0" y="57702"/>
                    <a:pt x="0" y="0"/>
                  </a:cubicBezTo>
                  <a:lnTo>
                    <a:pt x="217539" y="0"/>
                  </a:lnTo>
                  <a:lnTo>
                    <a:pt x="435077" y="0"/>
                  </a:lnTo>
                  <a:cubicBezTo>
                    <a:pt x="435077" y="57702"/>
                    <a:pt x="412155" y="113038"/>
                    <a:pt x="371366" y="153827"/>
                  </a:cubicBezTo>
                  <a:cubicBezTo>
                    <a:pt x="330550" y="194616"/>
                    <a:pt x="275241" y="217539"/>
                    <a:pt x="217539" y="217539"/>
                  </a:cubicBezTo>
                  <a:cubicBezTo>
                    <a:pt x="159837" y="217539"/>
                    <a:pt x="104501" y="194616"/>
                    <a:pt x="63712" y="153827"/>
                  </a:cubicBezTo>
                  <a:close/>
                  <a:moveTo>
                    <a:pt x="63712" y="281250"/>
                  </a:moveTo>
                  <a:cubicBezTo>
                    <a:pt x="22924" y="322066"/>
                    <a:pt x="0" y="377375"/>
                    <a:pt x="0" y="435077"/>
                  </a:cubicBezTo>
                  <a:lnTo>
                    <a:pt x="217539" y="435077"/>
                  </a:lnTo>
                  <a:lnTo>
                    <a:pt x="435077" y="435077"/>
                  </a:lnTo>
                  <a:cubicBezTo>
                    <a:pt x="435077" y="377375"/>
                    <a:pt x="412155" y="322066"/>
                    <a:pt x="371366" y="281250"/>
                  </a:cubicBezTo>
                  <a:cubicBezTo>
                    <a:pt x="330550" y="240462"/>
                    <a:pt x="275241" y="217539"/>
                    <a:pt x="217539" y="217539"/>
                  </a:cubicBezTo>
                  <a:cubicBezTo>
                    <a:pt x="159837" y="217539"/>
                    <a:pt x="104501" y="240462"/>
                    <a:pt x="63712" y="281250"/>
                  </a:cubicBezTo>
                  <a:close/>
                </a:path>
              </a:pathLst>
            </a:custGeom>
            <a:grpFill/>
            <a:ln w="27192" cap="flat">
              <a:noFill/>
              <a:prstDash val="solid"/>
              <a:miter/>
            </a:ln>
          </p:spPr>
          <p:txBody>
            <a:bodyPr rtlCol="0" anchor="ctr"/>
            <a:lstStyle/>
            <a:p>
              <a:endParaRPr lang="uk-UA" sz="900"/>
            </a:p>
          </p:txBody>
        </p:sp>
        <p:sp>
          <p:nvSpPr>
            <p:cNvPr id="229" name="Freeform: Shape 228">
              <a:extLst>
                <a:ext uri="{FF2B5EF4-FFF2-40B4-BE49-F238E27FC236}">
                  <a16:creationId xmlns:a16="http://schemas.microsoft.com/office/drawing/2014/main" id="{51DC18AD-03CF-1CE0-2136-DFB4B705384A}"/>
                </a:ext>
              </a:extLst>
            </p:cNvPr>
            <p:cNvSpPr/>
            <p:nvPr/>
          </p:nvSpPr>
          <p:spPr>
            <a:xfrm>
              <a:off x="7797062" y="4579374"/>
              <a:ext cx="435077" cy="435077"/>
            </a:xfrm>
            <a:custGeom>
              <a:avLst/>
              <a:gdLst>
                <a:gd name="connsiteX0" fmla="*/ 217566 w 435077"/>
                <a:gd name="connsiteY0" fmla="*/ 435077 h 435077"/>
                <a:gd name="connsiteX1" fmla="*/ 217566 w 435077"/>
                <a:gd name="connsiteY1" fmla="*/ 0 h 435077"/>
                <a:gd name="connsiteX2" fmla="*/ 435077 w 435077"/>
                <a:gd name="connsiteY2" fmla="*/ 217539 h 435077"/>
                <a:gd name="connsiteX3" fmla="*/ 217566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66" y="435077"/>
                  </a:moveTo>
                  <a:lnTo>
                    <a:pt x="217566" y="0"/>
                  </a:lnTo>
                  <a:lnTo>
                    <a:pt x="435077" y="217539"/>
                  </a:lnTo>
                  <a:lnTo>
                    <a:pt x="217566"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30" name="Freeform: Shape 229">
              <a:extLst>
                <a:ext uri="{FF2B5EF4-FFF2-40B4-BE49-F238E27FC236}">
                  <a16:creationId xmlns:a16="http://schemas.microsoft.com/office/drawing/2014/main" id="{5A59CDF4-79E7-1DDB-EEA7-156413FFF384}"/>
                </a:ext>
              </a:extLst>
            </p:cNvPr>
            <p:cNvSpPr/>
            <p:nvPr/>
          </p:nvSpPr>
          <p:spPr>
            <a:xfrm>
              <a:off x="6926907" y="4579374"/>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6 w 435077"/>
                <a:gd name="connsiteY3" fmla="*/ 27 h 435077"/>
                <a:gd name="connsiteX4" fmla="*/ 435077 w 435077"/>
                <a:gd name="connsiteY4" fmla="*/ 217539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6" y="27"/>
                  </a:lnTo>
                  <a:lnTo>
                    <a:pt x="435077" y="217539"/>
                  </a:lnTo>
                  <a:lnTo>
                    <a:pt x="217566"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31" name="Freeform: Shape 230">
              <a:extLst>
                <a:ext uri="{FF2B5EF4-FFF2-40B4-BE49-F238E27FC236}">
                  <a16:creationId xmlns:a16="http://schemas.microsoft.com/office/drawing/2014/main" id="{F08F75E5-89CF-61A8-F065-1D085020092E}"/>
                </a:ext>
              </a:extLst>
            </p:cNvPr>
            <p:cNvSpPr/>
            <p:nvPr/>
          </p:nvSpPr>
          <p:spPr>
            <a:xfrm>
              <a:off x="8667217" y="4579374"/>
              <a:ext cx="435104" cy="435077"/>
            </a:xfrm>
            <a:custGeom>
              <a:avLst/>
              <a:gdLst>
                <a:gd name="connsiteX0" fmla="*/ 435105 w 435104"/>
                <a:gd name="connsiteY0" fmla="*/ 435077 h 435077"/>
                <a:gd name="connsiteX1" fmla="*/ 435105 w 435104"/>
                <a:gd name="connsiteY1" fmla="*/ 0 h 435077"/>
                <a:gd name="connsiteX2" fmla="*/ 217566 w 435104"/>
                <a:gd name="connsiteY2" fmla="*/ 217539 h 435077"/>
                <a:gd name="connsiteX3" fmla="*/ 435105 w 435104"/>
                <a:gd name="connsiteY3" fmla="*/ 435077 h 435077"/>
                <a:gd name="connsiteX4" fmla="*/ 0 w 435104"/>
                <a:gd name="connsiteY4" fmla="*/ 435077 h 435077"/>
                <a:gd name="connsiteX5" fmla="*/ 0 w 435104"/>
                <a:gd name="connsiteY5" fmla="*/ 0 h 435077"/>
                <a:gd name="connsiteX6" fmla="*/ 217539 w 435104"/>
                <a:gd name="connsiteY6" fmla="*/ 217539 h 435077"/>
                <a:gd name="connsiteX7" fmla="*/ 0 w 435104"/>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104" h="435077">
                  <a:moveTo>
                    <a:pt x="435105" y="435077"/>
                  </a:moveTo>
                  <a:lnTo>
                    <a:pt x="435105" y="0"/>
                  </a:lnTo>
                  <a:lnTo>
                    <a:pt x="217566" y="217539"/>
                  </a:lnTo>
                  <a:lnTo>
                    <a:pt x="435105"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32" name="Freeform: Shape 231">
              <a:extLst>
                <a:ext uri="{FF2B5EF4-FFF2-40B4-BE49-F238E27FC236}">
                  <a16:creationId xmlns:a16="http://schemas.microsoft.com/office/drawing/2014/main" id="{2272259D-E42B-B419-5D6A-8E4597292774}"/>
                </a:ext>
              </a:extLst>
            </p:cNvPr>
            <p:cNvSpPr/>
            <p:nvPr/>
          </p:nvSpPr>
          <p:spPr>
            <a:xfrm>
              <a:off x="9537399" y="4579374"/>
              <a:ext cx="435077" cy="435077"/>
            </a:xfrm>
            <a:custGeom>
              <a:avLst/>
              <a:gdLst>
                <a:gd name="connsiteX0" fmla="*/ 63711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1 w 435077"/>
                <a:gd name="connsiteY6" fmla="*/ 153827 h 435077"/>
                <a:gd name="connsiteX7" fmla="*/ 63711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1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1" y="153827"/>
                  </a:moveTo>
                  <a:cubicBezTo>
                    <a:pt x="22923" y="113038"/>
                    <a:pt x="0" y="57702"/>
                    <a:pt x="0" y="0"/>
                  </a:cubicBezTo>
                  <a:lnTo>
                    <a:pt x="217539" y="0"/>
                  </a:lnTo>
                  <a:lnTo>
                    <a:pt x="435077" y="0"/>
                  </a:lnTo>
                  <a:cubicBezTo>
                    <a:pt x="435077" y="57702"/>
                    <a:pt x="412155" y="113038"/>
                    <a:pt x="371366" y="153827"/>
                  </a:cubicBezTo>
                  <a:cubicBezTo>
                    <a:pt x="330550" y="194616"/>
                    <a:pt x="275214" y="217539"/>
                    <a:pt x="217539" y="217539"/>
                  </a:cubicBezTo>
                  <a:cubicBezTo>
                    <a:pt x="159836" y="217539"/>
                    <a:pt x="104500" y="194616"/>
                    <a:pt x="63711" y="153827"/>
                  </a:cubicBezTo>
                  <a:close/>
                  <a:moveTo>
                    <a:pt x="63711" y="281250"/>
                  </a:moveTo>
                  <a:cubicBezTo>
                    <a:pt x="22923" y="322066"/>
                    <a:pt x="0" y="377375"/>
                    <a:pt x="0" y="435077"/>
                  </a:cubicBezTo>
                  <a:lnTo>
                    <a:pt x="217539" y="435077"/>
                  </a:lnTo>
                  <a:lnTo>
                    <a:pt x="435077" y="435077"/>
                  </a:lnTo>
                  <a:cubicBezTo>
                    <a:pt x="435077" y="377375"/>
                    <a:pt x="412155" y="322066"/>
                    <a:pt x="371366" y="281250"/>
                  </a:cubicBezTo>
                  <a:cubicBezTo>
                    <a:pt x="330550" y="240462"/>
                    <a:pt x="275214" y="217539"/>
                    <a:pt x="217539" y="217539"/>
                  </a:cubicBezTo>
                  <a:cubicBezTo>
                    <a:pt x="159836" y="217539"/>
                    <a:pt x="104500" y="240462"/>
                    <a:pt x="63711" y="281250"/>
                  </a:cubicBezTo>
                  <a:close/>
                </a:path>
              </a:pathLst>
            </a:custGeom>
            <a:grpFill/>
            <a:ln w="27192" cap="flat">
              <a:noFill/>
              <a:prstDash val="solid"/>
              <a:miter/>
            </a:ln>
          </p:spPr>
          <p:txBody>
            <a:bodyPr rtlCol="0" anchor="ctr"/>
            <a:lstStyle/>
            <a:p>
              <a:endParaRPr lang="uk-UA" sz="900"/>
            </a:p>
          </p:txBody>
        </p:sp>
        <p:sp>
          <p:nvSpPr>
            <p:cNvPr id="233" name="Freeform: Shape 232">
              <a:extLst>
                <a:ext uri="{FF2B5EF4-FFF2-40B4-BE49-F238E27FC236}">
                  <a16:creationId xmlns:a16="http://schemas.microsoft.com/office/drawing/2014/main" id="{DA6D50F6-3561-A28F-0F0C-BD5A4ADB9D6A}"/>
                </a:ext>
              </a:extLst>
            </p:cNvPr>
            <p:cNvSpPr/>
            <p:nvPr/>
          </p:nvSpPr>
          <p:spPr>
            <a:xfrm>
              <a:off x="11277709" y="4579374"/>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34" name="Freeform: Shape 233">
              <a:extLst>
                <a:ext uri="{FF2B5EF4-FFF2-40B4-BE49-F238E27FC236}">
                  <a16:creationId xmlns:a16="http://schemas.microsoft.com/office/drawing/2014/main" id="{A92B93BA-4BCE-1ABB-F480-174C1DD126D0}"/>
                </a:ext>
              </a:extLst>
            </p:cNvPr>
            <p:cNvSpPr/>
            <p:nvPr/>
          </p:nvSpPr>
          <p:spPr>
            <a:xfrm>
              <a:off x="10407554" y="4579374"/>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39 w 435077"/>
                <a:gd name="connsiteY3" fmla="*/ 27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1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1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39" y="27"/>
                  </a:lnTo>
                  <a:lnTo>
                    <a:pt x="435077" y="217539"/>
                  </a:lnTo>
                  <a:lnTo>
                    <a:pt x="217539" y="435077"/>
                  </a:lnTo>
                  <a:lnTo>
                    <a:pt x="435077" y="435077"/>
                  </a:lnTo>
                  <a:close/>
                  <a:moveTo>
                    <a:pt x="0" y="217539"/>
                  </a:moveTo>
                  <a:lnTo>
                    <a:pt x="0" y="0"/>
                  </a:lnTo>
                  <a:lnTo>
                    <a:pt x="217511" y="217539"/>
                  </a:lnTo>
                  <a:lnTo>
                    <a:pt x="0" y="217539"/>
                  </a:lnTo>
                  <a:close/>
                  <a:moveTo>
                    <a:pt x="0" y="435077"/>
                  </a:moveTo>
                  <a:lnTo>
                    <a:pt x="0" y="217539"/>
                  </a:lnTo>
                  <a:lnTo>
                    <a:pt x="217511" y="217539"/>
                  </a:lnTo>
                  <a:lnTo>
                    <a:pt x="0" y="435077"/>
                  </a:lnTo>
                  <a:close/>
                </a:path>
              </a:pathLst>
            </a:custGeom>
            <a:grpFill/>
            <a:ln w="27192" cap="flat">
              <a:noFill/>
              <a:prstDash val="solid"/>
              <a:miter/>
            </a:ln>
          </p:spPr>
          <p:txBody>
            <a:bodyPr rtlCol="0" anchor="ctr"/>
            <a:lstStyle/>
            <a:p>
              <a:endParaRPr lang="uk-UA" sz="900"/>
            </a:p>
          </p:txBody>
        </p:sp>
        <p:sp>
          <p:nvSpPr>
            <p:cNvPr id="235" name="Freeform: Shape 234">
              <a:extLst>
                <a:ext uri="{FF2B5EF4-FFF2-40B4-BE49-F238E27FC236}">
                  <a16:creationId xmlns:a16="http://schemas.microsoft.com/office/drawing/2014/main" id="{A16EDE36-FEE5-B0F9-14D8-C62DE6E5367F}"/>
                </a:ext>
              </a:extLst>
            </p:cNvPr>
            <p:cNvSpPr/>
            <p:nvPr/>
          </p:nvSpPr>
          <p:spPr>
            <a:xfrm>
              <a:off x="12147891" y="4579374"/>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236" name="Freeform: Shape 235">
              <a:extLst>
                <a:ext uri="{FF2B5EF4-FFF2-40B4-BE49-F238E27FC236}">
                  <a16:creationId xmlns:a16="http://schemas.microsoft.com/office/drawing/2014/main" id="{3FDB1E2F-EDF0-78C9-021E-D832F61C5412}"/>
                </a:ext>
              </a:extLst>
            </p:cNvPr>
            <p:cNvSpPr/>
            <p:nvPr/>
          </p:nvSpPr>
          <p:spPr>
            <a:xfrm>
              <a:off x="13018045" y="457937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8"/>
                    <a:pt x="0" y="57702"/>
                    <a:pt x="0" y="0"/>
                  </a:cubicBezTo>
                  <a:lnTo>
                    <a:pt x="217539" y="0"/>
                  </a:lnTo>
                  <a:lnTo>
                    <a:pt x="435077" y="0"/>
                  </a:lnTo>
                  <a:cubicBezTo>
                    <a:pt x="435077" y="57702"/>
                    <a:pt x="412154" y="113038"/>
                    <a:pt x="371365" y="153827"/>
                  </a:cubicBezTo>
                  <a:cubicBezTo>
                    <a:pt x="330550" y="194616"/>
                    <a:pt x="275241" y="217539"/>
                    <a:pt x="217539" y="217539"/>
                  </a:cubicBezTo>
                  <a:cubicBezTo>
                    <a:pt x="159836" y="217539"/>
                    <a:pt x="104501" y="194616"/>
                    <a:pt x="63712" y="153827"/>
                  </a:cubicBezTo>
                  <a:close/>
                  <a:moveTo>
                    <a:pt x="63712" y="281250"/>
                  </a:moveTo>
                  <a:cubicBezTo>
                    <a:pt x="22924" y="322066"/>
                    <a:pt x="0" y="377375"/>
                    <a:pt x="0" y="435077"/>
                  </a:cubicBezTo>
                  <a:lnTo>
                    <a:pt x="217539" y="435077"/>
                  </a:lnTo>
                  <a:lnTo>
                    <a:pt x="435077" y="435077"/>
                  </a:lnTo>
                  <a:cubicBezTo>
                    <a:pt x="435077" y="377375"/>
                    <a:pt x="412154" y="322066"/>
                    <a:pt x="371365" y="281250"/>
                  </a:cubicBezTo>
                  <a:cubicBezTo>
                    <a:pt x="330550" y="240462"/>
                    <a:pt x="275241" y="217539"/>
                    <a:pt x="217539" y="217539"/>
                  </a:cubicBezTo>
                  <a:cubicBezTo>
                    <a:pt x="159836" y="217539"/>
                    <a:pt x="104501" y="240462"/>
                    <a:pt x="63712" y="281250"/>
                  </a:cubicBezTo>
                  <a:close/>
                </a:path>
              </a:pathLst>
            </a:custGeom>
            <a:grpFill/>
            <a:ln w="27192" cap="flat">
              <a:noFill/>
              <a:prstDash val="solid"/>
              <a:miter/>
            </a:ln>
          </p:spPr>
          <p:txBody>
            <a:bodyPr rtlCol="0" anchor="ctr"/>
            <a:lstStyle/>
            <a:p>
              <a:endParaRPr lang="uk-UA" sz="900"/>
            </a:p>
          </p:txBody>
        </p:sp>
        <p:sp>
          <p:nvSpPr>
            <p:cNvPr id="237" name="Freeform: Shape 236">
              <a:extLst>
                <a:ext uri="{FF2B5EF4-FFF2-40B4-BE49-F238E27FC236}">
                  <a16:creationId xmlns:a16="http://schemas.microsoft.com/office/drawing/2014/main" id="{A490A852-757F-7EB5-944F-AFB6DEF75C37}"/>
                </a:ext>
              </a:extLst>
            </p:cNvPr>
            <p:cNvSpPr/>
            <p:nvPr/>
          </p:nvSpPr>
          <p:spPr>
            <a:xfrm>
              <a:off x="14758382" y="4579374"/>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38" name="Freeform: Shape 237">
              <a:extLst>
                <a:ext uri="{FF2B5EF4-FFF2-40B4-BE49-F238E27FC236}">
                  <a16:creationId xmlns:a16="http://schemas.microsoft.com/office/drawing/2014/main" id="{EFCE6C8F-89D8-839C-4FA0-3E5FB33EC40A}"/>
                </a:ext>
              </a:extLst>
            </p:cNvPr>
            <p:cNvSpPr/>
            <p:nvPr/>
          </p:nvSpPr>
          <p:spPr>
            <a:xfrm>
              <a:off x="13888200" y="4579374"/>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5 w 435077"/>
                <a:gd name="connsiteY3" fmla="*/ 27 h 435077"/>
                <a:gd name="connsiteX4" fmla="*/ 435077 w 435077"/>
                <a:gd name="connsiteY4" fmla="*/ 217539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5" y="27"/>
                  </a:lnTo>
                  <a:lnTo>
                    <a:pt x="435077" y="217539"/>
                  </a:lnTo>
                  <a:lnTo>
                    <a:pt x="217565"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39" name="Freeform: Shape 238">
              <a:extLst>
                <a:ext uri="{FF2B5EF4-FFF2-40B4-BE49-F238E27FC236}">
                  <a16:creationId xmlns:a16="http://schemas.microsoft.com/office/drawing/2014/main" id="{5E6458C1-9A06-2C97-8C8D-C6F5769C5AED}"/>
                </a:ext>
              </a:extLst>
            </p:cNvPr>
            <p:cNvSpPr/>
            <p:nvPr/>
          </p:nvSpPr>
          <p:spPr>
            <a:xfrm>
              <a:off x="15628565" y="4579374"/>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0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0" y="217539"/>
                  </a:lnTo>
                  <a:lnTo>
                    <a:pt x="0" y="435077"/>
                  </a:lnTo>
                  <a:close/>
                </a:path>
              </a:pathLst>
            </a:custGeom>
            <a:grpFill/>
            <a:ln w="27192" cap="flat">
              <a:noFill/>
              <a:prstDash val="solid"/>
              <a:miter/>
            </a:ln>
          </p:spPr>
          <p:txBody>
            <a:bodyPr rtlCol="0" anchor="ctr"/>
            <a:lstStyle/>
            <a:p>
              <a:endParaRPr lang="uk-UA" sz="900"/>
            </a:p>
          </p:txBody>
        </p:sp>
        <p:sp>
          <p:nvSpPr>
            <p:cNvPr id="240" name="Freeform: Shape 239">
              <a:extLst>
                <a:ext uri="{FF2B5EF4-FFF2-40B4-BE49-F238E27FC236}">
                  <a16:creationId xmlns:a16="http://schemas.microsoft.com/office/drawing/2014/main" id="{5FD4ABC3-8062-224D-B85A-77520E63FB98}"/>
                </a:ext>
              </a:extLst>
            </p:cNvPr>
            <p:cNvSpPr/>
            <p:nvPr/>
          </p:nvSpPr>
          <p:spPr>
            <a:xfrm>
              <a:off x="16498719" y="4579374"/>
              <a:ext cx="435077" cy="435077"/>
            </a:xfrm>
            <a:custGeom>
              <a:avLst/>
              <a:gdLst>
                <a:gd name="connsiteX0" fmla="*/ 63710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0 w 435077"/>
                <a:gd name="connsiteY6" fmla="*/ 153827 h 435077"/>
                <a:gd name="connsiteX7" fmla="*/ 63710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50 h 435077"/>
                <a:gd name="connsiteX12" fmla="*/ 217539 w 435077"/>
                <a:gd name="connsiteY12" fmla="*/ 217539 h 435077"/>
                <a:gd name="connsiteX13" fmla="*/ 63710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7"/>
                  </a:moveTo>
                  <a:cubicBezTo>
                    <a:pt x="22895" y="113038"/>
                    <a:pt x="0" y="57702"/>
                    <a:pt x="0" y="0"/>
                  </a:cubicBezTo>
                  <a:lnTo>
                    <a:pt x="217539" y="0"/>
                  </a:lnTo>
                  <a:lnTo>
                    <a:pt x="435077" y="0"/>
                  </a:lnTo>
                  <a:cubicBezTo>
                    <a:pt x="435077" y="57702"/>
                    <a:pt x="412154" y="113038"/>
                    <a:pt x="371339" y="153827"/>
                  </a:cubicBezTo>
                  <a:cubicBezTo>
                    <a:pt x="330550" y="194616"/>
                    <a:pt x="275213" y="217539"/>
                    <a:pt x="217539" y="217539"/>
                  </a:cubicBezTo>
                  <a:cubicBezTo>
                    <a:pt x="159836" y="217539"/>
                    <a:pt x="104499" y="194616"/>
                    <a:pt x="63710" y="153827"/>
                  </a:cubicBezTo>
                  <a:close/>
                  <a:moveTo>
                    <a:pt x="63710" y="281250"/>
                  </a:moveTo>
                  <a:cubicBezTo>
                    <a:pt x="22895" y="322066"/>
                    <a:pt x="0" y="377375"/>
                    <a:pt x="0" y="435077"/>
                  </a:cubicBezTo>
                  <a:lnTo>
                    <a:pt x="217539" y="435077"/>
                  </a:lnTo>
                  <a:lnTo>
                    <a:pt x="435077" y="435077"/>
                  </a:lnTo>
                  <a:cubicBezTo>
                    <a:pt x="435077" y="377375"/>
                    <a:pt x="412154" y="322066"/>
                    <a:pt x="371339" y="281250"/>
                  </a:cubicBezTo>
                  <a:cubicBezTo>
                    <a:pt x="330550" y="240462"/>
                    <a:pt x="275213" y="217539"/>
                    <a:pt x="217539" y="217539"/>
                  </a:cubicBezTo>
                  <a:cubicBezTo>
                    <a:pt x="159836" y="217539"/>
                    <a:pt x="104499" y="240462"/>
                    <a:pt x="63710" y="281250"/>
                  </a:cubicBezTo>
                  <a:close/>
                </a:path>
              </a:pathLst>
            </a:custGeom>
            <a:grpFill/>
            <a:ln w="27192" cap="flat">
              <a:noFill/>
              <a:prstDash val="solid"/>
              <a:miter/>
            </a:ln>
          </p:spPr>
          <p:txBody>
            <a:bodyPr rtlCol="0" anchor="ctr"/>
            <a:lstStyle/>
            <a:p>
              <a:endParaRPr lang="uk-UA" sz="900"/>
            </a:p>
          </p:txBody>
        </p:sp>
        <p:sp>
          <p:nvSpPr>
            <p:cNvPr id="241" name="Freeform: Shape 240">
              <a:extLst>
                <a:ext uri="{FF2B5EF4-FFF2-40B4-BE49-F238E27FC236}">
                  <a16:creationId xmlns:a16="http://schemas.microsoft.com/office/drawing/2014/main" id="{10CC8B1B-2107-B78A-8CA5-39E8559D0FE9}"/>
                </a:ext>
              </a:extLst>
            </p:cNvPr>
            <p:cNvSpPr/>
            <p:nvPr/>
          </p:nvSpPr>
          <p:spPr>
            <a:xfrm>
              <a:off x="18239029" y="4579374"/>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42" name="Freeform: Shape 241">
              <a:extLst>
                <a:ext uri="{FF2B5EF4-FFF2-40B4-BE49-F238E27FC236}">
                  <a16:creationId xmlns:a16="http://schemas.microsoft.com/office/drawing/2014/main" id="{663FCB86-1CFD-0C43-4E47-F0F56FDE201D}"/>
                </a:ext>
              </a:extLst>
            </p:cNvPr>
            <p:cNvSpPr/>
            <p:nvPr/>
          </p:nvSpPr>
          <p:spPr>
            <a:xfrm>
              <a:off x="17368874" y="4579374"/>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39 w 435077"/>
                <a:gd name="connsiteY3" fmla="*/ 27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0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0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39" y="27"/>
                  </a:lnTo>
                  <a:lnTo>
                    <a:pt x="435077" y="217539"/>
                  </a:lnTo>
                  <a:lnTo>
                    <a:pt x="217539" y="435077"/>
                  </a:lnTo>
                  <a:lnTo>
                    <a:pt x="435077" y="435077"/>
                  </a:lnTo>
                  <a:close/>
                  <a:moveTo>
                    <a:pt x="0" y="217539"/>
                  </a:moveTo>
                  <a:lnTo>
                    <a:pt x="0" y="0"/>
                  </a:lnTo>
                  <a:lnTo>
                    <a:pt x="217510" y="217539"/>
                  </a:lnTo>
                  <a:lnTo>
                    <a:pt x="0" y="217539"/>
                  </a:lnTo>
                  <a:close/>
                  <a:moveTo>
                    <a:pt x="0" y="435077"/>
                  </a:moveTo>
                  <a:lnTo>
                    <a:pt x="0" y="217539"/>
                  </a:lnTo>
                  <a:lnTo>
                    <a:pt x="217510" y="217539"/>
                  </a:lnTo>
                  <a:lnTo>
                    <a:pt x="0" y="435077"/>
                  </a:lnTo>
                  <a:close/>
                </a:path>
              </a:pathLst>
            </a:custGeom>
            <a:grpFill/>
            <a:ln w="27192" cap="flat">
              <a:noFill/>
              <a:prstDash val="solid"/>
              <a:miter/>
            </a:ln>
          </p:spPr>
          <p:txBody>
            <a:bodyPr rtlCol="0" anchor="ctr"/>
            <a:lstStyle/>
            <a:p>
              <a:endParaRPr lang="uk-UA" sz="900"/>
            </a:p>
          </p:txBody>
        </p:sp>
        <p:sp>
          <p:nvSpPr>
            <p:cNvPr id="243" name="Freeform: Shape 242">
              <a:extLst>
                <a:ext uri="{FF2B5EF4-FFF2-40B4-BE49-F238E27FC236}">
                  <a16:creationId xmlns:a16="http://schemas.microsoft.com/office/drawing/2014/main" id="{14566610-724C-06C9-3293-CBCE07F861F8}"/>
                </a:ext>
              </a:extLst>
            </p:cNvPr>
            <p:cNvSpPr/>
            <p:nvPr/>
          </p:nvSpPr>
          <p:spPr>
            <a:xfrm>
              <a:off x="19109210" y="4579374"/>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244" name="Freeform: Shape 243">
              <a:extLst>
                <a:ext uri="{FF2B5EF4-FFF2-40B4-BE49-F238E27FC236}">
                  <a16:creationId xmlns:a16="http://schemas.microsoft.com/office/drawing/2014/main" id="{99948969-064E-DAF3-3661-5CB576DB6C12}"/>
                </a:ext>
              </a:extLst>
            </p:cNvPr>
            <p:cNvSpPr/>
            <p:nvPr/>
          </p:nvSpPr>
          <p:spPr>
            <a:xfrm>
              <a:off x="19979365" y="457937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8"/>
                    <a:pt x="0" y="57702"/>
                    <a:pt x="0" y="0"/>
                  </a:cubicBezTo>
                  <a:lnTo>
                    <a:pt x="217539" y="0"/>
                  </a:lnTo>
                  <a:lnTo>
                    <a:pt x="435077" y="0"/>
                  </a:lnTo>
                  <a:cubicBezTo>
                    <a:pt x="435077" y="57702"/>
                    <a:pt x="412154" y="113038"/>
                    <a:pt x="371365" y="153827"/>
                  </a:cubicBezTo>
                  <a:cubicBezTo>
                    <a:pt x="330550" y="194616"/>
                    <a:pt x="275241" y="217539"/>
                    <a:pt x="217539" y="217539"/>
                  </a:cubicBezTo>
                  <a:cubicBezTo>
                    <a:pt x="159836" y="217539"/>
                    <a:pt x="104501" y="194616"/>
                    <a:pt x="63712" y="153827"/>
                  </a:cubicBezTo>
                  <a:close/>
                  <a:moveTo>
                    <a:pt x="63712" y="281250"/>
                  </a:moveTo>
                  <a:cubicBezTo>
                    <a:pt x="22924" y="322066"/>
                    <a:pt x="0" y="377375"/>
                    <a:pt x="0" y="435077"/>
                  </a:cubicBezTo>
                  <a:lnTo>
                    <a:pt x="217539" y="435077"/>
                  </a:lnTo>
                  <a:lnTo>
                    <a:pt x="435077" y="435077"/>
                  </a:lnTo>
                  <a:cubicBezTo>
                    <a:pt x="435077" y="377375"/>
                    <a:pt x="412154" y="322066"/>
                    <a:pt x="371365" y="281250"/>
                  </a:cubicBezTo>
                  <a:cubicBezTo>
                    <a:pt x="330550" y="240462"/>
                    <a:pt x="275241" y="217539"/>
                    <a:pt x="217539" y="217539"/>
                  </a:cubicBezTo>
                  <a:cubicBezTo>
                    <a:pt x="159836" y="217539"/>
                    <a:pt x="104501" y="240462"/>
                    <a:pt x="63712" y="281250"/>
                  </a:cubicBezTo>
                  <a:close/>
                </a:path>
              </a:pathLst>
            </a:custGeom>
            <a:grpFill/>
            <a:ln w="27192" cap="flat">
              <a:noFill/>
              <a:prstDash val="solid"/>
              <a:miter/>
            </a:ln>
          </p:spPr>
          <p:txBody>
            <a:bodyPr rtlCol="0" anchor="ctr"/>
            <a:lstStyle/>
            <a:p>
              <a:endParaRPr lang="uk-UA" sz="900"/>
            </a:p>
          </p:txBody>
        </p:sp>
        <p:sp>
          <p:nvSpPr>
            <p:cNvPr id="245" name="Freeform: Shape 244">
              <a:extLst>
                <a:ext uri="{FF2B5EF4-FFF2-40B4-BE49-F238E27FC236}">
                  <a16:creationId xmlns:a16="http://schemas.microsoft.com/office/drawing/2014/main" id="{0447986B-FE9E-F513-F96B-86B7669DA35A}"/>
                </a:ext>
              </a:extLst>
            </p:cNvPr>
            <p:cNvSpPr/>
            <p:nvPr/>
          </p:nvSpPr>
          <p:spPr>
            <a:xfrm>
              <a:off x="21719702" y="4579374"/>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0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0"/>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246" name="Freeform: Shape 245">
              <a:extLst>
                <a:ext uri="{FF2B5EF4-FFF2-40B4-BE49-F238E27FC236}">
                  <a16:creationId xmlns:a16="http://schemas.microsoft.com/office/drawing/2014/main" id="{C6EB8B6D-D136-DAD0-AF52-67BE039CF435}"/>
                </a:ext>
              </a:extLst>
            </p:cNvPr>
            <p:cNvSpPr/>
            <p:nvPr/>
          </p:nvSpPr>
          <p:spPr>
            <a:xfrm>
              <a:off x="20849520" y="4579374"/>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5 w 435077"/>
                <a:gd name="connsiteY3" fmla="*/ 27 h 435077"/>
                <a:gd name="connsiteX4" fmla="*/ 435077 w 435077"/>
                <a:gd name="connsiteY4" fmla="*/ 217539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5" y="27"/>
                  </a:lnTo>
                  <a:lnTo>
                    <a:pt x="435077" y="217539"/>
                  </a:lnTo>
                  <a:lnTo>
                    <a:pt x="217565"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47" name="Freeform: Shape 246">
              <a:extLst>
                <a:ext uri="{FF2B5EF4-FFF2-40B4-BE49-F238E27FC236}">
                  <a16:creationId xmlns:a16="http://schemas.microsoft.com/office/drawing/2014/main" id="{B9579E08-D521-8907-7FFD-2DD0E051CF08}"/>
                </a:ext>
              </a:extLst>
            </p:cNvPr>
            <p:cNvSpPr/>
            <p:nvPr/>
          </p:nvSpPr>
          <p:spPr>
            <a:xfrm>
              <a:off x="22589856" y="4579374"/>
              <a:ext cx="435077" cy="435077"/>
            </a:xfrm>
            <a:custGeom>
              <a:avLst/>
              <a:gdLst>
                <a:gd name="connsiteX0" fmla="*/ 435077 w 435077"/>
                <a:gd name="connsiteY0" fmla="*/ 435077 h 435077"/>
                <a:gd name="connsiteX1" fmla="*/ 435077 w 435077"/>
                <a:gd name="connsiteY1" fmla="*/ 0 h 435077"/>
                <a:gd name="connsiteX2" fmla="*/ 217567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7"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48" name="Freeform: Shape 247">
              <a:extLst>
                <a:ext uri="{FF2B5EF4-FFF2-40B4-BE49-F238E27FC236}">
                  <a16:creationId xmlns:a16="http://schemas.microsoft.com/office/drawing/2014/main" id="{622CAE63-C569-C2A0-16FB-01789116A6D9}"/>
                </a:ext>
              </a:extLst>
            </p:cNvPr>
            <p:cNvSpPr/>
            <p:nvPr/>
          </p:nvSpPr>
          <p:spPr>
            <a:xfrm>
              <a:off x="23460039" y="457937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895" y="113038"/>
                    <a:pt x="0" y="57702"/>
                    <a:pt x="0" y="0"/>
                  </a:cubicBezTo>
                  <a:lnTo>
                    <a:pt x="217539" y="0"/>
                  </a:lnTo>
                  <a:lnTo>
                    <a:pt x="435077" y="0"/>
                  </a:lnTo>
                  <a:cubicBezTo>
                    <a:pt x="435077" y="57702"/>
                    <a:pt x="412154" y="113038"/>
                    <a:pt x="371339" y="153827"/>
                  </a:cubicBezTo>
                  <a:cubicBezTo>
                    <a:pt x="330550" y="194616"/>
                    <a:pt x="275213" y="217539"/>
                    <a:pt x="217539" y="217539"/>
                  </a:cubicBezTo>
                  <a:cubicBezTo>
                    <a:pt x="159836" y="217539"/>
                    <a:pt x="104501" y="194616"/>
                    <a:pt x="63712" y="153827"/>
                  </a:cubicBezTo>
                  <a:close/>
                  <a:moveTo>
                    <a:pt x="63712" y="281250"/>
                  </a:moveTo>
                  <a:cubicBezTo>
                    <a:pt x="22895" y="322066"/>
                    <a:pt x="0" y="377375"/>
                    <a:pt x="0" y="435077"/>
                  </a:cubicBezTo>
                  <a:lnTo>
                    <a:pt x="217539" y="435077"/>
                  </a:lnTo>
                  <a:lnTo>
                    <a:pt x="435077" y="435077"/>
                  </a:lnTo>
                  <a:cubicBezTo>
                    <a:pt x="435077" y="377375"/>
                    <a:pt x="412154" y="322066"/>
                    <a:pt x="371339" y="281250"/>
                  </a:cubicBezTo>
                  <a:cubicBezTo>
                    <a:pt x="330550" y="240462"/>
                    <a:pt x="275213" y="217539"/>
                    <a:pt x="217539" y="217539"/>
                  </a:cubicBezTo>
                  <a:cubicBezTo>
                    <a:pt x="159836" y="217539"/>
                    <a:pt x="104501" y="240462"/>
                    <a:pt x="63712" y="281250"/>
                  </a:cubicBezTo>
                  <a:close/>
                </a:path>
              </a:pathLst>
            </a:custGeom>
            <a:grpFill/>
            <a:ln w="27192" cap="flat">
              <a:noFill/>
              <a:prstDash val="solid"/>
              <a:miter/>
            </a:ln>
          </p:spPr>
          <p:txBody>
            <a:bodyPr rtlCol="0" anchor="ctr"/>
            <a:lstStyle/>
            <a:p>
              <a:endParaRPr lang="uk-UA" sz="900"/>
            </a:p>
          </p:txBody>
        </p:sp>
        <p:sp>
          <p:nvSpPr>
            <p:cNvPr id="249" name="Freeform: Shape 248">
              <a:extLst>
                <a:ext uri="{FF2B5EF4-FFF2-40B4-BE49-F238E27FC236}">
                  <a16:creationId xmlns:a16="http://schemas.microsoft.com/office/drawing/2014/main" id="{B35E36ED-4971-D8EB-FC94-A164A3FE0BF7}"/>
                </a:ext>
              </a:extLst>
            </p:cNvPr>
            <p:cNvSpPr/>
            <p:nvPr/>
          </p:nvSpPr>
          <p:spPr>
            <a:xfrm>
              <a:off x="24330194" y="4579374"/>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39 w 435077"/>
                <a:gd name="connsiteY3" fmla="*/ 27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39" y="27"/>
                  </a:lnTo>
                  <a:lnTo>
                    <a:pt x="435077" y="217539"/>
                  </a:lnTo>
                  <a:lnTo>
                    <a:pt x="217539"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50" name="Freeform: Shape 249">
              <a:extLst>
                <a:ext uri="{FF2B5EF4-FFF2-40B4-BE49-F238E27FC236}">
                  <a16:creationId xmlns:a16="http://schemas.microsoft.com/office/drawing/2014/main" id="{77489216-0AFB-B862-AFF8-4B57CE2625C3}"/>
                </a:ext>
              </a:extLst>
            </p:cNvPr>
            <p:cNvSpPr/>
            <p:nvPr/>
          </p:nvSpPr>
          <p:spPr>
            <a:xfrm>
              <a:off x="835769" y="718983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251" name="Freeform: Shape 250">
              <a:extLst>
                <a:ext uri="{FF2B5EF4-FFF2-40B4-BE49-F238E27FC236}">
                  <a16:creationId xmlns:a16="http://schemas.microsoft.com/office/drawing/2014/main" id="{087D7A1E-D8B2-D241-6C31-201A2EE58268}"/>
                </a:ext>
              </a:extLst>
            </p:cNvPr>
            <p:cNvSpPr/>
            <p:nvPr/>
          </p:nvSpPr>
          <p:spPr>
            <a:xfrm>
              <a:off x="-34398" y="7189838"/>
              <a:ext cx="435090" cy="435077"/>
            </a:xfrm>
            <a:custGeom>
              <a:avLst/>
              <a:gdLst>
                <a:gd name="connsiteX0" fmla="*/ 0 w 435090"/>
                <a:gd name="connsiteY0" fmla="*/ 435077 h 435077"/>
                <a:gd name="connsiteX1" fmla="*/ 217525 w 435090"/>
                <a:gd name="connsiteY1" fmla="*/ 435077 h 435077"/>
                <a:gd name="connsiteX2" fmla="*/ 217525 w 435090"/>
                <a:gd name="connsiteY2" fmla="*/ 217539 h 435077"/>
                <a:gd name="connsiteX3" fmla="*/ 0 w 435090"/>
                <a:gd name="connsiteY3" fmla="*/ 435077 h 435077"/>
                <a:gd name="connsiteX4" fmla="*/ 217525 w 435090"/>
                <a:gd name="connsiteY4" fmla="*/ 0 h 435077"/>
                <a:gd name="connsiteX5" fmla="*/ 3 w 435090"/>
                <a:gd name="connsiteY5" fmla="*/ 0 h 435077"/>
                <a:gd name="connsiteX6" fmla="*/ 217525 w 435090"/>
                <a:gd name="connsiteY6" fmla="*/ 217539 h 435077"/>
                <a:gd name="connsiteX7" fmla="*/ 217525 w 435090"/>
                <a:gd name="connsiteY7" fmla="*/ 0 h 435077"/>
                <a:gd name="connsiteX8" fmla="*/ 435091 w 435090"/>
                <a:gd name="connsiteY8" fmla="*/ 435077 h 435077"/>
                <a:gd name="connsiteX9" fmla="*/ 217552 w 435090"/>
                <a:gd name="connsiteY9" fmla="*/ 435077 h 435077"/>
                <a:gd name="connsiteX10" fmla="*/ 435091 w 435090"/>
                <a:gd name="connsiteY10" fmla="*/ 217539 h 435077"/>
                <a:gd name="connsiteX11" fmla="*/ 435091 w 435090"/>
                <a:gd name="connsiteY11" fmla="*/ 435077 h 435077"/>
                <a:gd name="connsiteX12" fmla="*/ 435091 w 435090"/>
                <a:gd name="connsiteY12" fmla="*/ 0 h 435077"/>
                <a:gd name="connsiteX13" fmla="*/ 217552 w 435090"/>
                <a:gd name="connsiteY13" fmla="*/ 0 h 435077"/>
                <a:gd name="connsiteX14" fmla="*/ 435091 w 435090"/>
                <a:gd name="connsiteY14" fmla="*/ 217539 h 435077"/>
                <a:gd name="connsiteX15" fmla="*/ 435091 w 435090"/>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90" h="435077">
                  <a:moveTo>
                    <a:pt x="0" y="435077"/>
                  </a:moveTo>
                  <a:lnTo>
                    <a:pt x="217525" y="435077"/>
                  </a:lnTo>
                  <a:lnTo>
                    <a:pt x="217525" y="217539"/>
                  </a:lnTo>
                  <a:lnTo>
                    <a:pt x="0" y="435077"/>
                  </a:lnTo>
                  <a:close/>
                  <a:moveTo>
                    <a:pt x="217525" y="0"/>
                  </a:moveTo>
                  <a:lnTo>
                    <a:pt x="3" y="0"/>
                  </a:lnTo>
                  <a:lnTo>
                    <a:pt x="217525" y="217539"/>
                  </a:lnTo>
                  <a:lnTo>
                    <a:pt x="217525" y="0"/>
                  </a:lnTo>
                  <a:close/>
                  <a:moveTo>
                    <a:pt x="435091" y="435077"/>
                  </a:moveTo>
                  <a:lnTo>
                    <a:pt x="217552" y="435077"/>
                  </a:lnTo>
                  <a:lnTo>
                    <a:pt x="435091" y="217539"/>
                  </a:lnTo>
                  <a:lnTo>
                    <a:pt x="435091" y="435077"/>
                  </a:lnTo>
                  <a:close/>
                  <a:moveTo>
                    <a:pt x="435091" y="0"/>
                  </a:moveTo>
                  <a:lnTo>
                    <a:pt x="217552" y="0"/>
                  </a:lnTo>
                  <a:lnTo>
                    <a:pt x="435091" y="217539"/>
                  </a:lnTo>
                  <a:lnTo>
                    <a:pt x="435091" y="0"/>
                  </a:lnTo>
                  <a:close/>
                </a:path>
              </a:pathLst>
            </a:custGeom>
            <a:grpFill/>
            <a:ln w="27192" cap="flat">
              <a:noFill/>
              <a:prstDash val="solid"/>
              <a:miter/>
            </a:ln>
          </p:spPr>
          <p:txBody>
            <a:bodyPr rtlCol="0" anchor="ctr"/>
            <a:lstStyle/>
            <a:p>
              <a:endParaRPr lang="uk-UA" sz="900"/>
            </a:p>
          </p:txBody>
        </p:sp>
        <p:sp>
          <p:nvSpPr>
            <p:cNvPr id="252" name="Freeform: Shape 251">
              <a:extLst>
                <a:ext uri="{FF2B5EF4-FFF2-40B4-BE49-F238E27FC236}">
                  <a16:creationId xmlns:a16="http://schemas.microsoft.com/office/drawing/2014/main" id="{AEF70BD9-C015-9222-4523-8E95B73D32C9}"/>
                </a:ext>
              </a:extLst>
            </p:cNvPr>
            <p:cNvSpPr/>
            <p:nvPr/>
          </p:nvSpPr>
          <p:spPr>
            <a:xfrm>
              <a:off x="1705924" y="7189838"/>
              <a:ext cx="435077" cy="435077"/>
            </a:xfrm>
            <a:custGeom>
              <a:avLst/>
              <a:gdLst>
                <a:gd name="connsiteX0" fmla="*/ 371366 w 435077"/>
                <a:gd name="connsiteY0" fmla="*/ 63711 h 435077"/>
                <a:gd name="connsiteX1" fmla="*/ 435077 w 435077"/>
                <a:gd name="connsiteY1" fmla="*/ 217539 h 435077"/>
                <a:gd name="connsiteX2" fmla="*/ 218952 w 435077"/>
                <a:gd name="connsiteY2" fmla="*/ 217539 h 435077"/>
                <a:gd name="connsiteX3" fmla="*/ 371366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1 w 435077"/>
                <a:gd name="connsiteY7" fmla="*/ 281250 h 435077"/>
                <a:gd name="connsiteX8" fmla="*/ 216152 w 435077"/>
                <a:gd name="connsiteY8" fmla="*/ 217539 h 435077"/>
                <a:gd name="connsiteX9" fmla="*/ 0 w 435077"/>
                <a:gd name="connsiteY9" fmla="*/ 217539 h 435077"/>
                <a:gd name="connsiteX10" fmla="*/ 63711 w 435077"/>
                <a:gd name="connsiteY10" fmla="*/ 63711 h 435077"/>
                <a:gd name="connsiteX11" fmla="*/ 217539 w 435077"/>
                <a:gd name="connsiteY11" fmla="*/ 0 h 435077"/>
                <a:gd name="connsiteX12" fmla="*/ 371366 w 435077"/>
                <a:gd name="connsiteY12" fmla="*/ 63711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1"/>
                  </a:moveTo>
                  <a:cubicBezTo>
                    <a:pt x="412154" y="104527"/>
                    <a:pt x="435077" y="159836"/>
                    <a:pt x="435077" y="217539"/>
                  </a:cubicBezTo>
                  <a:lnTo>
                    <a:pt x="218952" y="217539"/>
                  </a:lnTo>
                  <a:cubicBezTo>
                    <a:pt x="276138" y="217920"/>
                    <a:pt x="330903" y="240788"/>
                    <a:pt x="371366" y="281250"/>
                  </a:cubicBezTo>
                  <a:cubicBezTo>
                    <a:pt x="412154" y="322039"/>
                    <a:pt x="435077" y="377375"/>
                    <a:pt x="435077" y="435077"/>
                  </a:cubicBezTo>
                  <a:lnTo>
                    <a:pt x="217539" y="435077"/>
                  </a:lnTo>
                  <a:lnTo>
                    <a:pt x="0" y="435077"/>
                  </a:lnTo>
                  <a:cubicBezTo>
                    <a:pt x="0" y="377375"/>
                    <a:pt x="22923" y="322039"/>
                    <a:pt x="63711" y="281250"/>
                  </a:cubicBezTo>
                  <a:cubicBezTo>
                    <a:pt x="104201" y="240788"/>
                    <a:pt x="158966" y="217920"/>
                    <a:pt x="216152" y="217539"/>
                  </a:cubicBezTo>
                  <a:lnTo>
                    <a:pt x="0" y="217539"/>
                  </a:lnTo>
                  <a:cubicBezTo>
                    <a:pt x="0" y="159836"/>
                    <a:pt x="22923" y="104527"/>
                    <a:pt x="63711" y="63711"/>
                  </a:cubicBezTo>
                  <a:cubicBezTo>
                    <a:pt x="104527" y="22923"/>
                    <a:pt x="159836" y="0"/>
                    <a:pt x="217539" y="0"/>
                  </a:cubicBezTo>
                  <a:cubicBezTo>
                    <a:pt x="275241" y="0"/>
                    <a:pt x="330577" y="22923"/>
                    <a:pt x="371366" y="63711"/>
                  </a:cubicBezTo>
                  <a:close/>
                </a:path>
              </a:pathLst>
            </a:custGeom>
            <a:grpFill/>
            <a:ln w="27192" cap="flat">
              <a:noFill/>
              <a:prstDash val="solid"/>
              <a:miter/>
            </a:ln>
          </p:spPr>
          <p:txBody>
            <a:bodyPr rtlCol="0" anchor="ctr"/>
            <a:lstStyle/>
            <a:p>
              <a:endParaRPr lang="uk-UA" sz="900"/>
            </a:p>
          </p:txBody>
        </p:sp>
        <p:sp>
          <p:nvSpPr>
            <p:cNvPr id="253" name="Freeform: Shape 252">
              <a:extLst>
                <a:ext uri="{FF2B5EF4-FFF2-40B4-BE49-F238E27FC236}">
                  <a16:creationId xmlns:a16="http://schemas.microsoft.com/office/drawing/2014/main" id="{A710DBD4-0E05-679E-C7E6-26E705160D08}"/>
                </a:ext>
              </a:extLst>
            </p:cNvPr>
            <p:cNvSpPr/>
            <p:nvPr/>
          </p:nvSpPr>
          <p:spPr>
            <a:xfrm>
              <a:off x="2576106" y="718983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50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50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50" y="217539"/>
                  </a:lnTo>
                  <a:lnTo>
                    <a:pt x="435077" y="217539"/>
                  </a:lnTo>
                  <a:lnTo>
                    <a:pt x="435077" y="217539"/>
                  </a:lnTo>
                  <a:lnTo>
                    <a:pt x="435077" y="217539"/>
                  </a:lnTo>
                  <a:lnTo>
                    <a:pt x="435050"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254" name="Freeform: Shape 253">
              <a:extLst>
                <a:ext uri="{FF2B5EF4-FFF2-40B4-BE49-F238E27FC236}">
                  <a16:creationId xmlns:a16="http://schemas.microsoft.com/office/drawing/2014/main" id="{07D20F58-EAD1-6D8C-B58B-BB542160AE43}"/>
                </a:ext>
              </a:extLst>
            </p:cNvPr>
            <p:cNvSpPr/>
            <p:nvPr/>
          </p:nvSpPr>
          <p:spPr>
            <a:xfrm>
              <a:off x="4316416" y="7189838"/>
              <a:ext cx="435077" cy="435077"/>
            </a:xfrm>
            <a:custGeom>
              <a:avLst/>
              <a:gdLst>
                <a:gd name="connsiteX0" fmla="*/ 217565 w 435077"/>
                <a:gd name="connsiteY0" fmla="*/ 0 h 435077"/>
                <a:gd name="connsiteX1" fmla="*/ 217539 w 435077"/>
                <a:gd name="connsiteY1" fmla="*/ 0 h 435077"/>
                <a:gd name="connsiteX2" fmla="*/ 27 w 435077"/>
                <a:gd name="connsiteY2" fmla="*/ 0 h 435077"/>
                <a:gd name="connsiteX3" fmla="*/ 27 w 435077"/>
                <a:gd name="connsiteY3" fmla="*/ 217539 h 435077"/>
                <a:gd name="connsiteX4" fmla="*/ 217565 w 435077"/>
                <a:gd name="connsiteY4" fmla="*/ 0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65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65" y="0"/>
                  </a:moveTo>
                  <a:lnTo>
                    <a:pt x="217539" y="0"/>
                  </a:lnTo>
                  <a:lnTo>
                    <a:pt x="27" y="0"/>
                  </a:lnTo>
                  <a:lnTo>
                    <a:pt x="27" y="217539"/>
                  </a:lnTo>
                  <a:lnTo>
                    <a:pt x="217565" y="0"/>
                  </a:lnTo>
                  <a:lnTo>
                    <a:pt x="435077" y="217539"/>
                  </a:lnTo>
                  <a:lnTo>
                    <a:pt x="217539" y="435077"/>
                  </a:lnTo>
                  <a:lnTo>
                    <a:pt x="0" y="217539"/>
                  </a:lnTo>
                  <a:lnTo>
                    <a:pt x="0" y="435077"/>
                  </a:lnTo>
                  <a:lnTo>
                    <a:pt x="217539" y="435077"/>
                  </a:lnTo>
                  <a:lnTo>
                    <a:pt x="435077" y="435077"/>
                  </a:lnTo>
                  <a:lnTo>
                    <a:pt x="435077" y="217539"/>
                  </a:lnTo>
                  <a:lnTo>
                    <a:pt x="435077" y="0"/>
                  </a:lnTo>
                  <a:lnTo>
                    <a:pt x="217565" y="0"/>
                  </a:lnTo>
                  <a:close/>
                </a:path>
              </a:pathLst>
            </a:custGeom>
            <a:grpFill/>
            <a:ln w="27192" cap="flat">
              <a:noFill/>
              <a:prstDash val="solid"/>
              <a:miter/>
            </a:ln>
          </p:spPr>
          <p:txBody>
            <a:bodyPr rtlCol="0" anchor="ctr"/>
            <a:lstStyle/>
            <a:p>
              <a:endParaRPr lang="uk-UA" sz="900"/>
            </a:p>
          </p:txBody>
        </p:sp>
        <p:sp>
          <p:nvSpPr>
            <p:cNvPr id="255" name="Freeform: Shape 254">
              <a:extLst>
                <a:ext uri="{FF2B5EF4-FFF2-40B4-BE49-F238E27FC236}">
                  <a16:creationId xmlns:a16="http://schemas.microsoft.com/office/drawing/2014/main" id="{97C5CF4A-00A2-8EE0-C5E5-FCF4E01E34D4}"/>
                </a:ext>
              </a:extLst>
            </p:cNvPr>
            <p:cNvSpPr/>
            <p:nvPr/>
          </p:nvSpPr>
          <p:spPr>
            <a:xfrm>
              <a:off x="3446261" y="7189838"/>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66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66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66" y="435077"/>
                  </a:lnTo>
                  <a:lnTo>
                    <a:pt x="435077" y="217539"/>
                  </a:lnTo>
                  <a:lnTo>
                    <a:pt x="435077" y="435077"/>
                  </a:lnTo>
                  <a:close/>
                  <a:moveTo>
                    <a:pt x="435077" y="0"/>
                  </a:moveTo>
                  <a:lnTo>
                    <a:pt x="217566"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256" name="Freeform: Shape 255">
              <a:extLst>
                <a:ext uri="{FF2B5EF4-FFF2-40B4-BE49-F238E27FC236}">
                  <a16:creationId xmlns:a16="http://schemas.microsoft.com/office/drawing/2014/main" id="{636BD380-AD81-F3C0-E12D-2DA43A385483}"/>
                </a:ext>
              </a:extLst>
            </p:cNvPr>
            <p:cNvSpPr/>
            <p:nvPr/>
          </p:nvSpPr>
          <p:spPr>
            <a:xfrm>
              <a:off x="5186597" y="7189838"/>
              <a:ext cx="435077" cy="435077"/>
            </a:xfrm>
            <a:custGeom>
              <a:avLst/>
              <a:gdLst>
                <a:gd name="connsiteX0" fmla="*/ 371366 w 435077"/>
                <a:gd name="connsiteY0" fmla="*/ 63711 h 435077"/>
                <a:gd name="connsiteX1" fmla="*/ 435077 w 435077"/>
                <a:gd name="connsiteY1" fmla="*/ 217539 h 435077"/>
                <a:gd name="connsiteX2" fmla="*/ 218953 w 435077"/>
                <a:gd name="connsiteY2" fmla="*/ 217539 h 435077"/>
                <a:gd name="connsiteX3" fmla="*/ 371366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25 w 435077"/>
                <a:gd name="connsiteY8" fmla="*/ 217539 h 435077"/>
                <a:gd name="connsiteX9" fmla="*/ 0 w 435077"/>
                <a:gd name="connsiteY9" fmla="*/ 217539 h 435077"/>
                <a:gd name="connsiteX10" fmla="*/ 63712 w 435077"/>
                <a:gd name="connsiteY10" fmla="*/ 63711 h 435077"/>
                <a:gd name="connsiteX11" fmla="*/ 217539 w 435077"/>
                <a:gd name="connsiteY11" fmla="*/ 0 h 435077"/>
                <a:gd name="connsiteX12" fmla="*/ 371366 w 435077"/>
                <a:gd name="connsiteY12" fmla="*/ 63711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1"/>
                  </a:moveTo>
                  <a:cubicBezTo>
                    <a:pt x="412155" y="104527"/>
                    <a:pt x="435077" y="159836"/>
                    <a:pt x="435077" y="217539"/>
                  </a:cubicBezTo>
                  <a:lnTo>
                    <a:pt x="218953" y="217539"/>
                  </a:lnTo>
                  <a:cubicBezTo>
                    <a:pt x="276138" y="217920"/>
                    <a:pt x="330904" y="240788"/>
                    <a:pt x="371366" y="281250"/>
                  </a:cubicBezTo>
                  <a:cubicBezTo>
                    <a:pt x="412155" y="322039"/>
                    <a:pt x="435077" y="377375"/>
                    <a:pt x="435077" y="435077"/>
                  </a:cubicBezTo>
                  <a:lnTo>
                    <a:pt x="217539" y="435077"/>
                  </a:lnTo>
                  <a:lnTo>
                    <a:pt x="0" y="435077"/>
                  </a:lnTo>
                  <a:cubicBezTo>
                    <a:pt x="0" y="377375"/>
                    <a:pt x="22924" y="322039"/>
                    <a:pt x="63712" y="281250"/>
                  </a:cubicBezTo>
                  <a:cubicBezTo>
                    <a:pt x="104175" y="240788"/>
                    <a:pt x="158939" y="217920"/>
                    <a:pt x="216125" y="217539"/>
                  </a:cubicBezTo>
                  <a:lnTo>
                    <a:pt x="0" y="217539"/>
                  </a:lnTo>
                  <a:cubicBezTo>
                    <a:pt x="0" y="159836"/>
                    <a:pt x="22924" y="104527"/>
                    <a:pt x="63712" y="63711"/>
                  </a:cubicBezTo>
                  <a:cubicBezTo>
                    <a:pt x="104501" y="22923"/>
                    <a:pt x="159837" y="0"/>
                    <a:pt x="217539" y="0"/>
                  </a:cubicBezTo>
                  <a:cubicBezTo>
                    <a:pt x="275241" y="0"/>
                    <a:pt x="330550" y="22923"/>
                    <a:pt x="371366" y="63711"/>
                  </a:cubicBezTo>
                  <a:close/>
                </a:path>
              </a:pathLst>
            </a:custGeom>
            <a:grpFill/>
            <a:ln w="27192" cap="flat">
              <a:noFill/>
              <a:prstDash val="solid"/>
              <a:miter/>
            </a:ln>
          </p:spPr>
          <p:txBody>
            <a:bodyPr rtlCol="0" anchor="ctr"/>
            <a:lstStyle/>
            <a:p>
              <a:endParaRPr lang="uk-UA" sz="900"/>
            </a:p>
          </p:txBody>
        </p:sp>
        <p:sp>
          <p:nvSpPr>
            <p:cNvPr id="257" name="Freeform: Shape 256">
              <a:extLst>
                <a:ext uri="{FF2B5EF4-FFF2-40B4-BE49-F238E27FC236}">
                  <a16:creationId xmlns:a16="http://schemas.microsoft.com/office/drawing/2014/main" id="{84EC22D9-8A02-6E4A-0AA3-EE7985742084}"/>
                </a:ext>
              </a:extLst>
            </p:cNvPr>
            <p:cNvSpPr/>
            <p:nvPr/>
          </p:nvSpPr>
          <p:spPr>
            <a:xfrm>
              <a:off x="6056752" y="7189838"/>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0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39 h 435077"/>
                <a:gd name="connsiteX9" fmla="*/ 435077 w 435077"/>
                <a:gd name="connsiteY9" fmla="*/ 217539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0"/>
                  </a:lnTo>
                  <a:lnTo>
                    <a:pt x="435077" y="217539"/>
                  </a:lnTo>
                  <a:lnTo>
                    <a:pt x="435077" y="217539"/>
                  </a:lnTo>
                  <a:lnTo>
                    <a:pt x="435077" y="217539"/>
                  </a:lnTo>
                  <a:lnTo>
                    <a:pt x="435077" y="217539"/>
                  </a:lnTo>
                  <a:lnTo>
                    <a:pt x="435077" y="217539"/>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258" name="Freeform: Shape 257">
              <a:extLst>
                <a:ext uri="{FF2B5EF4-FFF2-40B4-BE49-F238E27FC236}">
                  <a16:creationId xmlns:a16="http://schemas.microsoft.com/office/drawing/2014/main" id="{5B41A7FD-2708-7883-D339-3F2C6992A092}"/>
                </a:ext>
              </a:extLst>
            </p:cNvPr>
            <p:cNvSpPr/>
            <p:nvPr/>
          </p:nvSpPr>
          <p:spPr>
            <a:xfrm>
              <a:off x="7797062" y="718983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p>
          </p:txBody>
        </p:sp>
        <p:sp>
          <p:nvSpPr>
            <p:cNvPr id="259" name="Freeform: Shape 258">
              <a:extLst>
                <a:ext uri="{FF2B5EF4-FFF2-40B4-BE49-F238E27FC236}">
                  <a16:creationId xmlns:a16="http://schemas.microsoft.com/office/drawing/2014/main" id="{518FDCAC-BF10-DC50-FDAD-026DEA910C77}"/>
                </a:ext>
              </a:extLst>
            </p:cNvPr>
            <p:cNvSpPr/>
            <p:nvPr/>
          </p:nvSpPr>
          <p:spPr>
            <a:xfrm>
              <a:off x="6926907" y="7189838"/>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260" name="Freeform: Shape 259">
              <a:extLst>
                <a:ext uri="{FF2B5EF4-FFF2-40B4-BE49-F238E27FC236}">
                  <a16:creationId xmlns:a16="http://schemas.microsoft.com/office/drawing/2014/main" id="{443012D7-2DF6-94F0-88F5-5F571496BE86}"/>
                </a:ext>
              </a:extLst>
            </p:cNvPr>
            <p:cNvSpPr/>
            <p:nvPr/>
          </p:nvSpPr>
          <p:spPr>
            <a:xfrm>
              <a:off x="8667217" y="7189838"/>
              <a:ext cx="435104" cy="435077"/>
            </a:xfrm>
            <a:custGeom>
              <a:avLst/>
              <a:gdLst>
                <a:gd name="connsiteX0" fmla="*/ 371366 w 435104"/>
                <a:gd name="connsiteY0" fmla="*/ 63711 h 435077"/>
                <a:gd name="connsiteX1" fmla="*/ 435077 w 435104"/>
                <a:gd name="connsiteY1" fmla="*/ 217539 h 435077"/>
                <a:gd name="connsiteX2" fmla="*/ 218953 w 435104"/>
                <a:gd name="connsiteY2" fmla="*/ 217539 h 435077"/>
                <a:gd name="connsiteX3" fmla="*/ 371366 w 435104"/>
                <a:gd name="connsiteY3" fmla="*/ 281250 h 435077"/>
                <a:gd name="connsiteX4" fmla="*/ 435105 w 435104"/>
                <a:gd name="connsiteY4" fmla="*/ 435077 h 435077"/>
                <a:gd name="connsiteX5" fmla="*/ 217566 w 435104"/>
                <a:gd name="connsiteY5" fmla="*/ 435077 h 435077"/>
                <a:gd name="connsiteX6" fmla="*/ 27 w 435104"/>
                <a:gd name="connsiteY6" fmla="*/ 435077 h 435077"/>
                <a:gd name="connsiteX7" fmla="*/ 63739 w 435104"/>
                <a:gd name="connsiteY7" fmla="*/ 281250 h 435077"/>
                <a:gd name="connsiteX8" fmla="*/ 216152 w 435104"/>
                <a:gd name="connsiteY8" fmla="*/ 217539 h 435077"/>
                <a:gd name="connsiteX9" fmla="*/ 0 w 435104"/>
                <a:gd name="connsiteY9" fmla="*/ 217539 h 435077"/>
                <a:gd name="connsiteX10" fmla="*/ 63739 w 435104"/>
                <a:gd name="connsiteY10" fmla="*/ 63711 h 435077"/>
                <a:gd name="connsiteX11" fmla="*/ 217539 w 435104"/>
                <a:gd name="connsiteY11" fmla="*/ 0 h 435077"/>
                <a:gd name="connsiteX12" fmla="*/ 371366 w 435104"/>
                <a:gd name="connsiteY12" fmla="*/ 63711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4" h="435077">
                  <a:moveTo>
                    <a:pt x="371366" y="63711"/>
                  </a:moveTo>
                  <a:cubicBezTo>
                    <a:pt x="412182" y="104527"/>
                    <a:pt x="435077" y="159836"/>
                    <a:pt x="435077" y="217539"/>
                  </a:cubicBezTo>
                  <a:lnTo>
                    <a:pt x="218953" y="217539"/>
                  </a:lnTo>
                  <a:cubicBezTo>
                    <a:pt x="276138" y="217920"/>
                    <a:pt x="330904" y="240788"/>
                    <a:pt x="371366" y="281250"/>
                  </a:cubicBezTo>
                  <a:cubicBezTo>
                    <a:pt x="412182" y="322039"/>
                    <a:pt x="435105" y="377375"/>
                    <a:pt x="435105" y="435077"/>
                  </a:cubicBezTo>
                  <a:lnTo>
                    <a:pt x="217566" y="435077"/>
                  </a:lnTo>
                  <a:lnTo>
                    <a:pt x="27" y="435077"/>
                  </a:lnTo>
                  <a:cubicBezTo>
                    <a:pt x="27" y="377375"/>
                    <a:pt x="22924" y="322039"/>
                    <a:pt x="63739" y="281250"/>
                  </a:cubicBezTo>
                  <a:cubicBezTo>
                    <a:pt x="104201" y="240788"/>
                    <a:pt x="158967" y="217920"/>
                    <a:pt x="216152" y="217539"/>
                  </a:cubicBezTo>
                  <a:lnTo>
                    <a:pt x="0" y="217539"/>
                  </a:lnTo>
                  <a:cubicBezTo>
                    <a:pt x="0" y="159836"/>
                    <a:pt x="22924" y="104527"/>
                    <a:pt x="63739" y="63711"/>
                  </a:cubicBezTo>
                  <a:cubicBezTo>
                    <a:pt x="104527" y="22923"/>
                    <a:pt x="159864" y="0"/>
                    <a:pt x="217539" y="0"/>
                  </a:cubicBezTo>
                  <a:cubicBezTo>
                    <a:pt x="275241" y="0"/>
                    <a:pt x="330578" y="22923"/>
                    <a:pt x="371366" y="63711"/>
                  </a:cubicBezTo>
                  <a:close/>
                </a:path>
              </a:pathLst>
            </a:custGeom>
            <a:grpFill/>
            <a:ln w="27192" cap="flat">
              <a:noFill/>
              <a:prstDash val="solid"/>
              <a:miter/>
            </a:ln>
          </p:spPr>
          <p:txBody>
            <a:bodyPr rtlCol="0" anchor="ctr"/>
            <a:lstStyle/>
            <a:p>
              <a:endParaRPr lang="uk-UA" sz="900"/>
            </a:p>
          </p:txBody>
        </p:sp>
        <p:sp>
          <p:nvSpPr>
            <p:cNvPr id="261" name="Freeform: Shape 260">
              <a:extLst>
                <a:ext uri="{FF2B5EF4-FFF2-40B4-BE49-F238E27FC236}">
                  <a16:creationId xmlns:a16="http://schemas.microsoft.com/office/drawing/2014/main" id="{90F64222-877F-2A15-C1EA-7FD3F5E4D3CE}"/>
                </a:ext>
              </a:extLst>
            </p:cNvPr>
            <p:cNvSpPr/>
            <p:nvPr/>
          </p:nvSpPr>
          <p:spPr>
            <a:xfrm>
              <a:off x="9537399" y="7189838"/>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0 h 435077"/>
                <a:gd name="connsiteX5" fmla="*/ 435050 w 435077"/>
                <a:gd name="connsiteY5" fmla="*/ 217539 h 435077"/>
                <a:gd name="connsiteX6" fmla="*/ 435077 w 435077"/>
                <a:gd name="connsiteY6" fmla="*/ 217539 h 435077"/>
                <a:gd name="connsiteX7" fmla="*/ 435050 w 435077"/>
                <a:gd name="connsiteY7" fmla="*/ 217539 h 435077"/>
                <a:gd name="connsiteX8" fmla="*/ 435077 w 435077"/>
                <a:gd name="connsiteY8" fmla="*/ 217539 h 435077"/>
                <a:gd name="connsiteX9" fmla="*/ 435050 w 435077"/>
                <a:gd name="connsiteY9" fmla="*/ 217539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0"/>
                  </a:lnTo>
                  <a:lnTo>
                    <a:pt x="435050" y="217539"/>
                  </a:lnTo>
                  <a:lnTo>
                    <a:pt x="435077" y="217539"/>
                  </a:lnTo>
                  <a:lnTo>
                    <a:pt x="435050" y="217539"/>
                  </a:lnTo>
                  <a:lnTo>
                    <a:pt x="435077" y="217539"/>
                  </a:lnTo>
                  <a:lnTo>
                    <a:pt x="435050" y="217539"/>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262" name="Freeform: Shape 261">
              <a:extLst>
                <a:ext uri="{FF2B5EF4-FFF2-40B4-BE49-F238E27FC236}">
                  <a16:creationId xmlns:a16="http://schemas.microsoft.com/office/drawing/2014/main" id="{1A997FF3-4945-6D69-9272-501714348368}"/>
                </a:ext>
              </a:extLst>
            </p:cNvPr>
            <p:cNvSpPr/>
            <p:nvPr/>
          </p:nvSpPr>
          <p:spPr>
            <a:xfrm>
              <a:off x="11277709" y="718983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263" name="Freeform: Shape 262">
              <a:extLst>
                <a:ext uri="{FF2B5EF4-FFF2-40B4-BE49-F238E27FC236}">
                  <a16:creationId xmlns:a16="http://schemas.microsoft.com/office/drawing/2014/main" id="{9DE4D399-EF05-79C3-E940-367C185AC80C}"/>
                </a:ext>
              </a:extLst>
            </p:cNvPr>
            <p:cNvSpPr/>
            <p:nvPr/>
          </p:nvSpPr>
          <p:spPr>
            <a:xfrm>
              <a:off x="10407554" y="7189838"/>
              <a:ext cx="435077" cy="435077"/>
            </a:xfrm>
            <a:custGeom>
              <a:avLst/>
              <a:gdLst>
                <a:gd name="connsiteX0" fmla="*/ 0 w 435077"/>
                <a:gd name="connsiteY0" fmla="*/ 435077 h 435077"/>
                <a:gd name="connsiteX1" fmla="*/ 217511 w 435077"/>
                <a:gd name="connsiteY1" fmla="*/ 435077 h 435077"/>
                <a:gd name="connsiteX2" fmla="*/ 217511 w 435077"/>
                <a:gd name="connsiteY2" fmla="*/ 217539 h 435077"/>
                <a:gd name="connsiteX3" fmla="*/ 0 w 435077"/>
                <a:gd name="connsiteY3" fmla="*/ 435077 h 435077"/>
                <a:gd name="connsiteX4" fmla="*/ 217511 w 435077"/>
                <a:gd name="connsiteY4" fmla="*/ 0 h 435077"/>
                <a:gd name="connsiteX5" fmla="*/ 0 w 435077"/>
                <a:gd name="connsiteY5" fmla="*/ 0 h 435077"/>
                <a:gd name="connsiteX6" fmla="*/ 217511 w 435077"/>
                <a:gd name="connsiteY6" fmla="*/ 217539 h 435077"/>
                <a:gd name="connsiteX7" fmla="*/ 217511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11" y="435077"/>
                  </a:lnTo>
                  <a:lnTo>
                    <a:pt x="217511" y="217539"/>
                  </a:lnTo>
                  <a:lnTo>
                    <a:pt x="0" y="435077"/>
                  </a:lnTo>
                  <a:close/>
                  <a:moveTo>
                    <a:pt x="217511" y="0"/>
                  </a:moveTo>
                  <a:lnTo>
                    <a:pt x="0" y="0"/>
                  </a:lnTo>
                  <a:lnTo>
                    <a:pt x="217511" y="217539"/>
                  </a:lnTo>
                  <a:lnTo>
                    <a:pt x="217511"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264" name="Freeform: Shape 263">
              <a:extLst>
                <a:ext uri="{FF2B5EF4-FFF2-40B4-BE49-F238E27FC236}">
                  <a16:creationId xmlns:a16="http://schemas.microsoft.com/office/drawing/2014/main" id="{45D93056-E643-C589-5408-AABA9285222C}"/>
                </a:ext>
              </a:extLst>
            </p:cNvPr>
            <p:cNvSpPr/>
            <p:nvPr/>
          </p:nvSpPr>
          <p:spPr>
            <a:xfrm>
              <a:off x="12147864" y="7189838"/>
              <a:ext cx="435103" cy="435077"/>
            </a:xfrm>
            <a:custGeom>
              <a:avLst/>
              <a:gdLst>
                <a:gd name="connsiteX0" fmla="*/ 371365 w 435103"/>
                <a:gd name="connsiteY0" fmla="*/ 63711 h 435077"/>
                <a:gd name="connsiteX1" fmla="*/ 435077 w 435103"/>
                <a:gd name="connsiteY1" fmla="*/ 217539 h 435077"/>
                <a:gd name="connsiteX2" fmla="*/ 218953 w 435103"/>
                <a:gd name="connsiteY2" fmla="*/ 217539 h 435077"/>
                <a:gd name="connsiteX3" fmla="*/ 371365 w 435103"/>
                <a:gd name="connsiteY3" fmla="*/ 281250 h 435077"/>
                <a:gd name="connsiteX4" fmla="*/ 435104 w 435103"/>
                <a:gd name="connsiteY4" fmla="*/ 435077 h 435077"/>
                <a:gd name="connsiteX5" fmla="*/ 217565 w 435103"/>
                <a:gd name="connsiteY5" fmla="*/ 435077 h 435077"/>
                <a:gd name="connsiteX6" fmla="*/ 27 w 435103"/>
                <a:gd name="connsiteY6" fmla="*/ 435077 h 435077"/>
                <a:gd name="connsiteX7" fmla="*/ 63739 w 435103"/>
                <a:gd name="connsiteY7" fmla="*/ 281250 h 435077"/>
                <a:gd name="connsiteX8" fmla="*/ 216151 w 435103"/>
                <a:gd name="connsiteY8" fmla="*/ 217539 h 435077"/>
                <a:gd name="connsiteX9" fmla="*/ 0 w 435103"/>
                <a:gd name="connsiteY9" fmla="*/ 217539 h 435077"/>
                <a:gd name="connsiteX10" fmla="*/ 63739 w 435103"/>
                <a:gd name="connsiteY10" fmla="*/ 63711 h 435077"/>
                <a:gd name="connsiteX11" fmla="*/ 217539 w 435103"/>
                <a:gd name="connsiteY11" fmla="*/ 0 h 435077"/>
                <a:gd name="connsiteX12" fmla="*/ 371365 w 435103"/>
                <a:gd name="connsiteY12" fmla="*/ 63711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3" h="435077">
                  <a:moveTo>
                    <a:pt x="371365" y="63711"/>
                  </a:moveTo>
                  <a:cubicBezTo>
                    <a:pt x="412180" y="104527"/>
                    <a:pt x="435077" y="159836"/>
                    <a:pt x="435077" y="217539"/>
                  </a:cubicBezTo>
                  <a:lnTo>
                    <a:pt x="218953" y="217539"/>
                  </a:lnTo>
                  <a:cubicBezTo>
                    <a:pt x="276137" y="217920"/>
                    <a:pt x="330902" y="240788"/>
                    <a:pt x="371365" y="281250"/>
                  </a:cubicBezTo>
                  <a:cubicBezTo>
                    <a:pt x="412180" y="322039"/>
                    <a:pt x="435104" y="377375"/>
                    <a:pt x="435104" y="435077"/>
                  </a:cubicBezTo>
                  <a:lnTo>
                    <a:pt x="217565" y="435077"/>
                  </a:lnTo>
                  <a:lnTo>
                    <a:pt x="27" y="435077"/>
                  </a:lnTo>
                  <a:cubicBezTo>
                    <a:pt x="27" y="377375"/>
                    <a:pt x="22922" y="322039"/>
                    <a:pt x="63739" y="281250"/>
                  </a:cubicBezTo>
                  <a:cubicBezTo>
                    <a:pt x="104200" y="240788"/>
                    <a:pt x="158965" y="217920"/>
                    <a:pt x="216151" y="217539"/>
                  </a:cubicBezTo>
                  <a:lnTo>
                    <a:pt x="0" y="217539"/>
                  </a:lnTo>
                  <a:cubicBezTo>
                    <a:pt x="0" y="159836"/>
                    <a:pt x="22922" y="104527"/>
                    <a:pt x="63739" y="63711"/>
                  </a:cubicBezTo>
                  <a:cubicBezTo>
                    <a:pt x="104527" y="22923"/>
                    <a:pt x="159863" y="0"/>
                    <a:pt x="217539" y="0"/>
                  </a:cubicBezTo>
                  <a:cubicBezTo>
                    <a:pt x="275239" y="0"/>
                    <a:pt x="330577" y="22923"/>
                    <a:pt x="371365" y="63711"/>
                  </a:cubicBezTo>
                  <a:close/>
                </a:path>
              </a:pathLst>
            </a:custGeom>
            <a:grpFill/>
            <a:ln w="27192" cap="flat">
              <a:noFill/>
              <a:prstDash val="solid"/>
              <a:miter/>
            </a:ln>
          </p:spPr>
          <p:txBody>
            <a:bodyPr rtlCol="0" anchor="ctr"/>
            <a:lstStyle/>
            <a:p>
              <a:endParaRPr lang="uk-UA" sz="900"/>
            </a:p>
          </p:txBody>
        </p:sp>
        <p:sp>
          <p:nvSpPr>
            <p:cNvPr id="265" name="Freeform: Shape 264">
              <a:extLst>
                <a:ext uri="{FF2B5EF4-FFF2-40B4-BE49-F238E27FC236}">
                  <a16:creationId xmlns:a16="http://schemas.microsoft.com/office/drawing/2014/main" id="{F690E784-5043-D6B5-059E-9B0557F5704E}"/>
                </a:ext>
              </a:extLst>
            </p:cNvPr>
            <p:cNvSpPr/>
            <p:nvPr/>
          </p:nvSpPr>
          <p:spPr>
            <a:xfrm>
              <a:off x="13017991" y="7189811"/>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266" name="Freeform: Shape 265">
              <a:extLst>
                <a:ext uri="{FF2B5EF4-FFF2-40B4-BE49-F238E27FC236}">
                  <a16:creationId xmlns:a16="http://schemas.microsoft.com/office/drawing/2014/main" id="{1DEFE098-B22B-A4DE-770F-7E14AC90EA17}"/>
                </a:ext>
              </a:extLst>
            </p:cNvPr>
            <p:cNvSpPr/>
            <p:nvPr/>
          </p:nvSpPr>
          <p:spPr>
            <a:xfrm>
              <a:off x="14758382" y="7189838"/>
              <a:ext cx="435077" cy="435077"/>
            </a:xfrm>
            <a:custGeom>
              <a:avLst/>
              <a:gdLst>
                <a:gd name="connsiteX0" fmla="*/ 217539 w 435077"/>
                <a:gd name="connsiteY0" fmla="*/ 0 h 435077"/>
                <a:gd name="connsiteX1" fmla="*/ 217539 w 435077"/>
                <a:gd name="connsiteY1" fmla="*/ 0 h 435077"/>
                <a:gd name="connsiteX2" fmla="*/ 0 w 435077"/>
                <a:gd name="connsiteY2" fmla="*/ 0 h 435077"/>
                <a:gd name="connsiteX3" fmla="*/ 0 w 435077"/>
                <a:gd name="connsiteY3" fmla="*/ 217539 h 435077"/>
                <a:gd name="connsiteX4" fmla="*/ 217539 w 435077"/>
                <a:gd name="connsiteY4" fmla="*/ 0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217539" y="0"/>
                  </a:lnTo>
                  <a:lnTo>
                    <a:pt x="0" y="0"/>
                  </a:lnTo>
                  <a:lnTo>
                    <a:pt x="0" y="217539"/>
                  </a:lnTo>
                  <a:lnTo>
                    <a:pt x="217539" y="0"/>
                  </a:lnTo>
                  <a:lnTo>
                    <a:pt x="435077" y="217539"/>
                  </a:lnTo>
                  <a:lnTo>
                    <a:pt x="217539" y="435077"/>
                  </a:lnTo>
                  <a:lnTo>
                    <a:pt x="0" y="217539"/>
                  </a:lnTo>
                  <a:lnTo>
                    <a:pt x="0" y="435077"/>
                  </a:lnTo>
                  <a:lnTo>
                    <a:pt x="217539" y="435077"/>
                  </a:lnTo>
                  <a:lnTo>
                    <a:pt x="435077" y="435077"/>
                  </a:lnTo>
                  <a:lnTo>
                    <a:pt x="435077" y="217539"/>
                  </a:lnTo>
                  <a:lnTo>
                    <a:pt x="435077" y="0"/>
                  </a:lnTo>
                  <a:lnTo>
                    <a:pt x="217539" y="0"/>
                  </a:lnTo>
                  <a:close/>
                </a:path>
              </a:pathLst>
            </a:custGeom>
            <a:grpFill/>
            <a:ln w="27192" cap="flat">
              <a:noFill/>
              <a:prstDash val="solid"/>
              <a:miter/>
            </a:ln>
          </p:spPr>
          <p:txBody>
            <a:bodyPr rtlCol="0" anchor="ctr"/>
            <a:lstStyle/>
            <a:p>
              <a:endParaRPr lang="uk-UA" sz="900"/>
            </a:p>
          </p:txBody>
        </p:sp>
        <p:sp>
          <p:nvSpPr>
            <p:cNvPr id="267" name="Freeform: Shape 266">
              <a:extLst>
                <a:ext uri="{FF2B5EF4-FFF2-40B4-BE49-F238E27FC236}">
                  <a16:creationId xmlns:a16="http://schemas.microsoft.com/office/drawing/2014/main" id="{B96CD69A-CA3C-D988-F89F-6BCA098332AF}"/>
                </a:ext>
              </a:extLst>
            </p:cNvPr>
            <p:cNvSpPr/>
            <p:nvPr/>
          </p:nvSpPr>
          <p:spPr>
            <a:xfrm>
              <a:off x="13888200" y="7189838"/>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65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65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65" y="435077"/>
                  </a:lnTo>
                  <a:lnTo>
                    <a:pt x="435077" y="217539"/>
                  </a:lnTo>
                  <a:lnTo>
                    <a:pt x="435077" y="435077"/>
                  </a:lnTo>
                  <a:close/>
                  <a:moveTo>
                    <a:pt x="435077" y="0"/>
                  </a:moveTo>
                  <a:lnTo>
                    <a:pt x="217565"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268" name="Freeform: Shape 267">
              <a:extLst>
                <a:ext uri="{FF2B5EF4-FFF2-40B4-BE49-F238E27FC236}">
                  <a16:creationId xmlns:a16="http://schemas.microsoft.com/office/drawing/2014/main" id="{8DB80E08-DD07-DCFB-DD2F-E0F36A9D4A38}"/>
                </a:ext>
              </a:extLst>
            </p:cNvPr>
            <p:cNvSpPr/>
            <p:nvPr/>
          </p:nvSpPr>
          <p:spPr>
            <a:xfrm>
              <a:off x="15628536" y="7189838"/>
              <a:ext cx="435077" cy="435077"/>
            </a:xfrm>
            <a:custGeom>
              <a:avLst/>
              <a:gdLst>
                <a:gd name="connsiteX0" fmla="*/ 371367 w 435077"/>
                <a:gd name="connsiteY0" fmla="*/ 63711 h 435077"/>
                <a:gd name="connsiteX1" fmla="*/ 435077 w 435077"/>
                <a:gd name="connsiteY1" fmla="*/ 217539 h 435077"/>
                <a:gd name="connsiteX2" fmla="*/ 218953 w 435077"/>
                <a:gd name="connsiteY2" fmla="*/ 217539 h 435077"/>
                <a:gd name="connsiteX3" fmla="*/ 371367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39 w 435077"/>
                <a:gd name="connsiteY7" fmla="*/ 281250 h 435077"/>
                <a:gd name="connsiteX8" fmla="*/ 216153 w 435077"/>
                <a:gd name="connsiteY8" fmla="*/ 217539 h 435077"/>
                <a:gd name="connsiteX9" fmla="*/ 0 w 435077"/>
                <a:gd name="connsiteY9" fmla="*/ 217539 h 435077"/>
                <a:gd name="connsiteX10" fmla="*/ 63712 w 435077"/>
                <a:gd name="connsiteY10" fmla="*/ 63711 h 435077"/>
                <a:gd name="connsiteX11" fmla="*/ 217539 w 435077"/>
                <a:gd name="connsiteY11" fmla="*/ 0 h 435077"/>
                <a:gd name="connsiteX12" fmla="*/ 371367 w 435077"/>
                <a:gd name="connsiteY12" fmla="*/ 63711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7" y="63711"/>
                  </a:moveTo>
                  <a:cubicBezTo>
                    <a:pt x="412155" y="104527"/>
                    <a:pt x="435077" y="159836"/>
                    <a:pt x="435077" y="217539"/>
                  </a:cubicBezTo>
                  <a:lnTo>
                    <a:pt x="218953" y="217539"/>
                  </a:lnTo>
                  <a:cubicBezTo>
                    <a:pt x="276139" y="217920"/>
                    <a:pt x="330904" y="240788"/>
                    <a:pt x="371367" y="281250"/>
                  </a:cubicBezTo>
                  <a:cubicBezTo>
                    <a:pt x="412182" y="322039"/>
                    <a:pt x="435077" y="377375"/>
                    <a:pt x="435077" y="435077"/>
                  </a:cubicBezTo>
                  <a:lnTo>
                    <a:pt x="217539" y="435077"/>
                  </a:lnTo>
                  <a:lnTo>
                    <a:pt x="0" y="435077"/>
                  </a:lnTo>
                  <a:cubicBezTo>
                    <a:pt x="0" y="377375"/>
                    <a:pt x="22924" y="322039"/>
                    <a:pt x="63739" y="281250"/>
                  </a:cubicBezTo>
                  <a:cubicBezTo>
                    <a:pt x="104202" y="240788"/>
                    <a:pt x="158967" y="217920"/>
                    <a:pt x="216153" y="217539"/>
                  </a:cubicBezTo>
                  <a:lnTo>
                    <a:pt x="0" y="217539"/>
                  </a:lnTo>
                  <a:cubicBezTo>
                    <a:pt x="0" y="159836"/>
                    <a:pt x="22924" y="104527"/>
                    <a:pt x="63712" y="63711"/>
                  </a:cubicBezTo>
                  <a:cubicBezTo>
                    <a:pt x="104527" y="22923"/>
                    <a:pt x="159865" y="0"/>
                    <a:pt x="217539" y="0"/>
                  </a:cubicBezTo>
                  <a:cubicBezTo>
                    <a:pt x="275241" y="0"/>
                    <a:pt x="330578" y="22923"/>
                    <a:pt x="371367" y="63711"/>
                  </a:cubicBezTo>
                  <a:close/>
                </a:path>
              </a:pathLst>
            </a:custGeom>
            <a:grpFill/>
            <a:ln w="27192" cap="flat">
              <a:noFill/>
              <a:prstDash val="solid"/>
              <a:miter/>
            </a:ln>
          </p:spPr>
          <p:txBody>
            <a:bodyPr rtlCol="0" anchor="ctr"/>
            <a:lstStyle/>
            <a:p>
              <a:endParaRPr lang="uk-UA" sz="900"/>
            </a:p>
          </p:txBody>
        </p:sp>
        <p:sp>
          <p:nvSpPr>
            <p:cNvPr id="269" name="Freeform: Shape 268">
              <a:extLst>
                <a:ext uri="{FF2B5EF4-FFF2-40B4-BE49-F238E27FC236}">
                  <a16:creationId xmlns:a16="http://schemas.microsoft.com/office/drawing/2014/main" id="{29DA634B-7084-C012-7823-99380468653D}"/>
                </a:ext>
              </a:extLst>
            </p:cNvPr>
            <p:cNvSpPr/>
            <p:nvPr/>
          </p:nvSpPr>
          <p:spPr>
            <a:xfrm>
              <a:off x="16498719" y="718983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49 w 435077"/>
                <a:gd name="connsiteY7" fmla="*/ 217539 h 435077"/>
                <a:gd name="connsiteX8" fmla="*/ 435077 w 435077"/>
                <a:gd name="connsiteY8" fmla="*/ 217539 h 435077"/>
                <a:gd name="connsiteX9" fmla="*/ 435049 w 435077"/>
                <a:gd name="connsiteY9" fmla="*/ 217539 h 435077"/>
                <a:gd name="connsiteX10" fmla="*/ 435077 w 435077"/>
                <a:gd name="connsiteY10" fmla="*/ 217539 h 435077"/>
                <a:gd name="connsiteX11" fmla="*/ 435049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49" y="217539"/>
                  </a:lnTo>
                  <a:lnTo>
                    <a:pt x="435077" y="217539"/>
                  </a:lnTo>
                  <a:lnTo>
                    <a:pt x="435049" y="217539"/>
                  </a:lnTo>
                  <a:lnTo>
                    <a:pt x="435077" y="217539"/>
                  </a:lnTo>
                  <a:lnTo>
                    <a:pt x="435049"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270" name="Freeform: Shape 269">
              <a:extLst>
                <a:ext uri="{FF2B5EF4-FFF2-40B4-BE49-F238E27FC236}">
                  <a16:creationId xmlns:a16="http://schemas.microsoft.com/office/drawing/2014/main" id="{FFC8AAB2-43B6-0C5D-852D-E5BD56367833}"/>
                </a:ext>
              </a:extLst>
            </p:cNvPr>
            <p:cNvSpPr/>
            <p:nvPr/>
          </p:nvSpPr>
          <p:spPr>
            <a:xfrm>
              <a:off x="18239029" y="718983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271" name="Freeform: Shape 270">
              <a:extLst>
                <a:ext uri="{FF2B5EF4-FFF2-40B4-BE49-F238E27FC236}">
                  <a16:creationId xmlns:a16="http://schemas.microsoft.com/office/drawing/2014/main" id="{3237EA9E-465C-4704-EFFE-75F272EF3A4D}"/>
                </a:ext>
              </a:extLst>
            </p:cNvPr>
            <p:cNvSpPr/>
            <p:nvPr/>
          </p:nvSpPr>
          <p:spPr>
            <a:xfrm>
              <a:off x="17368874" y="7189838"/>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272" name="Freeform: Shape 271">
              <a:extLst>
                <a:ext uri="{FF2B5EF4-FFF2-40B4-BE49-F238E27FC236}">
                  <a16:creationId xmlns:a16="http://schemas.microsoft.com/office/drawing/2014/main" id="{C797D7F5-D31B-8662-9D1E-C06A8B1AE324}"/>
                </a:ext>
              </a:extLst>
            </p:cNvPr>
            <p:cNvSpPr/>
            <p:nvPr/>
          </p:nvSpPr>
          <p:spPr>
            <a:xfrm>
              <a:off x="19109210" y="7189838"/>
              <a:ext cx="435077" cy="435077"/>
            </a:xfrm>
            <a:custGeom>
              <a:avLst/>
              <a:gdLst>
                <a:gd name="connsiteX0" fmla="*/ 371339 w 435077"/>
                <a:gd name="connsiteY0" fmla="*/ 63711 h 435077"/>
                <a:gd name="connsiteX1" fmla="*/ 435077 w 435077"/>
                <a:gd name="connsiteY1" fmla="*/ 217539 h 435077"/>
                <a:gd name="connsiteX2" fmla="*/ 218926 w 435077"/>
                <a:gd name="connsiteY2" fmla="*/ 217539 h 435077"/>
                <a:gd name="connsiteX3" fmla="*/ 371365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25 w 435077"/>
                <a:gd name="connsiteY8" fmla="*/ 217539 h 435077"/>
                <a:gd name="connsiteX9" fmla="*/ 0 w 435077"/>
                <a:gd name="connsiteY9" fmla="*/ 217539 h 435077"/>
                <a:gd name="connsiteX10" fmla="*/ 63712 w 435077"/>
                <a:gd name="connsiteY10" fmla="*/ 63711 h 435077"/>
                <a:gd name="connsiteX11" fmla="*/ 217539 w 435077"/>
                <a:gd name="connsiteY11" fmla="*/ 0 h 435077"/>
                <a:gd name="connsiteX12" fmla="*/ 371339 w 435077"/>
                <a:gd name="connsiteY12" fmla="*/ 63711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11"/>
                  </a:moveTo>
                  <a:cubicBezTo>
                    <a:pt x="412154" y="104527"/>
                    <a:pt x="435077" y="159836"/>
                    <a:pt x="435077" y="217539"/>
                  </a:cubicBezTo>
                  <a:lnTo>
                    <a:pt x="218926" y="217539"/>
                  </a:lnTo>
                  <a:cubicBezTo>
                    <a:pt x="276111" y="217920"/>
                    <a:pt x="330877" y="240788"/>
                    <a:pt x="371365" y="281250"/>
                  </a:cubicBezTo>
                  <a:cubicBezTo>
                    <a:pt x="412154" y="322039"/>
                    <a:pt x="435077" y="377375"/>
                    <a:pt x="435077" y="435077"/>
                  </a:cubicBezTo>
                  <a:lnTo>
                    <a:pt x="217539" y="435077"/>
                  </a:lnTo>
                  <a:lnTo>
                    <a:pt x="0" y="435077"/>
                  </a:lnTo>
                  <a:cubicBezTo>
                    <a:pt x="0" y="377375"/>
                    <a:pt x="22924" y="322039"/>
                    <a:pt x="63712" y="281250"/>
                  </a:cubicBezTo>
                  <a:cubicBezTo>
                    <a:pt x="104174" y="240788"/>
                    <a:pt x="158940" y="217920"/>
                    <a:pt x="216125" y="217539"/>
                  </a:cubicBezTo>
                  <a:lnTo>
                    <a:pt x="0" y="217539"/>
                  </a:lnTo>
                  <a:cubicBezTo>
                    <a:pt x="0" y="159836"/>
                    <a:pt x="22895" y="104527"/>
                    <a:pt x="63712" y="63711"/>
                  </a:cubicBezTo>
                  <a:cubicBezTo>
                    <a:pt x="104501" y="22923"/>
                    <a:pt x="159836" y="0"/>
                    <a:pt x="217539" y="0"/>
                  </a:cubicBezTo>
                  <a:cubicBezTo>
                    <a:pt x="275215" y="0"/>
                    <a:pt x="330550" y="22923"/>
                    <a:pt x="371339" y="63711"/>
                  </a:cubicBezTo>
                  <a:close/>
                </a:path>
              </a:pathLst>
            </a:custGeom>
            <a:grpFill/>
            <a:ln w="27192" cap="flat">
              <a:noFill/>
              <a:prstDash val="solid"/>
              <a:miter/>
            </a:ln>
          </p:spPr>
          <p:txBody>
            <a:bodyPr rtlCol="0" anchor="ctr"/>
            <a:lstStyle/>
            <a:p>
              <a:endParaRPr lang="uk-UA" sz="900"/>
            </a:p>
          </p:txBody>
        </p:sp>
        <p:sp>
          <p:nvSpPr>
            <p:cNvPr id="273" name="Freeform: Shape 272">
              <a:extLst>
                <a:ext uri="{FF2B5EF4-FFF2-40B4-BE49-F238E27FC236}">
                  <a16:creationId xmlns:a16="http://schemas.microsoft.com/office/drawing/2014/main" id="{D150DC49-F929-9718-40EF-F0CF93462F86}"/>
                </a:ext>
              </a:extLst>
            </p:cNvPr>
            <p:cNvSpPr/>
            <p:nvPr/>
          </p:nvSpPr>
          <p:spPr>
            <a:xfrm>
              <a:off x="19979365" y="718983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51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51"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274" name="Freeform: Shape 273">
              <a:extLst>
                <a:ext uri="{FF2B5EF4-FFF2-40B4-BE49-F238E27FC236}">
                  <a16:creationId xmlns:a16="http://schemas.microsoft.com/office/drawing/2014/main" id="{024BF5F2-043F-C551-D1F3-E51931552698}"/>
                </a:ext>
              </a:extLst>
            </p:cNvPr>
            <p:cNvSpPr/>
            <p:nvPr/>
          </p:nvSpPr>
          <p:spPr>
            <a:xfrm>
              <a:off x="21719702" y="718983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275" name="Freeform: Shape 274">
              <a:extLst>
                <a:ext uri="{FF2B5EF4-FFF2-40B4-BE49-F238E27FC236}">
                  <a16:creationId xmlns:a16="http://schemas.microsoft.com/office/drawing/2014/main" id="{A2D05B49-A20A-96E5-E201-AC54A03D5EDF}"/>
                </a:ext>
              </a:extLst>
            </p:cNvPr>
            <p:cNvSpPr/>
            <p:nvPr/>
          </p:nvSpPr>
          <p:spPr>
            <a:xfrm>
              <a:off x="20849520" y="7189838"/>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65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65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65" y="435077"/>
                  </a:lnTo>
                  <a:lnTo>
                    <a:pt x="435077" y="217539"/>
                  </a:lnTo>
                  <a:lnTo>
                    <a:pt x="435077" y="435077"/>
                  </a:lnTo>
                  <a:close/>
                  <a:moveTo>
                    <a:pt x="435077" y="0"/>
                  </a:moveTo>
                  <a:lnTo>
                    <a:pt x="217565"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276" name="Freeform: Shape 275">
              <a:extLst>
                <a:ext uri="{FF2B5EF4-FFF2-40B4-BE49-F238E27FC236}">
                  <a16:creationId xmlns:a16="http://schemas.microsoft.com/office/drawing/2014/main" id="{1F8A0D0F-F65C-E5D4-1FB5-38A5113E9173}"/>
                </a:ext>
              </a:extLst>
            </p:cNvPr>
            <p:cNvSpPr/>
            <p:nvPr/>
          </p:nvSpPr>
          <p:spPr>
            <a:xfrm>
              <a:off x="22589856" y="7189838"/>
              <a:ext cx="435077" cy="435077"/>
            </a:xfrm>
            <a:custGeom>
              <a:avLst/>
              <a:gdLst>
                <a:gd name="connsiteX0" fmla="*/ 371367 w 435077"/>
                <a:gd name="connsiteY0" fmla="*/ 63711 h 435077"/>
                <a:gd name="connsiteX1" fmla="*/ 435077 w 435077"/>
                <a:gd name="connsiteY1" fmla="*/ 217539 h 435077"/>
                <a:gd name="connsiteX2" fmla="*/ 218953 w 435077"/>
                <a:gd name="connsiteY2" fmla="*/ 217539 h 435077"/>
                <a:gd name="connsiteX3" fmla="*/ 371367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53 w 435077"/>
                <a:gd name="connsiteY8" fmla="*/ 217539 h 435077"/>
                <a:gd name="connsiteX9" fmla="*/ 0 w 435077"/>
                <a:gd name="connsiteY9" fmla="*/ 217539 h 435077"/>
                <a:gd name="connsiteX10" fmla="*/ 63712 w 435077"/>
                <a:gd name="connsiteY10" fmla="*/ 63711 h 435077"/>
                <a:gd name="connsiteX11" fmla="*/ 217539 w 435077"/>
                <a:gd name="connsiteY11" fmla="*/ 0 h 435077"/>
                <a:gd name="connsiteX12" fmla="*/ 371367 w 435077"/>
                <a:gd name="connsiteY12" fmla="*/ 63711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7" y="63711"/>
                  </a:moveTo>
                  <a:cubicBezTo>
                    <a:pt x="412155" y="104527"/>
                    <a:pt x="435077" y="159836"/>
                    <a:pt x="435077" y="217539"/>
                  </a:cubicBezTo>
                  <a:lnTo>
                    <a:pt x="218953" y="217539"/>
                  </a:lnTo>
                  <a:cubicBezTo>
                    <a:pt x="276139" y="217920"/>
                    <a:pt x="330904" y="240788"/>
                    <a:pt x="371367" y="281250"/>
                  </a:cubicBezTo>
                  <a:cubicBezTo>
                    <a:pt x="412155" y="322039"/>
                    <a:pt x="435077" y="377375"/>
                    <a:pt x="435077" y="435077"/>
                  </a:cubicBezTo>
                  <a:lnTo>
                    <a:pt x="217539" y="435077"/>
                  </a:lnTo>
                  <a:lnTo>
                    <a:pt x="0" y="435077"/>
                  </a:lnTo>
                  <a:cubicBezTo>
                    <a:pt x="0" y="377375"/>
                    <a:pt x="22924" y="322039"/>
                    <a:pt x="63712" y="281250"/>
                  </a:cubicBezTo>
                  <a:cubicBezTo>
                    <a:pt x="104202" y="240788"/>
                    <a:pt x="158967" y="217920"/>
                    <a:pt x="216153" y="217539"/>
                  </a:cubicBezTo>
                  <a:lnTo>
                    <a:pt x="0" y="217539"/>
                  </a:lnTo>
                  <a:cubicBezTo>
                    <a:pt x="0" y="159836"/>
                    <a:pt x="22924" y="104527"/>
                    <a:pt x="63712" y="63711"/>
                  </a:cubicBezTo>
                  <a:cubicBezTo>
                    <a:pt x="104529" y="22923"/>
                    <a:pt x="159838" y="0"/>
                    <a:pt x="217539" y="0"/>
                  </a:cubicBezTo>
                  <a:cubicBezTo>
                    <a:pt x="275241" y="0"/>
                    <a:pt x="330578" y="22923"/>
                    <a:pt x="371367" y="63711"/>
                  </a:cubicBezTo>
                  <a:close/>
                </a:path>
              </a:pathLst>
            </a:custGeom>
            <a:grpFill/>
            <a:ln w="27192" cap="flat">
              <a:noFill/>
              <a:prstDash val="solid"/>
              <a:miter/>
            </a:ln>
          </p:spPr>
          <p:txBody>
            <a:bodyPr rtlCol="0" anchor="ctr"/>
            <a:lstStyle/>
            <a:p>
              <a:endParaRPr lang="uk-UA" sz="900"/>
            </a:p>
          </p:txBody>
        </p:sp>
        <p:sp>
          <p:nvSpPr>
            <p:cNvPr id="277" name="Freeform: Shape 276">
              <a:extLst>
                <a:ext uri="{FF2B5EF4-FFF2-40B4-BE49-F238E27FC236}">
                  <a16:creationId xmlns:a16="http://schemas.microsoft.com/office/drawing/2014/main" id="{75450FC1-D91E-39B4-2064-B01099900450}"/>
                </a:ext>
              </a:extLst>
            </p:cNvPr>
            <p:cNvSpPr/>
            <p:nvPr/>
          </p:nvSpPr>
          <p:spPr>
            <a:xfrm>
              <a:off x="23460039" y="718983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10 w 435077"/>
                <a:gd name="connsiteY5" fmla="*/ 435077 h 435077"/>
                <a:gd name="connsiteX6" fmla="*/ 217510 w 435077"/>
                <a:gd name="connsiteY6" fmla="*/ 435077 h 435077"/>
                <a:gd name="connsiteX7" fmla="*/ 435049 w 435077"/>
                <a:gd name="connsiteY7" fmla="*/ 217539 h 435077"/>
                <a:gd name="connsiteX8" fmla="*/ 435077 w 435077"/>
                <a:gd name="connsiteY8" fmla="*/ 217539 h 435077"/>
                <a:gd name="connsiteX9" fmla="*/ 435049 w 435077"/>
                <a:gd name="connsiteY9" fmla="*/ 217539 h 435077"/>
                <a:gd name="connsiteX10" fmla="*/ 435049 w 435077"/>
                <a:gd name="connsiteY10" fmla="*/ 217539 h 435077"/>
                <a:gd name="connsiteX11" fmla="*/ 435049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10" y="435077"/>
                  </a:lnTo>
                  <a:lnTo>
                    <a:pt x="217510" y="435077"/>
                  </a:lnTo>
                  <a:lnTo>
                    <a:pt x="435049" y="217539"/>
                  </a:lnTo>
                  <a:lnTo>
                    <a:pt x="435077" y="217539"/>
                  </a:lnTo>
                  <a:lnTo>
                    <a:pt x="435049" y="217539"/>
                  </a:lnTo>
                  <a:lnTo>
                    <a:pt x="435049" y="217539"/>
                  </a:lnTo>
                  <a:lnTo>
                    <a:pt x="435049"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278" name="Freeform: Shape 277">
              <a:extLst>
                <a:ext uri="{FF2B5EF4-FFF2-40B4-BE49-F238E27FC236}">
                  <a16:creationId xmlns:a16="http://schemas.microsoft.com/office/drawing/2014/main" id="{72346811-5583-47D7-292E-9A4094073FF8}"/>
                </a:ext>
              </a:extLst>
            </p:cNvPr>
            <p:cNvSpPr/>
            <p:nvPr/>
          </p:nvSpPr>
          <p:spPr>
            <a:xfrm>
              <a:off x="24330194" y="7189838"/>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279" name="Freeform: Shape 278">
              <a:extLst>
                <a:ext uri="{FF2B5EF4-FFF2-40B4-BE49-F238E27FC236}">
                  <a16:creationId xmlns:a16="http://schemas.microsoft.com/office/drawing/2014/main" id="{A8BEAB1E-8E3F-3A66-8742-AE5745ABAF5E}"/>
                </a:ext>
              </a:extLst>
            </p:cNvPr>
            <p:cNvSpPr/>
            <p:nvPr/>
          </p:nvSpPr>
          <p:spPr>
            <a:xfrm>
              <a:off x="835769" y="805999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1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1" y="217539"/>
                  </a:lnTo>
                  <a:lnTo>
                    <a:pt x="0" y="435077"/>
                  </a:lnTo>
                  <a:close/>
                </a:path>
              </a:pathLst>
            </a:custGeom>
            <a:grpFill/>
            <a:ln w="27192" cap="flat">
              <a:noFill/>
              <a:prstDash val="solid"/>
              <a:miter/>
            </a:ln>
          </p:spPr>
          <p:txBody>
            <a:bodyPr rtlCol="0" anchor="ctr"/>
            <a:lstStyle/>
            <a:p>
              <a:endParaRPr lang="uk-UA" sz="900"/>
            </a:p>
          </p:txBody>
        </p:sp>
        <p:sp>
          <p:nvSpPr>
            <p:cNvPr id="280" name="Freeform: Shape 279">
              <a:extLst>
                <a:ext uri="{FF2B5EF4-FFF2-40B4-BE49-F238E27FC236}">
                  <a16:creationId xmlns:a16="http://schemas.microsoft.com/office/drawing/2014/main" id="{BE8CEAC2-C717-6B6B-5114-97DA75B59939}"/>
                </a:ext>
              </a:extLst>
            </p:cNvPr>
            <p:cNvSpPr/>
            <p:nvPr/>
          </p:nvSpPr>
          <p:spPr>
            <a:xfrm>
              <a:off x="-34398" y="8059993"/>
              <a:ext cx="435090" cy="435077"/>
            </a:xfrm>
            <a:custGeom>
              <a:avLst/>
              <a:gdLst>
                <a:gd name="connsiteX0" fmla="*/ 217552 w 435090"/>
                <a:gd name="connsiteY0" fmla="*/ 435077 h 435077"/>
                <a:gd name="connsiteX1" fmla="*/ 217552 w 435090"/>
                <a:gd name="connsiteY1" fmla="*/ 0 h 435077"/>
                <a:gd name="connsiteX2" fmla="*/ 435091 w 435090"/>
                <a:gd name="connsiteY2" fmla="*/ 217539 h 435077"/>
                <a:gd name="connsiteX3" fmla="*/ 217552 w 435090"/>
                <a:gd name="connsiteY3" fmla="*/ 435077 h 435077"/>
                <a:gd name="connsiteX4" fmla="*/ 0 w 435090"/>
                <a:gd name="connsiteY4" fmla="*/ 435077 h 435077"/>
                <a:gd name="connsiteX5" fmla="*/ 0 w 435090"/>
                <a:gd name="connsiteY5" fmla="*/ 27 h 435077"/>
                <a:gd name="connsiteX6" fmla="*/ 217525 w 435090"/>
                <a:gd name="connsiteY6" fmla="*/ 217566 h 435077"/>
                <a:gd name="connsiteX7" fmla="*/ 0 w 435090"/>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90" h="435077">
                  <a:moveTo>
                    <a:pt x="217552" y="435077"/>
                  </a:moveTo>
                  <a:lnTo>
                    <a:pt x="217552" y="0"/>
                  </a:lnTo>
                  <a:lnTo>
                    <a:pt x="435091" y="217539"/>
                  </a:lnTo>
                  <a:lnTo>
                    <a:pt x="217552" y="435077"/>
                  </a:lnTo>
                  <a:close/>
                  <a:moveTo>
                    <a:pt x="0" y="435077"/>
                  </a:moveTo>
                  <a:lnTo>
                    <a:pt x="0" y="27"/>
                  </a:lnTo>
                  <a:lnTo>
                    <a:pt x="217525" y="217566"/>
                  </a:lnTo>
                  <a:lnTo>
                    <a:pt x="0" y="435077"/>
                  </a:lnTo>
                  <a:close/>
                </a:path>
              </a:pathLst>
            </a:custGeom>
            <a:grpFill/>
            <a:ln w="27192" cap="flat">
              <a:noFill/>
              <a:prstDash val="solid"/>
              <a:miter/>
            </a:ln>
          </p:spPr>
          <p:txBody>
            <a:bodyPr rtlCol="0" anchor="ctr"/>
            <a:lstStyle/>
            <a:p>
              <a:endParaRPr lang="uk-UA" sz="900"/>
            </a:p>
          </p:txBody>
        </p:sp>
        <p:sp>
          <p:nvSpPr>
            <p:cNvPr id="281" name="Freeform: Shape 280">
              <a:extLst>
                <a:ext uri="{FF2B5EF4-FFF2-40B4-BE49-F238E27FC236}">
                  <a16:creationId xmlns:a16="http://schemas.microsoft.com/office/drawing/2014/main" id="{CFFED92E-D3FA-3E31-91B8-DA76767B035D}"/>
                </a:ext>
              </a:extLst>
            </p:cNvPr>
            <p:cNvSpPr/>
            <p:nvPr/>
          </p:nvSpPr>
          <p:spPr>
            <a:xfrm>
              <a:off x="1705924" y="8059993"/>
              <a:ext cx="435077" cy="435077"/>
            </a:xfrm>
            <a:custGeom>
              <a:avLst/>
              <a:gdLst>
                <a:gd name="connsiteX0" fmla="*/ 63711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1 w 435077"/>
                <a:gd name="connsiteY6" fmla="*/ 153827 h 435077"/>
                <a:gd name="connsiteX7" fmla="*/ 63711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1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1" y="153827"/>
                  </a:moveTo>
                  <a:cubicBezTo>
                    <a:pt x="22923" y="113039"/>
                    <a:pt x="0" y="57702"/>
                    <a:pt x="0" y="0"/>
                  </a:cubicBezTo>
                  <a:lnTo>
                    <a:pt x="217539" y="0"/>
                  </a:lnTo>
                  <a:lnTo>
                    <a:pt x="435077" y="0"/>
                  </a:lnTo>
                  <a:cubicBezTo>
                    <a:pt x="435077" y="57702"/>
                    <a:pt x="412154" y="113039"/>
                    <a:pt x="371366" y="153827"/>
                  </a:cubicBezTo>
                  <a:cubicBezTo>
                    <a:pt x="330577" y="194616"/>
                    <a:pt x="275241" y="217539"/>
                    <a:pt x="217539" y="217539"/>
                  </a:cubicBezTo>
                  <a:cubicBezTo>
                    <a:pt x="159836" y="217539"/>
                    <a:pt x="104527" y="194616"/>
                    <a:pt x="63711" y="153827"/>
                  </a:cubicBezTo>
                  <a:close/>
                  <a:moveTo>
                    <a:pt x="63711" y="281250"/>
                  </a:moveTo>
                  <a:cubicBezTo>
                    <a:pt x="22923" y="322066"/>
                    <a:pt x="0" y="377402"/>
                    <a:pt x="0" y="435077"/>
                  </a:cubicBezTo>
                  <a:lnTo>
                    <a:pt x="217539" y="435077"/>
                  </a:lnTo>
                  <a:lnTo>
                    <a:pt x="435077" y="435077"/>
                  </a:lnTo>
                  <a:cubicBezTo>
                    <a:pt x="435077" y="377402"/>
                    <a:pt x="412154" y="322066"/>
                    <a:pt x="371366" y="281250"/>
                  </a:cubicBezTo>
                  <a:cubicBezTo>
                    <a:pt x="330577" y="240462"/>
                    <a:pt x="275241" y="217539"/>
                    <a:pt x="217539" y="217539"/>
                  </a:cubicBezTo>
                  <a:cubicBezTo>
                    <a:pt x="159836" y="217539"/>
                    <a:pt x="104527" y="240462"/>
                    <a:pt x="63711" y="281250"/>
                  </a:cubicBezTo>
                  <a:close/>
                </a:path>
              </a:pathLst>
            </a:custGeom>
            <a:grpFill/>
            <a:ln w="27192" cap="flat">
              <a:noFill/>
              <a:prstDash val="solid"/>
              <a:miter/>
            </a:ln>
          </p:spPr>
          <p:txBody>
            <a:bodyPr rtlCol="0" anchor="ctr"/>
            <a:lstStyle/>
            <a:p>
              <a:endParaRPr lang="uk-UA" sz="900"/>
            </a:p>
          </p:txBody>
        </p:sp>
        <p:sp>
          <p:nvSpPr>
            <p:cNvPr id="282" name="Freeform: Shape 281">
              <a:extLst>
                <a:ext uri="{FF2B5EF4-FFF2-40B4-BE49-F238E27FC236}">
                  <a16:creationId xmlns:a16="http://schemas.microsoft.com/office/drawing/2014/main" id="{8D1BD63D-9CE4-A8E4-9DC3-CE52FC261651}"/>
                </a:ext>
              </a:extLst>
            </p:cNvPr>
            <p:cNvSpPr/>
            <p:nvPr/>
          </p:nvSpPr>
          <p:spPr>
            <a:xfrm>
              <a:off x="2576106" y="805999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283" name="Freeform: Shape 282">
              <a:extLst>
                <a:ext uri="{FF2B5EF4-FFF2-40B4-BE49-F238E27FC236}">
                  <a16:creationId xmlns:a16="http://schemas.microsoft.com/office/drawing/2014/main" id="{C8F6360C-BFF6-1828-ECE3-83645230B974}"/>
                </a:ext>
              </a:extLst>
            </p:cNvPr>
            <p:cNvSpPr/>
            <p:nvPr/>
          </p:nvSpPr>
          <p:spPr>
            <a:xfrm>
              <a:off x="4316416" y="8059993"/>
              <a:ext cx="435077" cy="435077"/>
            </a:xfrm>
            <a:custGeom>
              <a:avLst/>
              <a:gdLst>
                <a:gd name="connsiteX0" fmla="*/ 435077 w 435077"/>
                <a:gd name="connsiteY0" fmla="*/ 435077 h 435077"/>
                <a:gd name="connsiteX1" fmla="*/ 435077 w 435077"/>
                <a:gd name="connsiteY1" fmla="*/ 0 h 435077"/>
                <a:gd name="connsiteX2" fmla="*/ 217565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84" name="Freeform: Shape 283">
              <a:extLst>
                <a:ext uri="{FF2B5EF4-FFF2-40B4-BE49-F238E27FC236}">
                  <a16:creationId xmlns:a16="http://schemas.microsoft.com/office/drawing/2014/main" id="{9A2743C3-EBF7-C601-8F12-A9842241BE18}"/>
                </a:ext>
              </a:extLst>
            </p:cNvPr>
            <p:cNvSpPr/>
            <p:nvPr/>
          </p:nvSpPr>
          <p:spPr>
            <a:xfrm>
              <a:off x="3446261" y="8059993"/>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27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27"/>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285" name="Freeform: Shape 284">
              <a:extLst>
                <a:ext uri="{FF2B5EF4-FFF2-40B4-BE49-F238E27FC236}">
                  <a16:creationId xmlns:a16="http://schemas.microsoft.com/office/drawing/2014/main" id="{9C118EED-784E-8F0B-6F9C-942C3369E8E6}"/>
                </a:ext>
              </a:extLst>
            </p:cNvPr>
            <p:cNvSpPr/>
            <p:nvPr/>
          </p:nvSpPr>
          <p:spPr>
            <a:xfrm>
              <a:off x="5186597" y="805999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6" y="153827"/>
                  </a:cubicBezTo>
                  <a:cubicBezTo>
                    <a:pt x="330550" y="194616"/>
                    <a:pt x="275241" y="217539"/>
                    <a:pt x="217539" y="217539"/>
                  </a:cubicBezTo>
                  <a:cubicBezTo>
                    <a:pt x="159837" y="217539"/>
                    <a:pt x="104501" y="194616"/>
                    <a:pt x="63712" y="153827"/>
                  </a:cubicBezTo>
                  <a:close/>
                  <a:moveTo>
                    <a:pt x="63712" y="281250"/>
                  </a:moveTo>
                  <a:cubicBezTo>
                    <a:pt x="22924" y="322066"/>
                    <a:pt x="0" y="377402"/>
                    <a:pt x="0" y="435077"/>
                  </a:cubicBezTo>
                  <a:lnTo>
                    <a:pt x="217539" y="435077"/>
                  </a:lnTo>
                  <a:lnTo>
                    <a:pt x="435077" y="435077"/>
                  </a:lnTo>
                  <a:cubicBezTo>
                    <a:pt x="435077" y="377402"/>
                    <a:pt x="412155" y="322066"/>
                    <a:pt x="371366" y="281250"/>
                  </a:cubicBezTo>
                  <a:cubicBezTo>
                    <a:pt x="330550" y="240462"/>
                    <a:pt x="275241" y="217539"/>
                    <a:pt x="217539" y="217539"/>
                  </a:cubicBezTo>
                  <a:cubicBezTo>
                    <a:pt x="159837" y="217539"/>
                    <a:pt x="104501" y="240462"/>
                    <a:pt x="63712" y="281250"/>
                  </a:cubicBezTo>
                  <a:close/>
                </a:path>
              </a:pathLst>
            </a:custGeom>
            <a:grpFill/>
            <a:ln w="27192" cap="flat">
              <a:noFill/>
              <a:prstDash val="solid"/>
              <a:miter/>
            </a:ln>
          </p:spPr>
          <p:txBody>
            <a:bodyPr rtlCol="0" anchor="ctr"/>
            <a:lstStyle/>
            <a:p>
              <a:endParaRPr lang="uk-UA" sz="900"/>
            </a:p>
          </p:txBody>
        </p:sp>
        <p:sp>
          <p:nvSpPr>
            <p:cNvPr id="286" name="Freeform: Shape 285">
              <a:extLst>
                <a:ext uri="{FF2B5EF4-FFF2-40B4-BE49-F238E27FC236}">
                  <a16:creationId xmlns:a16="http://schemas.microsoft.com/office/drawing/2014/main" id="{F3237C3D-E3C2-51BD-CA66-D454C7A17F8E}"/>
                </a:ext>
              </a:extLst>
            </p:cNvPr>
            <p:cNvSpPr/>
            <p:nvPr/>
          </p:nvSpPr>
          <p:spPr>
            <a:xfrm>
              <a:off x="6056752" y="805999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287" name="Freeform: Shape 286">
              <a:extLst>
                <a:ext uri="{FF2B5EF4-FFF2-40B4-BE49-F238E27FC236}">
                  <a16:creationId xmlns:a16="http://schemas.microsoft.com/office/drawing/2014/main" id="{DB7C01F1-75B3-4D0C-F50E-1ED419443874}"/>
                </a:ext>
              </a:extLst>
            </p:cNvPr>
            <p:cNvSpPr/>
            <p:nvPr/>
          </p:nvSpPr>
          <p:spPr>
            <a:xfrm>
              <a:off x="7797062" y="8059993"/>
              <a:ext cx="435077" cy="435077"/>
            </a:xfrm>
            <a:custGeom>
              <a:avLst/>
              <a:gdLst>
                <a:gd name="connsiteX0" fmla="*/ 435077 w 435077"/>
                <a:gd name="connsiteY0" fmla="*/ 435077 h 435077"/>
                <a:gd name="connsiteX1" fmla="*/ 435077 w 435077"/>
                <a:gd name="connsiteY1" fmla="*/ 0 h 435077"/>
                <a:gd name="connsiteX2" fmla="*/ 217566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6"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88" name="Freeform: Shape 287">
              <a:extLst>
                <a:ext uri="{FF2B5EF4-FFF2-40B4-BE49-F238E27FC236}">
                  <a16:creationId xmlns:a16="http://schemas.microsoft.com/office/drawing/2014/main" id="{3B0158A4-81A6-2C7D-6E3A-658166092208}"/>
                </a:ext>
              </a:extLst>
            </p:cNvPr>
            <p:cNvSpPr/>
            <p:nvPr/>
          </p:nvSpPr>
          <p:spPr>
            <a:xfrm>
              <a:off x="6926907" y="8059993"/>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27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27"/>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289" name="Freeform: Shape 288">
              <a:extLst>
                <a:ext uri="{FF2B5EF4-FFF2-40B4-BE49-F238E27FC236}">
                  <a16:creationId xmlns:a16="http://schemas.microsoft.com/office/drawing/2014/main" id="{0A5A1C7A-FC32-9990-8EA0-D14E2BE7FABC}"/>
                </a:ext>
              </a:extLst>
            </p:cNvPr>
            <p:cNvSpPr/>
            <p:nvPr/>
          </p:nvSpPr>
          <p:spPr>
            <a:xfrm>
              <a:off x="8667217" y="8059993"/>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39 w 435077"/>
                <a:gd name="connsiteY6" fmla="*/ 153827 h 435077"/>
                <a:gd name="connsiteX7" fmla="*/ 63739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39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4" y="113039"/>
                    <a:pt x="0" y="57702"/>
                    <a:pt x="0" y="0"/>
                  </a:cubicBezTo>
                  <a:lnTo>
                    <a:pt x="217539" y="0"/>
                  </a:lnTo>
                  <a:lnTo>
                    <a:pt x="435077" y="0"/>
                  </a:lnTo>
                  <a:cubicBezTo>
                    <a:pt x="435077" y="57702"/>
                    <a:pt x="412182" y="113039"/>
                    <a:pt x="371366" y="153827"/>
                  </a:cubicBezTo>
                  <a:cubicBezTo>
                    <a:pt x="330578" y="194616"/>
                    <a:pt x="275241" y="217539"/>
                    <a:pt x="217539" y="217539"/>
                  </a:cubicBezTo>
                  <a:cubicBezTo>
                    <a:pt x="159864" y="217539"/>
                    <a:pt x="104527" y="194616"/>
                    <a:pt x="63739" y="153827"/>
                  </a:cubicBezTo>
                  <a:close/>
                  <a:moveTo>
                    <a:pt x="63739" y="281250"/>
                  </a:moveTo>
                  <a:cubicBezTo>
                    <a:pt x="22924" y="322066"/>
                    <a:pt x="0" y="377402"/>
                    <a:pt x="0" y="435077"/>
                  </a:cubicBezTo>
                  <a:lnTo>
                    <a:pt x="217539" y="435077"/>
                  </a:lnTo>
                  <a:lnTo>
                    <a:pt x="435077" y="435077"/>
                  </a:lnTo>
                  <a:cubicBezTo>
                    <a:pt x="435077" y="377402"/>
                    <a:pt x="412182" y="322066"/>
                    <a:pt x="371366" y="281250"/>
                  </a:cubicBezTo>
                  <a:cubicBezTo>
                    <a:pt x="330578" y="240462"/>
                    <a:pt x="275241" y="217539"/>
                    <a:pt x="217539" y="217539"/>
                  </a:cubicBezTo>
                  <a:cubicBezTo>
                    <a:pt x="159864" y="217539"/>
                    <a:pt x="104527" y="240462"/>
                    <a:pt x="63739" y="281250"/>
                  </a:cubicBezTo>
                  <a:close/>
                </a:path>
              </a:pathLst>
            </a:custGeom>
            <a:grpFill/>
            <a:ln w="27192" cap="flat">
              <a:noFill/>
              <a:prstDash val="solid"/>
              <a:miter/>
            </a:ln>
          </p:spPr>
          <p:txBody>
            <a:bodyPr rtlCol="0" anchor="ctr"/>
            <a:lstStyle/>
            <a:p>
              <a:endParaRPr lang="uk-UA" sz="900"/>
            </a:p>
          </p:txBody>
        </p:sp>
        <p:sp>
          <p:nvSpPr>
            <p:cNvPr id="290" name="Freeform: Shape 289">
              <a:extLst>
                <a:ext uri="{FF2B5EF4-FFF2-40B4-BE49-F238E27FC236}">
                  <a16:creationId xmlns:a16="http://schemas.microsoft.com/office/drawing/2014/main" id="{4D55CCE8-07CC-8526-72B1-1D8DD2828DF4}"/>
                </a:ext>
              </a:extLst>
            </p:cNvPr>
            <p:cNvSpPr/>
            <p:nvPr/>
          </p:nvSpPr>
          <p:spPr>
            <a:xfrm>
              <a:off x="9537399" y="805999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1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1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1" y="217539"/>
                  </a:lnTo>
                  <a:lnTo>
                    <a:pt x="0" y="217539"/>
                  </a:lnTo>
                  <a:close/>
                  <a:moveTo>
                    <a:pt x="0" y="435077"/>
                  </a:moveTo>
                  <a:lnTo>
                    <a:pt x="0" y="217539"/>
                  </a:lnTo>
                  <a:lnTo>
                    <a:pt x="217511" y="217539"/>
                  </a:lnTo>
                  <a:lnTo>
                    <a:pt x="0" y="435077"/>
                  </a:lnTo>
                  <a:close/>
                </a:path>
              </a:pathLst>
            </a:custGeom>
            <a:grpFill/>
            <a:ln w="27192" cap="flat">
              <a:noFill/>
              <a:prstDash val="solid"/>
              <a:miter/>
            </a:ln>
          </p:spPr>
          <p:txBody>
            <a:bodyPr rtlCol="0" anchor="ctr"/>
            <a:lstStyle/>
            <a:p>
              <a:endParaRPr lang="uk-UA" sz="900"/>
            </a:p>
          </p:txBody>
        </p:sp>
        <p:sp>
          <p:nvSpPr>
            <p:cNvPr id="291" name="Freeform: Shape 290">
              <a:extLst>
                <a:ext uri="{FF2B5EF4-FFF2-40B4-BE49-F238E27FC236}">
                  <a16:creationId xmlns:a16="http://schemas.microsoft.com/office/drawing/2014/main" id="{9CA65786-A27E-F00C-5116-DE6C289C1343}"/>
                </a:ext>
              </a:extLst>
            </p:cNvPr>
            <p:cNvSpPr/>
            <p:nvPr/>
          </p:nvSpPr>
          <p:spPr>
            <a:xfrm>
              <a:off x="11277709" y="805999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0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0" y="217539"/>
                  </a:lnTo>
                  <a:lnTo>
                    <a:pt x="0" y="435077"/>
                  </a:lnTo>
                  <a:close/>
                </a:path>
              </a:pathLst>
            </a:custGeom>
            <a:grpFill/>
            <a:ln w="27192" cap="flat">
              <a:noFill/>
              <a:prstDash val="solid"/>
              <a:miter/>
            </a:ln>
          </p:spPr>
          <p:txBody>
            <a:bodyPr rtlCol="0" anchor="ctr"/>
            <a:lstStyle/>
            <a:p>
              <a:endParaRPr lang="uk-UA" sz="900"/>
            </a:p>
          </p:txBody>
        </p:sp>
        <p:sp>
          <p:nvSpPr>
            <p:cNvPr id="292" name="Freeform: Shape 291">
              <a:extLst>
                <a:ext uri="{FF2B5EF4-FFF2-40B4-BE49-F238E27FC236}">
                  <a16:creationId xmlns:a16="http://schemas.microsoft.com/office/drawing/2014/main" id="{B3DBD233-F998-6100-B19B-281F5F7D5EB2}"/>
                </a:ext>
              </a:extLst>
            </p:cNvPr>
            <p:cNvSpPr/>
            <p:nvPr/>
          </p:nvSpPr>
          <p:spPr>
            <a:xfrm>
              <a:off x="10407554" y="8059993"/>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27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27"/>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293" name="Freeform: Shape 292">
              <a:extLst>
                <a:ext uri="{FF2B5EF4-FFF2-40B4-BE49-F238E27FC236}">
                  <a16:creationId xmlns:a16="http://schemas.microsoft.com/office/drawing/2014/main" id="{3C7B1486-A3F6-669A-F894-83BD896425DD}"/>
                </a:ext>
              </a:extLst>
            </p:cNvPr>
            <p:cNvSpPr/>
            <p:nvPr/>
          </p:nvSpPr>
          <p:spPr>
            <a:xfrm>
              <a:off x="12147864" y="8059993"/>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39 w 435077"/>
                <a:gd name="connsiteY6" fmla="*/ 153827 h 435077"/>
                <a:gd name="connsiteX7" fmla="*/ 63739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0 h 435077"/>
                <a:gd name="connsiteX12" fmla="*/ 217539 w 435077"/>
                <a:gd name="connsiteY12" fmla="*/ 217539 h 435077"/>
                <a:gd name="connsiteX13" fmla="*/ 63739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2" y="113039"/>
                    <a:pt x="0" y="57702"/>
                    <a:pt x="0" y="0"/>
                  </a:cubicBezTo>
                  <a:lnTo>
                    <a:pt x="217539" y="0"/>
                  </a:lnTo>
                  <a:lnTo>
                    <a:pt x="435077" y="0"/>
                  </a:lnTo>
                  <a:cubicBezTo>
                    <a:pt x="435077" y="57702"/>
                    <a:pt x="412180" y="113039"/>
                    <a:pt x="371365" y="153827"/>
                  </a:cubicBezTo>
                  <a:cubicBezTo>
                    <a:pt x="330577" y="194616"/>
                    <a:pt x="275239" y="217539"/>
                    <a:pt x="217539" y="217539"/>
                  </a:cubicBezTo>
                  <a:cubicBezTo>
                    <a:pt x="159863" y="217539"/>
                    <a:pt x="104527" y="194616"/>
                    <a:pt x="63739" y="153827"/>
                  </a:cubicBezTo>
                  <a:close/>
                  <a:moveTo>
                    <a:pt x="63739" y="281250"/>
                  </a:moveTo>
                  <a:cubicBezTo>
                    <a:pt x="22922" y="322066"/>
                    <a:pt x="0" y="377402"/>
                    <a:pt x="0" y="435077"/>
                  </a:cubicBezTo>
                  <a:lnTo>
                    <a:pt x="217539" y="435077"/>
                  </a:lnTo>
                  <a:lnTo>
                    <a:pt x="435077" y="435077"/>
                  </a:lnTo>
                  <a:cubicBezTo>
                    <a:pt x="435077" y="377402"/>
                    <a:pt x="412180" y="322066"/>
                    <a:pt x="371365" y="281250"/>
                  </a:cubicBezTo>
                  <a:cubicBezTo>
                    <a:pt x="330577" y="240462"/>
                    <a:pt x="275239" y="217539"/>
                    <a:pt x="217539" y="217539"/>
                  </a:cubicBezTo>
                  <a:cubicBezTo>
                    <a:pt x="159863" y="217539"/>
                    <a:pt x="104527" y="240462"/>
                    <a:pt x="63739" y="281250"/>
                  </a:cubicBezTo>
                  <a:close/>
                </a:path>
              </a:pathLst>
            </a:custGeom>
            <a:grpFill/>
            <a:ln w="27192" cap="flat">
              <a:noFill/>
              <a:prstDash val="solid"/>
              <a:miter/>
            </a:ln>
          </p:spPr>
          <p:txBody>
            <a:bodyPr rtlCol="0" anchor="ctr"/>
            <a:lstStyle/>
            <a:p>
              <a:endParaRPr lang="uk-UA" sz="900"/>
            </a:p>
          </p:txBody>
        </p:sp>
        <p:sp>
          <p:nvSpPr>
            <p:cNvPr id="294" name="Freeform: Shape 293">
              <a:extLst>
                <a:ext uri="{FF2B5EF4-FFF2-40B4-BE49-F238E27FC236}">
                  <a16:creationId xmlns:a16="http://schemas.microsoft.com/office/drawing/2014/main" id="{4EEDDD1F-46BA-77BB-51B0-4832A184270F}"/>
                </a:ext>
              </a:extLst>
            </p:cNvPr>
            <p:cNvSpPr/>
            <p:nvPr/>
          </p:nvSpPr>
          <p:spPr>
            <a:xfrm>
              <a:off x="13018045" y="805999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295" name="Freeform: Shape 294">
              <a:extLst>
                <a:ext uri="{FF2B5EF4-FFF2-40B4-BE49-F238E27FC236}">
                  <a16:creationId xmlns:a16="http://schemas.microsoft.com/office/drawing/2014/main" id="{D813353A-BF19-5D31-CE92-9551AAAA2D2F}"/>
                </a:ext>
              </a:extLst>
            </p:cNvPr>
            <p:cNvSpPr/>
            <p:nvPr/>
          </p:nvSpPr>
          <p:spPr>
            <a:xfrm>
              <a:off x="14758382" y="805999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296" name="Freeform: Shape 295">
              <a:extLst>
                <a:ext uri="{FF2B5EF4-FFF2-40B4-BE49-F238E27FC236}">
                  <a16:creationId xmlns:a16="http://schemas.microsoft.com/office/drawing/2014/main" id="{EDA459BC-3753-FB00-AF41-D6C98644F393}"/>
                </a:ext>
              </a:extLst>
            </p:cNvPr>
            <p:cNvSpPr/>
            <p:nvPr/>
          </p:nvSpPr>
          <p:spPr>
            <a:xfrm>
              <a:off x="13888200" y="8059993"/>
              <a:ext cx="435103" cy="435077"/>
            </a:xfrm>
            <a:custGeom>
              <a:avLst/>
              <a:gdLst>
                <a:gd name="connsiteX0" fmla="*/ 217565 w 435103"/>
                <a:gd name="connsiteY0" fmla="*/ 435077 h 435077"/>
                <a:gd name="connsiteX1" fmla="*/ 217565 w 435103"/>
                <a:gd name="connsiteY1" fmla="*/ 0 h 435077"/>
                <a:gd name="connsiteX2" fmla="*/ 435104 w 435103"/>
                <a:gd name="connsiteY2" fmla="*/ 217539 h 435077"/>
                <a:gd name="connsiteX3" fmla="*/ 217565 w 435103"/>
                <a:gd name="connsiteY3" fmla="*/ 435077 h 435077"/>
                <a:gd name="connsiteX4" fmla="*/ 0 w 435103"/>
                <a:gd name="connsiteY4" fmla="*/ 435077 h 435077"/>
                <a:gd name="connsiteX5" fmla="*/ 0 w 435103"/>
                <a:gd name="connsiteY5" fmla="*/ 27 h 435077"/>
                <a:gd name="connsiteX6" fmla="*/ 217539 w 435103"/>
                <a:gd name="connsiteY6" fmla="*/ 217566 h 435077"/>
                <a:gd name="connsiteX7" fmla="*/ 0 w 435103"/>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103" h="435077">
                  <a:moveTo>
                    <a:pt x="217565" y="435077"/>
                  </a:moveTo>
                  <a:lnTo>
                    <a:pt x="217565" y="0"/>
                  </a:lnTo>
                  <a:lnTo>
                    <a:pt x="435104" y="217539"/>
                  </a:lnTo>
                  <a:lnTo>
                    <a:pt x="217565" y="435077"/>
                  </a:lnTo>
                  <a:close/>
                  <a:moveTo>
                    <a:pt x="0" y="435077"/>
                  </a:moveTo>
                  <a:lnTo>
                    <a:pt x="0" y="27"/>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297" name="Freeform: Shape 296">
              <a:extLst>
                <a:ext uri="{FF2B5EF4-FFF2-40B4-BE49-F238E27FC236}">
                  <a16:creationId xmlns:a16="http://schemas.microsoft.com/office/drawing/2014/main" id="{8E78B404-803A-5955-0C16-E7A7F82AFE1C}"/>
                </a:ext>
              </a:extLst>
            </p:cNvPr>
            <p:cNvSpPr/>
            <p:nvPr/>
          </p:nvSpPr>
          <p:spPr>
            <a:xfrm>
              <a:off x="15628536" y="805999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7" y="153827"/>
                  </a:cubicBezTo>
                  <a:cubicBezTo>
                    <a:pt x="330578" y="194616"/>
                    <a:pt x="275241" y="217539"/>
                    <a:pt x="217539" y="217539"/>
                  </a:cubicBezTo>
                  <a:cubicBezTo>
                    <a:pt x="159865" y="217539"/>
                    <a:pt x="104527" y="194616"/>
                    <a:pt x="63712" y="153827"/>
                  </a:cubicBezTo>
                  <a:close/>
                  <a:moveTo>
                    <a:pt x="63712" y="281250"/>
                  </a:moveTo>
                  <a:cubicBezTo>
                    <a:pt x="22924" y="322066"/>
                    <a:pt x="0" y="377402"/>
                    <a:pt x="0" y="435077"/>
                  </a:cubicBezTo>
                  <a:lnTo>
                    <a:pt x="217539" y="435077"/>
                  </a:lnTo>
                  <a:lnTo>
                    <a:pt x="435077" y="435077"/>
                  </a:lnTo>
                  <a:cubicBezTo>
                    <a:pt x="435077" y="377402"/>
                    <a:pt x="412155" y="322066"/>
                    <a:pt x="371367" y="281250"/>
                  </a:cubicBezTo>
                  <a:cubicBezTo>
                    <a:pt x="330578" y="240462"/>
                    <a:pt x="275241" y="217539"/>
                    <a:pt x="217539" y="217539"/>
                  </a:cubicBezTo>
                  <a:cubicBezTo>
                    <a:pt x="159865" y="217539"/>
                    <a:pt x="104527" y="240462"/>
                    <a:pt x="63712" y="281250"/>
                  </a:cubicBezTo>
                  <a:close/>
                </a:path>
              </a:pathLst>
            </a:custGeom>
            <a:grpFill/>
            <a:ln w="27192" cap="flat">
              <a:noFill/>
              <a:prstDash val="solid"/>
              <a:miter/>
            </a:ln>
          </p:spPr>
          <p:txBody>
            <a:bodyPr rtlCol="0" anchor="ctr"/>
            <a:lstStyle/>
            <a:p>
              <a:endParaRPr lang="uk-UA" sz="900"/>
            </a:p>
          </p:txBody>
        </p:sp>
        <p:sp>
          <p:nvSpPr>
            <p:cNvPr id="298" name="Freeform: Shape 297">
              <a:extLst>
                <a:ext uri="{FF2B5EF4-FFF2-40B4-BE49-F238E27FC236}">
                  <a16:creationId xmlns:a16="http://schemas.microsoft.com/office/drawing/2014/main" id="{7174163A-CDBE-334A-9B0E-60EDD0236643}"/>
                </a:ext>
              </a:extLst>
            </p:cNvPr>
            <p:cNvSpPr/>
            <p:nvPr/>
          </p:nvSpPr>
          <p:spPr>
            <a:xfrm>
              <a:off x="16498719" y="805999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0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0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0" y="217539"/>
                  </a:lnTo>
                  <a:lnTo>
                    <a:pt x="0" y="217539"/>
                  </a:lnTo>
                  <a:close/>
                  <a:moveTo>
                    <a:pt x="0" y="435077"/>
                  </a:moveTo>
                  <a:lnTo>
                    <a:pt x="0" y="217539"/>
                  </a:lnTo>
                  <a:lnTo>
                    <a:pt x="217510" y="217539"/>
                  </a:lnTo>
                  <a:lnTo>
                    <a:pt x="0" y="435077"/>
                  </a:lnTo>
                  <a:close/>
                </a:path>
              </a:pathLst>
            </a:custGeom>
            <a:grpFill/>
            <a:ln w="27192" cap="flat">
              <a:noFill/>
              <a:prstDash val="solid"/>
              <a:miter/>
            </a:ln>
          </p:spPr>
          <p:txBody>
            <a:bodyPr rtlCol="0" anchor="ctr"/>
            <a:lstStyle/>
            <a:p>
              <a:endParaRPr lang="uk-UA" sz="900"/>
            </a:p>
          </p:txBody>
        </p:sp>
        <p:sp>
          <p:nvSpPr>
            <p:cNvPr id="299" name="Freeform: Shape 298">
              <a:extLst>
                <a:ext uri="{FF2B5EF4-FFF2-40B4-BE49-F238E27FC236}">
                  <a16:creationId xmlns:a16="http://schemas.microsoft.com/office/drawing/2014/main" id="{F9CD4D9E-CD9E-FA7A-C2DC-EE9F7CB20950}"/>
                </a:ext>
              </a:extLst>
            </p:cNvPr>
            <p:cNvSpPr/>
            <p:nvPr/>
          </p:nvSpPr>
          <p:spPr>
            <a:xfrm>
              <a:off x="18239029" y="8059993"/>
              <a:ext cx="435077" cy="435077"/>
            </a:xfrm>
            <a:custGeom>
              <a:avLst/>
              <a:gdLst>
                <a:gd name="connsiteX0" fmla="*/ 435077 w 435077"/>
                <a:gd name="connsiteY0" fmla="*/ 435077 h 435077"/>
                <a:gd name="connsiteX1" fmla="*/ 435077 w 435077"/>
                <a:gd name="connsiteY1" fmla="*/ 0 h 435077"/>
                <a:gd name="connsiteX2" fmla="*/ 217565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300" name="Freeform: Shape 299">
              <a:extLst>
                <a:ext uri="{FF2B5EF4-FFF2-40B4-BE49-F238E27FC236}">
                  <a16:creationId xmlns:a16="http://schemas.microsoft.com/office/drawing/2014/main" id="{D7630BDC-7F9D-A71E-8D86-C0A935925B4B}"/>
                </a:ext>
              </a:extLst>
            </p:cNvPr>
            <p:cNvSpPr/>
            <p:nvPr/>
          </p:nvSpPr>
          <p:spPr>
            <a:xfrm>
              <a:off x="17368874" y="8059993"/>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27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27"/>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301" name="Freeform: Shape 300">
              <a:extLst>
                <a:ext uri="{FF2B5EF4-FFF2-40B4-BE49-F238E27FC236}">
                  <a16:creationId xmlns:a16="http://schemas.microsoft.com/office/drawing/2014/main" id="{A27CCCD7-EBD2-3F22-D2A0-310F4D61445C}"/>
                </a:ext>
              </a:extLst>
            </p:cNvPr>
            <p:cNvSpPr/>
            <p:nvPr/>
          </p:nvSpPr>
          <p:spPr>
            <a:xfrm>
              <a:off x="19109210" y="805999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895" y="113039"/>
                    <a:pt x="0" y="57702"/>
                    <a:pt x="0" y="0"/>
                  </a:cubicBezTo>
                  <a:lnTo>
                    <a:pt x="217539" y="0"/>
                  </a:lnTo>
                  <a:lnTo>
                    <a:pt x="435077" y="0"/>
                  </a:lnTo>
                  <a:cubicBezTo>
                    <a:pt x="435077" y="57702"/>
                    <a:pt x="412154" y="113039"/>
                    <a:pt x="371339" y="153827"/>
                  </a:cubicBezTo>
                  <a:cubicBezTo>
                    <a:pt x="330550" y="194616"/>
                    <a:pt x="275215" y="217539"/>
                    <a:pt x="217539" y="217539"/>
                  </a:cubicBezTo>
                  <a:cubicBezTo>
                    <a:pt x="159836" y="217539"/>
                    <a:pt x="104501" y="194616"/>
                    <a:pt x="63712" y="153827"/>
                  </a:cubicBezTo>
                  <a:close/>
                  <a:moveTo>
                    <a:pt x="63712" y="281250"/>
                  </a:moveTo>
                  <a:cubicBezTo>
                    <a:pt x="22895" y="322066"/>
                    <a:pt x="0" y="377402"/>
                    <a:pt x="0" y="435077"/>
                  </a:cubicBezTo>
                  <a:lnTo>
                    <a:pt x="217539" y="435077"/>
                  </a:lnTo>
                  <a:lnTo>
                    <a:pt x="435077" y="435077"/>
                  </a:lnTo>
                  <a:cubicBezTo>
                    <a:pt x="435077" y="377402"/>
                    <a:pt x="412154" y="322066"/>
                    <a:pt x="371339" y="281250"/>
                  </a:cubicBezTo>
                  <a:cubicBezTo>
                    <a:pt x="330550" y="240462"/>
                    <a:pt x="275215" y="217539"/>
                    <a:pt x="217539" y="217539"/>
                  </a:cubicBezTo>
                  <a:cubicBezTo>
                    <a:pt x="159836" y="217539"/>
                    <a:pt x="104501" y="240462"/>
                    <a:pt x="63712" y="281250"/>
                  </a:cubicBezTo>
                  <a:close/>
                </a:path>
              </a:pathLst>
            </a:custGeom>
            <a:grpFill/>
            <a:ln w="27192" cap="flat">
              <a:noFill/>
              <a:prstDash val="solid"/>
              <a:miter/>
            </a:ln>
          </p:spPr>
          <p:txBody>
            <a:bodyPr rtlCol="0" anchor="ctr"/>
            <a:lstStyle/>
            <a:p>
              <a:endParaRPr lang="uk-UA" sz="900"/>
            </a:p>
          </p:txBody>
        </p:sp>
        <p:sp>
          <p:nvSpPr>
            <p:cNvPr id="302" name="Freeform: Shape 301">
              <a:extLst>
                <a:ext uri="{FF2B5EF4-FFF2-40B4-BE49-F238E27FC236}">
                  <a16:creationId xmlns:a16="http://schemas.microsoft.com/office/drawing/2014/main" id="{CC312617-D0B7-4F3A-EFE0-4963AB697B11}"/>
                </a:ext>
              </a:extLst>
            </p:cNvPr>
            <p:cNvSpPr/>
            <p:nvPr/>
          </p:nvSpPr>
          <p:spPr>
            <a:xfrm>
              <a:off x="19979365" y="805999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303" name="Freeform: Shape 302">
              <a:extLst>
                <a:ext uri="{FF2B5EF4-FFF2-40B4-BE49-F238E27FC236}">
                  <a16:creationId xmlns:a16="http://schemas.microsoft.com/office/drawing/2014/main" id="{335364F0-377A-646F-42D1-6D1922FC5126}"/>
                </a:ext>
              </a:extLst>
            </p:cNvPr>
            <p:cNvSpPr/>
            <p:nvPr/>
          </p:nvSpPr>
          <p:spPr>
            <a:xfrm>
              <a:off x="21719702" y="805999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304" name="Freeform: Shape 303">
              <a:extLst>
                <a:ext uri="{FF2B5EF4-FFF2-40B4-BE49-F238E27FC236}">
                  <a16:creationId xmlns:a16="http://schemas.microsoft.com/office/drawing/2014/main" id="{DA8F3657-CE31-F0F2-F647-07EBB01938ED}"/>
                </a:ext>
              </a:extLst>
            </p:cNvPr>
            <p:cNvSpPr/>
            <p:nvPr/>
          </p:nvSpPr>
          <p:spPr>
            <a:xfrm>
              <a:off x="20849520" y="8059993"/>
              <a:ext cx="435077" cy="435077"/>
            </a:xfrm>
            <a:custGeom>
              <a:avLst/>
              <a:gdLst>
                <a:gd name="connsiteX0" fmla="*/ 217565 w 435077"/>
                <a:gd name="connsiteY0" fmla="*/ 435077 h 435077"/>
                <a:gd name="connsiteX1" fmla="*/ 217565 w 435077"/>
                <a:gd name="connsiteY1" fmla="*/ 0 h 435077"/>
                <a:gd name="connsiteX2" fmla="*/ 435077 w 435077"/>
                <a:gd name="connsiteY2" fmla="*/ 217539 h 435077"/>
                <a:gd name="connsiteX3" fmla="*/ 217565 w 435077"/>
                <a:gd name="connsiteY3" fmla="*/ 435077 h 435077"/>
                <a:gd name="connsiteX4" fmla="*/ 0 w 435077"/>
                <a:gd name="connsiteY4" fmla="*/ 435077 h 435077"/>
                <a:gd name="connsiteX5" fmla="*/ 0 w 435077"/>
                <a:gd name="connsiteY5" fmla="*/ 27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65" y="435077"/>
                  </a:moveTo>
                  <a:lnTo>
                    <a:pt x="217565" y="0"/>
                  </a:lnTo>
                  <a:lnTo>
                    <a:pt x="435077" y="217539"/>
                  </a:lnTo>
                  <a:lnTo>
                    <a:pt x="217565" y="435077"/>
                  </a:lnTo>
                  <a:close/>
                  <a:moveTo>
                    <a:pt x="0" y="435077"/>
                  </a:moveTo>
                  <a:lnTo>
                    <a:pt x="0" y="27"/>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305" name="Freeform: Shape 304">
              <a:extLst>
                <a:ext uri="{FF2B5EF4-FFF2-40B4-BE49-F238E27FC236}">
                  <a16:creationId xmlns:a16="http://schemas.microsoft.com/office/drawing/2014/main" id="{3011EB22-8E45-289D-9332-73C6B70C3679}"/>
                </a:ext>
              </a:extLst>
            </p:cNvPr>
            <p:cNvSpPr/>
            <p:nvPr/>
          </p:nvSpPr>
          <p:spPr>
            <a:xfrm>
              <a:off x="22589856" y="805999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7" y="153827"/>
                  </a:cubicBezTo>
                  <a:cubicBezTo>
                    <a:pt x="330578" y="194616"/>
                    <a:pt x="275241" y="217539"/>
                    <a:pt x="217539" y="217539"/>
                  </a:cubicBezTo>
                  <a:cubicBezTo>
                    <a:pt x="159838" y="217539"/>
                    <a:pt x="104529" y="194616"/>
                    <a:pt x="63712" y="153827"/>
                  </a:cubicBezTo>
                  <a:close/>
                  <a:moveTo>
                    <a:pt x="63712" y="281250"/>
                  </a:moveTo>
                  <a:cubicBezTo>
                    <a:pt x="22924" y="322066"/>
                    <a:pt x="0" y="377402"/>
                    <a:pt x="0" y="435077"/>
                  </a:cubicBezTo>
                  <a:lnTo>
                    <a:pt x="217539" y="435077"/>
                  </a:lnTo>
                  <a:lnTo>
                    <a:pt x="435077" y="435077"/>
                  </a:lnTo>
                  <a:cubicBezTo>
                    <a:pt x="435077" y="377402"/>
                    <a:pt x="412155" y="322066"/>
                    <a:pt x="371367" y="281250"/>
                  </a:cubicBezTo>
                  <a:cubicBezTo>
                    <a:pt x="330578" y="240462"/>
                    <a:pt x="275241" y="217539"/>
                    <a:pt x="217539" y="217539"/>
                  </a:cubicBezTo>
                  <a:cubicBezTo>
                    <a:pt x="159838" y="217539"/>
                    <a:pt x="104529" y="240462"/>
                    <a:pt x="63712" y="281250"/>
                  </a:cubicBezTo>
                  <a:close/>
                </a:path>
              </a:pathLst>
            </a:custGeom>
            <a:grpFill/>
            <a:ln w="27192" cap="flat">
              <a:noFill/>
              <a:prstDash val="solid"/>
              <a:miter/>
            </a:ln>
          </p:spPr>
          <p:txBody>
            <a:bodyPr rtlCol="0" anchor="ctr"/>
            <a:lstStyle/>
            <a:p>
              <a:endParaRPr lang="uk-UA" sz="900"/>
            </a:p>
          </p:txBody>
        </p:sp>
        <p:sp>
          <p:nvSpPr>
            <p:cNvPr id="306" name="Freeform: Shape 305">
              <a:extLst>
                <a:ext uri="{FF2B5EF4-FFF2-40B4-BE49-F238E27FC236}">
                  <a16:creationId xmlns:a16="http://schemas.microsoft.com/office/drawing/2014/main" id="{A769F3F1-9E54-1E10-31E8-2AEFC3C07358}"/>
                </a:ext>
              </a:extLst>
            </p:cNvPr>
            <p:cNvSpPr/>
            <p:nvPr/>
          </p:nvSpPr>
          <p:spPr>
            <a:xfrm>
              <a:off x="23460011" y="8059993"/>
              <a:ext cx="435105" cy="435077"/>
            </a:xfrm>
            <a:custGeom>
              <a:avLst/>
              <a:gdLst>
                <a:gd name="connsiteX0" fmla="*/ 435106 w 435105"/>
                <a:gd name="connsiteY0" fmla="*/ 435077 h 435077"/>
                <a:gd name="connsiteX1" fmla="*/ 435106 w 435105"/>
                <a:gd name="connsiteY1" fmla="*/ 217566 h 435077"/>
                <a:gd name="connsiteX2" fmla="*/ 435106 w 435105"/>
                <a:gd name="connsiteY2" fmla="*/ 27 h 435077"/>
                <a:gd name="connsiteX3" fmla="*/ 217567 w 435105"/>
                <a:gd name="connsiteY3" fmla="*/ 27 h 435077"/>
                <a:gd name="connsiteX4" fmla="*/ 435106 w 435105"/>
                <a:gd name="connsiteY4" fmla="*/ 217566 h 435077"/>
                <a:gd name="connsiteX5" fmla="*/ 217567 w 435105"/>
                <a:gd name="connsiteY5" fmla="*/ 435077 h 435077"/>
                <a:gd name="connsiteX6" fmla="*/ 435106 w 435105"/>
                <a:gd name="connsiteY6" fmla="*/ 435077 h 435077"/>
                <a:gd name="connsiteX7" fmla="*/ 0 w 435105"/>
                <a:gd name="connsiteY7" fmla="*/ 217539 h 435077"/>
                <a:gd name="connsiteX8" fmla="*/ 0 w 435105"/>
                <a:gd name="connsiteY8" fmla="*/ 0 h 435077"/>
                <a:gd name="connsiteX9" fmla="*/ 217539 w 435105"/>
                <a:gd name="connsiteY9" fmla="*/ 217539 h 435077"/>
                <a:gd name="connsiteX10" fmla="*/ 0 w 435105"/>
                <a:gd name="connsiteY10" fmla="*/ 217539 h 435077"/>
                <a:gd name="connsiteX11" fmla="*/ 0 w 435105"/>
                <a:gd name="connsiteY11" fmla="*/ 435077 h 435077"/>
                <a:gd name="connsiteX12" fmla="*/ 0 w 435105"/>
                <a:gd name="connsiteY12" fmla="*/ 217539 h 435077"/>
                <a:gd name="connsiteX13" fmla="*/ 217539 w 435105"/>
                <a:gd name="connsiteY13" fmla="*/ 217539 h 435077"/>
                <a:gd name="connsiteX14" fmla="*/ 0 w 435105"/>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105" h="435077">
                  <a:moveTo>
                    <a:pt x="435106" y="435077"/>
                  </a:moveTo>
                  <a:lnTo>
                    <a:pt x="435106" y="217566"/>
                  </a:lnTo>
                  <a:lnTo>
                    <a:pt x="435106" y="27"/>
                  </a:lnTo>
                  <a:lnTo>
                    <a:pt x="217567" y="27"/>
                  </a:lnTo>
                  <a:lnTo>
                    <a:pt x="435106" y="217566"/>
                  </a:lnTo>
                  <a:lnTo>
                    <a:pt x="217567" y="435077"/>
                  </a:lnTo>
                  <a:lnTo>
                    <a:pt x="435106"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307" name="Freeform: Shape 306">
              <a:extLst>
                <a:ext uri="{FF2B5EF4-FFF2-40B4-BE49-F238E27FC236}">
                  <a16:creationId xmlns:a16="http://schemas.microsoft.com/office/drawing/2014/main" id="{2E43A313-16DD-C993-13DC-1DE21012D57D}"/>
                </a:ext>
              </a:extLst>
            </p:cNvPr>
            <p:cNvSpPr/>
            <p:nvPr/>
          </p:nvSpPr>
          <p:spPr>
            <a:xfrm>
              <a:off x="24330194" y="8059993"/>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27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27"/>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308" name="Freeform: Shape 307">
              <a:extLst>
                <a:ext uri="{FF2B5EF4-FFF2-40B4-BE49-F238E27FC236}">
                  <a16:creationId xmlns:a16="http://schemas.microsoft.com/office/drawing/2014/main" id="{7618AF9E-E549-A40C-33D4-9042C97B898B}"/>
                </a:ext>
              </a:extLst>
            </p:cNvPr>
            <p:cNvSpPr/>
            <p:nvPr/>
          </p:nvSpPr>
          <p:spPr>
            <a:xfrm>
              <a:off x="835769" y="8930148"/>
              <a:ext cx="435077" cy="435104"/>
            </a:xfrm>
            <a:custGeom>
              <a:avLst/>
              <a:gdLst>
                <a:gd name="connsiteX0" fmla="*/ 0 w 435077"/>
                <a:gd name="connsiteY0" fmla="*/ 435077 h 435104"/>
                <a:gd name="connsiteX1" fmla="*/ 217511 w 435077"/>
                <a:gd name="connsiteY1" fmla="*/ 435077 h 435104"/>
                <a:gd name="connsiteX2" fmla="*/ 217511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11" y="435077"/>
                  </a:lnTo>
                  <a:lnTo>
                    <a:pt x="217511"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309" name="Freeform: Shape 308">
              <a:extLst>
                <a:ext uri="{FF2B5EF4-FFF2-40B4-BE49-F238E27FC236}">
                  <a16:creationId xmlns:a16="http://schemas.microsoft.com/office/drawing/2014/main" id="{02A8BED4-F402-48BC-BD41-23B1F476D0B3}"/>
                </a:ext>
              </a:extLst>
            </p:cNvPr>
            <p:cNvSpPr/>
            <p:nvPr/>
          </p:nvSpPr>
          <p:spPr>
            <a:xfrm>
              <a:off x="-34398" y="8930148"/>
              <a:ext cx="435063" cy="435077"/>
            </a:xfrm>
            <a:custGeom>
              <a:avLst/>
              <a:gdLst>
                <a:gd name="connsiteX0" fmla="*/ 217525 w 435063"/>
                <a:gd name="connsiteY0" fmla="*/ 217539 h 435077"/>
                <a:gd name="connsiteX1" fmla="*/ 217525 w 435063"/>
                <a:gd name="connsiteY1" fmla="*/ 0 h 435077"/>
                <a:gd name="connsiteX2" fmla="*/ 0 w 435063"/>
                <a:gd name="connsiteY2" fmla="*/ 0 h 435077"/>
                <a:gd name="connsiteX3" fmla="*/ 217525 w 435063"/>
                <a:gd name="connsiteY3" fmla="*/ 217539 h 435077"/>
                <a:gd name="connsiteX4" fmla="*/ 0 w 435063"/>
                <a:gd name="connsiteY4" fmla="*/ 435077 h 435077"/>
                <a:gd name="connsiteX5" fmla="*/ 217525 w 435063"/>
                <a:gd name="connsiteY5" fmla="*/ 435077 h 435077"/>
                <a:gd name="connsiteX6" fmla="*/ 217525 w 435063"/>
                <a:gd name="connsiteY6" fmla="*/ 435077 h 435077"/>
                <a:gd name="connsiteX7" fmla="*/ 435064 w 435063"/>
                <a:gd name="connsiteY7" fmla="*/ 217566 h 435077"/>
                <a:gd name="connsiteX8" fmla="*/ 435064 w 435063"/>
                <a:gd name="connsiteY8" fmla="*/ 217566 h 435077"/>
                <a:gd name="connsiteX9" fmla="*/ 435064 w 435063"/>
                <a:gd name="connsiteY9" fmla="*/ 217539 h 435077"/>
                <a:gd name="connsiteX10" fmla="*/ 435064 w 435063"/>
                <a:gd name="connsiteY10" fmla="*/ 217539 h 435077"/>
                <a:gd name="connsiteX11" fmla="*/ 435064 w 435063"/>
                <a:gd name="connsiteY11" fmla="*/ 217539 h 435077"/>
                <a:gd name="connsiteX12" fmla="*/ 217525 w 435063"/>
                <a:gd name="connsiteY12" fmla="*/ 27 h 435077"/>
                <a:gd name="connsiteX13" fmla="*/ 217525 w 435063"/>
                <a:gd name="connsiteY13" fmla="*/ 217539 h 435077"/>
                <a:gd name="connsiteX14" fmla="*/ 217525 w 435063"/>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63" h="435077">
                  <a:moveTo>
                    <a:pt x="217525" y="217539"/>
                  </a:moveTo>
                  <a:lnTo>
                    <a:pt x="217525" y="0"/>
                  </a:lnTo>
                  <a:lnTo>
                    <a:pt x="0" y="0"/>
                  </a:lnTo>
                  <a:lnTo>
                    <a:pt x="217525" y="217539"/>
                  </a:lnTo>
                  <a:lnTo>
                    <a:pt x="0" y="435077"/>
                  </a:lnTo>
                  <a:lnTo>
                    <a:pt x="217525" y="435077"/>
                  </a:lnTo>
                  <a:lnTo>
                    <a:pt x="217525" y="435077"/>
                  </a:lnTo>
                  <a:lnTo>
                    <a:pt x="435064" y="217566"/>
                  </a:lnTo>
                  <a:lnTo>
                    <a:pt x="435064" y="217566"/>
                  </a:lnTo>
                  <a:lnTo>
                    <a:pt x="435064" y="217539"/>
                  </a:lnTo>
                  <a:lnTo>
                    <a:pt x="435064" y="217539"/>
                  </a:lnTo>
                  <a:lnTo>
                    <a:pt x="435064" y="217539"/>
                  </a:lnTo>
                  <a:lnTo>
                    <a:pt x="217525" y="27"/>
                  </a:lnTo>
                  <a:lnTo>
                    <a:pt x="217525" y="217539"/>
                  </a:lnTo>
                  <a:lnTo>
                    <a:pt x="217525" y="217539"/>
                  </a:lnTo>
                  <a:close/>
                </a:path>
              </a:pathLst>
            </a:custGeom>
            <a:grpFill/>
            <a:ln w="27192" cap="flat">
              <a:noFill/>
              <a:prstDash val="solid"/>
              <a:miter/>
            </a:ln>
          </p:spPr>
          <p:txBody>
            <a:bodyPr rtlCol="0" anchor="ctr"/>
            <a:lstStyle/>
            <a:p>
              <a:endParaRPr lang="uk-UA" sz="900"/>
            </a:p>
          </p:txBody>
        </p:sp>
        <p:sp>
          <p:nvSpPr>
            <p:cNvPr id="310" name="Freeform: Shape 309">
              <a:extLst>
                <a:ext uri="{FF2B5EF4-FFF2-40B4-BE49-F238E27FC236}">
                  <a16:creationId xmlns:a16="http://schemas.microsoft.com/office/drawing/2014/main" id="{452B85AF-D964-B2C6-68D4-0D663E38D8CC}"/>
                </a:ext>
              </a:extLst>
            </p:cNvPr>
            <p:cNvSpPr/>
            <p:nvPr/>
          </p:nvSpPr>
          <p:spPr>
            <a:xfrm>
              <a:off x="1705924" y="8930148"/>
              <a:ext cx="435104" cy="435077"/>
            </a:xfrm>
            <a:custGeom>
              <a:avLst/>
              <a:gdLst>
                <a:gd name="connsiteX0" fmla="*/ 217539 w 435104"/>
                <a:gd name="connsiteY0" fmla="*/ 0 h 435077"/>
                <a:gd name="connsiteX1" fmla="*/ 0 w 435104"/>
                <a:gd name="connsiteY1" fmla="*/ 0 h 435077"/>
                <a:gd name="connsiteX2" fmla="*/ 0 w 435104"/>
                <a:gd name="connsiteY2" fmla="*/ 217539 h 435077"/>
                <a:gd name="connsiteX3" fmla="*/ 217539 w 435104"/>
                <a:gd name="connsiteY3" fmla="*/ 0 h 435077"/>
                <a:gd name="connsiteX4" fmla="*/ 435104 w 435104"/>
                <a:gd name="connsiteY4" fmla="*/ 27 h 435077"/>
                <a:gd name="connsiteX5" fmla="*/ 435104 w 435104"/>
                <a:gd name="connsiteY5" fmla="*/ 217566 h 435077"/>
                <a:gd name="connsiteX6" fmla="*/ 217566 w 435104"/>
                <a:gd name="connsiteY6" fmla="*/ 27 h 435077"/>
                <a:gd name="connsiteX7" fmla="*/ 435104 w 435104"/>
                <a:gd name="connsiteY7" fmla="*/ 27 h 435077"/>
                <a:gd name="connsiteX8" fmla="*/ 217566 w 435104"/>
                <a:gd name="connsiteY8" fmla="*/ 435077 h 435077"/>
                <a:gd name="connsiteX9" fmla="*/ 435104 w 435104"/>
                <a:gd name="connsiteY9" fmla="*/ 217566 h 435077"/>
                <a:gd name="connsiteX10" fmla="*/ 435104 w 435104"/>
                <a:gd name="connsiteY10" fmla="*/ 435077 h 435077"/>
                <a:gd name="connsiteX11" fmla="*/ 217566 w 435104"/>
                <a:gd name="connsiteY11" fmla="*/ 435077 h 435077"/>
                <a:gd name="connsiteX12" fmla="*/ 217566 w 435104"/>
                <a:gd name="connsiteY12" fmla="*/ 435077 h 435077"/>
                <a:gd name="connsiteX13" fmla="*/ 27 w 435104"/>
                <a:gd name="connsiteY13" fmla="*/ 217566 h 435077"/>
                <a:gd name="connsiteX14" fmla="*/ 27 w 435104"/>
                <a:gd name="connsiteY14" fmla="*/ 435077 h 435077"/>
                <a:gd name="connsiteX15" fmla="*/ 217566 w 435104"/>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4" h="435077">
                  <a:moveTo>
                    <a:pt x="217539" y="0"/>
                  </a:moveTo>
                  <a:lnTo>
                    <a:pt x="0" y="0"/>
                  </a:lnTo>
                  <a:lnTo>
                    <a:pt x="0" y="217539"/>
                  </a:lnTo>
                  <a:lnTo>
                    <a:pt x="217539" y="0"/>
                  </a:lnTo>
                  <a:close/>
                  <a:moveTo>
                    <a:pt x="435104" y="27"/>
                  </a:moveTo>
                  <a:lnTo>
                    <a:pt x="435104" y="217566"/>
                  </a:lnTo>
                  <a:lnTo>
                    <a:pt x="217566" y="27"/>
                  </a:lnTo>
                  <a:lnTo>
                    <a:pt x="435104" y="27"/>
                  </a:lnTo>
                  <a:close/>
                  <a:moveTo>
                    <a:pt x="217566" y="435077"/>
                  </a:moveTo>
                  <a:lnTo>
                    <a:pt x="435104" y="217566"/>
                  </a:lnTo>
                  <a:lnTo>
                    <a:pt x="435104" y="435077"/>
                  </a:lnTo>
                  <a:lnTo>
                    <a:pt x="217566" y="435077"/>
                  </a:lnTo>
                  <a:close/>
                  <a:moveTo>
                    <a:pt x="217566" y="435077"/>
                  </a:moveTo>
                  <a:lnTo>
                    <a:pt x="27" y="217566"/>
                  </a:lnTo>
                  <a:lnTo>
                    <a:pt x="27" y="435077"/>
                  </a:lnTo>
                  <a:lnTo>
                    <a:pt x="217566" y="435077"/>
                  </a:lnTo>
                  <a:close/>
                </a:path>
              </a:pathLst>
            </a:custGeom>
            <a:grpFill/>
            <a:ln w="27192" cap="flat">
              <a:noFill/>
              <a:prstDash val="solid"/>
              <a:miter/>
            </a:ln>
          </p:spPr>
          <p:txBody>
            <a:bodyPr rtlCol="0" anchor="ctr"/>
            <a:lstStyle/>
            <a:p>
              <a:endParaRPr lang="uk-UA" sz="900"/>
            </a:p>
          </p:txBody>
        </p:sp>
        <p:sp>
          <p:nvSpPr>
            <p:cNvPr id="311" name="Freeform: Shape 310">
              <a:extLst>
                <a:ext uri="{FF2B5EF4-FFF2-40B4-BE49-F238E27FC236}">
                  <a16:creationId xmlns:a16="http://schemas.microsoft.com/office/drawing/2014/main" id="{F0EEF9F0-3634-FDB0-BE4C-7C81ED91D0F3}"/>
                </a:ext>
              </a:extLst>
            </p:cNvPr>
            <p:cNvSpPr/>
            <p:nvPr/>
          </p:nvSpPr>
          <p:spPr>
            <a:xfrm>
              <a:off x="2576106" y="8930148"/>
              <a:ext cx="435077" cy="435077"/>
            </a:xfrm>
            <a:custGeom>
              <a:avLst/>
              <a:gdLst>
                <a:gd name="connsiteX0" fmla="*/ 371366 w 435077"/>
                <a:gd name="connsiteY0" fmla="*/ 63739 h 435077"/>
                <a:gd name="connsiteX1" fmla="*/ 435077 w 435077"/>
                <a:gd name="connsiteY1" fmla="*/ 217539 h 435077"/>
                <a:gd name="connsiteX2" fmla="*/ 217702 w 435077"/>
                <a:gd name="connsiteY2" fmla="*/ 217539 h 435077"/>
                <a:gd name="connsiteX3" fmla="*/ 371366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6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39"/>
                  </a:moveTo>
                  <a:cubicBezTo>
                    <a:pt x="412154" y="104527"/>
                    <a:pt x="435077" y="159864"/>
                    <a:pt x="435077" y="217539"/>
                  </a:cubicBezTo>
                  <a:lnTo>
                    <a:pt x="217702" y="217539"/>
                  </a:lnTo>
                  <a:cubicBezTo>
                    <a:pt x="275350" y="217593"/>
                    <a:pt x="330605" y="240516"/>
                    <a:pt x="371366" y="281277"/>
                  </a:cubicBezTo>
                  <a:cubicBezTo>
                    <a:pt x="412154" y="322066"/>
                    <a:pt x="435077" y="377402"/>
                    <a:pt x="435077" y="435077"/>
                  </a:cubicBezTo>
                  <a:lnTo>
                    <a:pt x="217539" y="435077"/>
                  </a:lnTo>
                  <a:lnTo>
                    <a:pt x="0" y="435077"/>
                  </a:lnTo>
                  <a:cubicBezTo>
                    <a:pt x="0" y="377402"/>
                    <a:pt x="22923" y="322066"/>
                    <a:pt x="63712" y="281277"/>
                  </a:cubicBezTo>
                  <a:cubicBezTo>
                    <a:pt x="104473" y="240516"/>
                    <a:pt x="159728" y="217593"/>
                    <a:pt x="217376" y="217539"/>
                  </a:cubicBezTo>
                  <a:lnTo>
                    <a:pt x="0" y="217539"/>
                  </a:lnTo>
                  <a:cubicBezTo>
                    <a:pt x="0" y="159864"/>
                    <a:pt x="22923" y="104527"/>
                    <a:pt x="63712" y="63739"/>
                  </a:cubicBezTo>
                  <a:cubicBezTo>
                    <a:pt x="104500" y="22923"/>
                    <a:pt x="159837" y="0"/>
                    <a:pt x="217539" y="0"/>
                  </a:cubicBezTo>
                  <a:cubicBezTo>
                    <a:pt x="275214" y="0"/>
                    <a:pt x="330550" y="22923"/>
                    <a:pt x="371366" y="63739"/>
                  </a:cubicBezTo>
                  <a:close/>
                </a:path>
              </a:pathLst>
            </a:custGeom>
            <a:grpFill/>
            <a:ln w="27192" cap="flat">
              <a:noFill/>
              <a:prstDash val="solid"/>
              <a:miter/>
            </a:ln>
          </p:spPr>
          <p:txBody>
            <a:bodyPr rtlCol="0" anchor="ctr"/>
            <a:lstStyle/>
            <a:p>
              <a:endParaRPr lang="uk-UA" sz="900"/>
            </a:p>
          </p:txBody>
        </p:sp>
        <p:sp>
          <p:nvSpPr>
            <p:cNvPr id="312" name="Freeform: Shape 311">
              <a:extLst>
                <a:ext uri="{FF2B5EF4-FFF2-40B4-BE49-F238E27FC236}">
                  <a16:creationId xmlns:a16="http://schemas.microsoft.com/office/drawing/2014/main" id="{2B6B44D8-5C72-01AF-D6DE-F76836C3327D}"/>
                </a:ext>
              </a:extLst>
            </p:cNvPr>
            <p:cNvSpPr/>
            <p:nvPr/>
          </p:nvSpPr>
          <p:spPr>
            <a:xfrm>
              <a:off x="4316442" y="8930148"/>
              <a:ext cx="435050" cy="435104"/>
            </a:xfrm>
            <a:custGeom>
              <a:avLst/>
              <a:gdLst>
                <a:gd name="connsiteX0" fmla="*/ 0 w 435050"/>
                <a:gd name="connsiteY0" fmla="*/ 435077 h 435104"/>
                <a:gd name="connsiteX1" fmla="*/ 217512 w 435050"/>
                <a:gd name="connsiteY1" fmla="*/ 435077 h 435104"/>
                <a:gd name="connsiteX2" fmla="*/ 217512 w 435050"/>
                <a:gd name="connsiteY2" fmla="*/ 217566 h 435104"/>
                <a:gd name="connsiteX3" fmla="*/ 0 w 435050"/>
                <a:gd name="connsiteY3" fmla="*/ 435077 h 435104"/>
                <a:gd name="connsiteX4" fmla="*/ 217512 w 435050"/>
                <a:gd name="connsiteY4" fmla="*/ 0 h 435104"/>
                <a:gd name="connsiteX5" fmla="*/ 0 w 435050"/>
                <a:gd name="connsiteY5" fmla="*/ 0 h 435104"/>
                <a:gd name="connsiteX6" fmla="*/ 217512 w 435050"/>
                <a:gd name="connsiteY6" fmla="*/ 217539 h 435104"/>
                <a:gd name="connsiteX7" fmla="*/ 217512 w 435050"/>
                <a:gd name="connsiteY7" fmla="*/ 0 h 435104"/>
                <a:gd name="connsiteX8" fmla="*/ 435051 w 435050"/>
                <a:gd name="connsiteY8" fmla="*/ 435105 h 435104"/>
                <a:gd name="connsiteX9" fmla="*/ 217539 w 435050"/>
                <a:gd name="connsiteY9" fmla="*/ 435105 h 435104"/>
                <a:gd name="connsiteX10" fmla="*/ 435051 w 435050"/>
                <a:gd name="connsiteY10" fmla="*/ 217566 h 435104"/>
                <a:gd name="connsiteX11" fmla="*/ 435051 w 435050"/>
                <a:gd name="connsiteY11" fmla="*/ 435105 h 435104"/>
                <a:gd name="connsiteX12" fmla="*/ 435051 w 435050"/>
                <a:gd name="connsiteY12" fmla="*/ 27 h 435104"/>
                <a:gd name="connsiteX13" fmla="*/ 217539 w 435050"/>
                <a:gd name="connsiteY13" fmla="*/ 27 h 435104"/>
                <a:gd name="connsiteX14" fmla="*/ 435051 w 435050"/>
                <a:gd name="connsiteY14" fmla="*/ 217539 h 435104"/>
                <a:gd name="connsiteX15" fmla="*/ 435051 w 435050"/>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50" h="435104">
                  <a:moveTo>
                    <a:pt x="0" y="435077"/>
                  </a:moveTo>
                  <a:lnTo>
                    <a:pt x="217512" y="435077"/>
                  </a:lnTo>
                  <a:lnTo>
                    <a:pt x="217512" y="217566"/>
                  </a:lnTo>
                  <a:lnTo>
                    <a:pt x="0" y="435077"/>
                  </a:lnTo>
                  <a:close/>
                  <a:moveTo>
                    <a:pt x="217512" y="0"/>
                  </a:moveTo>
                  <a:lnTo>
                    <a:pt x="0" y="0"/>
                  </a:lnTo>
                  <a:lnTo>
                    <a:pt x="217512" y="217539"/>
                  </a:lnTo>
                  <a:lnTo>
                    <a:pt x="217512" y="0"/>
                  </a:lnTo>
                  <a:close/>
                  <a:moveTo>
                    <a:pt x="435051" y="435105"/>
                  </a:moveTo>
                  <a:lnTo>
                    <a:pt x="217539" y="435105"/>
                  </a:lnTo>
                  <a:lnTo>
                    <a:pt x="435051" y="217566"/>
                  </a:lnTo>
                  <a:lnTo>
                    <a:pt x="435051" y="435105"/>
                  </a:lnTo>
                  <a:close/>
                  <a:moveTo>
                    <a:pt x="435051" y="27"/>
                  </a:moveTo>
                  <a:lnTo>
                    <a:pt x="217539" y="27"/>
                  </a:lnTo>
                  <a:lnTo>
                    <a:pt x="435051" y="217539"/>
                  </a:lnTo>
                  <a:lnTo>
                    <a:pt x="435051" y="27"/>
                  </a:lnTo>
                  <a:close/>
                </a:path>
              </a:pathLst>
            </a:custGeom>
            <a:grpFill/>
            <a:ln w="27192" cap="flat">
              <a:noFill/>
              <a:prstDash val="solid"/>
              <a:miter/>
            </a:ln>
          </p:spPr>
          <p:txBody>
            <a:bodyPr rtlCol="0" anchor="ctr"/>
            <a:lstStyle/>
            <a:p>
              <a:endParaRPr lang="uk-UA" sz="900"/>
            </a:p>
          </p:txBody>
        </p:sp>
        <p:sp>
          <p:nvSpPr>
            <p:cNvPr id="313" name="Freeform: Shape 312">
              <a:extLst>
                <a:ext uri="{FF2B5EF4-FFF2-40B4-BE49-F238E27FC236}">
                  <a16:creationId xmlns:a16="http://schemas.microsoft.com/office/drawing/2014/main" id="{11A2764F-FC08-FC97-146B-B6E3B53E0841}"/>
                </a:ext>
              </a:extLst>
            </p:cNvPr>
            <p:cNvSpPr/>
            <p:nvPr/>
          </p:nvSpPr>
          <p:spPr>
            <a:xfrm>
              <a:off x="3446261" y="893014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314" name="Freeform: Shape 313">
              <a:extLst>
                <a:ext uri="{FF2B5EF4-FFF2-40B4-BE49-F238E27FC236}">
                  <a16:creationId xmlns:a16="http://schemas.microsoft.com/office/drawing/2014/main" id="{8952820A-2FFA-C2BE-A2FF-C765CE4910EF}"/>
                </a:ext>
              </a:extLst>
            </p:cNvPr>
            <p:cNvSpPr/>
            <p:nvPr/>
          </p:nvSpPr>
          <p:spPr>
            <a:xfrm>
              <a:off x="5186597" y="8930148"/>
              <a:ext cx="435077" cy="435077"/>
            </a:xfrm>
            <a:custGeom>
              <a:avLst/>
              <a:gdLst>
                <a:gd name="connsiteX0" fmla="*/ 217539 w 435077"/>
                <a:gd name="connsiteY0" fmla="*/ 0 h 435077"/>
                <a:gd name="connsiteX1" fmla="*/ 217539 w 435077"/>
                <a:gd name="connsiteY1" fmla="*/ 0 h 435077"/>
                <a:gd name="connsiteX2" fmla="*/ 0 w 435077"/>
                <a:gd name="connsiteY2" fmla="*/ 0 h 435077"/>
                <a:gd name="connsiteX3" fmla="*/ 0 w 435077"/>
                <a:gd name="connsiteY3" fmla="*/ 217539 h 435077"/>
                <a:gd name="connsiteX4" fmla="*/ 217539 w 435077"/>
                <a:gd name="connsiteY4" fmla="*/ 27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217539" y="0"/>
                  </a:lnTo>
                  <a:lnTo>
                    <a:pt x="0" y="0"/>
                  </a:lnTo>
                  <a:lnTo>
                    <a:pt x="0" y="217539"/>
                  </a:lnTo>
                  <a:lnTo>
                    <a:pt x="217539" y="27"/>
                  </a:lnTo>
                  <a:lnTo>
                    <a:pt x="435077" y="217539"/>
                  </a:lnTo>
                  <a:lnTo>
                    <a:pt x="217539" y="435077"/>
                  </a:lnTo>
                  <a:lnTo>
                    <a:pt x="0" y="217539"/>
                  </a:lnTo>
                  <a:lnTo>
                    <a:pt x="0" y="435077"/>
                  </a:lnTo>
                  <a:lnTo>
                    <a:pt x="217539" y="435077"/>
                  </a:lnTo>
                  <a:lnTo>
                    <a:pt x="435077" y="435077"/>
                  </a:lnTo>
                  <a:lnTo>
                    <a:pt x="435077" y="217539"/>
                  </a:lnTo>
                  <a:lnTo>
                    <a:pt x="435077" y="0"/>
                  </a:lnTo>
                  <a:lnTo>
                    <a:pt x="217539" y="0"/>
                  </a:lnTo>
                  <a:close/>
                </a:path>
              </a:pathLst>
            </a:custGeom>
            <a:grpFill/>
            <a:ln w="27192" cap="flat">
              <a:noFill/>
              <a:prstDash val="solid"/>
              <a:miter/>
            </a:ln>
          </p:spPr>
          <p:txBody>
            <a:bodyPr rtlCol="0" anchor="ctr"/>
            <a:lstStyle/>
            <a:p>
              <a:endParaRPr lang="uk-UA" sz="900"/>
            </a:p>
          </p:txBody>
        </p:sp>
        <p:sp>
          <p:nvSpPr>
            <p:cNvPr id="315" name="Freeform: Shape 314">
              <a:extLst>
                <a:ext uri="{FF2B5EF4-FFF2-40B4-BE49-F238E27FC236}">
                  <a16:creationId xmlns:a16="http://schemas.microsoft.com/office/drawing/2014/main" id="{A30C8EAB-0F67-D2CF-B821-A6DEA3EFBB7B}"/>
                </a:ext>
              </a:extLst>
            </p:cNvPr>
            <p:cNvSpPr/>
            <p:nvPr/>
          </p:nvSpPr>
          <p:spPr>
            <a:xfrm>
              <a:off x="6056752" y="8930148"/>
              <a:ext cx="435077" cy="435077"/>
            </a:xfrm>
            <a:custGeom>
              <a:avLst/>
              <a:gdLst>
                <a:gd name="connsiteX0" fmla="*/ 371366 w 435077"/>
                <a:gd name="connsiteY0" fmla="*/ 63739 h 435077"/>
                <a:gd name="connsiteX1" fmla="*/ 435077 w 435077"/>
                <a:gd name="connsiteY1" fmla="*/ 217539 h 435077"/>
                <a:gd name="connsiteX2" fmla="*/ 217702 w 435077"/>
                <a:gd name="connsiteY2" fmla="*/ 217539 h 435077"/>
                <a:gd name="connsiteX3" fmla="*/ 371366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6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39"/>
                  </a:moveTo>
                  <a:cubicBezTo>
                    <a:pt x="412155" y="104527"/>
                    <a:pt x="435077" y="159864"/>
                    <a:pt x="435077" y="217539"/>
                  </a:cubicBezTo>
                  <a:lnTo>
                    <a:pt x="217702" y="217539"/>
                  </a:lnTo>
                  <a:cubicBezTo>
                    <a:pt x="275350" y="217593"/>
                    <a:pt x="330605" y="240516"/>
                    <a:pt x="371366" y="281277"/>
                  </a:cubicBezTo>
                  <a:cubicBezTo>
                    <a:pt x="412155" y="322066"/>
                    <a:pt x="435077" y="377402"/>
                    <a:pt x="435077" y="435077"/>
                  </a:cubicBezTo>
                  <a:lnTo>
                    <a:pt x="217539" y="435077"/>
                  </a:lnTo>
                  <a:lnTo>
                    <a:pt x="0" y="435077"/>
                  </a:lnTo>
                  <a:cubicBezTo>
                    <a:pt x="0" y="377402"/>
                    <a:pt x="22924" y="322066"/>
                    <a:pt x="63712" y="281277"/>
                  </a:cubicBezTo>
                  <a:cubicBezTo>
                    <a:pt x="104473" y="240516"/>
                    <a:pt x="159728" y="217593"/>
                    <a:pt x="217376" y="217539"/>
                  </a:cubicBezTo>
                  <a:lnTo>
                    <a:pt x="0" y="217539"/>
                  </a:lnTo>
                  <a:cubicBezTo>
                    <a:pt x="0" y="159864"/>
                    <a:pt x="22924" y="104527"/>
                    <a:pt x="63712" y="63739"/>
                  </a:cubicBezTo>
                  <a:cubicBezTo>
                    <a:pt x="104501" y="22923"/>
                    <a:pt x="159837" y="0"/>
                    <a:pt x="217539" y="0"/>
                  </a:cubicBezTo>
                  <a:cubicBezTo>
                    <a:pt x="275241" y="0"/>
                    <a:pt x="330550" y="22923"/>
                    <a:pt x="371366" y="63739"/>
                  </a:cubicBezTo>
                  <a:close/>
                </a:path>
              </a:pathLst>
            </a:custGeom>
            <a:grpFill/>
            <a:ln w="27192" cap="flat">
              <a:noFill/>
              <a:prstDash val="solid"/>
              <a:miter/>
            </a:ln>
          </p:spPr>
          <p:txBody>
            <a:bodyPr rtlCol="0" anchor="ctr"/>
            <a:lstStyle/>
            <a:p>
              <a:endParaRPr lang="uk-UA" sz="900"/>
            </a:p>
          </p:txBody>
        </p:sp>
        <p:sp>
          <p:nvSpPr>
            <p:cNvPr id="316" name="Freeform: Shape 315">
              <a:extLst>
                <a:ext uri="{FF2B5EF4-FFF2-40B4-BE49-F238E27FC236}">
                  <a16:creationId xmlns:a16="http://schemas.microsoft.com/office/drawing/2014/main" id="{C7E911A2-BB7E-3B5C-D48B-C63C0065BA30}"/>
                </a:ext>
              </a:extLst>
            </p:cNvPr>
            <p:cNvSpPr/>
            <p:nvPr/>
          </p:nvSpPr>
          <p:spPr>
            <a:xfrm>
              <a:off x="7797089" y="8930148"/>
              <a:ext cx="435050" cy="435104"/>
            </a:xfrm>
            <a:custGeom>
              <a:avLst/>
              <a:gdLst>
                <a:gd name="connsiteX0" fmla="*/ 0 w 435050"/>
                <a:gd name="connsiteY0" fmla="*/ 435077 h 435104"/>
                <a:gd name="connsiteX1" fmla="*/ 217511 w 435050"/>
                <a:gd name="connsiteY1" fmla="*/ 435077 h 435104"/>
                <a:gd name="connsiteX2" fmla="*/ 217511 w 435050"/>
                <a:gd name="connsiteY2" fmla="*/ 217566 h 435104"/>
                <a:gd name="connsiteX3" fmla="*/ 0 w 435050"/>
                <a:gd name="connsiteY3" fmla="*/ 435077 h 435104"/>
                <a:gd name="connsiteX4" fmla="*/ 217511 w 435050"/>
                <a:gd name="connsiteY4" fmla="*/ 0 h 435104"/>
                <a:gd name="connsiteX5" fmla="*/ 0 w 435050"/>
                <a:gd name="connsiteY5" fmla="*/ 0 h 435104"/>
                <a:gd name="connsiteX6" fmla="*/ 217511 w 435050"/>
                <a:gd name="connsiteY6" fmla="*/ 217539 h 435104"/>
                <a:gd name="connsiteX7" fmla="*/ 217511 w 435050"/>
                <a:gd name="connsiteY7" fmla="*/ 0 h 435104"/>
                <a:gd name="connsiteX8" fmla="*/ 435050 w 435050"/>
                <a:gd name="connsiteY8" fmla="*/ 435105 h 435104"/>
                <a:gd name="connsiteX9" fmla="*/ 217539 w 435050"/>
                <a:gd name="connsiteY9" fmla="*/ 435105 h 435104"/>
                <a:gd name="connsiteX10" fmla="*/ 435050 w 435050"/>
                <a:gd name="connsiteY10" fmla="*/ 217566 h 435104"/>
                <a:gd name="connsiteX11" fmla="*/ 435050 w 435050"/>
                <a:gd name="connsiteY11" fmla="*/ 435105 h 435104"/>
                <a:gd name="connsiteX12" fmla="*/ 435050 w 435050"/>
                <a:gd name="connsiteY12" fmla="*/ 27 h 435104"/>
                <a:gd name="connsiteX13" fmla="*/ 217539 w 435050"/>
                <a:gd name="connsiteY13" fmla="*/ 27 h 435104"/>
                <a:gd name="connsiteX14" fmla="*/ 435050 w 435050"/>
                <a:gd name="connsiteY14" fmla="*/ 217539 h 435104"/>
                <a:gd name="connsiteX15" fmla="*/ 435050 w 435050"/>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50" h="435104">
                  <a:moveTo>
                    <a:pt x="0" y="435077"/>
                  </a:moveTo>
                  <a:lnTo>
                    <a:pt x="217511" y="435077"/>
                  </a:lnTo>
                  <a:lnTo>
                    <a:pt x="217511" y="217566"/>
                  </a:lnTo>
                  <a:lnTo>
                    <a:pt x="0" y="435077"/>
                  </a:lnTo>
                  <a:close/>
                  <a:moveTo>
                    <a:pt x="217511" y="0"/>
                  </a:moveTo>
                  <a:lnTo>
                    <a:pt x="0" y="0"/>
                  </a:lnTo>
                  <a:lnTo>
                    <a:pt x="217511" y="217539"/>
                  </a:lnTo>
                  <a:lnTo>
                    <a:pt x="217511" y="0"/>
                  </a:lnTo>
                  <a:close/>
                  <a:moveTo>
                    <a:pt x="435050" y="435105"/>
                  </a:moveTo>
                  <a:lnTo>
                    <a:pt x="217539" y="435105"/>
                  </a:lnTo>
                  <a:lnTo>
                    <a:pt x="435050" y="217566"/>
                  </a:lnTo>
                  <a:lnTo>
                    <a:pt x="435050" y="435105"/>
                  </a:lnTo>
                  <a:close/>
                  <a:moveTo>
                    <a:pt x="435050" y="27"/>
                  </a:moveTo>
                  <a:lnTo>
                    <a:pt x="217539" y="27"/>
                  </a:lnTo>
                  <a:lnTo>
                    <a:pt x="435050" y="217539"/>
                  </a:lnTo>
                  <a:lnTo>
                    <a:pt x="435050" y="27"/>
                  </a:lnTo>
                  <a:close/>
                </a:path>
              </a:pathLst>
            </a:custGeom>
            <a:grpFill/>
            <a:ln w="27192" cap="flat">
              <a:noFill/>
              <a:prstDash val="solid"/>
              <a:miter/>
            </a:ln>
          </p:spPr>
          <p:txBody>
            <a:bodyPr rtlCol="0" anchor="ctr"/>
            <a:lstStyle/>
            <a:p>
              <a:endParaRPr lang="uk-UA" sz="900"/>
            </a:p>
          </p:txBody>
        </p:sp>
        <p:sp>
          <p:nvSpPr>
            <p:cNvPr id="317" name="Freeform: Shape 316">
              <a:extLst>
                <a:ext uri="{FF2B5EF4-FFF2-40B4-BE49-F238E27FC236}">
                  <a16:creationId xmlns:a16="http://schemas.microsoft.com/office/drawing/2014/main" id="{B9AB82AA-E476-3858-E2C5-15E50947FBEA}"/>
                </a:ext>
              </a:extLst>
            </p:cNvPr>
            <p:cNvSpPr/>
            <p:nvPr/>
          </p:nvSpPr>
          <p:spPr>
            <a:xfrm>
              <a:off x="6926907" y="8930148"/>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27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66 h 435077"/>
                <a:gd name="connsiteX9" fmla="*/ 435077 w 435077"/>
                <a:gd name="connsiteY9" fmla="*/ 217566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27"/>
                  </a:lnTo>
                  <a:lnTo>
                    <a:pt x="435077" y="217539"/>
                  </a:lnTo>
                  <a:lnTo>
                    <a:pt x="435077" y="217539"/>
                  </a:lnTo>
                  <a:lnTo>
                    <a:pt x="435077" y="217539"/>
                  </a:lnTo>
                  <a:lnTo>
                    <a:pt x="435077" y="217566"/>
                  </a:lnTo>
                  <a:lnTo>
                    <a:pt x="435077" y="217566"/>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318" name="Freeform: Shape 317">
              <a:extLst>
                <a:ext uri="{FF2B5EF4-FFF2-40B4-BE49-F238E27FC236}">
                  <a16:creationId xmlns:a16="http://schemas.microsoft.com/office/drawing/2014/main" id="{9A6E7A68-B940-C364-C01E-FF2B2405D3E1}"/>
                </a:ext>
              </a:extLst>
            </p:cNvPr>
            <p:cNvSpPr/>
            <p:nvPr/>
          </p:nvSpPr>
          <p:spPr>
            <a:xfrm>
              <a:off x="8667217" y="893014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p>
          </p:txBody>
        </p:sp>
        <p:sp>
          <p:nvSpPr>
            <p:cNvPr id="319" name="Freeform: Shape 318">
              <a:extLst>
                <a:ext uri="{FF2B5EF4-FFF2-40B4-BE49-F238E27FC236}">
                  <a16:creationId xmlns:a16="http://schemas.microsoft.com/office/drawing/2014/main" id="{1378BD5E-90EC-27D9-D682-5181B15838D5}"/>
                </a:ext>
              </a:extLst>
            </p:cNvPr>
            <p:cNvSpPr/>
            <p:nvPr/>
          </p:nvSpPr>
          <p:spPr>
            <a:xfrm>
              <a:off x="9537399" y="8930148"/>
              <a:ext cx="435077" cy="435077"/>
            </a:xfrm>
            <a:custGeom>
              <a:avLst/>
              <a:gdLst>
                <a:gd name="connsiteX0" fmla="*/ 371366 w 435077"/>
                <a:gd name="connsiteY0" fmla="*/ 63739 h 435077"/>
                <a:gd name="connsiteX1" fmla="*/ 435077 w 435077"/>
                <a:gd name="connsiteY1" fmla="*/ 217539 h 435077"/>
                <a:gd name="connsiteX2" fmla="*/ 217702 w 435077"/>
                <a:gd name="connsiteY2" fmla="*/ 217539 h 435077"/>
                <a:gd name="connsiteX3" fmla="*/ 371366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1 w 435077"/>
                <a:gd name="connsiteY7" fmla="*/ 281277 h 435077"/>
                <a:gd name="connsiteX8" fmla="*/ 217375 w 435077"/>
                <a:gd name="connsiteY8" fmla="*/ 217539 h 435077"/>
                <a:gd name="connsiteX9" fmla="*/ 0 w 435077"/>
                <a:gd name="connsiteY9" fmla="*/ 217539 h 435077"/>
                <a:gd name="connsiteX10" fmla="*/ 63711 w 435077"/>
                <a:gd name="connsiteY10" fmla="*/ 63739 h 435077"/>
                <a:gd name="connsiteX11" fmla="*/ 217539 w 435077"/>
                <a:gd name="connsiteY11" fmla="*/ 0 h 435077"/>
                <a:gd name="connsiteX12" fmla="*/ 371366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39"/>
                  </a:moveTo>
                  <a:cubicBezTo>
                    <a:pt x="412155" y="104527"/>
                    <a:pt x="435077" y="159864"/>
                    <a:pt x="435077" y="217539"/>
                  </a:cubicBezTo>
                  <a:lnTo>
                    <a:pt x="217702" y="217539"/>
                  </a:lnTo>
                  <a:cubicBezTo>
                    <a:pt x="275322" y="217593"/>
                    <a:pt x="330604" y="240516"/>
                    <a:pt x="371366" y="281277"/>
                  </a:cubicBezTo>
                  <a:cubicBezTo>
                    <a:pt x="412155" y="322066"/>
                    <a:pt x="435077" y="377402"/>
                    <a:pt x="435077" y="435077"/>
                  </a:cubicBezTo>
                  <a:lnTo>
                    <a:pt x="217539" y="435077"/>
                  </a:lnTo>
                  <a:lnTo>
                    <a:pt x="0" y="435077"/>
                  </a:lnTo>
                  <a:cubicBezTo>
                    <a:pt x="0" y="377402"/>
                    <a:pt x="22923" y="322066"/>
                    <a:pt x="63711" y="281277"/>
                  </a:cubicBezTo>
                  <a:cubicBezTo>
                    <a:pt x="104473" y="240516"/>
                    <a:pt x="159728" y="217593"/>
                    <a:pt x="217375" y="217539"/>
                  </a:cubicBezTo>
                  <a:lnTo>
                    <a:pt x="0" y="217539"/>
                  </a:lnTo>
                  <a:cubicBezTo>
                    <a:pt x="0" y="159864"/>
                    <a:pt x="22923" y="104527"/>
                    <a:pt x="63711" y="63739"/>
                  </a:cubicBezTo>
                  <a:cubicBezTo>
                    <a:pt x="104500" y="22923"/>
                    <a:pt x="159836" y="0"/>
                    <a:pt x="217539" y="0"/>
                  </a:cubicBezTo>
                  <a:cubicBezTo>
                    <a:pt x="275214" y="0"/>
                    <a:pt x="330550" y="22923"/>
                    <a:pt x="371366" y="63739"/>
                  </a:cubicBezTo>
                  <a:close/>
                </a:path>
              </a:pathLst>
            </a:custGeom>
            <a:grpFill/>
            <a:ln w="27192" cap="flat">
              <a:noFill/>
              <a:prstDash val="solid"/>
              <a:miter/>
            </a:ln>
          </p:spPr>
          <p:txBody>
            <a:bodyPr rtlCol="0" anchor="ctr"/>
            <a:lstStyle/>
            <a:p>
              <a:endParaRPr lang="uk-UA" sz="900"/>
            </a:p>
          </p:txBody>
        </p:sp>
        <p:sp>
          <p:nvSpPr>
            <p:cNvPr id="320" name="Freeform: Shape 319">
              <a:extLst>
                <a:ext uri="{FF2B5EF4-FFF2-40B4-BE49-F238E27FC236}">
                  <a16:creationId xmlns:a16="http://schemas.microsoft.com/office/drawing/2014/main" id="{5B50B119-B7F8-D091-C781-AD95A4F8CB97}"/>
                </a:ext>
              </a:extLst>
            </p:cNvPr>
            <p:cNvSpPr/>
            <p:nvPr/>
          </p:nvSpPr>
          <p:spPr>
            <a:xfrm>
              <a:off x="11277709" y="893014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321" name="Freeform: Shape 320">
              <a:extLst>
                <a:ext uri="{FF2B5EF4-FFF2-40B4-BE49-F238E27FC236}">
                  <a16:creationId xmlns:a16="http://schemas.microsoft.com/office/drawing/2014/main" id="{DD0F5D43-882D-9222-5638-78B449B4F998}"/>
                </a:ext>
              </a:extLst>
            </p:cNvPr>
            <p:cNvSpPr/>
            <p:nvPr/>
          </p:nvSpPr>
          <p:spPr>
            <a:xfrm>
              <a:off x="10407554" y="8930148"/>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27 h 435077"/>
                <a:gd name="connsiteX5" fmla="*/ 435050 w 435077"/>
                <a:gd name="connsiteY5" fmla="*/ 217539 h 435077"/>
                <a:gd name="connsiteX6" fmla="*/ 435077 w 435077"/>
                <a:gd name="connsiteY6" fmla="*/ 217539 h 435077"/>
                <a:gd name="connsiteX7" fmla="*/ 435050 w 435077"/>
                <a:gd name="connsiteY7" fmla="*/ 217539 h 435077"/>
                <a:gd name="connsiteX8" fmla="*/ 435077 w 435077"/>
                <a:gd name="connsiteY8" fmla="*/ 217566 h 435077"/>
                <a:gd name="connsiteX9" fmla="*/ 435050 w 435077"/>
                <a:gd name="connsiteY9" fmla="*/ 217566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27"/>
                  </a:lnTo>
                  <a:lnTo>
                    <a:pt x="435050" y="217539"/>
                  </a:lnTo>
                  <a:lnTo>
                    <a:pt x="435077" y="217539"/>
                  </a:lnTo>
                  <a:lnTo>
                    <a:pt x="435050" y="217539"/>
                  </a:lnTo>
                  <a:lnTo>
                    <a:pt x="435077" y="217566"/>
                  </a:lnTo>
                  <a:lnTo>
                    <a:pt x="435050" y="217566"/>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322" name="Freeform: Shape 321">
              <a:extLst>
                <a:ext uri="{FF2B5EF4-FFF2-40B4-BE49-F238E27FC236}">
                  <a16:creationId xmlns:a16="http://schemas.microsoft.com/office/drawing/2014/main" id="{C32BE7ED-9B09-64F6-DCCF-7AED4859263E}"/>
                </a:ext>
              </a:extLst>
            </p:cNvPr>
            <p:cNvSpPr/>
            <p:nvPr/>
          </p:nvSpPr>
          <p:spPr>
            <a:xfrm>
              <a:off x="12147864" y="8930148"/>
              <a:ext cx="435103" cy="435077"/>
            </a:xfrm>
            <a:custGeom>
              <a:avLst/>
              <a:gdLst>
                <a:gd name="connsiteX0" fmla="*/ 217539 w 435103"/>
                <a:gd name="connsiteY0" fmla="*/ 0 h 435077"/>
                <a:gd name="connsiteX1" fmla="*/ 0 w 435103"/>
                <a:gd name="connsiteY1" fmla="*/ 0 h 435077"/>
                <a:gd name="connsiteX2" fmla="*/ 0 w 435103"/>
                <a:gd name="connsiteY2" fmla="*/ 217539 h 435077"/>
                <a:gd name="connsiteX3" fmla="*/ 217539 w 435103"/>
                <a:gd name="connsiteY3" fmla="*/ 0 h 435077"/>
                <a:gd name="connsiteX4" fmla="*/ 435104 w 435103"/>
                <a:gd name="connsiteY4" fmla="*/ 27 h 435077"/>
                <a:gd name="connsiteX5" fmla="*/ 435104 w 435103"/>
                <a:gd name="connsiteY5" fmla="*/ 217566 h 435077"/>
                <a:gd name="connsiteX6" fmla="*/ 217565 w 435103"/>
                <a:gd name="connsiteY6" fmla="*/ 27 h 435077"/>
                <a:gd name="connsiteX7" fmla="*/ 435104 w 435103"/>
                <a:gd name="connsiteY7" fmla="*/ 27 h 435077"/>
                <a:gd name="connsiteX8" fmla="*/ 217565 w 435103"/>
                <a:gd name="connsiteY8" fmla="*/ 435077 h 435077"/>
                <a:gd name="connsiteX9" fmla="*/ 435104 w 435103"/>
                <a:gd name="connsiteY9" fmla="*/ 217566 h 435077"/>
                <a:gd name="connsiteX10" fmla="*/ 435104 w 435103"/>
                <a:gd name="connsiteY10" fmla="*/ 435077 h 435077"/>
                <a:gd name="connsiteX11" fmla="*/ 217565 w 435103"/>
                <a:gd name="connsiteY11" fmla="*/ 435077 h 435077"/>
                <a:gd name="connsiteX12" fmla="*/ 217565 w 435103"/>
                <a:gd name="connsiteY12" fmla="*/ 435077 h 435077"/>
                <a:gd name="connsiteX13" fmla="*/ 27 w 435103"/>
                <a:gd name="connsiteY13" fmla="*/ 217566 h 435077"/>
                <a:gd name="connsiteX14" fmla="*/ 27 w 435103"/>
                <a:gd name="connsiteY14" fmla="*/ 435077 h 435077"/>
                <a:gd name="connsiteX15" fmla="*/ 217565 w 435103"/>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3" h="435077">
                  <a:moveTo>
                    <a:pt x="217539" y="0"/>
                  </a:moveTo>
                  <a:lnTo>
                    <a:pt x="0" y="0"/>
                  </a:lnTo>
                  <a:lnTo>
                    <a:pt x="0" y="217539"/>
                  </a:lnTo>
                  <a:lnTo>
                    <a:pt x="217539" y="0"/>
                  </a:lnTo>
                  <a:close/>
                  <a:moveTo>
                    <a:pt x="435104" y="27"/>
                  </a:moveTo>
                  <a:lnTo>
                    <a:pt x="435104" y="217566"/>
                  </a:lnTo>
                  <a:lnTo>
                    <a:pt x="217565" y="27"/>
                  </a:lnTo>
                  <a:lnTo>
                    <a:pt x="435104" y="27"/>
                  </a:lnTo>
                  <a:close/>
                  <a:moveTo>
                    <a:pt x="217565" y="435077"/>
                  </a:moveTo>
                  <a:lnTo>
                    <a:pt x="435104" y="217566"/>
                  </a:lnTo>
                  <a:lnTo>
                    <a:pt x="435104" y="435077"/>
                  </a:lnTo>
                  <a:lnTo>
                    <a:pt x="217565" y="435077"/>
                  </a:lnTo>
                  <a:close/>
                  <a:moveTo>
                    <a:pt x="217565" y="435077"/>
                  </a:moveTo>
                  <a:lnTo>
                    <a:pt x="27" y="217566"/>
                  </a:lnTo>
                  <a:lnTo>
                    <a:pt x="27" y="435077"/>
                  </a:lnTo>
                  <a:lnTo>
                    <a:pt x="217565" y="435077"/>
                  </a:lnTo>
                  <a:close/>
                </a:path>
              </a:pathLst>
            </a:custGeom>
            <a:grpFill/>
            <a:ln w="27192" cap="flat">
              <a:noFill/>
              <a:prstDash val="solid"/>
              <a:miter/>
            </a:ln>
          </p:spPr>
          <p:txBody>
            <a:bodyPr rtlCol="0" anchor="ctr"/>
            <a:lstStyle/>
            <a:p>
              <a:endParaRPr lang="uk-UA" sz="900"/>
            </a:p>
          </p:txBody>
        </p:sp>
        <p:sp>
          <p:nvSpPr>
            <p:cNvPr id="323" name="Freeform: Shape 322">
              <a:extLst>
                <a:ext uri="{FF2B5EF4-FFF2-40B4-BE49-F238E27FC236}">
                  <a16:creationId xmlns:a16="http://schemas.microsoft.com/office/drawing/2014/main" id="{60C92545-D90D-996F-92EC-FB30E9FF18FC}"/>
                </a:ext>
              </a:extLst>
            </p:cNvPr>
            <p:cNvSpPr/>
            <p:nvPr/>
          </p:nvSpPr>
          <p:spPr>
            <a:xfrm>
              <a:off x="13018045" y="8930148"/>
              <a:ext cx="435077" cy="435077"/>
            </a:xfrm>
            <a:custGeom>
              <a:avLst/>
              <a:gdLst>
                <a:gd name="connsiteX0" fmla="*/ 371365 w 435077"/>
                <a:gd name="connsiteY0" fmla="*/ 63739 h 435077"/>
                <a:gd name="connsiteX1" fmla="*/ 435077 w 435077"/>
                <a:gd name="connsiteY1" fmla="*/ 217539 h 435077"/>
                <a:gd name="connsiteX2" fmla="*/ 217701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5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39"/>
                  </a:moveTo>
                  <a:cubicBezTo>
                    <a:pt x="412154" y="104527"/>
                    <a:pt x="435077" y="159864"/>
                    <a:pt x="435077" y="217539"/>
                  </a:cubicBezTo>
                  <a:lnTo>
                    <a:pt x="217701" y="217539"/>
                  </a:lnTo>
                  <a:cubicBezTo>
                    <a:pt x="275349" y="217593"/>
                    <a:pt x="330605" y="240516"/>
                    <a:pt x="371365" y="281277"/>
                  </a:cubicBezTo>
                  <a:cubicBezTo>
                    <a:pt x="412154" y="322066"/>
                    <a:pt x="435077" y="377402"/>
                    <a:pt x="435077" y="435077"/>
                  </a:cubicBezTo>
                  <a:lnTo>
                    <a:pt x="217539" y="435077"/>
                  </a:lnTo>
                  <a:lnTo>
                    <a:pt x="0" y="435077"/>
                  </a:lnTo>
                  <a:cubicBezTo>
                    <a:pt x="0" y="377402"/>
                    <a:pt x="22924" y="322066"/>
                    <a:pt x="63712" y="281277"/>
                  </a:cubicBezTo>
                  <a:cubicBezTo>
                    <a:pt x="104472" y="240516"/>
                    <a:pt x="159728" y="217593"/>
                    <a:pt x="217376" y="217539"/>
                  </a:cubicBezTo>
                  <a:lnTo>
                    <a:pt x="0" y="217539"/>
                  </a:lnTo>
                  <a:cubicBezTo>
                    <a:pt x="0" y="159864"/>
                    <a:pt x="22924" y="104527"/>
                    <a:pt x="63712" y="63739"/>
                  </a:cubicBezTo>
                  <a:cubicBezTo>
                    <a:pt x="104501" y="22923"/>
                    <a:pt x="159836" y="0"/>
                    <a:pt x="217539" y="0"/>
                  </a:cubicBezTo>
                  <a:cubicBezTo>
                    <a:pt x="275241" y="0"/>
                    <a:pt x="330550" y="22923"/>
                    <a:pt x="371365" y="63739"/>
                  </a:cubicBezTo>
                  <a:close/>
                </a:path>
              </a:pathLst>
            </a:custGeom>
            <a:grpFill/>
            <a:ln w="27192" cap="flat">
              <a:noFill/>
              <a:prstDash val="solid"/>
              <a:miter/>
            </a:ln>
          </p:spPr>
          <p:txBody>
            <a:bodyPr rtlCol="0" anchor="ctr"/>
            <a:lstStyle/>
            <a:p>
              <a:endParaRPr lang="uk-UA" sz="900"/>
            </a:p>
          </p:txBody>
        </p:sp>
        <p:sp>
          <p:nvSpPr>
            <p:cNvPr id="324" name="Freeform: Shape 323">
              <a:extLst>
                <a:ext uri="{FF2B5EF4-FFF2-40B4-BE49-F238E27FC236}">
                  <a16:creationId xmlns:a16="http://schemas.microsoft.com/office/drawing/2014/main" id="{494BAE9F-2469-DF5C-406D-F22F9AD0207F}"/>
                </a:ext>
              </a:extLst>
            </p:cNvPr>
            <p:cNvSpPr/>
            <p:nvPr/>
          </p:nvSpPr>
          <p:spPr>
            <a:xfrm>
              <a:off x="14758382" y="893014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325" name="Freeform: Shape 324">
              <a:extLst>
                <a:ext uri="{FF2B5EF4-FFF2-40B4-BE49-F238E27FC236}">
                  <a16:creationId xmlns:a16="http://schemas.microsoft.com/office/drawing/2014/main" id="{7D5ADAEF-C49E-2937-BA11-73CB07FF9898}"/>
                </a:ext>
              </a:extLst>
            </p:cNvPr>
            <p:cNvSpPr/>
            <p:nvPr/>
          </p:nvSpPr>
          <p:spPr>
            <a:xfrm>
              <a:off x="13888174" y="893014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326" name="Freeform: Shape 325">
              <a:extLst>
                <a:ext uri="{FF2B5EF4-FFF2-40B4-BE49-F238E27FC236}">
                  <a16:creationId xmlns:a16="http://schemas.microsoft.com/office/drawing/2014/main" id="{8D72A60D-B8CC-0256-49C8-C5EA646751A7}"/>
                </a:ext>
              </a:extLst>
            </p:cNvPr>
            <p:cNvSpPr/>
            <p:nvPr/>
          </p:nvSpPr>
          <p:spPr>
            <a:xfrm>
              <a:off x="15628536" y="8930148"/>
              <a:ext cx="435077" cy="435077"/>
            </a:xfrm>
            <a:custGeom>
              <a:avLst/>
              <a:gdLst>
                <a:gd name="connsiteX0" fmla="*/ 217567 w 435077"/>
                <a:gd name="connsiteY0" fmla="*/ 0 h 435077"/>
                <a:gd name="connsiteX1" fmla="*/ 217539 w 435077"/>
                <a:gd name="connsiteY1" fmla="*/ 0 h 435077"/>
                <a:gd name="connsiteX2" fmla="*/ 28 w 435077"/>
                <a:gd name="connsiteY2" fmla="*/ 0 h 435077"/>
                <a:gd name="connsiteX3" fmla="*/ 28 w 435077"/>
                <a:gd name="connsiteY3" fmla="*/ 217539 h 435077"/>
                <a:gd name="connsiteX4" fmla="*/ 217567 w 435077"/>
                <a:gd name="connsiteY4" fmla="*/ 27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67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67" y="0"/>
                  </a:moveTo>
                  <a:lnTo>
                    <a:pt x="217539" y="0"/>
                  </a:lnTo>
                  <a:lnTo>
                    <a:pt x="28" y="0"/>
                  </a:lnTo>
                  <a:lnTo>
                    <a:pt x="28" y="217539"/>
                  </a:lnTo>
                  <a:lnTo>
                    <a:pt x="217567" y="27"/>
                  </a:lnTo>
                  <a:lnTo>
                    <a:pt x="435077" y="217539"/>
                  </a:lnTo>
                  <a:lnTo>
                    <a:pt x="217539" y="435077"/>
                  </a:lnTo>
                  <a:lnTo>
                    <a:pt x="0" y="217539"/>
                  </a:lnTo>
                  <a:lnTo>
                    <a:pt x="0" y="435077"/>
                  </a:lnTo>
                  <a:lnTo>
                    <a:pt x="217539" y="435077"/>
                  </a:lnTo>
                  <a:lnTo>
                    <a:pt x="435077" y="435077"/>
                  </a:lnTo>
                  <a:lnTo>
                    <a:pt x="435077" y="217539"/>
                  </a:lnTo>
                  <a:lnTo>
                    <a:pt x="435077" y="0"/>
                  </a:lnTo>
                  <a:lnTo>
                    <a:pt x="217567" y="0"/>
                  </a:lnTo>
                  <a:close/>
                </a:path>
              </a:pathLst>
            </a:custGeom>
            <a:grpFill/>
            <a:ln w="27192" cap="flat">
              <a:noFill/>
              <a:prstDash val="solid"/>
              <a:miter/>
            </a:ln>
          </p:spPr>
          <p:txBody>
            <a:bodyPr rtlCol="0" anchor="ctr"/>
            <a:lstStyle/>
            <a:p>
              <a:endParaRPr lang="uk-UA" sz="900"/>
            </a:p>
          </p:txBody>
        </p:sp>
        <p:sp>
          <p:nvSpPr>
            <p:cNvPr id="327" name="Freeform: Shape 326">
              <a:extLst>
                <a:ext uri="{FF2B5EF4-FFF2-40B4-BE49-F238E27FC236}">
                  <a16:creationId xmlns:a16="http://schemas.microsoft.com/office/drawing/2014/main" id="{0B29FE27-47AC-7D5F-6A78-7E4EF635EEFD}"/>
                </a:ext>
              </a:extLst>
            </p:cNvPr>
            <p:cNvSpPr/>
            <p:nvPr/>
          </p:nvSpPr>
          <p:spPr>
            <a:xfrm>
              <a:off x="16498719" y="8930148"/>
              <a:ext cx="435077" cy="435077"/>
            </a:xfrm>
            <a:custGeom>
              <a:avLst/>
              <a:gdLst>
                <a:gd name="connsiteX0" fmla="*/ 371339 w 435077"/>
                <a:gd name="connsiteY0" fmla="*/ 63739 h 435077"/>
                <a:gd name="connsiteX1" fmla="*/ 435077 w 435077"/>
                <a:gd name="connsiteY1" fmla="*/ 217539 h 435077"/>
                <a:gd name="connsiteX2" fmla="*/ 217701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0 w 435077"/>
                <a:gd name="connsiteY7" fmla="*/ 281277 h 435077"/>
                <a:gd name="connsiteX8" fmla="*/ 217374 w 435077"/>
                <a:gd name="connsiteY8" fmla="*/ 217539 h 435077"/>
                <a:gd name="connsiteX9" fmla="*/ 0 w 435077"/>
                <a:gd name="connsiteY9" fmla="*/ 217539 h 435077"/>
                <a:gd name="connsiteX10" fmla="*/ 63710 w 435077"/>
                <a:gd name="connsiteY10" fmla="*/ 63739 h 435077"/>
                <a:gd name="connsiteX11" fmla="*/ 217539 w 435077"/>
                <a:gd name="connsiteY11" fmla="*/ 0 h 435077"/>
                <a:gd name="connsiteX12" fmla="*/ 371339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39"/>
                  </a:moveTo>
                  <a:cubicBezTo>
                    <a:pt x="412154" y="104527"/>
                    <a:pt x="435077" y="159864"/>
                    <a:pt x="435077" y="217539"/>
                  </a:cubicBezTo>
                  <a:lnTo>
                    <a:pt x="217701" y="217539"/>
                  </a:lnTo>
                  <a:cubicBezTo>
                    <a:pt x="275322" y="217593"/>
                    <a:pt x="330603" y="240516"/>
                    <a:pt x="371365" y="281277"/>
                  </a:cubicBezTo>
                  <a:cubicBezTo>
                    <a:pt x="412154" y="322066"/>
                    <a:pt x="435077" y="377402"/>
                    <a:pt x="435077" y="435077"/>
                  </a:cubicBezTo>
                  <a:lnTo>
                    <a:pt x="217539" y="435077"/>
                  </a:lnTo>
                  <a:lnTo>
                    <a:pt x="0" y="435077"/>
                  </a:lnTo>
                  <a:cubicBezTo>
                    <a:pt x="0" y="377402"/>
                    <a:pt x="22922" y="322066"/>
                    <a:pt x="63710" y="281277"/>
                  </a:cubicBezTo>
                  <a:cubicBezTo>
                    <a:pt x="104472" y="240516"/>
                    <a:pt x="159727" y="217593"/>
                    <a:pt x="217374" y="217539"/>
                  </a:cubicBezTo>
                  <a:lnTo>
                    <a:pt x="0" y="217539"/>
                  </a:lnTo>
                  <a:cubicBezTo>
                    <a:pt x="0" y="159864"/>
                    <a:pt x="22895" y="104527"/>
                    <a:pt x="63710" y="63739"/>
                  </a:cubicBezTo>
                  <a:cubicBezTo>
                    <a:pt x="104499" y="22923"/>
                    <a:pt x="159836" y="0"/>
                    <a:pt x="217539" y="0"/>
                  </a:cubicBezTo>
                  <a:cubicBezTo>
                    <a:pt x="275213" y="0"/>
                    <a:pt x="330550" y="22923"/>
                    <a:pt x="371339" y="63739"/>
                  </a:cubicBezTo>
                  <a:close/>
                </a:path>
              </a:pathLst>
            </a:custGeom>
            <a:grpFill/>
            <a:ln w="27192" cap="flat">
              <a:noFill/>
              <a:prstDash val="solid"/>
              <a:miter/>
            </a:ln>
          </p:spPr>
          <p:txBody>
            <a:bodyPr rtlCol="0" anchor="ctr"/>
            <a:lstStyle/>
            <a:p>
              <a:endParaRPr lang="uk-UA" sz="900"/>
            </a:p>
          </p:txBody>
        </p:sp>
        <p:sp>
          <p:nvSpPr>
            <p:cNvPr id="328" name="Freeform: Shape 327">
              <a:extLst>
                <a:ext uri="{FF2B5EF4-FFF2-40B4-BE49-F238E27FC236}">
                  <a16:creationId xmlns:a16="http://schemas.microsoft.com/office/drawing/2014/main" id="{595FAF4D-7268-BA85-6E3D-8593E3B7658B}"/>
                </a:ext>
              </a:extLst>
            </p:cNvPr>
            <p:cNvSpPr/>
            <p:nvPr/>
          </p:nvSpPr>
          <p:spPr>
            <a:xfrm>
              <a:off x="18239029" y="893014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329" name="Freeform: Shape 328">
              <a:extLst>
                <a:ext uri="{FF2B5EF4-FFF2-40B4-BE49-F238E27FC236}">
                  <a16:creationId xmlns:a16="http://schemas.microsoft.com/office/drawing/2014/main" id="{C2995364-DFD5-FC8C-A53C-A296CFAD8F0F}"/>
                </a:ext>
              </a:extLst>
            </p:cNvPr>
            <p:cNvSpPr/>
            <p:nvPr/>
          </p:nvSpPr>
          <p:spPr>
            <a:xfrm>
              <a:off x="17368874" y="893014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330" name="Freeform: Shape 329">
              <a:extLst>
                <a:ext uri="{FF2B5EF4-FFF2-40B4-BE49-F238E27FC236}">
                  <a16:creationId xmlns:a16="http://schemas.microsoft.com/office/drawing/2014/main" id="{360E356C-1AB2-8528-B870-70F3DB61EFEF}"/>
                </a:ext>
              </a:extLst>
            </p:cNvPr>
            <p:cNvSpPr/>
            <p:nvPr/>
          </p:nvSpPr>
          <p:spPr>
            <a:xfrm>
              <a:off x="19109210" y="893014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27 h 435077"/>
                <a:gd name="connsiteX5" fmla="*/ 435077 w 435077"/>
                <a:gd name="connsiteY5" fmla="*/ 217566 h 435077"/>
                <a:gd name="connsiteX6" fmla="*/ 217539 w 435077"/>
                <a:gd name="connsiteY6" fmla="*/ 27 h 435077"/>
                <a:gd name="connsiteX7" fmla="*/ 435077 w 435077"/>
                <a:gd name="connsiteY7" fmla="*/ 27 h 435077"/>
                <a:gd name="connsiteX8" fmla="*/ 217539 w 435077"/>
                <a:gd name="connsiteY8" fmla="*/ 435077 h 435077"/>
                <a:gd name="connsiteX9" fmla="*/ 435077 w 435077"/>
                <a:gd name="connsiteY9" fmla="*/ 217566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66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27"/>
                  </a:moveTo>
                  <a:lnTo>
                    <a:pt x="435077" y="217566"/>
                  </a:lnTo>
                  <a:lnTo>
                    <a:pt x="217539" y="27"/>
                  </a:lnTo>
                  <a:lnTo>
                    <a:pt x="435077" y="27"/>
                  </a:lnTo>
                  <a:close/>
                  <a:moveTo>
                    <a:pt x="217539" y="435077"/>
                  </a:moveTo>
                  <a:lnTo>
                    <a:pt x="435077" y="217566"/>
                  </a:lnTo>
                  <a:lnTo>
                    <a:pt x="435077" y="435077"/>
                  </a:lnTo>
                  <a:lnTo>
                    <a:pt x="217539" y="435077"/>
                  </a:lnTo>
                  <a:close/>
                  <a:moveTo>
                    <a:pt x="217539" y="435077"/>
                  </a:moveTo>
                  <a:lnTo>
                    <a:pt x="0" y="217566"/>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331" name="Freeform: Shape 330">
              <a:extLst>
                <a:ext uri="{FF2B5EF4-FFF2-40B4-BE49-F238E27FC236}">
                  <a16:creationId xmlns:a16="http://schemas.microsoft.com/office/drawing/2014/main" id="{E0D1976C-ACE5-48A9-6807-C1B3D761DC88}"/>
                </a:ext>
              </a:extLst>
            </p:cNvPr>
            <p:cNvSpPr/>
            <p:nvPr/>
          </p:nvSpPr>
          <p:spPr>
            <a:xfrm>
              <a:off x="19979365" y="8930148"/>
              <a:ext cx="435077" cy="435077"/>
            </a:xfrm>
            <a:custGeom>
              <a:avLst/>
              <a:gdLst>
                <a:gd name="connsiteX0" fmla="*/ 371365 w 435077"/>
                <a:gd name="connsiteY0" fmla="*/ 63739 h 435077"/>
                <a:gd name="connsiteX1" fmla="*/ 435077 w 435077"/>
                <a:gd name="connsiteY1" fmla="*/ 217539 h 435077"/>
                <a:gd name="connsiteX2" fmla="*/ 217701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5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39"/>
                  </a:moveTo>
                  <a:cubicBezTo>
                    <a:pt x="412154" y="104527"/>
                    <a:pt x="435077" y="159864"/>
                    <a:pt x="435077" y="217539"/>
                  </a:cubicBezTo>
                  <a:lnTo>
                    <a:pt x="217701" y="217539"/>
                  </a:lnTo>
                  <a:cubicBezTo>
                    <a:pt x="275349" y="217593"/>
                    <a:pt x="330605" y="240516"/>
                    <a:pt x="371365" y="281277"/>
                  </a:cubicBezTo>
                  <a:cubicBezTo>
                    <a:pt x="412154" y="322066"/>
                    <a:pt x="435077" y="377402"/>
                    <a:pt x="435077" y="435077"/>
                  </a:cubicBezTo>
                  <a:lnTo>
                    <a:pt x="217539" y="435077"/>
                  </a:lnTo>
                  <a:lnTo>
                    <a:pt x="0" y="435077"/>
                  </a:lnTo>
                  <a:cubicBezTo>
                    <a:pt x="0" y="377402"/>
                    <a:pt x="22924" y="322066"/>
                    <a:pt x="63712" y="281277"/>
                  </a:cubicBezTo>
                  <a:cubicBezTo>
                    <a:pt x="104472" y="240516"/>
                    <a:pt x="159728" y="217593"/>
                    <a:pt x="217376" y="217539"/>
                  </a:cubicBezTo>
                  <a:lnTo>
                    <a:pt x="0" y="217539"/>
                  </a:lnTo>
                  <a:cubicBezTo>
                    <a:pt x="0" y="159864"/>
                    <a:pt x="22924" y="104527"/>
                    <a:pt x="63712" y="63739"/>
                  </a:cubicBezTo>
                  <a:cubicBezTo>
                    <a:pt x="104501" y="22923"/>
                    <a:pt x="159836" y="0"/>
                    <a:pt x="217539" y="0"/>
                  </a:cubicBezTo>
                  <a:cubicBezTo>
                    <a:pt x="275241" y="0"/>
                    <a:pt x="330550" y="22923"/>
                    <a:pt x="371365" y="63739"/>
                  </a:cubicBezTo>
                  <a:close/>
                </a:path>
              </a:pathLst>
            </a:custGeom>
            <a:grpFill/>
            <a:ln w="27192" cap="flat">
              <a:noFill/>
              <a:prstDash val="solid"/>
              <a:miter/>
            </a:ln>
          </p:spPr>
          <p:txBody>
            <a:bodyPr rtlCol="0" anchor="ctr"/>
            <a:lstStyle/>
            <a:p>
              <a:endParaRPr lang="uk-UA" sz="900"/>
            </a:p>
          </p:txBody>
        </p:sp>
        <p:sp>
          <p:nvSpPr>
            <p:cNvPr id="332" name="Freeform: Shape 331">
              <a:extLst>
                <a:ext uri="{FF2B5EF4-FFF2-40B4-BE49-F238E27FC236}">
                  <a16:creationId xmlns:a16="http://schemas.microsoft.com/office/drawing/2014/main" id="{F43A6EED-DE82-FDFD-FE7E-80E6C896EB43}"/>
                </a:ext>
              </a:extLst>
            </p:cNvPr>
            <p:cNvSpPr/>
            <p:nvPr/>
          </p:nvSpPr>
          <p:spPr>
            <a:xfrm>
              <a:off x="21719702" y="8930148"/>
              <a:ext cx="435077" cy="435104"/>
            </a:xfrm>
            <a:custGeom>
              <a:avLst/>
              <a:gdLst>
                <a:gd name="connsiteX0" fmla="*/ 0 w 435077"/>
                <a:gd name="connsiteY0" fmla="*/ 435077 h 435104"/>
                <a:gd name="connsiteX1" fmla="*/ 217512 w 435077"/>
                <a:gd name="connsiteY1" fmla="*/ 435077 h 435104"/>
                <a:gd name="connsiteX2" fmla="*/ 217512 w 435077"/>
                <a:gd name="connsiteY2" fmla="*/ 217566 h 435104"/>
                <a:gd name="connsiteX3" fmla="*/ 0 w 435077"/>
                <a:gd name="connsiteY3" fmla="*/ 435077 h 435104"/>
                <a:gd name="connsiteX4" fmla="*/ 217512 w 435077"/>
                <a:gd name="connsiteY4" fmla="*/ 0 h 435104"/>
                <a:gd name="connsiteX5" fmla="*/ 0 w 435077"/>
                <a:gd name="connsiteY5" fmla="*/ 0 h 435104"/>
                <a:gd name="connsiteX6" fmla="*/ 217512 w 435077"/>
                <a:gd name="connsiteY6" fmla="*/ 217539 h 435104"/>
                <a:gd name="connsiteX7" fmla="*/ 217512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12" y="435077"/>
                  </a:lnTo>
                  <a:lnTo>
                    <a:pt x="217512" y="217566"/>
                  </a:lnTo>
                  <a:lnTo>
                    <a:pt x="0" y="435077"/>
                  </a:lnTo>
                  <a:close/>
                  <a:moveTo>
                    <a:pt x="217512" y="0"/>
                  </a:moveTo>
                  <a:lnTo>
                    <a:pt x="0" y="0"/>
                  </a:lnTo>
                  <a:lnTo>
                    <a:pt x="217512" y="217539"/>
                  </a:lnTo>
                  <a:lnTo>
                    <a:pt x="217512"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333" name="Freeform: Shape 332">
              <a:extLst>
                <a:ext uri="{FF2B5EF4-FFF2-40B4-BE49-F238E27FC236}">
                  <a16:creationId xmlns:a16="http://schemas.microsoft.com/office/drawing/2014/main" id="{2DE41DDC-D407-1484-1BED-68AE6EAEC309}"/>
                </a:ext>
              </a:extLst>
            </p:cNvPr>
            <p:cNvSpPr/>
            <p:nvPr/>
          </p:nvSpPr>
          <p:spPr>
            <a:xfrm>
              <a:off x="20849520" y="893014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334" name="Freeform: Shape 333">
              <a:extLst>
                <a:ext uri="{FF2B5EF4-FFF2-40B4-BE49-F238E27FC236}">
                  <a16:creationId xmlns:a16="http://schemas.microsoft.com/office/drawing/2014/main" id="{1932B39F-F52E-0F78-71BC-23B633A249F3}"/>
                </a:ext>
              </a:extLst>
            </p:cNvPr>
            <p:cNvSpPr/>
            <p:nvPr/>
          </p:nvSpPr>
          <p:spPr>
            <a:xfrm>
              <a:off x="22589856" y="893014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27 h 435077"/>
                <a:gd name="connsiteX5" fmla="*/ 435077 w 435077"/>
                <a:gd name="connsiteY5" fmla="*/ 217566 h 435077"/>
                <a:gd name="connsiteX6" fmla="*/ 217539 w 435077"/>
                <a:gd name="connsiteY6" fmla="*/ 27 h 435077"/>
                <a:gd name="connsiteX7" fmla="*/ 435077 w 435077"/>
                <a:gd name="connsiteY7" fmla="*/ 27 h 435077"/>
                <a:gd name="connsiteX8" fmla="*/ 217539 w 435077"/>
                <a:gd name="connsiteY8" fmla="*/ 435077 h 435077"/>
                <a:gd name="connsiteX9" fmla="*/ 435077 w 435077"/>
                <a:gd name="connsiteY9" fmla="*/ 217566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66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27"/>
                  </a:moveTo>
                  <a:lnTo>
                    <a:pt x="435077" y="217566"/>
                  </a:lnTo>
                  <a:lnTo>
                    <a:pt x="217539" y="27"/>
                  </a:lnTo>
                  <a:lnTo>
                    <a:pt x="435077" y="27"/>
                  </a:lnTo>
                  <a:close/>
                  <a:moveTo>
                    <a:pt x="217539" y="435077"/>
                  </a:moveTo>
                  <a:lnTo>
                    <a:pt x="435077" y="217566"/>
                  </a:lnTo>
                  <a:lnTo>
                    <a:pt x="435077" y="435077"/>
                  </a:lnTo>
                  <a:lnTo>
                    <a:pt x="217539" y="435077"/>
                  </a:lnTo>
                  <a:close/>
                  <a:moveTo>
                    <a:pt x="217539" y="435077"/>
                  </a:moveTo>
                  <a:lnTo>
                    <a:pt x="0" y="217566"/>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335" name="Freeform: Shape 334">
              <a:extLst>
                <a:ext uri="{FF2B5EF4-FFF2-40B4-BE49-F238E27FC236}">
                  <a16:creationId xmlns:a16="http://schemas.microsoft.com/office/drawing/2014/main" id="{88C2B3FC-182F-2EBD-5790-761A2F08D977}"/>
                </a:ext>
              </a:extLst>
            </p:cNvPr>
            <p:cNvSpPr/>
            <p:nvPr/>
          </p:nvSpPr>
          <p:spPr>
            <a:xfrm>
              <a:off x="23460039" y="8930148"/>
              <a:ext cx="435077" cy="435077"/>
            </a:xfrm>
            <a:custGeom>
              <a:avLst/>
              <a:gdLst>
                <a:gd name="connsiteX0" fmla="*/ 371339 w 435077"/>
                <a:gd name="connsiteY0" fmla="*/ 63739 h 435077"/>
                <a:gd name="connsiteX1" fmla="*/ 435077 w 435077"/>
                <a:gd name="connsiteY1" fmla="*/ 217539 h 435077"/>
                <a:gd name="connsiteX2" fmla="*/ 217701 w 435077"/>
                <a:gd name="connsiteY2" fmla="*/ 217539 h 435077"/>
                <a:gd name="connsiteX3" fmla="*/ 371339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48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39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39"/>
                  </a:moveTo>
                  <a:cubicBezTo>
                    <a:pt x="412154" y="104527"/>
                    <a:pt x="435077" y="159864"/>
                    <a:pt x="435077" y="217539"/>
                  </a:cubicBezTo>
                  <a:lnTo>
                    <a:pt x="217701" y="217539"/>
                  </a:lnTo>
                  <a:cubicBezTo>
                    <a:pt x="275322" y="217593"/>
                    <a:pt x="330605" y="240516"/>
                    <a:pt x="371339" y="281277"/>
                  </a:cubicBezTo>
                  <a:cubicBezTo>
                    <a:pt x="412154" y="322066"/>
                    <a:pt x="435077" y="377402"/>
                    <a:pt x="435077" y="435077"/>
                  </a:cubicBezTo>
                  <a:lnTo>
                    <a:pt x="217539" y="435077"/>
                  </a:lnTo>
                  <a:lnTo>
                    <a:pt x="0" y="435077"/>
                  </a:lnTo>
                  <a:cubicBezTo>
                    <a:pt x="0" y="377402"/>
                    <a:pt x="22895" y="322066"/>
                    <a:pt x="63712" y="281277"/>
                  </a:cubicBezTo>
                  <a:cubicBezTo>
                    <a:pt x="104472" y="240516"/>
                    <a:pt x="159727" y="217593"/>
                    <a:pt x="217348" y="217539"/>
                  </a:cubicBezTo>
                  <a:lnTo>
                    <a:pt x="0" y="217539"/>
                  </a:lnTo>
                  <a:cubicBezTo>
                    <a:pt x="0" y="159864"/>
                    <a:pt x="22895" y="104527"/>
                    <a:pt x="63712" y="63739"/>
                  </a:cubicBezTo>
                  <a:cubicBezTo>
                    <a:pt x="104501" y="22923"/>
                    <a:pt x="159836" y="0"/>
                    <a:pt x="217539" y="0"/>
                  </a:cubicBezTo>
                  <a:cubicBezTo>
                    <a:pt x="275213" y="0"/>
                    <a:pt x="330550" y="22923"/>
                    <a:pt x="371339" y="63739"/>
                  </a:cubicBezTo>
                  <a:close/>
                </a:path>
              </a:pathLst>
            </a:custGeom>
            <a:grpFill/>
            <a:ln w="27192" cap="flat">
              <a:noFill/>
              <a:prstDash val="solid"/>
              <a:miter/>
            </a:ln>
          </p:spPr>
          <p:txBody>
            <a:bodyPr rtlCol="0" anchor="ctr"/>
            <a:lstStyle/>
            <a:p>
              <a:endParaRPr lang="uk-UA" sz="900"/>
            </a:p>
          </p:txBody>
        </p:sp>
        <p:sp>
          <p:nvSpPr>
            <p:cNvPr id="336" name="Freeform: Shape 335">
              <a:extLst>
                <a:ext uri="{FF2B5EF4-FFF2-40B4-BE49-F238E27FC236}">
                  <a16:creationId xmlns:a16="http://schemas.microsoft.com/office/drawing/2014/main" id="{70EF7F9D-E260-5F54-8C60-B5C7D553528D}"/>
                </a:ext>
              </a:extLst>
            </p:cNvPr>
            <p:cNvSpPr/>
            <p:nvPr/>
          </p:nvSpPr>
          <p:spPr>
            <a:xfrm>
              <a:off x="24330194" y="893014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337" name="Freeform: Shape 336">
              <a:extLst>
                <a:ext uri="{FF2B5EF4-FFF2-40B4-BE49-F238E27FC236}">
                  <a16:creationId xmlns:a16="http://schemas.microsoft.com/office/drawing/2014/main" id="{F78E7364-E210-0BCB-6F34-AEAD32F12DD6}"/>
                </a:ext>
              </a:extLst>
            </p:cNvPr>
            <p:cNvSpPr/>
            <p:nvPr/>
          </p:nvSpPr>
          <p:spPr>
            <a:xfrm>
              <a:off x="835769" y="9800303"/>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338" name="Freeform: Shape 337">
              <a:extLst>
                <a:ext uri="{FF2B5EF4-FFF2-40B4-BE49-F238E27FC236}">
                  <a16:creationId xmlns:a16="http://schemas.microsoft.com/office/drawing/2014/main" id="{32177139-19C1-A2B1-E5E1-0D12AE437119}"/>
                </a:ext>
              </a:extLst>
            </p:cNvPr>
            <p:cNvSpPr/>
            <p:nvPr/>
          </p:nvSpPr>
          <p:spPr>
            <a:xfrm>
              <a:off x="-34398" y="9800303"/>
              <a:ext cx="435063" cy="435077"/>
            </a:xfrm>
            <a:custGeom>
              <a:avLst/>
              <a:gdLst>
                <a:gd name="connsiteX0" fmla="*/ 435064 w 435063"/>
                <a:gd name="connsiteY0" fmla="*/ 435077 h 435077"/>
                <a:gd name="connsiteX1" fmla="*/ 435064 w 435063"/>
                <a:gd name="connsiteY1" fmla="*/ 217566 h 435077"/>
                <a:gd name="connsiteX2" fmla="*/ 435064 w 435063"/>
                <a:gd name="connsiteY2" fmla="*/ 27 h 435077"/>
                <a:gd name="connsiteX3" fmla="*/ 217552 w 435063"/>
                <a:gd name="connsiteY3" fmla="*/ 27 h 435077"/>
                <a:gd name="connsiteX4" fmla="*/ 435064 w 435063"/>
                <a:gd name="connsiteY4" fmla="*/ 217566 h 435077"/>
                <a:gd name="connsiteX5" fmla="*/ 217552 w 435063"/>
                <a:gd name="connsiteY5" fmla="*/ 435077 h 435077"/>
                <a:gd name="connsiteX6" fmla="*/ 435064 w 435063"/>
                <a:gd name="connsiteY6" fmla="*/ 435077 h 435077"/>
                <a:gd name="connsiteX7" fmla="*/ 0 w 435063"/>
                <a:gd name="connsiteY7" fmla="*/ 217539 h 435077"/>
                <a:gd name="connsiteX8" fmla="*/ 0 w 435063"/>
                <a:gd name="connsiteY8" fmla="*/ 0 h 435077"/>
                <a:gd name="connsiteX9" fmla="*/ 217525 w 435063"/>
                <a:gd name="connsiteY9" fmla="*/ 217539 h 435077"/>
                <a:gd name="connsiteX10" fmla="*/ 0 w 435063"/>
                <a:gd name="connsiteY10" fmla="*/ 217539 h 435077"/>
                <a:gd name="connsiteX11" fmla="*/ 0 w 435063"/>
                <a:gd name="connsiteY11" fmla="*/ 435077 h 435077"/>
                <a:gd name="connsiteX12" fmla="*/ 0 w 435063"/>
                <a:gd name="connsiteY12" fmla="*/ 217566 h 435077"/>
                <a:gd name="connsiteX13" fmla="*/ 217525 w 435063"/>
                <a:gd name="connsiteY13" fmla="*/ 217566 h 435077"/>
                <a:gd name="connsiteX14" fmla="*/ 0 w 435063"/>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63" h="435077">
                  <a:moveTo>
                    <a:pt x="435064" y="435077"/>
                  </a:moveTo>
                  <a:lnTo>
                    <a:pt x="435064" y="217566"/>
                  </a:lnTo>
                  <a:lnTo>
                    <a:pt x="435064" y="27"/>
                  </a:lnTo>
                  <a:lnTo>
                    <a:pt x="217552" y="27"/>
                  </a:lnTo>
                  <a:lnTo>
                    <a:pt x="435064" y="217566"/>
                  </a:lnTo>
                  <a:lnTo>
                    <a:pt x="217552" y="435077"/>
                  </a:lnTo>
                  <a:lnTo>
                    <a:pt x="435064" y="435077"/>
                  </a:lnTo>
                  <a:close/>
                  <a:moveTo>
                    <a:pt x="0" y="217539"/>
                  </a:moveTo>
                  <a:lnTo>
                    <a:pt x="0" y="0"/>
                  </a:lnTo>
                  <a:lnTo>
                    <a:pt x="217525" y="217539"/>
                  </a:lnTo>
                  <a:lnTo>
                    <a:pt x="0" y="217539"/>
                  </a:lnTo>
                  <a:close/>
                  <a:moveTo>
                    <a:pt x="0" y="435077"/>
                  </a:moveTo>
                  <a:lnTo>
                    <a:pt x="0" y="217566"/>
                  </a:lnTo>
                  <a:lnTo>
                    <a:pt x="217525" y="217566"/>
                  </a:lnTo>
                  <a:lnTo>
                    <a:pt x="0" y="435077"/>
                  </a:lnTo>
                  <a:close/>
                </a:path>
              </a:pathLst>
            </a:custGeom>
            <a:grpFill/>
            <a:ln w="27192" cap="flat">
              <a:noFill/>
              <a:prstDash val="solid"/>
              <a:miter/>
            </a:ln>
          </p:spPr>
          <p:txBody>
            <a:bodyPr rtlCol="0" anchor="ctr"/>
            <a:lstStyle/>
            <a:p>
              <a:endParaRPr lang="uk-UA" sz="900"/>
            </a:p>
          </p:txBody>
        </p:sp>
        <p:sp>
          <p:nvSpPr>
            <p:cNvPr id="339" name="Freeform: Shape 338">
              <a:extLst>
                <a:ext uri="{FF2B5EF4-FFF2-40B4-BE49-F238E27FC236}">
                  <a16:creationId xmlns:a16="http://schemas.microsoft.com/office/drawing/2014/main" id="{4A43CAA2-72EF-7D0F-59DD-6C2C8F20D83C}"/>
                </a:ext>
              </a:extLst>
            </p:cNvPr>
            <p:cNvSpPr/>
            <p:nvPr/>
          </p:nvSpPr>
          <p:spPr>
            <a:xfrm>
              <a:off x="1705924" y="9800330"/>
              <a:ext cx="435077" cy="435050"/>
            </a:xfrm>
            <a:custGeom>
              <a:avLst/>
              <a:gdLst>
                <a:gd name="connsiteX0" fmla="*/ 435077 w 435077"/>
                <a:gd name="connsiteY0" fmla="*/ 435050 h 435050"/>
                <a:gd name="connsiteX1" fmla="*/ 435077 w 435077"/>
                <a:gd name="connsiteY1" fmla="*/ 0 h 435050"/>
                <a:gd name="connsiteX2" fmla="*/ 217566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39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66" y="217539"/>
                  </a:lnTo>
                  <a:lnTo>
                    <a:pt x="435077" y="435050"/>
                  </a:lnTo>
                  <a:close/>
                  <a:moveTo>
                    <a:pt x="0" y="435050"/>
                  </a:moveTo>
                  <a:lnTo>
                    <a:pt x="0" y="0"/>
                  </a:lnTo>
                  <a:lnTo>
                    <a:pt x="217539" y="217539"/>
                  </a:lnTo>
                  <a:lnTo>
                    <a:pt x="0" y="435050"/>
                  </a:lnTo>
                  <a:close/>
                </a:path>
              </a:pathLst>
            </a:custGeom>
            <a:grpFill/>
            <a:ln w="27192" cap="flat">
              <a:noFill/>
              <a:prstDash val="solid"/>
              <a:miter/>
            </a:ln>
          </p:spPr>
          <p:txBody>
            <a:bodyPr rtlCol="0" anchor="ctr"/>
            <a:lstStyle/>
            <a:p>
              <a:endParaRPr lang="uk-UA" sz="900"/>
            </a:p>
          </p:txBody>
        </p:sp>
        <p:sp>
          <p:nvSpPr>
            <p:cNvPr id="340" name="Freeform: Shape 339">
              <a:extLst>
                <a:ext uri="{FF2B5EF4-FFF2-40B4-BE49-F238E27FC236}">
                  <a16:creationId xmlns:a16="http://schemas.microsoft.com/office/drawing/2014/main" id="{F2F8CC18-6963-CA52-6C11-C2B70009A958}"/>
                </a:ext>
              </a:extLst>
            </p:cNvPr>
            <p:cNvSpPr/>
            <p:nvPr/>
          </p:nvSpPr>
          <p:spPr>
            <a:xfrm>
              <a:off x="2576106" y="980030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3" y="113039"/>
                    <a:pt x="0" y="57702"/>
                    <a:pt x="0" y="0"/>
                  </a:cubicBezTo>
                  <a:lnTo>
                    <a:pt x="217539" y="0"/>
                  </a:lnTo>
                  <a:lnTo>
                    <a:pt x="435077" y="0"/>
                  </a:lnTo>
                  <a:cubicBezTo>
                    <a:pt x="435077" y="57702"/>
                    <a:pt x="412154" y="113039"/>
                    <a:pt x="371366" y="153827"/>
                  </a:cubicBezTo>
                  <a:cubicBezTo>
                    <a:pt x="330550" y="194642"/>
                    <a:pt x="275214" y="217539"/>
                    <a:pt x="217539" y="217539"/>
                  </a:cubicBezTo>
                  <a:cubicBezTo>
                    <a:pt x="159837" y="217539"/>
                    <a:pt x="104500" y="194642"/>
                    <a:pt x="63712" y="153827"/>
                  </a:cubicBezTo>
                  <a:close/>
                  <a:moveTo>
                    <a:pt x="63712" y="281277"/>
                  </a:moveTo>
                  <a:cubicBezTo>
                    <a:pt x="22923" y="322066"/>
                    <a:pt x="0" y="377402"/>
                    <a:pt x="0" y="435077"/>
                  </a:cubicBezTo>
                  <a:lnTo>
                    <a:pt x="217539" y="435077"/>
                  </a:lnTo>
                  <a:lnTo>
                    <a:pt x="435077" y="435077"/>
                  </a:lnTo>
                  <a:cubicBezTo>
                    <a:pt x="435077" y="377402"/>
                    <a:pt x="412154" y="322066"/>
                    <a:pt x="371366" y="281277"/>
                  </a:cubicBezTo>
                  <a:cubicBezTo>
                    <a:pt x="330550" y="240462"/>
                    <a:pt x="275214" y="217539"/>
                    <a:pt x="217539" y="217539"/>
                  </a:cubicBezTo>
                  <a:cubicBezTo>
                    <a:pt x="159837" y="217539"/>
                    <a:pt x="104500" y="240462"/>
                    <a:pt x="63712" y="281277"/>
                  </a:cubicBezTo>
                  <a:close/>
                </a:path>
              </a:pathLst>
            </a:custGeom>
            <a:grpFill/>
            <a:ln w="27192" cap="flat">
              <a:noFill/>
              <a:prstDash val="solid"/>
              <a:miter/>
            </a:ln>
          </p:spPr>
          <p:txBody>
            <a:bodyPr rtlCol="0" anchor="ctr"/>
            <a:lstStyle/>
            <a:p>
              <a:endParaRPr lang="uk-UA" sz="900"/>
            </a:p>
          </p:txBody>
        </p:sp>
        <p:sp>
          <p:nvSpPr>
            <p:cNvPr id="341" name="Freeform: Shape 340">
              <a:extLst>
                <a:ext uri="{FF2B5EF4-FFF2-40B4-BE49-F238E27FC236}">
                  <a16:creationId xmlns:a16="http://schemas.microsoft.com/office/drawing/2014/main" id="{062E3D3C-656F-798B-5F29-891E8306980A}"/>
                </a:ext>
              </a:extLst>
            </p:cNvPr>
            <p:cNvSpPr/>
            <p:nvPr/>
          </p:nvSpPr>
          <p:spPr>
            <a:xfrm>
              <a:off x="4316416" y="9800303"/>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65 w 435077"/>
                <a:gd name="connsiteY4" fmla="*/ 435077 h 435077"/>
                <a:gd name="connsiteX5" fmla="*/ 217565 w 435077"/>
                <a:gd name="connsiteY5" fmla="*/ 0 h 435077"/>
                <a:gd name="connsiteX6" fmla="*/ 435077 w 435077"/>
                <a:gd name="connsiteY6" fmla="*/ 217566 h 435077"/>
                <a:gd name="connsiteX7" fmla="*/ 217565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65" y="435077"/>
                  </a:moveTo>
                  <a:lnTo>
                    <a:pt x="217565" y="0"/>
                  </a:lnTo>
                  <a:lnTo>
                    <a:pt x="435077" y="217566"/>
                  </a:lnTo>
                  <a:lnTo>
                    <a:pt x="217565" y="435077"/>
                  </a:lnTo>
                  <a:close/>
                </a:path>
              </a:pathLst>
            </a:custGeom>
            <a:grpFill/>
            <a:ln w="27192" cap="flat">
              <a:noFill/>
              <a:prstDash val="solid"/>
              <a:miter/>
            </a:ln>
          </p:spPr>
          <p:txBody>
            <a:bodyPr rtlCol="0" anchor="ctr"/>
            <a:lstStyle/>
            <a:p>
              <a:endParaRPr lang="uk-UA" sz="900"/>
            </a:p>
          </p:txBody>
        </p:sp>
        <p:sp>
          <p:nvSpPr>
            <p:cNvPr id="342" name="Freeform: Shape 341">
              <a:extLst>
                <a:ext uri="{FF2B5EF4-FFF2-40B4-BE49-F238E27FC236}">
                  <a16:creationId xmlns:a16="http://schemas.microsoft.com/office/drawing/2014/main" id="{5250EE02-2DE9-8A12-8A8F-9DBDD2DD688E}"/>
                </a:ext>
              </a:extLst>
            </p:cNvPr>
            <p:cNvSpPr/>
            <p:nvPr/>
          </p:nvSpPr>
          <p:spPr>
            <a:xfrm>
              <a:off x="3446261" y="980030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6 w 435077"/>
                <a:gd name="connsiteY3" fmla="*/ 27 h 435077"/>
                <a:gd name="connsiteX4" fmla="*/ 435077 w 435077"/>
                <a:gd name="connsiteY4" fmla="*/ 217566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6" y="27"/>
                  </a:lnTo>
                  <a:lnTo>
                    <a:pt x="435077" y="217566"/>
                  </a:lnTo>
                  <a:lnTo>
                    <a:pt x="217566"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343" name="Freeform: Shape 342">
              <a:extLst>
                <a:ext uri="{FF2B5EF4-FFF2-40B4-BE49-F238E27FC236}">
                  <a16:creationId xmlns:a16="http://schemas.microsoft.com/office/drawing/2014/main" id="{E7A7F1F5-7EFA-9088-3CA3-B511340E10BC}"/>
                </a:ext>
              </a:extLst>
            </p:cNvPr>
            <p:cNvSpPr/>
            <p:nvPr/>
          </p:nvSpPr>
          <p:spPr>
            <a:xfrm>
              <a:off x="5186597" y="9800330"/>
              <a:ext cx="435077" cy="435050"/>
            </a:xfrm>
            <a:custGeom>
              <a:avLst/>
              <a:gdLst>
                <a:gd name="connsiteX0" fmla="*/ 435077 w 435077"/>
                <a:gd name="connsiteY0" fmla="*/ 435050 h 435050"/>
                <a:gd name="connsiteX1" fmla="*/ 435077 w 435077"/>
                <a:gd name="connsiteY1" fmla="*/ 0 h 435050"/>
                <a:gd name="connsiteX2" fmla="*/ 217566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39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66" y="217539"/>
                  </a:lnTo>
                  <a:lnTo>
                    <a:pt x="435077" y="435050"/>
                  </a:lnTo>
                  <a:close/>
                  <a:moveTo>
                    <a:pt x="0" y="435050"/>
                  </a:moveTo>
                  <a:lnTo>
                    <a:pt x="0" y="0"/>
                  </a:lnTo>
                  <a:lnTo>
                    <a:pt x="217539" y="217539"/>
                  </a:lnTo>
                  <a:lnTo>
                    <a:pt x="0" y="435050"/>
                  </a:lnTo>
                  <a:close/>
                </a:path>
              </a:pathLst>
            </a:custGeom>
            <a:grpFill/>
            <a:ln w="27192" cap="flat">
              <a:noFill/>
              <a:prstDash val="solid"/>
              <a:miter/>
            </a:ln>
          </p:spPr>
          <p:txBody>
            <a:bodyPr rtlCol="0" anchor="ctr"/>
            <a:lstStyle/>
            <a:p>
              <a:endParaRPr lang="uk-UA" sz="900"/>
            </a:p>
          </p:txBody>
        </p:sp>
        <p:sp>
          <p:nvSpPr>
            <p:cNvPr id="344" name="Freeform: Shape 343">
              <a:extLst>
                <a:ext uri="{FF2B5EF4-FFF2-40B4-BE49-F238E27FC236}">
                  <a16:creationId xmlns:a16="http://schemas.microsoft.com/office/drawing/2014/main" id="{73EDBCAB-242E-40C9-2030-EA3B6D1273BF}"/>
                </a:ext>
              </a:extLst>
            </p:cNvPr>
            <p:cNvSpPr/>
            <p:nvPr/>
          </p:nvSpPr>
          <p:spPr>
            <a:xfrm>
              <a:off x="6056752" y="980030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6" y="153827"/>
                  </a:cubicBezTo>
                  <a:cubicBezTo>
                    <a:pt x="330550" y="194642"/>
                    <a:pt x="275241" y="217539"/>
                    <a:pt x="217539" y="217539"/>
                  </a:cubicBezTo>
                  <a:cubicBezTo>
                    <a:pt x="159837"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5" y="322066"/>
                    <a:pt x="371366" y="281277"/>
                  </a:cubicBezTo>
                  <a:cubicBezTo>
                    <a:pt x="330550" y="240462"/>
                    <a:pt x="275241" y="217539"/>
                    <a:pt x="217539" y="217539"/>
                  </a:cubicBezTo>
                  <a:cubicBezTo>
                    <a:pt x="159837" y="217539"/>
                    <a:pt x="104501" y="240462"/>
                    <a:pt x="63712" y="281277"/>
                  </a:cubicBezTo>
                  <a:close/>
                </a:path>
              </a:pathLst>
            </a:custGeom>
            <a:grpFill/>
            <a:ln w="27192" cap="flat">
              <a:noFill/>
              <a:prstDash val="solid"/>
              <a:miter/>
            </a:ln>
          </p:spPr>
          <p:txBody>
            <a:bodyPr rtlCol="0" anchor="ctr"/>
            <a:lstStyle/>
            <a:p>
              <a:endParaRPr lang="uk-UA" sz="900"/>
            </a:p>
          </p:txBody>
        </p:sp>
        <p:sp>
          <p:nvSpPr>
            <p:cNvPr id="345" name="Freeform: Shape 344">
              <a:extLst>
                <a:ext uri="{FF2B5EF4-FFF2-40B4-BE49-F238E27FC236}">
                  <a16:creationId xmlns:a16="http://schemas.microsoft.com/office/drawing/2014/main" id="{59E2C08C-6FBC-DC37-211A-C5069AE5F180}"/>
                </a:ext>
              </a:extLst>
            </p:cNvPr>
            <p:cNvSpPr/>
            <p:nvPr/>
          </p:nvSpPr>
          <p:spPr>
            <a:xfrm>
              <a:off x="7797062" y="9800303"/>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66 w 435077"/>
                <a:gd name="connsiteY4" fmla="*/ 435077 h 435077"/>
                <a:gd name="connsiteX5" fmla="*/ 217566 w 435077"/>
                <a:gd name="connsiteY5" fmla="*/ 0 h 435077"/>
                <a:gd name="connsiteX6" fmla="*/ 435077 w 435077"/>
                <a:gd name="connsiteY6" fmla="*/ 217566 h 435077"/>
                <a:gd name="connsiteX7" fmla="*/ 217566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66" y="435077"/>
                  </a:moveTo>
                  <a:lnTo>
                    <a:pt x="217566" y="0"/>
                  </a:lnTo>
                  <a:lnTo>
                    <a:pt x="435077" y="217566"/>
                  </a:lnTo>
                  <a:lnTo>
                    <a:pt x="217566" y="435077"/>
                  </a:lnTo>
                  <a:close/>
                </a:path>
              </a:pathLst>
            </a:custGeom>
            <a:grpFill/>
            <a:ln w="27192" cap="flat">
              <a:noFill/>
              <a:prstDash val="solid"/>
              <a:miter/>
            </a:ln>
          </p:spPr>
          <p:txBody>
            <a:bodyPr rtlCol="0" anchor="ctr"/>
            <a:lstStyle/>
            <a:p>
              <a:endParaRPr lang="uk-UA" sz="900"/>
            </a:p>
          </p:txBody>
        </p:sp>
        <p:sp>
          <p:nvSpPr>
            <p:cNvPr id="346" name="Freeform: Shape 345">
              <a:extLst>
                <a:ext uri="{FF2B5EF4-FFF2-40B4-BE49-F238E27FC236}">
                  <a16:creationId xmlns:a16="http://schemas.microsoft.com/office/drawing/2014/main" id="{53271C58-4592-9FD8-B3A4-8E34C110365F}"/>
                </a:ext>
              </a:extLst>
            </p:cNvPr>
            <p:cNvSpPr/>
            <p:nvPr/>
          </p:nvSpPr>
          <p:spPr>
            <a:xfrm>
              <a:off x="6926907" y="980030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6 w 435077"/>
                <a:gd name="connsiteY3" fmla="*/ 27 h 435077"/>
                <a:gd name="connsiteX4" fmla="*/ 435077 w 435077"/>
                <a:gd name="connsiteY4" fmla="*/ 217566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6" y="27"/>
                  </a:lnTo>
                  <a:lnTo>
                    <a:pt x="435077" y="217566"/>
                  </a:lnTo>
                  <a:lnTo>
                    <a:pt x="217566"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347" name="Freeform: Shape 346">
              <a:extLst>
                <a:ext uri="{FF2B5EF4-FFF2-40B4-BE49-F238E27FC236}">
                  <a16:creationId xmlns:a16="http://schemas.microsoft.com/office/drawing/2014/main" id="{B3F8638D-6385-BC69-BAAC-16BAA2E11CC3}"/>
                </a:ext>
              </a:extLst>
            </p:cNvPr>
            <p:cNvSpPr/>
            <p:nvPr/>
          </p:nvSpPr>
          <p:spPr>
            <a:xfrm>
              <a:off x="8667244" y="980033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1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1" y="217539"/>
                  </a:lnTo>
                  <a:lnTo>
                    <a:pt x="0" y="435050"/>
                  </a:lnTo>
                  <a:close/>
                </a:path>
              </a:pathLst>
            </a:custGeom>
            <a:grpFill/>
            <a:ln w="27192" cap="flat">
              <a:noFill/>
              <a:prstDash val="solid"/>
              <a:miter/>
            </a:ln>
          </p:spPr>
          <p:txBody>
            <a:bodyPr rtlCol="0" anchor="ctr"/>
            <a:lstStyle/>
            <a:p>
              <a:endParaRPr lang="uk-UA" sz="900"/>
            </a:p>
          </p:txBody>
        </p:sp>
        <p:sp>
          <p:nvSpPr>
            <p:cNvPr id="348" name="Freeform: Shape 347">
              <a:extLst>
                <a:ext uri="{FF2B5EF4-FFF2-40B4-BE49-F238E27FC236}">
                  <a16:creationId xmlns:a16="http://schemas.microsoft.com/office/drawing/2014/main" id="{8D8D9505-9B17-779F-DFCA-635946DC459E}"/>
                </a:ext>
              </a:extLst>
            </p:cNvPr>
            <p:cNvSpPr/>
            <p:nvPr/>
          </p:nvSpPr>
          <p:spPr>
            <a:xfrm>
              <a:off x="9537399" y="9800303"/>
              <a:ext cx="435077" cy="435077"/>
            </a:xfrm>
            <a:custGeom>
              <a:avLst/>
              <a:gdLst>
                <a:gd name="connsiteX0" fmla="*/ 63711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1 w 435077"/>
                <a:gd name="connsiteY6" fmla="*/ 153827 h 435077"/>
                <a:gd name="connsiteX7" fmla="*/ 63711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11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1" y="153827"/>
                  </a:moveTo>
                  <a:cubicBezTo>
                    <a:pt x="22923" y="113039"/>
                    <a:pt x="0" y="57702"/>
                    <a:pt x="0" y="0"/>
                  </a:cubicBezTo>
                  <a:lnTo>
                    <a:pt x="217539" y="0"/>
                  </a:lnTo>
                  <a:lnTo>
                    <a:pt x="435077" y="0"/>
                  </a:lnTo>
                  <a:cubicBezTo>
                    <a:pt x="435077" y="57702"/>
                    <a:pt x="412155" y="113039"/>
                    <a:pt x="371366" y="153827"/>
                  </a:cubicBezTo>
                  <a:cubicBezTo>
                    <a:pt x="330550" y="194642"/>
                    <a:pt x="275214" y="217539"/>
                    <a:pt x="217539" y="217539"/>
                  </a:cubicBezTo>
                  <a:cubicBezTo>
                    <a:pt x="159836" y="217539"/>
                    <a:pt x="104500" y="194642"/>
                    <a:pt x="63711" y="153827"/>
                  </a:cubicBezTo>
                  <a:close/>
                  <a:moveTo>
                    <a:pt x="63711" y="281277"/>
                  </a:moveTo>
                  <a:cubicBezTo>
                    <a:pt x="22923" y="322066"/>
                    <a:pt x="0" y="377402"/>
                    <a:pt x="0" y="435077"/>
                  </a:cubicBezTo>
                  <a:lnTo>
                    <a:pt x="217539" y="435077"/>
                  </a:lnTo>
                  <a:lnTo>
                    <a:pt x="435077" y="435077"/>
                  </a:lnTo>
                  <a:cubicBezTo>
                    <a:pt x="435077" y="377402"/>
                    <a:pt x="412155" y="322066"/>
                    <a:pt x="371366" y="281277"/>
                  </a:cubicBezTo>
                  <a:cubicBezTo>
                    <a:pt x="330550" y="240462"/>
                    <a:pt x="275214" y="217539"/>
                    <a:pt x="217539" y="217539"/>
                  </a:cubicBezTo>
                  <a:cubicBezTo>
                    <a:pt x="159836" y="217539"/>
                    <a:pt x="104500" y="240462"/>
                    <a:pt x="63711" y="281277"/>
                  </a:cubicBezTo>
                  <a:close/>
                </a:path>
              </a:pathLst>
            </a:custGeom>
            <a:grpFill/>
            <a:ln w="27192" cap="flat">
              <a:noFill/>
              <a:prstDash val="solid"/>
              <a:miter/>
            </a:ln>
          </p:spPr>
          <p:txBody>
            <a:bodyPr rtlCol="0" anchor="ctr"/>
            <a:lstStyle/>
            <a:p>
              <a:endParaRPr lang="uk-UA" sz="900"/>
            </a:p>
          </p:txBody>
        </p:sp>
        <p:sp>
          <p:nvSpPr>
            <p:cNvPr id="349" name="Freeform: Shape 348">
              <a:extLst>
                <a:ext uri="{FF2B5EF4-FFF2-40B4-BE49-F238E27FC236}">
                  <a16:creationId xmlns:a16="http://schemas.microsoft.com/office/drawing/2014/main" id="{6193F058-F03A-7B46-0BE6-9B5B94026582}"/>
                </a:ext>
              </a:extLst>
            </p:cNvPr>
            <p:cNvSpPr/>
            <p:nvPr/>
          </p:nvSpPr>
          <p:spPr>
            <a:xfrm>
              <a:off x="11277709" y="9800303"/>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350" name="Freeform: Shape 349">
              <a:extLst>
                <a:ext uri="{FF2B5EF4-FFF2-40B4-BE49-F238E27FC236}">
                  <a16:creationId xmlns:a16="http://schemas.microsoft.com/office/drawing/2014/main" id="{7E0993CD-0929-C528-CCF2-1BDEE6E5B8A8}"/>
                </a:ext>
              </a:extLst>
            </p:cNvPr>
            <p:cNvSpPr/>
            <p:nvPr/>
          </p:nvSpPr>
          <p:spPr>
            <a:xfrm>
              <a:off x="10407554" y="980030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1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11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1" y="217539"/>
                  </a:lnTo>
                  <a:lnTo>
                    <a:pt x="0" y="217539"/>
                  </a:lnTo>
                  <a:close/>
                  <a:moveTo>
                    <a:pt x="0" y="435077"/>
                  </a:moveTo>
                  <a:lnTo>
                    <a:pt x="0" y="217566"/>
                  </a:lnTo>
                  <a:lnTo>
                    <a:pt x="217511" y="217566"/>
                  </a:lnTo>
                  <a:lnTo>
                    <a:pt x="0" y="435077"/>
                  </a:lnTo>
                  <a:close/>
                </a:path>
              </a:pathLst>
            </a:custGeom>
            <a:grpFill/>
            <a:ln w="27192" cap="flat">
              <a:noFill/>
              <a:prstDash val="solid"/>
              <a:miter/>
            </a:ln>
          </p:spPr>
          <p:txBody>
            <a:bodyPr rtlCol="0" anchor="ctr"/>
            <a:lstStyle/>
            <a:p>
              <a:endParaRPr lang="uk-UA" sz="900"/>
            </a:p>
          </p:txBody>
        </p:sp>
        <p:sp>
          <p:nvSpPr>
            <p:cNvPr id="351" name="Freeform: Shape 350">
              <a:extLst>
                <a:ext uri="{FF2B5EF4-FFF2-40B4-BE49-F238E27FC236}">
                  <a16:creationId xmlns:a16="http://schemas.microsoft.com/office/drawing/2014/main" id="{2CE4DB87-1B45-65DB-EAD0-14871BCEC8FE}"/>
                </a:ext>
              </a:extLst>
            </p:cNvPr>
            <p:cNvSpPr/>
            <p:nvPr/>
          </p:nvSpPr>
          <p:spPr>
            <a:xfrm>
              <a:off x="12147891" y="980033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2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2" y="217539"/>
                  </a:lnTo>
                  <a:lnTo>
                    <a:pt x="0" y="435050"/>
                  </a:lnTo>
                  <a:close/>
                </a:path>
              </a:pathLst>
            </a:custGeom>
            <a:grpFill/>
            <a:ln w="27192" cap="flat">
              <a:noFill/>
              <a:prstDash val="solid"/>
              <a:miter/>
            </a:ln>
          </p:spPr>
          <p:txBody>
            <a:bodyPr rtlCol="0" anchor="ctr"/>
            <a:lstStyle/>
            <a:p>
              <a:endParaRPr lang="uk-UA" sz="900"/>
            </a:p>
          </p:txBody>
        </p:sp>
        <p:sp>
          <p:nvSpPr>
            <p:cNvPr id="352" name="Freeform: Shape 351">
              <a:extLst>
                <a:ext uri="{FF2B5EF4-FFF2-40B4-BE49-F238E27FC236}">
                  <a16:creationId xmlns:a16="http://schemas.microsoft.com/office/drawing/2014/main" id="{BA682D0D-2281-9D95-AE6D-C753CBA89CBA}"/>
                </a:ext>
              </a:extLst>
            </p:cNvPr>
            <p:cNvSpPr/>
            <p:nvPr/>
          </p:nvSpPr>
          <p:spPr>
            <a:xfrm>
              <a:off x="13018045" y="980030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4" y="113039"/>
                    <a:pt x="371365" y="153827"/>
                  </a:cubicBezTo>
                  <a:cubicBezTo>
                    <a:pt x="330550" y="194642"/>
                    <a:pt x="275241" y="217539"/>
                    <a:pt x="217539" y="217539"/>
                  </a:cubicBezTo>
                  <a:cubicBezTo>
                    <a:pt x="159836"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4" y="322066"/>
                    <a:pt x="371365" y="281277"/>
                  </a:cubicBezTo>
                  <a:cubicBezTo>
                    <a:pt x="330550" y="240462"/>
                    <a:pt x="275241" y="217539"/>
                    <a:pt x="217539" y="217539"/>
                  </a:cubicBezTo>
                  <a:cubicBezTo>
                    <a:pt x="159836" y="217539"/>
                    <a:pt x="104501" y="240462"/>
                    <a:pt x="63712" y="281277"/>
                  </a:cubicBezTo>
                  <a:close/>
                </a:path>
              </a:pathLst>
            </a:custGeom>
            <a:grpFill/>
            <a:ln w="27192" cap="flat">
              <a:noFill/>
              <a:prstDash val="solid"/>
              <a:miter/>
            </a:ln>
          </p:spPr>
          <p:txBody>
            <a:bodyPr rtlCol="0" anchor="ctr"/>
            <a:lstStyle/>
            <a:p>
              <a:endParaRPr lang="uk-UA" sz="900"/>
            </a:p>
          </p:txBody>
        </p:sp>
        <p:sp>
          <p:nvSpPr>
            <p:cNvPr id="353" name="Freeform: Shape 352">
              <a:extLst>
                <a:ext uri="{FF2B5EF4-FFF2-40B4-BE49-F238E27FC236}">
                  <a16:creationId xmlns:a16="http://schemas.microsoft.com/office/drawing/2014/main" id="{2E1A817A-2DD5-B971-19CE-48E0E2A2E6DA}"/>
                </a:ext>
              </a:extLst>
            </p:cNvPr>
            <p:cNvSpPr/>
            <p:nvPr/>
          </p:nvSpPr>
          <p:spPr>
            <a:xfrm>
              <a:off x="14758382" y="9800303"/>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354" name="Freeform: Shape 353">
              <a:extLst>
                <a:ext uri="{FF2B5EF4-FFF2-40B4-BE49-F238E27FC236}">
                  <a16:creationId xmlns:a16="http://schemas.microsoft.com/office/drawing/2014/main" id="{FC693BDB-05E7-6C03-160B-6A6E9C475012}"/>
                </a:ext>
              </a:extLst>
            </p:cNvPr>
            <p:cNvSpPr/>
            <p:nvPr/>
          </p:nvSpPr>
          <p:spPr>
            <a:xfrm>
              <a:off x="13888200" y="980030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5 w 435077"/>
                <a:gd name="connsiteY3" fmla="*/ 27 h 435077"/>
                <a:gd name="connsiteX4" fmla="*/ 435077 w 435077"/>
                <a:gd name="connsiteY4" fmla="*/ 217566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5" y="27"/>
                  </a:lnTo>
                  <a:lnTo>
                    <a:pt x="435077" y="217566"/>
                  </a:lnTo>
                  <a:lnTo>
                    <a:pt x="217565"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355" name="Freeform: Shape 354">
              <a:extLst>
                <a:ext uri="{FF2B5EF4-FFF2-40B4-BE49-F238E27FC236}">
                  <a16:creationId xmlns:a16="http://schemas.microsoft.com/office/drawing/2014/main" id="{1C2B2945-C69C-4320-D114-6F2011AFF84F}"/>
                </a:ext>
              </a:extLst>
            </p:cNvPr>
            <p:cNvSpPr/>
            <p:nvPr/>
          </p:nvSpPr>
          <p:spPr>
            <a:xfrm>
              <a:off x="15628565" y="980033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0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0" y="217539"/>
                  </a:lnTo>
                  <a:lnTo>
                    <a:pt x="0" y="435050"/>
                  </a:lnTo>
                  <a:close/>
                </a:path>
              </a:pathLst>
            </a:custGeom>
            <a:grpFill/>
            <a:ln w="27192" cap="flat">
              <a:noFill/>
              <a:prstDash val="solid"/>
              <a:miter/>
            </a:ln>
          </p:spPr>
          <p:txBody>
            <a:bodyPr rtlCol="0" anchor="ctr"/>
            <a:lstStyle/>
            <a:p>
              <a:endParaRPr lang="uk-UA" sz="900"/>
            </a:p>
          </p:txBody>
        </p:sp>
        <p:sp>
          <p:nvSpPr>
            <p:cNvPr id="356" name="Freeform: Shape 355">
              <a:extLst>
                <a:ext uri="{FF2B5EF4-FFF2-40B4-BE49-F238E27FC236}">
                  <a16:creationId xmlns:a16="http://schemas.microsoft.com/office/drawing/2014/main" id="{3CD9D052-DEDE-F96A-D23B-EA3B10810D59}"/>
                </a:ext>
              </a:extLst>
            </p:cNvPr>
            <p:cNvSpPr/>
            <p:nvPr/>
          </p:nvSpPr>
          <p:spPr>
            <a:xfrm>
              <a:off x="16498719" y="9800303"/>
              <a:ext cx="435077" cy="435077"/>
            </a:xfrm>
            <a:custGeom>
              <a:avLst/>
              <a:gdLst>
                <a:gd name="connsiteX0" fmla="*/ 63710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0 w 435077"/>
                <a:gd name="connsiteY6" fmla="*/ 153827 h 435077"/>
                <a:gd name="connsiteX7" fmla="*/ 63710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77 h 435077"/>
                <a:gd name="connsiteX12" fmla="*/ 217539 w 435077"/>
                <a:gd name="connsiteY12" fmla="*/ 217539 h 435077"/>
                <a:gd name="connsiteX13" fmla="*/ 63710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7"/>
                  </a:moveTo>
                  <a:cubicBezTo>
                    <a:pt x="22895" y="113039"/>
                    <a:pt x="0" y="57702"/>
                    <a:pt x="0" y="0"/>
                  </a:cubicBezTo>
                  <a:lnTo>
                    <a:pt x="217539" y="0"/>
                  </a:lnTo>
                  <a:lnTo>
                    <a:pt x="435077" y="0"/>
                  </a:lnTo>
                  <a:cubicBezTo>
                    <a:pt x="435077" y="57702"/>
                    <a:pt x="412154" y="113039"/>
                    <a:pt x="371339" y="153827"/>
                  </a:cubicBezTo>
                  <a:cubicBezTo>
                    <a:pt x="330550" y="194642"/>
                    <a:pt x="275213" y="217539"/>
                    <a:pt x="217539" y="217539"/>
                  </a:cubicBezTo>
                  <a:cubicBezTo>
                    <a:pt x="159836" y="217539"/>
                    <a:pt x="104499" y="194642"/>
                    <a:pt x="63710" y="153827"/>
                  </a:cubicBezTo>
                  <a:close/>
                  <a:moveTo>
                    <a:pt x="63710" y="281277"/>
                  </a:moveTo>
                  <a:cubicBezTo>
                    <a:pt x="22895" y="322066"/>
                    <a:pt x="0" y="377402"/>
                    <a:pt x="0" y="435077"/>
                  </a:cubicBezTo>
                  <a:lnTo>
                    <a:pt x="217539" y="435077"/>
                  </a:lnTo>
                  <a:lnTo>
                    <a:pt x="435077" y="435077"/>
                  </a:lnTo>
                  <a:cubicBezTo>
                    <a:pt x="435077" y="377402"/>
                    <a:pt x="412154" y="322066"/>
                    <a:pt x="371339" y="281277"/>
                  </a:cubicBezTo>
                  <a:cubicBezTo>
                    <a:pt x="330550" y="240462"/>
                    <a:pt x="275213" y="217539"/>
                    <a:pt x="217539" y="217539"/>
                  </a:cubicBezTo>
                  <a:cubicBezTo>
                    <a:pt x="159836" y="217539"/>
                    <a:pt x="104499" y="240462"/>
                    <a:pt x="63710" y="281277"/>
                  </a:cubicBezTo>
                  <a:close/>
                </a:path>
              </a:pathLst>
            </a:custGeom>
            <a:grpFill/>
            <a:ln w="27192" cap="flat">
              <a:noFill/>
              <a:prstDash val="solid"/>
              <a:miter/>
            </a:ln>
          </p:spPr>
          <p:txBody>
            <a:bodyPr rtlCol="0" anchor="ctr"/>
            <a:lstStyle/>
            <a:p>
              <a:endParaRPr lang="uk-UA" sz="900"/>
            </a:p>
          </p:txBody>
        </p:sp>
        <p:sp>
          <p:nvSpPr>
            <p:cNvPr id="357" name="Freeform: Shape 356">
              <a:extLst>
                <a:ext uri="{FF2B5EF4-FFF2-40B4-BE49-F238E27FC236}">
                  <a16:creationId xmlns:a16="http://schemas.microsoft.com/office/drawing/2014/main" id="{B13C2970-32C2-233F-C424-1AC5BF437DA2}"/>
                </a:ext>
              </a:extLst>
            </p:cNvPr>
            <p:cNvSpPr/>
            <p:nvPr/>
          </p:nvSpPr>
          <p:spPr>
            <a:xfrm>
              <a:off x="18239029" y="9800303"/>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358" name="Freeform: Shape 357">
              <a:extLst>
                <a:ext uri="{FF2B5EF4-FFF2-40B4-BE49-F238E27FC236}">
                  <a16:creationId xmlns:a16="http://schemas.microsoft.com/office/drawing/2014/main" id="{CB678F61-3469-AD1E-49A3-C8BD7877A3B2}"/>
                </a:ext>
              </a:extLst>
            </p:cNvPr>
            <p:cNvSpPr/>
            <p:nvPr/>
          </p:nvSpPr>
          <p:spPr>
            <a:xfrm>
              <a:off x="17368874" y="980030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0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10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0" y="217539"/>
                  </a:lnTo>
                  <a:lnTo>
                    <a:pt x="0" y="217539"/>
                  </a:lnTo>
                  <a:close/>
                  <a:moveTo>
                    <a:pt x="0" y="435077"/>
                  </a:moveTo>
                  <a:lnTo>
                    <a:pt x="0" y="217566"/>
                  </a:lnTo>
                  <a:lnTo>
                    <a:pt x="217510" y="217566"/>
                  </a:lnTo>
                  <a:lnTo>
                    <a:pt x="0" y="435077"/>
                  </a:lnTo>
                  <a:close/>
                </a:path>
              </a:pathLst>
            </a:custGeom>
            <a:grpFill/>
            <a:ln w="27192" cap="flat">
              <a:noFill/>
              <a:prstDash val="solid"/>
              <a:miter/>
            </a:ln>
          </p:spPr>
          <p:txBody>
            <a:bodyPr rtlCol="0" anchor="ctr"/>
            <a:lstStyle/>
            <a:p>
              <a:endParaRPr lang="uk-UA" sz="900"/>
            </a:p>
          </p:txBody>
        </p:sp>
        <p:sp>
          <p:nvSpPr>
            <p:cNvPr id="359" name="Freeform: Shape 358">
              <a:extLst>
                <a:ext uri="{FF2B5EF4-FFF2-40B4-BE49-F238E27FC236}">
                  <a16:creationId xmlns:a16="http://schemas.microsoft.com/office/drawing/2014/main" id="{0CF9CEF5-AB5B-7013-6C61-DFABC8FF5787}"/>
                </a:ext>
              </a:extLst>
            </p:cNvPr>
            <p:cNvSpPr/>
            <p:nvPr/>
          </p:nvSpPr>
          <p:spPr>
            <a:xfrm>
              <a:off x="19109210" y="9800303"/>
              <a:ext cx="435077" cy="435077"/>
            </a:xfrm>
            <a:custGeom>
              <a:avLst/>
              <a:gdLst>
                <a:gd name="connsiteX0" fmla="*/ 435077 w 435077"/>
                <a:gd name="connsiteY0" fmla="*/ 435077 h 435077"/>
                <a:gd name="connsiteX1" fmla="*/ 435077 w 435077"/>
                <a:gd name="connsiteY1" fmla="*/ 0 h 435077"/>
                <a:gd name="connsiteX2" fmla="*/ 217539 w 435077"/>
                <a:gd name="connsiteY2" fmla="*/ 217566 h 435077"/>
                <a:gd name="connsiteX3" fmla="*/ 435077 w 435077"/>
                <a:gd name="connsiteY3" fmla="*/ 435077 h 435077"/>
                <a:gd name="connsiteX4" fmla="*/ 0 w 435077"/>
                <a:gd name="connsiteY4" fmla="*/ 435077 h 435077"/>
                <a:gd name="connsiteX5" fmla="*/ 0 w 435077"/>
                <a:gd name="connsiteY5" fmla="*/ 0 h 435077"/>
                <a:gd name="connsiteX6" fmla="*/ 217512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66"/>
                  </a:lnTo>
                  <a:lnTo>
                    <a:pt x="435077" y="435077"/>
                  </a:lnTo>
                  <a:close/>
                  <a:moveTo>
                    <a:pt x="0" y="435077"/>
                  </a:moveTo>
                  <a:lnTo>
                    <a:pt x="0" y="0"/>
                  </a:lnTo>
                  <a:lnTo>
                    <a:pt x="217512" y="217566"/>
                  </a:lnTo>
                  <a:lnTo>
                    <a:pt x="0" y="435077"/>
                  </a:lnTo>
                  <a:close/>
                </a:path>
              </a:pathLst>
            </a:custGeom>
            <a:grpFill/>
            <a:ln w="27192" cap="flat">
              <a:noFill/>
              <a:prstDash val="solid"/>
              <a:miter/>
            </a:ln>
          </p:spPr>
          <p:txBody>
            <a:bodyPr rtlCol="0" anchor="ctr"/>
            <a:lstStyle/>
            <a:p>
              <a:endParaRPr lang="uk-UA" sz="900"/>
            </a:p>
          </p:txBody>
        </p:sp>
        <p:sp>
          <p:nvSpPr>
            <p:cNvPr id="360" name="Freeform: Shape 359">
              <a:extLst>
                <a:ext uri="{FF2B5EF4-FFF2-40B4-BE49-F238E27FC236}">
                  <a16:creationId xmlns:a16="http://schemas.microsoft.com/office/drawing/2014/main" id="{2F8418C5-FD84-B42B-D95C-E576F2EBC411}"/>
                </a:ext>
              </a:extLst>
            </p:cNvPr>
            <p:cNvSpPr/>
            <p:nvPr/>
          </p:nvSpPr>
          <p:spPr>
            <a:xfrm>
              <a:off x="19979365" y="980030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4" y="113039"/>
                    <a:pt x="371365" y="153827"/>
                  </a:cubicBezTo>
                  <a:cubicBezTo>
                    <a:pt x="330550" y="194642"/>
                    <a:pt x="275241" y="217539"/>
                    <a:pt x="217539" y="217539"/>
                  </a:cubicBezTo>
                  <a:cubicBezTo>
                    <a:pt x="159836"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4" y="322066"/>
                    <a:pt x="371365" y="281277"/>
                  </a:cubicBezTo>
                  <a:cubicBezTo>
                    <a:pt x="330550" y="240462"/>
                    <a:pt x="275241" y="217539"/>
                    <a:pt x="217539" y="217539"/>
                  </a:cubicBezTo>
                  <a:cubicBezTo>
                    <a:pt x="159836" y="217539"/>
                    <a:pt x="104501" y="240462"/>
                    <a:pt x="63712" y="281277"/>
                  </a:cubicBezTo>
                  <a:close/>
                </a:path>
              </a:pathLst>
            </a:custGeom>
            <a:grpFill/>
            <a:ln w="27192" cap="flat">
              <a:noFill/>
              <a:prstDash val="solid"/>
              <a:miter/>
            </a:ln>
          </p:spPr>
          <p:txBody>
            <a:bodyPr rtlCol="0" anchor="ctr"/>
            <a:lstStyle/>
            <a:p>
              <a:endParaRPr lang="uk-UA" sz="900"/>
            </a:p>
          </p:txBody>
        </p:sp>
        <p:sp>
          <p:nvSpPr>
            <p:cNvPr id="361" name="Freeform: Shape 360">
              <a:extLst>
                <a:ext uri="{FF2B5EF4-FFF2-40B4-BE49-F238E27FC236}">
                  <a16:creationId xmlns:a16="http://schemas.microsoft.com/office/drawing/2014/main" id="{561AC187-0D38-C763-3EBE-E14844B633B3}"/>
                </a:ext>
              </a:extLst>
            </p:cNvPr>
            <p:cNvSpPr/>
            <p:nvPr/>
          </p:nvSpPr>
          <p:spPr>
            <a:xfrm>
              <a:off x="21719702" y="9800303"/>
              <a:ext cx="435077" cy="435077"/>
            </a:xfrm>
            <a:custGeom>
              <a:avLst/>
              <a:gdLst>
                <a:gd name="connsiteX0" fmla="*/ 0 w 435077"/>
                <a:gd name="connsiteY0" fmla="*/ 435077 h 435077"/>
                <a:gd name="connsiteX1" fmla="*/ 0 w 435077"/>
                <a:gd name="connsiteY1" fmla="*/ 0 h 435077"/>
                <a:gd name="connsiteX2" fmla="*/ 217512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12"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362" name="Freeform: Shape 361">
              <a:extLst>
                <a:ext uri="{FF2B5EF4-FFF2-40B4-BE49-F238E27FC236}">
                  <a16:creationId xmlns:a16="http://schemas.microsoft.com/office/drawing/2014/main" id="{184AF3C4-A75B-0EA1-72AE-977963C68E11}"/>
                </a:ext>
              </a:extLst>
            </p:cNvPr>
            <p:cNvSpPr/>
            <p:nvPr/>
          </p:nvSpPr>
          <p:spPr>
            <a:xfrm>
              <a:off x="20849520" y="980030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5 w 435077"/>
                <a:gd name="connsiteY3" fmla="*/ 27 h 435077"/>
                <a:gd name="connsiteX4" fmla="*/ 435077 w 435077"/>
                <a:gd name="connsiteY4" fmla="*/ 217566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5" y="27"/>
                  </a:lnTo>
                  <a:lnTo>
                    <a:pt x="435077" y="217566"/>
                  </a:lnTo>
                  <a:lnTo>
                    <a:pt x="217565"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363" name="Freeform: Shape 362">
              <a:extLst>
                <a:ext uri="{FF2B5EF4-FFF2-40B4-BE49-F238E27FC236}">
                  <a16:creationId xmlns:a16="http://schemas.microsoft.com/office/drawing/2014/main" id="{0A3C4817-DB73-E3FC-BD38-6B0E42184BAC}"/>
                </a:ext>
              </a:extLst>
            </p:cNvPr>
            <p:cNvSpPr/>
            <p:nvPr/>
          </p:nvSpPr>
          <p:spPr>
            <a:xfrm>
              <a:off x="22589856" y="9800303"/>
              <a:ext cx="435077" cy="435077"/>
            </a:xfrm>
            <a:custGeom>
              <a:avLst/>
              <a:gdLst>
                <a:gd name="connsiteX0" fmla="*/ 435077 w 435077"/>
                <a:gd name="connsiteY0" fmla="*/ 435077 h 435077"/>
                <a:gd name="connsiteX1" fmla="*/ 435077 w 435077"/>
                <a:gd name="connsiteY1" fmla="*/ 0 h 435077"/>
                <a:gd name="connsiteX2" fmla="*/ 217567 w 435077"/>
                <a:gd name="connsiteY2" fmla="*/ 217566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7" y="217566"/>
                  </a:lnTo>
                  <a:lnTo>
                    <a:pt x="435077" y="435077"/>
                  </a:lnTo>
                  <a:close/>
                  <a:moveTo>
                    <a:pt x="0" y="435077"/>
                  </a:moveTo>
                  <a:lnTo>
                    <a:pt x="0" y="0"/>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364" name="Freeform: Shape 363">
              <a:extLst>
                <a:ext uri="{FF2B5EF4-FFF2-40B4-BE49-F238E27FC236}">
                  <a16:creationId xmlns:a16="http://schemas.microsoft.com/office/drawing/2014/main" id="{D3DA0B77-592E-3FC1-06F5-19A789C8E875}"/>
                </a:ext>
              </a:extLst>
            </p:cNvPr>
            <p:cNvSpPr/>
            <p:nvPr/>
          </p:nvSpPr>
          <p:spPr>
            <a:xfrm>
              <a:off x="23460039" y="980030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895" y="113039"/>
                    <a:pt x="0" y="57702"/>
                    <a:pt x="0" y="0"/>
                  </a:cubicBezTo>
                  <a:lnTo>
                    <a:pt x="217539" y="0"/>
                  </a:lnTo>
                  <a:lnTo>
                    <a:pt x="435077" y="0"/>
                  </a:lnTo>
                  <a:cubicBezTo>
                    <a:pt x="435077" y="57702"/>
                    <a:pt x="412154" y="113039"/>
                    <a:pt x="371339" y="153827"/>
                  </a:cubicBezTo>
                  <a:cubicBezTo>
                    <a:pt x="330550" y="194642"/>
                    <a:pt x="275213" y="217539"/>
                    <a:pt x="217539" y="217539"/>
                  </a:cubicBezTo>
                  <a:cubicBezTo>
                    <a:pt x="159836" y="217539"/>
                    <a:pt x="104501" y="194642"/>
                    <a:pt x="63712" y="153827"/>
                  </a:cubicBezTo>
                  <a:close/>
                  <a:moveTo>
                    <a:pt x="63712" y="281277"/>
                  </a:moveTo>
                  <a:cubicBezTo>
                    <a:pt x="22895" y="322066"/>
                    <a:pt x="0" y="377402"/>
                    <a:pt x="0" y="435077"/>
                  </a:cubicBezTo>
                  <a:lnTo>
                    <a:pt x="217539" y="435077"/>
                  </a:lnTo>
                  <a:lnTo>
                    <a:pt x="435077" y="435077"/>
                  </a:lnTo>
                  <a:cubicBezTo>
                    <a:pt x="435077" y="377402"/>
                    <a:pt x="412154" y="322066"/>
                    <a:pt x="371339" y="281277"/>
                  </a:cubicBezTo>
                  <a:cubicBezTo>
                    <a:pt x="330550" y="240462"/>
                    <a:pt x="275213" y="217539"/>
                    <a:pt x="217539" y="217539"/>
                  </a:cubicBezTo>
                  <a:cubicBezTo>
                    <a:pt x="159836" y="217539"/>
                    <a:pt x="104501" y="240462"/>
                    <a:pt x="63712" y="281277"/>
                  </a:cubicBezTo>
                  <a:close/>
                </a:path>
              </a:pathLst>
            </a:custGeom>
            <a:grpFill/>
            <a:ln w="27192" cap="flat">
              <a:noFill/>
              <a:prstDash val="solid"/>
              <a:miter/>
            </a:ln>
          </p:spPr>
          <p:txBody>
            <a:bodyPr rtlCol="0" anchor="ctr"/>
            <a:lstStyle/>
            <a:p>
              <a:endParaRPr lang="uk-UA" sz="900"/>
            </a:p>
          </p:txBody>
        </p:sp>
        <p:sp>
          <p:nvSpPr>
            <p:cNvPr id="365" name="Freeform: Shape 364">
              <a:extLst>
                <a:ext uri="{FF2B5EF4-FFF2-40B4-BE49-F238E27FC236}">
                  <a16:creationId xmlns:a16="http://schemas.microsoft.com/office/drawing/2014/main" id="{90FE989F-D466-0D35-CA4E-9E244B04E147}"/>
                </a:ext>
              </a:extLst>
            </p:cNvPr>
            <p:cNvSpPr/>
            <p:nvPr/>
          </p:nvSpPr>
          <p:spPr>
            <a:xfrm>
              <a:off x="24330194" y="980030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366" name="Freeform: Shape 365">
              <a:extLst>
                <a:ext uri="{FF2B5EF4-FFF2-40B4-BE49-F238E27FC236}">
                  <a16:creationId xmlns:a16="http://schemas.microsoft.com/office/drawing/2014/main" id="{AF9616B8-B3DB-8FD4-22D7-D65631243D6B}"/>
                </a:ext>
              </a:extLst>
            </p:cNvPr>
            <p:cNvSpPr/>
            <p:nvPr/>
          </p:nvSpPr>
          <p:spPr>
            <a:xfrm>
              <a:off x="835742" y="1067045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367" name="Freeform: Shape 366">
              <a:extLst>
                <a:ext uri="{FF2B5EF4-FFF2-40B4-BE49-F238E27FC236}">
                  <a16:creationId xmlns:a16="http://schemas.microsoft.com/office/drawing/2014/main" id="{56B7CB51-C6D8-1D03-08D6-9EBE8117013C}"/>
                </a:ext>
              </a:extLst>
            </p:cNvPr>
            <p:cNvSpPr/>
            <p:nvPr/>
          </p:nvSpPr>
          <p:spPr>
            <a:xfrm>
              <a:off x="-34407" y="10670458"/>
              <a:ext cx="435072" cy="435077"/>
            </a:xfrm>
            <a:custGeom>
              <a:avLst/>
              <a:gdLst>
                <a:gd name="connsiteX0" fmla="*/ 371360 w 435072"/>
                <a:gd name="connsiteY0" fmla="*/ 63739 h 435077"/>
                <a:gd name="connsiteX1" fmla="*/ 435072 w 435072"/>
                <a:gd name="connsiteY1" fmla="*/ 217539 h 435077"/>
                <a:gd name="connsiteX2" fmla="*/ 217724 w 435072"/>
                <a:gd name="connsiteY2" fmla="*/ 217539 h 435077"/>
                <a:gd name="connsiteX3" fmla="*/ 371360 w 435072"/>
                <a:gd name="connsiteY3" fmla="*/ 281277 h 435077"/>
                <a:gd name="connsiteX4" fmla="*/ 435072 w 435072"/>
                <a:gd name="connsiteY4" fmla="*/ 435077 h 435077"/>
                <a:gd name="connsiteX5" fmla="*/ 217533 w 435072"/>
                <a:gd name="connsiteY5" fmla="*/ 435077 h 435077"/>
                <a:gd name="connsiteX6" fmla="*/ 5 w 435072"/>
                <a:gd name="connsiteY6" fmla="*/ 435077 h 435077"/>
                <a:gd name="connsiteX7" fmla="*/ 63720 w 435072"/>
                <a:gd name="connsiteY7" fmla="*/ 281277 h 435077"/>
                <a:gd name="connsiteX8" fmla="*/ 217370 w 435072"/>
                <a:gd name="connsiteY8" fmla="*/ 217539 h 435077"/>
                <a:gd name="connsiteX9" fmla="*/ 0 w 435072"/>
                <a:gd name="connsiteY9" fmla="*/ 217539 h 435077"/>
                <a:gd name="connsiteX10" fmla="*/ 63717 w 435072"/>
                <a:gd name="connsiteY10" fmla="*/ 63739 h 435077"/>
                <a:gd name="connsiteX11" fmla="*/ 217533 w 435072"/>
                <a:gd name="connsiteY11" fmla="*/ 0 h 435077"/>
                <a:gd name="connsiteX12" fmla="*/ 371360 w 435072"/>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2" h="435077">
                  <a:moveTo>
                    <a:pt x="371360" y="63739"/>
                  </a:moveTo>
                  <a:cubicBezTo>
                    <a:pt x="412149" y="104527"/>
                    <a:pt x="435072" y="159864"/>
                    <a:pt x="435072" y="217539"/>
                  </a:cubicBezTo>
                  <a:lnTo>
                    <a:pt x="217724" y="217539"/>
                  </a:lnTo>
                  <a:cubicBezTo>
                    <a:pt x="275344" y="217593"/>
                    <a:pt x="330599" y="240516"/>
                    <a:pt x="371360" y="281277"/>
                  </a:cubicBezTo>
                  <a:cubicBezTo>
                    <a:pt x="412176" y="322066"/>
                    <a:pt x="435072" y="377402"/>
                    <a:pt x="435072" y="435077"/>
                  </a:cubicBezTo>
                  <a:lnTo>
                    <a:pt x="217533" y="435077"/>
                  </a:lnTo>
                  <a:lnTo>
                    <a:pt x="5" y="435077"/>
                  </a:lnTo>
                  <a:cubicBezTo>
                    <a:pt x="5" y="377402"/>
                    <a:pt x="22923" y="322066"/>
                    <a:pt x="63720" y="281277"/>
                  </a:cubicBezTo>
                  <a:cubicBezTo>
                    <a:pt x="104476" y="240516"/>
                    <a:pt x="159750" y="217593"/>
                    <a:pt x="217370" y="217539"/>
                  </a:cubicBezTo>
                  <a:lnTo>
                    <a:pt x="0" y="217539"/>
                  </a:lnTo>
                  <a:cubicBezTo>
                    <a:pt x="0" y="159864"/>
                    <a:pt x="22921" y="104527"/>
                    <a:pt x="63717" y="63739"/>
                  </a:cubicBezTo>
                  <a:cubicBezTo>
                    <a:pt x="104514" y="22923"/>
                    <a:pt x="159858" y="0"/>
                    <a:pt x="217533" y="0"/>
                  </a:cubicBezTo>
                  <a:cubicBezTo>
                    <a:pt x="275236" y="0"/>
                    <a:pt x="330572" y="22923"/>
                    <a:pt x="371360" y="63739"/>
                  </a:cubicBezTo>
                  <a:close/>
                </a:path>
              </a:pathLst>
            </a:custGeom>
            <a:grpFill/>
            <a:ln w="27192" cap="flat">
              <a:noFill/>
              <a:prstDash val="solid"/>
              <a:miter/>
            </a:ln>
          </p:spPr>
          <p:txBody>
            <a:bodyPr rtlCol="0" anchor="ctr"/>
            <a:lstStyle/>
            <a:p>
              <a:endParaRPr lang="uk-UA" sz="900"/>
            </a:p>
          </p:txBody>
        </p:sp>
        <p:sp>
          <p:nvSpPr>
            <p:cNvPr id="368" name="Freeform: Shape 367">
              <a:extLst>
                <a:ext uri="{FF2B5EF4-FFF2-40B4-BE49-F238E27FC236}">
                  <a16:creationId xmlns:a16="http://schemas.microsoft.com/office/drawing/2014/main" id="{BB395674-A8C0-41FA-28CE-EC42DDF5FAAF}"/>
                </a:ext>
              </a:extLst>
            </p:cNvPr>
            <p:cNvSpPr/>
            <p:nvPr/>
          </p:nvSpPr>
          <p:spPr>
            <a:xfrm>
              <a:off x="1705924" y="1067045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369" name="Freeform: Shape 368">
              <a:extLst>
                <a:ext uri="{FF2B5EF4-FFF2-40B4-BE49-F238E27FC236}">
                  <a16:creationId xmlns:a16="http://schemas.microsoft.com/office/drawing/2014/main" id="{EC3B8078-BC33-628E-63EF-563B61296FB0}"/>
                </a:ext>
              </a:extLst>
            </p:cNvPr>
            <p:cNvSpPr/>
            <p:nvPr/>
          </p:nvSpPr>
          <p:spPr>
            <a:xfrm>
              <a:off x="2576079" y="10670458"/>
              <a:ext cx="435104" cy="435077"/>
            </a:xfrm>
            <a:custGeom>
              <a:avLst/>
              <a:gdLst>
                <a:gd name="connsiteX0" fmla="*/ 217539 w 435104"/>
                <a:gd name="connsiteY0" fmla="*/ 0 h 435077"/>
                <a:gd name="connsiteX1" fmla="*/ 0 w 435104"/>
                <a:gd name="connsiteY1" fmla="*/ 0 h 435077"/>
                <a:gd name="connsiteX2" fmla="*/ 0 w 435104"/>
                <a:gd name="connsiteY2" fmla="*/ 217539 h 435077"/>
                <a:gd name="connsiteX3" fmla="*/ 217539 w 435104"/>
                <a:gd name="connsiteY3" fmla="*/ 0 h 435077"/>
                <a:gd name="connsiteX4" fmla="*/ 435104 w 435104"/>
                <a:gd name="connsiteY4" fmla="*/ 0 h 435077"/>
                <a:gd name="connsiteX5" fmla="*/ 435104 w 435104"/>
                <a:gd name="connsiteY5" fmla="*/ 217539 h 435077"/>
                <a:gd name="connsiteX6" fmla="*/ 217566 w 435104"/>
                <a:gd name="connsiteY6" fmla="*/ 0 h 435077"/>
                <a:gd name="connsiteX7" fmla="*/ 435104 w 435104"/>
                <a:gd name="connsiteY7" fmla="*/ 0 h 435077"/>
                <a:gd name="connsiteX8" fmla="*/ 217566 w 435104"/>
                <a:gd name="connsiteY8" fmla="*/ 435077 h 435077"/>
                <a:gd name="connsiteX9" fmla="*/ 435104 w 435104"/>
                <a:gd name="connsiteY9" fmla="*/ 217539 h 435077"/>
                <a:gd name="connsiteX10" fmla="*/ 435104 w 435104"/>
                <a:gd name="connsiteY10" fmla="*/ 435077 h 435077"/>
                <a:gd name="connsiteX11" fmla="*/ 217566 w 435104"/>
                <a:gd name="connsiteY11" fmla="*/ 435077 h 435077"/>
                <a:gd name="connsiteX12" fmla="*/ 217566 w 435104"/>
                <a:gd name="connsiteY12" fmla="*/ 435077 h 435077"/>
                <a:gd name="connsiteX13" fmla="*/ 27 w 435104"/>
                <a:gd name="connsiteY13" fmla="*/ 217539 h 435077"/>
                <a:gd name="connsiteX14" fmla="*/ 27 w 435104"/>
                <a:gd name="connsiteY14" fmla="*/ 435077 h 435077"/>
                <a:gd name="connsiteX15" fmla="*/ 217566 w 435104"/>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4" h="435077">
                  <a:moveTo>
                    <a:pt x="217539" y="0"/>
                  </a:moveTo>
                  <a:lnTo>
                    <a:pt x="0" y="0"/>
                  </a:lnTo>
                  <a:lnTo>
                    <a:pt x="0" y="217539"/>
                  </a:lnTo>
                  <a:lnTo>
                    <a:pt x="217539" y="0"/>
                  </a:lnTo>
                  <a:close/>
                  <a:moveTo>
                    <a:pt x="435104" y="0"/>
                  </a:moveTo>
                  <a:lnTo>
                    <a:pt x="435104" y="217539"/>
                  </a:lnTo>
                  <a:lnTo>
                    <a:pt x="217566" y="0"/>
                  </a:lnTo>
                  <a:lnTo>
                    <a:pt x="435104" y="0"/>
                  </a:lnTo>
                  <a:close/>
                  <a:moveTo>
                    <a:pt x="217566" y="435077"/>
                  </a:moveTo>
                  <a:lnTo>
                    <a:pt x="435104" y="217539"/>
                  </a:lnTo>
                  <a:lnTo>
                    <a:pt x="435104" y="435077"/>
                  </a:lnTo>
                  <a:lnTo>
                    <a:pt x="217566" y="435077"/>
                  </a:lnTo>
                  <a:close/>
                  <a:moveTo>
                    <a:pt x="217566" y="435077"/>
                  </a:moveTo>
                  <a:lnTo>
                    <a:pt x="27" y="217539"/>
                  </a:lnTo>
                  <a:lnTo>
                    <a:pt x="27" y="435077"/>
                  </a:lnTo>
                  <a:lnTo>
                    <a:pt x="217566" y="435077"/>
                  </a:lnTo>
                  <a:close/>
                </a:path>
              </a:pathLst>
            </a:custGeom>
            <a:grpFill/>
            <a:ln w="27192" cap="flat">
              <a:noFill/>
              <a:prstDash val="solid"/>
              <a:miter/>
            </a:ln>
          </p:spPr>
          <p:txBody>
            <a:bodyPr rtlCol="0" anchor="ctr"/>
            <a:lstStyle/>
            <a:p>
              <a:endParaRPr lang="uk-UA" sz="900"/>
            </a:p>
          </p:txBody>
        </p:sp>
        <p:sp>
          <p:nvSpPr>
            <p:cNvPr id="370" name="Freeform: Shape 369">
              <a:extLst>
                <a:ext uri="{FF2B5EF4-FFF2-40B4-BE49-F238E27FC236}">
                  <a16:creationId xmlns:a16="http://schemas.microsoft.com/office/drawing/2014/main" id="{E1BD25FF-8C7D-D787-7FED-05A9240782EE}"/>
                </a:ext>
              </a:extLst>
            </p:cNvPr>
            <p:cNvSpPr/>
            <p:nvPr/>
          </p:nvSpPr>
          <p:spPr>
            <a:xfrm>
              <a:off x="4316416" y="1067045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371" name="Freeform: Shape 370">
              <a:extLst>
                <a:ext uri="{FF2B5EF4-FFF2-40B4-BE49-F238E27FC236}">
                  <a16:creationId xmlns:a16="http://schemas.microsoft.com/office/drawing/2014/main" id="{CB2A5D8B-25B5-0A7C-52CF-F03C1C030BDD}"/>
                </a:ext>
              </a:extLst>
            </p:cNvPr>
            <p:cNvSpPr/>
            <p:nvPr/>
          </p:nvSpPr>
          <p:spPr>
            <a:xfrm>
              <a:off x="3446261" y="10670458"/>
              <a:ext cx="435077" cy="435077"/>
            </a:xfrm>
            <a:custGeom>
              <a:avLst/>
              <a:gdLst>
                <a:gd name="connsiteX0" fmla="*/ 371366 w 435077"/>
                <a:gd name="connsiteY0" fmla="*/ 63739 h 435077"/>
                <a:gd name="connsiteX1" fmla="*/ 435077 w 435077"/>
                <a:gd name="connsiteY1" fmla="*/ 217539 h 435077"/>
                <a:gd name="connsiteX2" fmla="*/ 217702 w 435077"/>
                <a:gd name="connsiteY2" fmla="*/ 217539 h 435077"/>
                <a:gd name="connsiteX3" fmla="*/ 371366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6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39"/>
                  </a:moveTo>
                  <a:cubicBezTo>
                    <a:pt x="412154" y="104527"/>
                    <a:pt x="435077" y="159864"/>
                    <a:pt x="435077" y="217539"/>
                  </a:cubicBezTo>
                  <a:lnTo>
                    <a:pt x="217702" y="217539"/>
                  </a:lnTo>
                  <a:cubicBezTo>
                    <a:pt x="275350" y="217593"/>
                    <a:pt x="330605" y="240516"/>
                    <a:pt x="371366" y="281277"/>
                  </a:cubicBezTo>
                  <a:cubicBezTo>
                    <a:pt x="412154" y="322066"/>
                    <a:pt x="435077" y="377402"/>
                    <a:pt x="435077" y="435077"/>
                  </a:cubicBezTo>
                  <a:lnTo>
                    <a:pt x="217539" y="435077"/>
                  </a:lnTo>
                  <a:lnTo>
                    <a:pt x="0" y="435077"/>
                  </a:lnTo>
                  <a:cubicBezTo>
                    <a:pt x="0" y="377402"/>
                    <a:pt x="22923" y="322066"/>
                    <a:pt x="63712" y="281277"/>
                  </a:cubicBezTo>
                  <a:cubicBezTo>
                    <a:pt x="104473" y="240516"/>
                    <a:pt x="159728" y="217593"/>
                    <a:pt x="217376" y="217539"/>
                  </a:cubicBezTo>
                  <a:lnTo>
                    <a:pt x="0" y="217539"/>
                  </a:lnTo>
                  <a:cubicBezTo>
                    <a:pt x="0" y="159864"/>
                    <a:pt x="22923" y="104527"/>
                    <a:pt x="63712" y="63739"/>
                  </a:cubicBezTo>
                  <a:cubicBezTo>
                    <a:pt x="104500" y="22923"/>
                    <a:pt x="159837" y="0"/>
                    <a:pt x="217539" y="0"/>
                  </a:cubicBezTo>
                  <a:cubicBezTo>
                    <a:pt x="275241" y="0"/>
                    <a:pt x="330577" y="22923"/>
                    <a:pt x="371366" y="63739"/>
                  </a:cubicBezTo>
                  <a:close/>
                </a:path>
              </a:pathLst>
            </a:custGeom>
            <a:grpFill/>
            <a:ln w="27192" cap="flat">
              <a:noFill/>
              <a:prstDash val="solid"/>
              <a:miter/>
            </a:ln>
          </p:spPr>
          <p:txBody>
            <a:bodyPr rtlCol="0" anchor="ctr"/>
            <a:lstStyle/>
            <a:p>
              <a:endParaRPr lang="uk-UA" sz="900"/>
            </a:p>
          </p:txBody>
        </p:sp>
        <p:sp>
          <p:nvSpPr>
            <p:cNvPr id="372" name="Freeform: Shape 371">
              <a:extLst>
                <a:ext uri="{FF2B5EF4-FFF2-40B4-BE49-F238E27FC236}">
                  <a16:creationId xmlns:a16="http://schemas.microsoft.com/office/drawing/2014/main" id="{06A9F0DE-AFF1-B3F7-BB10-4928296B2046}"/>
                </a:ext>
              </a:extLst>
            </p:cNvPr>
            <p:cNvSpPr/>
            <p:nvPr/>
          </p:nvSpPr>
          <p:spPr>
            <a:xfrm>
              <a:off x="5186597" y="10670458"/>
              <a:ext cx="435077" cy="435104"/>
            </a:xfrm>
            <a:custGeom>
              <a:avLst/>
              <a:gdLst>
                <a:gd name="connsiteX0" fmla="*/ 0 w 435077"/>
                <a:gd name="connsiteY0" fmla="*/ 435077 h 435104"/>
                <a:gd name="connsiteX1" fmla="*/ 217512 w 435077"/>
                <a:gd name="connsiteY1" fmla="*/ 435077 h 435104"/>
                <a:gd name="connsiteX2" fmla="*/ 217512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12" y="435077"/>
                  </a:lnTo>
                  <a:lnTo>
                    <a:pt x="217512"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373" name="Freeform: Shape 372">
              <a:extLst>
                <a:ext uri="{FF2B5EF4-FFF2-40B4-BE49-F238E27FC236}">
                  <a16:creationId xmlns:a16="http://schemas.microsoft.com/office/drawing/2014/main" id="{CE000EF5-36C6-4327-D337-3696E70CE07F}"/>
                </a:ext>
              </a:extLst>
            </p:cNvPr>
            <p:cNvSpPr/>
            <p:nvPr/>
          </p:nvSpPr>
          <p:spPr>
            <a:xfrm>
              <a:off x="6056752" y="10670458"/>
              <a:ext cx="435077" cy="435077"/>
            </a:xfrm>
            <a:custGeom>
              <a:avLst/>
              <a:gdLst>
                <a:gd name="connsiteX0" fmla="*/ 217539 w 435077"/>
                <a:gd name="connsiteY0" fmla="*/ 0 h 435077"/>
                <a:gd name="connsiteX1" fmla="*/ 217539 w 435077"/>
                <a:gd name="connsiteY1" fmla="*/ 0 h 435077"/>
                <a:gd name="connsiteX2" fmla="*/ 0 w 435077"/>
                <a:gd name="connsiteY2" fmla="*/ 0 h 435077"/>
                <a:gd name="connsiteX3" fmla="*/ 0 w 435077"/>
                <a:gd name="connsiteY3" fmla="*/ 217539 h 435077"/>
                <a:gd name="connsiteX4" fmla="*/ 217539 w 435077"/>
                <a:gd name="connsiteY4" fmla="*/ 27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217539" y="0"/>
                  </a:lnTo>
                  <a:lnTo>
                    <a:pt x="0" y="0"/>
                  </a:lnTo>
                  <a:lnTo>
                    <a:pt x="0" y="217539"/>
                  </a:lnTo>
                  <a:lnTo>
                    <a:pt x="217539" y="27"/>
                  </a:lnTo>
                  <a:lnTo>
                    <a:pt x="435077" y="217539"/>
                  </a:lnTo>
                  <a:lnTo>
                    <a:pt x="217539" y="435077"/>
                  </a:lnTo>
                  <a:lnTo>
                    <a:pt x="0" y="217539"/>
                  </a:lnTo>
                  <a:lnTo>
                    <a:pt x="0" y="435077"/>
                  </a:lnTo>
                  <a:lnTo>
                    <a:pt x="217539" y="435077"/>
                  </a:lnTo>
                  <a:lnTo>
                    <a:pt x="435077" y="435077"/>
                  </a:lnTo>
                  <a:lnTo>
                    <a:pt x="435077" y="217539"/>
                  </a:lnTo>
                  <a:lnTo>
                    <a:pt x="435077" y="0"/>
                  </a:lnTo>
                  <a:lnTo>
                    <a:pt x="217539" y="0"/>
                  </a:lnTo>
                  <a:close/>
                </a:path>
              </a:pathLst>
            </a:custGeom>
            <a:grpFill/>
            <a:ln w="27192" cap="flat">
              <a:noFill/>
              <a:prstDash val="solid"/>
              <a:miter/>
            </a:ln>
          </p:spPr>
          <p:txBody>
            <a:bodyPr rtlCol="0" anchor="ctr"/>
            <a:lstStyle/>
            <a:p>
              <a:endParaRPr lang="uk-UA" sz="900"/>
            </a:p>
          </p:txBody>
        </p:sp>
        <p:sp>
          <p:nvSpPr>
            <p:cNvPr id="374" name="Freeform: Shape 373">
              <a:extLst>
                <a:ext uri="{FF2B5EF4-FFF2-40B4-BE49-F238E27FC236}">
                  <a16:creationId xmlns:a16="http://schemas.microsoft.com/office/drawing/2014/main" id="{8B42A008-4AE7-F39A-67E4-84AE3358E199}"/>
                </a:ext>
              </a:extLst>
            </p:cNvPr>
            <p:cNvSpPr/>
            <p:nvPr/>
          </p:nvSpPr>
          <p:spPr>
            <a:xfrm>
              <a:off x="7797062" y="10670458"/>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27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66 h 435077"/>
                <a:gd name="connsiteX9" fmla="*/ 435077 w 435077"/>
                <a:gd name="connsiteY9" fmla="*/ 217566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27"/>
                  </a:lnTo>
                  <a:lnTo>
                    <a:pt x="435077" y="217539"/>
                  </a:lnTo>
                  <a:lnTo>
                    <a:pt x="435077" y="217539"/>
                  </a:lnTo>
                  <a:lnTo>
                    <a:pt x="435077" y="217539"/>
                  </a:lnTo>
                  <a:lnTo>
                    <a:pt x="435077" y="217566"/>
                  </a:lnTo>
                  <a:lnTo>
                    <a:pt x="435077" y="217566"/>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375" name="Freeform: Shape 374">
              <a:extLst>
                <a:ext uri="{FF2B5EF4-FFF2-40B4-BE49-F238E27FC236}">
                  <a16:creationId xmlns:a16="http://schemas.microsoft.com/office/drawing/2014/main" id="{2D022756-6240-E429-3BB9-0A6E6BEC1324}"/>
                </a:ext>
              </a:extLst>
            </p:cNvPr>
            <p:cNvSpPr/>
            <p:nvPr/>
          </p:nvSpPr>
          <p:spPr>
            <a:xfrm>
              <a:off x="6926907" y="10670458"/>
              <a:ext cx="435077" cy="435077"/>
            </a:xfrm>
            <a:custGeom>
              <a:avLst/>
              <a:gdLst>
                <a:gd name="connsiteX0" fmla="*/ 371366 w 435077"/>
                <a:gd name="connsiteY0" fmla="*/ 63739 h 435077"/>
                <a:gd name="connsiteX1" fmla="*/ 435077 w 435077"/>
                <a:gd name="connsiteY1" fmla="*/ 217539 h 435077"/>
                <a:gd name="connsiteX2" fmla="*/ 217702 w 435077"/>
                <a:gd name="connsiteY2" fmla="*/ 217539 h 435077"/>
                <a:gd name="connsiteX3" fmla="*/ 371366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6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39"/>
                  </a:moveTo>
                  <a:cubicBezTo>
                    <a:pt x="412155" y="104527"/>
                    <a:pt x="435077" y="159864"/>
                    <a:pt x="435077" y="217539"/>
                  </a:cubicBezTo>
                  <a:lnTo>
                    <a:pt x="217702" y="217539"/>
                  </a:lnTo>
                  <a:cubicBezTo>
                    <a:pt x="275350" y="217593"/>
                    <a:pt x="330605" y="240516"/>
                    <a:pt x="371366" y="281277"/>
                  </a:cubicBezTo>
                  <a:cubicBezTo>
                    <a:pt x="412155" y="322066"/>
                    <a:pt x="435077" y="377402"/>
                    <a:pt x="435077" y="435077"/>
                  </a:cubicBezTo>
                  <a:lnTo>
                    <a:pt x="217539" y="435077"/>
                  </a:lnTo>
                  <a:lnTo>
                    <a:pt x="0" y="435077"/>
                  </a:lnTo>
                  <a:cubicBezTo>
                    <a:pt x="0" y="377402"/>
                    <a:pt x="22924" y="322066"/>
                    <a:pt x="63712" y="281277"/>
                  </a:cubicBezTo>
                  <a:cubicBezTo>
                    <a:pt x="104473" y="240516"/>
                    <a:pt x="159728" y="217593"/>
                    <a:pt x="217376" y="217539"/>
                  </a:cubicBezTo>
                  <a:lnTo>
                    <a:pt x="0" y="217539"/>
                  </a:lnTo>
                  <a:cubicBezTo>
                    <a:pt x="0" y="159864"/>
                    <a:pt x="22924" y="104527"/>
                    <a:pt x="63712" y="63739"/>
                  </a:cubicBezTo>
                  <a:cubicBezTo>
                    <a:pt x="104501" y="22923"/>
                    <a:pt x="159837" y="0"/>
                    <a:pt x="217539" y="0"/>
                  </a:cubicBezTo>
                  <a:cubicBezTo>
                    <a:pt x="275241" y="0"/>
                    <a:pt x="330550" y="22923"/>
                    <a:pt x="371366" y="63739"/>
                  </a:cubicBezTo>
                  <a:close/>
                </a:path>
              </a:pathLst>
            </a:custGeom>
            <a:grpFill/>
            <a:ln w="27192" cap="flat">
              <a:noFill/>
              <a:prstDash val="solid"/>
              <a:miter/>
            </a:ln>
          </p:spPr>
          <p:txBody>
            <a:bodyPr rtlCol="0" anchor="ctr"/>
            <a:lstStyle/>
            <a:p>
              <a:endParaRPr lang="uk-UA" sz="900"/>
            </a:p>
          </p:txBody>
        </p:sp>
        <p:sp>
          <p:nvSpPr>
            <p:cNvPr id="376" name="Freeform: Shape 375">
              <a:extLst>
                <a:ext uri="{FF2B5EF4-FFF2-40B4-BE49-F238E27FC236}">
                  <a16:creationId xmlns:a16="http://schemas.microsoft.com/office/drawing/2014/main" id="{B14C534E-F3BE-EFCF-5CA4-4F067C864583}"/>
                </a:ext>
              </a:extLst>
            </p:cNvPr>
            <p:cNvSpPr/>
            <p:nvPr/>
          </p:nvSpPr>
          <p:spPr>
            <a:xfrm>
              <a:off x="8667217" y="1067045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377" name="Freeform: Shape 376">
              <a:extLst>
                <a:ext uri="{FF2B5EF4-FFF2-40B4-BE49-F238E27FC236}">
                  <a16:creationId xmlns:a16="http://schemas.microsoft.com/office/drawing/2014/main" id="{E0F6F510-58BC-68E3-F943-C8204B6F7898}"/>
                </a:ext>
              </a:extLst>
            </p:cNvPr>
            <p:cNvSpPr/>
            <p:nvPr/>
          </p:nvSpPr>
          <p:spPr>
            <a:xfrm>
              <a:off x="9537371" y="1067045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p>
          </p:txBody>
        </p:sp>
        <p:sp>
          <p:nvSpPr>
            <p:cNvPr id="378" name="Freeform: Shape 377">
              <a:extLst>
                <a:ext uri="{FF2B5EF4-FFF2-40B4-BE49-F238E27FC236}">
                  <a16:creationId xmlns:a16="http://schemas.microsoft.com/office/drawing/2014/main" id="{6BB5AD26-429B-18D9-1FA7-32EBE5C7B87A}"/>
                </a:ext>
              </a:extLst>
            </p:cNvPr>
            <p:cNvSpPr/>
            <p:nvPr/>
          </p:nvSpPr>
          <p:spPr>
            <a:xfrm>
              <a:off x="11277709" y="10670458"/>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27 h 435077"/>
                <a:gd name="connsiteX5" fmla="*/ 435049 w 435077"/>
                <a:gd name="connsiteY5" fmla="*/ 217539 h 435077"/>
                <a:gd name="connsiteX6" fmla="*/ 435077 w 435077"/>
                <a:gd name="connsiteY6" fmla="*/ 217539 h 435077"/>
                <a:gd name="connsiteX7" fmla="*/ 435049 w 435077"/>
                <a:gd name="connsiteY7" fmla="*/ 217539 h 435077"/>
                <a:gd name="connsiteX8" fmla="*/ 435077 w 435077"/>
                <a:gd name="connsiteY8" fmla="*/ 217566 h 435077"/>
                <a:gd name="connsiteX9" fmla="*/ 435049 w 435077"/>
                <a:gd name="connsiteY9" fmla="*/ 217566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27"/>
                  </a:lnTo>
                  <a:lnTo>
                    <a:pt x="435049" y="217539"/>
                  </a:lnTo>
                  <a:lnTo>
                    <a:pt x="435077" y="217539"/>
                  </a:lnTo>
                  <a:lnTo>
                    <a:pt x="435049" y="217539"/>
                  </a:lnTo>
                  <a:lnTo>
                    <a:pt x="435077" y="217566"/>
                  </a:lnTo>
                  <a:lnTo>
                    <a:pt x="435049" y="217566"/>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379" name="Freeform: Shape 378">
              <a:extLst>
                <a:ext uri="{FF2B5EF4-FFF2-40B4-BE49-F238E27FC236}">
                  <a16:creationId xmlns:a16="http://schemas.microsoft.com/office/drawing/2014/main" id="{B8210F42-532D-AD35-5420-7A2E07BE2CEE}"/>
                </a:ext>
              </a:extLst>
            </p:cNvPr>
            <p:cNvSpPr/>
            <p:nvPr/>
          </p:nvSpPr>
          <p:spPr>
            <a:xfrm>
              <a:off x="10407526" y="10670458"/>
              <a:ext cx="435104" cy="435077"/>
            </a:xfrm>
            <a:custGeom>
              <a:avLst/>
              <a:gdLst>
                <a:gd name="connsiteX0" fmla="*/ 371366 w 435104"/>
                <a:gd name="connsiteY0" fmla="*/ 63739 h 435077"/>
                <a:gd name="connsiteX1" fmla="*/ 435077 w 435104"/>
                <a:gd name="connsiteY1" fmla="*/ 217539 h 435077"/>
                <a:gd name="connsiteX2" fmla="*/ 217730 w 435104"/>
                <a:gd name="connsiteY2" fmla="*/ 217539 h 435077"/>
                <a:gd name="connsiteX3" fmla="*/ 371366 w 435104"/>
                <a:gd name="connsiteY3" fmla="*/ 281277 h 435077"/>
                <a:gd name="connsiteX4" fmla="*/ 435105 w 435104"/>
                <a:gd name="connsiteY4" fmla="*/ 435077 h 435077"/>
                <a:gd name="connsiteX5" fmla="*/ 217566 w 435104"/>
                <a:gd name="connsiteY5" fmla="*/ 435077 h 435077"/>
                <a:gd name="connsiteX6" fmla="*/ 27 w 435104"/>
                <a:gd name="connsiteY6" fmla="*/ 435077 h 435077"/>
                <a:gd name="connsiteX7" fmla="*/ 63739 w 435104"/>
                <a:gd name="connsiteY7" fmla="*/ 281277 h 435077"/>
                <a:gd name="connsiteX8" fmla="*/ 217376 w 435104"/>
                <a:gd name="connsiteY8" fmla="*/ 217539 h 435077"/>
                <a:gd name="connsiteX9" fmla="*/ 0 w 435104"/>
                <a:gd name="connsiteY9" fmla="*/ 217539 h 435077"/>
                <a:gd name="connsiteX10" fmla="*/ 63739 w 435104"/>
                <a:gd name="connsiteY10" fmla="*/ 63739 h 435077"/>
                <a:gd name="connsiteX11" fmla="*/ 217539 w 435104"/>
                <a:gd name="connsiteY11" fmla="*/ 0 h 435077"/>
                <a:gd name="connsiteX12" fmla="*/ 371366 w 435104"/>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4" h="435077">
                  <a:moveTo>
                    <a:pt x="371366" y="63739"/>
                  </a:moveTo>
                  <a:cubicBezTo>
                    <a:pt x="412182" y="104527"/>
                    <a:pt x="435077" y="159864"/>
                    <a:pt x="435077" y="217539"/>
                  </a:cubicBezTo>
                  <a:lnTo>
                    <a:pt x="217730" y="217539"/>
                  </a:lnTo>
                  <a:cubicBezTo>
                    <a:pt x="275350" y="217593"/>
                    <a:pt x="330632" y="240516"/>
                    <a:pt x="371366" y="281277"/>
                  </a:cubicBezTo>
                  <a:cubicBezTo>
                    <a:pt x="412182" y="322066"/>
                    <a:pt x="435105" y="377402"/>
                    <a:pt x="435105" y="435077"/>
                  </a:cubicBezTo>
                  <a:lnTo>
                    <a:pt x="217566" y="435077"/>
                  </a:lnTo>
                  <a:lnTo>
                    <a:pt x="27" y="435077"/>
                  </a:lnTo>
                  <a:cubicBezTo>
                    <a:pt x="27" y="377402"/>
                    <a:pt x="22924" y="322066"/>
                    <a:pt x="63739" y="281277"/>
                  </a:cubicBezTo>
                  <a:cubicBezTo>
                    <a:pt x="104501" y="240516"/>
                    <a:pt x="159755" y="217593"/>
                    <a:pt x="217376" y="217539"/>
                  </a:cubicBezTo>
                  <a:lnTo>
                    <a:pt x="0" y="217539"/>
                  </a:lnTo>
                  <a:cubicBezTo>
                    <a:pt x="0" y="159864"/>
                    <a:pt x="22924" y="104527"/>
                    <a:pt x="63739" y="63739"/>
                  </a:cubicBezTo>
                  <a:cubicBezTo>
                    <a:pt x="104527" y="22923"/>
                    <a:pt x="159864" y="0"/>
                    <a:pt x="217539" y="0"/>
                  </a:cubicBezTo>
                  <a:cubicBezTo>
                    <a:pt x="275241" y="0"/>
                    <a:pt x="330578" y="22923"/>
                    <a:pt x="371366" y="63739"/>
                  </a:cubicBezTo>
                  <a:close/>
                </a:path>
              </a:pathLst>
            </a:custGeom>
            <a:grpFill/>
            <a:ln w="27192" cap="flat">
              <a:noFill/>
              <a:prstDash val="solid"/>
              <a:miter/>
            </a:ln>
          </p:spPr>
          <p:txBody>
            <a:bodyPr rtlCol="0" anchor="ctr"/>
            <a:lstStyle/>
            <a:p>
              <a:endParaRPr lang="uk-UA" sz="900"/>
            </a:p>
          </p:txBody>
        </p:sp>
        <p:sp>
          <p:nvSpPr>
            <p:cNvPr id="380" name="Freeform: Shape 379">
              <a:extLst>
                <a:ext uri="{FF2B5EF4-FFF2-40B4-BE49-F238E27FC236}">
                  <a16:creationId xmlns:a16="http://schemas.microsoft.com/office/drawing/2014/main" id="{BB9E6442-99EC-47CA-40DE-0E5EE0318316}"/>
                </a:ext>
              </a:extLst>
            </p:cNvPr>
            <p:cNvSpPr/>
            <p:nvPr/>
          </p:nvSpPr>
          <p:spPr>
            <a:xfrm>
              <a:off x="12147864" y="1067045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381" name="Freeform: Shape 380">
              <a:extLst>
                <a:ext uri="{FF2B5EF4-FFF2-40B4-BE49-F238E27FC236}">
                  <a16:creationId xmlns:a16="http://schemas.microsoft.com/office/drawing/2014/main" id="{09F62C5A-AADF-6FA9-7681-041E21DA6082}"/>
                </a:ext>
              </a:extLst>
            </p:cNvPr>
            <p:cNvSpPr/>
            <p:nvPr/>
          </p:nvSpPr>
          <p:spPr>
            <a:xfrm>
              <a:off x="13018045" y="1067045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382" name="Freeform: Shape 381">
              <a:extLst>
                <a:ext uri="{FF2B5EF4-FFF2-40B4-BE49-F238E27FC236}">
                  <a16:creationId xmlns:a16="http://schemas.microsoft.com/office/drawing/2014/main" id="{3AC30AAE-6DB3-BCD4-F85F-C49F4C6E7553}"/>
                </a:ext>
              </a:extLst>
            </p:cNvPr>
            <p:cNvSpPr/>
            <p:nvPr/>
          </p:nvSpPr>
          <p:spPr>
            <a:xfrm>
              <a:off x="14758328" y="1067045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383" name="Freeform: Shape 382">
              <a:extLst>
                <a:ext uri="{FF2B5EF4-FFF2-40B4-BE49-F238E27FC236}">
                  <a16:creationId xmlns:a16="http://schemas.microsoft.com/office/drawing/2014/main" id="{DAD43225-7487-E2BD-7B3D-F8A760CDA52F}"/>
                </a:ext>
              </a:extLst>
            </p:cNvPr>
            <p:cNvSpPr/>
            <p:nvPr/>
          </p:nvSpPr>
          <p:spPr>
            <a:xfrm>
              <a:off x="13888200" y="10670458"/>
              <a:ext cx="435077" cy="435077"/>
            </a:xfrm>
            <a:custGeom>
              <a:avLst/>
              <a:gdLst>
                <a:gd name="connsiteX0" fmla="*/ 371365 w 435077"/>
                <a:gd name="connsiteY0" fmla="*/ 63739 h 435077"/>
                <a:gd name="connsiteX1" fmla="*/ 435077 w 435077"/>
                <a:gd name="connsiteY1" fmla="*/ 217539 h 435077"/>
                <a:gd name="connsiteX2" fmla="*/ 217730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39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5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39"/>
                  </a:moveTo>
                  <a:cubicBezTo>
                    <a:pt x="412154" y="104527"/>
                    <a:pt x="435077" y="159864"/>
                    <a:pt x="435077" y="217539"/>
                  </a:cubicBezTo>
                  <a:lnTo>
                    <a:pt x="217730" y="217539"/>
                  </a:lnTo>
                  <a:cubicBezTo>
                    <a:pt x="275349" y="217593"/>
                    <a:pt x="330605" y="240516"/>
                    <a:pt x="371365" y="281277"/>
                  </a:cubicBezTo>
                  <a:cubicBezTo>
                    <a:pt x="412182" y="322066"/>
                    <a:pt x="435077" y="377402"/>
                    <a:pt x="435077" y="435077"/>
                  </a:cubicBezTo>
                  <a:lnTo>
                    <a:pt x="217539" y="435077"/>
                  </a:lnTo>
                  <a:lnTo>
                    <a:pt x="0" y="435077"/>
                  </a:lnTo>
                  <a:cubicBezTo>
                    <a:pt x="0" y="377402"/>
                    <a:pt x="22924" y="322066"/>
                    <a:pt x="63739" y="281277"/>
                  </a:cubicBezTo>
                  <a:cubicBezTo>
                    <a:pt x="104472" y="240516"/>
                    <a:pt x="159755" y="217593"/>
                    <a:pt x="217376" y="217539"/>
                  </a:cubicBezTo>
                  <a:lnTo>
                    <a:pt x="0" y="217539"/>
                  </a:lnTo>
                  <a:cubicBezTo>
                    <a:pt x="0" y="159864"/>
                    <a:pt x="22924" y="104527"/>
                    <a:pt x="63712" y="63739"/>
                  </a:cubicBezTo>
                  <a:cubicBezTo>
                    <a:pt x="104527" y="22923"/>
                    <a:pt x="159836" y="0"/>
                    <a:pt x="217539" y="0"/>
                  </a:cubicBezTo>
                  <a:cubicBezTo>
                    <a:pt x="275241" y="0"/>
                    <a:pt x="330577" y="22923"/>
                    <a:pt x="371365" y="63739"/>
                  </a:cubicBezTo>
                  <a:close/>
                </a:path>
              </a:pathLst>
            </a:custGeom>
            <a:grpFill/>
            <a:ln w="27192" cap="flat">
              <a:noFill/>
              <a:prstDash val="solid"/>
              <a:miter/>
            </a:ln>
          </p:spPr>
          <p:txBody>
            <a:bodyPr rtlCol="0" anchor="ctr"/>
            <a:lstStyle/>
            <a:p>
              <a:endParaRPr lang="uk-UA" sz="900"/>
            </a:p>
          </p:txBody>
        </p:sp>
        <p:sp>
          <p:nvSpPr>
            <p:cNvPr id="384" name="Freeform: Shape 383">
              <a:extLst>
                <a:ext uri="{FF2B5EF4-FFF2-40B4-BE49-F238E27FC236}">
                  <a16:creationId xmlns:a16="http://schemas.microsoft.com/office/drawing/2014/main" id="{50446D0F-85B8-1156-260F-0160CB036C8A}"/>
                </a:ext>
              </a:extLst>
            </p:cNvPr>
            <p:cNvSpPr/>
            <p:nvPr/>
          </p:nvSpPr>
          <p:spPr>
            <a:xfrm>
              <a:off x="15628536" y="1067045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385" name="Freeform: Shape 384">
              <a:extLst>
                <a:ext uri="{FF2B5EF4-FFF2-40B4-BE49-F238E27FC236}">
                  <a16:creationId xmlns:a16="http://schemas.microsoft.com/office/drawing/2014/main" id="{5F7EEA66-4420-A54F-575B-E1D8DF4D81B5}"/>
                </a:ext>
              </a:extLst>
            </p:cNvPr>
            <p:cNvSpPr/>
            <p:nvPr/>
          </p:nvSpPr>
          <p:spPr>
            <a:xfrm>
              <a:off x="16498691" y="10670458"/>
              <a:ext cx="435077" cy="435077"/>
            </a:xfrm>
            <a:custGeom>
              <a:avLst/>
              <a:gdLst>
                <a:gd name="connsiteX0" fmla="*/ 217567 w 435077"/>
                <a:gd name="connsiteY0" fmla="*/ 0 h 435077"/>
                <a:gd name="connsiteX1" fmla="*/ 217539 w 435077"/>
                <a:gd name="connsiteY1" fmla="*/ 0 h 435077"/>
                <a:gd name="connsiteX2" fmla="*/ 28 w 435077"/>
                <a:gd name="connsiteY2" fmla="*/ 0 h 435077"/>
                <a:gd name="connsiteX3" fmla="*/ 28 w 435077"/>
                <a:gd name="connsiteY3" fmla="*/ 217539 h 435077"/>
                <a:gd name="connsiteX4" fmla="*/ 217567 w 435077"/>
                <a:gd name="connsiteY4" fmla="*/ 27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67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67" y="0"/>
                  </a:moveTo>
                  <a:lnTo>
                    <a:pt x="217539" y="0"/>
                  </a:lnTo>
                  <a:lnTo>
                    <a:pt x="28" y="0"/>
                  </a:lnTo>
                  <a:lnTo>
                    <a:pt x="28" y="217539"/>
                  </a:lnTo>
                  <a:lnTo>
                    <a:pt x="217567" y="27"/>
                  </a:lnTo>
                  <a:lnTo>
                    <a:pt x="435077" y="217539"/>
                  </a:lnTo>
                  <a:lnTo>
                    <a:pt x="217539" y="435077"/>
                  </a:lnTo>
                  <a:lnTo>
                    <a:pt x="0" y="217539"/>
                  </a:lnTo>
                  <a:lnTo>
                    <a:pt x="0" y="435077"/>
                  </a:lnTo>
                  <a:lnTo>
                    <a:pt x="217539" y="435077"/>
                  </a:lnTo>
                  <a:lnTo>
                    <a:pt x="435077" y="435077"/>
                  </a:lnTo>
                  <a:lnTo>
                    <a:pt x="435077" y="217539"/>
                  </a:lnTo>
                  <a:lnTo>
                    <a:pt x="435077" y="0"/>
                  </a:lnTo>
                  <a:lnTo>
                    <a:pt x="217567" y="0"/>
                  </a:lnTo>
                  <a:close/>
                </a:path>
              </a:pathLst>
            </a:custGeom>
            <a:grpFill/>
            <a:ln w="27192" cap="flat">
              <a:noFill/>
              <a:prstDash val="solid"/>
              <a:miter/>
            </a:ln>
          </p:spPr>
          <p:txBody>
            <a:bodyPr rtlCol="0" anchor="ctr"/>
            <a:lstStyle/>
            <a:p>
              <a:endParaRPr lang="uk-UA" sz="900"/>
            </a:p>
          </p:txBody>
        </p:sp>
        <p:sp>
          <p:nvSpPr>
            <p:cNvPr id="386" name="Freeform: Shape 385">
              <a:extLst>
                <a:ext uri="{FF2B5EF4-FFF2-40B4-BE49-F238E27FC236}">
                  <a16:creationId xmlns:a16="http://schemas.microsoft.com/office/drawing/2014/main" id="{604A788F-CBBE-AF19-7EDD-B81893C8AF57}"/>
                </a:ext>
              </a:extLst>
            </p:cNvPr>
            <p:cNvSpPr/>
            <p:nvPr/>
          </p:nvSpPr>
          <p:spPr>
            <a:xfrm>
              <a:off x="18239029" y="1067045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387" name="Freeform: Shape 386">
              <a:extLst>
                <a:ext uri="{FF2B5EF4-FFF2-40B4-BE49-F238E27FC236}">
                  <a16:creationId xmlns:a16="http://schemas.microsoft.com/office/drawing/2014/main" id="{6007FDD5-E505-6146-B8E2-87A877F6EAFF}"/>
                </a:ext>
              </a:extLst>
            </p:cNvPr>
            <p:cNvSpPr/>
            <p:nvPr/>
          </p:nvSpPr>
          <p:spPr>
            <a:xfrm>
              <a:off x="17368874" y="10670458"/>
              <a:ext cx="435077" cy="435077"/>
            </a:xfrm>
            <a:custGeom>
              <a:avLst/>
              <a:gdLst>
                <a:gd name="connsiteX0" fmla="*/ 371339 w 435077"/>
                <a:gd name="connsiteY0" fmla="*/ 63739 h 435077"/>
                <a:gd name="connsiteX1" fmla="*/ 435077 w 435077"/>
                <a:gd name="connsiteY1" fmla="*/ 217539 h 435077"/>
                <a:gd name="connsiteX2" fmla="*/ 217701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0 w 435077"/>
                <a:gd name="connsiteY7" fmla="*/ 281277 h 435077"/>
                <a:gd name="connsiteX8" fmla="*/ 217374 w 435077"/>
                <a:gd name="connsiteY8" fmla="*/ 217539 h 435077"/>
                <a:gd name="connsiteX9" fmla="*/ 0 w 435077"/>
                <a:gd name="connsiteY9" fmla="*/ 217539 h 435077"/>
                <a:gd name="connsiteX10" fmla="*/ 63710 w 435077"/>
                <a:gd name="connsiteY10" fmla="*/ 63739 h 435077"/>
                <a:gd name="connsiteX11" fmla="*/ 217539 w 435077"/>
                <a:gd name="connsiteY11" fmla="*/ 0 h 435077"/>
                <a:gd name="connsiteX12" fmla="*/ 371339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39"/>
                  </a:moveTo>
                  <a:cubicBezTo>
                    <a:pt x="412154" y="104527"/>
                    <a:pt x="435077" y="159864"/>
                    <a:pt x="435077" y="217539"/>
                  </a:cubicBezTo>
                  <a:lnTo>
                    <a:pt x="217701" y="217539"/>
                  </a:lnTo>
                  <a:cubicBezTo>
                    <a:pt x="275322" y="217593"/>
                    <a:pt x="330603" y="240516"/>
                    <a:pt x="371365" y="281277"/>
                  </a:cubicBezTo>
                  <a:cubicBezTo>
                    <a:pt x="412154" y="322066"/>
                    <a:pt x="435077" y="377402"/>
                    <a:pt x="435077" y="435077"/>
                  </a:cubicBezTo>
                  <a:lnTo>
                    <a:pt x="217539" y="435077"/>
                  </a:lnTo>
                  <a:lnTo>
                    <a:pt x="0" y="435077"/>
                  </a:lnTo>
                  <a:cubicBezTo>
                    <a:pt x="0" y="377402"/>
                    <a:pt x="22922" y="322066"/>
                    <a:pt x="63710" y="281277"/>
                  </a:cubicBezTo>
                  <a:cubicBezTo>
                    <a:pt x="104472" y="240516"/>
                    <a:pt x="159727" y="217593"/>
                    <a:pt x="217374" y="217539"/>
                  </a:cubicBezTo>
                  <a:lnTo>
                    <a:pt x="0" y="217539"/>
                  </a:lnTo>
                  <a:cubicBezTo>
                    <a:pt x="0" y="159864"/>
                    <a:pt x="22895" y="104527"/>
                    <a:pt x="63710" y="63739"/>
                  </a:cubicBezTo>
                  <a:cubicBezTo>
                    <a:pt x="104499" y="22923"/>
                    <a:pt x="159836" y="0"/>
                    <a:pt x="217539" y="0"/>
                  </a:cubicBezTo>
                  <a:cubicBezTo>
                    <a:pt x="275213" y="0"/>
                    <a:pt x="330550" y="22923"/>
                    <a:pt x="371339" y="63739"/>
                  </a:cubicBezTo>
                  <a:close/>
                </a:path>
              </a:pathLst>
            </a:custGeom>
            <a:grpFill/>
            <a:ln w="27192" cap="flat">
              <a:noFill/>
              <a:prstDash val="solid"/>
              <a:miter/>
            </a:ln>
          </p:spPr>
          <p:txBody>
            <a:bodyPr rtlCol="0" anchor="ctr"/>
            <a:lstStyle/>
            <a:p>
              <a:endParaRPr lang="uk-UA" sz="900"/>
            </a:p>
          </p:txBody>
        </p:sp>
        <p:sp>
          <p:nvSpPr>
            <p:cNvPr id="388" name="Freeform: Shape 387">
              <a:extLst>
                <a:ext uri="{FF2B5EF4-FFF2-40B4-BE49-F238E27FC236}">
                  <a16:creationId xmlns:a16="http://schemas.microsoft.com/office/drawing/2014/main" id="{CBB063E0-31AC-1129-A399-56E1223B9608}"/>
                </a:ext>
              </a:extLst>
            </p:cNvPr>
            <p:cNvSpPr/>
            <p:nvPr/>
          </p:nvSpPr>
          <p:spPr>
            <a:xfrm>
              <a:off x="19109184" y="1067045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65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65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65" y="435105"/>
                  </a:lnTo>
                  <a:lnTo>
                    <a:pt x="435077" y="217566"/>
                  </a:lnTo>
                  <a:lnTo>
                    <a:pt x="435077" y="435105"/>
                  </a:lnTo>
                  <a:close/>
                  <a:moveTo>
                    <a:pt x="435077" y="27"/>
                  </a:moveTo>
                  <a:lnTo>
                    <a:pt x="217565"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389" name="Freeform: Shape 388">
              <a:extLst>
                <a:ext uri="{FF2B5EF4-FFF2-40B4-BE49-F238E27FC236}">
                  <a16:creationId xmlns:a16="http://schemas.microsoft.com/office/drawing/2014/main" id="{31B134E7-9D95-D2F8-D83F-E9FB62FBF92D}"/>
                </a:ext>
              </a:extLst>
            </p:cNvPr>
            <p:cNvSpPr/>
            <p:nvPr/>
          </p:nvSpPr>
          <p:spPr>
            <a:xfrm>
              <a:off x="19979365" y="1067045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390" name="Freeform: Shape 389">
              <a:extLst>
                <a:ext uri="{FF2B5EF4-FFF2-40B4-BE49-F238E27FC236}">
                  <a16:creationId xmlns:a16="http://schemas.microsoft.com/office/drawing/2014/main" id="{AE6F31C6-DC6A-DF25-2839-6998A92F2E33}"/>
                </a:ext>
              </a:extLst>
            </p:cNvPr>
            <p:cNvSpPr/>
            <p:nvPr/>
          </p:nvSpPr>
          <p:spPr>
            <a:xfrm>
              <a:off x="21719675" y="1067045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391" name="Freeform: Shape 390">
              <a:extLst>
                <a:ext uri="{FF2B5EF4-FFF2-40B4-BE49-F238E27FC236}">
                  <a16:creationId xmlns:a16="http://schemas.microsoft.com/office/drawing/2014/main" id="{4564816A-BA59-86E2-554B-2DF3AE8BA3A0}"/>
                </a:ext>
              </a:extLst>
            </p:cNvPr>
            <p:cNvSpPr/>
            <p:nvPr/>
          </p:nvSpPr>
          <p:spPr>
            <a:xfrm>
              <a:off x="20849520" y="10670458"/>
              <a:ext cx="435077" cy="435077"/>
            </a:xfrm>
            <a:custGeom>
              <a:avLst/>
              <a:gdLst>
                <a:gd name="connsiteX0" fmla="*/ 371365 w 435077"/>
                <a:gd name="connsiteY0" fmla="*/ 63739 h 435077"/>
                <a:gd name="connsiteX1" fmla="*/ 435077 w 435077"/>
                <a:gd name="connsiteY1" fmla="*/ 217539 h 435077"/>
                <a:gd name="connsiteX2" fmla="*/ 217701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5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39"/>
                  </a:moveTo>
                  <a:cubicBezTo>
                    <a:pt x="412154" y="104527"/>
                    <a:pt x="435077" y="159864"/>
                    <a:pt x="435077" y="217539"/>
                  </a:cubicBezTo>
                  <a:lnTo>
                    <a:pt x="217701" y="217539"/>
                  </a:lnTo>
                  <a:cubicBezTo>
                    <a:pt x="275349" y="217593"/>
                    <a:pt x="330605" y="240516"/>
                    <a:pt x="371365" y="281277"/>
                  </a:cubicBezTo>
                  <a:cubicBezTo>
                    <a:pt x="412154" y="322066"/>
                    <a:pt x="435077" y="377402"/>
                    <a:pt x="435077" y="435077"/>
                  </a:cubicBezTo>
                  <a:lnTo>
                    <a:pt x="217539" y="435077"/>
                  </a:lnTo>
                  <a:lnTo>
                    <a:pt x="0" y="435077"/>
                  </a:lnTo>
                  <a:cubicBezTo>
                    <a:pt x="0" y="377402"/>
                    <a:pt x="22924" y="322066"/>
                    <a:pt x="63712" y="281277"/>
                  </a:cubicBezTo>
                  <a:cubicBezTo>
                    <a:pt x="104472" y="240516"/>
                    <a:pt x="159755" y="217593"/>
                    <a:pt x="217376" y="217539"/>
                  </a:cubicBezTo>
                  <a:lnTo>
                    <a:pt x="0" y="217539"/>
                  </a:lnTo>
                  <a:cubicBezTo>
                    <a:pt x="0" y="159864"/>
                    <a:pt x="22924" y="104527"/>
                    <a:pt x="63712" y="63739"/>
                  </a:cubicBezTo>
                  <a:cubicBezTo>
                    <a:pt x="104501" y="22923"/>
                    <a:pt x="159836" y="0"/>
                    <a:pt x="217539" y="0"/>
                  </a:cubicBezTo>
                  <a:cubicBezTo>
                    <a:pt x="275241" y="0"/>
                    <a:pt x="330577" y="22923"/>
                    <a:pt x="371365" y="63739"/>
                  </a:cubicBezTo>
                  <a:close/>
                </a:path>
              </a:pathLst>
            </a:custGeom>
            <a:grpFill/>
            <a:ln w="27192" cap="flat">
              <a:noFill/>
              <a:prstDash val="solid"/>
              <a:miter/>
            </a:ln>
          </p:spPr>
          <p:txBody>
            <a:bodyPr rtlCol="0" anchor="ctr"/>
            <a:lstStyle/>
            <a:p>
              <a:endParaRPr lang="uk-UA" sz="900"/>
            </a:p>
          </p:txBody>
        </p:sp>
        <p:sp>
          <p:nvSpPr>
            <p:cNvPr id="392" name="Freeform: Shape 391">
              <a:extLst>
                <a:ext uri="{FF2B5EF4-FFF2-40B4-BE49-F238E27FC236}">
                  <a16:creationId xmlns:a16="http://schemas.microsoft.com/office/drawing/2014/main" id="{CB6E4490-8969-B68A-9F9A-232FF67EB4F9}"/>
                </a:ext>
              </a:extLst>
            </p:cNvPr>
            <p:cNvSpPr/>
            <p:nvPr/>
          </p:nvSpPr>
          <p:spPr>
            <a:xfrm>
              <a:off x="22589856" y="1067045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393" name="Freeform: Shape 392">
              <a:extLst>
                <a:ext uri="{FF2B5EF4-FFF2-40B4-BE49-F238E27FC236}">
                  <a16:creationId xmlns:a16="http://schemas.microsoft.com/office/drawing/2014/main" id="{6365B678-1274-7360-0624-81B365870A56}"/>
                </a:ext>
              </a:extLst>
            </p:cNvPr>
            <p:cNvSpPr/>
            <p:nvPr/>
          </p:nvSpPr>
          <p:spPr>
            <a:xfrm>
              <a:off x="23460011" y="10670458"/>
              <a:ext cx="435105" cy="435077"/>
            </a:xfrm>
            <a:custGeom>
              <a:avLst/>
              <a:gdLst>
                <a:gd name="connsiteX0" fmla="*/ 217539 w 435105"/>
                <a:gd name="connsiteY0" fmla="*/ 0 h 435077"/>
                <a:gd name="connsiteX1" fmla="*/ 0 w 435105"/>
                <a:gd name="connsiteY1" fmla="*/ 0 h 435077"/>
                <a:gd name="connsiteX2" fmla="*/ 0 w 435105"/>
                <a:gd name="connsiteY2" fmla="*/ 217539 h 435077"/>
                <a:gd name="connsiteX3" fmla="*/ 217539 w 435105"/>
                <a:gd name="connsiteY3" fmla="*/ 0 h 435077"/>
                <a:gd name="connsiteX4" fmla="*/ 435106 w 435105"/>
                <a:gd name="connsiteY4" fmla="*/ 27 h 435077"/>
                <a:gd name="connsiteX5" fmla="*/ 435106 w 435105"/>
                <a:gd name="connsiteY5" fmla="*/ 217566 h 435077"/>
                <a:gd name="connsiteX6" fmla="*/ 217567 w 435105"/>
                <a:gd name="connsiteY6" fmla="*/ 27 h 435077"/>
                <a:gd name="connsiteX7" fmla="*/ 435106 w 435105"/>
                <a:gd name="connsiteY7" fmla="*/ 27 h 435077"/>
                <a:gd name="connsiteX8" fmla="*/ 217567 w 435105"/>
                <a:gd name="connsiteY8" fmla="*/ 435077 h 435077"/>
                <a:gd name="connsiteX9" fmla="*/ 435106 w 435105"/>
                <a:gd name="connsiteY9" fmla="*/ 217566 h 435077"/>
                <a:gd name="connsiteX10" fmla="*/ 435106 w 435105"/>
                <a:gd name="connsiteY10" fmla="*/ 435077 h 435077"/>
                <a:gd name="connsiteX11" fmla="*/ 217567 w 435105"/>
                <a:gd name="connsiteY11" fmla="*/ 435077 h 435077"/>
                <a:gd name="connsiteX12" fmla="*/ 217567 w 435105"/>
                <a:gd name="connsiteY12" fmla="*/ 435077 h 435077"/>
                <a:gd name="connsiteX13" fmla="*/ 28 w 435105"/>
                <a:gd name="connsiteY13" fmla="*/ 217566 h 435077"/>
                <a:gd name="connsiteX14" fmla="*/ 28 w 435105"/>
                <a:gd name="connsiteY14" fmla="*/ 435077 h 435077"/>
                <a:gd name="connsiteX15" fmla="*/ 217567 w 435105"/>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5" h="435077">
                  <a:moveTo>
                    <a:pt x="217539" y="0"/>
                  </a:moveTo>
                  <a:lnTo>
                    <a:pt x="0" y="0"/>
                  </a:lnTo>
                  <a:lnTo>
                    <a:pt x="0" y="217539"/>
                  </a:lnTo>
                  <a:lnTo>
                    <a:pt x="217539" y="0"/>
                  </a:lnTo>
                  <a:close/>
                  <a:moveTo>
                    <a:pt x="435106" y="27"/>
                  </a:moveTo>
                  <a:lnTo>
                    <a:pt x="435106" y="217566"/>
                  </a:lnTo>
                  <a:lnTo>
                    <a:pt x="217567" y="27"/>
                  </a:lnTo>
                  <a:lnTo>
                    <a:pt x="435106" y="27"/>
                  </a:lnTo>
                  <a:close/>
                  <a:moveTo>
                    <a:pt x="217567" y="435077"/>
                  </a:moveTo>
                  <a:lnTo>
                    <a:pt x="435106" y="217566"/>
                  </a:lnTo>
                  <a:lnTo>
                    <a:pt x="435106" y="435077"/>
                  </a:lnTo>
                  <a:lnTo>
                    <a:pt x="217567" y="435077"/>
                  </a:lnTo>
                  <a:close/>
                  <a:moveTo>
                    <a:pt x="217567" y="435077"/>
                  </a:moveTo>
                  <a:lnTo>
                    <a:pt x="28" y="217566"/>
                  </a:lnTo>
                  <a:lnTo>
                    <a:pt x="28" y="435077"/>
                  </a:lnTo>
                  <a:lnTo>
                    <a:pt x="217567" y="435077"/>
                  </a:lnTo>
                  <a:close/>
                </a:path>
              </a:pathLst>
            </a:custGeom>
            <a:grpFill/>
            <a:ln w="27192" cap="flat">
              <a:noFill/>
              <a:prstDash val="solid"/>
              <a:miter/>
            </a:ln>
          </p:spPr>
          <p:txBody>
            <a:bodyPr rtlCol="0" anchor="ctr"/>
            <a:lstStyle/>
            <a:p>
              <a:endParaRPr lang="uk-UA" sz="900"/>
            </a:p>
          </p:txBody>
        </p:sp>
        <p:sp>
          <p:nvSpPr>
            <p:cNvPr id="394" name="Freeform: Shape 393">
              <a:extLst>
                <a:ext uri="{FF2B5EF4-FFF2-40B4-BE49-F238E27FC236}">
                  <a16:creationId xmlns:a16="http://schemas.microsoft.com/office/drawing/2014/main" id="{262682A1-CCD8-A4F4-D5AE-42905C11436D}"/>
                </a:ext>
              </a:extLst>
            </p:cNvPr>
            <p:cNvSpPr/>
            <p:nvPr/>
          </p:nvSpPr>
          <p:spPr>
            <a:xfrm>
              <a:off x="24330194" y="10670458"/>
              <a:ext cx="435077" cy="435077"/>
            </a:xfrm>
            <a:custGeom>
              <a:avLst/>
              <a:gdLst>
                <a:gd name="connsiteX0" fmla="*/ 371447 w 435077"/>
                <a:gd name="connsiteY0" fmla="*/ 63739 h 435077"/>
                <a:gd name="connsiteX1" fmla="*/ 435077 w 435077"/>
                <a:gd name="connsiteY1" fmla="*/ 217539 h 435077"/>
                <a:gd name="connsiteX2" fmla="*/ 217811 w 435077"/>
                <a:gd name="connsiteY2" fmla="*/ 217539 h 435077"/>
                <a:gd name="connsiteX3" fmla="*/ 371447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267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447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447" y="63739"/>
                  </a:moveTo>
                  <a:cubicBezTo>
                    <a:pt x="412235" y="104527"/>
                    <a:pt x="435077" y="159864"/>
                    <a:pt x="435077" y="217539"/>
                  </a:cubicBezTo>
                  <a:lnTo>
                    <a:pt x="217811" y="217539"/>
                  </a:lnTo>
                  <a:cubicBezTo>
                    <a:pt x="275459" y="217593"/>
                    <a:pt x="330658" y="240516"/>
                    <a:pt x="371447" y="281277"/>
                  </a:cubicBezTo>
                  <a:cubicBezTo>
                    <a:pt x="412235" y="322066"/>
                    <a:pt x="435077" y="377402"/>
                    <a:pt x="435077" y="435077"/>
                  </a:cubicBezTo>
                  <a:lnTo>
                    <a:pt x="217539" y="435077"/>
                  </a:lnTo>
                  <a:lnTo>
                    <a:pt x="0" y="435077"/>
                  </a:lnTo>
                  <a:cubicBezTo>
                    <a:pt x="0" y="377402"/>
                    <a:pt x="22924" y="322066"/>
                    <a:pt x="63712" y="281277"/>
                  </a:cubicBezTo>
                  <a:cubicBezTo>
                    <a:pt x="104472" y="240516"/>
                    <a:pt x="159727" y="217593"/>
                    <a:pt x="217267" y="217539"/>
                  </a:cubicBezTo>
                  <a:lnTo>
                    <a:pt x="0" y="217539"/>
                  </a:lnTo>
                  <a:cubicBezTo>
                    <a:pt x="0" y="159864"/>
                    <a:pt x="22924" y="104527"/>
                    <a:pt x="63712" y="63739"/>
                  </a:cubicBezTo>
                  <a:cubicBezTo>
                    <a:pt x="104501" y="22923"/>
                    <a:pt x="159836" y="0"/>
                    <a:pt x="217539" y="0"/>
                  </a:cubicBezTo>
                  <a:cubicBezTo>
                    <a:pt x="275186" y="0"/>
                    <a:pt x="330658" y="22923"/>
                    <a:pt x="371447" y="63739"/>
                  </a:cubicBezTo>
                  <a:close/>
                </a:path>
              </a:pathLst>
            </a:custGeom>
            <a:grpFill/>
            <a:ln w="27192" cap="flat">
              <a:noFill/>
              <a:prstDash val="solid"/>
              <a:miter/>
            </a:ln>
          </p:spPr>
          <p:txBody>
            <a:bodyPr rtlCol="0" anchor="ctr"/>
            <a:lstStyle/>
            <a:p>
              <a:endParaRPr lang="uk-UA" sz="900"/>
            </a:p>
          </p:txBody>
        </p:sp>
        <p:sp>
          <p:nvSpPr>
            <p:cNvPr id="395" name="Freeform: Shape 394">
              <a:extLst>
                <a:ext uri="{FF2B5EF4-FFF2-40B4-BE49-F238E27FC236}">
                  <a16:creationId xmlns:a16="http://schemas.microsoft.com/office/drawing/2014/main" id="{6E373078-3C35-E1A3-7B4E-C2FE18F87AE2}"/>
                </a:ext>
              </a:extLst>
            </p:cNvPr>
            <p:cNvSpPr/>
            <p:nvPr/>
          </p:nvSpPr>
          <p:spPr>
            <a:xfrm>
              <a:off x="835742" y="1154061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6 w 435077"/>
                <a:gd name="connsiteY3" fmla="*/ 27 h 435077"/>
                <a:gd name="connsiteX4" fmla="*/ 435077 w 435077"/>
                <a:gd name="connsiteY4" fmla="*/ 217566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6" y="27"/>
                  </a:lnTo>
                  <a:lnTo>
                    <a:pt x="435077" y="217566"/>
                  </a:lnTo>
                  <a:lnTo>
                    <a:pt x="217566"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396" name="Freeform: Shape 395">
              <a:extLst>
                <a:ext uri="{FF2B5EF4-FFF2-40B4-BE49-F238E27FC236}">
                  <a16:creationId xmlns:a16="http://schemas.microsoft.com/office/drawing/2014/main" id="{C8ECCEE5-FF85-1462-5AC2-929C34FA4258}"/>
                </a:ext>
              </a:extLst>
            </p:cNvPr>
            <p:cNvSpPr/>
            <p:nvPr/>
          </p:nvSpPr>
          <p:spPr>
            <a:xfrm>
              <a:off x="-34407" y="11540612"/>
              <a:ext cx="435072" cy="435077"/>
            </a:xfrm>
            <a:custGeom>
              <a:avLst/>
              <a:gdLst>
                <a:gd name="connsiteX0" fmla="*/ 63717 w 435072"/>
                <a:gd name="connsiteY0" fmla="*/ 153827 h 435077"/>
                <a:gd name="connsiteX1" fmla="*/ 0 w 435072"/>
                <a:gd name="connsiteY1" fmla="*/ 0 h 435077"/>
                <a:gd name="connsiteX2" fmla="*/ 217533 w 435072"/>
                <a:gd name="connsiteY2" fmla="*/ 0 h 435077"/>
                <a:gd name="connsiteX3" fmla="*/ 435072 w 435072"/>
                <a:gd name="connsiteY3" fmla="*/ 0 h 435077"/>
                <a:gd name="connsiteX4" fmla="*/ 371360 w 435072"/>
                <a:gd name="connsiteY4" fmla="*/ 153827 h 435077"/>
                <a:gd name="connsiteX5" fmla="*/ 217533 w 435072"/>
                <a:gd name="connsiteY5" fmla="*/ 217539 h 435077"/>
                <a:gd name="connsiteX6" fmla="*/ 63717 w 435072"/>
                <a:gd name="connsiteY6" fmla="*/ 153827 h 435077"/>
                <a:gd name="connsiteX7" fmla="*/ 63717 w 435072"/>
                <a:gd name="connsiteY7" fmla="*/ 281277 h 435077"/>
                <a:gd name="connsiteX8" fmla="*/ 0 w 435072"/>
                <a:gd name="connsiteY8" fmla="*/ 435077 h 435077"/>
                <a:gd name="connsiteX9" fmla="*/ 217533 w 435072"/>
                <a:gd name="connsiteY9" fmla="*/ 435077 h 435077"/>
                <a:gd name="connsiteX10" fmla="*/ 435072 w 435072"/>
                <a:gd name="connsiteY10" fmla="*/ 435077 h 435077"/>
                <a:gd name="connsiteX11" fmla="*/ 371360 w 435072"/>
                <a:gd name="connsiteY11" fmla="*/ 281277 h 435077"/>
                <a:gd name="connsiteX12" fmla="*/ 217533 w 435072"/>
                <a:gd name="connsiteY12" fmla="*/ 217539 h 435077"/>
                <a:gd name="connsiteX13" fmla="*/ 63717 w 435072"/>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2" h="435077">
                  <a:moveTo>
                    <a:pt x="63717" y="153827"/>
                  </a:moveTo>
                  <a:cubicBezTo>
                    <a:pt x="22921" y="113039"/>
                    <a:pt x="0" y="57702"/>
                    <a:pt x="0" y="0"/>
                  </a:cubicBezTo>
                  <a:lnTo>
                    <a:pt x="217533" y="0"/>
                  </a:lnTo>
                  <a:lnTo>
                    <a:pt x="435072" y="0"/>
                  </a:lnTo>
                  <a:cubicBezTo>
                    <a:pt x="435072" y="57702"/>
                    <a:pt x="412149" y="113039"/>
                    <a:pt x="371360" y="153827"/>
                  </a:cubicBezTo>
                  <a:cubicBezTo>
                    <a:pt x="330572" y="194642"/>
                    <a:pt x="275236" y="217539"/>
                    <a:pt x="217533" y="217539"/>
                  </a:cubicBezTo>
                  <a:cubicBezTo>
                    <a:pt x="159858" y="217539"/>
                    <a:pt x="104514" y="194642"/>
                    <a:pt x="63717" y="153827"/>
                  </a:cubicBezTo>
                  <a:close/>
                  <a:moveTo>
                    <a:pt x="63717" y="281277"/>
                  </a:moveTo>
                  <a:cubicBezTo>
                    <a:pt x="22921" y="322066"/>
                    <a:pt x="0" y="377402"/>
                    <a:pt x="0" y="435077"/>
                  </a:cubicBezTo>
                  <a:lnTo>
                    <a:pt x="217533" y="435077"/>
                  </a:lnTo>
                  <a:lnTo>
                    <a:pt x="435072" y="435077"/>
                  </a:lnTo>
                  <a:cubicBezTo>
                    <a:pt x="435072" y="377402"/>
                    <a:pt x="412149" y="322066"/>
                    <a:pt x="371360" y="281277"/>
                  </a:cubicBezTo>
                  <a:cubicBezTo>
                    <a:pt x="330572" y="240462"/>
                    <a:pt x="275236" y="217539"/>
                    <a:pt x="217533" y="217539"/>
                  </a:cubicBezTo>
                  <a:cubicBezTo>
                    <a:pt x="159858" y="217539"/>
                    <a:pt x="104514" y="240462"/>
                    <a:pt x="63717" y="281277"/>
                  </a:cubicBezTo>
                  <a:close/>
                </a:path>
              </a:pathLst>
            </a:custGeom>
            <a:grpFill/>
            <a:ln w="27192" cap="flat">
              <a:noFill/>
              <a:prstDash val="solid"/>
              <a:miter/>
            </a:ln>
          </p:spPr>
          <p:txBody>
            <a:bodyPr rtlCol="0" anchor="ctr"/>
            <a:lstStyle/>
            <a:p>
              <a:endParaRPr lang="uk-UA" sz="900"/>
            </a:p>
          </p:txBody>
        </p:sp>
        <p:sp>
          <p:nvSpPr>
            <p:cNvPr id="397" name="Freeform: Shape 396">
              <a:extLst>
                <a:ext uri="{FF2B5EF4-FFF2-40B4-BE49-F238E27FC236}">
                  <a16:creationId xmlns:a16="http://schemas.microsoft.com/office/drawing/2014/main" id="{72E3D57C-7C27-9B64-51E5-E52049B54CE5}"/>
                </a:ext>
              </a:extLst>
            </p:cNvPr>
            <p:cNvSpPr/>
            <p:nvPr/>
          </p:nvSpPr>
          <p:spPr>
            <a:xfrm>
              <a:off x="1705924" y="1154061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398" name="Freeform: Shape 397">
              <a:extLst>
                <a:ext uri="{FF2B5EF4-FFF2-40B4-BE49-F238E27FC236}">
                  <a16:creationId xmlns:a16="http://schemas.microsoft.com/office/drawing/2014/main" id="{2BAB1434-6399-065C-68CB-A4C408C74D89}"/>
                </a:ext>
              </a:extLst>
            </p:cNvPr>
            <p:cNvSpPr/>
            <p:nvPr/>
          </p:nvSpPr>
          <p:spPr>
            <a:xfrm>
              <a:off x="2576106" y="1154064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2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2" y="217539"/>
                  </a:lnTo>
                  <a:lnTo>
                    <a:pt x="0" y="435050"/>
                  </a:lnTo>
                  <a:close/>
                </a:path>
              </a:pathLst>
            </a:custGeom>
            <a:grpFill/>
            <a:ln w="27192" cap="flat">
              <a:noFill/>
              <a:prstDash val="solid"/>
              <a:miter/>
            </a:ln>
          </p:spPr>
          <p:txBody>
            <a:bodyPr rtlCol="0" anchor="ctr"/>
            <a:lstStyle/>
            <a:p>
              <a:endParaRPr lang="uk-UA" sz="900"/>
            </a:p>
          </p:txBody>
        </p:sp>
        <p:sp>
          <p:nvSpPr>
            <p:cNvPr id="399" name="Freeform: Shape 398">
              <a:extLst>
                <a:ext uri="{FF2B5EF4-FFF2-40B4-BE49-F238E27FC236}">
                  <a16:creationId xmlns:a16="http://schemas.microsoft.com/office/drawing/2014/main" id="{9CB57AB0-A354-3486-C529-2F9105CDCE09}"/>
                </a:ext>
              </a:extLst>
            </p:cNvPr>
            <p:cNvSpPr/>
            <p:nvPr/>
          </p:nvSpPr>
          <p:spPr>
            <a:xfrm>
              <a:off x="4316416" y="1154061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5 w 435077"/>
                <a:gd name="connsiteY3" fmla="*/ 27 h 435077"/>
                <a:gd name="connsiteX4" fmla="*/ 435077 w 435077"/>
                <a:gd name="connsiteY4" fmla="*/ 217566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5" y="27"/>
                  </a:lnTo>
                  <a:lnTo>
                    <a:pt x="435077" y="217566"/>
                  </a:lnTo>
                  <a:lnTo>
                    <a:pt x="217565"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400" name="Freeform: Shape 399">
              <a:extLst>
                <a:ext uri="{FF2B5EF4-FFF2-40B4-BE49-F238E27FC236}">
                  <a16:creationId xmlns:a16="http://schemas.microsoft.com/office/drawing/2014/main" id="{A5396570-CD4C-F876-22FC-14C55BD49194}"/>
                </a:ext>
              </a:extLst>
            </p:cNvPr>
            <p:cNvSpPr/>
            <p:nvPr/>
          </p:nvSpPr>
          <p:spPr>
            <a:xfrm>
              <a:off x="3446261" y="1154061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3" y="113039"/>
                    <a:pt x="0" y="57702"/>
                    <a:pt x="0" y="0"/>
                  </a:cubicBezTo>
                  <a:lnTo>
                    <a:pt x="217539" y="0"/>
                  </a:lnTo>
                  <a:lnTo>
                    <a:pt x="435077" y="0"/>
                  </a:lnTo>
                  <a:cubicBezTo>
                    <a:pt x="435077" y="57702"/>
                    <a:pt x="412154" y="113039"/>
                    <a:pt x="371366" y="153827"/>
                  </a:cubicBezTo>
                  <a:cubicBezTo>
                    <a:pt x="330577" y="194642"/>
                    <a:pt x="275241" y="217539"/>
                    <a:pt x="217539" y="217539"/>
                  </a:cubicBezTo>
                  <a:cubicBezTo>
                    <a:pt x="159837" y="217539"/>
                    <a:pt x="104500" y="194642"/>
                    <a:pt x="63712" y="153827"/>
                  </a:cubicBezTo>
                  <a:close/>
                  <a:moveTo>
                    <a:pt x="63712" y="281277"/>
                  </a:moveTo>
                  <a:cubicBezTo>
                    <a:pt x="22923" y="322066"/>
                    <a:pt x="0" y="377402"/>
                    <a:pt x="0" y="435077"/>
                  </a:cubicBezTo>
                  <a:lnTo>
                    <a:pt x="217539" y="435077"/>
                  </a:lnTo>
                  <a:lnTo>
                    <a:pt x="435077" y="435077"/>
                  </a:lnTo>
                  <a:cubicBezTo>
                    <a:pt x="435077" y="377402"/>
                    <a:pt x="412154" y="322066"/>
                    <a:pt x="371366" y="281277"/>
                  </a:cubicBezTo>
                  <a:cubicBezTo>
                    <a:pt x="330577" y="240462"/>
                    <a:pt x="275241" y="217539"/>
                    <a:pt x="217539" y="217539"/>
                  </a:cubicBezTo>
                  <a:cubicBezTo>
                    <a:pt x="159837" y="217539"/>
                    <a:pt x="104500" y="240462"/>
                    <a:pt x="63712" y="281277"/>
                  </a:cubicBezTo>
                  <a:close/>
                </a:path>
              </a:pathLst>
            </a:custGeom>
            <a:grpFill/>
            <a:ln w="27192" cap="flat">
              <a:noFill/>
              <a:prstDash val="solid"/>
              <a:miter/>
            </a:ln>
          </p:spPr>
          <p:txBody>
            <a:bodyPr rtlCol="0" anchor="ctr"/>
            <a:lstStyle/>
            <a:p>
              <a:endParaRPr lang="uk-UA" sz="900"/>
            </a:p>
          </p:txBody>
        </p:sp>
        <p:sp>
          <p:nvSpPr>
            <p:cNvPr id="401" name="Freeform: Shape 400">
              <a:extLst>
                <a:ext uri="{FF2B5EF4-FFF2-40B4-BE49-F238E27FC236}">
                  <a16:creationId xmlns:a16="http://schemas.microsoft.com/office/drawing/2014/main" id="{06931EE5-ED2A-5D0F-EFE5-A86FF17B6342}"/>
                </a:ext>
              </a:extLst>
            </p:cNvPr>
            <p:cNvSpPr/>
            <p:nvPr/>
          </p:nvSpPr>
          <p:spPr>
            <a:xfrm>
              <a:off x="5186597" y="11540612"/>
              <a:ext cx="435077" cy="435077"/>
            </a:xfrm>
            <a:custGeom>
              <a:avLst/>
              <a:gdLst>
                <a:gd name="connsiteX0" fmla="*/ 0 w 435077"/>
                <a:gd name="connsiteY0" fmla="*/ 435077 h 435077"/>
                <a:gd name="connsiteX1" fmla="*/ 0 w 435077"/>
                <a:gd name="connsiteY1" fmla="*/ 0 h 435077"/>
                <a:gd name="connsiteX2" fmla="*/ 217512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12"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402" name="Freeform: Shape 401">
              <a:extLst>
                <a:ext uri="{FF2B5EF4-FFF2-40B4-BE49-F238E27FC236}">
                  <a16:creationId xmlns:a16="http://schemas.microsoft.com/office/drawing/2014/main" id="{EAC73275-1F51-790C-2943-900582F8D649}"/>
                </a:ext>
              </a:extLst>
            </p:cNvPr>
            <p:cNvSpPr/>
            <p:nvPr/>
          </p:nvSpPr>
          <p:spPr>
            <a:xfrm>
              <a:off x="6056752" y="1154064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2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2" y="217539"/>
                  </a:lnTo>
                  <a:lnTo>
                    <a:pt x="0" y="435050"/>
                  </a:lnTo>
                  <a:close/>
                </a:path>
              </a:pathLst>
            </a:custGeom>
            <a:grpFill/>
            <a:ln w="27192" cap="flat">
              <a:noFill/>
              <a:prstDash val="solid"/>
              <a:miter/>
            </a:ln>
          </p:spPr>
          <p:txBody>
            <a:bodyPr rtlCol="0" anchor="ctr"/>
            <a:lstStyle/>
            <a:p>
              <a:endParaRPr lang="uk-UA" sz="900"/>
            </a:p>
          </p:txBody>
        </p:sp>
        <p:sp>
          <p:nvSpPr>
            <p:cNvPr id="403" name="Freeform: Shape 402">
              <a:extLst>
                <a:ext uri="{FF2B5EF4-FFF2-40B4-BE49-F238E27FC236}">
                  <a16:creationId xmlns:a16="http://schemas.microsoft.com/office/drawing/2014/main" id="{65EB04A4-E90B-28B9-9317-E0891DA6D3CF}"/>
                </a:ext>
              </a:extLst>
            </p:cNvPr>
            <p:cNvSpPr/>
            <p:nvPr/>
          </p:nvSpPr>
          <p:spPr>
            <a:xfrm>
              <a:off x="7797062" y="1154061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6 w 435077"/>
                <a:gd name="connsiteY3" fmla="*/ 27 h 435077"/>
                <a:gd name="connsiteX4" fmla="*/ 435077 w 435077"/>
                <a:gd name="connsiteY4" fmla="*/ 217566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6" y="27"/>
                  </a:lnTo>
                  <a:lnTo>
                    <a:pt x="435077" y="217566"/>
                  </a:lnTo>
                  <a:lnTo>
                    <a:pt x="217566"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404" name="Freeform: Shape 403">
              <a:extLst>
                <a:ext uri="{FF2B5EF4-FFF2-40B4-BE49-F238E27FC236}">
                  <a16:creationId xmlns:a16="http://schemas.microsoft.com/office/drawing/2014/main" id="{E82D1396-8DE5-87C0-D788-64F01690E8D9}"/>
                </a:ext>
              </a:extLst>
            </p:cNvPr>
            <p:cNvSpPr/>
            <p:nvPr/>
          </p:nvSpPr>
          <p:spPr>
            <a:xfrm>
              <a:off x="6926907" y="1154061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6" y="153827"/>
                  </a:cubicBezTo>
                  <a:cubicBezTo>
                    <a:pt x="330550" y="194642"/>
                    <a:pt x="275241" y="217539"/>
                    <a:pt x="217539" y="217539"/>
                  </a:cubicBezTo>
                  <a:cubicBezTo>
                    <a:pt x="159837"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5" y="322066"/>
                    <a:pt x="371366" y="281277"/>
                  </a:cubicBezTo>
                  <a:cubicBezTo>
                    <a:pt x="330550" y="240462"/>
                    <a:pt x="275241" y="217539"/>
                    <a:pt x="217539" y="217539"/>
                  </a:cubicBezTo>
                  <a:cubicBezTo>
                    <a:pt x="159837" y="217539"/>
                    <a:pt x="104501" y="240462"/>
                    <a:pt x="63712" y="281277"/>
                  </a:cubicBezTo>
                  <a:close/>
                </a:path>
              </a:pathLst>
            </a:custGeom>
            <a:grpFill/>
            <a:ln w="27192" cap="flat">
              <a:noFill/>
              <a:prstDash val="solid"/>
              <a:miter/>
            </a:ln>
          </p:spPr>
          <p:txBody>
            <a:bodyPr rtlCol="0" anchor="ctr"/>
            <a:lstStyle/>
            <a:p>
              <a:endParaRPr lang="uk-UA" sz="900"/>
            </a:p>
          </p:txBody>
        </p:sp>
        <p:sp>
          <p:nvSpPr>
            <p:cNvPr id="405" name="Freeform: Shape 404">
              <a:extLst>
                <a:ext uri="{FF2B5EF4-FFF2-40B4-BE49-F238E27FC236}">
                  <a16:creationId xmlns:a16="http://schemas.microsoft.com/office/drawing/2014/main" id="{A5E8B7C1-5DCA-A249-9847-CC3B0F214F8A}"/>
                </a:ext>
              </a:extLst>
            </p:cNvPr>
            <p:cNvSpPr/>
            <p:nvPr/>
          </p:nvSpPr>
          <p:spPr>
            <a:xfrm>
              <a:off x="8667217" y="1154061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406" name="Freeform: Shape 405">
              <a:extLst>
                <a:ext uri="{FF2B5EF4-FFF2-40B4-BE49-F238E27FC236}">
                  <a16:creationId xmlns:a16="http://schemas.microsoft.com/office/drawing/2014/main" id="{A6D5903D-89FD-2B1F-38A8-F79D8A96A313}"/>
                </a:ext>
              </a:extLst>
            </p:cNvPr>
            <p:cNvSpPr/>
            <p:nvPr/>
          </p:nvSpPr>
          <p:spPr>
            <a:xfrm>
              <a:off x="9537399" y="1154064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1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1" y="217539"/>
                  </a:lnTo>
                  <a:lnTo>
                    <a:pt x="0" y="435050"/>
                  </a:lnTo>
                  <a:close/>
                </a:path>
              </a:pathLst>
            </a:custGeom>
            <a:grpFill/>
            <a:ln w="27192" cap="flat">
              <a:noFill/>
              <a:prstDash val="solid"/>
              <a:miter/>
            </a:ln>
          </p:spPr>
          <p:txBody>
            <a:bodyPr rtlCol="0" anchor="ctr"/>
            <a:lstStyle/>
            <a:p>
              <a:endParaRPr lang="uk-UA" sz="900"/>
            </a:p>
          </p:txBody>
        </p:sp>
        <p:sp>
          <p:nvSpPr>
            <p:cNvPr id="407" name="Freeform: Shape 406">
              <a:extLst>
                <a:ext uri="{FF2B5EF4-FFF2-40B4-BE49-F238E27FC236}">
                  <a16:creationId xmlns:a16="http://schemas.microsoft.com/office/drawing/2014/main" id="{1C11D475-5CE1-F057-FC6E-CCBB6E1A2AD2}"/>
                </a:ext>
              </a:extLst>
            </p:cNvPr>
            <p:cNvSpPr/>
            <p:nvPr/>
          </p:nvSpPr>
          <p:spPr>
            <a:xfrm>
              <a:off x="11277709" y="1154061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0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10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0" y="217539"/>
                  </a:lnTo>
                  <a:lnTo>
                    <a:pt x="0" y="217539"/>
                  </a:lnTo>
                  <a:close/>
                  <a:moveTo>
                    <a:pt x="0" y="435077"/>
                  </a:moveTo>
                  <a:lnTo>
                    <a:pt x="0" y="217566"/>
                  </a:lnTo>
                  <a:lnTo>
                    <a:pt x="217510" y="217566"/>
                  </a:lnTo>
                  <a:lnTo>
                    <a:pt x="0" y="435077"/>
                  </a:lnTo>
                  <a:close/>
                </a:path>
              </a:pathLst>
            </a:custGeom>
            <a:grpFill/>
            <a:ln w="27192" cap="flat">
              <a:noFill/>
              <a:prstDash val="solid"/>
              <a:miter/>
            </a:ln>
          </p:spPr>
          <p:txBody>
            <a:bodyPr rtlCol="0" anchor="ctr"/>
            <a:lstStyle/>
            <a:p>
              <a:endParaRPr lang="uk-UA" sz="900"/>
            </a:p>
          </p:txBody>
        </p:sp>
        <p:sp>
          <p:nvSpPr>
            <p:cNvPr id="408" name="Freeform: Shape 407">
              <a:extLst>
                <a:ext uri="{FF2B5EF4-FFF2-40B4-BE49-F238E27FC236}">
                  <a16:creationId xmlns:a16="http://schemas.microsoft.com/office/drawing/2014/main" id="{49897E87-EC39-C3C2-612B-6B9A7A64289F}"/>
                </a:ext>
              </a:extLst>
            </p:cNvPr>
            <p:cNvSpPr/>
            <p:nvPr/>
          </p:nvSpPr>
          <p:spPr>
            <a:xfrm>
              <a:off x="10407526" y="11540612"/>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39 w 435077"/>
                <a:gd name="connsiteY6" fmla="*/ 153827 h 435077"/>
                <a:gd name="connsiteX7" fmla="*/ 63739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39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4" y="113039"/>
                    <a:pt x="0" y="57702"/>
                    <a:pt x="0" y="0"/>
                  </a:cubicBezTo>
                  <a:lnTo>
                    <a:pt x="217539" y="0"/>
                  </a:lnTo>
                  <a:lnTo>
                    <a:pt x="435077" y="0"/>
                  </a:lnTo>
                  <a:cubicBezTo>
                    <a:pt x="435077" y="57702"/>
                    <a:pt x="412182" y="113039"/>
                    <a:pt x="371366" y="153827"/>
                  </a:cubicBezTo>
                  <a:cubicBezTo>
                    <a:pt x="330578" y="194642"/>
                    <a:pt x="275241" y="217539"/>
                    <a:pt x="217539" y="217539"/>
                  </a:cubicBezTo>
                  <a:cubicBezTo>
                    <a:pt x="159864" y="217539"/>
                    <a:pt x="104527" y="194642"/>
                    <a:pt x="63739" y="153827"/>
                  </a:cubicBezTo>
                  <a:close/>
                  <a:moveTo>
                    <a:pt x="63739" y="281277"/>
                  </a:moveTo>
                  <a:cubicBezTo>
                    <a:pt x="22924" y="322066"/>
                    <a:pt x="0" y="377402"/>
                    <a:pt x="0" y="435077"/>
                  </a:cubicBezTo>
                  <a:lnTo>
                    <a:pt x="217539" y="435077"/>
                  </a:lnTo>
                  <a:lnTo>
                    <a:pt x="435077" y="435077"/>
                  </a:lnTo>
                  <a:cubicBezTo>
                    <a:pt x="435077" y="377402"/>
                    <a:pt x="412182" y="322066"/>
                    <a:pt x="371366" y="281277"/>
                  </a:cubicBezTo>
                  <a:cubicBezTo>
                    <a:pt x="330578" y="240462"/>
                    <a:pt x="275241" y="217539"/>
                    <a:pt x="217539" y="217539"/>
                  </a:cubicBezTo>
                  <a:cubicBezTo>
                    <a:pt x="159864" y="217539"/>
                    <a:pt x="104527" y="240462"/>
                    <a:pt x="63739" y="281277"/>
                  </a:cubicBezTo>
                  <a:close/>
                </a:path>
              </a:pathLst>
            </a:custGeom>
            <a:grpFill/>
            <a:ln w="27192" cap="flat">
              <a:noFill/>
              <a:prstDash val="solid"/>
              <a:miter/>
            </a:ln>
          </p:spPr>
          <p:txBody>
            <a:bodyPr rtlCol="0" anchor="ctr"/>
            <a:lstStyle/>
            <a:p>
              <a:endParaRPr lang="uk-UA" sz="900"/>
            </a:p>
          </p:txBody>
        </p:sp>
        <p:sp>
          <p:nvSpPr>
            <p:cNvPr id="409" name="Freeform: Shape 408">
              <a:extLst>
                <a:ext uri="{FF2B5EF4-FFF2-40B4-BE49-F238E27FC236}">
                  <a16:creationId xmlns:a16="http://schemas.microsoft.com/office/drawing/2014/main" id="{41885C32-BFC0-3281-5596-D04E3EA01D34}"/>
                </a:ext>
              </a:extLst>
            </p:cNvPr>
            <p:cNvSpPr/>
            <p:nvPr/>
          </p:nvSpPr>
          <p:spPr>
            <a:xfrm>
              <a:off x="12147864" y="1154061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410" name="Freeform: Shape 409">
              <a:extLst>
                <a:ext uri="{FF2B5EF4-FFF2-40B4-BE49-F238E27FC236}">
                  <a16:creationId xmlns:a16="http://schemas.microsoft.com/office/drawing/2014/main" id="{3FD0D914-040F-D411-EECA-80082B925EAC}"/>
                </a:ext>
              </a:extLst>
            </p:cNvPr>
            <p:cNvSpPr/>
            <p:nvPr/>
          </p:nvSpPr>
          <p:spPr>
            <a:xfrm>
              <a:off x="13018045" y="1154064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2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2" y="217539"/>
                  </a:lnTo>
                  <a:lnTo>
                    <a:pt x="0" y="435050"/>
                  </a:lnTo>
                  <a:close/>
                </a:path>
              </a:pathLst>
            </a:custGeom>
            <a:grpFill/>
            <a:ln w="27192" cap="flat">
              <a:noFill/>
              <a:prstDash val="solid"/>
              <a:miter/>
            </a:ln>
          </p:spPr>
          <p:txBody>
            <a:bodyPr rtlCol="0" anchor="ctr"/>
            <a:lstStyle/>
            <a:p>
              <a:endParaRPr lang="uk-UA" sz="900"/>
            </a:p>
          </p:txBody>
        </p:sp>
        <p:sp>
          <p:nvSpPr>
            <p:cNvPr id="411" name="Freeform: Shape 410">
              <a:extLst>
                <a:ext uri="{FF2B5EF4-FFF2-40B4-BE49-F238E27FC236}">
                  <a16:creationId xmlns:a16="http://schemas.microsoft.com/office/drawing/2014/main" id="{AC96E6B9-CBA2-9A84-031C-1BE5E3F21013}"/>
                </a:ext>
              </a:extLst>
            </p:cNvPr>
            <p:cNvSpPr/>
            <p:nvPr/>
          </p:nvSpPr>
          <p:spPr>
            <a:xfrm>
              <a:off x="14758355" y="11540612"/>
              <a:ext cx="435103" cy="435077"/>
            </a:xfrm>
            <a:custGeom>
              <a:avLst/>
              <a:gdLst>
                <a:gd name="connsiteX0" fmla="*/ 435104 w 435103"/>
                <a:gd name="connsiteY0" fmla="*/ 435077 h 435077"/>
                <a:gd name="connsiteX1" fmla="*/ 435104 w 435103"/>
                <a:gd name="connsiteY1" fmla="*/ 217566 h 435077"/>
                <a:gd name="connsiteX2" fmla="*/ 435104 w 435103"/>
                <a:gd name="connsiteY2" fmla="*/ 27 h 435077"/>
                <a:gd name="connsiteX3" fmla="*/ 217565 w 435103"/>
                <a:gd name="connsiteY3" fmla="*/ 27 h 435077"/>
                <a:gd name="connsiteX4" fmla="*/ 435104 w 435103"/>
                <a:gd name="connsiteY4" fmla="*/ 217566 h 435077"/>
                <a:gd name="connsiteX5" fmla="*/ 217565 w 435103"/>
                <a:gd name="connsiteY5" fmla="*/ 435077 h 435077"/>
                <a:gd name="connsiteX6" fmla="*/ 435104 w 435103"/>
                <a:gd name="connsiteY6" fmla="*/ 435077 h 435077"/>
                <a:gd name="connsiteX7" fmla="*/ 0 w 435103"/>
                <a:gd name="connsiteY7" fmla="*/ 217539 h 435077"/>
                <a:gd name="connsiteX8" fmla="*/ 0 w 435103"/>
                <a:gd name="connsiteY8" fmla="*/ 0 h 435077"/>
                <a:gd name="connsiteX9" fmla="*/ 217539 w 435103"/>
                <a:gd name="connsiteY9" fmla="*/ 217539 h 435077"/>
                <a:gd name="connsiteX10" fmla="*/ 0 w 435103"/>
                <a:gd name="connsiteY10" fmla="*/ 217539 h 435077"/>
                <a:gd name="connsiteX11" fmla="*/ 27 w 435103"/>
                <a:gd name="connsiteY11" fmla="*/ 435077 h 435077"/>
                <a:gd name="connsiteX12" fmla="*/ 27 w 435103"/>
                <a:gd name="connsiteY12" fmla="*/ 217566 h 435077"/>
                <a:gd name="connsiteX13" fmla="*/ 217539 w 435103"/>
                <a:gd name="connsiteY13" fmla="*/ 217566 h 435077"/>
                <a:gd name="connsiteX14" fmla="*/ 27 w 435103"/>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103" h="435077">
                  <a:moveTo>
                    <a:pt x="435104" y="435077"/>
                  </a:moveTo>
                  <a:lnTo>
                    <a:pt x="435104" y="217566"/>
                  </a:lnTo>
                  <a:lnTo>
                    <a:pt x="435104" y="27"/>
                  </a:lnTo>
                  <a:lnTo>
                    <a:pt x="217565" y="27"/>
                  </a:lnTo>
                  <a:lnTo>
                    <a:pt x="435104" y="217566"/>
                  </a:lnTo>
                  <a:lnTo>
                    <a:pt x="217565" y="435077"/>
                  </a:lnTo>
                  <a:lnTo>
                    <a:pt x="435104" y="435077"/>
                  </a:lnTo>
                  <a:close/>
                  <a:moveTo>
                    <a:pt x="0" y="217539"/>
                  </a:moveTo>
                  <a:lnTo>
                    <a:pt x="0" y="0"/>
                  </a:lnTo>
                  <a:lnTo>
                    <a:pt x="217539" y="217539"/>
                  </a:lnTo>
                  <a:lnTo>
                    <a:pt x="0" y="217539"/>
                  </a:lnTo>
                  <a:close/>
                  <a:moveTo>
                    <a:pt x="27" y="435077"/>
                  </a:moveTo>
                  <a:lnTo>
                    <a:pt x="27" y="217566"/>
                  </a:lnTo>
                  <a:lnTo>
                    <a:pt x="217539" y="217566"/>
                  </a:lnTo>
                  <a:lnTo>
                    <a:pt x="27" y="435077"/>
                  </a:lnTo>
                  <a:close/>
                </a:path>
              </a:pathLst>
            </a:custGeom>
            <a:grpFill/>
            <a:ln w="27192" cap="flat">
              <a:noFill/>
              <a:prstDash val="solid"/>
              <a:miter/>
            </a:ln>
          </p:spPr>
          <p:txBody>
            <a:bodyPr rtlCol="0" anchor="ctr"/>
            <a:lstStyle/>
            <a:p>
              <a:endParaRPr lang="uk-UA" sz="900"/>
            </a:p>
          </p:txBody>
        </p:sp>
        <p:sp>
          <p:nvSpPr>
            <p:cNvPr id="412" name="Freeform: Shape 411">
              <a:extLst>
                <a:ext uri="{FF2B5EF4-FFF2-40B4-BE49-F238E27FC236}">
                  <a16:creationId xmlns:a16="http://schemas.microsoft.com/office/drawing/2014/main" id="{CC60B8B6-DA89-B2C6-8F2B-51A1BED87EEC}"/>
                </a:ext>
              </a:extLst>
            </p:cNvPr>
            <p:cNvSpPr/>
            <p:nvPr/>
          </p:nvSpPr>
          <p:spPr>
            <a:xfrm>
              <a:off x="13888200" y="1154061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4" y="113039"/>
                    <a:pt x="371365" y="153827"/>
                  </a:cubicBezTo>
                  <a:cubicBezTo>
                    <a:pt x="330577" y="194642"/>
                    <a:pt x="275241" y="217539"/>
                    <a:pt x="217539" y="217539"/>
                  </a:cubicBezTo>
                  <a:cubicBezTo>
                    <a:pt x="159836" y="217539"/>
                    <a:pt x="104527" y="194642"/>
                    <a:pt x="63712" y="153827"/>
                  </a:cubicBezTo>
                  <a:close/>
                  <a:moveTo>
                    <a:pt x="63712" y="281277"/>
                  </a:moveTo>
                  <a:cubicBezTo>
                    <a:pt x="22924" y="322066"/>
                    <a:pt x="0" y="377402"/>
                    <a:pt x="0" y="435077"/>
                  </a:cubicBezTo>
                  <a:lnTo>
                    <a:pt x="217539" y="435077"/>
                  </a:lnTo>
                  <a:lnTo>
                    <a:pt x="435077" y="435077"/>
                  </a:lnTo>
                  <a:cubicBezTo>
                    <a:pt x="435077" y="377402"/>
                    <a:pt x="412154" y="322066"/>
                    <a:pt x="371365" y="281277"/>
                  </a:cubicBezTo>
                  <a:cubicBezTo>
                    <a:pt x="330577" y="240462"/>
                    <a:pt x="275241" y="217539"/>
                    <a:pt x="217539" y="217539"/>
                  </a:cubicBezTo>
                  <a:cubicBezTo>
                    <a:pt x="159836" y="217539"/>
                    <a:pt x="104527" y="240462"/>
                    <a:pt x="63712" y="281277"/>
                  </a:cubicBezTo>
                  <a:close/>
                </a:path>
              </a:pathLst>
            </a:custGeom>
            <a:grpFill/>
            <a:ln w="27192" cap="flat">
              <a:noFill/>
              <a:prstDash val="solid"/>
              <a:miter/>
            </a:ln>
          </p:spPr>
          <p:txBody>
            <a:bodyPr rtlCol="0" anchor="ctr"/>
            <a:lstStyle/>
            <a:p>
              <a:endParaRPr lang="uk-UA" sz="900"/>
            </a:p>
          </p:txBody>
        </p:sp>
        <p:sp>
          <p:nvSpPr>
            <p:cNvPr id="413" name="Freeform: Shape 412">
              <a:extLst>
                <a:ext uri="{FF2B5EF4-FFF2-40B4-BE49-F238E27FC236}">
                  <a16:creationId xmlns:a16="http://schemas.microsoft.com/office/drawing/2014/main" id="{04567BA7-088F-29D6-4B23-CE67B0981272}"/>
                </a:ext>
              </a:extLst>
            </p:cNvPr>
            <p:cNvSpPr/>
            <p:nvPr/>
          </p:nvSpPr>
          <p:spPr>
            <a:xfrm>
              <a:off x="15628536" y="1154061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414" name="Freeform: Shape 413">
              <a:extLst>
                <a:ext uri="{FF2B5EF4-FFF2-40B4-BE49-F238E27FC236}">
                  <a16:creationId xmlns:a16="http://schemas.microsoft.com/office/drawing/2014/main" id="{015A349D-32D3-B851-F47C-7372DBED4D1A}"/>
                </a:ext>
              </a:extLst>
            </p:cNvPr>
            <p:cNvSpPr/>
            <p:nvPr/>
          </p:nvSpPr>
          <p:spPr>
            <a:xfrm>
              <a:off x="16498719" y="1154064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0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0" y="217539"/>
                  </a:lnTo>
                  <a:lnTo>
                    <a:pt x="0" y="435050"/>
                  </a:lnTo>
                  <a:close/>
                </a:path>
              </a:pathLst>
            </a:custGeom>
            <a:grpFill/>
            <a:ln w="27192" cap="flat">
              <a:noFill/>
              <a:prstDash val="solid"/>
              <a:miter/>
            </a:ln>
          </p:spPr>
          <p:txBody>
            <a:bodyPr rtlCol="0" anchor="ctr"/>
            <a:lstStyle/>
            <a:p>
              <a:endParaRPr lang="uk-UA" sz="900"/>
            </a:p>
          </p:txBody>
        </p:sp>
        <p:sp>
          <p:nvSpPr>
            <p:cNvPr id="415" name="Freeform: Shape 414">
              <a:extLst>
                <a:ext uri="{FF2B5EF4-FFF2-40B4-BE49-F238E27FC236}">
                  <a16:creationId xmlns:a16="http://schemas.microsoft.com/office/drawing/2014/main" id="{4AC88228-F5A4-8657-19DD-6C09B87BEC3D}"/>
                </a:ext>
              </a:extLst>
            </p:cNvPr>
            <p:cNvSpPr/>
            <p:nvPr/>
          </p:nvSpPr>
          <p:spPr>
            <a:xfrm>
              <a:off x="18239029" y="1154061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0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10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0" y="217539"/>
                  </a:lnTo>
                  <a:lnTo>
                    <a:pt x="0" y="217539"/>
                  </a:lnTo>
                  <a:close/>
                  <a:moveTo>
                    <a:pt x="0" y="435077"/>
                  </a:moveTo>
                  <a:lnTo>
                    <a:pt x="0" y="217566"/>
                  </a:lnTo>
                  <a:lnTo>
                    <a:pt x="217510" y="217566"/>
                  </a:lnTo>
                  <a:lnTo>
                    <a:pt x="0" y="435077"/>
                  </a:lnTo>
                  <a:close/>
                </a:path>
              </a:pathLst>
            </a:custGeom>
            <a:grpFill/>
            <a:ln w="27192" cap="flat">
              <a:noFill/>
              <a:prstDash val="solid"/>
              <a:miter/>
            </a:ln>
          </p:spPr>
          <p:txBody>
            <a:bodyPr rtlCol="0" anchor="ctr"/>
            <a:lstStyle/>
            <a:p>
              <a:endParaRPr lang="uk-UA" sz="900"/>
            </a:p>
          </p:txBody>
        </p:sp>
        <p:sp>
          <p:nvSpPr>
            <p:cNvPr id="416" name="Freeform: Shape 415">
              <a:extLst>
                <a:ext uri="{FF2B5EF4-FFF2-40B4-BE49-F238E27FC236}">
                  <a16:creationId xmlns:a16="http://schemas.microsoft.com/office/drawing/2014/main" id="{038A72E1-6950-9ECF-CBE2-CCFAD3ABAD5A}"/>
                </a:ext>
              </a:extLst>
            </p:cNvPr>
            <p:cNvSpPr/>
            <p:nvPr/>
          </p:nvSpPr>
          <p:spPr>
            <a:xfrm>
              <a:off x="17368874" y="11540612"/>
              <a:ext cx="435077" cy="435077"/>
            </a:xfrm>
            <a:custGeom>
              <a:avLst/>
              <a:gdLst>
                <a:gd name="connsiteX0" fmla="*/ 63710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0 w 435077"/>
                <a:gd name="connsiteY6" fmla="*/ 153827 h 435077"/>
                <a:gd name="connsiteX7" fmla="*/ 63710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77 h 435077"/>
                <a:gd name="connsiteX12" fmla="*/ 217539 w 435077"/>
                <a:gd name="connsiteY12" fmla="*/ 217539 h 435077"/>
                <a:gd name="connsiteX13" fmla="*/ 63710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7"/>
                  </a:moveTo>
                  <a:cubicBezTo>
                    <a:pt x="22895" y="113039"/>
                    <a:pt x="0" y="57702"/>
                    <a:pt x="0" y="0"/>
                  </a:cubicBezTo>
                  <a:lnTo>
                    <a:pt x="217539" y="0"/>
                  </a:lnTo>
                  <a:lnTo>
                    <a:pt x="435077" y="0"/>
                  </a:lnTo>
                  <a:cubicBezTo>
                    <a:pt x="435077" y="57702"/>
                    <a:pt x="412154" y="113039"/>
                    <a:pt x="371339" y="153827"/>
                  </a:cubicBezTo>
                  <a:cubicBezTo>
                    <a:pt x="330550" y="194642"/>
                    <a:pt x="275213" y="217539"/>
                    <a:pt x="217539" y="217539"/>
                  </a:cubicBezTo>
                  <a:cubicBezTo>
                    <a:pt x="159836" y="217539"/>
                    <a:pt x="104499" y="194642"/>
                    <a:pt x="63710" y="153827"/>
                  </a:cubicBezTo>
                  <a:close/>
                  <a:moveTo>
                    <a:pt x="63710" y="281277"/>
                  </a:moveTo>
                  <a:cubicBezTo>
                    <a:pt x="22895" y="322066"/>
                    <a:pt x="0" y="377402"/>
                    <a:pt x="0" y="435077"/>
                  </a:cubicBezTo>
                  <a:lnTo>
                    <a:pt x="217539" y="435077"/>
                  </a:lnTo>
                  <a:lnTo>
                    <a:pt x="435077" y="435077"/>
                  </a:lnTo>
                  <a:cubicBezTo>
                    <a:pt x="435077" y="377402"/>
                    <a:pt x="412154" y="322066"/>
                    <a:pt x="371339" y="281277"/>
                  </a:cubicBezTo>
                  <a:cubicBezTo>
                    <a:pt x="330550" y="240462"/>
                    <a:pt x="275213" y="217539"/>
                    <a:pt x="217539" y="217539"/>
                  </a:cubicBezTo>
                  <a:cubicBezTo>
                    <a:pt x="159836" y="217539"/>
                    <a:pt x="104499" y="240462"/>
                    <a:pt x="63710" y="281277"/>
                  </a:cubicBezTo>
                  <a:close/>
                </a:path>
              </a:pathLst>
            </a:custGeom>
            <a:grpFill/>
            <a:ln w="27192" cap="flat">
              <a:noFill/>
              <a:prstDash val="solid"/>
              <a:miter/>
            </a:ln>
          </p:spPr>
          <p:txBody>
            <a:bodyPr rtlCol="0" anchor="ctr"/>
            <a:lstStyle/>
            <a:p>
              <a:endParaRPr lang="uk-UA" sz="900"/>
            </a:p>
          </p:txBody>
        </p:sp>
        <p:sp>
          <p:nvSpPr>
            <p:cNvPr id="417" name="Freeform: Shape 416">
              <a:extLst>
                <a:ext uri="{FF2B5EF4-FFF2-40B4-BE49-F238E27FC236}">
                  <a16:creationId xmlns:a16="http://schemas.microsoft.com/office/drawing/2014/main" id="{99B714BE-4546-8D31-981F-08C990E0881E}"/>
                </a:ext>
              </a:extLst>
            </p:cNvPr>
            <p:cNvSpPr/>
            <p:nvPr/>
          </p:nvSpPr>
          <p:spPr>
            <a:xfrm>
              <a:off x="19109184" y="1154061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418" name="Freeform: Shape 417">
              <a:extLst>
                <a:ext uri="{FF2B5EF4-FFF2-40B4-BE49-F238E27FC236}">
                  <a16:creationId xmlns:a16="http://schemas.microsoft.com/office/drawing/2014/main" id="{96F3CB33-4315-1E2F-5C00-E5C9BF5477ED}"/>
                </a:ext>
              </a:extLst>
            </p:cNvPr>
            <p:cNvSpPr/>
            <p:nvPr/>
          </p:nvSpPr>
          <p:spPr>
            <a:xfrm>
              <a:off x="19979365" y="11540612"/>
              <a:ext cx="435077" cy="435077"/>
            </a:xfrm>
            <a:custGeom>
              <a:avLst/>
              <a:gdLst>
                <a:gd name="connsiteX0" fmla="*/ 435077 w 435077"/>
                <a:gd name="connsiteY0" fmla="*/ 435077 h 435077"/>
                <a:gd name="connsiteX1" fmla="*/ 435077 w 435077"/>
                <a:gd name="connsiteY1" fmla="*/ 0 h 435077"/>
                <a:gd name="connsiteX2" fmla="*/ 217539 w 435077"/>
                <a:gd name="connsiteY2" fmla="*/ 217566 h 435077"/>
                <a:gd name="connsiteX3" fmla="*/ 435077 w 435077"/>
                <a:gd name="connsiteY3" fmla="*/ 435077 h 435077"/>
                <a:gd name="connsiteX4" fmla="*/ 0 w 435077"/>
                <a:gd name="connsiteY4" fmla="*/ 435077 h 435077"/>
                <a:gd name="connsiteX5" fmla="*/ 0 w 435077"/>
                <a:gd name="connsiteY5" fmla="*/ 0 h 435077"/>
                <a:gd name="connsiteX6" fmla="*/ 217512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66"/>
                  </a:lnTo>
                  <a:lnTo>
                    <a:pt x="435077" y="435077"/>
                  </a:lnTo>
                  <a:close/>
                  <a:moveTo>
                    <a:pt x="0" y="435077"/>
                  </a:moveTo>
                  <a:lnTo>
                    <a:pt x="0" y="0"/>
                  </a:lnTo>
                  <a:lnTo>
                    <a:pt x="217512" y="217566"/>
                  </a:lnTo>
                  <a:lnTo>
                    <a:pt x="0" y="435077"/>
                  </a:lnTo>
                  <a:close/>
                </a:path>
              </a:pathLst>
            </a:custGeom>
            <a:grpFill/>
            <a:ln w="27192" cap="flat">
              <a:noFill/>
              <a:prstDash val="solid"/>
              <a:miter/>
            </a:ln>
          </p:spPr>
          <p:txBody>
            <a:bodyPr rtlCol="0" anchor="ctr"/>
            <a:lstStyle/>
            <a:p>
              <a:endParaRPr lang="uk-UA" sz="900"/>
            </a:p>
          </p:txBody>
        </p:sp>
        <p:sp>
          <p:nvSpPr>
            <p:cNvPr id="419" name="Freeform: Shape 418">
              <a:extLst>
                <a:ext uri="{FF2B5EF4-FFF2-40B4-BE49-F238E27FC236}">
                  <a16:creationId xmlns:a16="http://schemas.microsoft.com/office/drawing/2014/main" id="{83CFACE5-4C4D-B806-C97D-8FF0895598F7}"/>
                </a:ext>
              </a:extLst>
            </p:cNvPr>
            <p:cNvSpPr/>
            <p:nvPr/>
          </p:nvSpPr>
          <p:spPr>
            <a:xfrm>
              <a:off x="21719675" y="1154061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5 w 435077"/>
                <a:gd name="connsiteY3" fmla="*/ 27 h 435077"/>
                <a:gd name="connsiteX4" fmla="*/ 435077 w 435077"/>
                <a:gd name="connsiteY4" fmla="*/ 217566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5" y="27"/>
                  </a:lnTo>
                  <a:lnTo>
                    <a:pt x="435077" y="217566"/>
                  </a:lnTo>
                  <a:lnTo>
                    <a:pt x="217565"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420" name="Freeform: Shape 419">
              <a:extLst>
                <a:ext uri="{FF2B5EF4-FFF2-40B4-BE49-F238E27FC236}">
                  <a16:creationId xmlns:a16="http://schemas.microsoft.com/office/drawing/2014/main" id="{BCD5D4C6-20DC-DF15-0989-6F409090EF7A}"/>
                </a:ext>
              </a:extLst>
            </p:cNvPr>
            <p:cNvSpPr/>
            <p:nvPr/>
          </p:nvSpPr>
          <p:spPr>
            <a:xfrm>
              <a:off x="20849520" y="1154061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4" y="113039"/>
                    <a:pt x="371365" y="153827"/>
                  </a:cubicBezTo>
                  <a:cubicBezTo>
                    <a:pt x="330577" y="194642"/>
                    <a:pt x="275241" y="217539"/>
                    <a:pt x="217539" y="217539"/>
                  </a:cubicBezTo>
                  <a:cubicBezTo>
                    <a:pt x="159836"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4" y="322066"/>
                    <a:pt x="371365" y="281277"/>
                  </a:cubicBezTo>
                  <a:cubicBezTo>
                    <a:pt x="330577" y="240462"/>
                    <a:pt x="275241" y="217539"/>
                    <a:pt x="217539" y="217539"/>
                  </a:cubicBezTo>
                  <a:cubicBezTo>
                    <a:pt x="159836" y="217539"/>
                    <a:pt x="104501" y="240462"/>
                    <a:pt x="63712" y="281277"/>
                  </a:cubicBezTo>
                  <a:close/>
                </a:path>
              </a:pathLst>
            </a:custGeom>
            <a:grpFill/>
            <a:ln w="27192" cap="flat">
              <a:noFill/>
              <a:prstDash val="solid"/>
              <a:miter/>
            </a:ln>
          </p:spPr>
          <p:txBody>
            <a:bodyPr rtlCol="0" anchor="ctr"/>
            <a:lstStyle/>
            <a:p>
              <a:endParaRPr lang="uk-UA" sz="900"/>
            </a:p>
          </p:txBody>
        </p:sp>
        <p:sp>
          <p:nvSpPr>
            <p:cNvPr id="421" name="Freeform: Shape 420">
              <a:extLst>
                <a:ext uri="{FF2B5EF4-FFF2-40B4-BE49-F238E27FC236}">
                  <a16:creationId xmlns:a16="http://schemas.microsoft.com/office/drawing/2014/main" id="{48814989-D4FC-14E4-81A5-B4707D6189FE}"/>
                </a:ext>
              </a:extLst>
            </p:cNvPr>
            <p:cNvSpPr/>
            <p:nvPr/>
          </p:nvSpPr>
          <p:spPr>
            <a:xfrm>
              <a:off x="22589856" y="1154061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422" name="Freeform: Shape 421">
              <a:extLst>
                <a:ext uri="{FF2B5EF4-FFF2-40B4-BE49-F238E27FC236}">
                  <a16:creationId xmlns:a16="http://schemas.microsoft.com/office/drawing/2014/main" id="{6B9235E4-4CD6-EE09-21B0-1F3369074C5F}"/>
                </a:ext>
              </a:extLst>
            </p:cNvPr>
            <p:cNvSpPr/>
            <p:nvPr/>
          </p:nvSpPr>
          <p:spPr>
            <a:xfrm>
              <a:off x="23460011" y="11540612"/>
              <a:ext cx="435077" cy="435077"/>
            </a:xfrm>
            <a:custGeom>
              <a:avLst/>
              <a:gdLst>
                <a:gd name="connsiteX0" fmla="*/ 435077 w 435077"/>
                <a:gd name="connsiteY0" fmla="*/ 435077 h 435077"/>
                <a:gd name="connsiteX1" fmla="*/ 435077 w 435077"/>
                <a:gd name="connsiteY1" fmla="*/ 0 h 435077"/>
                <a:gd name="connsiteX2" fmla="*/ 217567 w 435077"/>
                <a:gd name="connsiteY2" fmla="*/ 217566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7" y="217566"/>
                  </a:lnTo>
                  <a:lnTo>
                    <a:pt x="435077" y="435077"/>
                  </a:lnTo>
                  <a:close/>
                  <a:moveTo>
                    <a:pt x="0" y="435077"/>
                  </a:moveTo>
                  <a:lnTo>
                    <a:pt x="0" y="0"/>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423" name="Freeform: Shape 422">
              <a:extLst>
                <a:ext uri="{FF2B5EF4-FFF2-40B4-BE49-F238E27FC236}">
                  <a16:creationId xmlns:a16="http://schemas.microsoft.com/office/drawing/2014/main" id="{6FBFBE83-6CDF-3663-19FD-EA06F70BE729}"/>
                </a:ext>
              </a:extLst>
            </p:cNvPr>
            <p:cNvSpPr/>
            <p:nvPr/>
          </p:nvSpPr>
          <p:spPr>
            <a:xfrm>
              <a:off x="24330194" y="1154061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447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447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235" y="113039"/>
                    <a:pt x="371447" y="153827"/>
                  </a:cubicBezTo>
                  <a:cubicBezTo>
                    <a:pt x="330658" y="194642"/>
                    <a:pt x="275186" y="217539"/>
                    <a:pt x="217539" y="217539"/>
                  </a:cubicBezTo>
                  <a:cubicBezTo>
                    <a:pt x="159836" y="217539"/>
                    <a:pt x="104501" y="194642"/>
                    <a:pt x="63712" y="153827"/>
                  </a:cubicBezTo>
                  <a:close/>
                  <a:moveTo>
                    <a:pt x="63712" y="281277"/>
                  </a:moveTo>
                  <a:cubicBezTo>
                    <a:pt x="22924" y="322066"/>
                    <a:pt x="0" y="377402"/>
                    <a:pt x="0" y="435077"/>
                  </a:cubicBezTo>
                  <a:lnTo>
                    <a:pt x="217539" y="435077"/>
                  </a:lnTo>
                  <a:lnTo>
                    <a:pt x="435077" y="435077"/>
                  </a:lnTo>
                  <a:cubicBezTo>
                    <a:pt x="435077" y="377402"/>
                    <a:pt x="412235" y="322066"/>
                    <a:pt x="371447" y="281277"/>
                  </a:cubicBezTo>
                  <a:cubicBezTo>
                    <a:pt x="330658" y="240462"/>
                    <a:pt x="275186" y="217539"/>
                    <a:pt x="217539" y="217539"/>
                  </a:cubicBezTo>
                  <a:cubicBezTo>
                    <a:pt x="159836" y="217539"/>
                    <a:pt x="104501" y="240462"/>
                    <a:pt x="63712" y="281277"/>
                  </a:cubicBezTo>
                  <a:close/>
                </a:path>
              </a:pathLst>
            </a:custGeom>
            <a:grpFill/>
            <a:ln w="27192" cap="flat">
              <a:noFill/>
              <a:prstDash val="solid"/>
              <a:miter/>
            </a:ln>
          </p:spPr>
          <p:txBody>
            <a:bodyPr rtlCol="0" anchor="ctr"/>
            <a:lstStyle/>
            <a:p>
              <a:endParaRPr lang="uk-UA" sz="900"/>
            </a:p>
          </p:txBody>
        </p:sp>
        <p:sp>
          <p:nvSpPr>
            <p:cNvPr id="424" name="Freeform: Shape 423">
              <a:extLst>
                <a:ext uri="{FF2B5EF4-FFF2-40B4-BE49-F238E27FC236}">
                  <a16:creationId xmlns:a16="http://schemas.microsoft.com/office/drawing/2014/main" id="{F89C5E76-AEDE-8A3C-00B1-F7EA95C67869}"/>
                </a:ext>
              </a:extLst>
            </p:cNvPr>
            <p:cNvSpPr/>
            <p:nvPr/>
          </p:nvSpPr>
          <p:spPr>
            <a:xfrm>
              <a:off x="835742" y="12410767"/>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p>
          </p:txBody>
        </p:sp>
        <p:sp>
          <p:nvSpPr>
            <p:cNvPr id="425" name="Freeform: Shape 424">
              <a:extLst>
                <a:ext uri="{FF2B5EF4-FFF2-40B4-BE49-F238E27FC236}">
                  <a16:creationId xmlns:a16="http://schemas.microsoft.com/office/drawing/2014/main" id="{5F8087F0-757F-2204-6A33-133776A9A7ED}"/>
                </a:ext>
              </a:extLst>
            </p:cNvPr>
            <p:cNvSpPr/>
            <p:nvPr/>
          </p:nvSpPr>
          <p:spPr>
            <a:xfrm>
              <a:off x="-34409" y="12410767"/>
              <a:ext cx="435074" cy="435104"/>
            </a:xfrm>
            <a:custGeom>
              <a:avLst/>
              <a:gdLst>
                <a:gd name="connsiteX0" fmla="*/ 0 w 435074"/>
                <a:gd name="connsiteY0" fmla="*/ 435077 h 435104"/>
                <a:gd name="connsiteX1" fmla="*/ 217536 w 435074"/>
                <a:gd name="connsiteY1" fmla="*/ 435077 h 435104"/>
                <a:gd name="connsiteX2" fmla="*/ 217536 w 435074"/>
                <a:gd name="connsiteY2" fmla="*/ 217566 h 435104"/>
                <a:gd name="connsiteX3" fmla="*/ 0 w 435074"/>
                <a:gd name="connsiteY3" fmla="*/ 435077 h 435104"/>
                <a:gd name="connsiteX4" fmla="*/ 217536 w 435074"/>
                <a:gd name="connsiteY4" fmla="*/ 0 h 435104"/>
                <a:gd name="connsiteX5" fmla="*/ 3 w 435074"/>
                <a:gd name="connsiteY5" fmla="*/ 0 h 435104"/>
                <a:gd name="connsiteX6" fmla="*/ 217536 w 435074"/>
                <a:gd name="connsiteY6" fmla="*/ 217539 h 435104"/>
                <a:gd name="connsiteX7" fmla="*/ 217536 w 435074"/>
                <a:gd name="connsiteY7" fmla="*/ 0 h 435104"/>
                <a:gd name="connsiteX8" fmla="*/ 435075 w 435074"/>
                <a:gd name="connsiteY8" fmla="*/ 435105 h 435104"/>
                <a:gd name="connsiteX9" fmla="*/ 217536 w 435074"/>
                <a:gd name="connsiteY9" fmla="*/ 435105 h 435104"/>
                <a:gd name="connsiteX10" fmla="*/ 435075 w 435074"/>
                <a:gd name="connsiteY10" fmla="*/ 217566 h 435104"/>
                <a:gd name="connsiteX11" fmla="*/ 435075 w 435074"/>
                <a:gd name="connsiteY11" fmla="*/ 435105 h 435104"/>
                <a:gd name="connsiteX12" fmla="*/ 435075 w 435074"/>
                <a:gd name="connsiteY12" fmla="*/ 27 h 435104"/>
                <a:gd name="connsiteX13" fmla="*/ 217536 w 435074"/>
                <a:gd name="connsiteY13" fmla="*/ 27 h 435104"/>
                <a:gd name="connsiteX14" fmla="*/ 435075 w 435074"/>
                <a:gd name="connsiteY14" fmla="*/ 217539 h 435104"/>
                <a:gd name="connsiteX15" fmla="*/ 435075 w 435074"/>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4" h="435104">
                  <a:moveTo>
                    <a:pt x="0" y="435077"/>
                  </a:moveTo>
                  <a:lnTo>
                    <a:pt x="217536" y="435077"/>
                  </a:lnTo>
                  <a:lnTo>
                    <a:pt x="217536" y="217566"/>
                  </a:lnTo>
                  <a:lnTo>
                    <a:pt x="0" y="435077"/>
                  </a:lnTo>
                  <a:close/>
                  <a:moveTo>
                    <a:pt x="217536" y="0"/>
                  </a:moveTo>
                  <a:lnTo>
                    <a:pt x="3" y="0"/>
                  </a:lnTo>
                  <a:lnTo>
                    <a:pt x="217536" y="217539"/>
                  </a:lnTo>
                  <a:lnTo>
                    <a:pt x="217536" y="0"/>
                  </a:lnTo>
                  <a:close/>
                  <a:moveTo>
                    <a:pt x="435075" y="435105"/>
                  </a:moveTo>
                  <a:lnTo>
                    <a:pt x="217536" y="435105"/>
                  </a:lnTo>
                  <a:lnTo>
                    <a:pt x="435075" y="217566"/>
                  </a:lnTo>
                  <a:lnTo>
                    <a:pt x="435075" y="435105"/>
                  </a:lnTo>
                  <a:close/>
                  <a:moveTo>
                    <a:pt x="435075" y="27"/>
                  </a:moveTo>
                  <a:lnTo>
                    <a:pt x="217536" y="27"/>
                  </a:lnTo>
                  <a:lnTo>
                    <a:pt x="435075" y="217539"/>
                  </a:lnTo>
                  <a:lnTo>
                    <a:pt x="435075" y="27"/>
                  </a:lnTo>
                  <a:close/>
                </a:path>
              </a:pathLst>
            </a:custGeom>
            <a:grpFill/>
            <a:ln w="27192" cap="flat">
              <a:noFill/>
              <a:prstDash val="solid"/>
              <a:miter/>
            </a:ln>
          </p:spPr>
          <p:txBody>
            <a:bodyPr rtlCol="0" anchor="ctr"/>
            <a:lstStyle/>
            <a:p>
              <a:endParaRPr lang="uk-UA" sz="900"/>
            </a:p>
          </p:txBody>
        </p:sp>
        <p:sp>
          <p:nvSpPr>
            <p:cNvPr id="426" name="Freeform: Shape 425">
              <a:extLst>
                <a:ext uri="{FF2B5EF4-FFF2-40B4-BE49-F238E27FC236}">
                  <a16:creationId xmlns:a16="http://schemas.microsoft.com/office/drawing/2014/main" id="{1E703ECD-8C5D-FD2A-474D-9C89D58A47AE}"/>
                </a:ext>
              </a:extLst>
            </p:cNvPr>
            <p:cNvSpPr/>
            <p:nvPr/>
          </p:nvSpPr>
          <p:spPr>
            <a:xfrm>
              <a:off x="1705924" y="12410767"/>
              <a:ext cx="435077" cy="435077"/>
            </a:xfrm>
            <a:custGeom>
              <a:avLst/>
              <a:gdLst>
                <a:gd name="connsiteX0" fmla="*/ 371366 w 435077"/>
                <a:gd name="connsiteY0" fmla="*/ 63739 h 435077"/>
                <a:gd name="connsiteX1" fmla="*/ 435077 w 435077"/>
                <a:gd name="connsiteY1" fmla="*/ 217539 h 435077"/>
                <a:gd name="connsiteX2" fmla="*/ 217702 w 435077"/>
                <a:gd name="connsiteY2" fmla="*/ 217539 h 435077"/>
                <a:gd name="connsiteX3" fmla="*/ 371366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1 w 435077"/>
                <a:gd name="connsiteY7" fmla="*/ 281277 h 435077"/>
                <a:gd name="connsiteX8" fmla="*/ 217375 w 435077"/>
                <a:gd name="connsiteY8" fmla="*/ 217539 h 435077"/>
                <a:gd name="connsiteX9" fmla="*/ 0 w 435077"/>
                <a:gd name="connsiteY9" fmla="*/ 217539 h 435077"/>
                <a:gd name="connsiteX10" fmla="*/ 63711 w 435077"/>
                <a:gd name="connsiteY10" fmla="*/ 63739 h 435077"/>
                <a:gd name="connsiteX11" fmla="*/ 217539 w 435077"/>
                <a:gd name="connsiteY11" fmla="*/ 0 h 435077"/>
                <a:gd name="connsiteX12" fmla="*/ 371366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39"/>
                  </a:moveTo>
                  <a:cubicBezTo>
                    <a:pt x="412154" y="104527"/>
                    <a:pt x="435077" y="159864"/>
                    <a:pt x="435077" y="217539"/>
                  </a:cubicBezTo>
                  <a:lnTo>
                    <a:pt x="217702" y="217539"/>
                  </a:lnTo>
                  <a:cubicBezTo>
                    <a:pt x="275349" y="217593"/>
                    <a:pt x="330604" y="240516"/>
                    <a:pt x="371366" y="281277"/>
                  </a:cubicBezTo>
                  <a:cubicBezTo>
                    <a:pt x="412154" y="322066"/>
                    <a:pt x="435077" y="377402"/>
                    <a:pt x="435077" y="435077"/>
                  </a:cubicBezTo>
                  <a:lnTo>
                    <a:pt x="217539" y="435077"/>
                  </a:lnTo>
                  <a:lnTo>
                    <a:pt x="0" y="435077"/>
                  </a:lnTo>
                  <a:cubicBezTo>
                    <a:pt x="0" y="377402"/>
                    <a:pt x="22923" y="322066"/>
                    <a:pt x="63711" y="281277"/>
                  </a:cubicBezTo>
                  <a:cubicBezTo>
                    <a:pt x="104473" y="240516"/>
                    <a:pt x="159728" y="217593"/>
                    <a:pt x="217375" y="217539"/>
                  </a:cubicBezTo>
                  <a:lnTo>
                    <a:pt x="0" y="217539"/>
                  </a:lnTo>
                  <a:cubicBezTo>
                    <a:pt x="0" y="159864"/>
                    <a:pt x="22923" y="104527"/>
                    <a:pt x="63711" y="63739"/>
                  </a:cubicBezTo>
                  <a:cubicBezTo>
                    <a:pt x="104500" y="22923"/>
                    <a:pt x="159836" y="0"/>
                    <a:pt x="217539" y="0"/>
                  </a:cubicBezTo>
                  <a:cubicBezTo>
                    <a:pt x="275213" y="0"/>
                    <a:pt x="330550" y="22923"/>
                    <a:pt x="371366" y="63739"/>
                  </a:cubicBezTo>
                  <a:close/>
                </a:path>
              </a:pathLst>
            </a:custGeom>
            <a:grpFill/>
            <a:ln w="27192" cap="flat">
              <a:noFill/>
              <a:prstDash val="solid"/>
              <a:miter/>
            </a:ln>
          </p:spPr>
          <p:txBody>
            <a:bodyPr rtlCol="0" anchor="ctr"/>
            <a:lstStyle/>
            <a:p>
              <a:endParaRPr lang="uk-UA" sz="900"/>
            </a:p>
          </p:txBody>
        </p:sp>
        <p:sp>
          <p:nvSpPr>
            <p:cNvPr id="427" name="Freeform: Shape 426">
              <a:extLst>
                <a:ext uri="{FF2B5EF4-FFF2-40B4-BE49-F238E27FC236}">
                  <a16:creationId xmlns:a16="http://schemas.microsoft.com/office/drawing/2014/main" id="{83365365-63F4-705F-B80D-96BE6CD7288B}"/>
                </a:ext>
              </a:extLst>
            </p:cNvPr>
            <p:cNvSpPr/>
            <p:nvPr/>
          </p:nvSpPr>
          <p:spPr>
            <a:xfrm>
              <a:off x="2576079" y="12410767"/>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428" name="Freeform: Shape 427">
              <a:extLst>
                <a:ext uri="{FF2B5EF4-FFF2-40B4-BE49-F238E27FC236}">
                  <a16:creationId xmlns:a16="http://schemas.microsoft.com/office/drawing/2014/main" id="{39CFB1E6-1B43-BAAC-AFAF-3201410DB982}"/>
                </a:ext>
              </a:extLst>
            </p:cNvPr>
            <p:cNvSpPr/>
            <p:nvPr/>
          </p:nvSpPr>
          <p:spPr>
            <a:xfrm>
              <a:off x="4316416" y="12410767"/>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429" name="Freeform: Shape 428">
              <a:extLst>
                <a:ext uri="{FF2B5EF4-FFF2-40B4-BE49-F238E27FC236}">
                  <a16:creationId xmlns:a16="http://schemas.microsoft.com/office/drawing/2014/main" id="{F3BAB95C-A362-7F05-EC00-82F505D1AA00}"/>
                </a:ext>
              </a:extLst>
            </p:cNvPr>
            <p:cNvSpPr/>
            <p:nvPr/>
          </p:nvSpPr>
          <p:spPr>
            <a:xfrm>
              <a:off x="3446261" y="12410767"/>
              <a:ext cx="435077" cy="435104"/>
            </a:xfrm>
            <a:custGeom>
              <a:avLst/>
              <a:gdLst>
                <a:gd name="connsiteX0" fmla="*/ 0 w 435077"/>
                <a:gd name="connsiteY0" fmla="*/ 435077 h 435104"/>
                <a:gd name="connsiteX1" fmla="*/ 217512 w 435077"/>
                <a:gd name="connsiteY1" fmla="*/ 435077 h 435104"/>
                <a:gd name="connsiteX2" fmla="*/ 217512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12" y="435077"/>
                  </a:lnTo>
                  <a:lnTo>
                    <a:pt x="217512"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430" name="Freeform: Shape 429">
              <a:extLst>
                <a:ext uri="{FF2B5EF4-FFF2-40B4-BE49-F238E27FC236}">
                  <a16:creationId xmlns:a16="http://schemas.microsoft.com/office/drawing/2014/main" id="{BD5F0627-9F9A-DEE3-FC99-082759273172}"/>
                </a:ext>
              </a:extLst>
            </p:cNvPr>
            <p:cNvSpPr/>
            <p:nvPr/>
          </p:nvSpPr>
          <p:spPr>
            <a:xfrm>
              <a:off x="5186571" y="12410767"/>
              <a:ext cx="435103" cy="435077"/>
            </a:xfrm>
            <a:custGeom>
              <a:avLst/>
              <a:gdLst>
                <a:gd name="connsiteX0" fmla="*/ 371365 w 435103"/>
                <a:gd name="connsiteY0" fmla="*/ 63739 h 435077"/>
                <a:gd name="connsiteX1" fmla="*/ 435077 w 435103"/>
                <a:gd name="connsiteY1" fmla="*/ 217539 h 435077"/>
                <a:gd name="connsiteX2" fmla="*/ 217729 w 435103"/>
                <a:gd name="connsiteY2" fmla="*/ 217539 h 435077"/>
                <a:gd name="connsiteX3" fmla="*/ 371365 w 435103"/>
                <a:gd name="connsiteY3" fmla="*/ 281277 h 435077"/>
                <a:gd name="connsiteX4" fmla="*/ 435104 w 435103"/>
                <a:gd name="connsiteY4" fmla="*/ 435077 h 435077"/>
                <a:gd name="connsiteX5" fmla="*/ 217565 w 435103"/>
                <a:gd name="connsiteY5" fmla="*/ 435077 h 435077"/>
                <a:gd name="connsiteX6" fmla="*/ 27 w 435103"/>
                <a:gd name="connsiteY6" fmla="*/ 435077 h 435077"/>
                <a:gd name="connsiteX7" fmla="*/ 63739 w 435103"/>
                <a:gd name="connsiteY7" fmla="*/ 281277 h 435077"/>
                <a:gd name="connsiteX8" fmla="*/ 217375 w 435103"/>
                <a:gd name="connsiteY8" fmla="*/ 217539 h 435077"/>
                <a:gd name="connsiteX9" fmla="*/ 0 w 435103"/>
                <a:gd name="connsiteY9" fmla="*/ 217539 h 435077"/>
                <a:gd name="connsiteX10" fmla="*/ 63739 w 435103"/>
                <a:gd name="connsiteY10" fmla="*/ 63739 h 435077"/>
                <a:gd name="connsiteX11" fmla="*/ 217539 w 435103"/>
                <a:gd name="connsiteY11" fmla="*/ 0 h 435077"/>
                <a:gd name="connsiteX12" fmla="*/ 371365 w 435103"/>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3" h="435077">
                  <a:moveTo>
                    <a:pt x="371365" y="63739"/>
                  </a:moveTo>
                  <a:cubicBezTo>
                    <a:pt x="412181" y="104527"/>
                    <a:pt x="435077" y="159864"/>
                    <a:pt x="435077" y="217539"/>
                  </a:cubicBezTo>
                  <a:lnTo>
                    <a:pt x="217729" y="217539"/>
                  </a:lnTo>
                  <a:cubicBezTo>
                    <a:pt x="275349" y="217593"/>
                    <a:pt x="330632" y="240516"/>
                    <a:pt x="371365" y="281277"/>
                  </a:cubicBezTo>
                  <a:cubicBezTo>
                    <a:pt x="412181" y="322066"/>
                    <a:pt x="435104" y="377402"/>
                    <a:pt x="435104" y="435077"/>
                  </a:cubicBezTo>
                  <a:lnTo>
                    <a:pt x="217565" y="435077"/>
                  </a:lnTo>
                  <a:lnTo>
                    <a:pt x="27" y="435077"/>
                  </a:lnTo>
                  <a:cubicBezTo>
                    <a:pt x="27" y="377402"/>
                    <a:pt x="22923" y="322066"/>
                    <a:pt x="63739" y="281277"/>
                  </a:cubicBezTo>
                  <a:cubicBezTo>
                    <a:pt x="104500" y="240516"/>
                    <a:pt x="159755" y="217593"/>
                    <a:pt x="217375" y="217539"/>
                  </a:cubicBezTo>
                  <a:lnTo>
                    <a:pt x="0" y="217539"/>
                  </a:lnTo>
                  <a:cubicBezTo>
                    <a:pt x="0" y="159864"/>
                    <a:pt x="22923" y="104527"/>
                    <a:pt x="63739" y="63739"/>
                  </a:cubicBezTo>
                  <a:cubicBezTo>
                    <a:pt x="104527" y="22923"/>
                    <a:pt x="159864" y="0"/>
                    <a:pt x="217539" y="0"/>
                  </a:cubicBezTo>
                  <a:cubicBezTo>
                    <a:pt x="275240" y="0"/>
                    <a:pt x="330577" y="22923"/>
                    <a:pt x="371365" y="63739"/>
                  </a:cubicBezTo>
                  <a:close/>
                </a:path>
              </a:pathLst>
            </a:custGeom>
            <a:grpFill/>
            <a:ln w="27192" cap="flat">
              <a:noFill/>
              <a:prstDash val="solid"/>
              <a:miter/>
            </a:ln>
          </p:spPr>
          <p:txBody>
            <a:bodyPr rtlCol="0" anchor="ctr"/>
            <a:lstStyle/>
            <a:p>
              <a:endParaRPr lang="uk-UA" sz="900"/>
            </a:p>
          </p:txBody>
        </p:sp>
        <p:sp>
          <p:nvSpPr>
            <p:cNvPr id="431" name="Freeform: Shape 430">
              <a:extLst>
                <a:ext uri="{FF2B5EF4-FFF2-40B4-BE49-F238E27FC236}">
                  <a16:creationId xmlns:a16="http://schemas.microsoft.com/office/drawing/2014/main" id="{ADAB8359-80C9-D2C6-4605-38BF15777E2D}"/>
                </a:ext>
              </a:extLst>
            </p:cNvPr>
            <p:cNvSpPr/>
            <p:nvPr/>
          </p:nvSpPr>
          <p:spPr>
            <a:xfrm>
              <a:off x="6056725" y="12410767"/>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432" name="Freeform: Shape 431">
              <a:extLst>
                <a:ext uri="{FF2B5EF4-FFF2-40B4-BE49-F238E27FC236}">
                  <a16:creationId xmlns:a16="http://schemas.microsoft.com/office/drawing/2014/main" id="{EE7FFEF2-69C8-9CDE-6B58-E389DF727A1B}"/>
                </a:ext>
              </a:extLst>
            </p:cNvPr>
            <p:cNvSpPr/>
            <p:nvPr/>
          </p:nvSpPr>
          <p:spPr>
            <a:xfrm>
              <a:off x="7797062" y="12410767"/>
              <a:ext cx="435077" cy="435077"/>
            </a:xfrm>
            <a:custGeom>
              <a:avLst/>
              <a:gdLst>
                <a:gd name="connsiteX0" fmla="*/ 217539 w 435077"/>
                <a:gd name="connsiteY0" fmla="*/ 0 h 435077"/>
                <a:gd name="connsiteX1" fmla="*/ 217539 w 435077"/>
                <a:gd name="connsiteY1" fmla="*/ 0 h 435077"/>
                <a:gd name="connsiteX2" fmla="*/ 0 w 435077"/>
                <a:gd name="connsiteY2" fmla="*/ 0 h 435077"/>
                <a:gd name="connsiteX3" fmla="*/ 0 w 435077"/>
                <a:gd name="connsiteY3" fmla="*/ 217539 h 435077"/>
                <a:gd name="connsiteX4" fmla="*/ 217539 w 435077"/>
                <a:gd name="connsiteY4" fmla="*/ 27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217539" y="0"/>
                  </a:lnTo>
                  <a:lnTo>
                    <a:pt x="0" y="0"/>
                  </a:lnTo>
                  <a:lnTo>
                    <a:pt x="0" y="217539"/>
                  </a:lnTo>
                  <a:lnTo>
                    <a:pt x="217539" y="27"/>
                  </a:lnTo>
                  <a:lnTo>
                    <a:pt x="435077" y="217539"/>
                  </a:lnTo>
                  <a:lnTo>
                    <a:pt x="217539" y="435077"/>
                  </a:lnTo>
                  <a:lnTo>
                    <a:pt x="0" y="217539"/>
                  </a:lnTo>
                  <a:lnTo>
                    <a:pt x="0" y="435077"/>
                  </a:lnTo>
                  <a:lnTo>
                    <a:pt x="217539" y="435077"/>
                  </a:lnTo>
                  <a:lnTo>
                    <a:pt x="435077" y="435077"/>
                  </a:lnTo>
                  <a:lnTo>
                    <a:pt x="435077" y="217539"/>
                  </a:lnTo>
                  <a:lnTo>
                    <a:pt x="435077" y="0"/>
                  </a:lnTo>
                  <a:lnTo>
                    <a:pt x="217539" y="0"/>
                  </a:lnTo>
                  <a:close/>
                </a:path>
              </a:pathLst>
            </a:custGeom>
            <a:grpFill/>
            <a:ln w="27192" cap="flat">
              <a:noFill/>
              <a:prstDash val="solid"/>
              <a:miter/>
            </a:ln>
          </p:spPr>
          <p:txBody>
            <a:bodyPr rtlCol="0" anchor="ctr"/>
            <a:lstStyle/>
            <a:p>
              <a:endParaRPr lang="uk-UA" sz="900"/>
            </a:p>
          </p:txBody>
        </p:sp>
        <p:sp>
          <p:nvSpPr>
            <p:cNvPr id="433" name="Freeform: Shape 432">
              <a:extLst>
                <a:ext uri="{FF2B5EF4-FFF2-40B4-BE49-F238E27FC236}">
                  <a16:creationId xmlns:a16="http://schemas.microsoft.com/office/drawing/2014/main" id="{BB1E0588-734F-1BFD-7B40-0A83004394B4}"/>
                </a:ext>
              </a:extLst>
            </p:cNvPr>
            <p:cNvSpPr/>
            <p:nvPr/>
          </p:nvSpPr>
          <p:spPr>
            <a:xfrm>
              <a:off x="6926907" y="12410767"/>
              <a:ext cx="435077" cy="435104"/>
            </a:xfrm>
            <a:custGeom>
              <a:avLst/>
              <a:gdLst>
                <a:gd name="connsiteX0" fmla="*/ 0 w 435077"/>
                <a:gd name="connsiteY0" fmla="*/ 435077 h 435104"/>
                <a:gd name="connsiteX1" fmla="*/ 217512 w 435077"/>
                <a:gd name="connsiteY1" fmla="*/ 435077 h 435104"/>
                <a:gd name="connsiteX2" fmla="*/ 217512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12" y="435077"/>
                  </a:lnTo>
                  <a:lnTo>
                    <a:pt x="217512"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434" name="Freeform: Shape 433">
              <a:extLst>
                <a:ext uri="{FF2B5EF4-FFF2-40B4-BE49-F238E27FC236}">
                  <a16:creationId xmlns:a16="http://schemas.microsoft.com/office/drawing/2014/main" id="{842012C6-2E2D-1136-021F-939FA9D7722F}"/>
                </a:ext>
              </a:extLst>
            </p:cNvPr>
            <p:cNvSpPr/>
            <p:nvPr/>
          </p:nvSpPr>
          <p:spPr>
            <a:xfrm>
              <a:off x="8667217" y="12410767"/>
              <a:ext cx="435077" cy="435077"/>
            </a:xfrm>
            <a:custGeom>
              <a:avLst/>
              <a:gdLst>
                <a:gd name="connsiteX0" fmla="*/ 371366 w 435077"/>
                <a:gd name="connsiteY0" fmla="*/ 63739 h 435077"/>
                <a:gd name="connsiteX1" fmla="*/ 435077 w 435077"/>
                <a:gd name="connsiteY1" fmla="*/ 217539 h 435077"/>
                <a:gd name="connsiteX2" fmla="*/ 217702 w 435077"/>
                <a:gd name="connsiteY2" fmla="*/ 217539 h 435077"/>
                <a:gd name="connsiteX3" fmla="*/ 371366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6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39"/>
                  </a:moveTo>
                  <a:cubicBezTo>
                    <a:pt x="412155" y="104527"/>
                    <a:pt x="435077" y="159864"/>
                    <a:pt x="435077" y="217539"/>
                  </a:cubicBezTo>
                  <a:lnTo>
                    <a:pt x="217702" y="217539"/>
                  </a:lnTo>
                  <a:cubicBezTo>
                    <a:pt x="275350" y="217593"/>
                    <a:pt x="330605" y="240516"/>
                    <a:pt x="371366" y="281277"/>
                  </a:cubicBezTo>
                  <a:cubicBezTo>
                    <a:pt x="412155" y="322066"/>
                    <a:pt x="435077" y="377402"/>
                    <a:pt x="435077" y="435077"/>
                  </a:cubicBezTo>
                  <a:lnTo>
                    <a:pt x="217539" y="435077"/>
                  </a:lnTo>
                  <a:lnTo>
                    <a:pt x="0" y="435077"/>
                  </a:lnTo>
                  <a:cubicBezTo>
                    <a:pt x="0" y="377402"/>
                    <a:pt x="22924" y="322066"/>
                    <a:pt x="63712" y="281277"/>
                  </a:cubicBezTo>
                  <a:cubicBezTo>
                    <a:pt x="104473" y="240516"/>
                    <a:pt x="159728" y="217593"/>
                    <a:pt x="217376" y="217539"/>
                  </a:cubicBezTo>
                  <a:lnTo>
                    <a:pt x="0" y="217539"/>
                  </a:lnTo>
                  <a:cubicBezTo>
                    <a:pt x="0" y="159864"/>
                    <a:pt x="22924" y="104527"/>
                    <a:pt x="63712" y="63739"/>
                  </a:cubicBezTo>
                  <a:cubicBezTo>
                    <a:pt x="104501" y="22923"/>
                    <a:pt x="159837" y="0"/>
                    <a:pt x="217539" y="0"/>
                  </a:cubicBezTo>
                  <a:cubicBezTo>
                    <a:pt x="275241" y="0"/>
                    <a:pt x="330550" y="22923"/>
                    <a:pt x="371366" y="63739"/>
                  </a:cubicBezTo>
                  <a:close/>
                </a:path>
              </a:pathLst>
            </a:custGeom>
            <a:grpFill/>
            <a:ln w="27192" cap="flat">
              <a:noFill/>
              <a:prstDash val="solid"/>
              <a:miter/>
            </a:ln>
          </p:spPr>
          <p:txBody>
            <a:bodyPr rtlCol="0" anchor="ctr"/>
            <a:lstStyle/>
            <a:p>
              <a:endParaRPr lang="uk-UA" sz="900"/>
            </a:p>
          </p:txBody>
        </p:sp>
        <p:sp>
          <p:nvSpPr>
            <p:cNvPr id="435" name="Freeform: Shape 434">
              <a:extLst>
                <a:ext uri="{FF2B5EF4-FFF2-40B4-BE49-F238E27FC236}">
                  <a16:creationId xmlns:a16="http://schemas.microsoft.com/office/drawing/2014/main" id="{AA92DD2D-A664-EBF9-A4F2-9277440596CB}"/>
                </a:ext>
              </a:extLst>
            </p:cNvPr>
            <p:cNvSpPr/>
            <p:nvPr/>
          </p:nvSpPr>
          <p:spPr>
            <a:xfrm>
              <a:off x="9537371" y="12410767"/>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27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66 h 435077"/>
                <a:gd name="connsiteX9" fmla="*/ 435077 w 435077"/>
                <a:gd name="connsiteY9" fmla="*/ 217566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27"/>
                  </a:lnTo>
                  <a:lnTo>
                    <a:pt x="435077" y="217539"/>
                  </a:lnTo>
                  <a:lnTo>
                    <a:pt x="435077" y="217539"/>
                  </a:lnTo>
                  <a:lnTo>
                    <a:pt x="435077" y="217539"/>
                  </a:lnTo>
                  <a:lnTo>
                    <a:pt x="435077" y="217566"/>
                  </a:lnTo>
                  <a:lnTo>
                    <a:pt x="435077" y="217566"/>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436" name="Freeform: Shape 435">
              <a:extLst>
                <a:ext uri="{FF2B5EF4-FFF2-40B4-BE49-F238E27FC236}">
                  <a16:creationId xmlns:a16="http://schemas.microsoft.com/office/drawing/2014/main" id="{D29BFB37-E88C-892D-10FB-9141CE42CD82}"/>
                </a:ext>
              </a:extLst>
            </p:cNvPr>
            <p:cNvSpPr/>
            <p:nvPr/>
          </p:nvSpPr>
          <p:spPr>
            <a:xfrm>
              <a:off x="11277681" y="12410767"/>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p>
          </p:txBody>
        </p:sp>
        <p:sp>
          <p:nvSpPr>
            <p:cNvPr id="437" name="Freeform: Shape 436">
              <a:extLst>
                <a:ext uri="{FF2B5EF4-FFF2-40B4-BE49-F238E27FC236}">
                  <a16:creationId xmlns:a16="http://schemas.microsoft.com/office/drawing/2014/main" id="{9F95CE21-CA42-1077-9E96-502E71407A9C}"/>
                </a:ext>
              </a:extLst>
            </p:cNvPr>
            <p:cNvSpPr/>
            <p:nvPr/>
          </p:nvSpPr>
          <p:spPr>
            <a:xfrm>
              <a:off x="10407526" y="12410767"/>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438" name="Freeform: Shape 437">
              <a:extLst>
                <a:ext uri="{FF2B5EF4-FFF2-40B4-BE49-F238E27FC236}">
                  <a16:creationId xmlns:a16="http://schemas.microsoft.com/office/drawing/2014/main" id="{8195BCB8-D287-269B-E82B-6589B1930EF2}"/>
                </a:ext>
              </a:extLst>
            </p:cNvPr>
            <p:cNvSpPr/>
            <p:nvPr/>
          </p:nvSpPr>
          <p:spPr>
            <a:xfrm>
              <a:off x="12147864" y="12410767"/>
              <a:ext cx="435077" cy="435077"/>
            </a:xfrm>
            <a:custGeom>
              <a:avLst/>
              <a:gdLst>
                <a:gd name="connsiteX0" fmla="*/ 371365 w 435077"/>
                <a:gd name="connsiteY0" fmla="*/ 63739 h 435077"/>
                <a:gd name="connsiteX1" fmla="*/ 435077 w 435077"/>
                <a:gd name="connsiteY1" fmla="*/ 217539 h 435077"/>
                <a:gd name="connsiteX2" fmla="*/ 217701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0 w 435077"/>
                <a:gd name="connsiteY7" fmla="*/ 281277 h 435077"/>
                <a:gd name="connsiteX8" fmla="*/ 217374 w 435077"/>
                <a:gd name="connsiteY8" fmla="*/ 217539 h 435077"/>
                <a:gd name="connsiteX9" fmla="*/ 0 w 435077"/>
                <a:gd name="connsiteY9" fmla="*/ 217539 h 435077"/>
                <a:gd name="connsiteX10" fmla="*/ 63710 w 435077"/>
                <a:gd name="connsiteY10" fmla="*/ 63739 h 435077"/>
                <a:gd name="connsiteX11" fmla="*/ 217539 w 435077"/>
                <a:gd name="connsiteY11" fmla="*/ 0 h 435077"/>
                <a:gd name="connsiteX12" fmla="*/ 371365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39"/>
                  </a:moveTo>
                  <a:cubicBezTo>
                    <a:pt x="412154" y="104527"/>
                    <a:pt x="435077" y="159864"/>
                    <a:pt x="435077" y="217539"/>
                  </a:cubicBezTo>
                  <a:lnTo>
                    <a:pt x="217701" y="217539"/>
                  </a:lnTo>
                  <a:cubicBezTo>
                    <a:pt x="275349" y="217593"/>
                    <a:pt x="330603" y="240516"/>
                    <a:pt x="371365" y="281277"/>
                  </a:cubicBezTo>
                  <a:cubicBezTo>
                    <a:pt x="412154" y="322066"/>
                    <a:pt x="435077" y="377402"/>
                    <a:pt x="435077" y="435077"/>
                  </a:cubicBezTo>
                  <a:lnTo>
                    <a:pt x="217539" y="435077"/>
                  </a:lnTo>
                  <a:lnTo>
                    <a:pt x="0" y="435077"/>
                  </a:lnTo>
                  <a:cubicBezTo>
                    <a:pt x="0" y="377402"/>
                    <a:pt x="22922" y="322066"/>
                    <a:pt x="63710" y="281277"/>
                  </a:cubicBezTo>
                  <a:cubicBezTo>
                    <a:pt x="104472" y="240516"/>
                    <a:pt x="159727" y="217593"/>
                    <a:pt x="217374" y="217539"/>
                  </a:cubicBezTo>
                  <a:lnTo>
                    <a:pt x="0" y="217539"/>
                  </a:lnTo>
                  <a:cubicBezTo>
                    <a:pt x="0" y="159864"/>
                    <a:pt x="22922" y="104527"/>
                    <a:pt x="63710" y="63739"/>
                  </a:cubicBezTo>
                  <a:cubicBezTo>
                    <a:pt x="104499" y="22923"/>
                    <a:pt x="159836" y="0"/>
                    <a:pt x="217539" y="0"/>
                  </a:cubicBezTo>
                  <a:cubicBezTo>
                    <a:pt x="275239" y="0"/>
                    <a:pt x="330549" y="22923"/>
                    <a:pt x="371365" y="63739"/>
                  </a:cubicBezTo>
                  <a:close/>
                </a:path>
              </a:pathLst>
            </a:custGeom>
            <a:grpFill/>
            <a:ln w="27192" cap="flat">
              <a:noFill/>
              <a:prstDash val="solid"/>
              <a:miter/>
            </a:ln>
          </p:spPr>
          <p:txBody>
            <a:bodyPr rtlCol="0" anchor="ctr"/>
            <a:lstStyle/>
            <a:p>
              <a:endParaRPr lang="uk-UA" sz="900"/>
            </a:p>
          </p:txBody>
        </p:sp>
        <p:sp>
          <p:nvSpPr>
            <p:cNvPr id="439" name="Freeform: Shape 438">
              <a:extLst>
                <a:ext uri="{FF2B5EF4-FFF2-40B4-BE49-F238E27FC236}">
                  <a16:creationId xmlns:a16="http://schemas.microsoft.com/office/drawing/2014/main" id="{E605A8F5-48FB-74BB-4582-E07BC160A602}"/>
                </a:ext>
              </a:extLst>
            </p:cNvPr>
            <p:cNvSpPr/>
            <p:nvPr/>
          </p:nvSpPr>
          <p:spPr>
            <a:xfrm>
              <a:off x="13018019" y="12410767"/>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27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66 h 435077"/>
                <a:gd name="connsiteX9" fmla="*/ 435077 w 435077"/>
                <a:gd name="connsiteY9" fmla="*/ 217566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27"/>
                  </a:lnTo>
                  <a:lnTo>
                    <a:pt x="435077" y="217539"/>
                  </a:lnTo>
                  <a:lnTo>
                    <a:pt x="435077" y="217539"/>
                  </a:lnTo>
                  <a:lnTo>
                    <a:pt x="435077" y="217539"/>
                  </a:lnTo>
                  <a:lnTo>
                    <a:pt x="435077" y="217566"/>
                  </a:lnTo>
                  <a:lnTo>
                    <a:pt x="435077" y="217566"/>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440" name="Freeform: Shape 439">
              <a:extLst>
                <a:ext uri="{FF2B5EF4-FFF2-40B4-BE49-F238E27FC236}">
                  <a16:creationId xmlns:a16="http://schemas.microsoft.com/office/drawing/2014/main" id="{046B112C-A3DD-BD6E-768F-CC048AC9D276}"/>
                </a:ext>
              </a:extLst>
            </p:cNvPr>
            <p:cNvSpPr/>
            <p:nvPr/>
          </p:nvSpPr>
          <p:spPr>
            <a:xfrm>
              <a:off x="14758355" y="12410767"/>
              <a:ext cx="435103" cy="435077"/>
            </a:xfrm>
            <a:custGeom>
              <a:avLst/>
              <a:gdLst>
                <a:gd name="connsiteX0" fmla="*/ 217539 w 435103"/>
                <a:gd name="connsiteY0" fmla="*/ 0 h 435077"/>
                <a:gd name="connsiteX1" fmla="*/ 0 w 435103"/>
                <a:gd name="connsiteY1" fmla="*/ 0 h 435077"/>
                <a:gd name="connsiteX2" fmla="*/ 0 w 435103"/>
                <a:gd name="connsiteY2" fmla="*/ 217539 h 435077"/>
                <a:gd name="connsiteX3" fmla="*/ 217539 w 435103"/>
                <a:gd name="connsiteY3" fmla="*/ 0 h 435077"/>
                <a:gd name="connsiteX4" fmla="*/ 435104 w 435103"/>
                <a:gd name="connsiteY4" fmla="*/ 0 h 435077"/>
                <a:gd name="connsiteX5" fmla="*/ 435104 w 435103"/>
                <a:gd name="connsiteY5" fmla="*/ 217539 h 435077"/>
                <a:gd name="connsiteX6" fmla="*/ 217565 w 435103"/>
                <a:gd name="connsiteY6" fmla="*/ 0 h 435077"/>
                <a:gd name="connsiteX7" fmla="*/ 435104 w 435103"/>
                <a:gd name="connsiteY7" fmla="*/ 0 h 435077"/>
                <a:gd name="connsiteX8" fmla="*/ 217565 w 435103"/>
                <a:gd name="connsiteY8" fmla="*/ 435077 h 435077"/>
                <a:gd name="connsiteX9" fmla="*/ 435104 w 435103"/>
                <a:gd name="connsiteY9" fmla="*/ 217539 h 435077"/>
                <a:gd name="connsiteX10" fmla="*/ 435104 w 435103"/>
                <a:gd name="connsiteY10" fmla="*/ 435077 h 435077"/>
                <a:gd name="connsiteX11" fmla="*/ 217565 w 435103"/>
                <a:gd name="connsiteY11" fmla="*/ 435077 h 435077"/>
                <a:gd name="connsiteX12" fmla="*/ 217565 w 435103"/>
                <a:gd name="connsiteY12" fmla="*/ 435077 h 435077"/>
                <a:gd name="connsiteX13" fmla="*/ 27 w 435103"/>
                <a:gd name="connsiteY13" fmla="*/ 217539 h 435077"/>
                <a:gd name="connsiteX14" fmla="*/ 27 w 435103"/>
                <a:gd name="connsiteY14" fmla="*/ 435077 h 435077"/>
                <a:gd name="connsiteX15" fmla="*/ 217565 w 435103"/>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3" h="435077">
                  <a:moveTo>
                    <a:pt x="217539" y="0"/>
                  </a:moveTo>
                  <a:lnTo>
                    <a:pt x="0" y="0"/>
                  </a:lnTo>
                  <a:lnTo>
                    <a:pt x="0" y="217539"/>
                  </a:lnTo>
                  <a:lnTo>
                    <a:pt x="217539" y="0"/>
                  </a:lnTo>
                  <a:close/>
                  <a:moveTo>
                    <a:pt x="435104" y="0"/>
                  </a:moveTo>
                  <a:lnTo>
                    <a:pt x="435104" y="217539"/>
                  </a:lnTo>
                  <a:lnTo>
                    <a:pt x="217565" y="0"/>
                  </a:lnTo>
                  <a:lnTo>
                    <a:pt x="435104" y="0"/>
                  </a:lnTo>
                  <a:close/>
                  <a:moveTo>
                    <a:pt x="217565" y="435077"/>
                  </a:moveTo>
                  <a:lnTo>
                    <a:pt x="435104" y="217539"/>
                  </a:lnTo>
                  <a:lnTo>
                    <a:pt x="435104" y="435077"/>
                  </a:lnTo>
                  <a:lnTo>
                    <a:pt x="217565" y="435077"/>
                  </a:lnTo>
                  <a:close/>
                  <a:moveTo>
                    <a:pt x="217565" y="435077"/>
                  </a:moveTo>
                  <a:lnTo>
                    <a:pt x="27" y="217539"/>
                  </a:lnTo>
                  <a:lnTo>
                    <a:pt x="27" y="435077"/>
                  </a:lnTo>
                  <a:lnTo>
                    <a:pt x="217565" y="435077"/>
                  </a:lnTo>
                  <a:close/>
                </a:path>
              </a:pathLst>
            </a:custGeom>
            <a:grpFill/>
            <a:ln w="27192" cap="flat">
              <a:noFill/>
              <a:prstDash val="solid"/>
              <a:miter/>
            </a:ln>
          </p:spPr>
          <p:txBody>
            <a:bodyPr rtlCol="0" anchor="ctr"/>
            <a:lstStyle/>
            <a:p>
              <a:endParaRPr lang="uk-UA" sz="900"/>
            </a:p>
          </p:txBody>
        </p:sp>
        <p:sp>
          <p:nvSpPr>
            <p:cNvPr id="441" name="Freeform: Shape 440">
              <a:extLst>
                <a:ext uri="{FF2B5EF4-FFF2-40B4-BE49-F238E27FC236}">
                  <a16:creationId xmlns:a16="http://schemas.microsoft.com/office/drawing/2014/main" id="{D434F666-5E77-0099-1186-5391947FC6EA}"/>
                </a:ext>
              </a:extLst>
            </p:cNvPr>
            <p:cNvSpPr/>
            <p:nvPr/>
          </p:nvSpPr>
          <p:spPr>
            <a:xfrm>
              <a:off x="13888200" y="12410767"/>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442" name="Freeform: Shape 441">
              <a:extLst>
                <a:ext uri="{FF2B5EF4-FFF2-40B4-BE49-F238E27FC236}">
                  <a16:creationId xmlns:a16="http://schemas.microsoft.com/office/drawing/2014/main" id="{C61CF463-16F4-59F5-8B89-385F22A5FEAF}"/>
                </a:ext>
              </a:extLst>
            </p:cNvPr>
            <p:cNvSpPr/>
            <p:nvPr/>
          </p:nvSpPr>
          <p:spPr>
            <a:xfrm>
              <a:off x="15628536" y="12410767"/>
              <a:ext cx="435077" cy="435077"/>
            </a:xfrm>
            <a:custGeom>
              <a:avLst/>
              <a:gdLst>
                <a:gd name="connsiteX0" fmla="*/ 371367 w 435077"/>
                <a:gd name="connsiteY0" fmla="*/ 63739 h 435077"/>
                <a:gd name="connsiteX1" fmla="*/ 435077 w 435077"/>
                <a:gd name="connsiteY1" fmla="*/ 217539 h 435077"/>
                <a:gd name="connsiteX2" fmla="*/ 217703 w 435077"/>
                <a:gd name="connsiteY2" fmla="*/ 217539 h 435077"/>
                <a:gd name="connsiteX3" fmla="*/ 371367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7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7" y="63739"/>
                  </a:moveTo>
                  <a:cubicBezTo>
                    <a:pt x="412155" y="104527"/>
                    <a:pt x="435077" y="159864"/>
                    <a:pt x="435077" y="217539"/>
                  </a:cubicBezTo>
                  <a:lnTo>
                    <a:pt x="217703" y="217539"/>
                  </a:lnTo>
                  <a:cubicBezTo>
                    <a:pt x="275351" y="217593"/>
                    <a:pt x="330605" y="240516"/>
                    <a:pt x="371367" y="281277"/>
                  </a:cubicBezTo>
                  <a:cubicBezTo>
                    <a:pt x="412155" y="322066"/>
                    <a:pt x="435077" y="377402"/>
                    <a:pt x="435077" y="435077"/>
                  </a:cubicBezTo>
                  <a:lnTo>
                    <a:pt x="217539" y="435077"/>
                  </a:lnTo>
                  <a:lnTo>
                    <a:pt x="0" y="435077"/>
                  </a:lnTo>
                  <a:cubicBezTo>
                    <a:pt x="0" y="377402"/>
                    <a:pt x="22924" y="322066"/>
                    <a:pt x="63712" y="281277"/>
                  </a:cubicBezTo>
                  <a:cubicBezTo>
                    <a:pt x="104474" y="240516"/>
                    <a:pt x="159728" y="217593"/>
                    <a:pt x="217376" y="217539"/>
                  </a:cubicBezTo>
                  <a:lnTo>
                    <a:pt x="0" y="217539"/>
                  </a:lnTo>
                  <a:cubicBezTo>
                    <a:pt x="0" y="159864"/>
                    <a:pt x="22924" y="104527"/>
                    <a:pt x="63712" y="63739"/>
                  </a:cubicBezTo>
                  <a:cubicBezTo>
                    <a:pt x="104501" y="22923"/>
                    <a:pt x="159836" y="0"/>
                    <a:pt x="217539" y="0"/>
                  </a:cubicBezTo>
                  <a:cubicBezTo>
                    <a:pt x="275241" y="0"/>
                    <a:pt x="330550" y="22923"/>
                    <a:pt x="371367" y="63739"/>
                  </a:cubicBezTo>
                  <a:close/>
                </a:path>
              </a:pathLst>
            </a:custGeom>
            <a:grpFill/>
            <a:ln w="27192" cap="flat">
              <a:noFill/>
              <a:prstDash val="solid"/>
              <a:miter/>
            </a:ln>
          </p:spPr>
          <p:txBody>
            <a:bodyPr rtlCol="0" anchor="ctr"/>
            <a:lstStyle/>
            <a:p>
              <a:endParaRPr lang="uk-UA" sz="900"/>
            </a:p>
          </p:txBody>
        </p:sp>
        <p:sp>
          <p:nvSpPr>
            <p:cNvPr id="443" name="Freeform: Shape 442">
              <a:extLst>
                <a:ext uri="{FF2B5EF4-FFF2-40B4-BE49-F238E27FC236}">
                  <a16:creationId xmlns:a16="http://schemas.microsoft.com/office/drawing/2014/main" id="{6FFD2D73-19A6-4199-ABB1-73C683EC2AD7}"/>
                </a:ext>
              </a:extLst>
            </p:cNvPr>
            <p:cNvSpPr/>
            <p:nvPr/>
          </p:nvSpPr>
          <p:spPr>
            <a:xfrm>
              <a:off x="16498665" y="12410767"/>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51 w 435077"/>
                <a:gd name="connsiteY7" fmla="*/ 217566 h 435077"/>
                <a:gd name="connsiteX8" fmla="*/ 435077 w 435077"/>
                <a:gd name="connsiteY8" fmla="*/ 217566 h 435077"/>
                <a:gd name="connsiteX9" fmla="*/ 435051 w 435077"/>
                <a:gd name="connsiteY9" fmla="*/ 217539 h 435077"/>
                <a:gd name="connsiteX10" fmla="*/ 435077 w 435077"/>
                <a:gd name="connsiteY10" fmla="*/ 217539 h 435077"/>
                <a:gd name="connsiteX11" fmla="*/ 435051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51" y="217566"/>
                  </a:lnTo>
                  <a:lnTo>
                    <a:pt x="435077" y="217566"/>
                  </a:lnTo>
                  <a:lnTo>
                    <a:pt x="435051" y="217539"/>
                  </a:lnTo>
                  <a:lnTo>
                    <a:pt x="435077" y="217539"/>
                  </a:lnTo>
                  <a:lnTo>
                    <a:pt x="435051"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444" name="Freeform: Shape 443">
              <a:extLst>
                <a:ext uri="{FF2B5EF4-FFF2-40B4-BE49-F238E27FC236}">
                  <a16:creationId xmlns:a16="http://schemas.microsoft.com/office/drawing/2014/main" id="{D75B4636-5CD6-2B8C-4D92-B10BA926DFA3}"/>
                </a:ext>
              </a:extLst>
            </p:cNvPr>
            <p:cNvSpPr/>
            <p:nvPr/>
          </p:nvSpPr>
          <p:spPr>
            <a:xfrm>
              <a:off x="18239029" y="12410767"/>
              <a:ext cx="435077" cy="435077"/>
            </a:xfrm>
            <a:custGeom>
              <a:avLst/>
              <a:gdLst>
                <a:gd name="connsiteX0" fmla="*/ 217539 w 435077"/>
                <a:gd name="connsiteY0" fmla="*/ 0 h 435077"/>
                <a:gd name="connsiteX1" fmla="*/ 217539 w 435077"/>
                <a:gd name="connsiteY1" fmla="*/ 0 h 435077"/>
                <a:gd name="connsiteX2" fmla="*/ 0 w 435077"/>
                <a:gd name="connsiteY2" fmla="*/ 0 h 435077"/>
                <a:gd name="connsiteX3" fmla="*/ 0 w 435077"/>
                <a:gd name="connsiteY3" fmla="*/ 217539 h 435077"/>
                <a:gd name="connsiteX4" fmla="*/ 217539 w 435077"/>
                <a:gd name="connsiteY4" fmla="*/ 27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217539" y="0"/>
                  </a:lnTo>
                  <a:lnTo>
                    <a:pt x="0" y="0"/>
                  </a:lnTo>
                  <a:lnTo>
                    <a:pt x="0" y="217539"/>
                  </a:lnTo>
                  <a:lnTo>
                    <a:pt x="217539" y="27"/>
                  </a:lnTo>
                  <a:lnTo>
                    <a:pt x="435077" y="217539"/>
                  </a:lnTo>
                  <a:lnTo>
                    <a:pt x="217539" y="435077"/>
                  </a:lnTo>
                  <a:lnTo>
                    <a:pt x="0" y="217539"/>
                  </a:lnTo>
                  <a:lnTo>
                    <a:pt x="0" y="435077"/>
                  </a:lnTo>
                  <a:lnTo>
                    <a:pt x="217539" y="435077"/>
                  </a:lnTo>
                  <a:lnTo>
                    <a:pt x="435077" y="435077"/>
                  </a:lnTo>
                  <a:lnTo>
                    <a:pt x="435077" y="217539"/>
                  </a:lnTo>
                  <a:lnTo>
                    <a:pt x="435077" y="0"/>
                  </a:lnTo>
                  <a:lnTo>
                    <a:pt x="217539" y="0"/>
                  </a:lnTo>
                  <a:close/>
                </a:path>
              </a:pathLst>
            </a:custGeom>
            <a:grpFill/>
            <a:ln w="27192" cap="flat">
              <a:noFill/>
              <a:prstDash val="solid"/>
              <a:miter/>
            </a:ln>
          </p:spPr>
          <p:txBody>
            <a:bodyPr rtlCol="0" anchor="ctr"/>
            <a:lstStyle/>
            <a:p>
              <a:endParaRPr lang="uk-UA" sz="900"/>
            </a:p>
          </p:txBody>
        </p:sp>
        <p:sp>
          <p:nvSpPr>
            <p:cNvPr id="445" name="Freeform: Shape 444">
              <a:extLst>
                <a:ext uri="{FF2B5EF4-FFF2-40B4-BE49-F238E27FC236}">
                  <a16:creationId xmlns:a16="http://schemas.microsoft.com/office/drawing/2014/main" id="{B96B76D6-6482-D798-FF32-D739BE85B225}"/>
                </a:ext>
              </a:extLst>
            </p:cNvPr>
            <p:cNvSpPr/>
            <p:nvPr/>
          </p:nvSpPr>
          <p:spPr>
            <a:xfrm>
              <a:off x="17368846" y="12410767"/>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67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67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67" y="435105"/>
                  </a:lnTo>
                  <a:lnTo>
                    <a:pt x="435077" y="217566"/>
                  </a:lnTo>
                  <a:lnTo>
                    <a:pt x="435077" y="435105"/>
                  </a:lnTo>
                  <a:close/>
                  <a:moveTo>
                    <a:pt x="435077" y="27"/>
                  </a:moveTo>
                  <a:lnTo>
                    <a:pt x="217567"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446" name="Freeform: Shape 445">
              <a:extLst>
                <a:ext uri="{FF2B5EF4-FFF2-40B4-BE49-F238E27FC236}">
                  <a16:creationId xmlns:a16="http://schemas.microsoft.com/office/drawing/2014/main" id="{DA1BE80F-7B2C-5B33-B896-04E68CBC8395}"/>
                </a:ext>
              </a:extLst>
            </p:cNvPr>
            <p:cNvSpPr/>
            <p:nvPr/>
          </p:nvSpPr>
          <p:spPr>
            <a:xfrm>
              <a:off x="19109184" y="12410767"/>
              <a:ext cx="435077" cy="435077"/>
            </a:xfrm>
            <a:custGeom>
              <a:avLst/>
              <a:gdLst>
                <a:gd name="connsiteX0" fmla="*/ 371365 w 435077"/>
                <a:gd name="connsiteY0" fmla="*/ 63739 h 435077"/>
                <a:gd name="connsiteX1" fmla="*/ 435077 w 435077"/>
                <a:gd name="connsiteY1" fmla="*/ 217539 h 435077"/>
                <a:gd name="connsiteX2" fmla="*/ 217701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0 w 435077"/>
                <a:gd name="connsiteY7" fmla="*/ 281277 h 435077"/>
                <a:gd name="connsiteX8" fmla="*/ 217374 w 435077"/>
                <a:gd name="connsiteY8" fmla="*/ 217539 h 435077"/>
                <a:gd name="connsiteX9" fmla="*/ 0 w 435077"/>
                <a:gd name="connsiteY9" fmla="*/ 217539 h 435077"/>
                <a:gd name="connsiteX10" fmla="*/ 63710 w 435077"/>
                <a:gd name="connsiteY10" fmla="*/ 63739 h 435077"/>
                <a:gd name="connsiteX11" fmla="*/ 217539 w 435077"/>
                <a:gd name="connsiteY11" fmla="*/ 0 h 435077"/>
                <a:gd name="connsiteX12" fmla="*/ 371365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39"/>
                  </a:moveTo>
                  <a:cubicBezTo>
                    <a:pt x="412154" y="104527"/>
                    <a:pt x="435077" y="159864"/>
                    <a:pt x="435077" y="217539"/>
                  </a:cubicBezTo>
                  <a:lnTo>
                    <a:pt x="217701" y="217539"/>
                  </a:lnTo>
                  <a:cubicBezTo>
                    <a:pt x="275349" y="217593"/>
                    <a:pt x="330603" y="240516"/>
                    <a:pt x="371365" y="281277"/>
                  </a:cubicBezTo>
                  <a:cubicBezTo>
                    <a:pt x="412154" y="322066"/>
                    <a:pt x="435077" y="377402"/>
                    <a:pt x="435077" y="435077"/>
                  </a:cubicBezTo>
                  <a:lnTo>
                    <a:pt x="217539" y="435077"/>
                  </a:lnTo>
                  <a:lnTo>
                    <a:pt x="0" y="435077"/>
                  </a:lnTo>
                  <a:cubicBezTo>
                    <a:pt x="0" y="377402"/>
                    <a:pt x="22922" y="322066"/>
                    <a:pt x="63710" y="281277"/>
                  </a:cubicBezTo>
                  <a:cubicBezTo>
                    <a:pt x="104472" y="240516"/>
                    <a:pt x="159755" y="217593"/>
                    <a:pt x="217374" y="217539"/>
                  </a:cubicBezTo>
                  <a:lnTo>
                    <a:pt x="0" y="217539"/>
                  </a:lnTo>
                  <a:cubicBezTo>
                    <a:pt x="0" y="159864"/>
                    <a:pt x="22922" y="104527"/>
                    <a:pt x="63710" y="63739"/>
                  </a:cubicBezTo>
                  <a:cubicBezTo>
                    <a:pt x="104527" y="22923"/>
                    <a:pt x="159836" y="0"/>
                    <a:pt x="217539" y="0"/>
                  </a:cubicBezTo>
                  <a:cubicBezTo>
                    <a:pt x="275241" y="0"/>
                    <a:pt x="330577" y="22923"/>
                    <a:pt x="371365" y="63739"/>
                  </a:cubicBezTo>
                  <a:close/>
                </a:path>
              </a:pathLst>
            </a:custGeom>
            <a:grpFill/>
            <a:ln w="27192" cap="flat">
              <a:noFill/>
              <a:prstDash val="solid"/>
              <a:miter/>
            </a:ln>
          </p:spPr>
          <p:txBody>
            <a:bodyPr rtlCol="0" anchor="ctr"/>
            <a:lstStyle/>
            <a:p>
              <a:endParaRPr lang="uk-UA" sz="900"/>
            </a:p>
          </p:txBody>
        </p:sp>
        <p:sp>
          <p:nvSpPr>
            <p:cNvPr id="447" name="Freeform: Shape 446">
              <a:extLst>
                <a:ext uri="{FF2B5EF4-FFF2-40B4-BE49-F238E27FC236}">
                  <a16:creationId xmlns:a16="http://schemas.microsoft.com/office/drawing/2014/main" id="{DBA85EDE-8435-A4D4-1778-013D942FD97E}"/>
                </a:ext>
              </a:extLst>
            </p:cNvPr>
            <p:cNvSpPr/>
            <p:nvPr/>
          </p:nvSpPr>
          <p:spPr>
            <a:xfrm>
              <a:off x="19979339" y="12410767"/>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448" name="Freeform: Shape 447">
              <a:extLst>
                <a:ext uri="{FF2B5EF4-FFF2-40B4-BE49-F238E27FC236}">
                  <a16:creationId xmlns:a16="http://schemas.microsoft.com/office/drawing/2014/main" id="{9666D87C-A9A9-0BB8-8133-CF80B816AF5C}"/>
                </a:ext>
              </a:extLst>
            </p:cNvPr>
            <p:cNvSpPr/>
            <p:nvPr/>
          </p:nvSpPr>
          <p:spPr>
            <a:xfrm>
              <a:off x="21719675" y="12410767"/>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449" name="Freeform: Shape 448">
              <a:extLst>
                <a:ext uri="{FF2B5EF4-FFF2-40B4-BE49-F238E27FC236}">
                  <a16:creationId xmlns:a16="http://schemas.microsoft.com/office/drawing/2014/main" id="{040AF5CB-C07D-65D6-C068-7A9C27B2F663}"/>
                </a:ext>
              </a:extLst>
            </p:cNvPr>
            <p:cNvSpPr/>
            <p:nvPr/>
          </p:nvSpPr>
          <p:spPr>
            <a:xfrm>
              <a:off x="20849520" y="12410767"/>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450" name="Freeform: Shape 449">
              <a:extLst>
                <a:ext uri="{FF2B5EF4-FFF2-40B4-BE49-F238E27FC236}">
                  <a16:creationId xmlns:a16="http://schemas.microsoft.com/office/drawing/2014/main" id="{C5E245F6-E7B6-CBE4-7C1B-3113DE278185}"/>
                </a:ext>
              </a:extLst>
            </p:cNvPr>
            <p:cNvSpPr/>
            <p:nvPr/>
          </p:nvSpPr>
          <p:spPr>
            <a:xfrm>
              <a:off x="22589856" y="12410767"/>
              <a:ext cx="435077" cy="435077"/>
            </a:xfrm>
            <a:custGeom>
              <a:avLst/>
              <a:gdLst>
                <a:gd name="connsiteX0" fmla="*/ 371367 w 435077"/>
                <a:gd name="connsiteY0" fmla="*/ 63739 h 435077"/>
                <a:gd name="connsiteX1" fmla="*/ 435077 w 435077"/>
                <a:gd name="connsiteY1" fmla="*/ 217539 h 435077"/>
                <a:gd name="connsiteX2" fmla="*/ 217703 w 435077"/>
                <a:gd name="connsiteY2" fmla="*/ 217539 h 435077"/>
                <a:gd name="connsiteX3" fmla="*/ 371367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7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7" y="63739"/>
                  </a:moveTo>
                  <a:cubicBezTo>
                    <a:pt x="412155" y="104527"/>
                    <a:pt x="435077" y="159864"/>
                    <a:pt x="435077" y="217539"/>
                  </a:cubicBezTo>
                  <a:lnTo>
                    <a:pt x="217703" y="217539"/>
                  </a:lnTo>
                  <a:cubicBezTo>
                    <a:pt x="275351" y="217593"/>
                    <a:pt x="330605" y="240516"/>
                    <a:pt x="371367" y="281277"/>
                  </a:cubicBezTo>
                  <a:cubicBezTo>
                    <a:pt x="412155" y="322066"/>
                    <a:pt x="435077" y="377402"/>
                    <a:pt x="435077" y="435077"/>
                  </a:cubicBezTo>
                  <a:lnTo>
                    <a:pt x="217539" y="435077"/>
                  </a:lnTo>
                  <a:lnTo>
                    <a:pt x="0" y="435077"/>
                  </a:lnTo>
                  <a:cubicBezTo>
                    <a:pt x="0" y="377402"/>
                    <a:pt x="22924" y="322066"/>
                    <a:pt x="63712" y="281277"/>
                  </a:cubicBezTo>
                  <a:cubicBezTo>
                    <a:pt x="104474" y="240516"/>
                    <a:pt x="159728" y="217593"/>
                    <a:pt x="217376" y="217539"/>
                  </a:cubicBezTo>
                  <a:lnTo>
                    <a:pt x="0" y="217539"/>
                  </a:lnTo>
                  <a:cubicBezTo>
                    <a:pt x="0" y="159864"/>
                    <a:pt x="22924" y="104527"/>
                    <a:pt x="63712" y="63739"/>
                  </a:cubicBezTo>
                  <a:cubicBezTo>
                    <a:pt x="104501" y="22923"/>
                    <a:pt x="159838" y="0"/>
                    <a:pt x="217539" y="0"/>
                  </a:cubicBezTo>
                  <a:cubicBezTo>
                    <a:pt x="275215" y="0"/>
                    <a:pt x="330550" y="22923"/>
                    <a:pt x="371367" y="63739"/>
                  </a:cubicBezTo>
                  <a:close/>
                </a:path>
              </a:pathLst>
            </a:custGeom>
            <a:grpFill/>
            <a:ln w="27192" cap="flat">
              <a:noFill/>
              <a:prstDash val="solid"/>
              <a:miter/>
            </a:ln>
          </p:spPr>
          <p:txBody>
            <a:bodyPr rtlCol="0" anchor="ctr"/>
            <a:lstStyle/>
            <a:p>
              <a:endParaRPr lang="uk-UA" sz="900"/>
            </a:p>
          </p:txBody>
        </p:sp>
        <p:sp>
          <p:nvSpPr>
            <p:cNvPr id="451" name="Freeform: Shape 450">
              <a:extLst>
                <a:ext uri="{FF2B5EF4-FFF2-40B4-BE49-F238E27FC236}">
                  <a16:creationId xmlns:a16="http://schemas.microsoft.com/office/drawing/2014/main" id="{02ADB455-4F97-47DF-5E85-899747C7EE89}"/>
                </a:ext>
              </a:extLst>
            </p:cNvPr>
            <p:cNvSpPr/>
            <p:nvPr/>
          </p:nvSpPr>
          <p:spPr>
            <a:xfrm>
              <a:off x="23460011" y="12410767"/>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452" name="Freeform: Shape 451">
              <a:extLst>
                <a:ext uri="{FF2B5EF4-FFF2-40B4-BE49-F238E27FC236}">
                  <a16:creationId xmlns:a16="http://schemas.microsoft.com/office/drawing/2014/main" id="{0E5E013C-A289-70B0-FB4E-0436E9FCCB97}"/>
                </a:ext>
              </a:extLst>
            </p:cNvPr>
            <p:cNvSpPr/>
            <p:nvPr/>
          </p:nvSpPr>
          <p:spPr>
            <a:xfrm>
              <a:off x="24330194" y="12410767"/>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453" name="Freeform: Shape 452">
              <a:extLst>
                <a:ext uri="{FF2B5EF4-FFF2-40B4-BE49-F238E27FC236}">
                  <a16:creationId xmlns:a16="http://schemas.microsoft.com/office/drawing/2014/main" id="{55ED719A-DA7F-FE6C-AF2A-8D110059B60F}"/>
                </a:ext>
              </a:extLst>
            </p:cNvPr>
            <p:cNvSpPr/>
            <p:nvPr/>
          </p:nvSpPr>
          <p:spPr>
            <a:xfrm>
              <a:off x="835742" y="13280949"/>
              <a:ext cx="435077" cy="435050"/>
            </a:xfrm>
            <a:custGeom>
              <a:avLst/>
              <a:gdLst>
                <a:gd name="connsiteX0" fmla="*/ 435077 w 435077"/>
                <a:gd name="connsiteY0" fmla="*/ 435050 h 435050"/>
                <a:gd name="connsiteX1" fmla="*/ 435077 w 435077"/>
                <a:gd name="connsiteY1" fmla="*/ 0 h 435050"/>
                <a:gd name="connsiteX2" fmla="*/ 217566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39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66" y="217539"/>
                  </a:lnTo>
                  <a:lnTo>
                    <a:pt x="435077" y="435050"/>
                  </a:lnTo>
                  <a:close/>
                  <a:moveTo>
                    <a:pt x="0" y="435050"/>
                  </a:moveTo>
                  <a:lnTo>
                    <a:pt x="0" y="0"/>
                  </a:lnTo>
                  <a:lnTo>
                    <a:pt x="217539" y="217539"/>
                  </a:lnTo>
                  <a:lnTo>
                    <a:pt x="0" y="435050"/>
                  </a:lnTo>
                  <a:close/>
                </a:path>
              </a:pathLst>
            </a:custGeom>
            <a:grpFill/>
            <a:ln w="27192" cap="flat">
              <a:noFill/>
              <a:prstDash val="solid"/>
              <a:miter/>
            </a:ln>
          </p:spPr>
          <p:txBody>
            <a:bodyPr rtlCol="0" anchor="ctr"/>
            <a:lstStyle/>
            <a:p>
              <a:endParaRPr lang="uk-UA" sz="900"/>
            </a:p>
          </p:txBody>
        </p:sp>
        <p:sp>
          <p:nvSpPr>
            <p:cNvPr id="454" name="Freeform: Shape 453">
              <a:extLst>
                <a:ext uri="{FF2B5EF4-FFF2-40B4-BE49-F238E27FC236}">
                  <a16:creationId xmlns:a16="http://schemas.microsoft.com/office/drawing/2014/main" id="{A6887E43-BC5D-3A97-AEB3-AD43F3436AA3}"/>
                </a:ext>
              </a:extLst>
            </p:cNvPr>
            <p:cNvSpPr/>
            <p:nvPr/>
          </p:nvSpPr>
          <p:spPr>
            <a:xfrm>
              <a:off x="-34412" y="1328092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455" name="Freeform: Shape 454">
              <a:extLst>
                <a:ext uri="{FF2B5EF4-FFF2-40B4-BE49-F238E27FC236}">
                  <a16:creationId xmlns:a16="http://schemas.microsoft.com/office/drawing/2014/main" id="{5FD1DC08-3BBB-7ACE-70AE-2AC4869D5F3B}"/>
                </a:ext>
              </a:extLst>
            </p:cNvPr>
            <p:cNvSpPr/>
            <p:nvPr/>
          </p:nvSpPr>
          <p:spPr>
            <a:xfrm>
              <a:off x="1705924" y="13280922"/>
              <a:ext cx="435077" cy="435077"/>
            </a:xfrm>
            <a:custGeom>
              <a:avLst/>
              <a:gdLst>
                <a:gd name="connsiteX0" fmla="*/ 63711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1 w 435077"/>
                <a:gd name="connsiteY6" fmla="*/ 153827 h 435077"/>
                <a:gd name="connsiteX7" fmla="*/ 63711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11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1" y="153827"/>
                  </a:moveTo>
                  <a:cubicBezTo>
                    <a:pt x="22923" y="113039"/>
                    <a:pt x="0" y="57702"/>
                    <a:pt x="0" y="0"/>
                  </a:cubicBezTo>
                  <a:lnTo>
                    <a:pt x="217539" y="0"/>
                  </a:lnTo>
                  <a:lnTo>
                    <a:pt x="435077" y="0"/>
                  </a:lnTo>
                  <a:cubicBezTo>
                    <a:pt x="435077" y="57702"/>
                    <a:pt x="412154" y="113039"/>
                    <a:pt x="371366" y="153827"/>
                  </a:cubicBezTo>
                  <a:cubicBezTo>
                    <a:pt x="330550" y="194642"/>
                    <a:pt x="275213" y="217539"/>
                    <a:pt x="217539" y="217539"/>
                  </a:cubicBezTo>
                  <a:cubicBezTo>
                    <a:pt x="159836" y="217539"/>
                    <a:pt x="104500" y="194642"/>
                    <a:pt x="63711" y="153827"/>
                  </a:cubicBezTo>
                  <a:close/>
                  <a:moveTo>
                    <a:pt x="63711" y="281277"/>
                  </a:moveTo>
                  <a:cubicBezTo>
                    <a:pt x="22923" y="322066"/>
                    <a:pt x="0" y="377402"/>
                    <a:pt x="0" y="435077"/>
                  </a:cubicBezTo>
                  <a:lnTo>
                    <a:pt x="217539" y="435077"/>
                  </a:lnTo>
                  <a:lnTo>
                    <a:pt x="435077" y="435077"/>
                  </a:lnTo>
                  <a:cubicBezTo>
                    <a:pt x="435077" y="377402"/>
                    <a:pt x="412154" y="322066"/>
                    <a:pt x="371366" y="281277"/>
                  </a:cubicBezTo>
                  <a:cubicBezTo>
                    <a:pt x="330550" y="240462"/>
                    <a:pt x="275213" y="217539"/>
                    <a:pt x="217539" y="217539"/>
                  </a:cubicBezTo>
                  <a:cubicBezTo>
                    <a:pt x="159836" y="217539"/>
                    <a:pt x="104500" y="240462"/>
                    <a:pt x="63711" y="281277"/>
                  </a:cubicBezTo>
                  <a:close/>
                </a:path>
              </a:pathLst>
            </a:custGeom>
            <a:grpFill/>
            <a:ln w="27192" cap="flat">
              <a:noFill/>
              <a:prstDash val="solid"/>
              <a:miter/>
            </a:ln>
          </p:spPr>
          <p:txBody>
            <a:bodyPr rtlCol="0" anchor="ctr"/>
            <a:lstStyle/>
            <a:p>
              <a:endParaRPr lang="uk-UA" sz="900"/>
            </a:p>
          </p:txBody>
        </p:sp>
        <p:sp>
          <p:nvSpPr>
            <p:cNvPr id="456" name="Freeform: Shape 455">
              <a:extLst>
                <a:ext uri="{FF2B5EF4-FFF2-40B4-BE49-F238E27FC236}">
                  <a16:creationId xmlns:a16="http://schemas.microsoft.com/office/drawing/2014/main" id="{D0D7AA14-B53B-F3D1-16F4-570147940E2C}"/>
                </a:ext>
              </a:extLst>
            </p:cNvPr>
            <p:cNvSpPr/>
            <p:nvPr/>
          </p:nvSpPr>
          <p:spPr>
            <a:xfrm>
              <a:off x="2576079" y="1328092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6 w 435077"/>
                <a:gd name="connsiteY3" fmla="*/ 27 h 435077"/>
                <a:gd name="connsiteX4" fmla="*/ 435077 w 435077"/>
                <a:gd name="connsiteY4" fmla="*/ 217566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6" y="27"/>
                  </a:lnTo>
                  <a:lnTo>
                    <a:pt x="435077" y="217566"/>
                  </a:lnTo>
                  <a:lnTo>
                    <a:pt x="217566"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457" name="Freeform: Shape 456">
              <a:extLst>
                <a:ext uri="{FF2B5EF4-FFF2-40B4-BE49-F238E27FC236}">
                  <a16:creationId xmlns:a16="http://schemas.microsoft.com/office/drawing/2014/main" id="{4BEEDDC1-DCFA-46DA-B0CD-BA6FEB15C326}"/>
                </a:ext>
              </a:extLst>
            </p:cNvPr>
            <p:cNvSpPr/>
            <p:nvPr/>
          </p:nvSpPr>
          <p:spPr>
            <a:xfrm>
              <a:off x="4316416" y="13280949"/>
              <a:ext cx="435077" cy="435050"/>
            </a:xfrm>
            <a:custGeom>
              <a:avLst/>
              <a:gdLst>
                <a:gd name="connsiteX0" fmla="*/ 435077 w 435077"/>
                <a:gd name="connsiteY0" fmla="*/ 435050 h 435050"/>
                <a:gd name="connsiteX1" fmla="*/ 435077 w 435077"/>
                <a:gd name="connsiteY1" fmla="*/ 0 h 435050"/>
                <a:gd name="connsiteX2" fmla="*/ 217565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39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65" y="217539"/>
                  </a:lnTo>
                  <a:lnTo>
                    <a:pt x="435077" y="435050"/>
                  </a:lnTo>
                  <a:close/>
                  <a:moveTo>
                    <a:pt x="0" y="435050"/>
                  </a:moveTo>
                  <a:lnTo>
                    <a:pt x="0" y="0"/>
                  </a:lnTo>
                  <a:lnTo>
                    <a:pt x="217539" y="217539"/>
                  </a:lnTo>
                  <a:lnTo>
                    <a:pt x="0" y="435050"/>
                  </a:lnTo>
                  <a:close/>
                </a:path>
              </a:pathLst>
            </a:custGeom>
            <a:grpFill/>
            <a:ln w="27192" cap="flat">
              <a:noFill/>
              <a:prstDash val="solid"/>
              <a:miter/>
            </a:ln>
          </p:spPr>
          <p:txBody>
            <a:bodyPr rtlCol="0" anchor="ctr"/>
            <a:lstStyle/>
            <a:p>
              <a:endParaRPr lang="uk-UA" sz="900"/>
            </a:p>
          </p:txBody>
        </p:sp>
        <p:sp>
          <p:nvSpPr>
            <p:cNvPr id="458" name="Freeform: Shape 457">
              <a:extLst>
                <a:ext uri="{FF2B5EF4-FFF2-40B4-BE49-F238E27FC236}">
                  <a16:creationId xmlns:a16="http://schemas.microsoft.com/office/drawing/2014/main" id="{C457D334-8EF2-4B9D-0841-6CD5CC179D6C}"/>
                </a:ext>
              </a:extLst>
            </p:cNvPr>
            <p:cNvSpPr/>
            <p:nvPr/>
          </p:nvSpPr>
          <p:spPr>
            <a:xfrm>
              <a:off x="3446261" y="1328092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459" name="Freeform: Shape 458">
              <a:extLst>
                <a:ext uri="{FF2B5EF4-FFF2-40B4-BE49-F238E27FC236}">
                  <a16:creationId xmlns:a16="http://schemas.microsoft.com/office/drawing/2014/main" id="{90847E50-737C-3438-B86F-383625BBD120}"/>
                </a:ext>
              </a:extLst>
            </p:cNvPr>
            <p:cNvSpPr/>
            <p:nvPr/>
          </p:nvSpPr>
          <p:spPr>
            <a:xfrm>
              <a:off x="5186571" y="13280922"/>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39 w 435077"/>
                <a:gd name="connsiteY6" fmla="*/ 153827 h 435077"/>
                <a:gd name="connsiteX7" fmla="*/ 63739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77 h 435077"/>
                <a:gd name="connsiteX12" fmla="*/ 217539 w 435077"/>
                <a:gd name="connsiteY12" fmla="*/ 217539 h 435077"/>
                <a:gd name="connsiteX13" fmla="*/ 63739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3" y="113039"/>
                    <a:pt x="0" y="57702"/>
                    <a:pt x="0" y="0"/>
                  </a:cubicBezTo>
                  <a:lnTo>
                    <a:pt x="217539" y="0"/>
                  </a:lnTo>
                  <a:lnTo>
                    <a:pt x="435077" y="0"/>
                  </a:lnTo>
                  <a:cubicBezTo>
                    <a:pt x="435077" y="57702"/>
                    <a:pt x="412181" y="113039"/>
                    <a:pt x="371365" y="153827"/>
                  </a:cubicBezTo>
                  <a:cubicBezTo>
                    <a:pt x="330577" y="194642"/>
                    <a:pt x="275240" y="217539"/>
                    <a:pt x="217539" y="217539"/>
                  </a:cubicBezTo>
                  <a:cubicBezTo>
                    <a:pt x="159864" y="217539"/>
                    <a:pt x="104527" y="194642"/>
                    <a:pt x="63739" y="153827"/>
                  </a:cubicBezTo>
                  <a:close/>
                  <a:moveTo>
                    <a:pt x="63739" y="281277"/>
                  </a:moveTo>
                  <a:cubicBezTo>
                    <a:pt x="22923" y="322066"/>
                    <a:pt x="0" y="377402"/>
                    <a:pt x="0" y="435077"/>
                  </a:cubicBezTo>
                  <a:lnTo>
                    <a:pt x="217539" y="435077"/>
                  </a:lnTo>
                  <a:lnTo>
                    <a:pt x="435077" y="435077"/>
                  </a:lnTo>
                  <a:cubicBezTo>
                    <a:pt x="435077" y="377402"/>
                    <a:pt x="412181" y="322066"/>
                    <a:pt x="371365" y="281277"/>
                  </a:cubicBezTo>
                  <a:cubicBezTo>
                    <a:pt x="330577" y="240462"/>
                    <a:pt x="275240" y="217539"/>
                    <a:pt x="217539" y="217539"/>
                  </a:cubicBezTo>
                  <a:cubicBezTo>
                    <a:pt x="159864" y="217539"/>
                    <a:pt x="104527" y="240462"/>
                    <a:pt x="63739" y="281277"/>
                  </a:cubicBezTo>
                  <a:close/>
                </a:path>
              </a:pathLst>
            </a:custGeom>
            <a:grpFill/>
            <a:ln w="27192" cap="flat">
              <a:noFill/>
              <a:prstDash val="solid"/>
              <a:miter/>
            </a:ln>
          </p:spPr>
          <p:txBody>
            <a:bodyPr rtlCol="0" anchor="ctr"/>
            <a:lstStyle/>
            <a:p>
              <a:endParaRPr lang="uk-UA" sz="900"/>
            </a:p>
          </p:txBody>
        </p:sp>
        <p:sp>
          <p:nvSpPr>
            <p:cNvPr id="460" name="Freeform: Shape 459">
              <a:extLst>
                <a:ext uri="{FF2B5EF4-FFF2-40B4-BE49-F238E27FC236}">
                  <a16:creationId xmlns:a16="http://schemas.microsoft.com/office/drawing/2014/main" id="{D2204353-5C97-AFCD-8687-065B37766F2F}"/>
                </a:ext>
              </a:extLst>
            </p:cNvPr>
            <p:cNvSpPr/>
            <p:nvPr/>
          </p:nvSpPr>
          <p:spPr>
            <a:xfrm>
              <a:off x="6056725" y="1328092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5 w 435077"/>
                <a:gd name="connsiteY3" fmla="*/ 27 h 435077"/>
                <a:gd name="connsiteX4" fmla="*/ 435077 w 435077"/>
                <a:gd name="connsiteY4" fmla="*/ 217566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5" y="27"/>
                  </a:lnTo>
                  <a:lnTo>
                    <a:pt x="435077" y="217566"/>
                  </a:lnTo>
                  <a:lnTo>
                    <a:pt x="217565"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461" name="Freeform: Shape 460">
              <a:extLst>
                <a:ext uri="{FF2B5EF4-FFF2-40B4-BE49-F238E27FC236}">
                  <a16:creationId xmlns:a16="http://schemas.microsoft.com/office/drawing/2014/main" id="{F05C5377-ADDE-A6F4-12CB-AD3C28042A3B}"/>
                </a:ext>
              </a:extLst>
            </p:cNvPr>
            <p:cNvSpPr/>
            <p:nvPr/>
          </p:nvSpPr>
          <p:spPr>
            <a:xfrm>
              <a:off x="7797062" y="13280949"/>
              <a:ext cx="435077" cy="435050"/>
            </a:xfrm>
            <a:custGeom>
              <a:avLst/>
              <a:gdLst>
                <a:gd name="connsiteX0" fmla="*/ 435077 w 435077"/>
                <a:gd name="connsiteY0" fmla="*/ 435050 h 435050"/>
                <a:gd name="connsiteX1" fmla="*/ 435077 w 435077"/>
                <a:gd name="connsiteY1" fmla="*/ 0 h 435050"/>
                <a:gd name="connsiteX2" fmla="*/ 217566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39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66" y="217539"/>
                  </a:lnTo>
                  <a:lnTo>
                    <a:pt x="435077" y="435050"/>
                  </a:lnTo>
                  <a:close/>
                  <a:moveTo>
                    <a:pt x="0" y="435050"/>
                  </a:moveTo>
                  <a:lnTo>
                    <a:pt x="0" y="0"/>
                  </a:lnTo>
                  <a:lnTo>
                    <a:pt x="217539" y="217539"/>
                  </a:lnTo>
                  <a:lnTo>
                    <a:pt x="0" y="435050"/>
                  </a:lnTo>
                  <a:close/>
                </a:path>
              </a:pathLst>
            </a:custGeom>
            <a:grpFill/>
            <a:ln w="27192" cap="flat">
              <a:noFill/>
              <a:prstDash val="solid"/>
              <a:miter/>
            </a:ln>
          </p:spPr>
          <p:txBody>
            <a:bodyPr rtlCol="0" anchor="ctr"/>
            <a:lstStyle/>
            <a:p>
              <a:endParaRPr lang="uk-UA" sz="900"/>
            </a:p>
          </p:txBody>
        </p:sp>
        <p:sp>
          <p:nvSpPr>
            <p:cNvPr id="462" name="Freeform: Shape 461">
              <a:extLst>
                <a:ext uri="{FF2B5EF4-FFF2-40B4-BE49-F238E27FC236}">
                  <a16:creationId xmlns:a16="http://schemas.microsoft.com/office/drawing/2014/main" id="{20BDA93C-A280-45B2-53A2-7094B9858854}"/>
                </a:ext>
              </a:extLst>
            </p:cNvPr>
            <p:cNvSpPr/>
            <p:nvPr/>
          </p:nvSpPr>
          <p:spPr>
            <a:xfrm>
              <a:off x="6926907" y="13280922"/>
              <a:ext cx="435077" cy="435077"/>
            </a:xfrm>
            <a:custGeom>
              <a:avLst/>
              <a:gdLst>
                <a:gd name="connsiteX0" fmla="*/ 0 w 435077"/>
                <a:gd name="connsiteY0" fmla="*/ 435077 h 435077"/>
                <a:gd name="connsiteX1" fmla="*/ 0 w 435077"/>
                <a:gd name="connsiteY1" fmla="*/ 0 h 435077"/>
                <a:gd name="connsiteX2" fmla="*/ 217512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12"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463" name="Freeform: Shape 462">
              <a:extLst>
                <a:ext uri="{FF2B5EF4-FFF2-40B4-BE49-F238E27FC236}">
                  <a16:creationId xmlns:a16="http://schemas.microsoft.com/office/drawing/2014/main" id="{578C6647-E248-E11E-9FFF-820CDE4C5314}"/>
                </a:ext>
              </a:extLst>
            </p:cNvPr>
            <p:cNvSpPr/>
            <p:nvPr/>
          </p:nvSpPr>
          <p:spPr>
            <a:xfrm>
              <a:off x="8667217" y="1328092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6" y="153827"/>
                  </a:cubicBezTo>
                  <a:cubicBezTo>
                    <a:pt x="330550" y="194642"/>
                    <a:pt x="275241" y="217539"/>
                    <a:pt x="217539" y="217539"/>
                  </a:cubicBezTo>
                  <a:cubicBezTo>
                    <a:pt x="159837"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5" y="322066"/>
                    <a:pt x="371366" y="281277"/>
                  </a:cubicBezTo>
                  <a:cubicBezTo>
                    <a:pt x="330550" y="240462"/>
                    <a:pt x="275241" y="217539"/>
                    <a:pt x="217539" y="217539"/>
                  </a:cubicBezTo>
                  <a:cubicBezTo>
                    <a:pt x="159837" y="217539"/>
                    <a:pt x="104501" y="240462"/>
                    <a:pt x="63712" y="281277"/>
                  </a:cubicBezTo>
                  <a:close/>
                </a:path>
              </a:pathLst>
            </a:custGeom>
            <a:grpFill/>
            <a:ln w="27192" cap="flat">
              <a:noFill/>
              <a:prstDash val="solid"/>
              <a:miter/>
            </a:ln>
          </p:spPr>
          <p:txBody>
            <a:bodyPr rtlCol="0" anchor="ctr"/>
            <a:lstStyle/>
            <a:p>
              <a:endParaRPr lang="uk-UA" sz="900"/>
            </a:p>
          </p:txBody>
        </p:sp>
        <p:sp>
          <p:nvSpPr>
            <p:cNvPr id="464" name="Freeform: Shape 463">
              <a:extLst>
                <a:ext uri="{FF2B5EF4-FFF2-40B4-BE49-F238E27FC236}">
                  <a16:creationId xmlns:a16="http://schemas.microsoft.com/office/drawing/2014/main" id="{5CB5B6D6-AAA1-B7B1-EC4F-AE7DD1BB3398}"/>
                </a:ext>
              </a:extLst>
            </p:cNvPr>
            <p:cNvSpPr/>
            <p:nvPr/>
          </p:nvSpPr>
          <p:spPr>
            <a:xfrm>
              <a:off x="9537371" y="1328092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6 w 435077"/>
                <a:gd name="connsiteY3" fmla="*/ 27 h 435077"/>
                <a:gd name="connsiteX4" fmla="*/ 435077 w 435077"/>
                <a:gd name="connsiteY4" fmla="*/ 217566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6" y="27"/>
                  </a:lnTo>
                  <a:lnTo>
                    <a:pt x="435077" y="217566"/>
                  </a:lnTo>
                  <a:lnTo>
                    <a:pt x="217566"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465" name="Freeform: Shape 464">
              <a:extLst>
                <a:ext uri="{FF2B5EF4-FFF2-40B4-BE49-F238E27FC236}">
                  <a16:creationId xmlns:a16="http://schemas.microsoft.com/office/drawing/2014/main" id="{A68375BF-AF46-D146-9362-F8C545F9B9C5}"/>
                </a:ext>
              </a:extLst>
            </p:cNvPr>
            <p:cNvSpPr/>
            <p:nvPr/>
          </p:nvSpPr>
          <p:spPr>
            <a:xfrm>
              <a:off x="11277709" y="13280949"/>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0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0" y="217539"/>
                  </a:lnTo>
                  <a:lnTo>
                    <a:pt x="0" y="435050"/>
                  </a:lnTo>
                  <a:close/>
                </a:path>
              </a:pathLst>
            </a:custGeom>
            <a:grpFill/>
            <a:ln w="27192" cap="flat">
              <a:noFill/>
              <a:prstDash val="solid"/>
              <a:miter/>
            </a:ln>
          </p:spPr>
          <p:txBody>
            <a:bodyPr rtlCol="0" anchor="ctr"/>
            <a:lstStyle/>
            <a:p>
              <a:endParaRPr lang="uk-UA" sz="900"/>
            </a:p>
          </p:txBody>
        </p:sp>
        <p:sp>
          <p:nvSpPr>
            <p:cNvPr id="466" name="Freeform: Shape 465">
              <a:extLst>
                <a:ext uri="{FF2B5EF4-FFF2-40B4-BE49-F238E27FC236}">
                  <a16:creationId xmlns:a16="http://schemas.microsoft.com/office/drawing/2014/main" id="{81DFF4F8-EA0A-219B-F4D2-D161EF3E4B4D}"/>
                </a:ext>
              </a:extLst>
            </p:cNvPr>
            <p:cNvSpPr/>
            <p:nvPr/>
          </p:nvSpPr>
          <p:spPr>
            <a:xfrm>
              <a:off x="10407526" y="1328092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467" name="Freeform: Shape 466">
              <a:extLst>
                <a:ext uri="{FF2B5EF4-FFF2-40B4-BE49-F238E27FC236}">
                  <a16:creationId xmlns:a16="http://schemas.microsoft.com/office/drawing/2014/main" id="{EBE8D570-EB40-5805-3E89-B73083D344EC}"/>
                </a:ext>
              </a:extLst>
            </p:cNvPr>
            <p:cNvSpPr/>
            <p:nvPr/>
          </p:nvSpPr>
          <p:spPr>
            <a:xfrm>
              <a:off x="12147864" y="13280922"/>
              <a:ext cx="435077" cy="435077"/>
            </a:xfrm>
            <a:custGeom>
              <a:avLst/>
              <a:gdLst>
                <a:gd name="connsiteX0" fmla="*/ 63710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0 w 435077"/>
                <a:gd name="connsiteY6" fmla="*/ 153827 h 435077"/>
                <a:gd name="connsiteX7" fmla="*/ 63710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77 h 435077"/>
                <a:gd name="connsiteX12" fmla="*/ 217539 w 435077"/>
                <a:gd name="connsiteY12" fmla="*/ 217539 h 435077"/>
                <a:gd name="connsiteX13" fmla="*/ 63710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7"/>
                  </a:moveTo>
                  <a:cubicBezTo>
                    <a:pt x="22922" y="113039"/>
                    <a:pt x="0" y="57702"/>
                    <a:pt x="0" y="0"/>
                  </a:cubicBezTo>
                  <a:lnTo>
                    <a:pt x="217539" y="0"/>
                  </a:lnTo>
                  <a:lnTo>
                    <a:pt x="435077" y="0"/>
                  </a:lnTo>
                  <a:cubicBezTo>
                    <a:pt x="435077" y="57702"/>
                    <a:pt x="412154" y="113039"/>
                    <a:pt x="371365" y="153827"/>
                  </a:cubicBezTo>
                  <a:cubicBezTo>
                    <a:pt x="330549" y="194642"/>
                    <a:pt x="275239" y="217539"/>
                    <a:pt x="217539" y="217539"/>
                  </a:cubicBezTo>
                  <a:cubicBezTo>
                    <a:pt x="159836" y="217539"/>
                    <a:pt x="104499" y="194642"/>
                    <a:pt x="63710" y="153827"/>
                  </a:cubicBezTo>
                  <a:close/>
                  <a:moveTo>
                    <a:pt x="63710" y="281277"/>
                  </a:moveTo>
                  <a:cubicBezTo>
                    <a:pt x="22922" y="322066"/>
                    <a:pt x="0" y="377402"/>
                    <a:pt x="0" y="435077"/>
                  </a:cubicBezTo>
                  <a:lnTo>
                    <a:pt x="217539" y="435077"/>
                  </a:lnTo>
                  <a:lnTo>
                    <a:pt x="435077" y="435077"/>
                  </a:lnTo>
                  <a:cubicBezTo>
                    <a:pt x="435077" y="377402"/>
                    <a:pt x="412154" y="322066"/>
                    <a:pt x="371365" y="281277"/>
                  </a:cubicBezTo>
                  <a:cubicBezTo>
                    <a:pt x="330549" y="240462"/>
                    <a:pt x="275239" y="217539"/>
                    <a:pt x="217539" y="217539"/>
                  </a:cubicBezTo>
                  <a:cubicBezTo>
                    <a:pt x="159836" y="217539"/>
                    <a:pt x="104499" y="240462"/>
                    <a:pt x="63710" y="281277"/>
                  </a:cubicBezTo>
                  <a:close/>
                </a:path>
              </a:pathLst>
            </a:custGeom>
            <a:grpFill/>
            <a:ln w="27192" cap="flat">
              <a:noFill/>
              <a:prstDash val="solid"/>
              <a:miter/>
            </a:ln>
          </p:spPr>
          <p:txBody>
            <a:bodyPr rtlCol="0" anchor="ctr"/>
            <a:lstStyle/>
            <a:p>
              <a:endParaRPr lang="uk-UA" sz="900"/>
            </a:p>
          </p:txBody>
        </p:sp>
        <p:sp>
          <p:nvSpPr>
            <p:cNvPr id="468" name="Freeform: Shape 467">
              <a:extLst>
                <a:ext uri="{FF2B5EF4-FFF2-40B4-BE49-F238E27FC236}">
                  <a16:creationId xmlns:a16="http://schemas.microsoft.com/office/drawing/2014/main" id="{4DA0A94C-67C2-0F24-3AEB-9A72ABEBDF05}"/>
                </a:ext>
              </a:extLst>
            </p:cNvPr>
            <p:cNvSpPr/>
            <p:nvPr/>
          </p:nvSpPr>
          <p:spPr>
            <a:xfrm>
              <a:off x="13018019" y="1328092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5 w 435077"/>
                <a:gd name="connsiteY3" fmla="*/ 27 h 435077"/>
                <a:gd name="connsiteX4" fmla="*/ 435077 w 435077"/>
                <a:gd name="connsiteY4" fmla="*/ 217566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5" y="27"/>
                  </a:lnTo>
                  <a:lnTo>
                    <a:pt x="435077" y="217566"/>
                  </a:lnTo>
                  <a:lnTo>
                    <a:pt x="217565"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469" name="Freeform: Shape 468">
              <a:extLst>
                <a:ext uri="{FF2B5EF4-FFF2-40B4-BE49-F238E27FC236}">
                  <a16:creationId xmlns:a16="http://schemas.microsoft.com/office/drawing/2014/main" id="{C5BC201E-FA30-9715-488C-DBD7373901B4}"/>
                </a:ext>
              </a:extLst>
            </p:cNvPr>
            <p:cNvSpPr/>
            <p:nvPr/>
          </p:nvSpPr>
          <p:spPr>
            <a:xfrm>
              <a:off x="14758382" y="13280949"/>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2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2" y="217539"/>
                  </a:lnTo>
                  <a:lnTo>
                    <a:pt x="0" y="435050"/>
                  </a:lnTo>
                  <a:close/>
                </a:path>
              </a:pathLst>
            </a:custGeom>
            <a:grpFill/>
            <a:ln w="27192" cap="flat">
              <a:noFill/>
              <a:prstDash val="solid"/>
              <a:miter/>
            </a:ln>
          </p:spPr>
          <p:txBody>
            <a:bodyPr rtlCol="0" anchor="ctr"/>
            <a:lstStyle/>
            <a:p>
              <a:endParaRPr lang="uk-UA" sz="900"/>
            </a:p>
          </p:txBody>
        </p:sp>
        <p:sp>
          <p:nvSpPr>
            <p:cNvPr id="470" name="Freeform: Shape 469">
              <a:extLst>
                <a:ext uri="{FF2B5EF4-FFF2-40B4-BE49-F238E27FC236}">
                  <a16:creationId xmlns:a16="http://schemas.microsoft.com/office/drawing/2014/main" id="{67EBFD50-B412-413A-5CDA-E755ADF5488B}"/>
                </a:ext>
              </a:extLst>
            </p:cNvPr>
            <p:cNvSpPr/>
            <p:nvPr/>
          </p:nvSpPr>
          <p:spPr>
            <a:xfrm>
              <a:off x="13888200" y="1328092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471" name="Freeform: Shape 470">
              <a:extLst>
                <a:ext uri="{FF2B5EF4-FFF2-40B4-BE49-F238E27FC236}">
                  <a16:creationId xmlns:a16="http://schemas.microsoft.com/office/drawing/2014/main" id="{DCF4D570-026B-77B2-FD8D-110877704075}"/>
                </a:ext>
              </a:extLst>
            </p:cNvPr>
            <p:cNvSpPr/>
            <p:nvPr/>
          </p:nvSpPr>
          <p:spPr>
            <a:xfrm>
              <a:off x="15628536" y="1328092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7" y="153827"/>
                  </a:cubicBezTo>
                  <a:cubicBezTo>
                    <a:pt x="330550" y="194642"/>
                    <a:pt x="275241" y="217539"/>
                    <a:pt x="217539" y="217539"/>
                  </a:cubicBezTo>
                  <a:cubicBezTo>
                    <a:pt x="159836"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5" y="322066"/>
                    <a:pt x="371367" y="281277"/>
                  </a:cubicBezTo>
                  <a:cubicBezTo>
                    <a:pt x="330550" y="240462"/>
                    <a:pt x="275241" y="217539"/>
                    <a:pt x="217539" y="217539"/>
                  </a:cubicBezTo>
                  <a:cubicBezTo>
                    <a:pt x="159836" y="217539"/>
                    <a:pt x="104501" y="240462"/>
                    <a:pt x="63712" y="281277"/>
                  </a:cubicBezTo>
                  <a:close/>
                </a:path>
              </a:pathLst>
            </a:custGeom>
            <a:grpFill/>
            <a:ln w="27192" cap="flat">
              <a:noFill/>
              <a:prstDash val="solid"/>
              <a:miter/>
            </a:ln>
          </p:spPr>
          <p:txBody>
            <a:bodyPr rtlCol="0" anchor="ctr"/>
            <a:lstStyle/>
            <a:p>
              <a:endParaRPr lang="uk-UA" sz="900"/>
            </a:p>
          </p:txBody>
        </p:sp>
        <p:sp>
          <p:nvSpPr>
            <p:cNvPr id="472" name="Freeform: Shape 471">
              <a:extLst>
                <a:ext uri="{FF2B5EF4-FFF2-40B4-BE49-F238E27FC236}">
                  <a16:creationId xmlns:a16="http://schemas.microsoft.com/office/drawing/2014/main" id="{B1A80ACE-CDC5-83A6-82E4-C8B43C931673}"/>
                </a:ext>
              </a:extLst>
            </p:cNvPr>
            <p:cNvSpPr/>
            <p:nvPr/>
          </p:nvSpPr>
          <p:spPr>
            <a:xfrm>
              <a:off x="16498691" y="1328092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7 w 435077"/>
                <a:gd name="connsiteY3" fmla="*/ 27 h 435077"/>
                <a:gd name="connsiteX4" fmla="*/ 435077 w 435077"/>
                <a:gd name="connsiteY4" fmla="*/ 217566 h 435077"/>
                <a:gd name="connsiteX5" fmla="*/ 217567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7" y="27"/>
                  </a:lnTo>
                  <a:lnTo>
                    <a:pt x="435077" y="217566"/>
                  </a:lnTo>
                  <a:lnTo>
                    <a:pt x="217567"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473" name="Freeform: Shape 472">
              <a:extLst>
                <a:ext uri="{FF2B5EF4-FFF2-40B4-BE49-F238E27FC236}">
                  <a16:creationId xmlns:a16="http://schemas.microsoft.com/office/drawing/2014/main" id="{21FBF736-BB18-A24B-A512-02FDC357313C}"/>
                </a:ext>
              </a:extLst>
            </p:cNvPr>
            <p:cNvSpPr/>
            <p:nvPr/>
          </p:nvSpPr>
          <p:spPr>
            <a:xfrm>
              <a:off x="18239029" y="13280949"/>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0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0" y="217539"/>
                  </a:lnTo>
                  <a:lnTo>
                    <a:pt x="0" y="435050"/>
                  </a:lnTo>
                  <a:close/>
                </a:path>
              </a:pathLst>
            </a:custGeom>
            <a:grpFill/>
            <a:ln w="27192" cap="flat">
              <a:noFill/>
              <a:prstDash val="solid"/>
              <a:miter/>
            </a:ln>
          </p:spPr>
          <p:txBody>
            <a:bodyPr rtlCol="0" anchor="ctr"/>
            <a:lstStyle/>
            <a:p>
              <a:endParaRPr lang="uk-UA" sz="900"/>
            </a:p>
          </p:txBody>
        </p:sp>
        <p:sp>
          <p:nvSpPr>
            <p:cNvPr id="474" name="Freeform: Shape 473">
              <a:extLst>
                <a:ext uri="{FF2B5EF4-FFF2-40B4-BE49-F238E27FC236}">
                  <a16:creationId xmlns:a16="http://schemas.microsoft.com/office/drawing/2014/main" id="{CB3243B4-2B19-A666-0552-B33654B6327E}"/>
                </a:ext>
              </a:extLst>
            </p:cNvPr>
            <p:cNvSpPr/>
            <p:nvPr/>
          </p:nvSpPr>
          <p:spPr>
            <a:xfrm>
              <a:off x="17368846" y="1328092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67 w 435077"/>
                <a:gd name="connsiteY4" fmla="*/ 435077 h 435077"/>
                <a:gd name="connsiteX5" fmla="*/ 217567 w 435077"/>
                <a:gd name="connsiteY5" fmla="*/ 0 h 435077"/>
                <a:gd name="connsiteX6" fmla="*/ 435077 w 435077"/>
                <a:gd name="connsiteY6" fmla="*/ 217566 h 435077"/>
                <a:gd name="connsiteX7" fmla="*/ 217567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67" y="435077"/>
                  </a:moveTo>
                  <a:lnTo>
                    <a:pt x="217567" y="0"/>
                  </a:lnTo>
                  <a:lnTo>
                    <a:pt x="435077" y="217566"/>
                  </a:lnTo>
                  <a:lnTo>
                    <a:pt x="217567" y="435077"/>
                  </a:lnTo>
                  <a:close/>
                </a:path>
              </a:pathLst>
            </a:custGeom>
            <a:grpFill/>
            <a:ln w="27192" cap="flat">
              <a:noFill/>
              <a:prstDash val="solid"/>
              <a:miter/>
            </a:ln>
          </p:spPr>
          <p:txBody>
            <a:bodyPr rtlCol="0" anchor="ctr"/>
            <a:lstStyle/>
            <a:p>
              <a:endParaRPr lang="uk-UA" sz="900"/>
            </a:p>
          </p:txBody>
        </p:sp>
        <p:sp>
          <p:nvSpPr>
            <p:cNvPr id="475" name="Freeform: Shape 474">
              <a:extLst>
                <a:ext uri="{FF2B5EF4-FFF2-40B4-BE49-F238E27FC236}">
                  <a16:creationId xmlns:a16="http://schemas.microsoft.com/office/drawing/2014/main" id="{51218ECB-D375-8881-99A1-3A85A195BB7B}"/>
                </a:ext>
              </a:extLst>
            </p:cNvPr>
            <p:cNvSpPr/>
            <p:nvPr/>
          </p:nvSpPr>
          <p:spPr>
            <a:xfrm>
              <a:off x="19109184" y="13280922"/>
              <a:ext cx="435077" cy="435077"/>
            </a:xfrm>
            <a:custGeom>
              <a:avLst/>
              <a:gdLst>
                <a:gd name="connsiteX0" fmla="*/ 63710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0 w 435077"/>
                <a:gd name="connsiteY6" fmla="*/ 153827 h 435077"/>
                <a:gd name="connsiteX7" fmla="*/ 63710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77 h 435077"/>
                <a:gd name="connsiteX12" fmla="*/ 217539 w 435077"/>
                <a:gd name="connsiteY12" fmla="*/ 217539 h 435077"/>
                <a:gd name="connsiteX13" fmla="*/ 63710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7"/>
                  </a:moveTo>
                  <a:cubicBezTo>
                    <a:pt x="22922" y="113039"/>
                    <a:pt x="0" y="57702"/>
                    <a:pt x="0" y="0"/>
                  </a:cubicBezTo>
                  <a:lnTo>
                    <a:pt x="217539" y="0"/>
                  </a:lnTo>
                  <a:lnTo>
                    <a:pt x="435077" y="0"/>
                  </a:lnTo>
                  <a:cubicBezTo>
                    <a:pt x="435077" y="57702"/>
                    <a:pt x="412154" y="113039"/>
                    <a:pt x="371365" y="153827"/>
                  </a:cubicBezTo>
                  <a:cubicBezTo>
                    <a:pt x="330577" y="194642"/>
                    <a:pt x="275241" y="217539"/>
                    <a:pt x="217539" y="217539"/>
                  </a:cubicBezTo>
                  <a:cubicBezTo>
                    <a:pt x="159836" y="217539"/>
                    <a:pt x="104527" y="194642"/>
                    <a:pt x="63710" y="153827"/>
                  </a:cubicBezTo>
                  <a:close/>
                  <a:moveTo>
                    <a:pt x="63710" y="281277"/>
                  </a:moveTo>
                  <a:cubicBezTo>
                    <a:pt x="22922" y="322066"/>
                    <a:pt x="0" y="377402"/>
                    <a:pt x="0" y="435077"/>
                  </a:cubicBezTo>
                  <a:lnTo>
                    <a:pt x="217539" y="435077"/>
                  </a:lnTo>
                  <a:lnTo>
                    <a:pt x="435077" y="435077"/>
                  </a:lnTo>
                  <a:cubicBezTo>
                    <a:pt x="435077" y="377402"/>
                    <a:pt x="412154" y="322066"/>
                    <a:pt x="371365" y="281277"/>
                  </a:cubicBezTo>
                  <a:cubicBezTo>
                    <a:pt x="330577" y="240462"/>
                    <a:pt x="275241" y="217539"/>
                    <a:pt x="217539" y="217539"/>
                  </a:cubicBezTo>
                  <a:cubicBezTo>
                    <a:pt x="159836" y="217539"/>
                    <a:pt x="104527" y="240462"/>
                    <a:pt x="63710" y="281277"/>
                  </a:cubicBezTo>
                  <a:close/>
                </a:path>
              </a:pathLst>
            </a:custGeom>
            <a:grpFill/>
            <a:ln w="27192" cap="flat">
              <a:noFill/>
              <a:prstDash val="solid"/>
              <a:miter/>
            </a:ln>
          </p:spPr>
          <p:txBody>
            <a:bodyPr rtlCol="0" anchor="ctr"/>
            <a:lstStyle/>
            <a:p>
              <a:endParaRPr lang="uk-UA" sz="900"/>
            </a:p>
          </p:txBody>
        </p:sp>
        <p:sp>
          <p:nvSpPr>
            <p:cNvPr id="476" name="Freeform: Shape 475">
              <a:extLst>
                <a:ext uri="{FF2B5EF4-FFF2-40B4-BE49-F238E27FC236}">
                  <a16:creationId xmlns:a16="http://schemas.microsoft.com/office/drawing/2014/main" id="{304FA20E-38F1-86C9-EB6A-344063086F3B}"/>
                </a:ext>
              </a:extLst>
            </p:cNvPr>
            <p:cNvSpPr/>
            <p:nvPr/>
          </p:nvSpPr>
          <p:spPr>
            <a:xfrm>
              <a:off x="19979339" y="1328092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5 w 435077"/>
                <a:gd name="connsiteY3" fmla="*/ 27 h 435077"/>
                <a:gd name="connsiteX4" fmla="*/ 435077 w 435077"/>
                <a:gd name="connsiteY4" fmla="*/ 217566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5" y="27"/>
                  </a:lnTo>
                  <a:lnTo>
                    <a:pt x="435077" y="217566"/>
                  </a:lnTo>
                  <a:lnTo>
                    <a:pt x="217565"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477" name="Freeform: Shape 476">
              <a:extLst>
                <a:ext uri="{FF2B5EF4-FFF2-40B4-BE49-F238E27FC236}">
                  <a16:creationId xmlns:a16="http://schemas.microsoft.com/office/drawing/2014/main" id="{55CF2A9D-B2EC-5AF7-5196-092C09C44290}"/>
                </a:ext>
              </a:extLst>
            </p:cNvPr>
            <p:cNvSpPr/>
            <p:nvPr/>
          </p:nvSpPr>
          <p:spPr>
            <a:xfrm>
              <a:off x="21719675" y="13280922"/>
              <a:ext cx="435077" cy="435077"/>
            </a:xfrm>
            <a:custGeom>
              <a:avLst/>
              <a:gdLst>
                <a:gd name="connsiteX0" fmla="*/ 435077 w 435077"/>
                <a:gd name="connsiteY0" fmla="*/ 435077 h 435077"/>
                <a:gd name="connsiteX1" fmla="*/ 435077 w 435077"/>
                <a:gd name="connsiteY1" fmla="*/ 0 h 435077"/>
                <a:gd name="connsiteX2" fmla="*/ 217565 w 435077"/>
                <a:gd name="connsiteY2" fmla="*/ 217566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66"/>
                  </a:lnTo>
                  <a:lnTo>
                    <a:pt x="435077" y="435077"/>
                  </a:lnTo>
                  <a:close/>
                  <a:moveTo>
                    <a:pt x="0" y="435077"/>
                  </a:moveTo>
                  <a:lnTo>
                    <a:pt x="0" y="0"/>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478" name="Freeform: Shape 477">
              <a:extLst>
                <a:ext uri="{FF2B5EF4-FFF2-40B4-BE49-F238E27FC236}">
                  <a16:creationId xmlns:a16="http://schemas.microsoft.com/office/drawing/2014/main" id="{A6460F16-7992-F9A5-C2A8-2E9E0F56517F}"/>
                </a:ext>
              </a:extLst>
            </p:cNvPr>
            <p:cNvSpPr/>
            <p:nvPr/>
          </p:nvSpPr>
          <p:spPr>
            <a:xfrm>
              <a:off x="20849520" y="1328092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479" name="Freeform: Shape 478">
              <a:extLst>
                <a:ext uri="{FF2B5EF4-FFF2-40B4-BE49-F238E27FC236}">
                  <a16:creationId xmlns:a16="http://schemas.microsoft.com/office/drawing/2014/main" id="{678DB7A5-B7DC-6522-01D8-934725ADBC7B}"/>
                </a:ext>
              </a:extLst>
            </p:cNvPr>
            <p:cNvSpPr/>
            <p:nvPr/>
          </p:nvSpPr>
          <p:spPr>
            <a:xfrm>
              <a:off x="22589856" y="1328092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7" y="153827"/>
                  </a:cubicBezTo>
                  <a:cubicBezTo>
                    <a:pt x="330550" y="194642"/>
                    <a:pt x="275215" y="217539"/>
                    <a:pt x="217539" y="217539"/>
                  </a:cubicBezTo>
                  <a:cubicBezTo>
                    <a:pt x="159838"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5" y="322066"/>
                    <a:pt x="371367" y="281277"/>
                  </a:cubicBezTo>
                  <a:cubicBezTo>
                    <a:pt x="330550" y="240462"/>
                    <a:pt x="275215" y="217539"/>
                    <a:pt x="217539" y="217539"/>
                  </a:cubicBezTo>
                  <a:cubicBezTo>
                    <a:pt x="159838" y="217539"/>
                    <a:pt x="104501" y="240462"/>
                    <a:pt x="63712" y="281277"/>
                  </a:cubicBezTo>
                  <a:close/>
                </a:path>
              </a:pathLst>
            </a:custGeom>
            <a:grpFill/>
            <a:ln w="27192" cap="flat">
              <a:noFill/>
              <a:prstDash val="solid"/>
              <a:miter/>
            </a:ln>
          </p:spPr>
          <p:txBody>
            <a:bodyPr rtlCol="0" anchor="ctr"/>
            <a:lstStyle/>
            <a:p>
              <a:endParaRPr lang="uk-UA" sz="900"/>
            </a:p>
          </p:txBody>
        </p:sp>
        <p:sp>
          <p:nvSpPr>
            <p:cNvPr id="480" name="Freeform: Shape 479">
              <a:extLst>
                <a:ext uri="{FF2B5EF4-FFF2-40B4-BE49-F238E27FC236}">
                  <a16:creationId xmlns:a16="http://schemas.microsoft.com/office/drawing/2014/main" id="{520E5F7A-EB54-3198-05EF-6107D5A41C4B}"/>
                </a:ext>
              </a:extLst>
            </p:cNvPr>
            <p:cNvSpPr/>
            <p:nvPr/>
          </p:nvSpPr>
          <p:spPr>
            <a:xfrm>
              <a:off x="23460011" y="1328092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7 w 435077"/>
                <a:gd name="connsiteY3" fmla="*/ 27 h 435077"/>
                <a:gd name="connsiteX4" fmla="*/ 435077 w 435077"/>
                <a:gd name="connsiteY4" fmla="*/ 217566 h 435077"/>
                <a:gd name="connsiteX5" fmla="*/ 217567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12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7" y="27"/>
                  </a:lnTo>
                  <a:lnTo>
                    <a:pt x="435077" y="217566"/>
                  </a:lnTo>
                  <a:lnTo>
                    <a:pt x="217567" y="435077"/>
                  </a:lnTo>
                  <a:lnTo>
                    <a:pt x="435077" y="435077"/>
                  </a:lnTo>
                  <a:close/>
                  <a:moveTo>
                    <a:pt x="0" y="217539"/>
                  </a:moveTo>
                  <a:lnTo>
                    <a:pt x="0" y="0"/>
                  </a:lnTo>
                  <a:lnTo>
                    <a:pt x="217512" y="217539"/>
                  </a:lnTo>
                  <a:lnTo>
                    <a:pt x="0" y="217539"/>
                  </a:lnTo>
                  <a:close/>
                  <a:moveTo>
                    <a:pt x="0" y="435077"/>
                  </a:moveTo>
                  <a:lnTo>
                    <a:pt x="0" y="217566"/>
                  </a:lnTo>
                  <a:lnTo>
                    <a:pt x="217512" y="217566"/>
                  </a:lnTo>
                  <a:lnTo>
                    <a:pt x="0" y="435077"/>
                  </a:lnTo>
                  <a:close/>
                </a:path>
              </a:pathLst>
            </a:custGeom>
            <a:grpFill/>
            <a:ln w="27192" cap="flat">
              <a:noFill/>
              <a:prstDash val="solid"/>
              <a:miter/>
            </a:ln>
          </p:spPr>
          <p:txBody>
            <a:bodyPr rtlCol="0" anchor="ctr"/>
            <a:lstStyle/>
            <a:p>
              <a:endParaRPr lang="uk-UA" sz="900"/>
            </a:p>
          </p:txBody>
        </p:sp>
        <p:sp>
          <p:nvSpPr>
            <p:cNvPr id="481" name="Freeform: Shape 480">
              <a:extLst>
                <a:ext uri="{FF2B5EF4-FFF2-40B4-BE49-F238E27FC236}">
                  <a16:creationId xmlns:a16="http://schemas.microsoft.com/office/drawing/2014/main" id="{8DA7E87C-1ACC-DE74-F96F-F5D55A1A5178}"/>
                </a:ext>
              </a:extLst>
            </p:cNvPr>
            <p:cNvSpPr/>
            <p:nvPr/>
          </p:nvSpPr>
          <p:spPr>
            <a:xfrm>
              <a:off x="24330194" y="1328092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grpSp>
      <p:sp>
        <p:nvSpPr>
          <p:cNvPr id="6" name="Title 1">
            <a:extLst>
              <a:ext uri="{FF2B5EF4-FFF2-40B4-BE49-F238E27FC236}">
                <a16:creationId xmlns:a16="http://schemas.microsoft.com/office/drawing/2014/main" id="{C31CA7A0-E1EA-CC28-464A-48C141E3AF04}"/>
              </a:ext>
            </a:extLst>
          </p:cNvPr>
          <p:cNvSpPr>
            <a:spLocks noGrp="1"/>
          </p:cNvSpPr>
          <p:nvPr>
            <p:ph type="title"/>
          </p:nvPr>
        </p:nvSpPr>
        <p:spPr>
          <a:xfrm>
            <a:off x="288888" y="169655"/>
            <a:ext cx="5545750" cy="5828714"/>
          </a:xfrm>
        </p:spPr>
        <p:txBody>
          <a:bodyPr/>
          <a:lstStyle>
            <a:lvl1pPr>
              <a:lnSpc>
                <a:spcPct val="100000"/>
              </a:lnSpc>
              <a:defRPr sz="3199">
                <a:solidFill>
                  <a:schemeClr val="tx2"/>
                </a:solidFill>
              </a:defRPr>
            </a:lvl1pPr>
          </a:lstStyle>
          <a:p>
            <a:r>
              <a:rPr lang="en-US"/>
              <a:t>Click to edit Master title style</a:t>
            </a:r>
          </a:p>
        </p:txBody>
      </p:sp>
      <p:sp>
        <p:nvSpPr>
          <p:cNvPr id="30" name="TextBox 29">
            <a:extLst>
              <a:ext uri="{FF2B5EF4-FFF2-40B4-BE49-F238E27FC236}">
                <a16:creationId xmlns:a16="http://schemas.microsoft.com/office/drawing/2014/main" id="{B6AB9E3D-DE47-1DBC-98EF-F2C303C25948}"/>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rgbClr val="000000"/>
                </a:solidFill>
                <a:latin typeface="IBM Plex Sans" panose="020B0503050203000203" pitchFamily="34" charset="0"/>
                <a:ea typeface="+mj-ea"/>
                <a:cs typeface="+mj-cs"/>
                <a:sym typeface="IBM Plex Sans Light"/>
              </a:rPr>
              <a:t>#IBMTechXchange</a:t>
            </a:r>
          </a:p>
        </p:txBody>
      </p:sp>
      <p:sp>
        <p:nvSpPr>
          <p:cNvPr id="8" name="Footer Placeholder 1">
            <a:extLst>
              <a:ext uri="{FF2B5EF4-FFF2-40B4-BE49-F238E27FC236}">
                <a16:creationId xmlns:a16="http://schemas.microsoft.com/office/drawing/2014/main" id="{9BCAF19F-1CE8-B5CA-60ED-FA856519EF00}"/>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
        <p:nvSpPr>
          <p:cNvPr id="4" name="Slide Number">
            <a:extLst>
              <a:ext uri="{FF2B5EF4-FFF2-40B4-BE49-F238E27FC236}">
                <a16:creationId xmlns:a16="http://schemas.microsoft.com/office/drawing/2014/main" id="{BCFA4843-2EEB-F757-826B-7080CBD95F05}"/>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789879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2 callouts">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Title 1">
            <a:extLst>
              <a:ext uri="{FF2B5EF4-FFF2-40B4-BE49-F238E27FC236}">
                <a16:creationId xmlns:a16="http://schemas.microsoft.com/office/drawing/2014/main" id="{6733F7B7-5AD6-1E43-4FD9-3C700AC2CBD0}"/>
              </a:ext>
            </a:extLst>
          </p:cNvPr>
          <p:cNvSpPr>
            <a:spLocks noGrp="1"/>
          </p:cNvSpPr>
          <p:nvPr>
            <p:ph type="title"/>
          </p:nvPr>
        </p:nvSpPr>
        <p:spPr>
          <a:xfrm>
            <a:off x="269212" y="191937"/>
            <a:ext cx="7345034" cy="1285171"/>
          </a:xfrm>
        </p:spPr>
        <p:txBody>
          <a:bodyPr rIns="457200"/>
          <a:lstStyle>
            <a:lvl1pPr>
              <a:lnSpc>
                <a:spcPct val="100000"/>
              </a:lnSpc>
              <a:defRPr sz="3199">
                <a:solidFill>
                  <a:schemeClr val="tx2"/>
                </a:solidFill>
              </a:defRPr>
            </a:lvl1pPr>
          </a:lstStyle>
          <a:p>
            <a:r>
              <a:rPr lang="en-US"/>
              <a:t>Click to edit Master title style</a:t>
            </a:r>
          </a:p>
        </p:txBody>
      </p:sp>
      <p:sp>
        <p:nvSpPr>
          <p:cNvPr id="2" name="Text Placeholder 5">
            <a:extLst>
              <a:ext uri="{FF2B5EF4-FFF2-40B4-BE49-F238E27FC236}">
                <a16:creationId xmlns:a16="http://schemas.microsoft.com/office/drawing/2014/main" id="{393683E6-4962-57E0-9658-36D986D693BD}"/>
              </a:ext>
            </a:extLst>
          </p:cNvPr>
          <p:cNvSpPr>
            <a:spLocks noGrp="1"/>
          </p:cNvSpPr>
          <p:nvPr>
            <p:ph type="body" sz="quarter" idx="11"/>
          </p:nvPr>
        </p:nvSpPr>
        <p:spPr>
          <a:xfrm>
            <a:off x="6669807" y="1999457"/>
            <a:ext cx="4946006" cy="3723164"/>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7">
            <a:extLst>
              <a:ext uri="{FF2B5EF4-FFF2-40B4-BE49-F238E27FC236}">
                <a16:creationId xmlns:a16="http://schemas.microsoft.com/office/drawing/2014/main" id="{322783DF-B709-0768-BAFA-FEDE312037C8}"/>
              </a:ext>
            </a:extLst>
          </p:cNvPr>
          <p:cNvSpPr>
            <a:spLocks noGrp="1"/>
          </p:cNvSpPr>
          <p:nvPr>
            <p:ph type="body" sz="quarter" idx="12"/>
          </p:nvPr>
        </p:nvSpPr>
        <p:spPr>
          <a:xfrm>
            <a:off x="577775" y="1999457"/>
            <a:ext cx="4942038" cy="3723164"/>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1">
            <a:extLst>
              <a:ext uri="{FF2B5EF4-FFF2-40B4-BE49-F238E27FC236}">
                <a16:creationId xmlns:a16="http://schemas.microsoft.com/office/drawing/2014/main" id="{3A62BE5F-1F51-450E-D8FE-040CFAFD9A1C}"/>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
        <p:nvSpPr>
          <p:cNvPr id="7" name="TextBox 6">
            <a:extLst>
              <a:ext uri="{FF2B5EF4-FFF2-40B4-BE49-F238E27FC236}">
                <a16:creationId xmlns:a16="http://schemas.microsoft.com/office/drawing/2014/main" id="{09284B70-BC6C-6444-D91C-5568D1CE4978}"/>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rgbClr val="000000"/>
                </a:solidFill>
                <a:latin typeface="IBM Plex Sans" panose="020B0503050203000203" pitchFamily="34" charset="0"/>
                <a:ea typeface="+mj-ea"/>
                <a:cs typeface="+mj-cs"/>
                <a:sym typeface="IBM Plex Sans Light"/>
              </a:rPr>
              <a:t>#IBMTechXchange</a:t>
            </a:r>
          </a:p>
        </p:txBody>
      </p:sp>
    </p:spTree>
    <p:extLst>
      <p:ext uri="{BB962C8B-B14F-4D97-AF65-F5344CB8AC3E}">
        <p14:creationId xmlns:p14="http://schemas.microsoft.com/office/powerpoint/2010/main" val="391953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ext, pictograms, 2 wide column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87999" y="3429000"/>
            <a:ext cx="5049180" cy="2569369"/>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6380919" y="3429000"/>
            <a:ext cx="5047593" cy="2569369"/>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8" name="Picture Placeholder 12">
            <a:extLst>
              <a:ext uri="{FF2B5EF4-FFF2-40B4-BE49-F238E27FC236}">
                <a16:creationId xmlns:a16="http://schemas.microsoft.com/office/drawing/2014/main" id="{79CF79E9-58BB-513E-43E9-E0BEE12B4583}"/>
              </a:ext>
            </a:extLst>
          </p:cNvPr>
          <p:cNvSpPr>
            <a:spLocks noGrp="1"/>
          </p:cNvSpPr>
          <p:nvPr>
            <p:ph type="pic" sz="quarter" idx="15" hasCustomPrompt="1"/>
          </p:nvPr>
        </p:nvSpPr>
        <p:spPr>
          <a:xfrm>
            <a:off x="287998" y="2478024"/>
            <a:ext cx="607997" cy="608076"/>
          </a:xfrm>
        </p:spPr>
        <p:txBody>
          <a:bodyPr anchor="ctr"/>
          <a:lstStyle>
            <a:lvl1pPr algn="ctr">
              <a:defRPr sz="800"/>
            </a:lvl1pPr>
          </a:lstStyle>
          <a:p>
            <a:r>
              <a:rPr lang="en-US"/>
              <a:t>Pictogram</a:t>
            </a:r>
          </a:p>
        </p:txBody>
      </p:sp>
      <p:sp>
        <p:nvSpPr>
          <p:cNvPr id="9" name="Title 1">
            <a:extLst>
              <a:ext uri="{FF2B5EF4-FFF2-40B4-BE49-F238E27FC236}">
                <a16:creationId xmlns:a16="http://schemas.microsoft.com/office/drawing/2014/main" id="{922459F1-A8D7-D6F0-9077-040A2C23378F}"/>
              </a:ext>
            </a:extLst>
          </p:cNvPr>
          <p:cNvSpPr>
            <a:spLocks noGrp="1"/>
          </p:cNvSpPr>
          <p:nvPr>
            <p:ph type="title"/>
          </p:nvPr>
        </p:nvSpPr>
        <p:spPr>
          <a:xfrm>
            <a:off x="269212" y="191937"/>
            <a:ext cx="7345034" cy="1429544"/>
          </a:xfrm>
        </p:spPr>
        <p:txBody>
          <a:bodyPr rIns="457200"/>
          <a:lstStyle>
            <a:lvl1pPr>
              <a:lnSpc>
                <a:spcPct val="100000"/>
              </a:lnSpc>
              <a:defRPr sz="3199">
                <a:solidFill>
                  <a:schemeClr val="tx2"/>
                </a:solidFill>
              </a:defRPr>
            </a:lvl1pPr>
          </a:lstStyle>
          <a:p>
            <a:r>
              <a:rPr lang="en-US"/>
              <a:t>Click to edit Master title style</a:t>
            </a:r>
          </a:p>
        </p:txBody>
      </p:sp>
      <p:sp>
        <p:nvSpPr>
          <p:cNvPr id="10" name="Picture Placeholder 12">
            <a:extLst>
              <a:ext uri="{FF2B5EF4-FFF2-40B4-BE49-F238E27FC236}">
                <a16:creationId xmlns:a16="http://schemas.microsoft.com/office/drawing/2014/main" id="{FA3EE5FA-E03D-2868-F43C-AED3641C30C5}"/>
              </a:ext>
            </a:extLst>
          </p:cNvPr>
          <p:cNvSpPr>
            <a:spLocks noGrp="1"/>
          </p:cNvSpPr>
          <p:nvPr>
            <p:ph type="pic" sz="quarter" idx="16" hasCustomPrompt="1"/>
          </p:nvPr>
        </p:nvSpPr>
        <p:spPr>
          <a:xfrm>
            <a:off x="6380919" y="2478024"/>
            <a:ext cx="607997" cy="608076"/>
          </a:xfrm>
        </p:spPr>
        <p:txBody>
          <a:bodyPr anchor="ctr"/>
          <a:lstStyle>
            <a:lvl1pPr algn="ctr">
              <a:defRPr sz="800"/>
            </a:lvl1pPr>
          </a:lstStyle>
          <a:p>
            <a:r>
              <a:rPr lang="en-US"/>
              <a:t>Pictogram</a:t>
            </a:r>
          </a:p>
        </p:txBody>
      </p:sp>
      <p:sp>
        <p:nvSpPr>
          <p:cNvPr id="3" name="Footer Placeholder 1">
            <a:extLst>
              <a:ext uri="{FF2B5EF4-FFF2-40B4-BE49-F238E27FC236}">
                <a16:creationId xmlns:a16="http://schemas.microsoft.com/office/drawing/2014/main" id="{4A670BDF-CD12-E7E2-0D14-69CE028ED3DE}"/>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
        <p:nvSpPr>
          <p:cNvPr id="2" name="TextBox 1">
            <a:extLst>
              <a:ext uri="{FF2B5EF4-FFF2-40B4-BE49-F238E27FC236}">
                <a16:creationId xmlns:a16="http://schemas.microsoft.com/office/drawing/2014/main" id="{CAFD2C5D-3974-015A-EBB8-84CB326BB0B8}"/>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rgbClr val="000000"/>
                </a:solidFill>
                <a:latin typeface="IBM Plex Sans" panose="020B0503050203000203" pitchFamily="34" charset="0"/>
                <a:ea typeface="+mj-ea"/>
                <a:cs typeface="+mj-cs"/>
                <a:sym typeface="IBM Plex Sans Light"/>
              </a:rPr>
              <a:t>#IBMTechXchange</a:t>
            </a:r>
          </a:p>
        </p:txBody>
      </p:sp>
    </p:spTree>
    <p:extLst>
      <p:ext uri="{BB962C8B-B14F-4D97-AF65-F5344CB8AC3E}">
        <p14:creationId xmlns:p14="http://schemas.microsoft.com/office/powerpoint/2010/main" val="1493647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section, 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68951" y="198288"/>
            <a:ext cx="5524575" cy="1114846"/>
          </a:xfrm>
        </p:spPr>
        <p:txBody>
          <a:bodyPr rIns="457200"/>
          <a:lstStyle>
            <a:lvl1pPr>
              <a:lnSpc>
                <a:spcPct val="100000"/>
              </a:lnSpc>
              <a:defRPr>
                <a:solidFill>
                  <a:schemeClr val="tx2"/>
                </a:solidFill>
              </a:defRPr>
            </a:lvl1pPr>
          </a:lstStyle>
          <a:p>
            <a:r>
              <a:rPr lang="en-US"/>
              <a:t>Click to edit Master title style</a:t>
            </a:r>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8" y="2824719"/>
            <a:ext cx="3487982" cy="2571750"/>
          </a:xfrm>
        </p:spPr>
        <p:txBody>
          <a:bodyPr/>
          <a:lstStyle>
            <a:lvl1pPr>
              <a:spcBef>
                <a:spcPts val="0"/>
              </a:spcBef>
              <a:spcAft>
                <a:spcPts val="600"/>
              </a:spcAft>
              <a:defRPr sz="1800">
                <a:solidFill>
                  <a:schemeClr val="tx1"/>
                </a:solidFill>
              </a:defRPr>
            </a:lvl1pPr>
            <a:lvl2pPr marL="127990" indent="-127990">
              <a:spcBef>
                <a:spcPts val="0"/>
              </a:spcBef>
              <a:spcAft>
                <a:spcPts val="600"/>
              </a:spcAft>
              <a:defRPr sz="1800">
                <a:solidFill>
                  <a:schemeClr val="tx1"/>
                </a:solidFill>
              </a:defRPr>
            </a:lvl2pPr>
            <a:lvl3pPr marL="255981" indent="-127990">
              <a:spcBef>
                <a:spcPts val="0"/>
              </a:spcBef>
              <a:spcAft>
                <a:spcPts val="600"/>
              </a:spcAft>
              <a:defRPr sz="1800">
                <a:solidFill>
                  <a:schemeClr val="tx1"/>
                </a:solidFill>
              </a:defRPr>
            </a:lvl3pPr>
            <a:lvl4pPr marL="383971" indent="-127990">
              <a:spcBef>
                <a:spcPts val="0"/>
              </a:spcBef>
              <a:spcAft>
                <a:spcPts val="600"/>
              </a:spcAft>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4352358" y="2824719"/>
            <a:ext cx="3487982" cy="2571750"/>
          </a:xfrm>
        </p:spPr>
        <p:txBody>
          <a:bodyPr/>
          <a:lstStyle>
            <a:lvl1pPr>
              <a:spcBef>
                <a:spcPts val="0"/>
              </a:spcBef>
              <a:spcAft>
                <a:spcPts val="600"/>
              </a:spcAft>
              <a:defRPr sz="1800">
                <a:solidFill>
                  <a:schemeClr val="tx1"/>
                </a:solidFill>
              </a:defRPr>
            </a:lvl1pPr>
            <a:lvl2pPr marL="127990" indent="-127990">
              <a:spcBef>
                <a:spcPts val="0"/>
              </a:spcBef>
              <a:spcAft>
                <a:spcPts val="600"/>
              </a:spcAft>
              <a:defRPr sz="1800">
                <a:solidFill>
                  <a:schemeClr val="tx1"/>
                </a:solidFill>
              </a:defRPr>
            </a:lvl2pPr>
            <a:lvl3pPr marL="255981" indent="-127990">
              <a:spcBef>
                <a:spcPts val="0"/>
              </a:spcBef>
              <a:spcAft>
                <a:spcPts val="600"/>
              </a:spcAft>
              <a:defRPr sz="1800">
                <a:solidFill>
                  <a:schemeClr val="tx1"/>
                </a:solidFill>
              </a:defRPr>
            </a:lvl3pPr>
            <a:lvl4pPr marL="383971" indent="-127990">
              <a:spcBef>
                <a:spcPts val="0"/>
              </a:spcBef>
              <a:spcAft>
                <a:spcPts val="600"/>
              </a:spcAft>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8416718" y="2824719"/>
            <a:ext cx="3487982" cy="2571750"/>
          </a:xfrm>
        </p:spPr>
        <p:txBody>
          <a:bodyPr/>
          <a:lstStyle>
            <a:lvl1pPr>
              <a:spcBef>
                <a:spcPts val="0"/>
              </a:spcBef>
              <a:spcAft>
                <a:spcPts val="600"/>
              </a:spcAft>
              <a:defRPr sz="1800">
                <a:solidFill>
                  <a:schemeClr val="tx1"/>
                </a:solidFill>
              </a:defRPr>
            </a:lvl1pPr>
            <a:lvl2pPr marL="127990" indent="-127990">
              <a:spcBef>
                <a:spcPts val="0"/>
              </a:spcBef>
              <a:spcAft>
                <a:spcPts val="600"/>
              </a:spcAft>
              <a:defRPr sz="1800">
                <a:solidFill>
                  <a:schemeClr val="tx1"/>
                </a:solidFill>
              </a:defRPr>
            </a:lvl2pPr>
            <a:lvl3pPr marL="255981" indent="-127990">
              <a:spcBef>
                <a:spcPts val="0"/>
              </a:spcBef>
              <a:spcAft>
                <a:spcPts val="600"/>
              </a:spcAft>
              <a:defRPr sz="1800">
                <a:solidFill>
                  <a:schemeClr val="tx1"/>
                </a:solidFill>
              </a:defRPr>
            </a:lvl3pPr>
            <a:lvl4pPr marL="383971" indent="-127990">
              <a:spcBef>
                <a:spcPts val="0"/>
              </a:spcBef>
              <a:spcAft>
                <a:spcPts val="600"/>
              </a:spcAft>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cxnSp>
        <p:nvCxnSpPr>
          <p:cNvPr id="3" name="Straight Connector 2">
            <a:extLst>
              <a:ext uri="{FF2B5EF4-FFF2-40B4-BE49-F238E27FC236}">
                <a16:creationId xmlns:a16="http://schemas.microsoft.com/office/drawing/2014/main" id="{DD0490D2-C450-EA05-A628-8CDD83FB950C}"/>
              </a:ext>
            </a:extLst>
          </p:cNvPr>
          <p:cNvCxnSpPr>
            <a:cxnSpLocks/>
          </p:cNvCxnSpPr>
          <p:nvPr userDrawn="1"/>
        </p:nvCxnSpPr>
        <p:spPr bwMode="auto">
          <a:xfrm>
            <a:off x="4064169" y="2824719"/>
            <a:ext cx="0" cy="316277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 name="Straight Connector 5">
            <a:extLst>
              <a:ext uri="{FF2B5EF4-FFF2-40B4-BE49-F238E27FC236}">
                <a16:creationId xmlns:a16="http://schemas.microsoft.com/office/drawing/2014/main" id="{DDD95C4A-640F-44BD-E7DB-7952B40B47EA}"/>
              </a:ext>
            </a:extLst>
          </p:cNvPr>
          <p:cNvCxnSpPr>
            <a:cxnSpLocks/>
          </p:cNvCxnSpPr>
          <p:nvPr userDrawn="1"/>
        </p:nvCxnSpPr>
        <p:spPr bwMode="auto">
          <a:xfrm>
            <a:off x="8128529" y="2824719"/>
            <a:ext cx="0" cy="31736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Footer Placeholder 1">
            <a:extLst>
              <a:ext uri="{FF2B5EF4-FFF2-40B4-BE49-F238E27FC236}">
                <a16:creationId xmlns:a16="http://schemas.microsoft.com/office/drawing/2014/main" id="{86080BDB-2578-19DC-62DC-21A64E466A93}"/>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
        <p:nvSpPr>
          <p:cNvPr id="7" name="TextBox 6">
            <a:extLst>
              <a:ext uri="{FF2B5EF4-FFF2-40B4-BE49-F238E27FC236}">
                <a16:creationId xmlns:a16="http://schemas.microsoft.com/office/drawing/2014/main" id="{A15204DA-CECD-F7CE-4C91-433F3390E2D0}"/>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rgbClr val="000000"/>
                </a:solidFill>
                <a:latin typeface="IBM Plex Sans" panose="020B0503050203000203" pitchFamily="34" charset="0"/>
                <a:ea typeface="+mj-ea"/>
                <a:cs typeface="+mj-cs"/>
                <a:sym typeface="IBM Plex Sans Light"/>
              </a:rPr>
              <a:t>#IBMTechXchange</a:t>
            </a:r>
          </a:p>
        </p:txBody>
      </p:sp>
    </p:spTree>
    <p:extLst>
      <p:ext uri="{BB962C8B-B14F-4D97-AF65-F5344CB8AC3E}">
        <p14:creationId xmlns:p14="http://schemas.microsoft.com/office/powerpoint/2010/main" val="2119403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pictograms, 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68951" y="198288"/>
            <a:ext cx="5524575" cy="1114846"/>
          </a:xfrm>
        </p:spPr>
        <p:txBody>
          <a:bodyPr rIns="457200"/>
          <a:lstStyle>
            <a:lvl1pPr>
              <a:lnSpc>
                <a:spcPct val="100000"/>
              </a:lnSpc>
              <a:defRPr>
                <a:solidFill>
                  <a:schemeClr val="tx2"/>
                </a:solidFill>
              </a:defRPr>
            </a:lvl1pPr>
          </a:lstStyle>
          <a:p>
            <a:r>
              <a:rPr lang="en-US"/>
              <a:t>Click to edit Master title style</a:t>
            </a:r>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8" y="3391046"/>
            <a:ext cx="3487982" cy="2571750"/>
          </a:xfrm>
        </p:spPr>
        <p:txBody>
          <a:bodyPr/>
          <a:lstStyle>
            <a:lvl1pPr>
              <a:spcBef>
                <a:spcPts val="0"/>
              </a:spcBef>
              <a:defRPr sz="1800">
                <a:solidFill>
                  <a:schemeClr val="tx1"/>
                </a:solidFill>
              </a:defRPr>
            </a:lvl1pPr>
            <a:lvl2pPr marL="127990" indent="-127990">
              <a:spcBef>
                <a:spcPts val="0"/>
              </a:spcBef>
              <a:defRPr sz="1800">
                <a:solidFill>
                  <a:schemeClr val="tx1"/>
                </a:solidFill>
              </a:defRPr>
            </a:lvl2pPr>
            <a:lvl3pPr marL="255981" indent="-127990">
              <a:spcBef>
                <a:spcPts val="0"/>
              </a:spcBef>
              <a:defRPr sz="1800">
                <a:solidFill>
                  <a:schemeClr val="tx1"/>
                </a:solidFill>
              </a:defRPr>
            </a:lvl3pPr>
            <a:lvl4pPr marL="383971" indent="-127990">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4352358" y="3391046"/>
            <a:ext cx="3487982" cy="2571750"/>
          </a:xfrm>
        </p:spPr>
        <p:txBody>
          <a:bodyPr/>
          <a:lstStyle>
            <a:lvl1pPr>
              <a:spcBef>
                <a:spcPts val="0"/>
              </a:spcBef>
              <a:defRPr sz="1800">
                <a:solidFill>
                  <a:schemeClr val="tx1"/>
                </a:solidFill>
              </a:defRPr>
            </a:lvl1pPr>
            <a:lvl2pPr marL="127990" indent="-127990">
              <a:spcBef>
                <a:spcPts val="0"/>
              </a:spcBef>
              <a:defRPr sz="1800">
                <a:solidFill>
                  <a:schemeClr val="tx1"/>
                </a:solidFill>
              </a:defRPr>
            </a:lvl2pPr>
            <a:lvl3pPr marL="255981" indent="-127990">
              <a:spcBef>
                <a:spcPts val="0"/>
              </a:spcBef>
              <a:defRPr sz="1800">
                <a:solidFill>
                  <a:schemeClr val="tx1"/>
                </a:solidFill>
              </a:defRPr>
            </a:lvl3pPr>
            <a:lvl4pPr marL="383971" indent="-127990">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8416718" y="3391046"/>
            <a:ext cx="3487982" cy="2571750"/>
          </a:xfrm>
        </p:spPr>
        <p:txBody>
          <a:bodyPr/>
          <a:lstStyle>
            <a:lvl1pPr>
              <a:spcBef>
                <a:spcPts val="0"/>
              </a:spcBef>
              <a:defRPr sz="1800">
                <a:solidFill>
                  <a:schemeClr val="tx1"/>
                </a:solidFill>
              </a:defRPr>
            </a:lvl1pPr>
            <a:lvl2pPr marL="127990" indent="-127990">
              <a:spcBef>
                <a:spcPts val="0"/>
              </a:spcBef>
              <a:defRPr sz="1800">
                <a:solidFill>
                  <a:schemeClr val="tx1"/>
                </a:solidFill>
              </a:defRPr>
            </a:lvl2pPr>
            <a:lvl3pPr marL="255981" indent="-127990">
              <a:spcBef>
                <a:spcPts val="0"/>
              </a:spcBef>
              <a:defRPr sz="1800">
                <a:solidFill>
                  <a:schemeClr val="tx1"/>
                </a:solidFill>
              </a:defRPr>
            </a:lvl3pPr>
            <a:lvl4pPr marL="383971" indent="-127990">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9" name="Picture Placeholder 12">
            <a:extLst>
              <a:ext uri="{FF2B5EF4-FFF2-40B4-BE49-F238E27FC236}">
                <a16:creationId xmlns:a16="http://schemas.microsoft.com/office/drawing/2014/main" id="{3D239E8C-BDAD-3BA7-69BA-6E9D9922A765}"/>
              </a:ext>
            </a:extLst>
          </p:cNvPr>
          <p:cNvSpPr>
            <a:spLocks noGrp="1"/>
          </p:cNvSpPr>
          <p:nvPr>
            <p:ph type="pic" sz="quarter" idx="18" hasCustomPrompt="1"/>
          </p:nvPr>
        </p:nvSpPr>
        <p:spPr>
          <a:xfrm>
            <a:off x="4352358" y="2440070"/>
            <a:ext cx="607997" cy="608076"/>
          </a:xfrm>
        </p:spPr>
        <p:txBody>
          <a:bodyPr anchor="ctr"/>
          <a:lstStyle>
            <a:lvl1pPr algn="ctr">
              <a:defRPr sz="800"/>
            </a:lvl1pPr>
          </a:lstStyle>
          <a:p>
            <a:r>
              <a:rPr lang="en-US"/>
              <a:t>Pictogram</a:t>
            </a:r>
          </a:p>
        </p:txBody>
      </p:sp>
      <p:sp>
        <p:nvSpPr>
          <p:cNvPr id="10" name="Picture Placeholder 12">
            <a:extLst>
              <a:ext uri="{FF2B5EF4-FFF2-40B4-BE49-F238E27FC236}">
                <a16:creationId xmlns:a16="http://schemas.microsoft.com/office/drawing/2014/main" id="{78F2607C-C2D8-FFBC-278F-61D7DB611750}"/>
              </a:ext>
            </a:extLst>
          </p:cNvPr>
          <p:cNvSpPr>
            <a:spLocks noGrp="1"/>
          </p:cNvSpPr>
          <p:nvPr>
            <p:ph type="pic" sz="quarter" idx="19" hasCustomPrompt="1"/>
          </p:nvPr>
        </p:nvSpPr>
        <p:spPr>
          <a:xfrm>
            <a:off x="8416718" y="2440070"/>
            <a:ext cx="607997" cy="608076"/>
          </a:xfrm>
        </p:spPr>
        <p:txBody>
          <a:bodyPr anchor="ctr"/>
          <a:lstStyle>
            <a:lvl1pPr algn="ctr">
              <a:defRPr sz="800"/>
            </a:lvl1pPr>
          </a:lstStyle>
          <a:p>
            <a:r>
              <a:rPr lang="en-US"/>
              <a:t>Pictogram</a:t>
            </a:r>
          </a:p>
        </p:txBody>
      </p:sp>
      <p:sp>
        <p:nvSpPr>
          <p:cNvPr id="15" name="Picture Placeholder 12">
            <a:extLst>
              <a:ext uri="{FF2B5EF4-FFF2-40B4-BE49-F238E27FC236}">
                <a16:creationId xmlns:a16="http://schemas.microsoft.com/office/drawing/2014/main" id="{E646E100-F22C-3F1E-673A-CE8E02105E6C}"/>
              </a:ext>
            </a:extLst>
          </p:cNvPr>
          <p:cNvSpPr>
            <a:spLocks noGrp="1"/>
          </p:cNvSpPr>
          <p:nvPr>
            <p:ph type="pic" sz="quarter" idx="21" hasCustomPrompt="1"/>
          </p:nvPr>
        </p:nvSpPr>
        <p:spPr>
          <a:xfrm>
            <a:off x="287998" y="2440070"/>
            <a:ext cx="607997" cy="608076"/>
          </a:xfrm>
        </p:spPr>
        <p:txBody>
          <a:bodyPr anchor="ctr"/>
          <a:lstStyle>
            <a:lvl1pPr algn="ctr">
              <a:defRPr sz="800"/>
            </a:lvl1pPr>
          </a:lstStyle>
          <a:p>
            <a:r>
              <a:rPr lang="en-US"/>
              <a:t>Pictogram</a:t>
            </a:r>
          </a:p>
        </p:txBody>
      </p:sp>
      <p:sp>
        <p:nvSpPr>
          <p:cNvPr id="4" name="Footer Placeholder 1">
            <a:extLst>
              <a:ext uri="{FF2B5EF4-FFF2-40B4-BE49-F238E27FC236}">
                <a16:creationId xmlns:a16="http://schemas.microsoft.com/office/drawing/2014/main" id="{48176892-FFF9-AD2F-96B8-DCCD56B20546}"/>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
        <p:nvSpPr>
          <p:cNvPr id="3" name="TextBox 2">
            <a:extLst>
              <a:ext uri="{FF2B5EF4-FFF2-40B4-BE49-F238E27FC236}">
                <a16:creationId xmlns:a16="http://schemas.microsoft.com/office/drawing/2014/main" id="{5A16FF4A-7B4F-AC5D-FA6F-4D99F2204F19}"/>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rgbClr val="000000"/>
                </a:solidFill>
                <a:latin typeface="IBM Plex Sans" panose="020B0503050203000203" pitchFamily="34" charset="0"/>
                <a:ea typeface="+mj-ea"/>
                <a:cs typeface="+mj-cs"/>
                <a:sym typeface="IBM Plex Sans Light"/>
              </a:rPr>
              <a:t>#IBMTechXchange</a:t>
            </a:r>
          </a:p>
        </p:txBody>
      </p:sp>
    </p:spTree>
    <p:extLst>
      <p:ext uri="{BB962C8B-B14F-4D97-AF65-F5344CB8AC3E}">
        <p14:creationId xmlns:p14="http://schemas.microsoft.com/office/powerpoint/2010/main" val="312850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section, 3 middl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68951" y="198287"/>
            <a:ext cx="2493638" cy="3230713"/>
          </a:xfrm>
        </p:spPr>
        <p:txBody>
          <a:bodyPr rIns="457200"/>
          <a:lstStyle>
            <a:lvl1pPr>
              <a:lnSpc>
                <a:spcPct val="100000"/>
              </a:lnSpc>
              <a:defRPr>
                <a:solidFill>
                  <a:schemeClr val="tx2"/>
                </a:solidFill>
              </a:defRPr>
            </a:lvl1pPr>
          </a:lstStyle>
          <a:p>
            <a:r>
              <a:rPr lang="en-US"/>
              <a:t>Click to edit Master title style</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54298" y="2571750"/>
            <a:ext cx="2474590" cy="2571750"/>
          </a:xfrm>
        </p:spPr>
        <p:txBody>
          <a:bodyPr/>
          <a:lstStyle>
            <a:lvl1pPr>
              <a:spcBef>
                <a:spcPts val="0"/>
              </a:spcBef>
              <a:spcAft>
                <a:spcPts val="600"/>
              </a:spcAft>
              <a:defRPr sz="1800">
                <a:solidFill>
                  <a:schemeClr val="tx1"/>
                </a:solidFill>
              </a:defRPr>
            </a:lvl1pPr>
            <a:lvl2pPr marL="127990" indent="-127990">
              <a:spcBef>
                <a:spcPts val="0"/>
              </a:spcBef>
              <a:spcAft>
                <a:spcPts val="600"/>
              </a:spcAft>
              <a:defRPr sz="1800">
                <a:solidFill>
                  <a:schemeClr val="tx1"/>
                </a:solidFill>
              </a:defRPr>
            </a:lvl2pPr>
            <a:lvl3pPr marL="255981" indent="-127990">
              <a:spcBef>
                <a:spcPts val="0"/>
              </a:spcBef>
              <a:spcAft>
                <a:spcPts val="600"/>
              </a:spcAft>
              <a:defRPr sz="1800">
                <a:solidFill>
                  <a:schemeClr val="tx1"/>
                </a:solidFill>
              </a:defRPr>
            </a:lvl3pPr>
            <a:lvl4pPr marL="383971" indent="-127990">
              <a:spcBef>
                <a:spcPts val="0"/>
              </a:spcBef>
              <a:spcAft>
                <a:spcPts val="600"/>
              </a:spcAft>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401378" y="2571750"/>
            <a:ext cx="2474590" cy="2571750"/>
          </a:xfrm>
        </p:spPr>
        <p:txBody>
          <a:bodyPr/>
          <a:lstStyle>
            <a:lvl1pPr>
              <a:spcBef>
                <a:spcPts val="0"/>
              </a:spcBef>
              <a:spcAft>
                <a:spcPts val="600"/>
              </a:spcAft>
              <a:defRPr sz="1800">
                <a:solidFill>
                  <a:schemeClr val="tx1"/>
                </a:solidFill>
              </a:defRPr>
            </a:lvl1pPr>
            <a:lvl2pPr marL="127990" indent="-127990">
              <a:spcBef>
                <a:spcPts val="0"/>
              </a:spcBef>
              <a:spcAft>
                <a:spcPts val="600"/>
              </a:spcAft>
              <a:defRPr sz="1800">
                <a:solidFill>
                  <a:schemeClr val="tx1"/>
                </a:solidFill>
              </a:defRPr>
            </a:lvl2pPr>
            <a:lvl3pPr marL="255981" indent="-127990">
              <a:spcBef>
                <a:spcPts val="0"/>
              </a:spcBef>
              <a:spcAft>
                <a:spcPts val="600"/>
              </a:spcAft>
              <a:defRPr sz="1800">
                <a:solidFill>
                  <a:schemeClr val="tx1"/>
                </a:solidFill>
              </a:defRPr>
            </a:lvl3pPr>
            <a:lvl4pPr marL="383971" indent="-127990">
              <a:spcBef>
                <a:spcPts val="0"/>
              </a:spcBef>
              <a:spcAft>
                <a:spcPts val="600"/>
              </a:spcAft>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48459" y="2571750"/>
            <a:ext cx="2474590" cy="2571750"/>
          </a:xfrm>
        </p:spPr>
        <p:txBody>
          <a:bodyPr/>
          <a:lstStyle>
            <a:lvl1pPr>
              <a:spcBef>
                <a:spcPts val="0"/>
              </a:spcBef>
              <a:spcAft>
                <a:spcPts val="600"/>
              </a:spcAft>
              <a:defRPr sz="1800">
                <a:solidFill>
                  <a:schemeClr val="tx1"/>
                </a:solidFill>
              </a:defRPr>
            </a:lvl1pPr>
            <a:lvl2pPr marL="127990" indent="-127990">
              <a:spcBef>
                <a:spcPts val="0"/>
              </a:spcBef>
              <a:spcAft>
                <a:spcPts val="600"/>
              </a:spcAft>
              <a:defRPr sz="1800">
                <a:solidFill>
                  <a:schemeClr val="tx1"/>
                </a:solidFill>
              </a:defRPr>
            </a:lvl2pPr>
            <a:lvl3pPr marL="255981" indent="-127990">
              <a:spcBef>
                <a:spcPts val="0"/>
              </a:spcBef>
              <a:spcAft>
                <a:spcPts val="600"/>
              </a:spcAft>
              <a:defRPr sz="1800">
                <a:solidFill>
                  <a:schemeClr val="tx1"/>
                </a:solidFill>
              </a:defRPr>
            </a:lvl3pPr>
            <a:lvl4pPr marL="383971" indent="-127990">
              <a:spcBef>
                <a:spcPts val="0"/>
              </a:spcBef>
              <a:spcAft>
                <a:spcPts val="600"/>
              </a:spcAft>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grpSp>
        <p:nvGrpSpPr>
          <p:cNvPr id="8" name="Group 7">
            <a:extLst>
              <a:ext uri="{FF2B5EF4-FFF2-40B4-BE49-F238E27FC236}">
                <a16:creationId xmlns:a16="http://schemas.microsoft.com/office/drawing/2014/main" id="{5C66A411-C374-F3F3-B9CB-8D8D477D2E17}"/>
              </a:ext>
            </a:extLst>
          </p:cNvPr>
          <p:cNvGrpSpPr/>
          <p:nvPr userDrawn="1"/>
        </p:nvGrpSpPr>
        <p:grpSpPr>
          <a:xfrm>
            <a:off x="6093683" y="288925"/>
            <a:ext cx="3049127" cy="5709444"/>
            <a:chOff x="12188952" y="592079"/>
            <a:chExt cx="6099048" cy="5143498"/>
          </a:xfrm>
        </p:grpSpPr>
        <p:cxnSp>
          <p:nvCxnSpPr>
            <p:cNvPr id="6" name="Straight Connector 5">
              <a:extLst>
                <a:ext uri="{FF2B5EF4-FFF2-40B4-BE49-F238E27FC236}">
                  <a16:creationId xmlns:a16="http://schemas.microsoft.com/office/drawing/2014/main" id="{0319ED4A-BFBA-E53C-2BB8-09CE78A79FE7}"/>
                </a:ext>
              </a:extLst>
            </p:cNvPr>
            <p:cNvCxnSpPr>
              <a:cxnSpLocks/>
            </p:cNvCxnSpPr>
            <p:nvPr userDrawn="1"/>
          </p:nvCxnSpPr>
          <p:spPr bwMode="auto">
            <a:xfrm>
              <a:off x="12188952" y="594739"/>
              <a:ext cx="0" cy="514083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200224B-2BF1-5B5D-5780-D5DB90A12032}"/>
                </a:ext>
              </a:extLst>
            </p:cNvPr>
            <p:cNvCxnSpPr>
              <a:cxnSpLocks/>
            </p:cNvCxnSpPr>
            <p:nvPr userDrawn="1"/>
          </p:nvCxnSpPr>
          <p:spPr bwMode="auto">
            <a:xfrm>
              <a:off x="18288000" y="592079"/>
              <a:ext cx="0" cy="512137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grpSp>
      <p:sp>
        <p:nvSpPr>
          <p:cNvPr id="4" name="Footer Placeholder 1">
            <a:extLst>
              <a:ext uri="{FF2B5EF4-FFF2-40B4-BE49-F238E27FC236}">
                <a16:creationId xmlns:a16="http://schemas.microsoft.com/office/drawing/2014/main" id="{0D0F0F89-7318-2CE8-B2F0-DDA405BDB226}"/>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
        <p:nvSpPr>
          <p:cNvPr id="3" name="TextBox 2">
            <a:extLst>
              <a:ext uri="{FF2B5EF4-FFF2-40B4-BE49-F238E27FC236}">
                <a16:creationId xmlns:a16="http://schemas.microsoft.com/office/drawing/2014/main" id="{F63B397F-B89C-D29D-50C0-6DD99594A347}"/>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rgbClr val="000000"/>
                </a:solidFill>
                <a:latin typeface="IBM Plex Sans" panose="020B0503050203000203" pitchFamily="34" charset="0"/>
                <a:ea typeface="+mj-ea"/>
                <a:cs typeface="+mj-cs"/>
                <a:sym typeface="IBM Plex Sans Light"/>
              </a:rPr>
              <a:t>#IBMTechXchange</a:t>
            </a:r>
          </a:p>
        </p:txBody>
      </p:sp>
    </p:spTree>
    <p:extLst>
      <p:ext uri="{BB962C8B-B14F-4D97-AF65-F5344CB8AC3E}">
        <p14:creationId xmlns:p14="http://schemas.microsoft.com/office/powerpoint/2010/main" val="2247174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pictograms, 3 columns vertic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68951" y="198287"/>
            <a:ext cx="2493638" cy="3230713"/>
          </a:xfrm>
        </p:spPr>
        <p:txBody>
          <a:bodyPr rIns="457200"/>
          <a:lstStyle>
            <a:lvl1pPr>
              <a:lnSpc>
                <a:spcPct val="100000"/>
              </a:lnSpc>
              <a:defRPr>
                <a:solidFill>
                  <a:schemeClr val="tx2"/>
                </a:solidFill>
              </a:defRPr>
            </a:lvl1pPr>
          </a:lstStyle>
          <a:p>
            <a:r>
              <a:rPr lang="en-US"/>
              <a:t>Click to edit Master title style</a:t>
            </a:r>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cxnSp>
        <p:nvCxnSpPr>
          <p:cNvPr id="6" name="Straight Connector 5">
            <a:extLst>
              <a:ext uri="{FF2B5EF4-FFF2-40B4-BE49-F238E27FC236}">
                <a16:creationId xmlns:a16="http://schemas.microsoft.com/office/drawing/2014/main" id="{0319ED4A-BFBA-E53C-2BB8-09CE78A79FE7}"/>
              </a:ext>
            </a:extLst>
          </p:cNvPr>
          <p:cNvCxnSpPr>
            <a:cxnSpLocks/>
          </p:cNvCxnSpPr>
          <p:nvPr userDrawn="1"/>
        </p:nvCxnSpPr>
        <p:spPr bwMode="auto">
          <a:xfrm>
            <a:off x="6093683" y="291878"/>
            <a:ext cx="0" cy="570649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200224B-2BF1-5B5D-5780-D5DB90A12032}"/>
              </a:ext>
            </a:extLst>
          </p:cNvPr>
          <p:cNvCxnSpPr>
            <a:cxnSpLocks/>
          </p:cNvCxnSpPr>
          <p:nvPr userDrawn="1"/>
        </p:nvCxnSpPr>
        <p:spPr bwMode="auto">
          <a:xfrm>
            <a:off x="9142810" y="288925"/>
            <a:ext cx="0" cy="568488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 name="Text Placeholder 4">
            <a:extLst>
              <a:ext uri="{FF2B5EF4-FFF2-40B4-BE49-F238E27FC236}">
                <a16:creationId xmlns:a16="http://schemas.microsoft.com/office/drawing/2014/main" id="{375A15DB-1EFF-520D-BB52-429C515C5390}"/>
              </a:ext>
            </a:extLst>
          </p:cNvPr>
          <p:cNvSpPr>
            <a:spLocks noGrp="1"/>
          </p:cNvSpPr>
          <p:nvPr userDrawn="1">
            <p:ph type="body" sz="quarter" idx="22"/>
          </p:nvPr>
        </p:nvSpPr>
        <p:spPr>
          <a:xfrm>
            <a:off x="9424555" y="1239012"/>
            <a:ext cx="2476177" cy="3047238"/>
          </a:xfrm>
        </p:spPr>
        <p:txBody>
          <a:bodyPr/>
          <a:lstStyle>
            <a:lvl1pPr>
              <a:lnSpc>
                <a:spcPct val="100000"/>
              </a:lnSpc>
              <a:spcBef>
                <a:spcPts val="0"/>
              </a:spcBef>
              <a:spcAft>
                <a:spcPts val="600"/>
              </a:spcAft>
              <a:defRPr sz="1800">
                <a:solidFill>
                  <a:schemeClr val="tx1"/>
                </a:solidFill>
              </a:defRPr>
            </a:lvl1pPr>
            <a:lvl2pPr marL="201128" indent="-201128">
              <a:lnSpc>
                <a:spcPct val="100000"/>
              </a:lnSpc>
              <a:spcBef>
                <a:spcPts val="0"/>
              </a:spcBef>
              <a:spcAft>
                <a:spcPts val="600"/>
              </a:spcAft>
              <a:defRPr sz="1800">
                <a:solidFill>
                  <a:schemeClr val="tx1"/>
                </a:solidFill>
              </a:defRPr>
            </a:lvl2pPr>
            <a:lvl3pPr marL="402256" indent="-201128">
              <a:lnSpc>
                <a:spcPct val="100000"/>
              </a:lnSpc>
              <a:spcBef>
                <a:spcPts val="0"/>
              </a:spcBef>
              <a:spcAft>
                <a:spcPts val="600"/>
              </a:spcAft>
              <a:defRPr sz="1800">
                <a:solidFill>
                  <a:schemeClr val="tx1"/>
                </a:solidFill>
              </a:defRPr>
            </a:lvl3pPr>
            <a:lvl4pPr marL="557672" indent="-201128">
              <a:lnSpc>
                <a:spcPct val="100000"/>
              </a:lnSpc>
              <a:spcBef>
                <a:spcPts val="0"/>
              </a:spcBef>
              <a:spcAft>
                <a:spcPts val="600"/>
              </a:spcAft>
              <a:defRPr sz="18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Picture Placeholder 12">
            <a:extLst>
              <a:ext uri="{FF2B5EF4-FFF2-40B4-BE49-F238E27FC236}">
                <a16:creationId xmlns:a16="http://schemas.microsoft.com/office/drawing/2014/main" id="{DFA218C9-742E-511E-BA94-C411B5869722}"/>
              </a:ext>
            </a:extLst>
          </p:cNvPr>
          <p:cNvSpPr>
            <a:spLocks noGrp="1"/>
          </p:cNvSpPr>
          <p:nvPr userDrawn="1">
            <p:ph type="pic" sz="quarter" idx="23" hasCustomPrompt="1"/>
          </p:nvPr>
        </p:nvSpPr>
        <p:spPr>
          <a:xfrm>
            <a:off x="9424555" y="288036"/>
            <a:ext cx="607997" cy="608076"/>
          </a:xfrm>
        </p:spPr>
        <p:txBody>
          <a:bodyPr anchor="ctr"/>
          <a:lstStyle>
            <a:lvl1pPr algn="ctr">
              <a:defRPr sz="800"/>
            </a:lvl1pPr>
          </a:lstStyle>
          <a:p>
            <a:r>
              <a:rPr lang="en-US"/>
              <a:t>Pictogram</a:t>
            </a:r>
          </a:p>
        </p:txBody>
      </p:sp>
      <p:sp>
        <p:nvSpPr>
          <p:cNvPr id="10" name="Text Placeholder 4">
            <a:extLst>
              <a:ext uri="{FF2B5EF4-FFF2-40B4-BE49-F238E27FC236}">
                <a16:creationId xmlns:a16="http://schemas.microsoft.com/office/drawing/2014/main" id="{FFA8738A-CEF0-79AA-B419-B7680A6CC615}"/>
              </a:ext>
            </a:extLst>
          </p:cNvPr>
          <p:cNvSpPr>
            <a:spLocks noGrp="1"/>
          </p:cNvSpPr>
          <p:nvPr userDrawn="1">
            <p:ph type="body" sz="quarter" idx="24"/>
          </p:nvPr>
        </p:nvSpPr>
        <p:spPr>
          <a:xfrm>
            <a:off x="6389426" y="1239012"/>
            <a:ext cx="2476177" cy="3047238"/>
          </a:xfrm>
        </p:spPr>
        <p:txBody>
          <a:bodyPr/>
          <a:lstStyle>
            <a:lvl1pPr>
              <a:lnSpc>
                <a:spcPct val="100000"/>
              </a:lnSpc>
              <a:spcBef>
                <a:spcPts val="0"/>
              </a:spcBef>
              <a:spcAft>
                <a:spcPts val="600"/>
              </a:spcAft>
              <a:defRPr sz="1800">
                <a:solidFill>
                  <a:schemeClr val="tx1"/>
                </a:solidFill>
              </a:defRPr>
            </a:lvl1pPr>
            <a:lvl2pPr marL="201128" indent="-201128">
              <a:lnSpc>
                <a:spcPct val="100000"/>
              </a:lnSpc>
              <a:spcBef>
                <a:spcPts val="0"/>
              </a:spcBef>
              <a:spcAft>
                <a:spcPts val="600"/>
              </a:spcAft>
              <a:defRPr sz="1800">
                <a:solidFill>
                  <a:schemeClr val="tx1"/>
                </a:solidFill>
              </a:defRPr>
            </a:lvl2pPr>
            <a:lvl3pPr marL="402256" indent="-201128">
              <a:lnSpc>
                <a:spcPct val="100000"/>
              </a:lnSpc>
              <a:spcBef>
                <a:spcPts val="0"/>
              </a:spcBef>
              <a:spcAft>
                <a:spcPts val="600"/>
              </a:spcAft>
              <a:defRPr sz="1800">
                <a:solidFill>
                  <a:schemeClr val="tx1"/>
                </a:solidFill>
              </a:defRPr>
            </a:lvl3pPr>
            <a:lvl4pPr marL="557672" indent="-201128">
              <a:lnSpc>
                <a:spcPct val="100000"/>
              </a:lnSpc>
              <a:spcBef>
                <a:spcPts val="0"/>
              </a:spcBef>
              <a:spcAft>
                <a:spcPts val="600"/>
              </a:spcAft>
              <a:defRPr sz="18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12">
            <a:extLst>
              <a:ext uri="{FF2B5EF4-FFF2-40B4-BE49-F238E27FC236}">
                <a16:creationId xmlns:a16="http://schemas.microsoft.com/office/drawing/2014/main" id="{742E71B1-B5F7-9235-D02B-4E7306F89829}"/>
              </a:ext>
            </a:extLst>
          </p:cNvPr>
          <p:cNvSpPr>
            <a:spLocks noGrp="1"/>
          </p:cNvSpPr>
          <p:nvPr userDrawn="1">
            <p:ph type="pic" sz="quarter" idx="25" hasCustomPrompt="1"/>
          </p:nvPr>
        </p:nvSpPr>
        <p:spPr>
          <a:xfrm>
            <a:off x="6389426" y="288036"/>
            <a:ext cx="607997" cy="608076"/>
          </a:xfrm>
        </p:spPr>
        <p:txBody>
          <a:bodyPr anchor="ctr"/>
          <a:lstStyle>
            <a:lvl1pPr algn="ctr">
              <a:defRPr sz="800"/>
            </a:lvl1pPr>
          </a:lstStyle>
          <a:p>
            <a:r>
              <a:rPr lang="en-US"/>
              <a:t>Pictogram</a:t>
            </a:r>
          </a:p>
        </p:txBody>
      </p:sp>
      <p:sp>
        <p:nvSpPr>
          <p:cNvPr id="15" name="Text Placeholder 4">
            <a:extLst>
              <a:ext uri="{FF2B5EF4-FFF2-40B4-BE49-F238E27FC236}">
                <a16:creationId xmlns:a16="http://schemas.microsoft.com/office/drawing/2014/main" id="{0B7FE31C-8FA8-1E02-8414-47C66592F2A1}"/>
              </a:ext>
            </a:extLst>
          </p:cNvPr>
          <p:cNvSpPr>
            <a:spLocks noGrp="1"/>
          </p:cNvSpPr>
          <p:nvPr userDrawn="1">
            <p:ph type="body" sz="quarter" idx="26"/>
          </p:nvPr>
        </p:nvSpPr>
        <p:spPr>
          <a:xfrm>
            <a:off x="3354298" y="1239012"/>
            <a:ext cx="2476177" cy="3047238"/>
          </a:xfrm>
        </p:spPr>
        <p:txBody>
          <a:bodyPr/>
          <a:lstStyle>
            <a:lvl1pPr>
              <a:lnSpc>
                <a:spcPct val="100000"/>
              </a:lnSpc>
              <a:spcBef>
                <a:spcPts val="0"/>
              </a:spcBef>
              <a:spcAft>
                <a:spcPts val="600"/>
              </a:spcAft>
              <a:defRPr sz="1800">
                <a:solidFill>
                  <a:schemeClr val="tx1"/>
                </a:solidFill>
              </a:defRPr>
            </a:lvl1pPr>
            <a:lvl2pPr marL="201128" indent="-201128">
              <a:lnSpc>
                <a:spcPct val="100000"/>
              </a:lnSpc>
              <a:spcBef>
                <a:spcPts val="0"/>
              </a:spcBef>
              <a:spcAft>
                <a:spcPts val="600"/>
              </a:spcAft>
              <a:defRPr sz="1800">
                <a:solidFill>
                  <a:schemeClr val="tx1"/>
                </a:solidFill>
              </a:defRPr>
            </a:lvl2pPr>
            <a:lvl3pPr marL="402256" indent="-201128">
              <a:lnSpc>
                <a:spcPct val="100000"/>
              </a:lnSpc>
              <a:spcBef>
                <a:spcPts val="0"/>
              </a:spcBef>
              <a:spcAft>
                <a:spcPts val="600"/>
              </a:spcAft>
              <a:defRPr sz="1800">
                <a:solidFill>
                  <a:schemeClr val="tx1"/>
                </a:solidFill>
              </a:defRPr>
            </a:lvl3pPr>
            <a:lvl4pPr marL="557672" indent="-201128">
              <a:lnSpc>
                <a:spcPct val="100000"/>
              </a:lnSpc>
              <a:spcBef>
                <a:spcPts val="0"/>
              </a:spcBef>
              <a:spcAft>
                <a:spcPts val="600"/>
              </a:spcAft>
              <a:defRPr sz="18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2">
            <a:extLst>
              <a:ext uri="{FF2B5EF4-FFF2-40B4-BE49-F238E27FC236}">
                <a16:creationId xmlns:a16="http://schemas.microsoft.com/office/drawing/2014/main" id="{E798A212-9B60-58A9-FAAF-19FACBA14613}"/>
              </a:ext>
            </a:extLst>
          </p:cNvPr>
          <p:cNvSpPr>
            <a:spLocks noGrp="1"/>
          </p:cNvSpPr>
          <p:nvPr userDrawn="1">
            <p:ph type="pic" sz="quarter" idx="27" hasCustomPrompt="1"/>
          </p:nvPr>
        </p:nvSpPr>
        <p:spPr>
          <a:xfrm>
            <a:off x="3354298" y="288036"/>
            <a:ext cx="607997" cy="608076"/>
          </a:xfrm>
        </p:spPr>
        <p:txBody>
          <a:bodyPr anchor="ctr"/>
          <a:lstStyle>
            <a:lvl1pPr algn="ctr">
              <a:defRPr sz="800"/>
            </a:lvl1pPr>
          </a:lstStyle>
          <a:p>
            <a:r>
              <a:rPr lang="en-US"/>
              <a:t>Pictogram</a:t>
            </a:r>
          </a:p>
        </p:txBody>
      </p:sp>
      <p:cxnSp>
        <p:nvCxnSpPr>
          <p:cNvPr id="17" name="Straight Connector 16">
            <a:extLst>
              <a:ext uri="{FF2B5EF4-FFF2-40B4-BE49-F238E27FC236}">
                <a16:creationId xmlns:a16="http://schemas.microsoft.com/office/drawing/2014/main" id="{57AA5A9F-1FF4-B8F4-1347-735214DFF067}"/>
              </a:ext>
            </a:extLst>
          </p:cNvPr>
          <p:cNvCxnSpPr>
            <a:cxnSpLocks/>
          </p:cNvCxnSpPr>
          <p:nvPr userDrawn="1"/>
        </p:nvCxnSpPr>
        <p:spPr bwMode="auto">
          <a:xfrm>
            <a:off x="3055186" y="291878"/>
            <a:ext cx="0" cy="570649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Footer Placeholder 1">
            <a:extLst>
              <a:ext uri="{FF2B5EF4-FFF2-40B4-BE49-F238E27FC236}">
                <a16:creationId xmlns:a16="http://schemas.microsoft.com/office/drawing/2014/main" id="{7DE1C342-B84B-FDDF-9C31-E2203F3C72F2}"/>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
        <p:nvSpPr>
          <p:cNvPr id="8" name="TextBox 7">
            <a:extLst>
              <a:ext uri="{FF2B5EF4-FFF2-40B4-BE49-F238E27FC236}">
                <a16:creationId xmlns:a16="http://schemas.microsoft.com/office/drawing/2014/main" id="{A36B3BC3-C936-235D-8E26-BC015B58B821}"/>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rgbClr val="000000"/>
                </a:solidFill>
                <a:latin typeface="IBM Plex Sans" panose="020B0503050203000203" pitchFamily="34" charset="0"/>
                <a:ea typeface="+mj-ea"/>
                <a:cs typeface="+mj-cs"/>
                <a:sym typeface="IBM Plex Sans Light"/>
              </a:rPr>
              <a:t>#IBMTechXchange</a:t>
            </a:r>
          </a:p>
        </p:txBody>
      </p:sp>
    </p:spTree>
    <p:extLst>
      <p:ext uri="{BB962C8B-B14F-4D97-AF65-F5344CB8AC3E}">
        <p14:creationId xmlns:p14="http://schemas.microsoft.com/office/powerpoint/2010/main" val="245312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0" cy="1429544"/>
          </a:xfrm>
        </p:spPr>
        <p:txBody>
          <a:bodyPr/>
          <a:lstStyle>
            <a:lvl1pPr>
              <a:lnSpc>
                <a:spcPct val="110000"/>
              </a:lnSpc>
              <a:defRPr sz="1800">
                <a:solidFill>
                  <a:schemeClr val="tx2"/>
                </a:solidFill>
              </a:defRPr>
            </a:lvl1pPr>
          </a:lstStyle>
          <a:p>
            <a:r>
              <a:rPr lang="en-US"/>
              <a:t>Click to edit Master title style</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14884"/>
            <a:ext cx="2475384" cy="953956"/>
          </a:xfrm>
        </p:spPr>
        <p:txBody>
          <a:bodyPr/>
          <a:lstStyle>
            <a:lvl1pPr>
              <a:lnSpc>
                <a:spcPct val="90000"/>
              </a:lnSpc>
              <a:defRPr sz="6499">
                <a:solidFill>
                  <a:schemeClr val="accent1"/>
                </a:solidFill>
              </a:defRPr>
            </a:lvl1pPr>
            <a:lvl2pPr marL="0" indent="0">
              <a:buNone/>
              <a:defRPr/>
            </a:lvl2pPr>
          </a:lstStyle>
          <a:p>
            <a:pPr lvl="0"/>
            <a:r>
              <a:rPr lang="en-US"/>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3333316" y="1166534"/>
            <a:ext cx="2475384" cy="483652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383301" y="213241"/>
            <a:ext cx="2474590" cy="953294"/>
          </a:xfrm>
        </p:spPr>
        <p:txBody>
          <a:bodyPr/>
          <a:lstStyle>
            <a:lvl1pPr>
              <a:lnSpc>
                <a:spcPct val="90000"/>
              </a:lnSpc>
              <a:defRPr sz="6499">
                <a:solidFill>
                  <a:schemeClr val="accent1"/>
                </a:solidFill>
              </a:defRPr>
            </a:lvl1pPr>
          </a:lstStyle>
          <a:p>
            <a:pPr lvl="0"/>
            <a:r>
              <a:rPr lang="en-US"/>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1167327"/>
            <a:ext cx="2476178"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9428523" y="214827"/>
            <a:ext cx="2474590" cy="951707"/>
          </a:xfrm>
        </p:spPr>
        <p:txBody>
          <a:bodyPr/>
          <a:lstStyle>
            <a:lvl1pPr>
              <a:lnSpc>
                <a:spcPct val="90000"/>
              </a:lnSpc>
              <a:defRPr sz="6499">
                <a:solidFill>
                  <a:schemeClr val="accent1"/>
                </a:solidFill>
              </a:defRPr>
            </a:lvl1pPr>
          </a:lstStyle>
          <a:p>
            <a:pPr lvl="0"/>
            <a:r>
              <a:rPr lang="en-US"/>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9428522" y="1166533"/>
            <a:ext cx="2476178"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84125" y="6402118"/>
            <a:ext cx="2477765" cy="190500"/>
          </a:xfrm>
        </p:spPr>
        <p:txBody>
          <a:bodyPr/>
          <a:lstStyle/>
          <a:p>
            <a:endParaRPr lang="en-US"/>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068712050"/>
      </p:ext>
    </p:extLst>
  </p:cSld>
  <p:clrMapOvr>
    <a:masterClrMapping/>
  </p:clrMapOvr>
  <p:transition spd="med"/>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section, pictograms, 3 columns vertic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68951" y="198287"/>
            <a:ext cx="2493638" cy="3230713"/>
          </a:xfrm>
        </p:spPr>
        <p:txBody>
          <a:bodyPr rIns="457200"/>
          <a:lstStyle>
            <a:lvl1pPr>
              <a:lnSpc>
                <a:spcPct val="100000"/>
              </a:lnSpc>
              <a:defRPr>
                <a:solidFill>
                  <a:schemeClr val="tx2"/>
                </a:solidFill>
              </a:defRPr>
            </a:lvl1pPr>
          </a:lstStyle>
          <a:p>
            <a:r>
              <a:rPr lang="en-US"/>
              <a:t>Click to edit Master title style</a:t>
            </a:r>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cxnSp>
        <p:nvCxnSpPr>
          <p:cNvPr id="6" name="Straight Connector 5">
            <a:extLst>
              <a:ext uri="{FF2B5EF4-FFF2-40B4-BE49-F238E27FC236}">
                <a16:creationId xmlns:a16="http://schemas.microsoft.com/office/drawing/2014/main" id="{0319ED4A-BFBA-E53C-2BB8-09CE78A79FE7}"/>
              </a:ext>
            </a:extLst>
          </p:cNvPr>
          <p:cNvCxnSpPr>
            <a:cxnSpLocks/>
          </p:cNvCxnSpPr>
          <p:nvPr userDrawn="1"/>
        </p:nvCxnSpPr>
        <p:spPr bwMode="auto">
          <a:xfrm>
            <a:off x="6093683" y="291878"/>
            <a:ext cx="0" cy="570649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200224B-2BF1-5B5D-5780-D5DB90A12032}"/>
              </a:ext>
            </a:extLst>
          </p:cNvPr>
          <p:cNvCxnSpPr>
            <a:cxnSpLocks/>
          </p:cNvCxnSpPr>
          <p:nvPr userDrawn="1"/>
        </p:nvCxnSpPr>
        <p:spPr bwMode="auto">
          <a:xfrm>
            <a:off x="9142810" y="288925"/>
            <a:ext cx="0" cy="568488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 name="Text Placeholder 4">
            <a:extLst>
              <a:ext uri="{FF2B5EF4-FFF2-40B4-BE49-F238E27FC236}">
                <a16:creationId xmlns:a16="http://schemas.microsoft.com/office/drawing/2014/main" id="{375A15DB-1EFF-520D-BB52-429C515C5390}"/>
              </a:ext>
            </a:extLst>
          </p:cNvPr>
          <p:cNvSpPr>
            <a:spLocks noGrp="1"/>
          </p:cNvSpPr>
          <p:nvPr userDrawn="1">
            <p:ph type="body" sz="quarter" idx="22"/>
          </p:nvPr>
        </p:nvSpPr>
        <p:spPr>
          <a:xfrm>
            <a:off x="9424555" y="1239012"/>
            <a:ext cx="2476177" cy="3047238"/>
          </a:xfrm>
        </p:spPr>
        <p:txBody>
          <a:bodyPr/>
          <a:lstStyle>
            <a:lvl1pPr>
              <a:lnSpc>
                <a:spcPct val="100000"/>
              </a:lnSpc>
              <a:spcBef>
                <a:spcPts val="0"/>
              </a:spcBef>
              <a:spcAft>
                <a:spcPts val="600"/>
              </a:spcAft>
              <a:defRPr sz="1800">
                <a:solidFill>
                  <a:schemeClr val="tx1"/>
                </a:solidFill>
              </a:defRPr>
            </a:lvl1pPr>
            <a:lvl2pPr marL="201128" indent="-201128">
              <a:lnSpc>
                <a:spcPct val="100000"/>
              </a:lnSpc>
              <a:spcBef>
                <a:spcPts val="0"/>
              </a:spcBef>
              <a:spcAft>
                <a:spcPts val="600"/>
              </a:spcAft>
              <a:defRPr sz="1800">
                <a:solidFill>
                  <a:schemeClr val="tx1"/>
                </a:solidFill>
              </a:defRPr>
            </a:lvl2pPr>
            <a:lvl3pPr marL="402256" indent="-201128">
              <a:lnSpc>
                <a:spcPct val="100000"/>
              </a:lnSpc>
              <a:spcBef>
                <a:spcPts val="0"/>
              </a:spcBef>
              <a:spcAft>
                <a:spcPts val="600"/>
              </a:spcAft>
              <a:defRPr sz="1800">
                <a:solidFill>
                  <a:schemeClr val="tx1"/>
                </a:solidFill>
              </a:defRPr>
            </a:lvl3pPr>
            <a:lvl4pPr marL="557672" indent="-201128">
              <a:lnSpc>
                <a:spcPct val="100000"/>
              </a:lnSpc>
              <a:spcBef>
                <a:spcPts val="0"/>
              </a:spcBef>
              <a:spcAft>
                <a:spcPts val="600"/>
              </a:spcAft>
              <a:defRPr sz="18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Picture Placeholder 12">
            <a:extLst>
              <a:ext uri="{FF2B5EF4-FFF2-40B4-BE49-F238E27FC236}">
                <a16:creationId xmlns:a16="http://schemas.microsoft.com/office/drawing/2014/main" id="{DFA218C9-742E-511E-BA94-C411B5869722}"/>
              </a:ext>
            </a:extLst>
          </p:cNvPr>
          <p:cNvSpPr>
            <a:spLocks noGrp="1"/>
          </p:cNvSpPr>
          <p:nvPr userDrawn="1">
            <p:ph type="pic" sz="quarter" idx="23" hasCustomPrompt="1"/>
          </p:nvPr>
        </p:nvSpPr>
        <p:spPr>
          <a:xfrm>
            <a:off x="9424555" y="288036"/>
            <a:ext cx="607997" cy="608076"/>
          </a:xfrm>
        </p:spPr>
        <p:txBody>
          <a:bodyPr anchor="ctr"/>
          <a:lstStyle>
            <a:lvl1pPr algn="ctr">
              <a:defRPr sz="800"/>
            </a:lvl1pPr>
          </a:lstStyle>
          <a:p>
            <a:r>
              <a:rPr lang="en-US"/>
              <a:t>Pictogram</a:t>
            </a:r>
          </a:p>
        </p:txBody>
      </p:sp>
      <p:sp>
        <p:nvSpPr>
          <p:cNvPr id="10" name="Text Placeholder 4">
            <a:extLst>
              <a:ext uri="{FF2B5EF4-FFF2-40B4-BE49-F238E27FC236}">
                <a16:creationId xmlns:a16="http://schemas.microsoft.com/office/drawing/2014/main" id="{FFA8738A-CEF0-79AA-B419-B7680A6CC615}"/>
              </a:ext>
            </a:extLst>
          </p:cNvPr>
          <p:cNvSpPr>
            <a:spLocks noGrp="1"/>
          </p:cNvSpPr>
          <p:nvPr userDrawn="1">
            <p:ph type="body" sz="quarter" idx="24"/>
          </p:nvPr>
        </p:nvSpPr>
        <p:spPr>
          <a:xfrm>
            <a:off x="6389426" y="1239012"/>
            <a:ext cx="2476177" cy="3047238"/>
          </a:xfrm>
        </p:spPr>
        <p:txBody>
          <a:bodyPr/>
          <a:lstStyle>
            <a:lvl1pPr>
              <a:lnSpc>
                <a:spcPct val="100000"/>
              </a:lnSpc>
              <a:spcBef>
                <a:spcPts val="0"/>
              </a:spcBef>
              <a:spcAft>
                <a:spcPts val="600"/>
              </a:spcAft>
              <a:defRPr sz="1800">
                <a:solidFill>
                  <a:schemeClr val="tx1"/>
                </a:solidFill>
              </a:defRPr>
            </a:lvl1pPr>
            <a:lvl2pPr marL="201128" indent="-201128">
              <a:lnSpc>
                <a:spcPct val="100000"/>
              </a:lnSpc>
              <a:spcBef>
                <a:spcPts val="0"/>
              </a:spcBef>
              <a:spcAft>
                <a:spcPts val="600"/>
              </a:spcAft>
              <a:defRPr sz="1800">
                <a:solidFill>
                  <a:schemeClr val="tx1"/>
                </a:solidFill>
              </a:defRPr>
            </a:lvl2pPr>
            <a:lvl3pPr marL="402256" indent="-201128">
              <a:lnSpc>
                <a:spcPct val="100000"/>
              </a:lnSpc>
              <a:spcBef>
                <a:spcPts val="0"/>
              </a:spcBef>
              <a:spcAft>
                <a:spcPts val="600"/>
              </a:spcAft>
              <a:defRPr sz="1800">
                <a:solidFill>
                  <a:schemeClr val="tx1"/>
                </a:solidFill>
              </a:defRPr>
            </a:lvl3pPr>
            <a:lvl4pPr marL="557672" indent="-201128">
              <a:lnSpc>
                <a:spcPct val="100000"/>
              </a:lnSpc>
              <a:spcBef>
                <a:spcPts val="0"/>
              </a:spcBef>
              <a:spcAft>
                <a:spcPts val="600"/>
              </a:spcAft>
              <a:defRPr sz="18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12">
            <a:extLst>
              <a:ext uri="{FF2B5EF4-FFF2-40B4-BE49-F238E27FC236}">
                <a16:creationId xmlns:a16="http://schemas.microsoft.com/office/drawing/2014/main" id="{742E71B1-B5F7-9235-D02B-4E7306F89829}"/>
              </a:ext>
            </a:extLst>
          </p:cNvPr>
          <p:cNvSpPr>
            <a:spLocks noGrp="1"/>
          </p:cNvSpPr>
          <p:nvPr userDrawn="1">
            <p:ph type="pic" sz="quarter" idx="25" hasCustomPrompt="1"/>
          </p:nvPr>
        </p:nvSpPr>
        <p:spPr>
          <a:xfrm>
            <a:off x="6389426" y="288036"/>
            <a:ext cx="607997" cy="608076"/>
          </a:xfrm>
        </p:spPr>
        <p:txBody>
          <a:bodyPr anchor="ctr"/>
          <a:lstStyle>
            <a:lvl1pPr algn="ctr">
              <a:defRPr sz="800"/>
            </a:lvl1pPr>
          </a:lstStyle>
          <a:p>
            <a:r>
              <a:rPr lang="en-US"/>
              <a:t>Pictogram</a:t>
            </a:r>
          </a:p>
        </p:txBody>
      </p:sp>
      <p:sp>
        <p:nvSpPr>
          <p:cNvPr id="15" name="Text Placeholder 4">
            <a:extLst>
              <a:ext uri="{FF2B5EF4-FFF2-40B4-BE49-F238E27FC236}">
                <a16:creationId xmlns:a16="http://schemas.microsoft.com/office/drawing/2014/main" id="{0B7FE31C-8FA8-1E02-8414-47C66592F2A1}"/>
              </a:ext>
            </a:extLst>
          </p:cNvPr>
          <p:cNvSpPr>
            <a:spLocks noGrp="1"/>
          </p:cNvSpPr>
          <p:nvPr userDrawn="1">
            <p:ph type="body" sz="quarter" idx="26"/>
          </p:nvPr>
        </p:nvSpPr>
        <p:spPr>
          <a:xfrm>
            <a:off x="3354298" y="1239012"/>
            <a:ext cx="2476177" cy="3047238"/>
          </a:xfrm>
        </p:spPr>
        <p:txBody>
          <a:bodyPr/>
          <a:lstStyle>
            <a:lvl1pPr>
              <a:lnSpc>
                <a:spcPct val="100000"/>
              </a:lnSpc>
              <a:spcBef>
                <a:spcPts val="0"/>
              </a:spcBef>
              <a:spcAft>
                <a:spcPts val="600"/>
              </a:spcAft>
              <a:defRPr sz="1800">
                <a:solidFill>
                  <a:schemeClr val="tx1"/>
                </a:solidFill>
              </a:defRPr>
            </a:lvl1pPr>
            <a:lvl2pPr marL="201128" indent="-201128">
              <a:lnSpc>
                <a:spcPct val="100000"/>
              </a:lnSpc>
              <a:spcBef>
                <a:spcPts val="0"/>
              </a:spcBef>
              <a:spcAft>
                <a:spcPts val="600"/>
              </a:spcAft>
              <a:defRPr sz="1800">
                <a:solidFill>
                  <a:schemeClr val="tx1"/>
                </a:solidFill>
              </a:defRPr>
            </a:lvl2pPr>
            <a:lvl3pPr marL="402256" indent="-201128">
              <a:lnSpc>
                <a:spcPct val="100000"/>
              </a:lnSpc>
              <a:spcBef>
                <a:spcPts val="0"/>
              </a:spcBef>
              <a:spcAft>
                <a:spcPts val="600"/>
              </a:spcAft>
              <a:defRPr sz="1800">
                <a:solidFill>
                  <a:schemeClr val="tx1"/>
                </a:solidFill>
              </a:defRPr>
            </a:lvl3pPr>
            <a:lvl4pPr marL="557672" indent="-201128">
              <a:lnSpc>
                <a:spcPct val="100000"/>
              </a:lnSpc>
              <a:spcBef>
                <a:spcPts val="0"/>
              </a:spcBef>
              <a:spcAft>
                <a:spcPts val="600"/>
              </a:spcAft>
              <a:defRPr sz="18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2">
            <a:extLst>
              <a:ext uri="{FF2B5EF4-FFF2-40B4-BE49-F238E27FC236}">
                <a16:creationId xmlns:a16="http://schemas.microsoft.com/office/drawing/2014/main" id="{E798A212-9B60-58A9-FAAF-19FACBA14613}"/>
              </a:ext>
            </a:extLst>
          </p:cNvPr>
          <p:cNvSpPr>
            <a:spLocks noGrp="1"/>
          </p:cNvSpPr>
          <p:nvPr userDrawn="1">
            <p:ph type="pic" sz="quarter" idx="27" hasCustomPrompt="1"/>
          </p:nvPr>
        </p:nvSpPr>
        <p:spPr>
          <a:xfrm>
            <a:off x="3354298" y="288036"/>
            <a:ext cx="607997" cy="608076"/>
          </a:xfrm>
        </p:spPr>
        <p:txBody>
          <a:bodyPr anchor="ctr"/>
          <a:lstStyle>
            <a:lvl1pPr algn="ctr">
              <a:defRPr sz="800"/>
            </a:lvl1pPr>
          </a:lstStyle>
          <a:p>
            <a:r>
              <a:rPr lang="en-US"/>
              <a:t>Pictogram</a:t>
            </a:r>
          </a:p>
        </p:txBody>
      </p:sp>
      <p:sp>
        <p:nvSpPr>
          <p:cNvPr id="4" name="Footer Placeholder 1">
            <a:extLst>
              <a:ext uri="{FF2B5EF4-FFF2-40B4-BE49-F238E27FC236}">
                <a16:creationId xmlns:a16="http://schemas.microsoft.com/office/drawing/2014/main" id="{708C075F-C93C-07FC-A0F1-23C5342F3420}"/>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
        <p:nvSpPr>
          <p:cNvPr id="8" name="TextBox 7">
            <a:extLst>
              <a:ext uri="{FF2B5EF4-FFF2-40B4-BE49-F238E27FC236}">
                <a16:creationId xmlns:a16="http://schemas.microsoft.com/office/drawing/2014/main" id="{FB22DEEE-957D-B96B-D7BE-343484099D41}"/>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rgbClr val="000000"/>
                </a:solidFill>
                <a:latin typeface="IBM Plex Sans" panose="020B0503050203000203" pitchFamily="34" charset="0"/>
                <a:ea typeface="+mj-ea"/>
                <a:cs typeface="+mj-cs"/>
                <a:sym typeface="IBM Plex Sans Light"/>
              </a:rPr>
              <a:t>#IBMTechXchange</a:t>
            </a:r>
          </a:p>
        </p:txBody>
      </p:sp>
    </p:spTree>
    <p:extLst>
      <p:ext uri="{BB962C8B-B14F-4D97-AF65-F5344CB8AC3E}">
        <p14:creationId xmlns:p14="http://schemas.microsoft.com/office/powerpoint/2010/main" val="1932230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pictograms, 2x2 callou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88888" y="2675700"/>
            <a:ext cx="3334903" cy="754063"/>
          </a:xfrm>
        </p:spPr>
        <p:txBody>
          <a:bodyPr/>
          <a:lstStyle>
            <a:lvl1pPr>
              <a:lnSpc>
                <a:spcPct val="100000"/>
              </a:lnSpc>
              <a:spcBef>
                <a:spcPts val="0"/>
              </a:spcBef>
              <a:defRPr sz="1800">
                <a:solidFill>
                  <a:schemeClr val="tx1"/>
                </a:solidFill>
              </a:defRPr>
            </a:lvl1pPr>
            <a:lvl2pPr marL="201128" indent="-201128">
              <a:lnSpc>
                <a:spcPct val="100000"/>
              </a:lnSpc>
              <a:spcBef>
                <a:spcPts val="0"/>
              </a:spcBef>
              <a:defRPr sz="1800">
                <a:solidFill>
                  <a:schemeClr val="tx1"/>
                </a:solidFill>
              </a:defRPr>
            </a:lvl2pPr>
            <a:lvl3pPr marL="402256" indent="-201128">
              <a:lnSpc>
                <a:spcPct val="100000"/>
              </a:lnSpc>
              <a:spcBef>
                <a:spcPts val="0"/>
              </a:spcBef>
              <a:defRPr sz="1800">
                <a:solidFill>
                  <a:schemeClr val="tx1"/>
                </a:solidFill>
              </a:defRPr>
            </a:lvl3pPr>
            <a:lvl4pPr marL="557672" indent="-201128">
              <a:lnSpc>
                <a:spcPct val="100000"/>
              </a:lnSpc>
              <a:spcBef>
                <a:spcPts val="0"/>
              </a:spcBef>
              <a:defRPr sz="18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6381808" y="2674938"/>
            <a:ext cx="3333316" cy="754063"/>
          </a:xfrm>
        </p:spPr>
        <p:txBody>
          <a:bodyPr/>
          <a:lstStyle>
            <a:lvl1pPr>
              <a:lnSpc>
                <a:spcPct val="100000"/>
              </a:lnSpc>
              <a:spcBef>
                <a:spcPts val="0"/>
              </a:spcBef>
              <a:defRPr sz="1800">
                <a:solidFill>
                  <a:schemeClr val="tx1"/>
                </a:solidFill>
              </a:defRPr>
            </a:lvl1pPr>
            <a:lvl2pPr marL="201128" indent="-201128">
              <a:lnSpc>
                <a:spcPct val="100000"/>
              </a:lnSpc>
              <a:spcBef>
                <a:spcPts val="0"/>
              </a:spcBef>
              <a:defRPr sz="1800">
                <a:solidFill>
                  <a:schemeClr val="tx1"/>
                </a:solidFill>
              </a:defRPr>
            </a:lvl2pPr>
            <a:lvl3pPr marL="402256" indent="-201128">
              <a:lnSpc>
                <a:spcPct val="100000"/>
              </a:lnSpc>
              <a:spcBef>
                <a:spcPts val="0"/>
              </a:spcBef>
              <a:defRPr sz="1800">
                <a:solidFill>
                  <a:schemeClr val="tx1"/>
                </a:solidFill>
              </a:defRPr>
            </a:lvl3pPr>
            <a:lvl4pPr marL="557672" indent="-201128">
              <a:lnSpc>
                <a:spcPct val="100000"/>
              </a:lnSpc>
              <a:spcBef>
                <a:spcPts val="0"/>
              </a:spcBef>
              <a:defRPr sz="18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88887" y="5147889"/>
            <a:ext cx="3334904" cy="754063"/>
          </a:xfrm>
        </p:spPr>
        <p:txBody>
          <a:bodyPr/>
          <a:lstStyle>
            <a:lvl1pPr>
              <a:lnSpc>
                <a:spcPct val="100000"/>
              </a:lnSpc>
              <a:spcBef>
                <a:spcPts val="0"/>
              </a:spcBef>
              <a:defRPr sz="1800">
                <a:solidFill>
                  <a:schemeClr val="tx1"/>
                </a:solidFill>
              </a:defRPr>
            </a:lvl1pPr>
            <a:lvl2pPr marL="201128" indent="-201128">
              <a:lnSpc>
                <a:spcPct val="100000"/>
              </a:lnSpc>
              <a:spcBef>
                <a:spcPts val="0"/>
              </a:spcBef>
              <a:defRPr sz="1800">
                <a:solidFill>
                  <a:schemeClr val="tx1"/>
                </a:solidFill>
              </a:defRPr>
            </a:lvl2pPr>
            <a:lvl3pPr marL="402256" indent="-201128">
              <a:lnSpc>
                <a:spcPct val="100000"/>
              </a:lnSpc>
              <a:spcBef>
                <a:spcPts val="0"/>
              </a:spcBef>
              <a:defRPr sz="1800">
                <a:solidFill>
                  <a:schemeClr val="tx1"/>
                </a:solidFill>
              </a:defRPr>
            </a:lvl3pPr>
            <a:lvl4pPr marL="557672" indent="-201128">
              <a:lnSpc>
                <a:spcPct val="100000"/>
              </a:lnSpc>
              <a:spcBef>
                <a:spcPts val="0"/>
              </a:spcBef>
              <a:defRPr sz="18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6381809" y="5146365"/>
            <a:ext cx="3333316" cy="754063"/>
          </a:xfrm>
        </p:spPr>
        <p:txBody>
          <a:bodyPr/>
          <a:lstStyle>
            <a:lvl1pPr>
              <a:lnSpc>
                <a:spcPct val="100000"/>
              </a:lnSpc>
              <a:spcBef>
                <a:spcPts val="0"/>
              </a:spcBef>
              <a:defRPr sz="1800">
                <a:solidFill>
                  <a:schemeClr val="tx1"/>
                </a:solidFill>
              </a:defRPr>
            </a:lvl1pPr>
            <a:lvl2pPr marL="201128" indent="-201128">
              <a:lnSpc>
                <a:spcPct val="100000"/>
              </a:lnSpc>
              <a:spcBef>
                <a:spcPts val="0"/>
              </a:spcBef>
              <a:defRPr sz="1800">
                <a:solidFill>
                  <a:schemeClr val="tx1"/>
                </a:solidFill>
              </a:defRPr>
            </a:lvl2pPr>
            <a:lvl3pPr marL="402256" indent="-201128">
              <a:lnSpc>
                <a:spcPct val="100000"/>
              </a:lnSpc>
              <a:spcBef>
                <a:spcPts val="0"/>
              </a:spcBef>
              <a:defRPr sz="1800">
                <a:solidFill>
                  <a:schemeClr val="tx1"/>
                </a:solidFill>
              </a:defRPr>
            </a:lvl3pPr>
            <a:lvl4pPr marL="557672" indent="-201128">
              <a:lnSpc>
                <a:spcPct val="100000"/>
              </a:lnSpc>
              <a:spcBef>
                <a:spcPts val="0"/>
              </a:spcBef>
              <a:defRPr sz="18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88887" y="1724724"/>
            <a:ext cx="607997" cy="608076"/>
          </a:xfrm>
        </p:spPr>
        <p:txBody>
          <a:bodyPr anchor="ctr"/>
          <a:lstStyle>
            <a:lvl1pPr algn="ctr">
              <a:defRPr sz="800"/>
            </a:lvl1pPr>
          </a:lstStyle>
          <a:p>
            <a:r>
              <a:rPr lang="en-US"/>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6381808" y="1724724"/>
            <a:ext cx="607997" cy="608076"/>
          </a:xfrm>
        </p:spPr>
        <p:txBody>
          <a:bodyPr anchor="ctr"/>
          <a:lstStyle>
            <a:lvl1pPr algn="ctr">
              <a:defRPr sz="800"/>
            </a:lvl1pPr>
          </a:lstStyle>
          <a:p>
            <a:r>
              <a:rPr lang="en-US"/>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88887" y="4192340"/>
            <a:ext cx="607997" cy="608076"/>
          </a:xfrm>
        </p:spPr>
        <p:txBody>
          <a:bodyPr anchor="ctr"/>
          <a:lstStyle>
            <a:lvl1pPr algn="ctr">
              <a:defRPr sz="800"/>
            </a:lvl1pPr>
          </a:lstStyle>
          <a:p>
            <a:r>
              <a:rPr lang="en-US"/>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6381808" y="4193865"/>
            <a:ext cx="607997" cy="608076"/>
          </a:xfrm>
        </p:spPr>
        <p:txBody>
          <a:bodyPr anchor="ctr"/>
          <a:lstStyle>
            <a:lvl1pPr algn="ctr">
              <a:defRPr sz="800"/>
            </a:lvl1pPr>
          </a:lstStyle>
          <a:p>
            <a:r>
              <a:rPr lang="en-US"/>
              <a:t>Pictogram</a:t>
            </a:r>
          </a:p>
        </p:txBody>
      </p:sp>
      <p:cxnSp>
        <p:nvCxnSpPr>
          <p:cNvPr id="14" name="Straight Connector 13">
            <a:extLst>
              <a:ext uri="{FF2B5EF4-FFF2-40B4-BE49-F238E27FC236}">
                <a16:creationId xmlns:a16="http://schemas.microsoft.com/office/drawing/2014/main" id="{00A530A6-2F26-DA70-D0D9-6DD90453CEC1}"/>
              </a:ext>
            </a:extLst>
          </p:cNvPr>
          <p:cNvCxnSpPr>
            <a:cxnSpLocks/>
          </p:cNvCxnSpPr>
          <p:nvPr userDrawn="1"/>
        </p:nvCxnSpPr>
        <p:spPr bwMode="auto">
          <a:xfrm>
            <a:off x="6095206" y="1714500"/>
            <a:ext cx="0" cy="42862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a:cxnSpLocks/>
          </p:cNvCxnSpPr>
          <p:nvPr userDrawn="1"/>
        </p:nvCxnSpPr>
        <p:spPr bwMode="auto">
          <a:xfrm>
            <a:off x="284126" y="3857625"/>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6" name="Title 1">
            <a:extLst>
              <a:ext uri="{FF2B5EF4-FFF2-40B4-BE49-F238E27FC236}">
                <a16:creationId xmlns:a16="http://schemas.microsoft.com/office/drawing/2014/main" id="{52EBAB1D-E41A-FCE6-D13F-87955CDFEE44}"/>
              </a:ext>
            </a:extLst>
          </p:cNvPr>
          <p:cNvSpPr>
            <a:spLocks noGrp="1"/>
          </p:cNvSpPr>
          <p:nvPr>
            <p:ph type="title"/>
          </p:nvPr>
        </p:nvSpPr>
        <p:spPr>
          <a:xfrm>
            <a:off x="268951" y="198287"/>
            <a:ext cx="11620573" cy="1290543"/>
          </a:xfrm>
        </p:spPr>
        <p:txBody>
          <a:bodyPr rIns="457200"/>
          <a:lstStyle>
            <a:lvl1pPr>
              <a:lnSpc>
                <a:spcPct val="100000"/>
              </a:lnSpc>
              <a:defRPr>
                <a:solidFill>
                  <a:schemeClr val="tx2"/>
                </a:solidFill>
              </a:defRPr>
            </a:lvl1pPr>
          </a:lstStyle>
          <a:p>
            <a:r>
              <a:rPr lang="en-US"/>
              <a:t>Click to edit Master title style</a:t>
            </a:r>
          </a:p>
        </p:txBody>
      </p:sp>
      <p:sp>
        <p:nvSpPr>
          <p:cNvPr id="8" name="Footer Placeholder 1">
            <a:extLst>
              <a:ext uri="{FF2B5EF4-FFF2-40B4-BE49-F238E27FC236}">
                <a16:creationId xmlns:a16="http://schemas.microsoft.com/office/drawing/2014/main" id="{57895912-82BE-A180-A2EE-6DED0F5F5B62}"/>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
        <p:nvSpPr>
          <p:cNvPr id="2" name="TextBox 1">
            <a:extLst>
              <a:ext uri="{FF2B5EF4-FFF2-40B4-BE49-F238E27FC236}">
                <a16:creationId xmlns:a16="http://schemas.microsoft.com/office/drawing/2014/main" id="{39136A90-9E40-FC9C-6676-25918D0DC500}"/>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rgbClr val="000000"/>
                </a:solidFill>
                <a:latin typeface="IBM Plex Sans" panose="020B0503050203000203" pitchFamily="34" charset="0"/>
                <a:ea typeface="+mj-ea"/>
                <a:cs typeface="+mj-cs"/>
                <a:sym typeface="IBM Plex Sans Light"/>
              </a:rPr>
              <a:t>#IBMTechXchange</a:t>
            </a:r>
          </a:p>
        </p:txBody>
      </p:sp>
    </p:spTree>
    <p:extLst>
      <p:ext uri="{BB962C8B-B14F-4D97-AF65-F5344CB8AC3E}">
        <p14:creationId xmlns:p14="http://schemas.microsoft.com/office/powerpoint/2010/main" val="3101493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section, 2x2 side callouts">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47379"/>
            <a:ext cx="2476178" cy="2572544"/>
          </a:xfrm>
        </p:spPr>
        <p:txBody>
          <a:bodyPr/>
          <a:lstStyle>
            <a:lvl1pPr>
              <a:lnSpc>
                <a:spcPct val="110000"/>
              </a:lnSpc>
              <a:spcBef>
                <a:spcPts val="0"/>
              </a:spcBef>
              <a:spcAft>
                <a:spcPts val="600"/>
              </a:spcAft>
              <a:defRPr sz="1800" b="0" i="0">
                <a:solidFill>
                  <a:schemeClr val="tx1"/>
                </a:solidFill>
                <a:latin typeface="IBM Plex Sans Light" panose="020B0403050203000203" pitchFamily="34" charset="0"/>
              </a:defRPr>
            </a:lvl1pPr>
            <a:lvl2pPr marL="127990" indent="-127990">
              <a:lnSpc>
                <a:spcPct val="110000"/>
              </a:lnSpc>
              <a:spcBef>
                <a:spcPts val="0"/>
              </a:spcBef>
              <a:spcAft>
                <a:spcPts val="600"/>
              </a:spcAft>
              <a:defRPr sz="1800" b="0" i="0">
                <a:solidFill>
                  <a:schemeClr val="tx1"/>
                </a:solidFill>
                <a:latin typeface="IBM Plex Sans Light" panose="020B0403050203000203" pitchFamily="34" charset="0"/>
              </a:defRPr>
            </a:lvl2pPr>
            <a:lvl3pPr marL="255981" indent="-127990">
              <a:lnSpc>
                <a:spcPct val="110000"/>
              </a:lnSpc>
              <a:spcBef>
                <a:spcPts val="0"/>
              </a:spcBef>
              <a:spcAft>
                <a:spcPts val="600"/>
              </a:spcAft>
              <a:defRPr sz="1800" b="0" i="0">
                <a:solidFill>
                  <a:schemeClr val="tx1"/>
                </a:solidFill>
                <a:latin typeface="IBM Plex Sans Light" panose="020B0403050203000203" pitchFamily="34" charset="0"/>
              </a:defRPr>
            </a:lvl3pPr>
            <a:lvl4pPr marL="383971" indent="-127990">
              <a:lnSpc>
                <a:spcPct val="110000"/>
              </a:lnSpc>
              <a:spcBef>
                <a:spcPts val="0"/>
              </a:spcBef>
              <a:spcAft>
                <a:spcPts val="600"/>
              </a:spcAft>
              <a:defRPr sz="18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47379"/>
            <a:ext cx="2479352" cy="2572544"/>
          </a:xfrm>
        </p:spPr>
        <p:txBody>
          <a:bodyPr/>
          <a:lstStyle>
            <a:lvl1pPr>
              <a:lnSpc>
                <a:spcPct val="110000"/>
              </a:lnSpc>
              <a:spcBef>
                <a:spcPts val="0"/>
              </a:spcBef>
              <a:spcAft>
                <a:spcPts val="600"/>
              </a:spcAft>
              <a:defRPr sz="1800" b="0" i="0">
                <a:solidFill>
                  <a:schemeClr val="tx1"/>
                </a:solidFill>
                <a:latin typeface="IBM Plex Sans Light" panose="020B0403050203000203" pitchFamily="34" charset="0"/>
              </a:defRPr>
            </a:lvl1pPr>
            <a:lvl2pPr marL="127990" indent="-127990">
              <a:lnSpc>
                <a:spcPct val="110000"/>
              </a:lnSpc>
              <a:spcBef>
                <a:spcPts val="0"/>
              </a:spcBef>
              <a:spcAft>
                <a:spcPts val="600"/>
              </a:spcAft>
              <a:defRPr sz="1800" b="0" i="0">
                <a:solidFill>
                  <a:schemeClr val="tx1"/>
                </a:solidFill>
                <a:latin typeface="IBM Plex Sans Light" panose="020B0403050203000203" pitchFamily="34" charset="0"/>
              </a:defRPr>
            </a:lvl2pPr>
            <a:lvl3pPr marL="255981" indent="-127990">
              <a:lnSpc>
                <a:spcPct val="110000"/>
              </a:lnSpc>
              <a:spcBef>
                <a:spcPts val="0"/>
              </a:spcBef>
              <a:spcAft>
                <a:spcPts val="600"/>
              </a:spcAft>
              <a:defRPr sz="1800" b="0" i="0">
                <a:solidFill>
                  <a:schemeClr val="tx1"/>
                </a:solidFill>
                <a:latin typeface="IBM Plex Sans Light" panose="020B0403050203000203" pitchFamily="34" charset="0"/>
              </a:defRPr>
            </a:lvl3pPr>
            <a:lvl4pPr marL="383971" indent="-127990">
              <a:lnSpc>
                <a:spcPct val="110000"/>
              </a:lnSpc>
              <a:spcBef>
                <a:spcPts val="0"/>
              </a:spcBef>
              <a:spcAft>
                <a:spcPts val="600"/>
              </a:spcAft>
              <a:defRPr sz="18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90117"/>
            <a:ext cx="2476178" cy="2476500"/>
          </a:xfrm>
        </p:spPr>
        <p:txBody>
          <a:bodyPr/>
          <a:lstStyle>
            <a:lvl1pPr>
              <a:lnSpc>
                <a:spcPct val="110000"/>
              </a:lnSpc>
              <a:spcBef>
                <a:spcPts val="0"/>
              </a:spcBef>
              <a:spcAft>
                <a:spcPts val="600"/>
              </a:spcAft>
              <a:defRPr sz="1800" b="0" i="0">
                <a:solidFill>
                  <a:schemeClr val="tx1"/>
                </a:solidFill>
                <a:latin typeface="IBM Plex Sans Light" panose="020B0403050203000203" pitchFamily="34" charset="0"/>
              </a:defRPr>
            </a:lvl1pPr>
            <a:lvl2pPr marL="127990" indent="-127990">
              <a:lnSpc>
                <a:spcPct val="110000"/>
              </a:lnSpc>
              <a:spcBef>
                <a:spcPts val="0"/>
              </a:spcBef>
              <a:spcAft>
                <a:spcPts val="600"/>
              </a:spcAft>
              <a:defRPr sz="1800" b="0" i="0">
                <a:solidFill>
                  <a:schemeClr val="tx1"/>
                </a:solidFill>
                <a:latin typeface="IBM Plex Sans Light" panose="020B0403050203000203" pitchFamily="34" charset="0"/>
              </a:defRPr>
            </a:lvl2pPr>
            <a:lvl3pPr marL="255981" indent="-127990">
              <a:lnSpc>
                <a:spcPct val="110000"/>
              </a:lnSpc>
              <a:spcBef>
                <a:spcPts val="0"/>
              </a:spcBef>
              <a:spcAft>
                <a:spcPts val="600"/>
              </a:spcAft>
              <a:defRPr sz="1800" b="0" i="0">
                <a:solidFill>
                  <a:schemeClr val="tx1"/>
                </a:solidFill>
                <a:latin typeface="IBM Plex Sans Light" panose="020B0403050203000203" pitchFamily="34" charset="0"/>
              </a:defRPr>
            </a:lvl3pPr>
            <a:lvl4pPr marL="383971" indent="-127990">
              <a:lnSpc>
                <a:spcPct val="110000"/>
              </a:lnSpc>
              <a:spcBef>
                <a:spcPts val="0"/>
              </a:spcBef>
              <a:spcAft>
                <a:spcPts val="600"/>
              </a:spcAft>
              <a:defRPr sz="18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90117"/>
            <a:ext cx="2476178" cy="2476500"/>
          </a:xfrm>
        </p:spPr>
        <p:txBody>
          <a:bodyPr/>
          <a:lstStyle>
            <a:lvl1pPr>
              <a:lnSpc>
                <a:spcPct val="110000"/>
              </a:lnSpc>
              <a:spcBef>
                <a:spcPts val="0"/>
              </a:spcBef>
              <a:spcAft>
                <a:spcPts val="600"/>
              </a:spcAft>
              <a:defRPr sz="1800" b="0" i="0">
                <a:solidFill>
                  <a:schemeClr val="tx1"/>
                </a:solidFill>
                <a:latin typeface="IBM Plex Sans Light" panose="020B0403050203000203" pitchFamily="34" charset="0"/>
              </a:defRPr>
            </a:lvl1pPr>
            <a:lvl2pPr marL="127990" indent="-127990">
              <a:lnSpc>
                <a:spcPct val="110000"/>
              </a:lnSpc>
              <a:spcBef>
                <a:spcPts val="0"/>
              </a:spcBef>
              <a:spcAft>
                <a:spcPts val="600"/>
              </a:spcAft>
              <a:defRPr sz="1800" b="0" i="0">
                <a:solidFill>
                  <a:schemeClr val="tx1"/>
                </a:solidFill>
                <a:latin typeface="IBM Plex Sans Light" panose="020B0403050203000203" pitchFamily="34" charset="0"/>
              </a:defRPr>
            </a:lvl2pPr>
            <a:lvl3pPr marL="255981" indent="-127990">
              <a:lnSpc>
                <a:spcPct val="110000"/>
              </a:lnSpc>
              <a:spcBef>
                <a:spcPts val="0"/>
              </a:spcBef>
              <a:spcAft>
                <a:spcPts val="600"/>
              </a:spcAft>
              <a:defRPr sz="1800" b="0" i="0">
                <a:solidFill>
                  <a:schemeClr val="tx1"/>
                </a:solidFill>
                <a:latin typeface="IBM Plex Sans Light" panose="020B0403050203000203" pitchFamily="34" charset="0"/>
              </a:defRPr>
            </a:lvl3pPr>
            <a:lvl4pPr marL="383971" indent="-127990">
              <a:lnSpc>
                <a:spcPct val="110000"/>
              </a:lnSpc>
              <a:spcBef>
                <a:spcPts val="0"/>
              </a:spcBef>
              <a:spcAft>
                <a:spcPts val="600"/>
              </a:spcAft>
              <a:defRPr sz="18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cxnSp>
        <p:nvCxnSpPr>
          <p:cNvPr id="9" name="Straight Connector 8">
            <a:extLst>
              <a:ext uri="{FF2B5EF4-FFF2-40B4-BE49-F238E27FC236}">
                <a16:creationId xmlns:a16="http://schemas.microsoft.com/office/drawing/2014/main" id="{F2187E1D-CADD-954F-F4C0-5C4235ED1448}"/>
              </a:ext>
            </a:extLst>
          </p:cNvPr>
          <p:cNvCxnSpPr>
            <a:cxnSpLocks/>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 name="Straight Connector 1">
            <a:extLst>
              <a:ext uri="{FF2B5EF4-FFF2-40B4-BE49-F238E27FC236}">
                <a16:creationId xmlns:a16="http://schemas.microsoft.com/office/drawing/2014/main" id="{82BAB8C9-7E2A-46DD-2399-A214C4EDF57F}"/>
              </a:ext>
            </a:extLst>
          </p:cNvPr>
          <p:cNvCxnSpPr>
            <a:cxnSpLocks/>
          </p:cNvCxnSpPr>
          <p:nvPr userDrawn="1"/>
        </p:nvCxnSpPr>
        <p:spPr bwMode="auto">
          <a:xfrm>
            <a:off x="6380919" y="3142853"/>
            <a:ext cx="552454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itle 1">
            <a:extLst>
              <a:ext uri="{FF2B5EF4-FFF2-40B4-BE49-F238E27FC236}">
                <a16:creationId xmlns:a16="http://schemas.microsoft.com/office/drawing/2014/main" id="{2FD89A00-A4D6-01CC-82BF-001A1713FD38}"/>
              </a:ext>
            </a:extLst>
          </p:cNvPr>
          <p:cNvSpPr>
            <a:spLocks noGrp="1"/>
          </p:cNvSpPr>
          <p:nvPr>
            <p:ph type="title"/>
          </p:nvPr>
        </p:nvSpPr>
        <p:spPr>
          <a:xfrm>
            <a:off x="268951" y="198287"/>
            <a:ext cx="5524575" cy="2373463"/>
          </a:xfrm>
        </p:spPr>
        <p:txBody>
          <a:bodyPr rIns="457200"/>
          <a:lstStyle>
            <a:lvl1pPr>
              <a:lnSpc>
                <a:spcPct val="100000"/>
              </a:lnSpc>
              <a:defRPr>
                <a:solidFill>
                  <a:schemeClr val="tx2"/>
                </a:solidFill>
              </a:defRPr>
            </a:lvl1pPr>
          </a:lstStyle>
          <a:p>
            <a:r>
              <a:rPr lang="en-US"/>
              <a:t>Click to edit Master title style</a:t>
            </a:r>
          </a:p>
        </p:txBody>
      </p:sp>
      <p:sp>
        <p:nvSpPr>
          <p:cNvPr id="4" name="Footer Placeholder 1">
            <a:extLst>
              <a:ext uri="{FF2B5EF4-FFF2-40B4-BE49-F238E27FC236}">
                <a16:creationId xmlns:a16="http://schemas.microsoft.com/office/drawing/2014/main" id="{9D0D49E6-7CA5-18FC-9FD9-9EDA2C4F406A}"/>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
        <p:nvSpPr>
          <p:cNvPr id="3" name="TextBox 2">
            <a:extLst>
              <a:ext uri="{FF2B5EF4-FFF2-40B4-BE49-F238E27FC236}">
                <a16:creationId xmlns:a16="http://schemas.microsoft.com/office/drawing/2014/main" id="{136B6C46-C666-43DE-7ABD-50A03CBE66DA}"/>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rgbClr val="000000"/>
                </a:solidFill>
                <a:latin typeface="IBM Plex Sans" panose="020B0503050203000203" pitchFamily="34" charset="0"/>
                <a:ea typeface="+mj-ea"/>
                <a:cs typeface="+mj-cs"/>
                <a:sym typeface="IBM Plex Sans Light"/>
              </a:rPr>
              <a:t>#IBMTechXchange</a:t>
            </a:r>
          </a:p>
        </p:txBody>
      </p:sp>
    </p:spTree>
    <p:extLst>
      <p:ext uri="{BB962C8B-B14F-4D97-AF65-F5344CB8AC3E}">
        <p14:creationId xmlns:p14="http://schemas.microsoft.com/office/powerpoint/2010/main" val="1806588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pictograms, 4 columns plai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68951" y="198288"/>
            <a:ext cx="5524575" cy="1516213"/>
          </a:xfrm>
        </p:spPr>
        <p:txBody>
          <a:bodyPr rIns="457200"/>
          <a:lstStyle>
            <a:lvl1pPr>
              <a:lnSpc>
                <a:spcPct val="100000"/>
              </a:lnSpc>
              <a:defRPr>
                <a:solidFill>
                  <a:schemeClr val="tx2"/>
                </a:solidFill>
              </a:defRPr>
            </a:lvl1pPr>
          </a:lstStyle>
          <a:p>
            <a:r>
              <a:rPr lang="en-US"/>
              <a:t>Click to edit Master title style</a:t>
            </a:r>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91047"/>
            <a:ext cx="2474590" cy="2607323"/>
          </a:xfrm>
        </p:spPr>
        <p:txBody>
          <a:bodyPr/>
          <a:lstStyle>
            <a:lvl1pPr>
              <a:spcBef>
                <a:spcPts val="0"/>
              </a:spcBef>
              <a:defRPr sz="1800">
                <a:solidFill>
                  <a:schemeClr val="tx1"/>
                </a:solidFill>
              </a:defRPr>
            </a:lvl1pPr>
            <a:lvl2pPr marL="127990" indent="-127990">
              <a:spcBef>
                <a:spcPts val="0"/>
              </a:spcBef>
              <a:defRPr sz="1800">
                <a:solidFill>
                  <a:schemeClr val="tx1"/>
                </a:solidFill>
              </a:defRPr>
            </a:lvl2pPr>
            <a:lvl3pPr marL="255981" indent="-127990">
              <a:spcBef>
                <a:spcPts val="0"/>
              </a:spcBef>
              <a:defRPr sz="1800">
                <a:solidFill>
                  <a:schemeClr val="tx1"/>
                </a:solidFill>
              </a:defRPr>
            </a:lvl3pPr>
            <a:lvl4pPr marL="383971" indent="-127990">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4362" y="3391047"/>
            <a:ext cx="2474590" cy="2607323"/>
          </a:xfrm>
        </p:spPr>
        <p:txBody>
          <a:bodyPr/>
          <a:lstStyle>
            <a:lvl1pPr>
              <a:spcBef>
                <a:spcPts val="0"/>
              </a:spcBef>
              <a:defRPr sz="1800">
                <a:solidFill>
                  <a:schemeClr val="tx1"/>
                </a:solidFill>
              </a:defRPr>
            </a:lvl1pPr>
            <a:lvl2pPr marL="127990" indent="-127990">
              <a:spcBef>
                <a:spcPts val="0"/>
              </a:spcBef>
              <a:defRPr sz="1800">
                <a:solidFill>
                  <a:schemeClr val="tx1"/>
                </a:solidFill>
              </a:defRPr>
            </a:lvl2pPr>
            <a:lvl3pPr marL="255981" indent="-127990">
              <a:spcBef>
                <a:spcPts val="0"/>
              </a:spcBef>
              <a:defRPr sz="1800">
                <a:solidFill>
                  <a:schemeClr val="tx1"/>
                </a:solidFill>
              </a:defRPr>
            </a:lvl3pPr>
            <a:lvl4pPr marL="383971" indent="-127990">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49" y="3391047"/>
            <a:ext cx="2474590" cy="2607323"/>
          </a:xfrm>
        </p:spPr>
        <p:txBody>
          <a:bodyPr/>
          <a:lstStyle>
            <a:lvl1pPr>
              <a:spcBef>
                <a:spcPts val="0"/>
              </a:spcBef>
              <a:defRPr sz="1800">
                <a:solidFill>
                  <a:schemeClr val="tx1"/>
                </a:solidFill>
              </a:defRPr>
            </a:lvl1pPr>
            <a:lvl2pPr marL="127990" indent="-127990">
              <a:spcBef>
                <a:spcPts val="0"/>
              </a:spcBef>
              <a:defRPr sz="1800">
                <a:solidFill>
                  <a:schemeClr val="tx1"/>
                </a:solidFill>
              </a:defRPr>
            </a:lvl2pPr>
            <a:lvl3pPr marL="255981" indent="-127990">
              <a:spcBef>
                <a:spcPts val="0"/>
              </a:spcBef>
              <a:defRPr sz="1800">
                <a:solidFill>
                  <a:schemeClr val="tx1"/>
                </a:solidFill>
              </a:defRPr>
            </a:lvl3pPr>
            <a:lvl4pPr marL="383971" indent="-127990">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91047"/>
            <a:ext cx="2474590" cy="2607323"/>
          </a:xfrm>
        </p:spPr>
        <p:txBody>
          <a:bodyPr/>
          <a:lstStyle>
            <a:lvl1pPr>
              <a:spcBef>
                <a:spcPts val="0"/>
              </a:spcBef>
              <a:defRPr sz="1800">
                <a:solidFill>
                  <a:schemeClr val="tx1"/>
                </a:solidFill>
              </a:defRPr>
            </a:lvl1pPr>
            <a:lvl2pPr marL="127990" indent="-127990">
              <a:spcBef>
                <a:spcPts val="0"/>
              </a:spcBef>
              <a:defRPr sz="1800">
                <a:solidFill>
                  <a:schemeClr val="tx1"/>
                </a:solidFill>
              </a:defRPr>
            </a:lvl2pPr>
            <a:lvl3pPr marL="255981" indent="-127990">
              <a:spcBef>
                <a:spcPts val="0"/>
              </a:spcBef>
              <a:defRPr sz="1800">
                <a:solidFill>
                  <a:schemeClr val="tx1"/>
                </a:solidFill>
              </a:defRPr>
            </a:lvl3pPr>
            <a:lvl4pPr marL="383971" indent="-127990">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10" name="Picture Placeholder 12">
            <a:extLst>
              <a:ext uri="{FF2B5EF4-FFF2-40B4-BE49-F238E27FC236}">
                <a16:creationId xmlns:a16="http://schemas.microsoft.com/office/drawing/2014/main" id="{229F0A3E-56B4-C089-C20B-6B33FC69B856}"/>
              </a:ext>
            </a:extLst>
          </p:cNvPr>
          <p:cNvSpPr>
            <a:spLocks noGrp="1"/>
          </p:cNvSpPr>
          <p:nvPr>
            <p:ph type="pic" sz="quarter" idx="17" hasCustomPrompt="1"/>
          </p:nvPr>
        </p:nvSpPr>
        <p:spPr>
          <a:xfrm>
            <a:off x="287998" y="2440070"/>
            <a:ext cx="607997" cy="608076"/>
          </a:xfrm>
        </p:spPr>
        <p:txBody>
          <a:bodyPr anchor="ctr"/>
          <a:lstStyle>
            <a:lvl1pPr algn="ctr">
              <a:defRPr sz="800"/>
            </a:lvl1pPr>
          </a:lstStyle>
          <a:p>
            <a:r>
              <a:rPr lang="en-US"/>
              <a:t>Pictogram</a:t>
            </a:r>
          </a:p>
        </p:txBody>
      </p:sp>
      <p:sp>
        <p:nvSpPr>
          <p:cNvPr id="15" name="Picture Placeholder 12">
            <a:extLst>
              <a:ext uri="{FF2B5EF4-FFF2-40B4-BE49-F238E27FC236}">
                <a16:creationId xmlns:a16="http://schemas.microsoft.com/office/drawing/2014/main" id="{D9CE9053-2DD6-966F-8843-B50FBF7C7C97}"/>
              </a:ext>
            </a:extLst>
          </p:cNvPr>
          <p:cNvSpPr>
            <a:spLocks noGrp="1"/>
          </p:cNvSpPr>
          <p:nvPr>
            <p:ph type="pic" sz="quarter" idx="18" hasCustomPrompt="1"/>
          </p:nvPr>
        </p:nvSpPr>
        <p:spPr>
          <a:xfrm>
            <a:off x="3334361" y="2440070"/>
            <a:ext cx="607997" cy="608076"/>
          </a:xfrm>
        </p:spPr>
        <p:txBody>
          <a:bodyPr anchor="ctr"/>
          <a:lstStyle>
            <a:lvl1pPr algn="ctr">
              <a:defRPr sz="800"/>
            </a:lvl1pPr>
          </a:lstStyle>
          <a:p>
            <a:r>
              <a:rPr lang="en-US"/>
              <a:t>Pictogram</a:t>
            </a:r>
          </a:p>
        </p:txBody>
      </p:sp>
      <p:sp>
        <p:nvSpPr>
          <p:cNvPr id="16" name="Picture Placeholder 12">
            <a:extLst>
              <a:ext uri="{FF2B5EF4-FFF2-40B4-BE49-F238E27FC236}">
                <a16:creationId xmlns:a16="http://schemas.microsoft.com/office/drawing/2014/main" id="{29DB6E44-F962-A27A-53E2-9736F1F7CE60}"/>
              </a:ext>
            </a:extLst>
          </p:cNvPr>
          <p:cNvSpPr>
            <a:spLocks noGrp="1"/>
          </p:cNvSpPr>
          <p:nvPr>
            <p:ph type="pic" sz="quarter" idx="19" hasCustomPrompt="1"/>
          </p:nvPr>
        </p:nvSpPr>
        <p:spPr>
          <a:xfrm>
            <a:off x="6383049" y="2440070"/>
            <a:ext cx="607997" cy="608076"/>
          </a:xfrm>
        </p:spPr>
        <p:txBody>
          <a:bodyPr anchor="ctr"/>
          <a:lstStyle>
            <a:lvl1pPr algn="ctr">
              <a:defRPr sz="800"/>
            </a:lvl1pPr>
          </a:lstStyle>
          <a:p>
            <a:r>
              <a:rPr lang="en-US"/>
              <a:t>Pictogram</a:t>
            </a:r>
          </a:p>
        </p:txBody>
      </p:sp>
      <p:sp>
        <p:nvSpPr>
          <p:cNvPr id="17" name="Picture Placeholder 12">
            <a:extLst>
              <a:ext uri="{FF2B5EF4-FFF2-40B4-BE49-F238E27FC236}">
                <a16:creationId xmlns:a16="http://schemas.microsoft.com/office/drawing/2014/main" id="{7F43B7C7-FC2D-A79E-9E4C-CAB7C1D5F693}"/>
              </a:ext>
            </a:extLst>
          </p:cNvPr>
          <p:cNvSpPr>
            <a:spLocks noGrp="1"/>
          </p:cNvSpPr>
          <p:nvPr>
            <p:ph type="pic" sz="quarter" idx="20" hasCustomPrompt="1"/>
          </p:nvPr>
        </p:nvSpPr>
        <p:spPr>
          <a:xfrm>
            <a:off x="9428522" y="2440070"/>
            <a:ext cx="607997" cy="608076"/>
          </a:xfrm>
        </p:spPr>
        <p:txBody>
          <a:bodyPr anchor="ctr"/>
          <a:lstStyle>
            <a:lvl1pPr algn="ctr">
              <a:defRPr sz="800"/>
            </a:lvl1pPr>
          </a:lstStyle>
          <a:p>
            <a:r>
              <a:rPr lang="en-US"/>
              <a:t>Pictogram</a:t>
            </a:r>
          </a:p>
        </p:txBody>
      </p:sp>
      <p:sp>
        <p:nvSpPr>
          <p:cNvPr id="6" name="Footer Placeholder 1">
            <a:extLst>
              <a:ext uri="{FF2B5EF4-FFF2-40B4-BE49-F238E27FC236}">
                <a16:creationId xmlns:a16="http://schemas.microsoft.com/office/drawing/2014/main" id="{5AD2A69D-35AD-8E1B-0055-B0347A82FF74}"/>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
        <p:nvSpPr>
          <p:cNvPr id="3" name="TextBox 2">
            <a:extLst>
              <a:ext uri="{FF2B5EF4-FFF2-40B4-BE49-F238E27FC236}">
                <a16:creationId xmlns:a16="http://schemas.microsoft.com/office/drawing/2014/main" id="{8287B17F-02E8-571F-D592-3B6CA683B306}"/>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rgbClr val="000000"/>
                </a:solidFill>
                <a:latin typeface="IBM Plex Sans" panose="020B0503050203000203" pitchFamily="34" charset="0"/>
                <a:ea typeface="+mj-ea"/>
                <a:cs typeface="+mj-cs"/>
                <a:sym typeface="IBM Plex Sans Light"/>
              </a:rPr>
              <a:t>#IBMTechXchange</a:t>
            </a:r>
          </a:p>
        </p:txBody>
      </p:sp>
    </p:spTree>
    <p:extLst>
      <p:ext uri="{BB962C8B-B14F-4D97-AF65-F5344CB8AC3E}">
        <p14:creationId xmlns:p14="http://schemas.microsoft.com/office/powerpoint/2010/main" val="256955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section, icons, 4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68951" y="198288"/>
            <a:ext cx="5524575" cy="1516213"/>
          </a:xfrm>
        </p:spPr>
        <p:txBody>
          <a:bodyPr rIns="457200"/>
          <a:lstStyle>
            <a:lvl1pPr>
              <a:lnSpc>
                <a:spcPct val="100000"/>
              </a:lnSpc>
              <a:defRPr>
                <a:solidFill>
                  <a:schemeClr val="tx2"/>
                </a:solidFill>
              </a:defRPr>
            </a:lvl1pPr>
          </a:lstStyle>
          <a:p>
            <a:r>
              <a:rPr lang="en-US"/>
              <a:t>Click to edit Master title style</a:t>
            </a:r>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118339"/>
            <a:ext cx="2474590" cy="2880031"/>
          </a:xfrm>
        </p:spPr>
        <p:txBody>
          <a:bodyPr/>
          <a:lstStyle>
            <a:lvl1pPr>
              <a:spcBef>
                <a:spcPts val="0"/>
              </a:spcBef>
              <a:defRPr sz="1800">
                <a:solidFill>
                  <a:schemeClr val="tx1"/>
                </a:solidFill>
              </a:defRPr>
            </a:lvl1pPr>
            <a:lvl2pPr marL="127990" indent="-127990">
              <a:spcBef>
                <a:spcPts val="0"/>
              </a:spcBef>
              <a:defRPr sz="1800">
                <a:solidFill>
                  <a:schemeClr val="tx1"/>
                </a:solidFill>
              </a:defRPr>
            </a:lvl2pPr>
            <a:lvl3pPr marL="255981" indent="-127990">
              <a:spcBef>
                <a:spcPts val="0"/>
              </a:spcBef>
              <a:defRPr sz="1800">
                <a:solidFill>
                  <a:schemeClr val="tx1"/>
                </a:solidFill>
              </a:defRPr>
            </a:lvl3pPr>
            <a:lvl4pPr marL="383971" indent="-127990">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4362" y="3118339"/>
            <a:ext cx="2474590" cy="2880031"/>
          </a:xfrm>
        </p:spPr>
        <p:txBody>
          <a:bodyPr/>
          <a:lstStyle>
            <a:lvl1pPr>
              <a:spcBef>
                <a:spcPts val="0"/>
              </a:spcBef>
              <a:defRPr sz="1800">
                <a:solidFill>
                  <a:schemeClr val="tx1"/>
                </a:solidFill>
              </a:defRPr>
            </a:lvl1pPr>
            <a:lvl2pPr marL="127990" indent="-127990">
              <a:spcBef>
                <a:spcPts val="0"/>
              </a:spcBef>
              <a:defRPr sz="1800">
                <a:solidFill>
                  <a:schemeClr val="tx1"/>
                </a:solidFill>
              </a:defRPr>
            </a:lvl2pPr>
            <a:lvl3pPr marL="255981" indent="-127990">
              <a:spcBef>
                <a:spcPts val="0"/>
              </a:spcBef>
              <a:defRPr sz="1800">
                <a:solidFill>
                  <a:schemeClr val="tx1"/>
                </a:solidFill>
              </a:defRPr>
            </a:lvl3pPr>
            <a:lvl4pPr marL="383971" indent="-127990">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49" y="3118339"/>
            <a:ext cx="2474590" cy="2880031"/>
          </a:xfrm>
        </p:spPr>
        <p:txBody>
          <a:bodyPr/>
          <a:lstStyle>
            <a:lvl1pPr>
              <a:spcBef>
                <a:spcPts val="0"/>
              </a:spcBef>
              <a:defRPr sz="1800">
                <a:solidFill>
                  <a:schemeClr val="tx1"/>
                </a:solidFill>
              </a:defRPr>
            </a:lvl1pPr>
            <a:lvl2pPr marL="127990" indent="-127990">
              <a:spcBef>
                <a:spcPts val="0"/>
              </a:spcBef>
              <a:defRPr sz="1800">
                <a:solidFill>
                  <a:schemeClr val="tx1"/>
                </a:solidFill>
              </a:defRPr>
            </a:lvl2pPr>
            <a:lvl3pPr marL="255981" indent="-127990">
              <a:spcBef>
                <a:spcPts val="0"/>
              </a:spcBef>
              <a:defRPr sz="1800">
                <a:solidFill>
                  <a:schemeClr val="tx1"/>
                </a:solidFill>
              </a:defRPr>
            </a:lvl3pPr>
            <a:lvl4pPr marL="383971" indent="-127990">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118339"/>
            <a:ext cx="2474590" cy="2880031"/>
          </a:xfrm>
        </p:spPr>
        <p:txBody>
          <a:bodyPr/>
          <a:lstStyle>
            <a:lvl1pPr>
              <a:spcBef>
                <a:spcPts val="0"/>
              </a:spcBef>
              <a:defRPr sz="1800">
                <a:solidFill>
                  <a:schemeClr val="tx1"/>
                </a:solidFill>
              </a:defRPr>
            </a:lvl1pPr>
            <a:lvl2pPr marL="127990" indent="-127990">
              <a:spcBef>
                <a:spcPts val="0"/>
              </a:spcBef>
              <a:defRPr sz="1800">
                <a:solidFill>
                  <a:schemeClr val="tx1"/>
                </a:solidFill>
              </a:defRPr>
            </a:lvl2pPr>
            <a:lvl3pPr marL="255981" indent="-127990">
              <a:spcBef>
                <a:spcPts val="0"/>
              </a:spcBef>
              <a:defRPr sz="1800">
                <a:solidFill>
                  <a:schemeClr val="tx1"/>
                </a:solidFill>
              </a:defRPr>
            </a:lvl3pPr>
            <a:lvl4pPr marL="383971" indent="-127990">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grpSp>
        <p:nvGrpSpPr>
          <p:cNvPr id="9" name="Group 8">
            <a:extLst>
              <a:ext uri="{FF2B5EF4-FFF2-40B4-BE49-F238E27FC236}">
                <a16:creationId xmlns:a16="http://schemas.microsoft.com/office/drawing/2014/main" id="{01970BBD-DC96-8629-8547-C91E8BAA362A}"/>
              </a:ext>
            </a:extLst>
          </p:cNvPr>
          <p:cNvGrpSpPr/>
          <p:nvPr userDrawn="1"/>
        </p:nvGrpSpPr>
        <p:grpSpPr>
          <a:xfrm>
            <a:off x="3047603" y="2824719"/>
            <a:ext cx="6095206" cy="3170121"/>
            <a:chOff x="6096000" y="6858000"/>
            <a:chExt cx="12192000" cy="5131680"/>
          </a:xfrm>
        </p:grpSpPr>
        <p:cxnSp>
          <p:nvCxnSpPr>
            <p:cNvPr id="3" name="Straight Connector 2">
              <a:extLst>
                <a:ext uri="{FF2B5EF4-FFF2-40B4-BE49-F238E27FC236}">
                  <a16:creationId xmlns:a16="http://schemas.microsoft.com/office/drawing/2014/main" id="{879092D4-BF8A-268D-DBA5-27434837ECD3}"/>
                </a:ext>
              </a:extLst>
            </p:cNvPr>
            <p:cNvCxnSpPr>
              <a:cxnSpLocks/>
            </p:cNvCxnSpPr>
            <p:nvPr userDrawn="1"/>
          </p:nvCxnSpPr>
          <p:spPr bwMode="auto">
            <a:xfrm>
              <a:off x="6096000" y="6858000"/>
              <a:ext cx="0" cy="511145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 name="Straight Connector 5">
              <a:extLst>
                <a:ext uri="{FF2B5EF4-FFF2-40B4-BE49-F238E27FC236}">
                  <a16:creationId xmlns:a16="http://schemas.microsoft.com/office/drawing/2014/main" id="{0319ED4A-BFBA-E53C-2BB8-09CE78A79FE7}"/>
                </a:ext>
              </a:extLst>
            </p:cNvPr>
            <p:cNvCxnSpPr>
              <a:cxnSpLocks/>
            </p:cNvCxnSpPr>
            <p:nvPr userDrawn="1"/>
          </p:nvCxnSpPr>
          <p:spPr bwMode="auto">
            <a:xfrm>
              <a:off x="12188952" y="6860654"/>
              <a:ext cx="0" cy="512902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200224B-2BF1-5B5D-5780-D5DB90A12032}"/>
                </a:ext>
              </a:extLst>
            </p:cNvPr>
            <p:cNvCxnSpPr>
              <a:cxnSpLocks/>
            </p:cNvCxnSpPr>
            <p:nvPr userDrawn="1"/>
          </p:nvCxnSpPr>
          <p:spPr bwMode="auto">
            <a:xfrm>
              <a:off x="18288000" y="6858000"/>
              <a:ext cx="0" cy="510960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grpSp>
      <p:sp>
        <p:nvSpPr>
          <p:cNvPr id="4" name="Footer Placeholder 1">
            <a:extLst>
              <a:ext uri="{FF2B5EF4-FFF2-40B4-BE49-F238E27FC236}">
                <a16:creationId xmlns:a16="http://schemas.microsoft.com/office/drawing/2014/main" id="{367972C7-64C8-D5D5-2649-7E5F519CF395}"/>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
        <p:nvSpPr>
          <p:cNvPr id="8" name="TextBox 7">
            <a:extLst>
              <a:ext uri="{FF2B5EF4-FFF2-40B4-BE49-F238E27FC236}">
                <a16:creationId xmlns:a16="http://schemas.microsoft.com/office/drawing/2014/main" id="{30236752-6651-4DC5-14F4-18A0D2DE1F23}"/>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rgbClr val="000000"/>
                </a:solidFill>
                <a:latin typeface="IBM Plex Sans" panose="020B0503050203000203" pitchFamily="34" charset="0"/>
                <a:ea typeface="+mj-ea"/>
                <a:cs typeface="+mj-cs"/>
                <a:sym typeface="IBM Plex Sans Light"/>
              </a:rPr>
              <a:t>#IBMTechXchange</a:t>
            </a:r>
          </a:p>
        </p:txBody>
      </p:sp>
    </p:spTree>
    <p:extLst>
      <p:ext uri="{BB962C8B-B14F-4D97-AF65-F5344CB8AC3E}">
        <p14:creationId xmlns:p14="http://schemas.microsoft.com/office/powerpoint/2010/main" val="3118483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section, 6 items">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91047"/>
            <a:ext cx="2474590" cy="2607323"/>
          </a:xfrm>
        </p:spPr>
        <p:txBody>
          <a:bodyPr/>
          <a:lstStyle>
            <a:lvl1pPr>
              <a:spcBef>
                <a:spcPts val="0"/>
              </a:spcBef>
              <a:spcAft>
                <a:spcPts val="600"/>
              </a:spcAft>
              <a:defRPr sz="1800">
                <a:solidFill>
                  <a:schemeClr val="tx1"/>
                </a:solidFill>
              </a:defRPr>
            </a:lvl1pPr>
            <a:lvl2pPr marL="127990" indent="-127990">
              <a:spcBef>
                <a:spcPts val="0"/>
              </a:spcBef>
              <a:spcAft>
                <a:spcPts val="600"/>
              </a:spcAft>
              <a:defRPr sz="1800">
                <a:solidFill>
                  <a:schemeClr val="tx1"/>
                </a:solidFill>
              </a:defRPr>
            </a:lvl2pPr>
            <a:lvl3pPr marL="255981" indent="-127990">
              <a:spcBef>
                <a:spcPts val="0"/>
              </a:spcBef>
              <a:spcAft>
                <a:spcPts val="600"/>
              </a:spcAft>
              <a:defRPr sz="1800">
                <a:solidFill>
                  <a:schemeClr val="tx1"/>
                </a:solidFill>
              </a:defRPr>
            </a:lvl3pPr>
            <a:lvl4pPr marL="383971" indent="-127990">
              <a:spcBef>
                <a:spcPts val="0"/>
              </a:spcBef>
              <a:spcAft>
                <a:spcPts val="600"/>
              </a:spcAft>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4362" y="3391047"/>
            <a:ext cx="2474590" cy="2607323"/>
          </a:xfrm>
        </p:spPr>
        <p:txBody>
          <a:bodyPr/>
          <a:lstStyle>
            <a:lvl1pPr>
              <a:spcBef>
                <a:spcPts val="0"/>
              </a:spcBef>
              <a:spcAft>
                <a:spcPts val="600"/>
              </a:spcAft>
              <a:defRPr sz="1800">
                <a:solidFill>
                  <a:schemeClr val="tx1"/>
                </a:solidFill>
              </a:defRPr>
            </a:lvl1pPr>
            <a:lvl2pPr marL="127990" indent="-127990">
              <a:spcBef>
                <a:spcPts val="0"/>
              </a:spcBef>
              <a:spcAft>
                <a:spcPts val="600"/>
              </a:spcAft>
              <a:defRPr sz="1800">
                <a:solidFill>
                  <a:schemeClr val="tx1"/>
                </a:solidFill>
              </a:defRPr>
            </a:lvl2pPr>
            <a:lvl3pPr marL="255981" indent="-127990">
              <a:spcBef>
                <a:spcPts val="0"/>
              </a:spcBef>
              <a:spcAft>
                <a:spcPts val="600"/>
              </a:spcAft>
              <a:defRPr sz="1800">
                <a:solidFill>
                  <a:schemeClr val="tx1"/>
                </a:solidFill>
              </a:defRPr>
            </a:lvl3pPr>
            <a:lvl4pPr marL="383971" indent="-127990">
              <a:spcBef>
                <a:spcPts val="0"/>
              </a:spcBef>
              <a:spcAft>
                <a:spcPts val="600"/>
              </a:spcAft>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49" y="3391047"/>
            <a:ext cx="2474590" cy="2607323"/>
          </a:xfrm>
        </p:spPr>
        <p:txBody>
          <a:bodyPr/>
          <a:lstStyle>
            <a:lvl1pPr>
              <a:spcBef>
                <a:spcPts val="0"/>
              </a:spcBef>
              <a:spcAft>
                <a:spcPts val="600"/>
              </a:spcAft>
              <a:defRPr sz="1800">
                <a:solidFill>
                  <a:schemeClr val="tx1"/>
                </a:solidFill>
              </a:defRPr>
            </a:lvl1pPr>
            <a:lvl2pPr marL="127990" indent="-127990">
              <a:spcBef>
                <a:spcPts val="0"/>
              </a:spcBef>
              <a:spcAft>
                <a:spcPts val="600"/>
              </a:spcAft>
              <a:defRPr sz="1800">
                <a:solidFill>
                  <a:schemeClr val="tx1"/>
                </a:solidFill>
              </a:defRPr>
            </a:lvl2pPr>
            <a:lvl3pPr marL="255981" indent="-127990">
              <a:spcBef>
                <a:spcPts val="0"/>
              </a:spcBef>
              <a:spcAft>
                <a:spcPts val="600"/>
              </a:spcAft>
              <a:defRPr sz="1800">
                <a:solidFill>
                  <a:schemeClr val="tx1"/>
                </a:solidFill>
              </a:defRPr>
            </a:lvl3pPr>
            <a:lvl4pPr marL="383971" indent="-127990">
              <a:spcBef>
                <a:spcPts val="0"/>
              </a:spcBef>
              <a:spcAft>
                <a:spcPts val="600"/>
              </a:spcAft>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91047"/>
            <a:ext cx="2474590" cy="2607323"/>
          </a:xfrm>
        </p:spPr>
        <p:txBody>
          <a:bodyPr/>
          <a:lstStyle>
            <a:lvl1pPr>
              <a:spcBef>
                <a:spcPts val="0"/>
              </a:spcBef>
              <a:spcAft>
                <a:spcPts val="600"/>
              </a:spcAft>
              <a:defRPr sz="1800">
                <a:solidFill>
                  <a:schemeClr val="tx1"/>
                </a:solidFill>
              </a:defRPr>
            </a:lvl1pPr>
            <a:lvl2pPr marL="127990" indent="-127990">
              <a:spcBef>
                <a:spcPts val="0"/>
              </a:spcBef>
              <a:spcAft>
                <a:spcPts val="600"/>
              </a:spcAft>
              <a:defRPr sz="1800">
                <a:solidFill>
                  <a:schemeClr val="tx1"/>
                </a:solidFill>
              </a:defRPr>
            </a:lvl2pPr>
            <a:lvl3pPr marL="255981" indent="-127990">
              <a:spcBef>
                <a:spcPts val="0"/>
              </a:spcBef>
              <a:spcAft>
                <a:spcPts val="600"/>
              </a:spcAft>
              <a:defRPr sz="1800">
                <a:solidFill>
                  <a:schemeClr val="tx1"/>
                </a:solidFill>
              </a:defRPr>
            </a:lvl3pPr>
            <a:lvl4pPr marL="383971" indent="-127990">
              <a:spcBef>
                <a:spcPts val="0"/>
              </a:spcBef>
              <a:spcAft>
                <a:spcPts val="600"/>
              </a:spcAft>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cxnSp>
        <p:nvCxnSpPr>
          <p:cNvPr id="9" name="Straight Connector 8">
            <a:extLst>
              <a:ext uri="{FF2B5EF4-FFF2-40B4-BE49-F238E27FC236}">
                <a16:creationId xmlns:a16="http://schemas.microsoft.com/office/drawing/2014/main" id="{14A48675-4C09-40F6-B2AC-B92E0A737613}"/>
              </a:ext>
            </a:extLst>
          </p:cNvPr>
          <p:cNvCxnSpPr>
            <a:cxnSpLocks/>
          </p:cNvCxnSpPr>
          <p:nvPr userDrawn="1"/>
        </p:nvCxnSpPr>
        <p:spPr bwMode="auto">
          <a:xfrm>
            <a:off x="6380919" y="3129611"/>
            <a:ext cx="552378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C8C29595-FFB1-A770-4E44-FBA6B0124636}"/>
              </a:ext>
            </a:extLst>
          </p:cNvPr>
          <p:cNvCxnSpPr>
            <a:cxnSpLocks/>
          </p:cNvCxnSpPr>
          <p:nvPr userDrawn="1"/>
        </p:nvCxnSpPr>
        <p:spPr bwMode="auto">
          <a:xfrm>
            <a:off x="9142810" y="288925"/>
            <a:ext cx="0" cy="56813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10">
            <a:extLst>
              <a:ext uri="{FF2B5EF4-FFF2-40B4-BE49-F238E27FC236}">
                <a16:creationId xmlns:a16="http://schemas.microsoft.com/office/drawing/2014/main" id="{8222ABE6-8E24-BB5A-724A-A3BF328EA66B}"/>
              </a:ext>
            </a:extLst>
          </p:cNvPr>
          <p:cNvSpPr>
            <a:spLocks noGrp="1"/>
          </p:cNvSpPr>
          <p:nvPr>
            <p:ph type="body" sz="quarter" idx="16"/>
          </p:nvPr>
        </p:nvSpPr>
        <p:spPr>
          <a:xfrm>
            <a:off x="6383049" y="245102"/>
            <a:ext cx="2474590" cy="2607323"/>
          </a:xfrm>
        </p:spPr>
        <p:txBody>
          <a:bodyPr/>
          <a:lstStyle>
            <a:lvl1pPr>
              <a:spcBef>
                <a:spcPts val="0"/>
              </a:spcBef>
              <a:spcAft>
                <a:spcPts val="600"/>
              </a:spcAft>
              <a:defRPr sz="1800">
                <a:solidFill>
                  <a:schemeClr val="tx1"/>
                </a:solidFill>
              </a:defRPr>
            </a:lvl1pPr>
            <a:lvl2pPr marL="127990" indent="-127990">
              <a:spcBef>
                <a:spcPts val="0"/>
              </a:spcBef>
              <a:spcAft>
                <a:spcPts val="600"/>
              </a:spcAft>
              <a:defRPr sz="1800">
                <a:solidFill>
                  <a:schemeClr val="tx1"/>
                </a:solidFill>
              </a:defRPr>
            </a:lvl2pPr>
            <a:lvl3pPr marL="255981" indent="-127990">
              <a:spcBef>
                <a:spcPts val="0"/>
              </a:spcBef>
              <a:spcAft>
                <a:spcPts val="600"/>
              </a:spcAft>
              <a:defRPr sz="1800">
                <a:solidFill>
                  <a:schemeClr val="tx1"/>
                </a:solidFill>
              </a:defRPr>
            </a:lvl3pPr>
            <a:lvl4pPr marL="383971" indent="-127990">
              <a:spcBef>
                <a:spcPts val="0"/>
              </a:spcBef>
              <a:spcAft>
                <a:spcPts val="600"/>
              </a:spcAft>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10">
            <a:extLst>
              <a:ext uri="{FF2B5EF4-FFF2-40B4-BE49-F238E27FC236}">
                <a16:creationId xmlns:a16="http://schemas.microsoft.com/office/drawing/2014/main" id="{49562605-98F6-4E5B-023A-C45650DB486B}"/>
              </a:ext>
            </a:extLst>
          </p:cNvPr>
          <p:cNvSpPr>
            <a:spLocks noGrp="1"/>
          </p:cNvSpPr>
          <p:nvPr>
            <p:ph type="body" sz="quarter" idx="17"/>
          </p:nvPr>
        </p:nvSpPr>
        <p:spPr>
          <a:xfrm>
            <a:off x="9428523" y="245102"/>
            <a:ext cx="2474590" cy="2607323"/>
          </a:xfrm>
        </p:spPr>
        <p:txBody>
          <a:bodyPr/>
          <a:lstStyle>
            <a:lvl1pPr>
              <a:spcBef>
                <a:spcPts val="0"/>
              </a:spcBef>
              <a:spcAft>
                <a:spcPts val="600"/>
              </a:spcAft>
              <a:defRPr sz="1800">
                <a:solidFill>
                  <a:schemeClr val="tx1"/>
                </a:solidFill>
              </a:defRPr>
            </a:lvl1pPr>
            <a:lvl2pPr marL="127990" indent="-127990">
              <a:spcBef>
                <a:spcPts val="0"/>
              </a:spcBef>
              <a:spcAft>
                <a:spcPts val="600"/>
              </a:spcAft>
              <a:defRPr sz="1800">
                <a:solidFill>
                  <a:schemeClr val="tx1"/>
                </a:solidFill>
              </a:defRPr>
            </a:lvl2pPr>
            <a:lvl3pPr marL="255981" indent="-127990">
              <a:spcBef>
                <a:spcPts val="0"/>
              </a:spcBef>
              <a:spcAft>
                <a:spcPts val="600"/>
              </a:spcAft>
              <a:defRPr sz="1800">
                <a:solidFill>
                  <a:schemeClr val="tx1"/>
                </a:solidFill>
              </a:defRPr>
            </a:lvl3pPr>
            <a:lvl4pPr marL="383971" indent="-127990">
              <a:spcBef>
                <a:spcPts val="0"/>
              </a:spcBef>
              <a:spcAft>
                <a:spcPts val="600"/>
              </a:spcAft>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itle 1">
            <a:extLst>
              <a:ext uri="{FF2B5EF4-FFF2-40B4-BE49-F238E27FC236}">
                <a16:creationId xmlns:a16="http://schemas.microsoft.com/office/drawing/2014/main" id="{5C433850-C77D-7722-6C93-E8FC8E47DCA9}"/>
              </a:ext>
            </a:extLst>
          </p:cNvPr>
          <p:cNvSpPr>
            <a:spLocks noGrp="1"/>
          </p:cNvSpPr>
          <p:nvPr>
            <p:ph type="title"/>
          </p:nvPr>
        </p:nvSpPr>
        <p:spPr>
          <a:xfrm>
            <a:off x="268951" y="198288"/>
            <a:ext cx="5524575" cy="1516213"/>
          </a:xfrm>
        </p:spPr>
        <p:txBody>
          <a:bodyPr rIns="457200"/>
          <a:lstStyle>
            <a:lvl1pPr>
              <a:lnSpc>
                <a:spcPct val="100000"/>
              </a:lnSpc>
              <a:defRPr>
                <a:solidFill>
                  <a:schemeClr val="tx2"/>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087E0954-094A-3A56-F3D8-8FCE37CDB6FF}"/>
              </a:ext>
            </a:extLst>
          </p:cNvPr>
          <p:cNvCxnSpPr>
            <a:cxnSpLocks/>
          </p:cNvCxnSpPr>
          <p:nvPr userDrawn="1"/>
        </p:nvCxnSpPr>
        <p:spPr bwMode="auto">
          <a:xfrm>
            <a:off x="3047603" y="3429000"/>
            <a:ext cx="0" cy="255572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 name="Straight Connector 3">
            <a:extLst>
              <a:ext uri="{FF2B5EF4-FFF2-40B4-BE49-F238E27FC236}">
                <a16:creationId xmlns:a16="http://schemas.microsoft.com/office/drawing/2014/main" id="{889A4873-4533-129F-BFE4-942DBAD403C6}"/>
              </a:ext>
            </a:extLst>
          </p:cNvPr>
          <p:cNvCxnSpPr>
            <a:cxnSpLocks/>
          </p:cNvCxnSpPr>
          <p:nvPr userDrawn="1"/>
        </p:nvCxnSpPr>
        <p:spPr bwMode="auto">
          <a:xfrm>
            <a:off x="6093683" y="3430327"/>
            <a:ext cx="0" cy="256451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 name="Straight Connector 5">
            <a:extLst>
              <a:ext uri="{FF2B5EF4-FFF2-40B4-BE49-F238E27FC236}">
                <a16:creationId xmlns:a16="http://schemas.microsoft.com/office/drawing/2014/main" id="{958FBD17-65B3-D61E-4BFF-911D4D8DED82}"/>
              </a:ext>
            </a:extLst>
          </p:cNvPr>
          <p:cNvCxnSpPr>
            <a:cxnSpLocks/>
          </p:cNvCxnSpPr>
          <p:nvPr userDrawn="1"/>
        </p:nvCxnSpPr>
        <p:spPr bwMode="auto">
          <a:xfrm>
            <a:off x="9142810" y="3429000"/>
            <a:ext cx="0" cy="255480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Footer Placeholder 1">
            <a:extLst>
              <a:ext uri="{FF2B5EF4-FFF2-40B4-BE49-F238E27FC236}">
                <a16:creationId xmlns:a16="http://schemas.microsoft.com/office/drawing/2014/main" id="{62A38210-751E-ABDD-BE11-802CF10EBD58}"/>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
        <p:nvSpPr>
          <p:cNvPr id="2" name="TextBox 1">
            <a:extLst>
              <a:ext uri="{FF2B5EF4-FFF2-40B4-BE49-F238E27FC236}">
                <a16:creationId xmlns:a16="http://schemas.microsoft.com/office/drawing/2014/main" id="{D94CFB0C-6552-D62B-7C5C-F515EAB0E315}"/>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rgbClr val="000000"/>
                </a:solidFill>
                <a:latin typeface="IBM Plex Sans" panose="020B0503050203000203" pitchFamily="34" charset="0"/>
                <a:ea typeface="+mj-ea"/>
                <a:cs typeface="+mj-cs"/>
                <a:sym typeface="IBM Plex Sans Light"/>
              </a:rPr>
              <a:t>#IBMTechXchange</a:t>
            </a:r>
          </a:p>
        </p:txBody>
      </p:sp>
    </p:spTree>
    <p:extLst>
      <p:ext uri="{BB962C8B-B14F-4D97-AF65-F5344CB8AC3E}">
        <p14:creationId xmlns:p14="http://schemas.microsoft.com/office/powerpoint/2010/main" val="2375602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pictograms, 6 items">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05CA50B6-671E-953F-D715-5F31CF9D8E8C}"/>
              </a:ext>
            </a:extLst>
          </p:cNvPr>
          <p:cNvCxnSpPr>
            <a:cxnSpLocks/>
          </p:cNvCxnSpPr>
          <p:nvPr userDrawn="1"/>
        </p:nvCxnSpPr>
        <p:spPr bwMode="auto">
          <a:xfrm>
            <a:off x="284126" y="3143358"/>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7E71A181-117D-E38D-D96B-5F09AE6C2D8A}"/>
              </a:ext>
            </a:extLst>
          </p:cNvPr>
          <p:cNvCxnSpPr>
            <a:cxnSpLocks/>
          </p:cNvCxnSpPr>
          <p:nvPr userDrawn="1"/>
        </p:nvCxnSpPr>
        <p:spPr bwMode="auto">
          <a:xfrm>
            <a:off x="3047603" y="3143358"/>
            <a:ext cx="0" cy="283986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7D7569E8-33F0-2927-457E-FFB6E90A4978}"/>
              </a:ext>
            </a:extLst>
          </p:cNvPr>
          <p:cNvCxnSpPr>
            <a:cxnSpLocks/>
          </p:cNvCxnSpPr>
          <p:nvPr userDrawn="1"/>
        </p:nvCxnSpPr>
        <p:spPr bwMode="auto">
          <a:xfrm>
            <a:off x="6093683" y="291876"/>
            <a:ext cx="0" cy="570296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308D2F3D-0843-CCA0-431C-15C29EDEB951}"/>
              </a:ext>
            </a:extLst>
          </p:cNvPr>
          <p:cNvCxnSpPr>
            <a:cxnSpLocks/>
          </p:cNvCxnSpPr>
          <p:nvPr userDrawn="1"/>
        </p:nvCxnSpPr>
        <p:spPr bwMode="auto">
          <a:xfrm>
            <a:off x="9142810" y="288925"/>
            <a:ext cx="0" cy="56813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17" name="Title 1">
            <a:extLst>
              <a:ext uri="{FF2B5EF4-FFF2-40B4-BE49-F238E27FC236}">
                <a16:creationId xmlns:a16="http://schemas.microsoft.com/office/drawing/2014/main" id="{5C433850-C77D-7722-6C93-E8FC8E47DCA9}"/>
              </a:ext>
            </a:extLst>
          </p:cNvPr>
          <p:cNvSpPr>
            <a:spLocks noGrp="1"/>
          </p:cNvSpPr>
          <p:nvPr>
            <p:ph type="title"/>
          </p:nvPr>
        </p:nvSpPr>
        <p:spPr>
          <a:xfrm>
            <a:off x="268951" y="198288"/>
            <a:ext cx="5524575" cy="1516213"/>
          </a:xfrm>
        </p:spPr>
        <p:txBody>
          <a:bodyPr rIns="457200"/>
          <a:lstStyle>
            <a:lvl1pPr>
              <a:lnSpc>
                <a:spcPct val="100000"/>
              </a:lnSpc>
              <a:defRPr>
                <a:solidFill>
                  <a:schemeClr val="tx2"/>
                </a:solidFill>
              </a:defRPr>
            </a:lvl1pPr>
          </a:lstStyle>
          <a:p>
            <a:r>
              <a:rPr lang="en-US"/>
              <a:t>Click to edit Master title style</a:t>
            </a:r>
          </a:p>
        </p:txBody>
      </p:sp>
      <p:sp>
        <p:nvSpPr>
          <p:cNvPr id="10" name="Text Placeholder 4">
            <a:extLst>
              <a:ext uri="{FF2B5EF4-FFF2-40B4-BE49-F238E27FC236}">
                <a16:creationId xmlns:a16="http://schemas.microsoft.com/office/drawing/2014/main" id="{6988CA66-514D-2E7F-1BD4-92DF3C0CAC62}"/>
              </a:ext>
            </a:extLst>
          </p:cNvPr>
          <p:cNvSpPr>
            <a:spLocks noGrp="1"/>
          </p:cNvSpPr>
          <p:nvPr>
            <p:ph type="body" sz="quarter" idx="11"/>
          </p:nvPr>
        </p:nvSpPr>
        <p:spPr>
          <a:xfrm>
            <a:off x="6368127" y="1239012"/>
            <a:ext cx="2476177" cy="1626373"/>
          </a:xfrm>
        </p:spPr>
        <p:txBody>
          <a:bodyPr/>
          <a:lstStyle>
            <a:lvl1pPr>
              <a:lnSpc>
                <a:spcPct val="110000"/>
              </a:lnSpc>
              <a:spcBef>
                <a:spcPts val="0"/>
              </a:spcBef>
              <a:defRPr sz="1800">
                <a:solidFill>
                  <a:schemeClr val="tx1"/>
                </a:solidFill>
              </a:defRPr>
            </a:lvl1pPr>
            <a:lvl2pPr marL="201128" indent="-201128">
              <a:lnSpc>
                <a:spcPct val="110000"/>
              </a:lnSpc>
              <a:spcBef>
                <a:spcPts val="0"/>
              </a:spcBef>
              <a:defRPr sz="1800">
                <a:solidFill>
                  <a:schemeClr val="tx1"/>
                </a:solidFill>
              </a:defRPr>
            </a:lvl2pPr>
            <a:lvl3pPr marL="402256" indent="-201128">
              <a:lnSpc>
                <a:spcPct val="110000"/>
              </a:lnSpc>
              <a:spcBef>
                <a:spcPts val="0"/>
              </a:spcBef>
              <a:defRPr sz="1800">
                <a:solidFill>
                  <a:schemeClr val="tx1"/>
                </a:solidFill>
              </a:defRPr>
            </a:lvl3pPr>
            <a:lvl4pPr marL="557672" indent="-201128">
              <a:lnSpc>
                <a:spcPct val="110000"/>
              </a:lnSpc>
              <a:spcBef>
                <a:spcPts val="0"/>
              </a:spcBef>
              <a:defRPr sz="18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Picture Placeholder 12">
            <a:extLst>
              <a:ext uri="{FF2B5EF4-FFF2-40B4-BE49-F238E27FC236}">
                <a16:creationId xmlns:a16="http://schemas.microsoft.com/office/drawing/2014/main" id="{E70D622C-89B3-2863-7C99-3085C9A592A4}"/>
              </a:ext>
            </a:extLst>
          </p:cNvPr>
          <p:cNvSpPr>
            <a:spLocks noGrp="1"/>
          </p:cNvSpPr>
          <p:nvPr>
            <p:ph type="pic" sz="quarter" idx="15" hasCustomPrompt="1"/>
          </p:nvPr>
        </p:nvSpPr>
        <p:spPr>
          <a:xfrm>
            <a:off x="6368126" y="288036"/>
            <a:ext cx="607997" cy="608076"/>
          </a:xfrm>
        </p:spPr>
        <p:txBody>
          <a:bodyPr anchor="ctr"/>
          <a:lstStyle>
            <a:lvl1pPr algn="ctr">
              <a:defRPr sz="800"/>
            </a:lvl1pPr>
          </a:lstStyle>
          <a:p>
            <a:r>
              <a:rPr lang="en-US"/>
              <a:t>Pictogram</a:t>
            </a:r>
          </a:p>
        </p:txBody>
      </p:sp>
      <p:sp>
        <p:nvSpPr>
          <p:cNvPr id="18" name="Text Placeholder 4">
            <a:extLst>
              <a:ext uri="{FF2B5EF4-FFF2-40B4-BE49-F238E27FC236}">
                <a16:creationId xmlns:a16="http://schemas.microsoft.com/office/drawing/2014/main" id="{4AEA1519-7C3A-C0B5-EC85-1F164DCBB1EE}"/>
              </a:ext>
            </a:extLst>
          </p:cNvPr>
          <p:cNvSpPr>
            <a:spLocks noGrp="1"/>
          </p:cNvSpPr>
          <p:nvPr>
            <p:ph type="body" sz="quarter" idx="22"/>
          </p:nvPr>
        </p:nvSpPr>
        <p:spPr>
          <a:xfrm>
            <a:off x="9424555" y="1239012"/>
            <a:ext cx="2476177" cy="1626373"/>
          </a:xfrm>
        </p:spPr>
        <p:txBody>
          <a:bodyPr/>
          <a:lstStyle>
            <a:lvl1pPr>
              <a:lnSpc>
                <a:spcPct val="110000"/>
              </a:lnSpc>
              <a:spcBef>
                <a:spcPts val="0"/>
              </a:spcBef>
              <a:defRPr sz="1800">
                <a:solidFill>
                  <a:schemeClr val="tx1"/>
                </a:solidFill>
              </a:defRPr>
            </a:lvl1pPr>
            <a:lvl2pPr marL="201128" indent="-201128">
              <a:lnSpc>
                <a:spcPct val="110000"/>
              </a:lnSpc>
              <a:spcBef>
                <a:spcPts val="0"/>
              </a:spcBef>
              <a:defRPr sz="1800">
                <a:solidFill>
                  <a:schemeClr val="tx1"/>
                </a:solidFill>
              </a:defRPr>
            </a:lvl2pPr>
            <a:lvl3pPr marL="402256" indent="-201128">
              <a:lnSpc>
                <a:spcPct val="110000"/>
              </a:lnSpc>
              <a:spcBef>
                <a:spcPts val="0"/>
              </a:spcBef>
              <a:defRPr sz="1800">
                <a:solidFill>
                  <a:schemeClr val="tx1"/>
                </a:solidFill>
              </a:defRPr>
            </a:lvl3pPr>
            <a:lvl4pPr marL="557672" indent="-201128">
              <a:lnSpc>
                <a:spcPct val="110000"/>
              </a:lnSpc>
              <a:spcBef>
                <a:spcPts val="0"/>
              </a:spcBef>
              <a:defRPr sz="18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12">
            <a:extLst>
              <a:ext uri="{FF2B5EF4-FFF2-40B4-BE49-F238E27FC236}">
                <a16:creationId xmlns:a16="http://schemas.microsoft.com/office/drawing/2014/main" id="{FD1B8CC3-58FD-8DCD-BDD6-E62A5D5DBC23}"/>
              </a:ext>
            </a:extLst>
          </p:cNvPr>
          <p:cNvSpPr>
            <a:spLocks noGrp="1"/>
          </p:cNvSpPr>
          <p:nvPr>
            <p:ph type="pic" sz="quarter" idx="23" hasCustomPrompt="1"/>
          </p:nvPr>
        </p:nvSpPr>
        <p:spPr>
          <a:xfrm>
            <a:off x="9424555" y="288036"/>
            <a:ext cx="607997" cy="608076"/>
          </a:xfrm>
        </p:spPr>
        <p:txBody>
          <a:bodyPr anchor="ctr"/>
          <a:lstStyle>
            <a:lvl1pPr algn="ctr">
              <a:defRPr sz="800"/>
            </a:lvl1pPr>
          </a:lstStyle>
          <a:p>
            <a:r>
              <a:rPr lang="en-US"/>
              <a:t>Pictogram</a:t>
            </a:r>
          </a:p>
        </p:txBody>
      </p:sp>
      <p:sp>
        <p:nvSpPr>
          <p:cNvPr id="20" name="Text Placeholder 4">
            <a:extLst>
              <a:ext uri="{FF2B5EF4-FFF2-40B4-BE49-F238E27FC236}">
                <a16:creationId xmlns:a16="http://schemas.microsoft.com/office/drawing/2014/main" id="{9BE2A62D-EE41-8456-8F8E-593D0972F7DA}"/>
              </a:ext>
            </a:extLst>
          </p:cNvPr>
          <p:cNvSpPr>
            <a:spLocks noGrp="1"/>
          </p:cNvSpPr>
          <p:nvPr>
            <p:ph type="body" sz="quarter" idx="24"/>
          </p:nvPr>
        </p:nvSpPr>
        <p:spPr>
          <a:xfrm>
            <a:off x="6368127" y="4343930"/>
            <a:ext cx="2476177" cy="1626373"/>
          </a:xfrm>
        </p:spPr>
        <p:txBody>
          <a:bodyPr/>
          <a:lstStyle>
            <a:lvl1pPr>
              <a:lnSpc>
                <a:spcPct val="110000"/>
              </a:lnSpc>
              <a:spcBef>
                <a:spcPts val="0"/>
              </a:spcBef>
              <a:defRPr sz="1800">
                <a:solidFill>
                  <a:schemeClr val="tx1"/>
                </a:solidFill>
              </a:defRPr>
            </a:lvl1pPr>
            <a:lvl2pPr marL="201128" indent="-201128">
              <a:lnSpc>
                <a:spcPct val="110000"/>
              </a:lnSpc>
              <a:spcBef>
                <a:spcPts val="0"/>
              </a:spcBef>
              <a:defRPr sz="1800">
                <a:solidFill>
                  <a:schemeClr val="tx1"/>
                </a:solidFill>
              </a:defRPr>
            </a:lvl2pPr>
            <a:lvl3pPr marL="402256" indent="-201128">
              <a:lnSpc>
                <a:spcPct val="110000"/>
              </a:lnSpc>
              <a:spcBef>
                <a:spcPts val="0"/>
              </a:spcBef>
              <a:defRPr sz="1800">
                <a:solidFill>
                  <a:schemeClr val="tx1"/>
                </a:solidFill>
              </a:defRPr>
            </a:lvl3pPr>
            <a:lvl4pPr marL="557672" indent="-201128">
              <a:lnSpc>
                <a:spcPct val="110000"/>
              </a:lnSpc>
              <a:spcBef>
                <a:spcPts val="0"/>
              </a:spcBef>
              <a:defRPr sz="18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12">
            <a:extLst>
              <a:ext uri="{FF2B5EF4-FFF2-40B4-BE49-F238E27FC236}">
                <a16:creationId xmlns:a16="http://schemas.microsoft.com/office/drawing/2014/main" id="{7D430C99-4D84-A798-4D9F-8E20E26817D9}"/>
              </a:ext>
            </a:extLst>
          </p:cNvPr>
          <p:cNvSpPr>
            <a:spLocks noGrp="1"/>
          </p:cNvSpPr>
          <p:nvPr>
            <p:ph type="pic" sz="quarter" idx="25" hasCustomPrompt="1"/>
          </p:nvPr>
        </p:nvSpPr>
        <p:spPr>
          <a:xfrm>
            <a:off x="6368126" y="3392954"/>
            <a:ext cx="607997" cy="608076"/>
          </a:xfrm>
        </p:spPr>
        <p:txBody>
          <a:bodyPr anchor="ctr"/>
          <a:lstStyle>
            <a:lvl1pPr algn="ctr">
              <a:defRPr sz="800"/>
            </a:lvl1pPr>
          </a:lstStyle>
          <a:p>
            <a:r>
              <a:rPr lang="en-US"/>
              <a:t>Pictogram</a:t>
            </a:r>
          </a:p>
        </p:txBody>
      </p:sp>
      <p:sp>
        <p:nvSpPr>
          <p:cNvPr id="22" name="Text Placeholder 4">
            <a:extLst>
              <a:ext uri="{FF2B5EF4-FFF2-40B4-BE49-F238E27FC236}">
                <a16:creationId xmlns:a16="http://schemas.microsoft.com/office/drawing/2014/main" id="{3E91CAE2-40F2-60D7-69AC-2C6398FA4110}"/>
              </a:ext>
            </a:extLst>
          </p:cNvPr>
          <p:cNvSpPr>
            <a:spLocks noGrp="1"/>
          </p:cNvSpPr>
          <p:nvPr>
            <p:ph type="body" sz="quarter" idx="26"/>
          </p:nvPr>
        </p:nvSpPr>
        <p:spPr>
          <a:xfrm>
            <a:off x="9424555" y="4343930"/>
            <a:ext cx="2476177" cy="1626373"/>
          </a:xfrm>
        </p:spPr>
        <p:txBody>
          <a:bodyPr/>
          <a:lstStyle>
            <a:lvl1pPr>
              <a:lnSpc>
                <a:spcPct val="110000"/>
              </a:lnSpc>
              <a:spcBef>
                <a:spcPts val="0"/>
              </a:spcBef>
              <a:defRPr sz="1800">
                <a:solidFill>
                  <a:schemeClr val="tx1"/>
                </a:solidFill>
              </a:defRPr>
            </a:lvl1pPr>
            <a:lvl2pPr marL="201128" indent="-201128">
              <a:lnSpc>
                <a:spcPct val="110000"/>
              </a:lnSpc>
              <a:spcBef>
                <a:spcPts val="0"/>
              </a:spcBef>
              <a:defRPr sz="1800">
                <a:solidFill>
                  <a:schemeClr val="tx1"/>
                </a:solidFill>
              </a:defRPr>
            </a:lvl2pPr>
            <a:lvl3pPr marL="402256" indent="-201128">
              <a:lnSpc>
                <a:spcPct val="110000"/>
              </a:lnSpc>
              <a:spcBef>
                <a:spcPts val="0"/>
              </a:spcBef>
              <a:defRPr sz="1800">
                <a:solidFill>
                  <a:schemeClr val="tx1"/>
                </a:solidFill>
              </a:defRPr>
            </a:lvl3pPr>
            <a:lvl4pPr marL="557672" indent="-201128">
              <a:lnSpc>
                <a:spcPct val="110000"/>
              </a:lnSpc>
              <a:spcBef>
                <a:spcPts val="0"/>
              </a:spcBef>
              <a:defRPr sz="18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12">
            <a:extLst>
              <a:ext uri="{FF2B5EF4-FFF2-40B4-BE49-F238E27FC236}">
                <a16:creationId xmlns:a16="http://schemas.microsoft.com/office/drawing/2014/main" id="{E40EAA70-7D31-B59B-88DC-CBFA9E01AE99}"/>
              </a:ext>
            </a:extLst>
          </p:cNvPr>
          <p:cNvSpPr>
            <a:spLocks noGrp="1"/>
          </p:cNvSpPr>
          <p:nvPr>
            <p:ph type="pic" sz="quarter" idx="27" hasCustomPrompt="1"/>
          </p:nvPr>
        </p:nvSpPr>
        <p:spPr>
          <a:xfrm>
            <a:off x="9424555" y="3392954"/>
            <a:ext cx="607997" cy="608076"/>
          </a:xfrm>
        </p:spPr>
        <p:txBody>
          <a:bodyPr anchor="ctr"/>
          <a:lstStyle>
            <a:lvl1pPr algn="ctr">
              <a:defRPr sz="800"/>
            </a:lvl1pPr>
          </a:lstStyle>
          <a:p>
            <a:r>
              <a:rPr lang="en-US"/>
              <a:t>Pictogram</a:t>
            </a:r>
          </a:p>
        </p:txBody>
      </p:sp>
      <p:sp>
        <p:nvSpPr>
          <p:cNvPr id="24" name="Text Placeholder 10">
            <a:extLst>
              <a:ext uri="{FF2B5EF4-FFF2-40B4-BE49-F238E27FC236}">
                <a16:creationId xmlns:a16="http://schemas.microsoft.com/office/drawing/2014/main" id="{8C07212A-8B97-6593-5714-26AB990D7535}"/>
              </a:ext>
            </a:extLst>
          </p:cNvPr>
          <p:cNvSpPr>
            <a:spLocks noGrp="1"/>
          </p:cNvSpPr>
          <p:nvPr>
            <p:ph type="body" sz="quarter" idx="28"/>
          </p:nvPr>
        </p:nvSpPr>
        <p:spPr>
          <a:xfrm>
            <a:off x="287999" y="4344021"/>
            <a:ext cx="2474590" cy="1626276"/>
          </a:xfrm>
        </p:spPr>
        <p:txBody>
          <a:bodyPr/>
          <a:lstStyle>
            <a:lvl1pPr>
              <a:spcBef>
                <a:spcPts val="0"/>
              </a:spcBef>
              <a:defRPr sz="1800">
                <a:solidFill>
                  <a:schemeClr val="tx1"/>
                </a:solidFill>
              </a:defRPr>
            </a:lvl1pPr>
            <a:lvl2pPr marL="127990" indent="-127990">
              <a:spcBef>
                <a:spcPts val="0"/>
              </a:spcBef>
              <a:defRPr sz="1800">
                <a:solidFill>
                  <a:schemeClr val="tx1"/>
                </a:solidFill>
              </a:defRPr>
            </a:lvl2pPr>
            <a:lvl3pPr marL="255981" indent="-127990">
              <a:spcBef>
                <a:spcPts val="0"/>
              </a:spcBef>
              <a:defRPr sz="1800">
                <a:solidFill>
                  <a:schemeClr val="tx1"/>
                </a:solidFill>
              </a:defRPr>
            </a:lvl3pPr>
            <a:lvl4pPr marL="383971" indent="-127990">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10">
            <a:extLst>
              <a:ext uri="{FF2B5EF4-FFF2-40B4-BE49-F238E27FC236}">
                <a16:creationId xmlns:a16="http://schemas.microsoft.com/office/drawing/2014/main" id="{C0BC29DE-57B9-0A75-BFEA-0C952625F4C6}"/>
              </a:ext>
            </a:extLst>
          </p:cNvPr>
          <p:cNvSpPr>
            <a:spLocks noGrp="1"/>
          </p:cNvSpPr>
          <p:nvPr>
            <p:ph type="body" sz="quarter" idx="12"/>
          </p:nvPr>
        </p:nvSpPr>
        <p:spPr>
          <a:xfrm>
            <a:off x="3334362" y="4344021"/>
            <a:ext cx="2474590" cy="1626276"/>
          </a:xfrm>
        </p:spPr>
        <p:txBody>
          <a:bodyPr/>
          <a:lstStyle>
            <a:lvl1pPr>
              <a:spcBef>
                <a:spcPts val="0"/>
              </a:spcBef>
              <a:defRPr sz="1800">
                <a:solidFill>
                  <a:schemeClr val="tx1"/>
                </a:solidFill>
              </a:defRPr>
            </a:lvl1pPr>
            <a:lvl2pPr marL="127990" indent="-127990">
              <a:spcBef>
                <a:spcPts val="0"/>
              </a:spcBef>
              <a:defRPr sz="1800">
                <a:solidFill>
                  <a:schemeClr val="tx1"/>
                </a:solidFill>
              </a:defRPr>
            </a:lvl2pPr>
            <a:lvl3pPr marL="255981" indent="-127990">
              <a:spcBef>
                <a:spcPts val="0"/>
              </a:spcBef>
              <a:defRPr sz="1800">
                <a:solidFill>
                  <a:schemeClr val="tx1"/>
                </a:solidFill>
              </a:defRPr>
            </a:lvl3pPr>
            <a:lvl4pPr marL="383971" indent="-127990">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Picture Placeholder 12">
            <a:extLst>
              <a:ext uri="{FF2B5EF4-FFF2-40B4-BE49-F238E27FC236}">
                <a16:creationId xmlns:a16="http://schemas.microsoft.com/office/drawing/2014/main" id="{233F6872-B424-BD61-A41F-831F1D82DA5A}"/>
              </a:ext>
            </a:extLst>
          </p:cNvPr>
          <p:cNvSpPr>
            <a:spLocks noGrp="1"/>
          </p:cNvSpPr>
          <p:nvPr>
            <p:ph type="pic" sz="quarter" idx="17" hasCustomPrompt="1"/>
          </p:nvPr>
        </p:nvSpPr>
        <p:spPr>
          <a:xfrm>
            <a:off x="287998" y="3393045"/>
            <a:ext cx="607997" cy="608076"/>
          </a:xfrm>
        </p:spPr>
        <p:txBody>
          <a:bodyPr anchor="ctr"/>
          <a:lstStyle>
            <a:lvl1pPr algn="ctr">
              <a:defRPr sz="800"/>
            </a:lvl1pPr>
          </a:lstStyle>
          <a:p>
            <a:r>
              <a:rPr lang="en-US"/>
              <a:t>Pictogram</a:t>
            </a:r>
          </a:p>
        </p:txBody>
      </p:sp>
      <p:sp>
        <p:nvSpPr>
          <p:cNvPr id="27" name="Picture Placeholder 12">
            <a:extLst>
              <a:ext uri="{FF2B5EF4-FFF2-40B4-BE49-F238E27FC236}">
                <a16:creationId xmlns:a16="http://schemas.microsoft.com/office/drawing/2014/main" id="{B4230AF7-3A67-D259-C8A5-048B4C99BCBF}"/>
              </a:ext>
            </a:extLst>
          </p:cNvPr>
          <p:cNvSpPr>
            <a:spLocks noGrp="1"/>
          </p:cNvSpPr>
          <p:nvPr>
            <p:ph type="pic" sz="quarter" idx="18" hasCustomPrompt="1"/>
          </p:nvPr>
        </p:nvSpPr>
        <p:spPr>
          <a:xfrm>
            <a:off x="3334361" y="3393045"/>
            <a:ext cx="607997" cy="608076"/>
          </a:xfrm>
        </p:spPr>
        <p:txBody>
          <a:bodyPr anchor="ctr"/>
          <a:lstStyle>
            <a:lvl1pPr algn="ctr">
              <a:defRPr sz="800"/>
            </a:lvl1pPr>
          </a:lstStyle>
          <a:p>
            <a:r>
              <a:rPr lang="en-US"/>
              <a:t>Pictogram</a:t>
            </a:r>
          </a:p>
        </p:txBody>
      </p:sp>
      <p:sp>
        <p:nvSpPr>
          <p:cNvPr id="3" name="Footer Placeholder 1">
            <a:extLst>
              <a:ext uri="{FF2B5EF4-FFF2-40B4-BE49-F238E27FC236}">
                <a16:creationId xmlns:a16="http://schemas.microsoft.com/office/drawing/2014/main" id="{C5E93364-38AF-969E-6B64-185F78D95C11}"/>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
        <p:nvSpPr>
          <p:cNvPr id="2" name="TextBox 1">
            <a:extLst>
              <a:ext uri="{FF2B5EF4-FFF2-40B4-BE49-F238E27FC236}">
                <a16:creationId xmlns:a16="http://schemas.microsoft.com/office/drawing/2014/main" id="{F361C560-920D-6BE5-9476-E0C6AFCC65BC}"/>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rgbClr val="000000"/>
                </a:solidFill>
                <a:latin typeface="IBM Plex Sans" panose="020B0503050203000203" pitchFamily="34" charset="0"/>
                <a:ea typeface="+mj-ea"/>
                <a:cs typeface="+mj-cs"/>
                <a:sym typeface="IBM Plex Sans Light"/>
              </a:rPr>
              <a:t>#IBMTechXchange</a:t>
            </a:r>
          </a:p>
        </p:txBody>
      </p:sp>
    </p:spTree>
    <p:extLst>
      <p:ext uri="{BB962C8B-B14F-4D97-AF65-F5344CB8AC3E}">
        <p14:creationId xmlns:p14="http://schemas.microsoft.com/office/powerpoint/2010/main" val="3048601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ext, half, right side imagery">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75018"/>
            <a:ext cx="5523781" cy="6287294"/>
          </a:xfrm>
          <a:solidFill>
            <a:srgbClr val="E0E0E0"/>
          </a:solidFill>
        </p:spPr>
        <p:txBody>
          <a:bodyPr anchor="ctr"/>
          <a:lstStyle>
            <a:lvl1pPr algn="ctr">
              <a:defRPr>
                <a:solidFill>
                  <a:schemeClr val="tx1"/>
                </a:solidFill>
              </a:defRPr>
            </a:lvl1pPr>
          </a:lstStyle>
          <a:p>
            <a:r>
              <a:rPr lang="en-US"/>
              <a:t>Place imagery here</a:t>
            </a:r>
          </a:p>
        </p:txBody>
      </p:sp>
      <p:sp>
        <p:nvSpPr>
          <p:cNvPr id="4" name="Title 1">
            <a:extLst>
              <a:ext uri="{FF2B5EF4-FFF2-40B4-BE49-F238E27FC236}">
                <a16:creationId xmlns:a16="http://schemas.microsoft.com/office/drawing/2014/main" id="{753D1387-1AEB-51D7-32CA-2489D1480281}"/>
              </a:ext>
            </a:extLst>
          </p:cNvPr>
          <p:cNvSpPr>
            <a:spLocks noGrp="1"/>
          </p:cNvSpPr>
          <p:nvPr>
            <p:ph type="title"/>
          </p:nvPr>
        </p:nvSpPr>
        <p:spPr>
          <a:xfrm>
            <a:off x="268951" y="198287"/>
            <a:ext cx="5524575" cy="5800082"/>
          </a:xfrm>
        </p:spPr>
        <p:txBody>
          <a:bodyPr rIns="457200"/>
          <a:lstStyle>
            <a:lvl1pPr>
              <a:lnSpc>
                <a:spcPct val="100000"/>
              </a:lnSpc>
              <a:defRPr>
                <a:solidFill>
                  <a:schemeClr val="tx2"/>
                </a:solidFill>
              </a:defRPr>
            </a:lvl1pPr>
          </a:lstStyle>
          <a:p>
            <a:r>
              <a:rPr lang="en-US"/>
              <a:t>Click to edit Master title style</a:t>
            </a:r>
          </a:p>
        </p:txBody>
      </p:sp>
      <p:sp>
        <p:nvSpPr>
          <p:cNvPr id="8" name="Footer Placeholder 1">
            <a:extLst>
              <a:ext uri="{FF2B5EF4-FFF2-40B4-BE49-F238E27FC236}">
                <a16:creationId xmlns:a16="http://schemas.microsoft.com/office/drawing/2014/main" id="{28C492E8-5CB5-C92B-6CD6-CCDEF8E48EB8}"/>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Tree>
    <p:extLst>
      <p:ext uri="{BB962C8B-B14F-4D97-AF65-F5344CB8AC3E}">
        <p14:creationId xmlns:p14="http://schemas.microsoft.com/office/powerpoint/2010/main" val="2398426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ext, 2 images">
    <p:spTree>
      <p:nvGrpSpPr>
        <p:cNvPr id="1" name=""/>
        <p:cNvGrpSpPr/>
        <p:nvPr/>
      </p:nvGrpSpPr>
      <p:grpSpPr>
        <a:xfrm>
          <a:off x="0" y="0"/>
          <a:ext cx="0" cy="0"/>
          <a:chOff x="0" y="0"/>
          <a:chExt cx="0" cy="0"/>
        </a:xfrm>
      </p:grpSpPr>
      <p:sp>
        <p:nvSpPr>
          <p:cNvPr id="14" name="Picture Placeholder 6">
            <a:extLst>
              <a:ext uri="{FF2B5EF4-FFF2-40B4-BE49-F238E27FC236}">
                <a16:creationId xmlns:a16="http://schemas.microsoft.com/office/drawing/2014/main" id="{81C1AB2F-C9F7-0751-0A76-85DF06D92937}"/>
              </a:ext>
            </a:extLst>
          </p:cNvPr>
          <p:cNvSpPr>
            <a:spLocks noGrp="1"/>
          </p:cNvSpPr>
          <p:nvPr>
            <p:ph type="pic" sz="quarter" idx="12" hasCustomPrompt="1"/>
          </p:nvPr>
        </p:nvSpPr>
        <p:spPr>
          <a:xfrm>
            <a:off x="6418316" y="266700"/>
            <a:ext cx="2742843" cy="2743200"/>
          </a:xfrm>
          <a:solidFill>
            <a:srgbClr val="E0E0E0"/>
          </a:solidFill>
        </p:spPr>
        <p:txBody>
          <a:bodyPr anchor="ctr"/>
          <a:lstStyle>
            <a:lvl1pPr algn="ctr">
              <a:defRPr>
                <a:solidFill>
                  <a:schemeClr val="tx1"/>
                </a:solidFill>
              </a:defRPr>
            </a:lvl1pPr>
          </a:lstStyle>
          <a:p>
            <a:r>
              <a:rPr lang="en-US"/>
              <a:t>Place imagery here</a:t>
            </a:r>
          </a:p>
        </p:txBody>
      </p:sp>
      <p:sp>
        <p:nvSpPr>
          <p:cNvPr id="16" name="Picture Placeholder 6">
            <a:extLst>
              <a:ext uri="{FF2B5EF4-FFF2-40B4-BE49-F238E27FC236}">
                <a16:creationId xmlns:a16="http://schemas.microsoft.com/office/drawing/2014/main" id="{C30E6080-9E57-84EE-DA6B-A3ABABE24DBA}"/>
              </a:ext>
            </a:extLst>
          </p:cNvPr>
          <p:cNvSpPr>
            <a:spLocks noGrp="1"/>
          </p:cNvSpPr>
          <p:nvPr>
            <p:ph type="pic" sz="quarter" idx="13" hasCustomPrompt="1"/>
          </p:nvPr>
        </p:nvSpPr>
        <p:spPr>
          <a:xfrm>
            <a:off x="9157466" y="3009900"/>
            <a:ext cx="2742843" cy="2743200"/>
          </a:xfrm>
          <a:solidFill>
            <a:srgbClr val="E0E0E0"/>
          </a:solidFill>
        </p:spPr>
        <p:txBody>
          <a:bodyPr anchor="ctr"/>
          <a:lstStyle>
            <a:lvl1pPr algn="ctr">
              <a:defRPr>
                <a:solidFill>
                  <a:schemeClr val="tx1"/>
                </a:solidFill>
              </a:defRPr>
            </a:lvl1pPr>
          </a:lstStyle>
          <a:p>
            <a:r>
              <a:rPr lang="en-US"/>
              <a:t>Place imagery here</a:t>
            </a:r>
          </a:p>
        </p:txBody>
      </p:sp>
      <p:sp>
        <p:nvSpPr>
          <p:cNvPr id="4" name="Title 1">
            <a:extLst>
              <a:ext uri="{FF2B5EF4-FFF2-40B4-BE49-F238E27FC236}">
                <a16:creationId xmlns:a16="http://schemas.microsoft.com/office/drawing/2014/main" id="{753D1387-1AEB-51D7-32CA-2489D1480281}"/>
              </a:ext>
            </a:extLst>
          </p:cNvPr>
          <p:cNvSpPr>
            <a:spLocks noGrp="1"/>
          </p:cNvSpPr>
          <p:nvPr>
            <p:ph type="title"/>
          </p:nvPr>
        </p:nvSpPr>
        <p:spPr>
          <a:xfrm>
            <a:off x="268951" y="198287"/>
            <a:ext cx="5524575" cy="5800082"/>
          </a:xfrm>
        </p:spPr>
        <p:txBody>
          <a:bodyPr rIns="457200"/>
          <a:lstStyle>
            <a:lvl1pPr>
              <a:lnSpc>
                <a:spcPct val="100000"/>
              </a:lnSpc>
              <a:defRPr>
                <a:solidFill>
                  <a:schemeClr val="tx2"/>
                </a:solidFill>
              </a:defRPr>
            </a:lvl1pPr>
          </a:lstStyle>
          <a:p>
            <a:r>
              <a:rPr lang="en-US"/>
              <a:t>Click to edit Master title style</a:t>
            </a:r>
          </a:p>
        </p:txBody>
      </p:sp>
      <p:sp>
        <p:nvSpPr>
          <p:cNvPr id="8" name="Footer Placeholder 1">
            <a:extLst>
              <a:ext uri="{FF2B5EF4-FFF2-40B4-BE49-F238E27FC236}">
                <a16:creationId xmlns:a16="http://schemas.microsoft.com/office/drawing/2014/main" id="{28C492E8-5CB5-C92B-6CD6-CCDEF8E48EB8}"/>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
        <p:nvSpPr>
          <p:cNvPr id="2" name="Slide Number Placeholder 1">
            <a:extLst>
              <a:ext uri="{FF2B5EF4-FFF2-40B4-BE49-F238E27FC236}">
                <a16:creationId xmlns:a16="http://schemas.microsoft.com/office/drawing/2014/main" id="{2A0469CA-AF8F-2468-90C2-EFA3C3F1265E}"/>
              </a:ext>
            </a:extLst>
          </p:cNvPr>
          <p:cNvSpPr>
            <a:spLocks noGrp="1"/>
          </p:cNvSpPr>
          <p:nvPr>
            <p:ph type="sldNum" sz="quarter" idx="10"/>
          </p:nvPr>
        </p:nvSpPr>
        <p:spPr/>
        <p:txBody>
          <a:bodyPr/>
          <a:lstStyle/>
          <a:p>
            <a:fld id="{86CB4B4D-7CA3-9044-876B-883B54F8677D}" type="slidenum">
              <a:rPr lang="en-US" smtClean="0"/>
              <a:pPr/>
              <a:t>‹#›</a:t>
            </a:fld>
            <a:endParaRPr lang="en-US"/>
          </a:p>
        </p:txBody>
      </p:sp>
      <p:sp>
        <p:nvSpPr>
          <p:cNvPr id="5" name="Freeform: Shape 4">
            <a:extLst>
              <a:ext uri="{FF2B5EF4-FFF2-40B4-BE49-F238E27FC236}">
                <a16:creationId xmlns:a16="http://schemas.microsoft.com/office/drawing/2014/main" id="{0725C273-910E-ABAB-7039-29CA650C34E8}"/>
              </a:ext>
            </a:extLst>
          </p:cNvPr>
          <p:cNvSpPr>
            <a:spLocks noChangeAspect="1"/>
          </p:cNvSpPr>
          <p:nvPr userDrawn="1"/>
        </p:nvSpPr>
        <p:spPr>
          <a:xfrm rot="16200000" flipH="1">
            <a:off x="10532711" y="955545"/>
            <a:ext cx="685449" cy="685711"/>
          </a:xfrm>
          <a:custGeom>
            <a:avLst/>
            <a:gdLst>
              <a:gd name="connsiteX0" fmla="*/ 716288 w 1432576"/>
              <a:gd name="connsiteY0" fmla="*/ 717023 h 1433311"/>
              <a:gd name="connsiteX1" fmla="*/ 210111 w 1432576"/>
              <a:gd name="connsiteY1" fmla="*/ 927134 h 1433311"/>
              <a:gd name="connsiteX2" fmla="*/ 0 w 1432576"/>
              <a:gd name="connsiteY2" fmla="*/ 1433311 h 1433311"/>
              <a:gd name="connsiteX3" fmla="*/ 716288 w 1432576"/>
              <a:gd name="connsiteY3" fmla="*/ 1433311 h 1433311"/>
              <a:gd name="connsiteX4" fmla="*/ 1432576 w 1432576"/>
              <a:gd name="connsiteY4" fmla="*/ 1433311 h 1433311"/>
              <a:gd name="connsiteX5" fmla="*/ 1222465 w 1432576"/>
              <a:gd name="connsiteY5" fmla="*/ 927134 h 1433311"/>
              <a:gd name="connsiteX6" fmla="*/ 716288 w 1432576"/>
              <a:gd name="connsiteY6" fmla="*/ 717023 h 1433311"/>
              <a:gd name="connsiteX7" fmla="*/ 1222465 w 1432576"/>
              <a:gd name="connsiteY7" fmla="*/ 210111 h 1433311"/>
              <a:gd name="connsiteX8" fmla="*/ 1432576 w 1432576"/>
              <a:gd name="connsiteY8" fmla="*/ 716288 h 1433311"/>
              <a:gd name="connsiteX9" fmla="*/ 716288 w 1432576"/>
              <a:gd name="connsiteY9" fmla="*/ 716288 h 1433311"/>
              <a:gd name="connsiteX10" fmla="*/ 0 w 1432576"/>
              <a:gd name="connsiteY10" fmla="*/ 716288 h 1433311"/>
              <a:gd name="connsiteX11" fmla="*/ 210111 w 1432576"/>
              <a:gd name="connsiteY11" fmla="*/ 210111 h 1433311"/>
              <a:gd name="connsiteX12" fmla="*/ 716288 w 1432576"/>
              <a:gd name="connsiteY12" fmla="*/ 0 h 1433311"/>
              <a:gd name="connsiteX13" fmla="*/ 1222465 w 1432576"/>
              <a:gd name="connsiteY13" fmla="*/ 210111 h 1433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32576" h="1433311">
                <a:moveTo>
                  <a:pt x="716288" y="717023"/>
                </a:moveTo>
                <a:cubicBezTo>
                  <a:pt x="526013" y="717023"/>
                  <a:pt x="343818" y="792692"/>
                  <a:pt x="210111" y="927134"/>
                </a:cubicBezTo>
                <a:cubicBezTo>
                  <a:pt x="76404" y="1061575"/>
                  <a:pt x="0" y="1243036"/>
                  <a:pt x="0" y="1433311"/>
                </a:cubicBezTo>
                <a:lnTo>
                  <a:pt x="716288" y="1433311"/>
                </a:lnTo>
                <a:lnTo>
                  <a:pt x="1432576" y="1433311"/>
                </a:lnTo>
                <a:cubicBezTo>
                  <a:pt x="1432576" y="1243036"/>
                  <a:pt x="1356907" y="1060841"/>
                  <a:pt x="1222465" y="927134"/>
                </a:cubicBezTo>
                <a:cubicBezTo>
                  <a:pt x="1088023" y="793426"/>
                  <a:pt x="906564" y="717023"/>
                  <a:pt x="716288" y="717023"/>
                </a:cubicBezTo>
                <a:close/>
                <a:moveTo>
                  <a:pt x="1222465" y="210111"/>
                </a:moveTo>
                <a:cubicBezTo>
                  <a:pt x="1356907" y="344553"/>
                  <a:pt x="1432576" y="526747"/>
                  <a:pt x="1432576" y="716288"/>
                </a:cubicBezTo>
                <a:lnTo>
                  <a:pt x="716288" y="716288"/>
                </a:lnTo>
                <a:lnTo>
                  <a:pt x="0" y="716288"/>
                </a:lnTo>
                <a:cubicBezTo>
                  <a:pt x="0" y="526012"/>
                  <a:pt x="75669" y="343818"/>
                  <a:pt x="210111" y="210111"/>
                </a:cubicBezTo>
                <a:cubicBezTo>
                  <a:pt x="344553" y="76404"/>
                  <a:pt x="526747" y="0"/>
                  <a:pt x="716288" y="0"/>
                </a:cubicBezTo>
                <a:cubicBezTo>
                  <a:pt x="905829" y="0"/>
                  <a:pt x="1088758" y="75669"/>
                  <a:pt x="1222465" y="210111"/>
                </a:cubicBezTo>
                <a:close/>
              </a:path>
            </a:pathLst>
          </a:custGeom>
          <a:solidFill>
            <a:schemeClr val="accent6"/>
          </a:solidFill>
          <a:ln w="7342" cap="flat">
            <a:noFill/>
            <a:prstDash val="solid"/>
            <a:miter/>
          </a:ln>
        </p:spPr>
        <p:txBody>
          <a:bodyPr rtlCol="0" anchor="ctr"/>
          <a:lstStyle/>
          <a:p>
            <a:endParaRPr lang="uk-UA" sz="900"/>
          </a:p>
        </p:txBody>
      </p:sp>
      <p:sp>
        <p:nvSpPr>
          <p:cNvPr id="6" name="Freeform: Shape 5">
            <a:extLst>
              <a:ext uri="{FF2B5EF4-FFF2-40B4-BE49-F238E27FC236}">
                <a16:creationId xmlns:a16="http://schemas.microsoft.com/office/drawing/2014/main" id="{41E533EA-8590-DE0F-349C-BE183B060DF8}"/>
              </a:ext>
            </a:extLst>
          </p:cNvPr>
          <p:cNvSpPr>
            <a:spLocks noChangeAspect="1"/>
          </p:cNvSpPr>
          <p:nvPr userDrawn="1"/>
        </p:nvSpPr>
        <p:spPr>
          <a:xfrm flipH="1">
            <a:off x="9161159" y="1638300"/>
            <a:ext cx="1371421" cy="1371600"/>
          </a:xfrm>
          <a:custGeom>
            <a:avLst/>
            <a:gdLst>
              <a:gd name="connsiteX0" fmla="*/ 1432576 w 1432576"/>
              <a:gd name="connsiteY0" fmla="*/ 1432576 h 1432576"/>
              <a:gd name="connsiteX1" fmla="*/ 1432576 w 1432576"/>
              <a:gd name="connsiteY1" fmla="*/ 716288 h 1432576"/>
              <a:gd name="connsiteX2" fmla="*/ 1432576 w 1432576"/>
              <a:gd name="connsiteY2" fmla="*/ 0 h 1432576"/>
              <a:gd name="connsiteX3" fmla="*/ 716288 w 1432576"/>
              <a:gd name="connsiteY3" fmla="*/ 0 h 1432576"/>
              <a:gd name="connsiteX4" fmla="*/ 1432576 w 1432576"/>
              <a:gd name="connsiteY4" fmla="*/ 716288 h 1432576"/>
              <a:gd name="connsiteX5" fmla="*/ 716288 w 1432576"/>
              <a:gd name="connsiteY5" fmla="*/ 1432576 h 1432576"/>
              <a:gd name="connsiteX6" fmla="*/ 1432576 w 1432576"/>
              <a:gd name="connsiteY6" fmla="*/ 1432576 h 1432576"/>
              <a:gd name="connsiteX7" fmla="*/ 0 w 1432576"/>
              <a:gd name="connsiteY7" fmla="*/ 1432576 h 1432576"/>
              <a:gd name="connsiteX8" fmla="*/ 0 w 1432576"/>
              <a:gd name="connsiteY8" fmla="*/ 716288 h 1432576"/>
              <a:gd name="connsiteX9" fmla="*/ 0 w 1432576"/>
              <a:gd name="connsiteY9" fmla="*/ 0 h 1432576"/>
              <a:gd name="connsiteX10" fmla="*/ 716288 w 1432576"/>
              <a:gd name="connsiteY10" fmla="*/ 716288 h 1432576"/>
              <a:gd name="connsiteX11" fmla="*/ 0 w 1432576"/>
              <a:gd name="connsiteY11" fmla="*/ 1432576 h 143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2576" h="1432576">
                <a:moveTo>
                  <a:pt x="1432576" y="1432576"/>
                </a:moveTo>
                <a:lnTo>
                  <a:pt x="1432576" y="716288"/>
                </a:lnTo>
                <a:lnTo>
                  <a:pt x="1432576" y="0"/>
                </a:lnTo>
                <a:lnTo>
                  <a:pt x="716288" y="0"/>
                </a:lnTo>
                <a:lnTo>
                  <a:pt x="1432576" y="716288"/>
                </a:lnTo>
                <a:lnTo>
                  <a:pt x="716288" y="1432576"/>
                </a:lnTo>
                <a:lnTo>
                  <a:pt x="1432576" y="1432576"/>
                </a:lnTo>
                <a:close/>
                <a:moveTo>
                  <a:pt x="0" y="1432576"/>
                </a:moveTo>
                <a:lnTo>
                  <a:pt x="0" y="716288"/>
                </a:lnTo>
                <a:lnTo>
                  <a:pt x="0" y="0"/>
                </a:lnTo>
                <a:lnTo>
                  <a:pt x="716288" y="716288"/>
                </a:lnTo>
                <a:lnTo>
                  <a:pt x="0" y="1432576"/>
                </a:lnTo>
                <a:close/>
              </a:path>
            </a:pathLst>
          </a:custGeom>
          <a:solidFill>
            <a:schemeClr val="accent2"/>
          </a:solidFill>
          <a:ln w="7342" cap="flat">
            <a:noFill/>
            <a:prstDash val="solid"/>
            <a:miter/>
          </a:ln>
        </p:spPr>
        <p:txBody>
          <a:bodyPr rtlCol="0" anchor="ctr"/>
          <a:lstStyle/>
          <a:p>
            <a:endParaRPr lang="uk-UA" sz="900"/>
          </a:p>
        </p:txBody>
      </p:sp>
      <p:sp>
        <p:nvSpPr>
          <p:cNvPr id="9" name="Freeform: Shape 8">
            <a:extLst>
              <a:ext uri="{FF2B5EF4-FFF2-40B4-BE49-F238E27FC236}">
                <a16:creationId xmlns:a16="http://schemas.microsoft.com/office/drawing/2014/main" id="{88251BCE-F84F-CDB9-5799-A14EFE7267CE}"/>
              </a:ext>
            </a:extLst>
          </p:cNvPr>
          <p:cNvSpPr>
            <a:spLocks noChangeAspect="1"/>
          </p:cNvSpPr>
          <p:nvPr userDrawn="1"/>
        </p:nvSpPr>
        <p:spPr>
          <a:xfrm flipH="1">
            <a:off x="7088947" y="5067300"/>
            <a:ext cx="685711" cy="685800"/>
          </a:xfrm>
          <a:custGeom>
            <a:avLst/>
            <a:gdLst>
              <a:gd name="connsiteX0" fmla="*/ 1432576 w 1432576"/>
              <a:gd name="connsiteY0" fmla="*/ 1432576 h 1432576"/>
              <a:gd name="connsiteX1" fmla="*/ 1432576 w 1432576"/>
              <a:gd name="connsiteY1" fmla="*/ 0 h 1432576"/>
              <a:gd name="connsiteX2" fmla="*/ 716288 w 1432576"/>
              <a:gd name="connsiteY2" fmla="*/ 716288 h 1432576"/>
              <a:gd name="connsiteX3" fmla="*/ 0 w 1432576"/>
              <a:gd name="connsiteY3" fmla="*/ 0 h 1432576"/>
              <a:gd name="connsiteX4" fmla="*/ 0 w 1432576"/>
              <a:gd name="connsiteY4" fmla="*/ 1432576 h 1432576"/>
              <a:gd name="connsiteX5" fmla="*/ 716288 w 1432576"/>
              <a:gd name="connsiteY5" fmla="*/ 716288 h 143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2576" h="1432576">
                <a:moveTo>
                  <a:pt x="1432576" y="1432576"/>
                </a:moveTo>
                <a:lnTo>
                  <a:pt x="1432576" y="0"/>
                </a:lnTo>
                <a:lnTo>
                  <a:pt x="716288" y="716288"/>
                </a:lnTo>
                <a:lnTo>
                  <a:pt x="0" y="0"/>
                </a:lnTo>
                <a:lnTo>
                  <a:pt x="0" y="1432576"/>
                </a:lnTo>
                <a:lnTo>
                  <a:pt x="716288" y="716288"/>
                </a:lnTo>
                <a:close/>
              </a:path>
            </a:pathLst>
          </a:custGeom>
          <a:solidFill>
            <a:srgbClr val="D02670"/>
          </a:solidFill>
          <a:ln w="7342" cap="flat">
            <a:noFill/>
            <a:prstDash val="solid"/>
            <a:miter/>
          </a:ln>
        </p:spPr>
        <p:txBody>
          <a:bodyPr rtlCol="0" anchor="ctr"/>
          <a:lstStyle/>
          <a:p>
            <a:endParaRPr lang="uk-UA" sz="900"/>
          </a:p>
        </p:txBody>
      </p:sp>
      <p:sp>
        <p:nvSpPr>
          <p:cNvPr id="10" name="Freeform: Shape 9">
            <a:extLst>
              <a:ext uri="{FF2B5EF4-FFF2-40B4-BE49-F238E27FC236}">
                <a16:creationId xmlns:a16="http://schemas.microsoft.com/office/drawing/2014/main" id="{BFC866D6-5536-2CD8-01E8-CB96AF8C909A}"/>
              </a:ext>
            </a:extLst>
          </p:cNvPr>
          <p:cNvSpPr>
            <a:spLocks noChangeAspect="1"/>
          </p:cNvSpPr>
          <p:nvPr userDrawn="1"/>
        </p:nvSpPr>
        <p:spPr>
          <a:xfrm flipH="1">
            <a:off x="11218291" y="2404459"/>
            <a:ext cx="685711" cy="605442"/>
          </a:xfrm>
          <a:custGeom>
            <a:avLst/>
            <a:gdLst>
              <a:gd name="connsiteX0" fmla="*/ 1243035 w 2006341"/>
              <a:gd name="connsiteY0" fmla="*/ 124157 h 1771251"/>
              <a:gd name="connsiteX1" fmla="*/ 1284176 w 2006341"/>
              <a:gd name="connsiteY1" fmla="*/ 0 h 1771251"/>
              <a:gd name="connsiteX2" fmla="*/ 2005607 w 2006341"/>
              <a:gd name="connsiteY2" fmla="*/ 0 h 1771251"/>
              <a:gd name="connsiteX3" fmla="*/ 2005607 w 2006341"/>
              <a:gd name="connsiteY3" fmla="*/ 124157 h 1771251"/>
              <a:gd name="connsiteX4" fmla="*/ 1243035 w 2006341"/>
              <a:gd name="connsiteY4" fmla="*/ 124157 h 1771251"/>
              <a:gd name="connsiteX5" fmla="*/ 0 w 2006341"/>
              <a:gd name="connsiteY5" fmla="*/ 124157 h 1771251"/>
              <a:gd name="connsiteX6" fmla="*/ 0 w 2006341"/>
              <a:gd name="connsiteY6" fmla="*/ 0 h 1771251"/>
              <a:gd name="connsiteX7" fmla="*/ 721430 w 2006341"/>
              <a:gd name="connsiteY7" fmla="*/ 0 h 1771251"/>
              <a:gd name="connsiteX8" fmla="*/ 762571 w 2006341"/>
              <a:gd name="connsiteY8" fmla="*/ 124157 h 1771251"/>
              <a:gd name="connsiteX9" fmla="*/ 0 w 2006341"/>
              <a:gd name="connsiteY9" fmla="*/ 124157 h 1771251"/>
              <a:gd name="connsiteX10" fmla="*/ 1881450 w 2006341"/>
              <a:gd name="connsiteY10" fmla="*/ 354104 h 1771251"/>
              <a:gd name="connsiteX11" fmla="*/ 2005607 w 2006341"/>
              <a:gd name="connsiteY11" fmla="*/ 354104 h 1771251"/>
              <a:gd name="connsiteX12" fmla="*/ 2005607 w 2006341"/>
              <a:gd name="connsiteY12" fmla="*/ 229947 h 1771251"/>
              <a:gd name="connsiteX13" fmla="*/ 1207772 w 2006341"/>
              <a:gd name="connsiteY13" fmla="*/ 229947 h 1771251"/>
              <a:gd name="connsiteX14" fmla="*/ 1166631 w 2006341"/>
              <a:gd name="connsiteY14" fmla="*/ 354104 h 1771251"/>
              <a:gd name="connsiteX15" fmla="*/ 1881450 w 2006341"/>
              <a:gd name="connsiteY15" fmla="*/ 354104 h 1771251"/>
              <a:gd name="connsiteX16" fmla="*/ 124891 w 2006341"/>
              <a:gd name="connsiteY16" fmla="*/ 354104 h 1771251"/>
              <a:gd name="connsiteX17" fmla="*/ 734 w 2006341"/>
              <a:gd name="connsiteY17" fmla="*/ 354104 h 1771251"/>
              <a:gd name="connsiteX18" fmla="*/ 734 w 2006341"/>
              <a:gd name="connsiteY18" fmla="*/ 229947 h 1771251"/>
              <a:gd name="connsiteX19" fmla="*/ 798569 w 2006341"/>
              <a:gd name="connsiteY19" fmla="*/ 229947 h 1771251"/>
              <a:gd name="connsiteX20" fmla="*/ 839710 w 2006341"/>
              <a:gd name="connsiteY20" fmla="*/ 354104 h 1771251"/>
              <a:gd name="connsiteX21" fmla="*/ 124891 w 2006341"/>
              <a:gd name="connsiteY21" fmla="*/ 354104 h 1771251"/>
              <a:gd name="connsiteX22" fmla="*/ 1757293 w 2006341"/>
              <a:gd name="connsiteY22" fmla="*/ 584785 h 1771251"/>
              <a:gd name="connsiteX23" fmla="*/ 1757293 w 2006341"/>
              <a:gd name="connsiteY23" fmla="*/ 460628 h 1771251"/>
              <a:gd name="connsiteX24" fmla="*/ 1132103 w 2006341"/>
              <a:gd name="connsiteY24" fmla="*/ 460628 h 1771251"/>
              <a:gd name="connsiteX25" fmla="*/ 1090962 w 2006341"/>
              <a:gd name="connsiteY25" fmla="*/ 584785 h 1771251"/>
              <a:gd name="connsiteX26" fmla="*/ 1757293 w 2006341"/>
              <a:gd name="connsiteY26" fmla="*/ 584785 h 1771251"/>
              <a:gd name="connsiteX27" fmla="*/ 1757293 w 2006341"/>
              <a:gd name="connsiteY27" fmla="*/ 584785 h 1771251"/>
              <a:gd name="connsiteX28" fmla="*/ 249048 w 2006341"/>
              <a:gd name="connsiteY28" fmla="*/ 584785 h 1771251"/>
              <a:gd name="connsiteX29" fmla="*/ 249048 w 2006341"/>
              <a:gd name="connsiteY29" fmla="*/ 460628 h 1771251"/>
              <a:gd name="connsiteX30" fmla="*/ 874239 w 2006341"/>
              <a:gd name="connsiteY30" fmla="*/ 460628 h 1771251"/>
              <a:gd name="connsiteX31" fmla="*/ 915379 w 2006341"/>
              <a:gd name="connsiteY31" fmla="*/ 584785 h 1771251"/>
              <a:gd name="connsiteX32" fmla="*/ 249048 w 2006341"/>
              <a:gd name="connsiteY32" fmla="*/ 584785 h 1771251"/>
              <a:gd name="connsiteX33" fmla="*/ 1346622 w 2006341"/>
              <a:gd name="connsiteY33" fmla="*/ 832364 h 1771251"/>
              <a:gd name="connsiteX34" fmla="*/ 1375273 w 2006341"/>
              <a:gd name="connsiteY34" fmla="*/ 754490 h 1771251"/>
              <a:gd name="connsiteX35" fmla="*/ 1375273 w 2006341"/>
              <a:gd name="connsiteY35" fmla="*/ 832364 h 1771251"/>
              <a:gd name="connsiteX36" fmla="*/ 1757293 w 2006341"/>
              <a:gd name="connsiteY36" fmla="*/ 832364 h 1771251"/>
              <a:gd name="connsiteX37" fmla="*/ 1757293 w 2006341"/>
              <a:gd name="connsiteY37" fmla="*/ 690575 h 1771251"/>
              <a:gd name="connsiteX38" fmla="*/ 1055698 w 2006341"/>
              <a:gd name="connsiteY38" fmla="*/ 690575 h 1771251"/>
              <a:gd name="connsiteX39" fmla="*/ 1008681 w 2006341"/>
              <a:gd name="connsiteY39" fmla="*/ 832364 h 1771251"/>
              <a:gd name="connsiteX40" fmla="*/ 1346622 w 2006341"/>
              <a:gd name="connsiteY40" fmla="*/ 832364 h 1771251"/>
              <a:gd name="connsiteX41" fmla="*/ 1346622 w 2006341"/>
              <a:gd name="connsiteY41" fmla="*/ 832364 h 1771251"/>
              <a:gd name="connsiteX42" fmla="*/ 249048 w 2006341"/>
              <a:gd name="connsiteY42" fmla="*/ 832364 h 1771251"/>
              <a:gd name="connsiteX43" fmla="*/ 249048 w 2006341"/>
              <a:gd name="connsiteY43" fmla="*/ 690575 h 1771251"/>
              <a:gd name="connsiteX44" fmla="*/ 950643 w 2006341"/>
              <a:gd name="connsiteY44" fmla="*/ 690575 h 1771251"/>
              <a:gd name="connsiteX45" fmla="*/ 997661 w 2006341"/>
              <a:gd name="connsiteY45" fmla="*/ 832364 h 1771251"/>
              <a:gd name="connsiteX46" fmla="*/ 658985 w 2006341"/>
              <a:gd name="connsiteY46" fmla="*/ 832364 h 1771251"/>
              <a:gd name="connsiteX47" fmla="*/ 631068 w 2006341"/>
              <a:gd name="connsiteY47" fmla="*/ 754490 h 1771251"/>
              <a:gd name="connsiteX48" fmla="*/ 631068 w 2006341"/>
              <a:gd name="connsiteY48" fmla="*/ 832364 h 1771251"/>
              <a:gd name="connsiteX49" fmla="*/ 249048 w 2006341"/>
              <a:gd name="connsiteY49" fmla="*/ 832364 h 1771251"/>
              <a:gd name="connsiteX50" fmla="*/ 1376008 w 2006341"/>
              <a:gd name="connsiteY50" fmla="*/ 1062310 h 1771251"/>
              <a:gd name="connsiteX51" fmla="*/ 1376008 w 2006341"/>
              <a:gd name="connsiteY51" fmla="*/ 938154 h 1771251"/>
              <a:gd name="connsiteX52" fmla="*/ 1758028 w 2006341"/>
              <a:gd name="connsiteY52" fmla="*/ 938154 h 1771251"/>
              <a:gd name="connsiteX53" fmla="*/ 1758028 w 2006341"/>
              <a:gd name="connsiteY53" fmla="*/ 1062310 h 1771251"/>
              <a:gd name="connsiteX54" fmla="*/ 1376008 w 2006341"/>
              <a:gd name="connsiteY54" fmla="*/ 1062310 h 1771251"/>
              <a:gd name="connsiteX55" fmla="*/ 742001 w 2006341"/>
              <a:gd name="connsiteY55" fmla="*/ 1062310 h 1771251"/>
              <a:gd name="connsiteX56" fmla="*/ 697187 w 2006341"/>
              <a:gd name="connsiteY56" fmla="*/ 938154 h 1771251"/>
              <a:gd name="connsiteX57" fmla="*/ 1307685 w 2006341"/>
              <a:gd name="connsiteY57" fmla="*/ 938154 h 1771251"/>
              <a:gd name="connsiteX58" fmla="*/ 1262136 w 2006341"/>
              <a:gd name="connsiteY58" fmla="*/ 1062310 h 1771251"/>
              <a:gd name="connsiteX59" fmla="*/ 742001 w 2006341"/>
              <a:gd name="connsiteY59" fmla="*/ 1062310 h 1771251"/>
              <a:gd name="connsiteX60" fmla="*/ 742001 w 2006341"/>
              <a:gd name="connsiteY60" fmla="*/ 1062310 h 1771251"/>
              <a:gd name="connsiteX61" fmla="*/ 249048 w 2006341"/>
              <a:gd name="connsiteY61" fmla="*/ 1062310 h 1771251"/>
              <a:gd name="connsiteX62" fmla="*/ 249048 w 2006341"/>
              <a:gd name="connsiteY62" fmla="*/ 938154 h 1771251"/>
              <a:gd name="connsiteX63" fmla="*/ 631068 w 2006341"/>
              <a:gd name="connsiteY63" fmla="*/ 938154 h 1771251"/>
              <a:gd name="connsiteX64" fmla="*/ 631068 w 2006341"/>
              <a:gd name="connsiteY64" fmla="*/ 1062310 h 1771251"/>
              <a:gd name="connsiteX65" fmla="*/ 249048 w 2006341"/>
              <a:gd name="connsiteY65" fmla="*/ 1062310 h 1771251"/>
              <a:gd name="connsiteX66" fmla="*/ 1376008 w 2006341"/>
              <a:gd name="connsiteY66" fmla="*/ 1310624 h 1771251"/>
              <a:gd name="connsiteX67" fmla="*/ 1376008 w 2006341"/>
              <a:gd name="connsiteY67" fmla="*/ 1168835 h 1771251"/>
              <a:gd name="connsiteX68" fmla="*/ 1758028 w 2006341"/>
              <a:gd name="connsiteY68" fmla="*/ 1168835 h 1771251"/>
              <a:gd name="connsiteX69" fmla="*/ 1758028 w 2006341"/>
              <a:gd name="connsiteY69" fmla="*/ 1310624 h 1771251"/>
              <a:gd name="connsiteX70" fmla="*/ 1376008 w 2006341"/>
              <a:gd name="connsiteY70" fmla="*/ 1310624 h 1771251"/>
              <a:gd name="connsiteX71" fmla="*/ 831629 w 2006341"/>
              <a:gd name="connsiteY71" fmla="*/ 1310624 h 1771251"/>
              <a:gd name="connsiteX72" fmla="*/ 780203 w 2006341"/>
              <a:gd name="connsiteY72" fmla="*/ 1168835 h 1771251"/>
              <a:gd name="connsiteX73" fmla="*/ 1222465 w 2006341"/>
              <a:gd name="connsiteY73" fmla="*/ 1168835 h 1771251"/>
              <a:gd name="connsiteX74" fmla="*/ 1170305 w 2006341"/>
              <a:gd name="connsiteY74" fmla="*/ 1310624 h 1771251"/>
              <a:gd name="connsiteX75" fmla="*/ 831629 w 2006341"/>
              <a:gd name="connsiteY75" fmla="*/ 1310624 h 1771251"/>
              <a:gd name="connsiteX76" fmla="*/ 831629 w 2006341"/>
              <a:gd name="connsiteY76" fmla="*/ 1310624 h 1771251"/>
              <a:gd name="connsiteX77" fmla="*/ 249048 w 2006341"/>
              <a:gd name="connsiteY77" fmla="*/ 1310624 h 1771251"/>
              <a:gd name="connsiteX78" fmla="*/ 249048 w 2006341"/>
              <a:gd name="connsiteY78" fmla="*/ 1168835 h 1771251"/>
              <a:gd name="connsiteX79" fmla="*/ 631068 w 2006341"/>
              <a:gd name="connsiteY79" fmla="*/ 1168835 h 1771251"/>
              <a:gd name="connsiteX80" fmla="*/ 631068 w 2006341"/>
              <a:gd name="connsiteY80" fmla="*/ 1310624 h 1771251"/>
              <a:gd name="connsiteX81" fmla="*/ 249048 w 2006341"/>
              <a:gd name="connsiteY81" fmla="*/ 1310624 h 1771251"/>
              <a:gd name="connsiteX82" fmla="*/ 1376008 w 2006341"/>
              <a:gd name="connsiteY82" fmla="*/ 1647095 h 1771251"/>
              <a:gd name="connsiteX83" fmla="*/ 1376008 w 2006341"/>
              <a:gd name="connsiteY83" fmla="*/ 1771252 h 1771251"/>
              <a:gd name="connsiteX84" fmla="*/ 2006341 w 2006341"/>
              <a:gd name="connsiteY84" fmla="*/ 1771252 h 1771251"/>
              <a:gd name="connsiteX85" fmla="*/ 2006341 w 2006341"/>
              <a:gd name="connsiteY85" fmla="*/ 1647095 h 1771251"/>
              <a:gd name="connsiteX86" fmla="*/ 1376008 w 2006341"/>
              <a:gd name="connsiteY86" fmla="*/ 1647095 h 1771251"/>
              <a:gd name="connsiteX87" fmla="*/ 953582 w 2006341"/>
              <a:gd name="connsiteY87" fmla="*/ 1647095 h 1771251"/>
              <a:gd name="connsiteX88" fmla="*/ 998395 w 2006341"/>
              <a:gd name="connsiteY88" fmla="*/ 1770517 h 1771251"/>
              <a:gd name="connsiteX89" fmla="*/ 998395 w 2006341"/>
              <a:gd name="connsiteY89" fmla="*/ 1770517 h 1771251"/>
              <a:gd name="connsiteX90" fmla="*/ 999865 w 2006341"/>
              <a:gd name="connsiteY90" fmla="*/ 1770517 h 1771251"/>
              <a:gd name="connsiteX91" fmla="*/ 1045413 w 2006341"/>
              <a:gd name="connsiteY91" fmla="*/ 1646361 h 1771251"/>
              <a:gd name="connsiteX92" fmla="*/ 953582 w 2006341"/>
              <a:gd name="connsiteY92" fmla="*/ 1646361 h 1771251"/>
              <a:gd name="connsiteX93" fmla="*/ 915379 w 2006341"/>
              <a:gd name="connsiteY93" fmla="*/ 1540571 h 1771251"/>
              <a:gd name="connsiteX94" fmla="*/ 870566 w 2006341"/>
              <a:gd name="connsiteY94" fmla="*/ 1416414 h 1771251"/>
              <a:gd name="connsiteX95" fmla="*/ 1131368 w 2006341"/>
              <a:gd name="connsiteY95" fmla="*/ 1416414 h 1771251"/>
              <a:gd name="connsiteX96" fmla="*/ 1085819 w 2006341"/>
              <a:gd name="connsiteY96" fmla="*/ 1540571 h 1771251"/>
              <a:gd name="connsiteX97" fmla="*/ 915379 w 2006341"/>
              <a:gd name="connsiteY97" fmla="*/ 1540571 h 1771251"/>
              <a:gd name="connsiteX98" fmla="*/ 915379 w 2006341"/>
              <a:gd name="connsiteY98" fmla="*/ 1540571 h 1771251"/>
              <a:gd name="connsiteX99" fmla="*/ 0 w 2006341"/>
              <a:gd name="connsiteY99" fmla="*/ 1647095 h 1771251"/>
              <a:gd name="connsiteX100" fmla="*/ 0 w 2006341"/>
              <a:gd name="connsiteY100" fmla="*/ 1771252 h 1771251"/>
              <a:gd name="connsiteX101" fmla="*/ 630334 w 2006341"/>
              <a:gd name="connsiteY101" fmla="*/ 1771252 h 1771251"/>
              <a:gd name="connsiteX102" fmla="*/ 630334 w 2006341"/>
              <a:gd name="connsiteY102" fmla="*/ 1647095 h 1771251"/>
              <a:gd name="connsiteX103" fmla="*/ 0 w 2006341"/>
              <a:gd name="connsiteY103" fmla="*/ 1647095 h 1771251"/>
              <a:gd name="connsiteX104" fmla="*/ 1704399 w 2006341"/>
              <a:gd name="connsiteY104" fmla="*/ 1416414 h 1771251"/>
              <a:gd name="connsiteX105" fmla="*/ 1376008 w 2006341"/>
              <a:gd name="connsiteY105" fmla="*/ 1416414 h 1771251"/>
              <a:gd name="connsiteX106" fmla="*/ 1376008 w 2006341"/>
              <a:gd name="connsiteY106" fmla="*/ 1540571 h 1771251"/>
              <a:gd name="connsiteX107" fmla="*/ 2006341 w 2006341"/>
              <a:gd name="connsiteY107" fmla="*/ 1540571 h 1771251"/>
              <a:gd name="connsiteX108" fmla="*/ 2006341 w 2006341"/>
              <a:gd name="connsiteY108" fmla="*/ 1416414 h 1771251"/>
              <a:gd name="connsiteX109" fmla="*/ 1704399 w 2006341"/>
              <a:gd name="connsiteY109" fmla="*/ 1416414 h 1771251"/>
              <a:gd name="connsiteX110" fmla="*/ 1704399 w 2006341"/>
              <a:gd name="connsiteY110" fmla="*/ 1416414 h 1771251"/>
              <a:gd name="connsiteX111" fmla="*/ 0 w 2006341"/>
              <a:gd name="connsiteY111" fmla="*/ 1452412 h 1771251"/>
              <a:gd name="connsiteX112" fmla="*/ 0 w 2006341"/>
              <a:gd name="connsiteY112" fmla="*/ 1541305 h 1771251"/>
              <a:gd name="connsiteX113" fmla="*/ 630334 w 2006341"/>
              <a:gd name="connsiteY113" fmla="*/ 1541305 h 1771251"/>
              <a:gd name="connsiteX114" fmla="*/ 630334 w 2006341"/>
              <a:gd name="connsiteY114" fmla="*/ 1417149 h 1771251"/>
              <a:gd name="connsiteX115" fmla="*/ 0 w 2006341"/>
              <a:gd name="connsiteY115" fmla="*/ 1417149 h 1771251"/>
              <a:gd name="connsiteX116" fmla="*/ 0 w 2006341"/>
              <a:gd name="connsiteY116" fmla="*/ 1452412 h 1771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2006341" h="1771251">
                <a:moveTo>
                  <a:pt x="1243035" y="124157"/>
                </a:moveTo>
                <a:lnTo>
                  <a:pt x="1284176" y="0"/>
                </a:lnTo>
                <a:lnTo>
                  <a:pt x="2005607" y="0"/>
                </a:lnTo>
                <a:lnTo>
                  <a:pt x="2005607" y="124157"/>
                </a:lnTo>
                <a:lnTo>
                  <a:pt x="1243035" y="124157"/>
                </a:lnTo>
                <a:close/>
                <a:moveTo>
                  <a:pt x="0" y="124157"/>
                </a:moveTo>
                <a:lnTo>
                  <a:pt x="0" y="0"/>
                </a:lnTo>
                <a:lnTo>
                  <a:pt x="721430" y="0"/>
                </a:lnTo>
                <a:lnTo>
                  <a:pt x="762571" y="124157"/>
                </a:lnTo>
                <a:lnTo>
                  <a:pt x="0" y="124157"/>
                </a:lnTo>
                <a:close/>
                <a:moveTo>
                  <a:pt x="1881450" y="354104"/>
                </a:moveTo>
                <a:lnTo>
                  <a:pt x="2005607" y="354104"/>
                </a:lnTo>
                <a:lnTo>
                  <a:pt x="2005607" y="229947"/>
                </a:lnTo>
                <a:lnTo>
                  <a:pt x="1207772" y="229947"/>
                </a:lnTo>
                <a:lnTo>
                  <a:pt x="1166631" y="354104"/>
                </a:lnTo>
                <a:lnTo>
                  <a:pt x="1881450" y="354104"/>
                </a:lnTo>
                <a:close/>
                <a:moveTo>
                  <a:pt x="124891" y="354104"/>
                </a:moveTo>
                <a:lnTo>
                  <a:pt x="734" y="354104"/>
                </a:lnTo>
                <a:lnTo>
                  <a:pt x="734" y="229947"/>
                </a:lnTo>
                <a:lnTo>
                  <a:pt x="798569" y="229947"/>
                </a:lnTo>
                <a:lnTo>
                  <a:pt x="839710" y="354104"/>
                </a:lnTo>
                <a:lnTo>
                  <a:pt x="124891" y="354104"/>
                </a:lnTo>
                <a:close/>
                <a:moveTo>
                  <a:pt x="1757293" y="584785"/>
                </a:moveTo>
                <a:lnTo>
                  <a:pt x="1757293" y="460628"/>
                </a:lnTo>
                <a:lnTo>
                  <a:pt x="1132103" y="460628"/>
                </a:lnTo>
                <a:lnTo>
                  <a:pt x="1090962" y="584785"/>
                </a:lnTo>
                <a:lnTo>
                  <a:pt x="1757293" y="584785"/>
                </a:lnTo>
                <a:lnTo>
                  <a:pt x="1757293" y="584785"/>
                </a:lnTo>
                <a:close/>
                <a:moveTo>
                  <a:pt x="249048" y="584785"/>
                </a:moveTo>
                <a:lnTo>
                  <a:pt x="249048" y="460628"/>
                </a:lnTo>
                <a:lnTo>
                  <a:pt x="874239" y="460628"/>
                </a:lnTo>
                <a:lnTo>
                  <a:pt x="915379" y="584785"/>
                </a:lnTo>
                <a:lnTo>
                  <a:pt x="249048" y="584785"/>
                </a:lnTo>
                <a:close/>
                <a:moveTo>
                  <a:pt x="1346622" y="832364"/>
                </a:moveTo>
                <a:lnTo>
                  <a:pt x="1375273" y="754490"/>
                </a:lnTo>
                <a:lnTo>
                  <a:pt x="1375273" y="832364"/>
                </a:lnTo>
                <a:lnTo>
                  <a:pt x="1757293" y="832364"/>
                </a:lnTo>
                <a:lnTo>
                  <a:pt x="1757293" y="690575"/>
                </a:lnTo>
                <a:lnTo>
                  <a:pt x="1055698" y="690575"/>
                </a:lnTo>
                <a:lnTo>
                  <a:pt x="1008681" y="832364"/>
                </a:lnTo>
                <a:lnTo>
                  <a:pt x="1346622" y="832364"/>
                </a:lnTo>
                <a:lnTo>
                  <a:pt x="1346622" y="832364"/>
                </a:lnTo>
                <a:close/>
                <a:moveTo>
                  <a:pt x="249048" y="832364"/>
                </a:moveTo>
                <a:lnTo>
                  <a:pt x="249048" y="690575"/>
                </a:lnTo>
                <a:lnTo>
                  <a:pt x="950643" y="690575"/>
                </a:lnTo>
                <a:lnTo>
                  <a:pt x="997661" y="832364"/>
                </a:lnTo>
                <a:lnTo>
                  <a:pt x="658985" y="832364"/>
                </a:lnTo>
                <a:lnTo>
                  <a:pt x="631068" y="754490"/>
                </a:lnTo>
                <a:lnTo>
                  <a:pt x="631068" y="832364"/>
                </a:lnTo>
                <a:lnTo>
                  <a:pt x="249048" y="832364"/>
                </a:lnTo>
                <a:close/>
                <a:moveTo>
                  <a:pt x="1376008" y="1062310"/>
                </a:moveTo>
                <a:lnTo>
                  <a:pt x="1376008" y="938154"/>
                </a:lnTo>
                <a:lnTo>
                  <a:pt x="1758028" y="938154"/>
                </a:lnTo>
                <a:lnTo>
                  <a:pt x="1758028" y="1062310"/>
                </a:lnTo>
                <a:lnTo>
                  <a:pt x="1376008" y="1062310"/>
                </a:lnTo>
                <a:close/>
                <a:moveTo>
                  <a:pt x="742001" y="1062310"/>
                </a:moveTo>
                <a:lnTo>
                  <a:pt x="697187" y="938154"/>
                </a:lnTo>
                <a:lnTo>
                  <a:pt x="1307685" y="938154"/>
                </a:lnTo>
                <a:lnTo>
                  <a:pt x="1262136" y="1062310"/>
                </a:lnTo>
                <a:lnTo>
                  <a:pt x="742001" y="1062310"/>
                </a:lnTo>
                <a:lnTo>
                  <a:pt x="742001" y="1062310"/>
                </a:lnTo>
                <a:close/>
                <a:moveTo>
                  <a:pt x="249048" y="1062310"/>
                </a:moveTo>
                <a:lnTo>
                  <a:pt x="249048" y="938154"/>
                </a:lnTo>
                <a:lnTo>
                  <a:pt x="631068" y="938154"/>
                </a:lnTo>
                <a:lnTo>
                  <a:pt x="631068" y="1062310"/>
                </a:lnTo>
                <a:lnTo>
                  <a:pt x="249048" y="1062310"/>
                </a:lnTo>
                <a:close/>
                <a:moveTo>
                  <a:pt x="1376008" y="1310624"/>
                </a:moveTo>
                <a:lnTo>
                  <a:pt x="1376008" y="1168835"/>
                </a:lnTo>
                <a:lnTo>
                  <a:pt x="1758028" y="1168835"/>
                </a:lnTo>
                <a:lnTo>
                  <a:pt x="1758028" y="1310624"/>
                </a:lnTo>
                <a:lnTo>
                  <a:pt x="1376008" y="1310624"/>
                </a:lnTo>
                <a:close/>
                <a:moveTo>
                  <a:pt x="831629" y="1310624"/>
                </a:moveTo>
                <a:lnTo>
                  <a:pt x="780203" y="1168835"/>
                </a:lnTo>
                <a:lnTo>
                  <a:pt x="1222465" y="1168835"/>
                </a:lnTo>
                <a:lnTo>
                  <a:pt x="1170305" y="1310624"/>
                </a:lnTo>
                <a:lnTo>
                  <a:pt x="831629" y="1310624"/>
                </a:lnTo>
                <a:lnTo>
                  <a:pt x="831629" y="1310624"/>
                </a:lnTo>
                <a:close/>
                <a:moveTo>
                  <a:pt x="249048" y="1310624"/>
                </a:moveTo>
                <a:lnTo>
                  <a:pt x="249048" y="1168835"/>
                </a:lnTo>
                <a:lnTo>
                  <a:pt x="631068" y="1168835"/>
                </a:lnTo>
                <a:lnTo>
                  <a:pt x="631068" y="1310624"/>
                </a:lnTo>
                <a:lnTo>
                  <a:pt x="249048" y="1310624"/>
                </a:lnTo>
                <a:close/>
                <a:moveTo>
                  <a:pt x="1376008" y="1647095"/>
                </a:moveTo>
                <a:lnTo>
                  <a:pt x="1376008" y="1771252"/>
                </a:lnTo>
                <a:lnTo>
                  <a:pt x="2006341" y="1771252"/>
                </a:lnTo>
                <a:lnTo>
                  <a:pt x="2006341" y="1647095"/>
                </a:lnTo>
                <a:lnTo>
                  <a:pt x="1376008" y="1647095"/>
                </a:lnTo>
                <a:close/>
                <a:moveTo>
                  <a:pt x="953582" y="1647095"/>
                </a:moveTo>
                <a:lnTo>
                  <a:pt x="998395" y="1770517"/>
                </a:lnTo>
                <a:lnTo>
                  <a:pt x="998395" y="1770517"/>
                </a:lnTo>
                <a:lnTo>
                  <a:pt x="999865" y="1770517"/>
                </a:lnTo>
                <a:lnTo>
                  <a:pt x="1045413" y="1646361"/>
                </a:lnTo>
                <a:lnTo>
                  <a:pt x="953582" y="1646361"/>
                </a:lnTo>
                <a:close/>
                <a:moveTo>
                  <a:pt x="915379" y="1540571"/>
                </a:moveTo>
                <a:lnTo>
                  <a:pt x="870566" y="1416414"/>
                </a:lnTo>
                <a:lnTo>
                  <a:pt x="1131368" y="1416414"/>
                </a:lnTo>
                <a:lnTo>
                  <a:pt x="1085819" y="1540571"/>
                </a:lnTo>
                <a:lnTo>
                  <a:pt x="915379" y="1540571"/>
                </a:lnTo>
                <a:lnTo>
                  <a:pt x="915379" y="1540571"/>
                </a:lnTo>
                <a:close/>
                <a:moveTo>
                  <a:pt x="0" y="1647095"/>
                </a:moveTo>
                <a:lnTo>
                  <a:pt x="0" y="1771252"/>
                </a:lnTo>
                <a:lnTo>
                  <a:pt x="630334" y="1771252"/>
                </a:lnTo>
                <a:lnTo>
                  <a:pt x="630334" y="1647095"/>
                </a:lnTo>
                <a:lnTo>
                  <a:pt x="0" y="1647095"/>
                </a:lnTo>
                <a:close/>
                <a:moveTo>
                  <a:pt x="1704399" y="1416414"/>
                </a:moveTo>
                <a:lnTo>
                  <a:pt x="1376008" y="1416414"/>
                </a:lnTo>
                <a:lnTo>
                  <a:pt x="1376008" y="1540571"/>
                </a:lnTo>
                <a:lnTo>
                  <a:pt x="2006341" y="1540571"/>
                </a:lnTo>
                <a:lnTo>
                  <a:pt x="2006341" y="1416414"/>
                </a:lnTo>
                <a:lnTo>
                  <a:pt x="1704399" y="1416414"/>
                </a:lnTo>
                <a:lnTo>
                  <a:pt x="1704399" y="1416414"/>
                </a:lnTo>
                <a:close/>
                <a:moveTo>
                  <a:pt x="0" y="1452412"/>
                </a:moveTo>
                <a:lnTo>
                  <a:pt x="0" y="1541305"/>
                </a:lnTo>
                <a:lnTo>
                  <a:pt x="630334" y="1541305"/>
                </a:lnTo>
                <a:lnTo>
                  <a:pt x="630334" y="1417149"/>
                </a:lnTo>
                <a:lnTo>
                  <a:pt x="0" y="1417149"/>
                </a:lnTo>
                <a:lnTo>
                  <a:pt x="0" y="1452412"/>
                </a:lnTo>
                <a:close/>
              </a:path>
            </a:pathLst>
          </a:custGeom>
          <a:solidFill>
            <a:srgbClr val="82CFFF"/>
          </a:solidFill>
          <a:ln w="7342" cap="flat">
            <a:noFill/>
            <a:prstDash val="solid"/>
            <a:miter/>
          </a:ln>
        </p:spPr>
        <p:txBody>
          <a:bodyPr rtlCol="0" anchor="ctr"/>
          <a:lstStyle/>
          <a:p>
            <a:endParaRPr lang="uk-UA" sz="900"/>
          </a:p>
        </p:txBody>
      </p:sp>
      <p:sp>
        <p:nvSpPr>
          <p:cNvPr id="11" name="Freeform: Shape 10">
            <a:extLst>
              <a:ext uri="{FF2B5EF4-FFF2-40B4-BE49-F238E27FC236}">
                <a16:creationId xmlns:a16="http://schemas.microsoft.com/office/drawing/2014/main" id="{DECF12C5-07BF-6CAD-0112-107C14060B23}"/>
              </a:ext>
            </a:extLst>
          </p:cNvPr>
          <p:cNvSpPr>
            <a:spLocks noChangeAspect="1"/>
          </p:cNvSpPr>
          <p:nvPr userDrawn="1"/>
        </p:nvSpPr>
        <p:spPr>
          <a:xfrm flipH="1">
            <a:off x="7779183" y="4377897"/>
            <a:ext cx="1377451" cy="1371600"/>
          </a:xfrm>
          <a:custGeom>
            <a:avLst/>
            <a:gdLst>
              <a:gd name="connsiteX0" fmla="*/ 1002803 w 1998994"/>
              <a:gd name="connsiteY0" fmla="*/ 1581041 h 1990243"/>
              <a:gd name="connsiteX1" fmla="*/ 1247443 w 1998994"/>
              <a:gd name="connsiteY1" fmla="*/ 1338605 h 1990243"/>
              <a:gd name="connsiteX2" fmla="*/ 1002803 w 1998994"/>
              <a:gd name="connsiteY2" fmla="*/ 1096169 h 1990243"/>
              <a:gd name="connsiteX3" fmla="*/ 758163 w 1998994"/>
              <a:gd name="connsiteY3" fmla="*/ 1338605 h 1990243"/>
              <a:gd name="connsiteX4" fmla="*/ 1002803 w 1998994"/>
              <a:gd name="connsiteY4" fmla="*/ 1581041 h 1990243"/>
              <a:gd name="connsiteX5" fmla="*/ 1011619 w 1998994"/>
              <a:gd name="connsiteY5" fmla="*/ 1892534 h 1990243"/>
              <a:gd name="connsiteX6" fmla="*/ 1579507 w 1998994"/>
              <a:gd name="connsiteY6" fmla="*/ 1337870 h 1990243"/>
              <a:gd name="connsiteX7" fmla="*/ 1011619 w 1998994"/>
              <a:gd name="connsiteY7" fmla="*/ 782471 h 1990243"/>
              <a:gd name="connsiteX8" fmla="*/ 443731 w 1998994"/>
              <a:gd name="connsiteY8" fmla="*/ 1337136 h 1990243"/>
              <a:gd name="connsiteX9" fmla="*/ 1011619 w 1998994"/>
              <a:gd name="connsiteY9" fmla="*/ 1892534 h 1990243"/>
              <a:gd name="connsiteX10" fmla="*/ 0 w 1998994"/>
              <a:gd name="connsiteY10" fmla="*/ 1321708 h 1990243"/>
              <a:gd name="connsiteX11" fmla="*/ 999865 w 1998994"/>
              <a:gd name="connsiteY11" fmla="*/ 660519 h 1990243"/>
              <a:gd name="connsiteX12" fmla="*/ 1998260 w 1998994"/>
              <a:gd name="connsiteY12" fmla="*/ 1329055 h 1990243"/>
              <a:gd name="connsiteX13" fmla="*/ 999865 w 1998994"/>
              <a:gd name="connsiteY13" fmla="*/ 1990244 h 1990243"/>
              <a:gd name="connsiteX14" fmla="*/ 0 w 1998994"/>
              <a:gd name="connsiteY14" fmla="*/ 1321708 h 1990243"/>
              <a:gd name="connsiteX15" fmla="*/ 372470 w 1998994"/>
              <a:gd name="connsiteY15" fmla="*/ 197686 h 1990243"/>
              <a:gd name="connsiteX16" fmla="*/ 999865 w 1998994"/>
              <a:gd name="connsiteY16" fmla="*/ 64 h 1990243"/>
              <a:gd name="connsiteX17" fmla="*/ 1627260 w 1998994"/>
              <a:gd name="connsiteY17" fmla="*/ 197686 h 1990243"/>
              <a:gd name="connsiteX18" fmla="*/ 1998995 w 1998994"/>
              <a:gd name="connsiteY18" fmla="*/ 598808 h 1990243"/>
              <a:gd name="connsiteX19" fmla="*/ 1998995 w 1998994"/>
              <a:gd name="connsiteY19" fmla="*/ 796430 h 1990243"/>
              <a:gd name="connsiteX20" fmla="*/ 1550856 w 1998994"/>
              <a:gd name="connsiteY20" fmla="*/ 470978 h 1990243"/>
              <a:gd name="connsiteX21" fmla="*/ 999865 w 1998994"/>
              <a:gd name="connsiteY21" fmla="*/ 346087 h 1990243"/>
              <a:gd name="connsiteX22" fmla="*/ 448874 w 1998994"/>
              <a:gd name="connsiteY22" fmla="*/ 470978 h 1990243"/>
              <a:gd name="connsiteX23" fmla="*/ 734 w 1998994"/>
              <a:gd name="connsiteY23" fmla="*/ 796430 h 1990243"/>
              <a:gd name="connsiteX24" fmla="*/ 734 w 1998994"/>
              <a:gd name="connsiteY24" fmla="*/ 598808 h 1990243"/>
              <a:gd name="connsiteX25" fmla="*/ 372470 w 1998994"/>
              <a:gd name="connsiteY25" fmla="*/ 197686 h 1990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998994" h="1990243">
                <a:moveTo>
                  <a:pt x="1002803" y="1581041"/>
                </a:moveTo>
                <a:cubicBezTo>
                  <a:pt x="1137980" y="1581041"/>
                  <a:pt x="1247443" y="1472312"/>
                  <a:pt x="1247443" y="1338605"/>
                </a:cubicBezTo>
                <a:cubicBezTo>
                  <a:pt x="1247443" y="1204163"/>
                  <a:pt x="1137980" y="1096169"/>
                  <a:pt x="1002803" y="1096169"/>
                </a:cubicBezTo>
                <a:cubicBezTo>
                  <a:pt x="867627" y="1096169"/>
                  <a:pt x="758163" y="1204898"/>
                  <a:pt x="758163" y="1338605"/>
                </a:cubicBezTo>
                <a:cubicBezTo>
                  <a:pt x="757429" y="1472312"/>
                  <a:pt x="867627" y="1581041"/>
                  <a:pt x="1002803" y="1581041"/>
                </a:cubicBezTo>
                <a:close/>
                <a:moveTo>
                  <a:pt x="1011619" y="1892534"/>
                </a:moveTo>
                <a:cubicBezTo>
                  <a:pt x="1325317" y="1892534"/>
                  <a:pt x="1579507" y="1644221"/>
                  <a:pt x="1579507" y="1337870"/>
                </a:cubicBezTo>
                <a:cubicBezTo>
                  <a:pt x="1579507" y="1031520"/>
                  <a:pt x="1325317" y="782471"/>
                  <a:pt x="1011619" y="782471"/>
                </a:cubicBezTo>
                <a:cubicBezTo>
                  <a:pt x="697922" y="782471"/>
                  <a:pt x="443731" y="1030785"/>
                  <a:pt x="443731" y="1337136"/>
                </a:cubicBezTo>
                <a:cubicBezTo>
                  <a:pt x="443731" y="1643487"/>
                  <a:pt x="697187" y="1892534"/>
                  <a:pt x="1011619" y="1892534"/>
                </a:cubicBezTo>
                <a:close/>
                <a:moveTo>
                  <a:pt x="0" y="1321708"/>
                </a:moveTo>
                <a:cubicBezTo>
                  <a:pt x="0" y="1321708"/>
                  <a:pt x="230681" y="660519"/>
                  <a:pt x="999865" y="660519"/>
                </a:cubicBezTo>
                <a:cubicBezTo>
                  <a:pt x="1769048" y="660519"/>
                  <a:pt x="1998260" y="1329055"/>
                  <a:pt x="1998260" y="1329055"/>
                </a:cubicBezTo>
                <a:cubicBezTo>
                  <a:pt x="1998260" y="1329055"/>
                  <a:pt x="1771252" y="1990244"/>
                  <a:pt x="999865" y="1990244"/>
                </a:cubicBezTo>
                <a:cubicBezTo>
                  <a:pt x="228477" y="1990244"/>
                  <a:pt x="0" y="1321708"/>
                  <a:pt x="0" y="1321708"/>
                </a:cubicBezTo>
                <a:close/>
                <a:moveTo>
                  <a:pt x="372470" y="197686"/>
                </a:moveTo>
                <a:cubicBezTo>
                  <a:pt x="634741" y="1534"/>
                  <a:pt x="951378" y="-670"/>
                  <a:pt x="999865" y="64"/>
                </a:cubicBezTo>
                <a:cubicBezTo>
                  <a:pt x="1048352" y="-670"/>
                  <a:pt x="1364988" y="1534"/>
                  <a:pt x="1627260" y="197686"/>
                </a:cubicBezTo>
                <a:cubicBezTo>
                  <a:pt x="1911571" y="410736"/>
                  <a:pt x="1998995" y="598808"/>
                  <a:pt x="1998995" y="598808"/>
                </a:cubicBezTo>
                <a:lnTo>
                  <a:pt x="1998995" y="796430"/>
                </a:lnTo>
                <a:cubicBezTo>
                  <a:pt x="1998995" y="796430"/>
                  <a:pt x="1821208" y="595135"/>
                  <a:pt x="1550856" y="470978"/>
                </a:cubicBezTo>
                <a:cubicBezTo>
                  <a:pt x="1304012" y="357841"/>
                  <a:pt x="1043209" y="346821"/>
                  <a:pt x="999865" y="346087"/>
                </a:cubicBezTo>
                <a:cubicBezTo>
                  <a:pt x="956520" y="346821"/>
                  <a:pt x="695718" y="357841"/>
                  <a:pt x="448874" y="470978"/>
                </a:cubicBezTo>
                <a:cubicBezTo>
                  <a:pt x="178521" y="595135"/>
                  <a:pt x="734" y="796430"/>
                  <a:pt x="734" y="796430"/>
                </a:cubicBezTo>
                <a:lnTo>
                  <a:pt x="734" y="598808"/>
                </a:lnTo>
                <a:cubicBezTo>
                  <a:pt x="0" y="598808"/>
                  <a:pt x="88159" y="410736"/>
                  <a:pt x="372470" y="197686"/>
                </a:cubicBezTo>
                <a:close/>
              </a:path>
            </a:pathLst>
          </a:custGeom>
          <a:solidFill>
            <a:schemeClr val="accent1"/>
          </a:solidFill>
          <a:ln w="7342" cap="flat">
            <a:noFill/>
            <a:prstDash val="solid"/>
            <a:miter/>
          </a:ln>
        </p:spPr>
        <p:txBody>
          <a:bodyPr rtlCol="0" anchor="ctr"/>
          <a:lstStyle/>
          <a:p>
            <a:endParaRPr lang="uk-UA" sz="900"/>
          </a:p>
        </p:txBody>
      </p:sp>
      <p:sp>
        <p:nvSpPr>
          <p:cNvPr id="13" name="Freeform: Shape 12">
            <a:extLst>
              <a:ext uri="{FF2B5EF4-FFF2-40B4-BE49-F238E27FC236}">
                <a16:creationId xmlns:a16="http://schemas.microsoft.com/office/drawing/2014/main" id="{DB4C8427-5422-7078-1FFB-CBA65AEE8935}"/>
              </a:ext>
            </a:extLst>
          </p:cNvPr>
          <p:cNvSpPr>
            <a:spLocks noChangeAspect="1"/>
          </p:cNvSpPr>
          <p:nvPr userDrawn="1"/>
        </p:nvSpPr>
        <p:spPr>
          <a:xfrm>
            <a:off x="6418316" y="3004660"/>
            <a:ext cx="1371421" cy="1371600"/>
          </a:xfrm>
          <a:custGeom>
            <a:avLst/>
            <a:gdLst>
              <a:gd name="connsiteX0" fmla="*/ 188087 w 330187"/>
              <a:gd name="connsiteY0" fmla="*/ 146239 h 330187"/>
              <a:gd name="connsiteX1" fmla="*/ 326049 w 330187"/>
              <a:gd name="connsiteY1" fmla="*/ 146239 h 330187"/>
              <a:gd name="connsiteX2" fmla="*/ 330188 w 330187"/>
              <a:gd name="connsiteY2" fmla="*/ 142100 h 330187"/>
              <a:gd name="connsiteX3" fmla="*/ 330188 w 330187"/>
              <a:gd name="connsiteY3" fmla="*/ 4139 h 330187"/>
              <a:gd name="connsiteX4" fmla="*/ 326049 w 330187"/>
              <a:gd name="connsiteY4" fmla="*/ 0 h 330187"/>
              <a:gd name="connsiteX5" fmla="*/ 188087 w 330187"/>
              <a:gd name="connsiteY5" fmla="*/ 0 h 330187"/>
              <a:gd name="connsiteX6" fmla="*/ 183949 w 330187"/>
              <a:gd name="connsiteY6" fmla="*/ 4139 h 330187"/>
              <a:gd name="connsiteX7" fmla="*/ 183949 w 330187"/>
              <a:gd name="connsiteY7" fmla="*/ 68981 h 330187"/>
              <a:gd name="connsiteX8" fmla="*/ 146239 w 330187"/>
              <a:gd name="connsiteY8" fmla="*/ 68981 h 330187"/>
              <a:gd name="connsiteX9" fmla="*/ 146239 w 330187"/>
              <a:gd name="connsiteY9" fmla="*/ 4139 h 330187"/>
              <a:gd name="connsiteX10" fmla="*/ 142100 w 330187"/>
              <a:gd name="connsiteY10" fmla="*/ 0 h 330187"/>
              <a:gd name="connsiteX11" fmla="*/ 4139 w 330187"/>
              <a:gd name="connsiteY11" fmla="*/ 0 h 330187"/>
              <a:gd name="connsiteX12" fmla="*/ 0 w 330187"/>
              <a:gd name="connsiteY12" fmla="*/ 4139 h 330187"/>
              <a:gd name="connsiteX13" fmla="*/ 0 w 330187"/>
              <a:gd name="connsiteY13" fmla="*/ 142100 h 330187"/>
              <a:gd name="connsiteX14" fmla="*/ 4139 w 330187"/>
              <a:gd name="connsiteY14" fmla="*/ 146239 h 330187"/>
              <a:gd name="connsiteX15" fmla="*/ 68981 w 330187"/>
              <a:gd name="connsiteY15" fmla="*/ 146239 h 330187"/>
              <a:gd name="connsiteX16" fmla="*/ 68981 w 330187"/>
              <a:gd name="connsiteY16" fmla="*/ 183949 h 330187"/>
              <a:gd name="connsiteX17" fmla="*/ 4139 w 330187"/>
              <a:gd name="connsiteY17" fmla="*/ 183949 h 330187"/>
              <a:gd name="connsiteX18" fmla="*/ 0 w 330187"/>
              <a:gd name="connsiteY18" fmla="*/ 188087 h 330187"/>
              <a:gd name="connsiteX19" fmla="*/ 0 w 330187"/>
              <a:gd name="connsiteY19" fmla="*/ 326049 h 330187"/>
              <a:gd name="connsiteX20" fmla="*/ 4139 w 330187"/>
              <a:gd name="connsiteY20" fmla="*/ 330188 h 330187"/>
              <a:gd name="connsiteX21" fmla="*/ 142100 w 330187"/>
              <a:gd name="connsiteY21" fmla="*/ 330188 h 330187"/>
              <a:gd name="connsiteX22" fmla="*/ 146239 w 330187"/>
              <a:gd name="connsiteY22" fmla="*/ 326049 h 330187"/>
              <a:gd name="connsiteX23" fmla="*/ 146239 w 330187"/>
              <a:gd name="connsiteY23" fmla="*/ 261207 h 330187"/>
              <a:gd name="connsiteX24" fmla="*/ 183949 w 330187"/>
              <a:gd name="connsiteY24" fmla="*/ 261207 h 330187"/>
              <a:gd name="connsiteX25" fmla="*/ 183949 w 330187"/>
              <a:gd name="connsiteY25" fmla="*/ 326049 h 330187"/>
              <a:gd name="connsiteX26" fmla="*/ 188087 w 330187"/>
              <a:gd name="connsiteY26" fmla="*/ 330188 h 330187"/>
              <a:gd name="connsiteX27" fmla="*/ 326049 w 330187"/>
              <a:gd name="connsiteY27" fmla="*/ 330188 h 330187"/>
              <a:gd name="connsiteX28" fmla="*/ 330188 w 330187"/>
              <a:gd name="connsiteY28" fmla="*/ 326049 h 330187"/>
              <a:gd name="connsiteX29" fmla="*/ 330188 w 330187"/>
              <a:gd name="connsiteY29" fmla="*/ 188087 h 330187"/>
              <a:gd name="connsiteX30" fmla="*/ 326049 w 330187"/>
              <a:gd name="connsiteY30" fmla="*/ 183949 h 330187"/>
              <a:gd name="connsiteX31" fmla="*/ 188087 w 330187"/>
              <a:gd name="connsiteY31" fmla="*/ 183949 h 330187"/>
              <a:gd name="connsiteX32" fmla="*/ 183949 w 330187"/>
              <a:gd name="connsiteY32" fmla="*/ 188087 h 330187"/>
              <a:gd name="connsiteX33" fmla="*/ 183949 w 330187"/>
              <a:gd name="connsiteY33" fmla="*/ 252929 h 330187"/>
              <a:gd name="connsiteX34" fmla="*/ 146239 w 330187"/>
              <a:gd name="connsiteY34" fmla="*/ 252929 h 330187"/>
              <a:gd name="connsiteX35" fmla="*/ 146239 w 330187"/>
              <a:gd name="connsiteY35" fmla="*/ 188087 h 330187"/>
              <a:gd name="connsiteX36" fmla="*/ 142100 w 330187"/>
              <a:gd name="connsiteY36" fmla="*/ 183949 h 330187"/>
              <a:gd name="connsiteX37" fmla="*/ 77258 w 330187"/>
              <a:gd name="connsiteY37" fmla="*/ 183949 h 330187"/>
              <a:gd name="connsiteX38" fmla="*/ 77258 w 330187"/>
              <a:gd name="connsiteY38" fmla="*/ 146239 h 330187"/>
              <a:gd name="connsiteX39" fmla="*/ 142100 w 330187"/>
              <a:gd name="connsiteY39" fmla="*/ 146239 h 330187"/>
              <a:gd name="connsiteX40" fmla="*/ 146239 w 330187"/>
              <a:gd name="connsiteY40" fmla="*/ 142100 h 330187"/>
              <a:gd name="connsiteX41" fmla="*/ 146239 w 330187"/>
              <a:gd name="connsiteY41" fmla="*/ 77258 h 330187"/>
              <a:gd name="connsiteX42" fmla="*/ 183949 w 330187"/>
              <a:gd name="connsiteY42" fmla="*/ 77258 h 330187"/>
              <a:gd name="connsiteX43" fmla="*/ 183949 w 330187"/>
              <a:gd name="connsiteY43" fmla="*/ 142100 h 330187"/>
              <a:gd name="connsiteX44" fmla="*/ 188087 w 330187"/>
              <a:gd name="connsiteY44" fmla="*/ 146239 h 330187"/>
              <a:gd name="connsiteX45" fmla="*/ 192226 w 330187"/>
              <a:gd name="connsiteY45" fmla="*/ 77258 h 330187"/>
              <a:gd name="connsiteX46" fmla="*/ 258574 w 330187"/>
              <a:gd name="connsiteY46" fmla="*/ 77258 h 330187"/>
              <a:gd name="connsiteX47" fmla="*/ 242640 w 330187"/>
              <a:gd name="connsiteY47" fmla="*/ 93193 h 330187"/>
              <a:gd name="connsiteX48" fmla="*/ 248503 w 330187"/>
              <a:gd name="connsiteY48" fmla="*/ 99045 h 330187"/>
              <a:gd name="connsiteX49" fmla="*/ 274417 w 330187"/>
              <a:gd name="connsiteY49" fmla="*/ 73120 h 330187"/>
              <a:gd name="connsiteX50" fmla="*/ 248503 w 330187"/>
              <a:gd name="connsiteY50" fmla="*/ 47206 h 330187"/>
              <a:gd name="connsiteX51" fmla="*/ 242640 w 330187"/>
              <a:gd name="connsiteY51" fmla="*/ 53058 h 330187"/>
              <a:gd name="connsiteX52" fmla="*/ 258574 w 330187"/>
              <a:gd name="connsiteY52" fmla="*/ 68992 h 330187"/>
              <a:gd name="connsiteX53" fmla="*/ 192226 w 330187"/>
              <a:gd name="connsiteY53" fmla="*/ 68992 h 330187"/>
              <a:gd name="connsiteX54" fmla="*/ 192226 w 330187"/>
              <a:gd name="connsiteY54" fmla="*/ 8278 h 330187"/>
              <a:gd name="connsiteX55" fmla="*/ 321910 w 330187"/>
              <a:gd name="connsiteY55" fmla="*/ 8278 h 330187"/>
              <a:gd name="connsiteX56" fmla="*/ 321910 w 330187"/>
              <a:gd name="connsiteY56" fmla="*/ 137961 h 330187"/>
              <a:gd name="connsiteX57" fmla="*/ 192226 w 330187"/>
              <a:gd name="connsiteY57" fmla="*/ 137961 h 330187"/>
              <a:gd name="connsiteX58" fmla="*/ 192226 w 330187"/>
              <a:gd name="connsiteY58" fmla="*/ 77258 h 330187"/>
              <a:gd name="connsiteX59" fmla="*/ 192226 w 330187"/>
              <a:gd name="connsiteY59" fmla="*/ 261207 h 330187"/>
              <a:gd name="connsiteX60" fmla="*/ 241984 w 330187"/>
              <a:gd name="connsiteY60" fmla="*/ 261207 h 330187"/>
              <a:gd name="connsiteX61" fmla="*/ 257068 w 330187"/>
              <a:gd name="connsiteY61" fmla="*/ 272704 h 330187"/>
              <a:gd name="connsiteX62" fmla="*/ 272704 w 330187"/>
              <a:gd name="connsiteY62" fmla="*/ 257068 h 330187"/>
              <a:gd name="connsiteX63" fmla="*/ 257068 w 330187"/>
              <a:gd name="connsiteY63" fmla="*/ 241432 h 330187"/>
              <a:gd name="connsiteX64" fmla="*/ 241984 w 330187"/>
              <a:gd name="connsiteY64" fmla="*/ 252929 h 330187"/>
              <a:gd name="connsiteX65" fmla="*/ 192226 w 330187"/>
              <a:gd name="connsiteY65" fmla="*/ 252929 h 330187"/>
              <a:gd name="connsiteX66" fmla="*/ 192226 w 330187"/>
              <a:gd name="connsiteY66" fmla="*/ 192226 h 330187"/>
              <a:gd name="connsiteX67" fmla="*/ 321910 w 330187"/>
              <a:gd name="connsiteY67" fmla="*/ 192226 h 330187"/>
              <a:gd name="connsiteX68" fmla="*/ 321910 w 330187"/>
              <a:gd name="connsiteY68" fmla="*/ 321910 h 330187"/>
              <a:gd name="connsiteX69" fmla="*/ 192226 w 330187"/>
              <a:gd name="connsiteY69" fmla="*/ 321910 h 330187"/>
              <a:gd name="connsiteX70" fmla="*/ 192226 w 330187"/>
              <a:gd name="connsiteY70" fmla="*/ 261207 h 330187"/>
              <a:gd name="connsiteX71" fmla="*/ 249710 w 330187"/>
              <a:gd name="connsiteY71" fmla="*/ 257068 h 330187"/>
              <a:gd name="connsiteX72" fmla="*/ 257068 w 330187"/>
              <a:gd name="connsiteY72" fmla="*/ 249710 h 330187"/>
              <a:gd name="connsiteX73" fmla="*/ 264426 w 330187"/>
              <a:gd name="connsiteY73" fmla="*/ 257068 h 330187"/>
              <a:gd name="connsiteX74" fmla="*/ 257068 w 330187"/>
              <a:gd name="connsiteY74" fmla="*/ 264426 h 330187"/>
              <a:gd name="connsiteX75" fmla="*/ 249710 w 330187"/>
              <a:gd name="connsiteY75" fmla="*/ 257068 h 330187"/>
              <a:gd name="connsiteX76" fmla="*/ 73120 w 330187"/>
              <a:gd name="connsiteY76" fmla="*/ 249710 h 330187"/>
              <a:gd name="connsiteX77" fmla="*/ 80477 w 330187"/>
              <a:gd name="connsiteY77" fmla="*/ 257068 h 330187"/>
              <a:gd name="connsiteX78" fmla="*/ 73120 w 330187"/>
              <a:gd name="connsiteY78" fmla="*/ 264426 h 330187"/>
              <a:gd name="connsiteX79" fmla="*/ 65762 w 330187"/>
              <a:gd name="connsiteY79" fmla="*/ 257068 h 330187"/>
              <a:gd name="connsiteX80" fmla="*/ 73120 w 330187"/>
              <a:gd name="connsiteY80" fmla="*/ 249710 h 330187"/>
              <a:gd name="connsiteX81" fmla="*/ 137961 w 330187"/>
              <a:gd name="connsiteY81" fmla="*/ 321910 h 330187"/>
              <a:gd name="connsiteX82" fmla="*/ 8278 w 330187"/>
              <a:gd name="connsiteY82" fmla="*/ 321910 h 330187"/>
              <a:gd name="connsiteX83" fmla="*/ 8278 w 330187"/>
              <a:gd name="connsiteY83" fmla="*/ 192226 h 330187"/>
              <a:gd name="connsiteX84" fmla="*/ 68981 w 330187"/>
              <a:gd name="connsiteY84" fmla="*/ 192226 h 330187"/>
              <a:gd name="connsiteX85" fmla="*/ 68981 w 330187"/>
              <a:gd name="connsiteY85" fmla="*/ 241984 h 330187"/>
              <a:gd name="connsiteX86" fmla="*/ 57484 w 330187"/>
              <a:gd name="connsiteY86" fmla="*/ 257068 h 330187"/>
              <a:gd name="connsiteX87" fmla="*/ 73120 w 330187"/>
              <a:gd name="connsiteY87" fmla="*/ 272704 h 330187"/>
              <a:gd name="connsiteX88" fmla="*/ 88203 w 330187"/>
              <a:gd name="connsiteY88" fmla="*/ 261207 h 330187"/>
              <a:gd name="connsiteX89" fmla="*/ 137973 w 330187"/>
              <a:gd name="connsiteY89" fmla="*/ 261207 h 330187"/>
              <a:gd name="connsiteX90" fmla="*/ 137973 w 330187"/>
              <a:gd name="connsiteY90" fmla="*/ 321910 h 330187"/>
              <a:gd name="connsiteX91" fmla="*/ 137961 w 330187"/>
              <a:gd name="connsiteY91" fmla="*/ 321910 h 330187"/>
              <a:gd name="connsiteX92" fmla="*/ 137961 w 330187"/>
              <a:gd name="connsiteY92" fmla="*/ 192226 h 330187"/>
              <a:gd name="connsiteX93" fmla="*/ 137961 w 330187"/>
              <a:gd name="connsiteY93" fmla="*/ 252918 h 330187"/>
              <a:gd name="connsiteX94" fmla="*/ 88203 w 330187"/>
              <a:gd name="connsiteY94" fmla="*/ 252918 h 330187"/>
              <a:gd name="connsiteX95" fmla="*/ 77258 w 330187"/>
              <a:gd name="connsiteY95" fmla="*/ 241984 h 330187"/>
              <a:gd name="connsiteX96" fmla="*/ 77258 w 330187"/>
              <a:gd name="connsiteY96" fmla="*/ 192226 h 330187"/>
              <a:gd name="connsiteX97" fmla="*/ 137961 w 330187"/>
              <a:gd name="connsiteY97" fmla="*/ 192226 h 330187"/>
              <a:gd name="connsiteX98" fmla="*/ 73120 w 330187"/>
              <a:gd name="connsiteY98" fmla="*/ 80477 h 330187"/>
              <a:gd name="connsiteX99" fmla="*/ 65762 w 330187"/>
              <a:gd name="connsiteY99" fmla="*/ 73120 h 330187"/>
              <a:gd name="connsiteX100" fmla="*/ 73120 w 330187"/>
              <a:gd name="connsiteY100" fmla="*/ 65762 h 330187"/>
              <a:gd name="connsiteX101" fmla="*/ 80477 w 330187"/>
              <a:gd name="connsiteY101" fmla="*/ 73120 h 330187"/>
              <a:gd name="connsiteX102" fmla="*/ 73120 w 330187"/>
              <a:gd name="connsiteY102" fmla="*/ 80477 h 330187"/>
              <a:gd name="connsiteX103" fmla="*/ 137961 w 330187"/>
              <a:gd name="connsiteY103" fmla="*/ 137961 h 330187"/>
              <a:gd name="connsiteX104" fmla="*/ 77258 w 330187"/>
              <a:gd name="connsiteY104" fmla="*/ 137961 h 330187"/>
              <a:gd name="connsiteX105" fmla="*/ 77258 w 330187"/>
              <a:gd name="connsiteY105" fmla="*/ 88203 h 330187"/>
              <a:gd name="connsiteX106" fmla="*/ 88203 w 330187"/>
              <a:gd name="connsiteY106" fmla="*/ 77258 h 330187"/>
              <a:gd name="connsiteX107" fmla="*/ 137973 w 330187"/>
              <a:gd name="connsiteY107" fmla="*/ 77258 h 330187"/>
              <a:gd name="connsiteX108" fmla="*/ 137973 w 330187"/>
              <a:gd name="connsiteY108" fmla="*/ 137961 h 330187"/>
              <a:gd name="connsiteX109" fmla="*/ 137961 w 330187"/>
              <a:gd name="connsiteY109" fmla="*/ 137961 h 330187"/>
              <a:gd name="connsiteX110" fmla="*/ 137961 w 330187"/>
              <a:gd name="connsiteY110" fmla="*/ 68981 h 330187"/>
              <a:gd name="connsiteX111" fmla="*/ 88203 w 330187"/>
              <a:gd name="connsiteY111" fmla="*/ 68981 h 330187"/>
              <a:gd name="connsiteX112" fmla="*/ 73120 w 330187"/>
              <a:gd name="connsiteY112" fmla="*/ 57484 h 330187"/>
              <a:gd name="connsiteX113" fmla="*/ 57484 w 330187"/>
              <a:gd name="connsiteY113" fmla="*/ 73120 h 330187"/>
              <a:gd name="connsiteX114" fmla="*/ 68981 w 330187"/>
              <a:gd name="connsiteY114" fmla="*/ 88203 h 330187"/>
              <a:gd name="connsiteX115" fmla="*/ 68981 w 330187"/>
              <a:gd name="connsiteY115" fmla="*/ 137973 h 330187"/>
              <a:gd name="connsiteX116" fmla="*/ 8278 w 330187"/>
              <a:gd name="connsiteY116" fmla="*/ 137973 h 330187"/>
              <a:gd name="connsiteX117" fmla="*/ 8278 w 330187"/>
              <a:gd name="connsiteY117" fmla="*/ 8278 h 330187"/>
              <a:gd name="connsiteX118" fmla="*/ 137961 w 330187"/>
              <a:gd name="connsiteY118" fmla="*/ 8278 h 330187"/>
              <a:gd name="connsiteX119" fmla="*/ 137961 w 330187"/>
              <a:gd name="connsiteY119" fmla="*/ 68981 h 330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330187" h="330187">
                <a:moveTo>
                  <a:pt x="188087" y="146239"/>
                </a:moveTo>
                <a:lnTo>
                  <a:pt x="326049" y="146239"/>
                </a:lnTo>
                <a:cubicBezTo>
                  <a:pt x="328337" y="146239"/>
                  <a:pt x="330188" y="144388"/>
                  <a:pt x="330188" y="142100"/>
                </a:cubicBezTo>
                <a:lnTo>
                  <a:pt x="330188" y="4139"/>
                </a:lnTo>
                <a:cubicBezTo>
                  <a:pt x="330188" y="1851"/>
                  <a:pt x="328337" y="0"/>
                  <a:pt x="326049" y="0"/>
                </a:cubicBezTo>
                <a:lnTo>
                  <a:pt x="188087" y="0"/>
                </a:lnTo>
                <a:cubicBezTo>
                  <a:pt x="185799" y="0"/>
                  <a:pt x="183949" y="1851"/>
                  <a:pt x="183949" y="4139"/>
                </a:cubicBezTo>
                <a:lnTo>
                  <a:pt x="183949" y="68981"/>
                </a:lnTo>
                <a:lnTo>
                  <a:pt x="146239" y="68981"/>
                </a:lnTo>
                <a:lnTo>
                  <a:pt x="146239" y="4139"/>
                </a:lnTo>
                <a:cubicBezTo>
                  <a:pt x="146239" y="1851"/>
                  <a:pt x="144388" y="0"/>
                  <a:pt x="142100" y="0"/>
                </a:cubicBezTo>
                <a:lnTo>
                  <a:pt x="4139" y="0"/>
                </a:lnTo>
                <a:cubicBezTo>
                  <a:pt x="1851" y="0"/>
                  <a:pt x="0" y="1851"/>
                  <a:pt x="0" y="4139"/>
                </a:cubicBezTo>
                <a:lnTo>
                  <a:pt x="0" y="142100"/>
                </a:lnTo>
                <a:cubicBezTo>
                  <a:pt x="0" y="144388"/>
                  <a:pt x="1851" y="146239"/>
                  <a:pt x="4139" y="146239"/>
                </a:cubicBezTo>
                <a:lnTo>
                  <a:pt x="68981" y="146239"/>
                </a:lnTo>
                <a:lnTo>
                  <a:pt x="68981" y="183949"/>
                </a:lnTo>
                <a:lnTo>
                  <a:pt x="4139" y="183949"/>
                </a:lnTo>
                <a:cubicBezTo>
                  <a:pt x="1851" y="183949"/>
                  <a:pt x="0" y="185799"/>
                  <a:pt x="0" y="188087"/>
                </a:cubicBezTo>
                <a:lnTo>
                  <a:pt x="0" y="326049"/>
                </a:lnTo>
                <a:cubicBezTo>
                  <a:pt x="0" y="328337"/>
                  <a:pt x="1851" y="330188"/>
                  <a:pt x="4139" y="330188"/>
                </a:cubicBezTo>
                <a:lnTo>
                  <a:pt x="142100" y="330188"/>
                </a:lnTo>
                <a:cubicBezTo>
                  <a:pt x="144388" y="330188"/>
                  <a:pt x="146239" y="328337"/>
                  <a:pt x="146239" y="326049"/>
                </a:cubicBezTo>
                <a:lnTo>
                  <a:pt x="146239" y="261207"/>
                </a:lnTo>
                <a:lnTo>
                  <a:pt x="183949" y="261207"/>
                </a:lnTo>
                <a:lnTo>
                  <a:pt x="183949" y="326049"/>
                </a:lnTo>
                <a:cubicBezTo>
                  <a:pt x="183949" y="328337"/>
                  <a:pt x="185799" y="330188"/>
                  <a:pt x="188087" y="330188"/>
                </a:cubicBezTo>
                <a:lnTo>
                  <a:pt x="326049" y="330188"/>
                </a:lnTo>
                <a:cubicBezTo>
                  <a:pt x="328337" y="330188"/>
                  <a:pt x="330188" y="328337"/>
                  <a:pt x="330188" y="326049"/>
                </a:cubicBezTo>
                <a:lnTo>
                  <a:pt x="330188" y="188087"/>
                </a:lnTo>
                <a:cubicBezTo>
                  <a:pt x="330188" y="185799"/>
                  <a:pt x="328337" y="183949"/>
                  <a:pt x="326049" y="183949"/>
                </a:cubicBezTo>
                <a:lnTo>
                  <a:pt x="188087" y="183949"/>
                </a:lnTo>
                <a:cubicBezTo>
                  <a:pt x="185799" y="183949"/>
                  <a:pt x="183949" y="185799"/>
                  <a:pt x="183949" y="188087"/>
                </a:cubicBezTo>
                <a:lnTo>
                  <a:pt x="183949" y="252929"/>
                </a:lnTo>
                <a:lnTo>
                  <a:pt x="146239" y="252929"/>
                </a:lnTo>
                <a:lnTo>
                  <a:pt x="146239" y="188087"/>
                </a:lnTo>
                <a:cubicBezTo>
                  <a:pt x="146239" y="185799"/>
                  <a:pt x="144388" y="183949"/>
                  <a:pt x="142100" y="183949"/>
                </a:cubicBezTo>
                <a:lnTo>
                  <a:pt x="77258" y="183949"/>
                </a:lnTo>
                <a:lnTo>
                  <a:pt x="77258" y="146239"/>
                </a:lnTo>
                <a:lnTo>
                  <a:pt x="142100" y="146239"/>
                </a:lnTo>
                <a:cubicBezTo>
                  <a:pt x="144388" y="146239"/>
                  <a:pt x="146239" y="144388"/>
                  <a:pt x="146239" y="142100"/>
                </a:cubicBezTo>
                <a:lnTo>
                  <a:pt x="146239" y="77258"/>
                </a:lnTo>
                <a:lnTo>
                  <a:pt x="183949" y="77258"/>
                </a:lnTo>
                <a:lnTo>
                  <a:pt x="183949" y="142100"/>
                </a:lnTo>
                <a:cubicBezTo>
                  <a:pt x="183949" y="144388"/>
                  <a:pt x="185799" y="146239"/>
                  <a:pt x="188087" y="146239"/>
                </a:cubicBezTo>
                <a:close/>
                <a:moveTo>
                  <a:pt x="192226" y="77258"/>
                </a:moveTo>
                <a:lnTo>
                  <a:pt x="258574" y="77258"/>
                </a:lnTo>
                <a:lnTo>
                  <a:pt x="242640" y="93193"/>
                </a:lnTo>
                <a:lnTo>
                  <a:pt x="248503" y="99045"/>
                </a:lnTo>
                <a:lnTo>
                  <a:pt x="274417" y="73120"/>
                </a:lnTo>
                <a:lnTo>
                  <a:pt x="248503" y="47206"/>
                </a:lnTo>
                <a:lnTo>
                  <a:pt x="242640" y="53058"/>
                </a:lnTo>
                <a:lnTo>
                  <a:pt x="258574" y="68992"/>
                </a:lnTo>
                <a:lnTo>
                  <a:pt x="192226" y="68992"/>
                </a:lnTo>
                <a:lnTo>
                  <a:pt x="192226" y="8278"/>
                </a:lnTo>
                <a:lnTo>
                  <a:pt x="321910" y="8278"/>
                </a:lnTo>
                <a:lnTo>
                  <a:pt x="321910" y="137961"/>
                </a:lnTo>
                <a:lnTo>
                  <a:pt x="192226" y="137961"/>
                </a:lnTo>
                <a:lnTo>
                  <a:pt x="192226" y="77258"/>
                </a:lnTo>
                <a:close/>
                <a:moveTo>
                  <a:pt x="192226" y="261207"/>
                </a:moveTo>
                <a:lnTo>
                  <a:pt x="241984" y="261207"/>
                </a:lnTo>
                <a:cubicBezTo>
                  <a:pt x="243801" y="267818"/>
                  <a:pt x="249883" y="272704"/>
                  <a:pt x="257068" y="272704"/>
                </a:cubicBezTo>
                <a:cubicBezTo>
                  <a:pt x="265691" y="272704"/>
                  <a:pt x="272704" y="265691"/>
                  <a:pt x="272704" y="257068"/>
                </a:cubicBezTo>
                <a:cubicBezTo>
                  <a:pt x="272704" y="248445"/>
                  <a:pt x="265691" y="241432"/>
                  <a:pt x="257068" y="241432"/>
                </a:cubicBezTo>
                <a:cubicBezTo>
                  <a:pt x="249883" y="241432"/>
                  <a:pt x="243812" y="246319"/>
                  <a:pt x="241984" y="252929"/>
                </a:cubicBezTo>
                <a:lnTo>
                  <a:pt x="192226" y="252929"/>
                </a:lnTo>
                <a:lnTo>
                  <a:pt x="192226" y="192226"/>
                </a:lnTo>
                <a:lnTo>
                  <a:pt x="321910" y="192226"/>
                </a:lnTo>
                <a:lnTo>
                  <a:pt x="321910" y="321910"/>
                </a:lnTo>
                <a:lnTo>
                  <a:pt x="192226" y="321910"/>
                </a:lnTo>
                <a:lnTo>
                  <a:pt x="192226" y="261207"/>
                </a:lnTo>
                <a:close/>
                <a:moveTo>
                  <a:pt x="249710" y="257068"/>
                </a:moveTo>
                <a:cubicBezTo>
                  <a:pt x="249710" y="253010"/>
                  <a:pt x="253010" y="249710"/>
                  <a:pt x="257068" y="249710"/>
                </a:cubicBezTo>
                <a:cubicBezTo>
                  <a:pt x="261126" y="249710"/>
                  <a:pt x="264426" y="253010"/>
                  <a:pt x="264426" y="257068"/>
                </a:cubicBezTo>
                <a:cubicBezTo>
                  <a:pt x="264426" y="261126"/>
                  <a:pt x="261126" y="264426"/>
                  <a:pt x="257068" y="264426"/>
                </a:cubicBezTo>
                <a:cubicBezTo>
                  <a:pt x="253010" y="264426"/>
                  <a:pt x="249710" y="261126"/>
                  <a:pt x="249710" y="257068"/>
                </a:cubicBezTo>
                <a:close/>
                <a:moveTo>
                  <a:pt x="73120" y="249710"/>
                </a:moveTo>
                <a:cubicBezTo>
                  <a:pt x="77178" y="249710"/>
                  <a:pt x="80477" y="253010"/>
                  <a:pt x="80477" y="257068"/>
                </a:cubicBezTo>
                <a:cubicBezTo>
                  <a:pt x="80477" y="261126"/>
                  <a:pt x="77178" y="264426"/>
                  <a:pt x="73120" y="264426"/>
                </a:cubicBezTo>
                <a:cubicBezTo>
                  <a:pt x="69061" y="264426"/>
                  <a:pt x="65762" y="261126"/>
                  <a:pt x="65762" y="257068"/>
                </a:cubicBezTo>
                <a:cubicBezTo>
                  <a:pt x="65762" y="253010"/>
                  <a:pt x="69061" y="249710"/>
                  <a:pt x="73120" y="249710"/>
                </a:cubicBezTo>
                <a:close/>
                <a:moveTo>
                  <a:pt x="137961" y="321910"/>
                </a:moveTo>
                <a:lnTo>
                  <a:pt x="8278" y="321910"/>
                </a:lnTo>
                <a:lnTo>
                  <a:pt x="8278" y="192226"/>
                </a:lnTo>
                <a:lnTo>
                  <a:pt x="68981" y="192226"/>
                </a:lnTo>
                <a:lnTo>
                  <a:pt x="68981" y="241984"/>
                </a:lnTo>
                <a:cubicBezTo>
                  <a:pt x="62359" y="243801"/>
                  <a:pt x="57484" y="249883"/>
                  <a:pt x="57484" y="257068"/>
                </a:cubicBezTo>
                <a:cubicBezTo>
                  <a:pt x="57484" y="265691"/>
                  <a:pt x="64497" y="272704"/>
                  <a:pt x="73120" y="272704"/>
                </a:cubicBezTo>
                <a:cubicBezTo>
                  <a:pt x="80305" y="272704"/>
                  <a:pt x="86375" y="267818"/>
                  <a:pt x="88203" y="261207"/>
                </a:cubicBezTo>
                <a:lnTo>
                  <a:pt x="137973" y="261207"/>
                </a:lnTo>
                <a:lnTo>
                  <a:pt x="137973" y="321910"/>
                </a:lnTo>
                <a:lnTo>
                  <a:pt x="137961" y="321910"/>
                </a:lnTo>
                <a:close/>
                <a:moveTo>
                  <a:pt x="137961" y="192226"/>
                </a:moveTo>
                <a:lnTo>
                  <a:pt x="137961" y="252918"/>
                </a:lnTo>
                <a:lnTo>
                  <a:pt x="88203" y="252918"/>
                </a:lnTo>
                <a:cubicBezTo>
                  <a:pt x="86755" y="247618"/>
                  <a:pt x="82558" y="243444"/>
                  <a:pt x="77258" y="241984"/>
                </a:cubicBezTo>
                <a:lnTo>
                  <a:pt x="77258" y="192226"/>
                </a:lnTo>
                <a:lnTo>
                  <a:pt x="137961" y="192226"/>
                </a:lnTo>
                <a:close/>
                <a:moveTo>
                  <a:pt x="73120" y="80477"/>
                </a:moveTo>
                <a:cubicBezTo>
                  <a:pt x="69061" y="80477"/>
                  <a:pt x="65762" y="77178"/>
                  <a:pt x="65762" y="73120"/>
                </a:cubicBezTo>
                <a:cubicBezTo>
                  <a:pt x="65762" y="69061"/>
                  <a:pt x="69061" y="65762"/>
                  <a:pt x="73120" y="65762"/>
                </a:cubicBezTo>
                <a:cubicBezTo>
                  <a:pt x="77178" y="65762"/>
                  <a:pt x="80477" y="69061"/>
                  <a:pt x="80477" y="73120"/>
                </a:cubicBezTo>
                <a:cubicBezTo>
                  <a:pt x="80477" y="77178"/>
                  <a:pt x="77178" y="80477"/>
                  <a:pt x="73120" y="80477"/>
                </a:cubicBezTo>
                <a:close/>
                <a:moveTo>
                  <a:pt x="137961" y="137961"/>
                </a:moveTo>
                <a:lnTo>
                  <a:pt x="77258" y="137961"/>
                </a:lnTo>
                <a:lnTo>
                  <a:pt x="77258" y="88203"/>
                </a:lnTo>
                <a:cubicBezTo>
                  <a:pt x="82558" y="86743"/>
                  <a:pt x="86743" y="82558"/>
                  <a:pt x="88203" y="77258"/>
                </a:cubicBezTo>
                <a:lnTo>
                  <a:pt x="137973" y="77258"/>
                </a:lnTo>
                <a:lnTo>
                  <a:pt x="137973" y="137961"/>
                </a:lnTo>
                <a:lnTo>
                  <a:pt x="137961" y="137961"/>
                </a:lnTo>
                <a:close/>
                <a:moveTo>
                  <a:pt x="137961" y="68981"/>
                </a:moveTo>
                <a:lnTo>
                  <a:pt x="88203" y="68981"/>
                </a:lnTo>
                <a:cubicBezTo>
                  <a:pt x="86387" y="62359"/>
                  <a:pt x="80317" y="57484"/>
                  <a:pt x="73120" y="57484"/>
                </a:cubicBezTo>
                <a:cubicBezTo>
                  <a:pt x="64497" y="57484"/>
                  <a:pt x="57484" y="64497"/>
                  <a:pt x="57484" y="73120"/>
                </a:cubicBezTo>
                <a:cubicBezTo>
                  <a:pt x="57484" y="80305"/>
                  <a:pt x="62359" y="86375"/>
                  <a:pt x="68981" y="88203"/>
                </a:cubicBezTo>
                <a:lnTo>
                  <a:pt x="68981" y="137973"/>
                </a:lnTo>
                <a:lnTo>
                  <a:pt x="8278" y="137973"/>
                </a:lnTo>
                <a:lnTo>
                  <a:pt x="8278" y="8278"/>
                </a:lnTo>
                <a:lnTo>
                  <a:pt x="137961" y="8278"/>
                </a:lnTo>
                <a:cubicBezTo>
                  <a:pt x="137961" y="8278"/>
                  <a:pt x="137961" y="68981"/>
                  <a:pt x="137961" y="68981"/>
                </a:cubicBezTo>
                <a:close/>
              </a:path>
            </a:pathLst>
          </a:custGeom>
          <a:solidFill>
            <a:srgbClr val="000000"/>
          </a:solidFill>
          <a:ln w="11311" cap="flat">
            <a:noFill/>
            <a:prstDash val="solid"/>
            <a:miter/>
          </a:ln>
        </p:spPr>
        <p:txBody>
          <a:bodyPr rtlCol="0" anchor="ctr"/>
          <a:lstStyle/>
          <a:p>
            <a:endParaRPr lang="en-US" sz="900"/>
          </a:p>
        </p:txBody>
      </p:sp>
      <p:sp>
        <p:nvSpPr>
          <p:cNvPr id="3" name="TextBox 2">
            <a:extLst>
              <a:ext uri="{FF2B5EF4-FFF2-40B4-BE49-F238E27FC236}">
                <a16:creationId xmlns:a16="http://schemas.microsoft.com/office/drawing/2014/main" id="{F77927D4-1DC0-4D25-F1CA-63F1B22265ED}"/>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rgbClr val="000000"/>
                </a:solidFill>
                <a:latin typeface="IBM Plex Sans" panose="020B0503050203000203" pitchFamily="34" charset="0"/>
                <a:ea typeface="+mj-ea"/>
                <a:cs typeface="+mj-cs"/>
                <a:sym typeface="IBM Plex Sans Light"/>
              </a:rPr>
              <a:t>#IBMTechXchange</a:t>
            </a:r>
          </a:p>
        </p:txBody>
      </p:sp>
    </p:spTree>
    <p:extLst>
      <p:ext uri="{BB962C8B-B14F-4D97-AF65-F5344CB8AC3E}">
        <p14:creationId xmlns:p14="http://schemas.microsoft.com/office/powerpoint/2010/main" val="546661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ext, half, left side imagery">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284125" y="283368"/>
            <a:ext cx="5523781" cy="6287294"/>
          </a:xfrm>
          <a:solidFill>
            <a:srgbClr val="E0E0E0"/>
          </a:solidFill>
        </p:spPr>
        <p:txBody>
          <a:bodyPr anchor="ctr"/>
          <a:lstStyle>
            <a:lvl1pPr algn="ctr">
              <a:defRPr>
                <a:solidFill>
                  <a:schemeClr val="tx1"/>
                </a:solidFill>
              </a:defRPr>
            </a:lvl1pPr>
          </a:lstStyle>
          <a:p>
            <a:r>
              <a:rPr lang="en-US"/>
              <a:t>Place imagery here</a:t>
            </a:r>
          </a:p>
        </p:txBody>
      </p:sp>
      <p:sp>
        <p:nvSpPr>
          <p:cNvPr id="4" name="Slide Number">
            <a:extLst>
              <a:ext uri="{FF2B5EF4-FFF2-40B4-BE49-F238E27FC236}">
                <a16:creationId xmlns:a16="http://schemas.microsoft.com/office/drawing/2014/main" id="{BCFA4843-2EEB-F757-826B-7080CBD95F05}"/>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6" name="Title 1">
            <a:extLst>
              <a:ext uri="{FF2B5EF4-FFF2-40B4-BE49-F238E27FC236}">
                <a16:creationId xmlns:a16="http://schemas.microsoft.com/office/drawing/2014/main" id="{1A4EF684-B51F-B632-828D-3BB5197236DB}"/>
              </a:ext>
            </a:extLst>
          </p:cNvPr>
          <p:cNvSpPr>
            <a:spLocks noGrp="1"/>
          </p:cNvSpPr>
          <p:nvPr>
            <p:ph type="title"/>
          </p:nvPr>
        </p:nvSpPr>
        <p:spPr>
          <a:xfrm>
            <a:off x="6384095" y="198287"/>
            <a:ext cx="5524575" cy="5800082"/>
          </a:xfrm>
        </p:spPr>
        <p:txBody>
          <a:bodyPr rIns="457200"/>
          <a:lstStyle>
            <a:lvl1pPr>
              <a:lnSpc>
                <a:spcPct val="100000"/>
              </a:lnSpc>
              <a:defRPr>
                <a:solidFill>
                  <a:schemeClr val="tx2"/>
                </a:solidFill>
              </a:defRPr>
            </a:lvl1pPr>
          </a:lstStyle>
          <a:p>
            <a:r>
              <a:rPr lang="en-US"/>
              <a:t>Click to edit Master title style</a:t>
            </a:r>
          </a:p>
        </p:txBody>
      </p:sp>
      <p:sp>
        <p:nvSpPr>
          <p:cNvPr id="2" name="TextBox 1">
            <a:extLst>
              <a:ext uri="{FF2B5EF4-FFF2-40B4-BE49-F238E27FC236}">
                <a16:creationId xmlns:a16="http://schemas.microsoft.com/office/drawing/2014/main" id="{8E62C993-EA66-A7A6-52A1-219678B89CD0}"/>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rgbClr val="000000"/>
                </a:solidFill>
                <a:latin typeface="IBM Plex Sans" panose="020B0503050203000203" pitchFamily="34" charset="0"/>
                <a:ea typeface="+mj-ea"/>
                <a:cs typeface="+mj-cs"/>
                <a:sym typeface="IBM Plex Sans Light"/>
              </a:rPr>
              <a:t>#IBMTechXchange</a:t>
            </a:r>
          </a:p>
        </p:txBody>
      </p:sp>
    </p:spTree>
    <p:extLst>
      <p:ext uri="{BB962C8B-B14F-4D97-AF65-F5344CB8AC3E}">
        <p14:creationId xmlns:p14="http://schemas.microsoft.com/office/powerpoint/2010/main" val="3305667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5AB957-260F-2A63-B4A0-B0802E23A18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3A254FF-723F-2A74-0BD0-0263F33E6C0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B7B075D-36E1-E49F-D4C2-FB749AE2F514}"/>
              </a:ext>
            </a:extLst>
          </p:cNvPr>
          <p:cNvSpPr>
            <a:spLocks noGrp="1"/>
          </p:cNvSpPr>
          <p:nvPr>
            <p:ph type="dt" sz="half" idx="10"/>
          </p:nvPr>
        </p:nvSpPr>
        <p:spPr/>
        <p:txBody>
          <a:bodyPr/>
          <a:lstStyle/>
          <a:p>
            <a:fld id="{C1064F87-A3FE-7D41-BA7F-E073D7C6AC88}" type="datetimeFigureOut">
              <a:rPr lang="en-US" smtClean="0"/>
              <a:t>3/24/2025</a:t>
            </a:fld>
            <a:endParaRPr lang="en-US"/>
          </a:p>
        </p:txBody>
      </p:sp>
      <p:sp>
        <p:nvSpPr>
          <p:cNvPr id="5" name="Footer Placeholder 4">
            <a:extLst>
              <a:ext uri="{FF2B5EF4-FFF2-40B4-BE49-F238E27FC236}">
                <a16:creationId xmlns:a16="http://schemas.microsoft.com/office/drawing/2014/main" id="{42590BFF-F3CB-F933-4D5F-CDB25D851F1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58A9EF4-FDC2-9DD1-1C4D-CE99718C9E51}"/>
              </a:ext>
            </a:extLst>
          </p:cNvPr>
          <p:cNvSpPr>
            <a:spLocks noGrp="1"/>
          </p:cNvSpPr>
          <p:nvPr>
            <p:ph type="sldNum" sz="quarter" idx="12"/>
          </p:nvPr>
        </p:nvSpPr>
        <p:spPr/>
        <p:txBody>
          <a:bodyPr/>
          <a:lstStyle/>
          <a:p>
            <a:fld id="{DED3338A-C6D4-DE4D-B610-199F7004D0E1}" type="slidenum">
              <a:rPr lang="en-US" smtClean="0"/>
              <a:t>‹#›</a:t>
            </a:fld>
            <a:endParaRPr lang="en-US"/>
          </a:p>
        </p:txBody>
      </p:sp>
    </p:spTree>
    <p:extLst>
      <p:ext uri="{BB962C8B-B14F-4D97-AF65-F5344CB8AC3E}">
        <p14:creationId xmlns:p14="http://schemas.microsoft.com/office/powerpoint/2010/main" val="108479766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descr="Place imagery here">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12192000" cy="6097588"/>
          </a:xfrm>
          <a:solidFill>
            <a:srgbClr val="E0E0E0"/>
          </a:solidFill>
        </p:spPr>
        <p:txBody>
          <a:bodyPr anchor="ctr"/>
          <a:lstStyle>
            <a:lvl1pPr algn="ctr">
              <a:defRPr>
                <a:solidFill>
                  <a:schemeClr val="accent5"/>
                </a:solidFill>
              </a:defRPr>
            </a:lvl1pPr>
          </a:lstStyle>
          <a:p>
            <a:r>
              <a:rPr lang="en-US"/>
              <a:t>Place imagery here</a:t>
            </a:r>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87963" y="6083300"/>
            <a:ext cx="2470906" cy="537147"/>
          </a:xfrm>
        </p:spPr>
        <p:txBody>
          <a:bodyPr anchor="b"/>
          <a:lstStyle>
            <a:lvl1pPr>
              <a:lnSpc>
                <a:spcPct val="110000"/>
              </a:lnSpc>
              <a:spcBef>
                <a:spcPts val="0"/>
              </a:spcBef>
              <a:defRPr sz="1200">
                <a:solidFill>
                  <a:schemeClr val="tx1"/>
                </a:solidFill>
              </a:defRPr>
            </a:lvl1pPr>
            <a:lvl2pPr marL="127990" indent="-127990">
              <a:lnSpc>
                <a:spcPct val="110000"/>
              </a:lnSpc>
              <a:spcBef>
                <a:spcPts val="0"/>
              </a:spcBef>
              <a:defRPr sz="1200">
                <a:solidFill>
                  <a:schemeClr val="tx1"/>
                </a:solidFill>
              </a:defRPr>
            </a:lvl2pPr>
            <a:lvl3pPr marL="255981" indent="-127990">
              <a:lnSpc>
                <a:spcPct val="110000"/>
              </a:lnSpc>
              <a:spcBef>
                <a:spcPts val="0"/>
              </a:spcBef>
              <a:defRPr sz="1200">
                <a:solidFill>
                  <a:schemeClr val="tx1"/>
                </a:solidFill>
              </a:defRPr>
            </a:lvl3pPr>
            <a:lvl4pPr marL="383971" indent="-127990">
              <a:lnSpc>
                <a:spcPct val="110000"/>
              </a:lnSpc>
              <a:spcBef>
                <a:spcPts val="0"/>
              </a:spcBef>
              <a:defRPr sz="12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3335316" y="6083300"/>
            <a:ext cx="2473384" cy="538507"/>
          </a:xfrm>
        </p:spPr>
        <p:txBody>
          <a:bodyPr anchor="b"/>
          <a:lstStyle>
            <a:lvl1pPr>
              <a:lnSpc>
                <a:spcPct val="110000"/>
              </a:lnSpc>
              <a:spcBef>
                <a:spcPts val="0"/>
              </a:spcBef>
              <a:defRPr sz="1200">
                <a:solidFill>
                  <a:schemeClr val="tx1"/>
                </a:solidFill>
              </a:defRPr>
            </a:lvl1pPr>
            <a:lvl2pPr marL="127990" indent="-127990">
              <a:lnSpc>
                <a:spcPct val="110000"/>
              </a:lnSpc>
              <a:spcBef>
                <a:spcPts val="0"/>
              </a:spcBef>
              <a:defRPr sz="1200">
                <a:solidFill>
                  <a:schemeClr val="tx1"/>
                </a:solidFill>
              </a:defRPr>
            </a:lvl2pPr>
            <a:lvl3pPr marL="255981" indent="-127990">
              <a:lnSpc>
                <a:spcPct val="110000"/>
              </a:lnSpc>
              <a:spcBef>
                <a:spcPts val="0"/>
              </a:spcBef>
              <a:defRPr sz="1200">
                <a:solidFill>
                  <a:schemeClr val="tx1"/>
                </a:solidFill>
              </a:defRPr>
            </a:lvl3pPr>
            <a:lvl4pPr marL="383971" indent="-127990">
              <a:lnSpc>
                <a:spcPct val="110000"/>
              </a:lnSpc>
              <a:spcBef>
                <a:spcPts val="0"/>
              </a:spcBef>
              <a:defRPr sz="12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descr="IBM 8-bar logo">
            <a:extLst>
              <a:ext uri="{FF2B5EF4-FFF2-40B4-BE49-F238E27FC236}">
                <a16:creationId xmlns:a16="http://schemas.microsoft.com/office/drawing/2014/main" id="{09935B61-CCB4-2F0F-6720-2DE3FDE1A05B}"/>
              </a:ext>
            </a:extLst>
          </p:cNvPr>
          <p:cNvPicPr>
            <a:picLocks noChangeAspect="1"/>
          </p:cNvPicPr>
          <p:nvPr userDrawn="1"/>
        </p:nvPicPr>
        <p:blipFill>
          <a:blip r:embed="rId2"/>
          <a:stretch>
            <a:fillRect/>
          </a:stretch>
        </p:blipFill>
        <p:spPr>
          <a:xfrm>
            <a:off x="11185445" y="6288882"/>
            <a:ext cx="769062" cy="286200"/>
          </a:xfrm>
          <a:prstGeom prst="rect">
            <a:avLst/>
          </a:prstGeom>
        </p:spPr>
      </p:pic>
      <p:sp>
        <p:nvSpPr>
          <p:cNvPr id="10" name="Title 1">
            <a:extLst>
              <a:ext uri="{FF2B5EF4-FFF2-40B4-BE49-F238E27FC236}">
                <a16:creationId xmlns:a16="http://schemas.microsoft.com/office/drawing/2014/main" id="{3F3BE6BB-D7C0-3C9B-44F9-5D564E48D8B6}"/>
              </a:ext>
            </a:extLst>
          </p:cNvPr>
          <p:cNvSpPr>
            <a:spLocks noGrp="1"/>
          </p:cNvSpPr>
          <p:nvPr>
            <p:ph type="title"/>
          </p:nvPr>
        </p:nvSpPr>
        <p:spPr>
          <a:xfrm>
            <a:off x="287963" y="155575"/>
            <a:ext cx="5049878" cy="3654425"/>
          </a:xfrm>
        </p:spPr>
        <p:txBody>
          <a:bodyPr/>
          <a:lstStyle>
            <a:lvl1pPr>
              <a:lnSpc>
                <a:spcPct val="100000"/>
              </a:lnSpc>
              <a:defRPr sz="4199">
                <a:solidFill>
                  <a:schemeClr val="tx2"/>
                </a:solidFill>
              </a:defRPr>
            </a:lvl1pPr>
          </a:lstStyle>
          <a:p>
            <a:r>
              <a:rPr lang="en-US"/>
              <a:t>Click to edit Master title style</a:t>
            </a:r>
          </a:p>
        </p:txBody>
      </p:sp>
    </p:spTree>
    <p:extLst>
      <p:ext uri="{BB962C8B-B14F-4D97-AF65-F5344CB8AC3E}">
        <p14:creationId xmlns:p14="http://schemas.microsoft.com/office/powerpoint/2010/main" val="637678747"/>
      </p:ext>
    </p:extLst>
  </p:cSld>
  <p:clrMapOvr>
    <a:masterClrMapping/>
  </p:clrMapOvr>
  <p:transition spd="med"/>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Section, callout,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50545"/>
            <a:ext cx="2474590" cy="762794"/>
          </a:xfrm>
        </p:spPr>
        <p:txBody>
          <a:bodyPr/>
          <a:lstStyle>
            <a:lvl1pPr>
              <a:lnSpc>
                <a:spcPct val="110000"/>
              </a:lnSpc>
              <a:defRPr sz="1400">
                <a:solidFill>
                  <a:schemeClr val="tx2"/>
                </a:solidFill>
              </a:defRPr>
            </a:lvl1pPr>
          </a:lstStyle>
          <a:p>
            <a:r>
              <a:rPr lang="en-US"/>
              <a:t>Click to edit Master title style</a:t>
            </a:r>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6380919" y="284957"/>
            <a:ext cx="5523781" cy="6287294"/>
          </a:xfrm>
          <a:solidFill>
            <a:srgbClr val="E0E0E0"/>
          </a:solidFill>
        </p:spPr>
        <p:txBody>
          <a:bodyPr anchor="ctr"/>
          <a:lstStyle>
            <a:lvl1pPr algn="ctr">
              <a:defRPr>
                <a:solidFill>
                  <a:schemeClr val="accent5"/>
                </a:solidFill>
              </a:defRPr>
            </a:lvl1pPr>
          </a:lstStyle>
          <a:p>
            <a:r>
              <a:rPr lang="en-US"/>
              <a:t>Place imagery here</a:t>
            </a:r>
          </a:p>
        </p:txBody>
      </p:sp>
      <p:sp>
        <p:nvSpPr>
          <p:cNvPr id="3" name="Text Placeholder 10">
            <a:extLst>
              <a:ext uri="{FF2B5EF4-FFF2-40B4-BE49-F238E27FC236}">
                <a16:creationId xmlns:a16="http://schemas.microsoft.com/office/drawing/2014/main" id="{3ECAFCBD-74B8-193E-870C-66ED84B49CD5}"/>
              </a:ext>
            </a:extLst>
          </p:cNvPr>
          <p:cNvSpPr>
            <a:spLocks noGrp="1"/>
          </p:cNvSpPr>
          <p:nvPr>
            <p:ph type="body" sz="quarter" idx="17"/>
          </p:nvPr>
        </p:nvSpPr>
        <p:spPr>
          <a:xfrm>
            <a:off x="291017" y="2049999"/>
            <a:ext cx="5523781" cy="3948370"/>
          </a:xfrm>
        </p:spPr>
        <p:txBody>
          <a:bodyPr/>
          <a:lstStyle>
            <a:lvl1pPr>
              <a:spcBef>
                <a:spcPts val="0"/>
              </a:spcBef>
              <a:spcAft>
                <a:spcPts val="1800"/>
              </a:spcAft>
              <a:defRPr sz="1800">
                <a:solidFill>
                  <a:schemeClr val="tx1"/>
                </a:solidFill>
              </a:defRPr>
            </a:lvl1pPr>
            <a:lvl2pPr marL="127990" indent="-127990">
              <a:spcBef>
                <a:spcPts val="0"/>
              </a:spcBef>
              <a:spcAft>
                <a:spcPts val="1800"/>
              </a:spcAft>
              <a:defRPr sz="1800">
                <a:solidFill>
                  <a:schemeClr val="tx1"/>
                </a:solidFill>
              </a:defRPr>
            </a:lvl2pPr>
            <a:lvl3pPr marL="255981" indent="-127990">
              <a:spcBef>
                <a:spcPts val="0"/>
              </a:spcBef>
              <a:spcAft>
                <a:spcPts val="1800"/>
              </a:spcAft>
              <a:defRPr sz="1800">
                <a:solidFill>
                  <a:schemeClr val="tx1"/>
                </a:solidFill>
              </a:defRPr>
            </a:lvl3pPr>
            <a:lvl4pPr marL="383971" indent="-127990">
              <a:spcBef>
                <a:spcPts val="0"/>
              </a:spcBef>
              <a:spcAft>
                <a:spcPts val="1800"/>
              </a:spcAft>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1">
            <a:extLst>
              <a:ext uri="{FF2B5EF4-FFF2-40B4-BE49-F238E27FC236}">
                <a16:creationId xmlns:a16="http://schemas.microsoft.com/office/drawing/2014/main" id="{3173B9F7-2E22-2E34-07D9-72BDB8C0D3B8}"/>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Tree>
    <p:extLst>
      <p:ext uri="{BB962C8B-B14F-4D97-AF65-F5344CB8AC3E}">
        <p14:creationId xmlns:p14="http://schemas.microsoft.com/office/powerpoint/2010/main" val="2645593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ction, callouts, big image with margi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50545"/>
            <a:ext cx="2474590" cy="762794"/>
          </a:xfrm>
        </p:spPr>
        <p:txBody>
          <a:bodyPr/>
          <a:lstStyle>
            <a:lvl1pPr>
              <a:lnSpc>
                <a:spcPct val="110000"/>
              </a:lnSpc>
              <a:defRPr sz="1400">
                <a:solidFill>
                  <a:schemeClr val="tx2"/>
                </a:solidFill>
              </a:defRPr>
            </a:lvl1pPr>
          </a:lstStyle>
          <a:p>
            <a:r>
              <a:rPr lang="en-US"/>
              <a:t>Click to edit Master title style</a:t>
            </a:r>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3333316" y="282576"/>
            <a:ext cx="8574559" cy="6289675"/>
          </a:xfrm>
          <a:solidFill>
            <a:srgbClr val="E0E0E0"/>
          </a:solidFill>
        </p:spPr>
        <p:txBody>
          <a:bodyPr anchor="ctr"/>
          <a:lstStyle>
            <a:lvl1pPr algn="ctr">
              <a:defRPr>
                <a:solidFill>
                  <a:schemeClr val="accent5"/>
                </a:solidFill>
              </a:defRPr>
            </a:lvl1pPr>
          </a:lstStyle>
          <a:p>
            <a:r>
              <a:rPr lang="en-US"/>
              <a:t>Place imagery here</a:t>
            </a:r>
          </a:p>
        </p:txBody>
      </p:sp>
      <p:sp>
        <p:nvSpPr>
          <p:cNvPr id="5" name="Text Placeholder 5">
            <a:extLst>
              <a:ext uri="{FF2B5EF4-FFF2-40B4-BE49-F238E27FC236}">
                <a16:creationId xmlns:a16="http://schemas.microsoft.com/office/drawing/2014/main" id="{2F1062D6-5670-E376-5181-FACE84388D3D}"/>
              </a:ext>
            </a:extLst>
          </p:cNvPr>
          <p:cNvSpPr>
            <a:spLocks noGrp="1"/>
          </p:cNvSpPr>
          <p:nvPr>
            <p:ph type="body" sz="quarter" idx="15"/>
          </p:nvPr>
        </p:nvSpPr>
        <p:spPr>
          <a:xfrm>
            <a:off x="287999" y="1670659"/>
            <a:ext cx="2477765" cy="4327710"/>
          </a:xfrm>
        </p:spPr>
        <p:txBody>
          <a:bodyPr/>
          <a:lstStyle>
            <a:lvl1pPr>
              <a:lnSpc>
                <a:spcPct val="110000"/>
              </a:lnSpc>
              <a:spcBef>
                <a:spcPts val="0"/>
              </a:spcBef>
              <a:spcAft>
                <a:spcPts val="1800"/>
              </a:spcAft>
              <a:defRPr sz="1800">
                <a:solidFill>
                  <a:schemeClr val="tx1"/>
                </a:solidFill>
              </a:defRPr>
            </a:lvl1pPr>
            <a:lvl2pPr marL="127990" indent="-127990">
              <a:lnSpc>
                <a:spcPct val="110000"/>
              </a:lnSpc>
              <a:spcBef>
                <a:spcPts val="0"/>
              </a:spcBef>
              <a:spcAft>
                <a:spcPts val="1800"/>
              </a:spcAft>
              <a:defRPr sz="1800">
                <a:solidFill>
                  <a:schemeClr val="tx1"/>
                </a:solidFill>
              </a:defRPr>
            </a:lvl2pPr>
            <a:lvl3pPr marL="255981" indent="-127990">
              <a:lnSpc>
                <a:spcPct val="110000"/>
              </a:lnSpc>
              <a:spcBef>
                <a:spcPts val="0"/>
              </a:spcBef>
              <a:spcAft>
                <a:spcPts val="1800"/>
              </a:spcAft>
              <a:defRPr sz="1800">
                <a:solidFill>
                  <a:schemeClr val="tx1"/>
                </a:solidFill>
              </a:defRPr>
            </a:lvl3pPr>
            <a:lvl4pPr marL="383971" indent="-127990">
              <a:lnSpc>
                <a:spcPct val="110000"/>
              </a:lnSpc>
              <a:spcBef>
                <a:spcPts val="0"/>
              </a:spcBef>
              <a:spcAft>
                <a:spcPts val="1800"/>
              </a:spcAft>
              <a:defRPr sz="18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1">
            <a:extLst>
              <a:ext uri="{FF2B5EF4-FFF2-40B4-BE49-F238E27FC236}">
                <a16:creationId xmlns:a16="http://schemas.microsoft.com/office/drawing/2014/main" id="{7A89EF34-F2E4-1534-281A-F12601CCE830}"/>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Tree>
    <p:extLst>
      <p:ext uri="{BB962C8B-B14F-4D97-AF65-F5344CB8AC3E}">
        <p14:creationId xmlns:p14="http://schemas.microsoft.com/office/powerpoint/2010/main" val="3207664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image with margins">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287300" y="1714500"/>
            <a:ext cx="11617400" cy="4857750"/>
          </a:xfrm>
          <a:solidFill>
            <a:srgbClr val="E0E0E0"/>
          </a:solidFill>
        </p:spPr>
        <p:txBody>
          <a:bodyPr anchor="ctr"/>
          <a:lstStyle>
            <a:lvl1pPr algn="ctr">
              <a:defRPr>
                <a:solidFill>
                  <a:schemeClr val="accent5"/>
                </a:solidFill>
              </a:defRPr>
            </a:lvl1pPr>
          </a:lstStyle>
          <a:p>
            <a:r>
              <a:rPr lang="en-US"/>
              <a:t>Place imagery here</a:t>
            </a:r>
          </a:p>
        </p:txBody>
      </p:sp>
      <p:sp>
        <p:nvSpPr>
          <p:cNvPr id="3" name="Title 1">
            <a:extLst>
              <a:ext uri="{FF2B5EF4-FFF2-40B4-BE49-F238E27FC236}">
                <a16:creationId xmlns:a16="http://schemas.microsoft.com/office/drawing/2014/main" id="{63BB8FDD-3412-E9EE-8A7C-A6A76F2B68D8}"/>
              </a:ext>
            </a:extLst>
          </p:cNvPr>
          <p:cNvSpPr>
            <a:spLocks noGrp="1"/>
          </p:cNvSpPr>
          <p:nvPr>
            <p:ph type="title"/>
          </p:nvPr>
        </p:nvSpPr>
        <p:spPr>
          <a:xfrm>
            <a:off x="268951" y="198288"/>
            <a:ext cx="11635749" cy="1237108"/>
          </a:xfrm>
        </p:spPr>
        <p:txBody>
          <a:bodyPr rIns="457200"/>
          <a:lstStyle>
            <a:lvl1pPr>
              <a:lnSpc>
                <a:spcPct val="100000"/>
              </a:lnSpc>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1192272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Images grid">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3050116" y="450"/>
            <a:ext cx="6092693" cy="3057987"/>
          </a:xfrm>
          <a:solidFill>
            <a:srgbClr val="E0E0E0"/>
          </a:solidFill>
        </p:spPr>
        <p:txBody>
          <a:bodyPr anchor="ctr"/>
          <a:lstStyle>
            <a:lvl1pPr algn="ctr">
              <a:defRPr>
                <a:solidFill>
                  <a:schemeClr val="accent5"/>
                </a:solidFill>
              </a:defRPr>
            </a:lvl1pPr>
          </a:lstStyle>
          <a:p>
            <a:r>
              <a:rPr lang="en-US"/>
              <a:t>Place imagery here</a:t>
            </a:r>
          </a:p>
        </p:txBody>
      </p:sp>
      <p:sp>
        <p:nvSpPr>
          <p:cNvPr id="11" name="Picture Placeholder 10">
            <a:extLst>
              <a:ext uri="{FF2B5EF4-FFF2-40B4-BE49-F238E27FC236}">
                <a16:creationId xmlns:a16="http://schemas.microsoft.com/office/drawing/2014/main" id="{7B9CB0EE-399D-E7B8-85E6-488055A857C4}"/>
              </a:ext>
            </a:extLst>
          </p:cNvPr>
          <p:cNvSpPr>
            <a:spLocks noGrp="1"/>
          </p:cNvSpPr>
          <p:nvPr>
            <p:ph type="pic" sz="quarter" idx="19" hasCustomPrompt="1"/>
          </p:nvPr>
        </p:nvSpPr>
        <p:spPr>
          <a:xfrm>
            <a:off x="794" y="3058437"/>
            <a:ext cx="3038393" cy="3040298"/>
          </a:xfrm>
          <a:solidFill>
            <a:srgbClr val="E0E0E0"/>
          </a:solidFill>
        </p:spPr>
        <p:txBody>
          <a:bodyPr anchor="ctr"/>
          <a:lstStyle>
            <a:lvl1pPr algn="ctr">
              <a:defRPr>
                <a:solidFill>
                  <a:schemeClr val="accent5"/>
                </a:solidFill>
              </a:defRPr>
            </a:lvl1pPr>
          </a:lstStyle>
          <a:p>
            <a:r>
              <a:rPr lang="en-US"/>
              <a:t>Place imagery here</a:t>
            </a:r>
          </a:p>
        </p:txBody>
      </p:sp>
      <p:sp>
        <p:nvSpPr>
          <p:cNvPr id="12" name="Picture Placeholder 10">
            <a:extLst>
              <a:ext uri="{FF2B5EF4-FFF2-40B4-BE49-F238E27FC236}">
                <a16:creationId xmlns:a16="http://schemas.microsoft.com/office/drawing/2014/main" id="{006E546E-2AFE-C74E-3532-5D6612A3AD87}"/>
              </a:ext>
            </a:extLst>
          </p:cNvPr>
          <p:cNvSpPr>
            <a:spLocks noGrp="1"/>
          </p:cNvSpPr>
          <p:nvPr>
            <p:ph type="pic" sz="quarter" idx="20" hasCustomPrompt="1"/>
          </p:nvPr>
        </p:nvSpPr>
        <p:spPr>
          <a:xfrm>
            <a:off x="6110647" y="3058437"/>
            <a:ext cx="6080559" cy="3040298"/>
          </a:xfrm>
          <a:solidFill>
            <a:srgbClr val="E0E0E0"/>
          </a:solidFill>
        </p:spPr>
        <p:txBody>
          <a:bodyPr anchor="ctr"/>
          <a:lstStyle>
            <a:lvl1pPr algn="ctr">
              <a:defRPr>
                <a:solidFill>
                  <a:schemeClr val="accent5"/>
                </a:solidFill>
              </a:defRPr>
            </a:lvl1pPr>
          </a:lstStyle>
          <a:p>
            <a:r>
              <a:rPr lang="en-US"/>
              <a:t>Place imagery here</a:t>
            </a:r>
          </a:p>
        </p:txBody>
      </p:sp>
      <p:sp>
        <p:nvSpPr>
          <p:cNvPr id="3" name="Title 1">
            <a:extLst>
              <a:ext uri="{FF2B5EF4-FFF2-40B4-BE49-F238E27FC236}">
                <a16:creationId xmlns:a16="http://schemas.microsoft.com/office/drawing/2014/main" id="{63BB8FDD-3412-E9EE-8A7C-A6A76F2B68D8}"/>
              </a:ext>
            </a:extLst>
          </p:cNvPr>
          <p:cNvSpPr>
            <a:spLocks noGrp="1"/>
          </p:cNvSpPr>
          <p:nvPr>
            <p:ph type="title"/>
          </p:nvPr>
        </p:nvSpPr>
        <p:spPr>
          <a:xfrm>
            <a:off x="268952" y="198288"/>
            <a:ext cx="2492939" cy="1516213"/>
          </a:xfrm>
        </p:spPr>
        <p:txBody>
          <a:bodyPr rIns="457200"/>
          <a:lstStyle>
            <a:lvl1pPr>
              <a:lnSpc>
                <a:spcPct val="100000"/>
              </a:lnSpc>
              <a:defRPr>
                <a:solidFill>
                  <a:schemeClr val="tx2"/>
                </a:solidFill>
              </a:defRPr>
            </a:lvl1pPr>
          </a:lstStyle>
          <a:p>
            <a:r>
              <a:rPr lang="en-US"/>
              <a:t>Click to edit Master title style</a:t>
            </a:r>
          </a:p>
        </p:txBody>
      </p:sp>
      <p:sp>
        <p:nvSpPr>
          <p:cNvPr id="6" name="Text Placeholder 10">
            <a:extLst>
              <a:ext uri="{FF2B5EF4-FFF2-40B4-BE49-F238E27FC236}">
                <a16:creationId xmlns:a16="http://schemas.microsoft.com/office/drawing/2014/main" id="{E0DA1707-6C7E-1724-4E62-628D2A33B386}"/>
              </a:ext>
            </a:extLst>
          </p:cNvPr>
          <p:cNvSpPr>
            <a:spLocks noGrp="1"/>
          </p:cNvSpPr>
          <p:nvPr>
            <p:ph type="body" sz="quarter" idx="17"/>
          </p:nvPr>
        </p:nvSpPr>
        <p:spPr>
          <a:xfrm>
            <a:off x="3335036" y="3429000"/>
            <a:ext cx="2479762" cy="2569369"/>
          </a:xfrm>
        </p:spPr>
        <p:txBody>
          <a:bodyPr/>
          <a:lstStyle>
            <a:lvl1pPr>
              <a:spcBef>
                <a:spcPts val="0"/>
              </a:spcBef>
              <a:spcAft>
                <a:spcPts val="1800"/>
              </a:spcAft>
              <a:defRPr sz="1800">
                <a:solidFill>
                  <a:schemeClr val="tx1"/>
                </a:solidFill>
              </a:defRPr>
            </a:lvl1pPr>
            <a:lvl2pPr marL="127990" indent="-127990">
              <a:spcBef>
                <a:spcPts val="0"/>
              </a:spcBef>
              <a:spcAft>
                <a:spcPts val="1800"/>
              </a:spcAft>
              <a:defRPr sz="1800">
                <a:solidFill>
                  <a:schemeClr val="tx1"/>
                </a:solidFill>
              </a:defRPr>
            </a:lvl2pPr>
            <a:lvl3pPr marL="255981" indent="-127990">
              <a:spcBef>
                <a:spcPts val="0"/>
              </a:spcBef>
              <a:spcAft>
                <a:spcPts val="1800"/>
              </a:spcAft>
              <a:defRPr sz="1800">
                <a:solidFill>
                  <a:schemeClr val="tx1"/>
                </a:solidFill>
              </a:defRPr>
            </a:lvl3pPr>
            <a:lvl4pPr marL="383971" indent="-127990">
              <a:spcBef>
                <a:spcPts val="0"/>
              </a:spcBef>
              <a:spcAft>
                <a:spcPts val="1800"/>
              </a:spcAft>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10">
            <a:extLst>
              <a:ext uri="{FF2B5EF4-FFF2-40B4-BE49-F238E27FC236}">
                <a16:creationId xmlns:a16="http://schemas.microsoft.com/office/drawing/2014/main" id="{6678E61A-FAE0-02C2-9E52-B553A1B787BE}"/>
              </a:ext>
            </a:extLst>
          </p:cNvPr>
          <p:cNvSpPr>
            <a:spLocks noGrp="1"/>
          </p:cNvSpPr>
          <p:nvPr>
            <p:ph type="body" sz="quarter" idx="18"/>
          </p:nvPr>
        </p:nvSpPr>
        <p:spPr>
          <a:xfrm>
            <a:off x="9428522" y="247895"/>
            <a:ext cx="2479762" cy="2569369"/>
          </a:xfrm>
        </p:spPr>
        <p:txBody>
          <a:bodyPr/>
          <a:lstStyle>
            <a:lvl1pPr>
              <a:spcBef>
                <a:spcPts val="0"/>
              </a:spcBef>
              <a:spcAft>
                <a:spcPts val="1800"/>
              </a:spcAft>
              <a:defRPr sz="1800">
                <a:solidFill>
                  <a:schemeClr val="tx1"/>
                </a:solidFill>
              </a:defRPr>
            </a:lvl1pPr>
            <a:lvl2pPr marL="127990" indent="-127990">
              <a:spcBef>
                <a:spcPts val="0"/>
              </a:spcBef>
              <a:spcAft>
                <a:spcPts val="1800"/>
              </a:spcAft>
              <a:defRPr sz="1800">
                <a:solidFill>
                  <a:schemeClr val="tx1"/>
                </a:solidFill>
              </a:defRPr>
            </a:lvl2pPr>
            <a:lvl3pPr marL="255981" indent="-127990">
              <a:spcBef>
                <a:spcPts val="0"/>
              </a:spcBef>
              <a:spcAft>
                <a:spcPts val="1800"/>
              </a:spcAft>
              <a:defRPr sz="1800">
                <a:solidFill>
                  <a:schemeClr val="tx1"/>
                </a:solidFill>
              </a:defRPr>
            </a:lvl3pPr>
            <a:lvl4pPr marL="383971" indent="-127990">
              <a:spcBef>
                <a:spcPts val="0"/>
              </a:spcBef>
              <a:spcAft>
                <a:spcPts val="1800"/>
              </a:spcAft>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1">
            <a:extLst>
              <a:ext uri="{FF2B5EF4-FFF2-40B4-BE49-F238E27FC236}">
                <a16:creationId xmlns:a16="http://schemas.microsoft.com/office/drawing/2014/main" id="{D63D1EFE-4D07-775A-BAD0-C2C3361DC918}"/>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
        <p:nvSpPr>
          <p:cNvPr id="2" name="TextBox 1">
            <a:extLst>
              <a:ext uri="{FF2B5EF4-FFF2-40B4-BE49-F238E27FC236}">
                <a16:creationId xmlns:a16="http://schemas.microsoft.com/office/drawing/2014/main" id="{D5CFFD82-9034-6841-A264-E93896860B95}"/>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rgbClr val="000000"/>
                </a:solidFill>
                <a:latin typeface="IBM Plex Sans" panose="020B0503050203000203" pitchFamily="34" charset="0"/>
                <a:ea typeface="+mj-ea"/>
                <a:cs typeface="+mj-cs"/>
                <a:sym typeface="IBM Plex Sans Light"/>
              </a:rPr>
              <a:t>#IBMTechXchange</a:t>
            </a:r>
          </a:p>
        </p:txBody>
      </p:sp>
      <p:sp>
        <p:nvSpPr>
          <p:cNvPr id="7" name="Slide Number">
            <a:extLst>
              <a:ext uri="{FF2B5EF4-FFF2-40B4-BE49-F238E27FC236}">
                <a16:creationId xmlns:a16="http://schemas.microsoft.com/office/drawing/2014/main" id="{2E66751B-C9E7-0914-79D8-7033F4FB7B4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008144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Image with margins">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84126" y="284957"/>
            <a:ext cx="11620574" cy="6290468"/>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3723312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Left side text, cyan+whit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DF3BA29-E81F-2784-6F22-55C9D69D735C}"/>
              </a:ext>
            </a:extLst>
          </p:cNvPr>
          <p:cNvSpPr>
            <a:spLocks/>
          </p:cNvSpPr>
          <p:nvPr userDrawn="1"/>
        </p:nvSpPr>
        <p:spPr bwMode="auto">
          <a:xfrm>
            <a:off x="0" y="-1"/>
            <a:ext cx="3047604" cy="6858001"/>
          </a:xfrm>
          <a:prstGeom prst="rect">
            <a:avLst/>
          </a:prstGeom>
          <a:solidFill>
            <a:schemeClr val="bg2"/>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60952" tIns="60952" rIns="60952" bIns="60952" numCol="1" rtlCol="0" anchor="t" anchorCtr="0" compatLnSpc="1">
            <a:prstTxWarp prst="textNoShape">
              <a:avLst/>
            </a:prstTxWarp>
          </a:bodyPr>
          <a:lstStyle/>
          <a:p>
            <a:pPr defTabSz="609463" fontAlgn="base">
              <a:spcBef>
                <a:spcPct val="0"/>
              </a:spcBef>
              <a:spcAft>
                <a:spcPct val="0"/>
              </a:spcAft>
            </a:pPr>
            <a:endParaRPr lang="en-US" sz="933">
              <a:solidFill>
                <a:schemeClr val="bg1"/>
              </a:solidFill>
            </a:endParaRPr>
          </a:p>
        </p:txBody>
      </p:sp>
      <p:sp>
        <p:nvSpPr>
          <p:cNvPr id="3" name="Slide Number Placeholder 2">
            <a:extLst>
              <a:ext uri="{FF2B5EF4-FFF2-40B4-BE49-F238E27FC236}">
                <a16:creationId xmlns:a16="http://schemas.microsoft.com/office/drawing/2014/main" id="{EFF199AD-99F5-8A31-D55D-6EA7FE65BF0B}"/>
              </a:ext>
            </a:extLst>
          </p:cNvPr>
          <p:cNvSpPr>
            <a:spLocks noGrp="1"/>
          </p:cNvSpPr>
          <p:nvPr>
            <p:ph type="sldNum" sz="quarter" idx="10"/>
          </p:nvPr>
        </p:nvSpPr>
        <p:spPr/>
        <p:txBody>
          <a:bodyPr/>
          <a:lstStyle/>
          <a:p>
            <a:fld id="{86CB4B4D-7CA3-9044-876B-883B54F8677D}" type="slidenum">
              <a:rPr lang="en-US" smtClean="0"/>
              <a:pPr/>
              <a:t>‹#›</a:t>
            </a:fld>
            <a:endParaRPr lang="en-US"/>
          </a:p>
        </p:txBody>
      </p:sp>
      <p:sp>
        <p:nvSpPr>
          <p:cNvPr id="7" name="Text Placeholder 4">
            <a:extLst>
              <a:ext uri="{FF2B5EF4-FFF2-40B4-BE49-F238E27FC236}">
                <a16:creationId xmlns:a16="http://schemas.microsoft.com/office/drawing/2014/main" id="{B46CC3A1-4537-FC29-D1E2-9858E5E2B37B}"/>
              </a:ext>
            </a:extLst>
          </p:cNvPr>
          <p:cNvSpPr>
            <a:spLocks noGrp="1"/>
          </p:cNvSpPr>
          <p:nvPr>
            <p:ph type="body" sz="quarter" idx="12"/>
          </p:nvPr>
        </p:nvSpPr>
        <p:spPr>
          <a:xfrm>
            <a:off x="287999" y="1717768"/>
            <a:ext cx="2473891" cy="42862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itle 1">
            <a:extLst>
              <a:ext uri="{FF2B5EF4-FFF2-40B4-BE49-F238E27FC236}">
                <a16:creationId xmlns:a16="http://schemas.microsoft.com/office/drawing/2014/main" id="{D29BAF6E-9877-855F-9A5E-2AFA760A83B3}"/>
              </a:ext>
            </a:extLst>
          </p:cNvPr>
          <p:cNvSpPr>
            <a:spLocks noGrp="1"/>
          </p:cNvSpPr>
          <p:nvPr>
            <p:ph type="title"/>
          </p:nvPr>
        </p:nvSpPr>
        <p:spPr>
          <a:xfrm>
            <a:off x="269212" y="191937"/>
            <a:ext cx="2492678" cy="1429544"/>
          </a:xfrm>
        </p:spPr>
        <p:txBody>
          <a:bodyPr rIns="457200"/>
          <a:lstStyle>
            <a:lvl1pPr>
              <a:lnSpc>
                <a:spcPct val="100000"/>
              </a:lnSpc>
              <a:defRPr sz="3199">
                <a:solidFill>
                  <a:schemeClr val="tx2"/>
                </a:solidFill>
              </a:defRPr>
            </a:lvl1pPr>
          </a:lstStyle>
          <a:p>
            <a:r>
              <a:rPr lang="en-US"/>
              <a:t>Click to edit Master title style</a:t>
            </a:r>
          </a:p>
        </p:txBody>
      </p:sp>
      <p:sp>
        <p:nvSpPr>
          <p:cNvPr id="9" name="Footer Placeholder 1">
            <a:extLst>
              <a:ext uri="{FF2B5EF4-FFF2-40B4-BE49-F238E27FC236}">
                <a16:creationId xmlns:a16="http://schemas.microsoft.com/office/drawing/2014/main" id="{A0039F55-4DA1-0F76-E4F4-FC3FFABD733D}"/>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
        <p:nvSpPr>
          <p:cNvPr id="4" name="TextBox 3">
            <a:extLst>
              <a:ext uri="{FF2B5EF4-FFF2-40B4-BE49-F238E27FC236}">
                <a16:creationId xmlns:a16="http://schemas.microsoft.com/office/drawing/2014/main" id="{EBC6C5C6-36C0-91A7-4494-A1A3707C6051}"/>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rgbClr val="000000"/>
                </a:solidFill>
                <a:latin typeface="IBM Plex Sans" panose="020B0503050203000203" pitchFamily="34" charset="0"/>
                <a:ea typeface="+mj-ea"/>
                <a:cs typeface="+mj-cs"/>
                <a:sym typeface="IBM Plex Sans Light"/>
              </a:rPr>
              <a:t>#IBMTechXchange</a:t>
            </a:r>
          </a:p>
        </p:txBody>
      </p:sp>
    </p:spTree>
    <p:extLst>
      <p:ext uri="{BB962C8B-B14F-4D97-AF65-F5344CB8AC3E}">
        <p14:creationId xmlns:p14="http://schemas.microsoft.com/office/powerpoint/2010/main" val="597435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Left side text, white+cyan">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FF199AD-99F5-8A31-D55D-6EA7FE65BF0B}"/>
              </a:ext>
            </a:extLst>
          </p:cNvPr>
          <p:cNvSpPr>
            <a:spLocks noGrp="1"/>
          </p:cNvSpPr>
          <p:nvPr>
            <p:ph type="sldNum" sz="quarter" idx="10"/>
          </p:nvPr>
        </p:nvSpPr>
        <p:spPr/>
        <p:txBody>
          <a:bodyPr/>
          <a:lstStyle/>
          <a:p>
            <a:fld id="{86CB4B4D-7CA3-9044-876B-883B54F8677D}" type="slidenum">
              <a:rPr lang="en-US" smtClean="0"/>
              <a:pPr/>
              <a:t>‹#›</a:t>
            </a:fld>
            <a:endParaRPr lang="en-US"/>
          </a:p>
        </p:txBody>
      </p:sp>
      <p:sp>
        <p:nvSpPr>
          <p:cNvPr id="7" name="Text Placeholder 4">
            <a:extLst>
              <a:ext uri="{FF2B5EF4-FFF2-40B4-BE49-F238E27FC236}">
                <a16:creationId xmlns:a16="http://schemas.microsoft.com/office/drawing/2014/main" id="{B46CC3A1-4537-FC29-D1E2-9858E5E2B37B}"/>
              </a:ext>
            </a:extLst>
          </p:cNvPr>
          <p:cNvSpPr>
            <a:spLocks noGrp="1"/>
          </p:cNvSpPr>
          <p:nvPr>
            <p:ph type="body" sz="quarter" idx="12"/>
          </p:nvPr>
        </p:nvSpPr>
        <p:spPr>
          <a:xfrm>
            <a:off x="287999" y="1717768"/>
            <a:ext cx="2473891" cy="42862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itle 1">
            <a:extLst>
              <a:ext uri="{FF2B5EF4-FFF2-40B4-BE49-F238E27FC236}">
                <a16:creationId xmlns:a16="http://schemas.microsoft.com/office/drawing/2014/main" id="{D29BAF6E-9877-855F-9A5E-2AFA760A83B3}"/>
              </a:ext>
            </a:extLst>
          </p:cNvPr>
          <p:cNvSpPr>
            <a:spLocks noGrp="1"/>
          </p:cNvSpPr>
          <p:nvPr>
            <p:ph type="title"/>
          </p:nvPr>
        </p:nvSpPr>
        <p:spPr>
          <a:xfrm>
            <a:off x="269212" y="191937"/>
            <a:ext cx="2492678" cy="1429544"/>
          </a:xfrm>
        </p:spPr>
        <p:txBody>
          <a:bodyPr rIns="457200"/>
          <a:lstStyle>
            <a:lvl1pPr>
              <a:lnSpc>
                <a:spcPct val="100000"/>
              </a:lnSpc>
              <a:defRPr sz="3199">
                <a:solidFill>
                  <a:schemeClr val="tx2"/>
                </a:solidFill>
              </a:defRPr>
            </a:lvl1pPr>
          </a:lstStyle>
          <a:p>
            <a:r>
              <a:rPr lang="en-US"/>
              <a:t>Click to edit Master title style</a:t>
            </a:r>
          </a:p>
        </p:txBody>
      </p:sp>
      <p:sp>
        <p:nvSpPr>
          <p:cNvPr id="9" name="Footer Placeholder 1">
            <a:extLst>
              <a:ext uri="{FF2B5EF4-FFF2-40B4-BE49-F238E27FC236}">
                <a16:creationId xmlns:a16="http://schemas.microsoft.com/office/drawing/2014/main" id="{A0039F55-4DA1-0F76-E4F4-FC3FFABD733D}"/>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
        <p:nvSpPr>
          <p:cNvPr id="2" name="Rectangle 1">
            <a:extLst>
              <a:ext uri="{FF2B5EF4-FFF2-40B4-BE49-F238E27FC236}">
                <a16:creationId xmlns:a16="http://schemas.microsoft.com/office/drawing/2014/main" id="{32BE503C-A69C-5EFC-BA7A-97308B436F87}"/>
              </a:ext>
            </a:extLst>
          </p:cNvPr>
          <p:cNvSpPr/>
          <p:nvPr userDrawn="1"/>
        </p:nvSpPr>
        <p:spPr bwMode="auto">
          <a:xfrm>
            <a:off x="3047603" y="0"/>
            <a:ext cx="9144397" cy="6858001"/>
          </a:xfrm>
          <a:prstGeom prst="rect">
            <a:avLst/>
          </a:prstGeom>
          <a:solidFill>
            <a:schemeClr val="bg2"/>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60952" tIns="60952" rIns="60952" bIns="60952" numCol="1" rtlCol="0" anchor="t" anchorCtr="0" compatLnSpc="1">
            <a:prstTxWarp prst="textNoShape">
              <a:avLst/>
            </a:prstTxWarp>
          </a:bodyPr>
          <a:lstStyle/>
          <a:p>
            <a:pPr defTabSz="609463" fontAlgn="base">
              <a:spcBef>
                <a:spcPct val="0"/>
              </a:spcBef>
              <a:spcAft>
                <a:spcPct val="0"/>
              </a:spcAft>
            </a:pPr>
            <a:endParaRPr lang="en-US" sz="933">
              <a:solidFill>
                <a:schemeClr val="bg1"/>
              </a:solidFill>
            </a:endParaRPr>
          </a:p>
        </p:txBody>
      </p:sp>
      <p:sp>
        <p:nvSpPr>
          <p:cNvPr id="4" name="Slide Number Placeholder 2">
            <a:extLst>
              <a:ext uri="{FF2B5EF4-FFF2-40B4-BE49-F238E27FC236}">
                <a16:creationId xmlns:a16="http://schemas.microsoft.com/office/drawing/2014/main" id="{BDA953EC-0A9D-D7C9-44B5-8EE8D209213E}"/>
              </a:ext>
            </a:extLst>
          </p:cNvPr>
          <p:cNvSpPr txBox="1">
            <a:spLocks/>
          </p:cNvSpPr>
          <p:nvPr userDrawn="1"/>
        </p:nvSpPr>
        <p:spPr>
          <a:xfrm>
            <a:off x="11770048" y="6469507"/>
            <a:ext cx="134652" cy="123111"/>
          </a:xfrm>
          <a:prstGeom prst="rect">
            <a:avLst/>
          </a:prstGeom>
          <a:ln w="12700">
            <a:miter lim="400000"/>
          </a:ln>
        </p:spPr>
        <p:txBody>
          <a:bodyPr wrap="none" lIns="0" tIns="0" rIns="0" bIns="0" anchor="b" anchorCtr="0">
            <a:spAutoFit/>
          </a:bodyPr>
          <a:lstStyle>
            <a:defPPr>
              <a:defRPr lang="en-US"/>
            </a:defPPr>
            <a:lvl1pPr marL="0" algn="r" defTabSz="1829379" rtl="0" eaLnBrk="1" latinLnBrk="0" hangingPunct="1">
              <a:defRPr sz="1600" b="0" i="0" kern="1200">
                <a:solidFill>
                  <a:schemeClr val="tx1"/>
                </a:solidFill>
                <a:latin typeface="IBM Plex Sans" panose="020B0503050203000203" pitchFamily="34" charset="0"/>
                <a:ea typeface="+mn-ea"/>
                <a:cs typeface="+mn-cs"/>
                <a:sym typeface="IBM Plex San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fld id="{86CB4B4D-7CA3-9044-876B-883B54F8677D}" type="slidenum">
              <a:rPr lang="en-US" sz="800" smtClean="0"/>
              <a:pPr/>
              <a:t>‹#›</a:t>
            </a:fld>
            <a:endParaRPr lang="en-US" sz="800"/>
          </a:p>
        </p:txBody>
      </p:sp>
    </p:spTree>
    <p:extLst>
      <p:ext uri="{BB962C8B-B14F-4D97-AF65-F5344CB8AC3E}">
        <p14:creationId xmlns:p14="http://schemas.microsoft.com/office/powerpoint/2010/main" val="3145814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2 titles, text (split backgroun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9E1F66A6-2402-265D-0101-B6536490AFAC}"/>
              </a:ext>
            </a:extLst>
          </p:cNvPr>
          <p:cNvSpPr>
            <a:spLocks/>
          </p:cNvSpPr>
          <p:nvPr userDrawn="1"/>
        </p:nvSpPr>
        <p:spPr bwMode="auto">
          <a:xfrm>
            <a:off x="6095206" y="0"/>
            <a:ext cx="6096794" cy="6858001"/>
          </a:xfrm>
          <a:prstGeom prst="rect">
            <a:avLst/>
          </a:prstGeom>
          <a:solidFill>
            <a:schemeClr val="bg2"/>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60952" tIns="60952" rIns="60952" bIns="60952" numCol="1" rtlCol="0" anchor="t" anchorCtr="0" compatLnSpc="1">
            <a:prstTxWarp prst="textNoShape">
              <a:avLst/>
            </a:prstTxWarp>
          </a:bodyPr>
          <a:lstStyle/>
          <a:p>
            <a:pPr defTabSz="609463" fontAlgn="base">
              <a:spcBef>
                <a:spcPct val="0"/>
              </a:spcBef>
              <a:spcAft>
                <a:spcPct val="0"/>
              </a:spcAft>
            </a:pPr>
            <a:endParaRPr lang="en-US" sz="933">
              <a:solidFill>
                <a:schemeClr val="bg1"/>
              </a:solidFill>
            </a:endParaRPr>
          </a:p>
        </p:txBody>
      </p:sp>
      <p:sp>
        <p:nvSpPr>
          <p:cNvPr id="3" name="Slide Number Placeholder 2">
            <a:extLst>
              <a:ext uri="{FF2B5EF4-FFF2-40B4-BE49-F238E27FC236}">
                <a16:creationId xmlns:a16="http://schemas.microsoft.com/office/drawing/2014/main" id="{EFF199AD-99F5-8A31-D55D-6EA7FE65BF0B}"/>
              </a:ext>
            </a:extLst>
          </p:cNvPr>
          <p:cNvSpPr>
            <a:spLocks noGrp="1"/>
          </p:cNvSpPr>
          <p:nvPr>
            <p:ph type="sldNum" sz="quarter" idx="10"/>
          </p:nvPr>
        </p:nvSpPr>
        <p:spPr/>
        <p:txBody>
          <a:bodyPr/>
          <a:lstStyle/>
          <a:p>
            <a:fld id="{86CB4B4D-7CA3-9044-876B-883B54F8677D}" type="slidenum">
              <a:rPr lang="en-US" smtClean="0"/>
              <a:pPr/>
              <a:t>‹#›</a:t>
            </a:fld>
            <a:endParaRPr lang="en-US"/>
          </a:p>
        </p:txBody>
      </p:sp>
      <p:sp>
        <p:nvSpPr>
          <p:cNvPr id="6" name="Text Placeholder 5">
            <a:extLst>
              <a:ext uri="{FF2B5EF4-FFF2-40B4-BE49-F238E27FC236}">
                <a16:creationId xmlns:a16="http://schemas.microsoft.com/office/drawing/2014/main" id="{1116610E-CC1C-9D9D-DB96-DEDE65B2F055}"/>
              </a:ext>
            </a:extLst>
          </p:cNvPr>
          <p:cNvSpPr>
            <a:spLocks noGrp="1"/>
          </p:cNvSpPr>
          <p:nvPr>
            <p:ph type="body" sz="quarter" idx="18"/>
          </p:nvPr>
        </p:nvSpPr>
        <p:spPr>
          <a:xfrm>
            <a:off x="287999" y="1212112"/>
            <a:ext cx="5520701" cy="350875"/>
          </a:xfrm>
        </p:spPr>
        <p:txBody>
          <a:bodyPr anchor="t" anchorCtr="0"/>
          <a:lstStyle>
            <a:lvl1pPr>
              <a:lnSpc>
                <a:spcPct val="110000"/>
              </a:lnSpc>
              <a:spcBef>
                <a:spcPts val="0"/>
              </a:spcBef>
              <a:spcAft>
                <a:spcPts val="600"/>
              </a:spcAft>
              <a:defRPr sz="1800">
                <a:solidFill>
                  <a:schemeClr val="tx1"/>
                </a:solidFill>
              </a:defRPr>
            </a:lvl1pPr>
            <a:lvl2pPr marL="127990" indent="-127990">
              <a:lnSpc>
                <a:spcPct val="110000"/>
              </a:lnSpc>
              <a:spcBef>
                <a:spcPts val="0"/>
              </a:spcBef>
              <a:spcAft>
                <a:spcPts val="600"/>
              </a:spcAft>
              <a:defRPr sz="1800">
                <a:solidFill>
                  <a:schemeClr val="tx1"/>
                </a:solidFill>
              </a:defRPr>
            </a:lvl2pPr>
            <a:lvl3pPr marL="255981" indent="-127990">
              <a:lnSpc>
                <a:spcPct val="110000"/>
              </a:lnSpc>
              <a:spcBef>
                <a:spcPts val="0"/>
              </a:spcBef>
              <a:spcAft>
                <a:spcPts val="600"/>
              </a:spcAft>
              <a:defRPr sz="1800">
                <a:solidFill>
                  <a:schemeClr val="tx1"/>
                </a:solidFill>
              </a:defRPr>
            </a:lvl3pPr>
            <a:lvl4pPr marL="383971" indent="-127990">
              <a:lnSpc>
                <a:spcPct val="110000"/>
              </a:lnSpc>
              <a:spcBef>
                <a:spcPts val="0"/>
              </a:spcBef>
              <a:spcAft>
                <a:spcPts val="600"/>
              </a:spcAft>
              <a:defRPr sz="18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39EE314B-511F-9A49-0794-209E594425F3}"/>
              </a:ext>
            </a:extLst>
          </p:cNvPr>
          <p:cNvSpPr>
            <a:spLocks noGrp="1"/>
          </p:cNvSpPr>
          <p:nvPr>
            <p:ph type="body" sz="quarter" idx="19"/>
          </p:nvPr>
        </p:nvSpPr>
        <p:spPr>
          <a:xfrm>
            <a:off x="6380031" y="1212112"/>
            <a:ext cx="5520701" cy="350875"/>
          </a:xfrm>
        </p:spPr>
        <p:txBody>
          <a:bodyPr anchor="t" anchorCtr="0"/>
          <a:lstStyle>
            <a:lvl1pPr>
              <a:lnSpc>
                <a:spcPct val="110000"/>
              </a:lnSpc>
              <a:spcBef>
                <a:spcPts val="0"/>
              </a:spcBef>
              <a:spcAft>
                <a:spcPts val="600"/>
              </a:spcAft>
              <a:defRPr sz="1800">
                <a:solidFill>
                  <a:schemeClr val="tx1"/>
                </a:solidFill>
              </a:defRPr>
            </a:lvl1pPr>
            <a:lvl2pPr marL="127990" indent="-127990">
              <a:lnSpc>
                <a:spcPct val="110000"/>
              </a:lnSpc>
              <a:spcBef>
                <a:spcPts val="0"/>
              </a:spcBef>
              <a:spcAft>
                <a:spcPts val="600"/>
              </a:spcAft>
              <a:defRPr sz="1800">
                <a:solidFill>
                  <a:schemeClr val="tx1"/>
                </a:solidFill>
              </a:defRPr>
            </a:lvl2pPr>
            <a:lvl3pPr marL="255981" indent="-127990">
              <a:lnSpc>
                <a:spcPct val="110000"/>
              </a:lnSpc>
              <a:spcBef>
                <a:spcPts val="0"/>
              </a:spcBef>
              <a:spcAft>
                <a:spcPts val="600"/>
              </a:spcAft>
              <a:defRPr sz="1800">
                <a:solidFill>
                  <a:schemeClr val="tx1"/>
                </a:solidFill>
              </a:defRPr>
            </a:lvl3pPr>
            <a:lvl4pPr marL="383971" indent="-127990">
              <a:lnSpc>
                <a:spcPct val="110000"/>
              </a:lnSpc>
              <a:spcBef>
                <a:spcPts val="0"/>
              </a:spcBef>
              <a:spcAft>
                <a:spcPts val="600"/>
              </a:spcAft>
              <a:defRPr sz="18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itle 1">
            <a:extLst>
              <a:ext uri="{FF2B5EF4-FFF2-40B4-BE49-F238E27FC236}">
                <a16:creationId xmlns:a16="http://schemas.microsoft.com/office/drawing/2014/main" id="{09494A4E-96C8-934A-2BEF-CA4D3BB1814E}"/>
              </a:ext>
            </a:extLst>
          </p:cNvPr>
          <p:cNvSpPr>
            <a:spLocks noGrp="1"/>
          </p:cNvSpPr>
          <p:nvPr>
            <p:ph type="title"/>
          </p:nvPr>
        </p:nvSpPr>
        <p:spPr>
          <a:xfrm>
            <a:off x="269212" y="191938"/>
            <a:ext cx="5542757" cy="984629"/>
          </a:xfrm>
        </p:spPr>
        <p:txBody>
          <a:bodyPr rIns="457200">
            <a:spAutoFit/>
          </a:bodyPr>
          <a:lstStyle>
            <a:lvl1pPr>
              <a:lnSpc>
                <a:spcPct val="100000"/>
              </a:lnSpc>
              <a:defRPr sz="3199">
                <a:solidFill>
                  <a:schemeClr val="tx2"/>
                </a:solidFill>
              </a:defRPr>
            </a:lvl1pPr>
          </a:lstStyle>
          <a:p>
            <a:r>
              <a:rPr lang="en-US"/>
              <a:t>Click to edit Master title style</a:t>
            </a:r>
          </a:p>
        </p:txBody>
      </p:sp>
      <p:sp>
        <p:nvSpPr>
          <p:cNvPr id="16" name="Content Placeholder 15">
            <a:extLst>
              <a:ext uri="{FF2B5EF4-FFF2-40B4-BE49-F238E27FC236}">
                <a16:creationId xmlns:a16="http://schemas.microsoft.com/office/drawing/2014/main" id="{15665D22-4DC3-21E1-0450-1EE2C28B9B4F}"/>
              </a:ext>
            </a:extLst>
          </p:cNvPr>
          <p:cNvSpPr>
            <a:spLocks noGrp="1"/>
          </p:cNvSpPr>
          <p:nvPr>
            <p:ph sz="quarter" idx="20" hasCustomPrompt="1"/>
          </p:nvPr>
        </p:nvSpPr>
        <p:spPr>
          <a:xfrm>
            <a:off x="6380126" y="191938"/>
            <a:ext cx="5542828" cy="492919"/>
          </a:xfrm>
          <a:ln>
            <a:noFill/>
          </a:ln>
        </p:spPr>
        <p:txBody>
          <a:bodyPr/>
          <a:lstStyle>
            <a:lvl1pPr>
              <a:defRPr lang="en-US" sz="3199" b="0" i="0" u="none" strike="noStrike" cap="none" spc="0" baseline="0" dirty="0">
                <a:solidFill>
                  <a:schemeClr val="tx2"/>
                </a:solidFill>
                <a:uFillTx/>
                <a:latin typeface="+mj-lt"/>
                <a:ea typeface="+mj-ea"/>
                <a:cs typeface="+mj-cs"/>
                <a:sym typeface="IBM Plex Sans Light"/>
              </a:defRPr>
            </a:lvl1pPr>
          </a:lstStyle>
          <a:p>
            <a:pPr lvl="0"/>
            <a:r>
              <a:rPr lang="en-US"/>
              <a:t>Click to edit Master title style</a:t>
            </a:r>
          </a:p>
        </p:txBody>
      </p:sp>
      <p:sp>
        <p:nvSpPr>
          <p:cNvPr id="18" name="Footer Placeholder 1">
            <a:extLst>
              <a:ext uri="{FF2B5EF4-FFF2-40B4-BE49-F238E27FC236}">
                <a16:creationId xmlns:a16="http://schemas.microsoft.com/office/drawing/2014/main" id="{AE8B7DB9-996A-C58F-4CBB-E199A8CCE132}"/>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
        <p:nvSpPr>
          <p:cNvPr id="2" name="TextBox 1">
            <a:extLst>
              <a:ext uri="{FF2B5EF4-FFF2-40B4-BE49-F238E27FC236}">
                <a16:creationId xmlns:a16="http://schemas.microsoft.com/office/drawing/2014/main" id="{663C9CDD-45D8-4AF2-F600-C176326C4433}"/>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rgbClr val="000000"/>
                </a:solidFill>
                <a:latin typeface="IBM Plex Sans" panose="020B0503050203000203" pitchFamily="34" charset="0"/>
                <a:ea typeface="+mj-ea"/>
                <a:cs typeface="+mj-cs"/>
                <a:sym typeface="IBM Plex Sans Light"/>
              </a:rPr>
              <a:t>#IBMTechXchange</a:t>
            </a:r>
          </a:p>
        </p:txBody>
      </p:sp>
    </p:spTree>
    <p:extLst>
      <p:ext uri="{BB962C8B-B14F-4D97-AF65-F5344CB8AC3E}">
        <p14:creationId xmlns:p14="http://schemas.microsoft.com/office/powerpoint/2010/main" val="4271609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 data callout">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122014" y="288925"/>
            <a:ext cx="8687464" cy="3088538"/>
          </a:xfrm>
        </p:spPr>
        <p:txBody>
          <a:bodyPr wrap="square" anchor="t">
            <a:spAutoFit/>
          </a:bodyPr>
          <a:lstStyle>
            <a:lvl1pPr marL="0" marR="0" indent="0" algn="l" defTabSz="1218956" rtl="0" eaLnBrk="1" latinLnBrk="0" hangingPunct="1">
              <a:lnSpc>
                <a:spcPct val="90000"/>
              </a:lnSpc>
              <a:spcBef>
                <a:spcPts val="0"/>
              </a:spcBef>
              <a:spcAft>
                <a:spcPts val="0"/>
              </a:spcAft>
              <a:buClrTx/>
              <a:buSzTx/>
              <a:buFontTx/>
              <a:buNone/>
              <a:tabLst/>
              <a:defRPr lang="en-US" sz="22296" b="0" i="0" u="none" strike="noStrike" cap="none" spc="0" baseline="0" dirty="0">
                <a:solidFill>
                  <a:schemeClr val="accent1"/>
                </a:solidFill>
                <a:uFillTx/>
                <a:latin typeface="IBM Plex Sans Light" panose="020B0403050203000203" pitchFamily="34" charset="0"/>
                <a:ea typeface="+mj-ea"/>
                <a:cs typeface="+mj-cs"/>
                <a:sym typeface="IBM Plex Sans Light"/>
              </a:defRPr>
            </a:lvl1pPr>
          </a:lstStyle>
          <a:p>
            <a:r>
              <a:rPr lang="uk-UA"/>
              <a:t>+</a:t>
            </a:r>
            <a:r>
              <a:rPr lang="en-US"/>
              <a:t>00M</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93831" y="3470609"/>
            <a:ext cx="5514869" cy="1354217"/>
          </a:xfrm>
        </p:spPr>
        <p:txBody>
          <a:bodyPr wrap="square">
            <a:spAutoFit/>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2" name="Text Placeholder 4">
            <a:extLst>
              <a:ext uri="{FF2B5EF4-FFF2-40B4-BE49-F238E27FC236}">
                <a16:creationId xmlns:a16="http://schemas.microsoft.com/office/drawing/2014/main" id="{894B6EDC-B303-90FD-527D-B63F2FB20C78}"/>
              </a:ext>
            </a:extLst>
          </p:cNvPr>
          <p:cNvSpPr>
            <a:spLocks noGrp="1"/>
          </p:cNvSpPr>
          <p:nvPr>
            <p:ph type="body" sz="quarter" idx="11"/>
          </p:nvPr>
        </p:nvSpPr>
        <p:spPr>
          <a:xfrm>
            <a:off x="293831" y="5712619"/>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Footer Placeholder 1">
            <a:extLst>
              <a:ext uri="{FF2B5EF4-FFF2-40B4-BE49-F238E27FC236}">
                <a16:creationId xmlns:a16="http://schemas.microsoft.com/office/drawing/2014/main" id="{25850FE5-BCBA-DE93-BED8-F673B3DE7CDB}"/>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
        <p:nvSpPr>
          <p:cNvPr id="3" name="TextBox 2">
            <a:extLst>
              <a:ext uri="{FF2B5EF4-FFF2-40B4-BE49-F238E27FC236}">
                <a16:creationId xmlns:a16="http://schemas.microsoft.com/office/drawing/2014/main" id="{78E95C70-8D78-E4AD-3F22-32BD24C681A6}"/>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rgbClr val="000000"/>
                </a:solidFill>
                <a:latin typeface="IBM Plex Sans" panose="020B0503050203000203" pitchFamily="34" charset="0"/>
                <a:ea typeface="+mj-ea"/>
                <a:cs typeface="+mj-cs"/>
                <a:sym typeface="IBM Plex Sans Light"/>
              </a:rPr>
              <a:t>#IBMTechXchange</a:t>
            </a:r>
          </a:p>
        </p:txBody>
      </p:sp>
    </p:spTree>
    <p:extLst>
      <p:ext uri="{BB962C8B-B14F-4D97-AF65-F5344CB8AC3E}">
        <p14:creationId xmlns:p14="http://schemas.microsoft.com/office/powerpoint/2010/main" val="1945521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2 data callouts">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00328" y="4649724"/>
            <a:ext cx="5524575" cy="1771650"/>
          </a:xfrm>
        </p:spPr>
        <p:txBody>
          <a:bodyPr anchor="b"/>
          <a:lstStyle>
            <a:lvl1pPr>
              <a:lnSpc>
                <a:spcPct val="90000"/>
              </a:lnSpc>
              <a:spcBef>
                <a:spcPts val="0"/>
              </a:spcBef>
              <a:defRPr sz="12897" b="0" i="0">
                <a:solidFill>
                  <a:schemeClr val="accent1"/>
                </a:solidFill>
                <a:latin typeface="IBM Plex Sans Light" panose="020B0403050203000203" pitchFamily="34" charset="0"/>
              </a:defRPr>
            </a:lvl1pPr>
          </a:lstStyle>
          <a:p>
            <a:r>
              <a:rPr lang="en-US"/>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6293248" y="4648200"/>
            <a:ext cx="5523781" cy="1771650"/>
          </a:xfrm>
        </p:spPr>
        <p:txBody>
          <a:bodyPr anchor="b"/>
          <a:lstStyle>
            <a:lvl1pPr>
              <a:lnSpc>
                <a:spcPct val="90000"/>
              </a:lnSpc>
              <a:spcBef>
                <a:spcPts val="0"/>
              </a:spcBef>
              <a:defRPr sz="12897" b="0" i="0">
                <a:solidFill>
                  <a:schemeClr val="accent1"/>
                </a:solidFill>
                <a:latin typeface="IBM Plex Sans Light" panose="020B0403050203000203" pitchFamily="34" charset="0"/>
              </a:defRPr>
            </a:lvl1pPr>
          </a:lstStyle>
          <a:p>
            <a:r>
              <a:rPr lang="en-US"/>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6380919" y="231669"/>
            <a:ext cx="3809504" cy="3144044"/>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87999" y="231669"/>
            <a:ext cx="3811091" cy="3144044"/>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609600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1">
            <a:extLst>
              <a:ext uri="{FF2B5EF4-FFF2-40B4-BE49-F238E27FC236}">
                <a16:creationId xmlns:a16="http://schemas.microsoft.com/office/drawing/2014/main" id="{4174D841-F2E5-EFB2-5B7C-4BF603920FBF}"/>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
        <p:nvSpPr>
          <p:cNvPr id="2" name="TextBox 1">
            <a:extLst>
              <a:ext uri="{FF2B5EF4-FFF2-40B4-BE49-F238E27FC236}">
                <a16:creationId xmlns:a16="http://schemas.microsoft.com/office/drawing/2014/main" id="{4F647688-828F-3931-CA2D-F0E73F9D0409}"/>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rgbClr val="000000"/>
                </a:solidFill>
                <a:latin typeface="IBM Plex Sans" panose="020B0503050203000203" pitchFamily="34" charset="0"/>
                <a:ea typeface="+mj-ea"/>
                <a:cs typeface="+mj-cs"/>
                <a:sym typeface="IBM Plex Sans Light"/>
              </a:rPr>
              <a:t>#IBMTechXchange</a:t>
            </a:r>
          </a:p>
        </p:txBody>
      </p:sp>
    </p:spTree>
    <p:extLst>
      <p:ext uri="{BB962C8B-B14F-4D97-AF65-F5344CB8AC3E}">
        <p14:creationId xmlns:p14="http://schemas.microsoft.com/office/powerpoint/2010/main" val="3662183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descr="Blue 10 full slide background ">
            <a:extLst>
              <a:ext uri="{FF2B5EF4-FFF2-40B4-BE49-F238E27FC236}">
                <a16:creationId xmlns:a16="http://schemas.microsoft.com/office/drawing/2014/main" id="{8D23798D-A03E-2BC6-136A-14C1E387E723}"/>
              </a:ext>
            </a:extLst>
          </p:cNvPr>
          <p:cNvSpPr/>
          <p:nvPr userDrawn="1"/>
        </p:nvSpPr>
        <p:spPr bwMode="auto">
          <a:xfrm>
            <a:off x="0" y="0"/>
            <a:ext cx="12192000" cy="6097588"/>
          </a:xfrm>
          <a:prstGeom prst="rect">
            <a:avLst/>
          </a:prstGeom>
          <a:solidFill>
            <a:srgbClr val="E5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indent="0" algn="l" defTabSz="457109" rtl="0" eaLnBrk="1" fontAlgn="base" latinLnBrk="0" hangingPunct="1">
              <a:lnSpc>
                <a:spcPct val="100000"/>
              </a:lnSpc>
              <a:spcBef>
                <a:spcPct val="0"/>
              </a:spcBef>
              <a:spcAft>
                <a:spcPct val="0"/>
              </a:spcAft>
              <a:buClrTx/>
              <a:buSzTx/>
              <a:buFont typeface="IBM Plex Sans Light"/>
              <a:buNone/>
              <a:tabLst/>
            </a:pPr>
            <a:endParaRPr kumimoji="0" lang="en-US" sz="700" b="0" i="0" u="none" strike="noStrike" cap="none" normalizeH="0" baseline="0">
              <a:ln>
                <a:noFill/>
              </a:ln>
              <a:solidFill>
                <a:schemeClr val="bg1"/>
              </a:solidFill>
              <a:effectLst/>
              <a:latin typeface="+mn-lt"/>
            </a:endParaRPr>
          </a:p>
        </p:txBody>
      </p:sp>
      <p:pic>
        <p:nvPicPr>
          <p:cNvPr id="7" name="Picture 6" descr="IBM 8-bar logo">
            <a:extLst>
              <a:ext uri="{FF2B5EF4-FFF2-40B4-BE49-F238E27FC236}">
                <a16:creationId xmlns:a16="http://schemas.microsoft.com/office/drawing/2014/main" id="{B4B109D8-FCAE-74D0-0B39-85BF626C84C5}"/>
              </a:ext>
            </a:extLst>
          </p:cNvPr>
          <p:cNvPicPr>
            <a:picLocks noChangeAspect="1"/>
          </p:cNvPicPr>
          <p:nvPr userDrawn="1"/>
        </p:nvPicPr>
        <p:blipFill>
          <a:blip r:embed="rId2"/>
          <a:stretch>
            <a:fillRect/>
          </a:stretch>
        </p:blipFill>
        <p:spPr>
          <a:xfrm>
            <a:off x="11185445" y="6288882"/>
            <a:ext cx="769062" cy="286200"/>
          </a:xfrm>
          <a:prstGeom prst="rect">
            <a:avLst/>
          </a:prstGeom>
        </p:spPr>
      </p:pic>
      <p:sp>
        <p:nvSpPr>
          <p:cNvPr id="8" name="Text Placeholder 6">
            <a:extLst>
              <a:ext uri="{FF2B5EF4-FFF2-40B4-BE49-F238E27FC236}">
                <a16:creationId xmlns:a16="http://schemas.microsoft.com/office/drawing/2014/main" id="{A9FACBA3-656A-1C9D-A350-7759736DCC4B}"/>
              </a:ext>
            </a:extLst>
          </p:cNvPr>
          <p:cNvSpPr>
            <a:spLocks noGrp="1"/>
          </p:cNvSpPr>
          <p:nvPr>
            <p:ph type="body" sz="quarter" idx="12"/>
          </p:nvPr>
        </p:nvSpPr>
        <p:spPr>
          <a:xfrm>
            <a:off x="287963" y="6083300"/>
            <a:ext cx="2470906" cy="537147"/>
          </a:xfrm>
        </p:spPr>
        <p:txBody>
          <a:bodyPr anchor="b"/>
          <a:lstStyle>
            <a:lvl1pPr>
              <a:lnSpc>
                <a:spcPct val="110000"/>
              </a:lnSpc>
              <a:spcBef>
                <a:spcPts val="0"/>
              </a:spcBef>
              <a:defRPr sz="1200">
                <a:solidFill>
                  <a:schemeClr val="tx1"/>
                </a:solidFill>
              </a:defRPr>
            </a:lvl1pPr>
            <a:lvl2pPr marL="127990" indent="-127990">
              <a:lnSpc>
                <a:spcPct val="110000"/>
              </a:lnSpc>
              <a:spcBef>
                <a:spcPts val="0"/>
              </a:spcBef>
              <a:defRPr sz="1200">
                <a:solidFill>
                  <a:schemeClr val="tx1"/>
                </a:solidFill>
              </a:defRPr>
            </a:lvl2pPr>
            <a:lvl3pPr marL="255981" indent="-127990">
              <a:lnSpc>
                <a:spcPct val="110000"/>
              </a:lnSpc>
              <a:spcBef>
                <a:spcPts val="0"/>
              </a:spcBef>
              <a:defRPr sz="1200">
                <a:solidFill>
                  <a:schemeClr val="tx1"/>
                </a:solidFill>
              </a:defRPr>
            </a:lvl3pPr>
            <a:lvl4pPr marL="383971" indent="-127990">
              <a:lnSpc>
                <a:spcPct val="110000"/>
              </a:lnSpc>
              <a:spcBef>
                <a:spcPts val="0"/>
              </a:spcBef>
              <a:defRPr sz="12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5">
            <a:extLst>
              <a:ext uri="{FF2B5EF4-FFF2-40B4-BE49-F238E27FC236}">
                <a16:creationId xmlns:a16="http://schemas.microsoft.com/office/drawing/2014/main" id="{FA47F09F-F9D8-7B01-E53E-EE9451C6A6EB}"/>
              </a:ext>
            </a:extLst>
          </p:cNvPr>
          <p:cNvSpPr>
            <a:spLocks noGrp="1"/>
          </p:cNvSpPr>
          <p:nvPr>
            <p:ph type="body" sz="quarter" idx="13"/>
          </p:nvPr>
        </p:nvSpPr>
        <p:spPr>
          <a:xfrm>
            <a:off x="3335316" y="6083300"/>
            <a:ext cx="2473384" cy="538507"/>
          </a:xfrm>
        </p:spPr>
        <p:txBody>
          <a:bodyPr anchor="b"/>
          <a:lstStyle>
            <a:lvl1pPr>
              <a:lnSpc>
                <a:spcPct val="110000"/>
              </a:lnSpc>
              <a:spcBef>
                <a:spcPts val="0"/>
              </a:spcBef>
              <a:defRPr sz="1200">
                <a:solidFill>
                  <a:schemeClr val="tx1"/>
                </a:solidFill>
              </a:defRPr>
            </a:lvl1pPr>
            <a:lvl2pPr marL="127990" indent="-127990">
              <a:lnSpc>
                <a:spcPct val="110000"/>
              </a:lnSpc>
              <a:spcBef>
                <a:spcPts val="0"/>
              </a:spcBef>
              <a:defRPr sz="1200">
                <a:solidFill>
                  <a:schemeClr val="tx1"/>
                </a:solidFill>
              </a:defRPr>
            </a:lvl2pPr>
            <a:lvl3pPr marL="255981" indent="-127990">
              <a:lnSpc>
                <a:spcPct val="110000"/>
              </a:lnSpc>
              <a:spcBef>
                <a:spcPts val="0"/>
              </a:spcBef>
              <a:defRPr sz="1200">
                <a:solidFill>
                  <a:schemeClr val="tx1"/>
                </a:solidFill>
              </a:defRPr>
            </a:lvl3pPr>
            <a:lvl4pPr marL="383971" indent="-127990">
              <a:lnSpc>
                <a:spcPct val="110000"/>
              </a:lnSpc>
              <a:spcBef>
                <a:spcPts val="0"/>
              </a:spcBef>
              <a:defRPr sz="12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itle 1">
            <a:extLst>
              <a:ext uri="{FF2B5EF4-FFF2-40B4-BE49-F238E27FC236}">
                <a16:creationId xmlns:a16="http://schemas.microsoft.com/office/drawing/2014/main" id="{B8FFB679-F0FF-1DD1-8243-9D4ADEF3889F}"/>
              </a:ext>
            </a:extLst>
          </p:cNvPr>
          <p:cNvSpPr>
            <a:spLocks noGrp="1"/>
          </p:cNvSpPr>
          <p:nvPr>
            <p:ph type="title"/>
          </p:nvPr>
        </p:nvSpPr>
        <p:spPr>
          <a:xfrm>
            <a:off x="287963" y="155575"/>
            <a:ext cx="5049878" cy="3654425"/>
          </a:xfrm>
        </p:spPr>
        <p:txBody>
          <a:bodyPr/>
          <a:lstStyle>
            <a:lvl1pPr>
              <a:lnSpc>
                <a:spcPct val="100000"/>
              </a:lnSpc>
              <a:defRPr sz="4199">
                <a:solidFill>
                  <a:schemeClr val="tx2"/>
                </a:solidFill>
              </a:defRPr>
            </a:lvl1pPr>
          </a:lstStyle>
          <a:p>
            <a:r>
              <a:rPr lang="en-US"/>
              <a:t>Click to edit Master title style</a:t>
            </a:r>
          </a:p>
        </p:txBody>
      </p:sp>
    </p:spTree>
    <p:extLst>
      <p:ext uri="{BB962C8B-B14F-4D97-AF65-F5344CB8AC3E}">
        <p14:creationId xmlns:p14="http://schemas.microsoft.com/office/powerpoint/2010/main" val="859123371"/>
      </p:ext>
    </p:extLst>
  </p:cSld>
  <p:clrMapOvr>
    <a:masterClrMapping/>
  </p:clrMapOvr>
  <p:transition spd="med"/>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3 data callouts">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332507" y="194452"/>
            <a:ext cx="2474590" cy="953294"/>
          </a:xfrm>
        </p:spPr>
        <p:txBody>
          <a:bodyPr/>
          <a:lstStyle>
            <a:lvl1pPr>
              <a:lnSpc>
                <a:spcPct val="90000"/>
              </a:lnSpc>
              <a:defRPr sz="6499">
                <a:solidFill>
                  <a:schemeClr val="accent1"/>
                </a:solidFill>
              </a:defRPr>
            </a:lvl1pPr>
          </a:lstStyle>
          <a:p>
            <a:pPr lvl="0"/>
            <a:r>
              <a:rPr lang="en-US"/>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9377729" y="196038"/>
            <a:ext cx="2474590" cy="951707"/>
          </a:xfrm>
        </p:spPr>
        <p:txBody>
          <a:bodyPr/>
          <a:lstStyle>
            <a:lvl1pPr>
              <a:lnSpc>
                <a:spcPct val="90000"/>
              </a:lnSpc>
              <a:defRPr sz="6499">
                <a:solidFill>
                  <a:schemeClr val="accent1"/>
                </a:solidFill>
              </a:defRPr>
            </a:lvl1pPr>
          </a:lstStyle>
          <a:p>
            <a:pPr lvl="0"/>
            <a:r>
              <a:rPr lang="en-US"/>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282523" y="196095"/>
            <a:ext cx="2475384" cy="953956"/>
          </a:xfrm>
        </p:spPr>
        <p:txBody>
          <a:bodyPr/>
          <a:lstStyle>
            <a:lvl1pPr>
              <a:lnSpc>
                <a:spcPct val="90000"/>
              </a:lnSpc>
              <a:defRPr sz="6499">
                <a:solidFill>
                  <a:schemeClr val="accent1"/>
                </a:solidFill>
              </a:defRPr>
            </a:lvl1pPr>
            <a:lvl2pPr marL="0" indent="0">
              <a:buNone/>
              <a:defRPr/>
            </a:lvl2pPr>
          </a:lstStyle>
          <a:p>
            <a:pPr lvl="0"/>
            <a:r>
              <a:rPr lang="en-US"/>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31669"/>
            <a:ext cx="2474590" cy="1429544"/>
          </a:xfrm>
        </p:spPr>
        <p:txBody>
          <a:bodyPr/>
          <a:lstStyle>
            <a:lvl1pPr>
              <a:lnSpc>
                <a:spcPct val="110000"/>
              </a:lnSpc>
              <a:defRPr sz="18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3333316" y="1147745"/>
            <a:ext cx="2475384" cy="483652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1148538"/>
            <a:ext cx="2476178"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9428522" y="1147745"/>
            <a:ext cx="2476178"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DCF9F2DE-A139-192A-5995-E5A8DC450FDE}"/>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07208B3-738C-B63B-1AF3-D8CE9D85B8A6}"/>
              </a:ext>
            </a:extLst>
          </p:cNvPr>
          <p:cNvCxnSpPr/>
          <p:nvPr userDrawn="1"/>
        </p:nvCxnSpPr>
        <p:spPr bwMode="auto">
          <a:xfrm>
            <a:off x="9151036"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 name="Footer Placeholder 1">
            <a:extLst>
              <a:ext uri="{FF2B5EF4-FFF2-40B4-BE49-F238E27FC236}">
                <a16:creationId xmlns:a16="http://schemas.microsoft.com/office/drawing/2014/main" id="{9D17A823-2B35-9F67-4977-560B8AF64068}"/>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
        <p:nvSpPr>
          <p:cNvPr id="4" name="TextBox 3">
            <a:extLst>
              <a:ext uri="{FF2B5EF4-FFF2-40B4-BE49-F238E27FC236}">
                <a16:creationId xmlns:a16="http://schemas.microsoft.com/office/drawing/2014/main" id="{5E04F5B9-6747-E084-6221-DECE15120321}"/>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rgbClr val="000000"/>
                </a:solidFill>
                <a:latin typeface="IBM Plex Sans" panose="020B0503050203000203" pitchFamily="34" charset="0"/>
                <a:ea typeface="+mj-ea"/>
                <a:cs typeface="+mj-cs"/>
                <a:sym typeface="IBM Plex Sans Light"/>
              </a:rPr>
              <a:t>#IBMTechXchange</a:t>
            </a:r>
          </a:p>
        </p:txBody>
      </p:sp>
    </p:spTree>
    <p:extLst>
      <p:ext uri="{BB962C8B-B14F-4D97-AF65-F5344CB8AC3E}">
        <p14:creationId xmlns:p14="http://schemas.microsoft.com/office/powerpoint/2010/main" val="566712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plain">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Title 1">
            <a:extLst>
              <a:ext uri="{FF2B5EF4-FFF2-40B4-BE49-F238E27FC236}">
                <a16:creationId xmlns:a16="http://schemas.microsoft.com/office/drawing/2014/main" id="{6733F7B7-5AD6-1E43-4FD9-3C700AC2CBD0}"/>
              </a:ext>
            </a:extLst>
          </p:cNvPr>
          <p:cNvSpPr>
            <a:spLocks noGrp="1"/>
          </p:cNvSpPr>
          <p:nvPr>
            <p:ph type="title"/>
          </p:nvPr>
        </p:nvSpPr>
        <p:spPr>
          <a:xfrm>
            <a:off x="269212" y="191937"/>
            <a:ext cx="7345034" cy="1429544"/>
          </a:xfrm>
        </p:spPr>
        <p:txBody>
          <a:bodyPr rIns="457200"/>
          <a:lstStyle>
            <a:lvl1pPr>
              <a:lnSpc>
                <a:spcPct val="100000"/>
              </a:lnSpc>
              <a:defRPr sz="3199">
                <a:solidFill>
                  <a:schemeClr val="tx2"/>
                </a:solidFill>
              </a:defRPr>
            </a:lvl1pPr>
          </a:lstStyle>
          <a:p>
            <a:r>
              <a:rPr lang="en-US"/>
              <a:t>Click to edit Master title style</a:t>
            </a:r>
          </a:p>
        </p:txBody>
      </p:sp>
    </p:spTree>
    <p:extLst>
      <p:ext uri="{BB962C8B-B14F-4D97-AF65-F5344CB8AC3E}">
        <p14:creationId xmlns:p14="http://schemas.microsoft.com/office/powerpoint/2010/main" val="3540583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Short title, plain">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Title 1">
            <a:extLst>
              <a:ext uri="{FF2B5EF4-FFF2-40B4-BE49-F238E27FC236}">
                <a16:creationId xmlns:a16="http://schemas.microsoft.com/office/drawing/2014/main" id="{6733F7B7-5AD6-1E43-4FD9-3C700AC2CBD0}"/>
              </a:ext>
            </a:extLst>
          </p:cNvPr>
          <p:cNvSpPr>
            <a:spLocks noGrp="1"/>
          </p:cNvSpPr>
          <p:nvPr>
            <p:ph type="title"/>
          </p:nvPr>
        </p:nvSpPr>
        <p:spPr>
          <a:xfrm>
            <a:off x="269212" y="191937"/>
            <a:ext cx="4299019" cy="1429544"/>
          </a:xfrm>
        </p:spPr>
        <p:txBody>
          <a:bodyPr rIns="457200"/>
          <a:lstStyle>
            <a:lvl1pPr>
              <a:lnSpc>
                <a:spcPct val="100000"/>
              </a:lnSpc>
              <a:defRPr sz="3199">
                <a:solidFill>
                  <a:schemeClr val="tx2"/>
                </a:solidFill>
              </a:defRPr>
            </a:lvl1pPr>
          </a:lstStyle>
          <a:p>
            <a:r>
              <a:rPr lang="en-US"/>
              <a:t>Click to edit Master title style</a:t>
            </a:r>
          </a:p>
        </p:txBody>
      </p:sp>
      <p:sp>
        <p:nvSpPr>
          <p:cNvPr id="5" name="Footer Placeholder 1">
            <a:extLst>
              <a:ext uri="{FF2B5EF4-FFF2-40B4-BE49-F238E27FC236}">
                <a16:creationId xmlns:a16="http://schemas.microsoft.com/office/drawing/2014/main" id="{8FFF437B-D167-4852-CD55-FDFC9AB2E932}"/>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
        <p:nvSpPr>
          <p:cNvPr id="2" name="TextBox 1">
            <a:extLst>
              <a:ext uri="{FF2B5EF4-FFF2-40B4-BE49-F238E27FC236}">
                <a16:creationId xmlns:a16="http://schemas.microsoft.com/office/drawing/2014/main" id="{8D43FEDF-E404-5E7B-71A7-E7E464680031}"/>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rgbClr val="000000"/>
                </a:solidFill>
                <a:latin typeface="IBM Plex Sans" panose="020B0503050203000203" pitchFamily="34" charset="0"/>
                <a:ea typeface="+mj-ea"/>
                <a:cs typeface="+mj-cs"/>
                <a:sym typeface="IBM Plex Sans Light"/>
              </a:rPr>
              <a:t>#IBMTechXchange</a:t>
            </a:r>
          </a:p>
        </p:txBody>
      </p:sp>
    </p:spTree>
    <p:extLst>
      <p:ext uri="{BB962C8B-B14F-4D97-AF65-F5344CB8AC3E}">
        <p14:creationId xmlns:p14="http://schemas.microsoft.com/office/powerpoint/2010/main" val="3445773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50545"/>
            <a:ext cx="2474590" cy="763524"/>
          </a:xfrm>
        </p:spPr>
        <p:txBody>
          <a:bodyPr/>
          <a:lstStyle>
            <a:lvl1pPr>
              <a:lnSpc>
                <a:spcPct val="110000"/>
              </a:lnSpc>
              <a:defRPr sz="1400">
                <a:solidFill>
                  <a:schemeClr val="tx2"/>
                </a:solidFill>
              </a:defRPr>
            </a:lvl1pPr>
          </a:lstStyle>
          <a:p>
            <a:r>
              <a:rPr lang="en-US"/>
              <a:t>Click to edit Master title style</a:t>
            </a:r>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509459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Contacts, profiles, contributo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50545"/>
            <a:ext cx="2474590" cy="762794"/>
          </a:xfrm>
        </p:spPr>
        <p:txBody>
          <a:bodyPr/>
          <a:lstStyle>
            <a:lvl1pPr>
              <a:lnSpc>
                <a:spcPct val="110000"/>
              </a:lnSpc>
              <a:defRPr sz="1400">
                <a:solidFill>
                  <a:schemeClr val="tx2"/>
                </a:solidFill>
              </a:defRPr>
            </a:lvl1pPr>
          </a:lstStyle>
          <a:p>
            <a:r>
              <a:rPr lang="en-US"/>
              <a:t>Click to edit Master title style</a:t>
            </a:r>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87999" y="30607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714277" y="3023209"/>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87999" y="4762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714277" y="472501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87999" y="1333500"/>
            <a:ext cx="1236501" cy="1238250"/>
          </a:xfrm>
          <a:solidFill>
            <a:srgbClr val="E0E0E0"/>
          </a:solidFill>
        </p:spPr>
        <p:txBody>
          <a:bodyPr anchor="ctr"/>
          <a:lstStyle>
            <a:lvl1pPr algn="ctr">
              <a:defRPr>
                <a:solidFill>
                  <a:schemeClr val="accent5"/>
                </a:solidFill>
              </a:defRPr>
            </a:lvl1pPr>
          </a:lstStyle>
          <a:p>
            <a:r>
              <a:rPr lang="en-US"/>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714277" y="1296009"/>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6377745" y="30607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7807896" y="3023209"/>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6377745" y="4762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7807896" y="472501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6377745" y="1333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7807896" y="1296009"/>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 name="Footer Placeholder 1">
            <a:extLst>
              <a:ext uri="{FF2B5EF4-FFF2-40B4-BE49-F238E27FC236}">
                <a16:creationId xmlns:a16="http://schemas.microsoft.com/office/drawing/2014/main" id="{F111CE7A-DCC6-C6F9-EFAF-A6237664BAF1}"/>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
        <p:nvSpPr>
          <p:cNvPr id="3" name="TextBox 2">
            <a:extLst>
              <a:ext uri="{FF2B5EF4-FFF2-40B4-BE49-F238E27FC236}">
                <a16:creationId xmlns:a16="http://schemas.microsoft.com/office/drawing/2014/main" id="{FC4FB693-6326-4CEF-2C62-DAC9473FB9D4}"/>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rgbClr val="000000"/>
                </a:solidFill>
                <a:latin typeface="IBM Plex Sans" panose="020B0503050203000203" pitchFamily="34" charset="0"/>
                <a:ea typeface="+mj-ea"/>
                <a:cs typeface="+mj-cs"/>
                <a:sym typeface="IBM Plex Sans Light"/>
              </a:rPr>
              <a:t>#IBMTechXchange</a:t>
            </a:r>
          </a:p>
        </p:txBody>
      </p:sp>
    </p:spTree>
    <p:extLst>
      <p:ext uri="{BB962C8B-B14F-4D97-AF65-F5344CB8AC3E}">
        <p14:creationId xmlns:p14="http://schemas.microsoft.com/office/powerpoint/2010/main" val="1981784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Title 1">
            <a:extLst>
              <a:ext uri="{FF2B5EF4-FFF2-40B4-BE49-F238E27FC236}">
                <a16:creationId xmlns:a16="http://schemas.microsoft.com/office/drawing/2014/main" id="{6733F7B7-5AD6-1E43-4FD9-3C700AC2CBD0}"/>
              </a:ext>
            </a:extLst>
          </p:cNvPr>
          <p:cNvSpPr>
            <a:spLocks noGrp="1"/>
          </p:cNvSpPr>
          <p:nvPr>
            <p:ph type="title"/>
          </p:nvPr>
        </p:nvSpPr>
        <p:spPr>
          <a:xfrm>
            <a:off x="269212" y="191937"/>
            <a:ext cx="5539489" cy="1429544"/>
          </a:xfrm>
        </p:spPr>
        <p:txBody>
          <a:bodyPr rIns="457200"/>
          <a:lstStyle>
            <a:lvl1pPr>
              <a:lnSpc>
                <a:spcPct val="100000"/>
              </a:lnSpc>
              <a:defRPr sz="4299">
                <a:solidFill>
                  <a:schemeClr val="tx2"/>
                </a:solidFill>
              </a:defRPr>
            </a:lvl1pPr>
          </a:lstStyle>
          <a:p>
            <a:r>
              <a:rPr lang="en-US"/>
              <a:t>Click to edit Master title style</a:t>
            </a:r>
          </a:p>
        </p:txBody>
      </p:sp>
      <p:sp>
        <p:nvSpPr>
          <p:cNvPr id="5" name="Footer Placeholder 1">
            <a:extLst>
              <a:ext uri="{FF2B5EF4-FFF2-40B4-BE49-F238E27FC236}">
                <a16:creationId xmlns:a16="http://schemas.microsoft.com/office/drawing/2014/main" id="{C378BCC9-F931-23B3-1F50-B47B0061352C}"/>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
        <p:nvSpPr>
          <p:cNvPr id="2" name="Freeform: Shape 1">
            <a:extLst>
              <a:ext uri="{FF2B5EF4-FFF2-40B4-BE49-F238E27FC236}">
                <a16:creationId xmlns:a16="http://schemas.microsoft.com/office/drawing/2014/main" id="{C2871615-2A01-B503-6065-C98326F28A52}"/>
              </a:ext>
            </a:extLst>
          </p:cNvPr>
          <p:cNvSpPr/>
          <p:nvPr userDrawn="1"/>
        </p:nvSpPr>
        <p:spPr>
          <a:xfrm>
            <a:off x="2452540" y="2398530"/>
            <a:ext cx="649371" cy="638298"/>
          </a:xfrm>
          <a:custGeom>
            <a:avLst/>
            <a:gdLst>
              <a:gd name="connsiteX0" fmla="*/ 176617 w 348891"/>
              <a:gd name="connsiteY0" fmla="*/ 342898 h 342897"/>
              <a:gd name="connsiteX1" fmla="*/ 15895 w 348891"/>
              <a:gd name="connsiteY1" fmla="*/ 231255 h 342897"/>
              <a:gd name="connsiteX2" fmla="*/ 0 w 348891"/>
              <a:gd name="connsiteY2" fmla="*/ 216097 h 342897"/>
              <a:gd name="connsiteX3" fmla="*/ 15180 w 348891"/>
              <a:gd name="connsiteY3" fmla="*/ 200917 h 342897"/>
              <a:gd name="connsiteX4" fmla="*/ 30361 w 348891"/>
              <a:gd name="connsiteY4" fmla="*/ 216097 h 342897"/>
              <a:gd name="connsiteX5" fmla="*/ 23541 w 348891"/>
              <a:gd name="connsiteY5" fmla="*/ 228766 h 342897"/>
              <a:gd name="connsiteX6" fmla="*/ 176617 w 348891"/>
              <a:gd name="connsiteY6" fmla="*/ 334861 h 342897"/>
              <a:gd name="connsiteX7" fmla="*/ 330351 w 348891"/>
              <a:gd name="connsiteY7" fmla="*/ 220785 h 342897"/>
              <a:gd name="connsiteX8" fmla="*/ 257073 w 348891"/>
              <a:gd name="connsiteY8" fmla="*/ 259182 h 342897"/>
              <a:gd name="connsiteX9" fmla="*/ 171527 w 348891"/>
              <a:gd name="connsiteY9" fmla="*/ 186350 h 342897"/>
              <a:gd name="connsiteX10" fmla="*/ 159260 w 348891"/>
              <a:gd name="connsiteY10" fmla="*/ 171449 h 342897"/>
              <a:gd name="connsiteX11" fmla="*/ 169172 w 348891"/>
              <a:gd name="connsiteY11" fmla="*/ 157217 h 342897"/>
              <a:gd name="connsiteX12" fmla="*/ 89642 w 348891"/>
              <a:gd name="connsiteY12" fmla="*/ 90669 h 342897"/>
              <a:gd name="connsiteX13" fmla="*/ 11039 w 348891"/>
              <a:gd name="connsiteY13" fmla="*/ 171382 h 342897"/>
              <a:gd name="connsiteX14" fmla="*/ 11039 w 348891"/>
              <a:gd name="connsiteY14" fmla="*/ 171449 h 342897"/>
              <a:gd name="connsiteX15" fmla="*/ 2991 w 348891"/>
              <a:gd name="connsiteY15" fmla="*/ 171449 h 342897"/>
              <a:gd name="connsiteX16" fmla="*/ 2991 w 348891"/>
              <a:gd name="connsiteY16" fmla="*/ 171371 h 342897"/>
              <a:gd name="connsiteX17" fmla="*/ 172264 w 348891"/>
              <a:gd name="connsiteY17" fmla="*/ 0 h 342897"/>
              <a:gd name="connsiteX18" fmla="*/ 332986 w 348891"/>
              <a:gd name="connsiteY18" fmla="*/ 111631 h 342897"/>
              <a:gd name="connsiteX19" fmla="*/ 348892 w 348891"/>
              <a:gd name="connsiteY19" fmla="*/ 126790 h 342897"/>
              <a:gd name="connsiteX20" fmla="*/ 333711 w 348891"/>
              <a:gd name="connsiteY20" fmla="*/ 141970 h 342897"/>
              <a:gd name="connsiteX21" fmla="*/ 318531 w 348891"/>
              <a:gd name="connsiteY21" fmla="*/ 126790 h 342897"/>
              <a:gd name="connsiteX22" fmla="*/ 325351 w 348891"/>
              <a:gd name="connsiteY22" fmla="*/ 114121 h 342897"/>
              <a:gd name="connsiteX23" fmla="*/ 172264 w 348891"/>
              <a:gd name="connsiteY23" fmla="*/ 8037 h 342897"/>
              <a:gd name="connsiteX24" fmla="*/ 19801 w 348891"/>
              <a:gd name="connsiteY24" fmla="*/ 118239 h 342897"/>
              <a:gd name="connsiteX25" fmla="*/ 89631 w 348891"/>
              <a:gd name="connsiteY25" fmla="*/ 82633 h 342897"/>
              <a:gd name="connsiteX26" fmla="*/ 177208 w 348891"/>
              <a:gd name="connsiteY26" fmla="*/ 156525 h 342897"/>
              <a:gd name="connsiteX27" fmla="*/ 189621 w 348891"/>
              <a:gd name="connsiteY27" fmla="*/ 171449 h 342897"/>
              <a:gd name="connsiteX28" fmla="*/ 179564 w 348891"/>
              <a:gd name="connsiteY28" fmla="*/ 185736 h 342897"/>
              <a:gd name="connsiteX29" fmla="*/ 257062 w 348891"/>
              <a:gd name="connsiteY29" fmla="*/ 251135 h 342897"/>
              <a:gd name="connsiteX30" fmla="*/ 337819 w 348891"/>
              <a:gd name="connsiteY30" fmla="*/ 174663 h 342897"/>
              <a:gd name="connsiteX31" fmla="*/ 337841 w 348891"/>
              <a:gd name="connsiteY31" fmla="*/ 171438 h 342897"/>
              <a:gd name="connsiteX32" fmla="*/ 345889 w 348891"/>
              <a:gd name="connsiteY32" fmla="*/ 171438 h 342897"/>
              <a:gd name="connsiteX33" fmla="*/ 345878 w 348891"/>
              <a:gd name="connsiteY33" fmla="*/ 172532 h 342897"/>
              <a:gd name="connsiteX34" fmla="*/ 345889 w 348891"/>
              <a:gd name="connsiteY34" fmla="*/ 172532 h 342897"/>
              <a:gd name="connsiteX35" fmla="*/ 345856 w 348891"/>
              <a:gd name="connsiteY35" fmla="*/ 174842 h 342897"/>
              <a:gd name="connsiteX36" fmla="*/ 176617 w 348891"/>
              <a:gd name="connsiteY36" fmla="*/ 342898 h 342897"/>
              <a:gd name="connsiteX37" fmla="*/ 15180 w 348891"/>
              <a:gd name="connsiteY37" fmla="*/ 208953 h 342897"/>
              <a:gd name="connsiteX38" fmla="*/ 8037 w 348891"/>
              <a:gd name="connsiteY38" fmla="*/ 216097 h 342897"/>
              <a:gd name="connsiteX39" fmla="*/ 15180 w 348891"/>
              <a:gd name="connsiteY39" fmla="*/ 223241 h 342897"/>
              <a:gd name="connsiteX40" fmla="*/ 22324 w 348891"/>
              <a:gd name="connsiteY40" fmla="*/ 216097 h 342897"/>
              <a:gd name="connsiteX41" fmla="*/ 15180 w 348891"/>
              <a:gd name="connsiteY41" fmla="*/ 208953 h 342897"/>
              <a:gd name="connsiteX42" fmla="*/ 174440 w 348891"/>
              <a:gd name="connsiteY42" fmla="*/ 164305 h 342897"/>
              <a:gd name="connsiteX43" fmla="*/ 167297 w 348891"/>
              <a:gd name="connsiteY43" fmla="*/ 171449 h 342897"/>
              <a:gd name="connsiteX44" fmla="*/ 174440 w 348891"/>
              <a:gd name="connsiteY44" fmla="*/ 178593 h 342897"/>
              <a:gd name="connsiteX45" fmla="*/ 181584 w 348891"/>
              <a:gd name="connsiteY45" fmla="*/ 171449 h 342897"/>
              <a:gd name="connsiteX46" fmla="*/ 174440 w 348891"/>
              <a:gd name="connsiteY46" fmla="*/ 164305 h 342897"/>
              <a:gd name="connsiteX47" fmla="*/ 333711 w 348891"/>
              <a:gd name="connsiteY47" fmla="*/ 119657 h 342897"/>
              <a:gd name="connsiteX48" fmla="*/ 326568 w 348891"/>
              <a:gd name="connsiteY48" fmla="*/ 126801 h 342897"/>
              <a:gd name="connsiteX49" fmla="*/ 333711 w 348891"/>
              <a:gd name="connsiteY49" fmla="*/ 133944 h 342897"/>
              <a:gd name="connsiteX50" fmla="*/ 340855 w 348891"/>
              <a:gd name="connsiteY50" fmla="*/ 126801 h 342897"/>
              <a:gd name="connsiteX51" fmla="*/ 333711 w 348891"/>
              <a:gd name="connsiteY51" fmla="*/ 119657 h 34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48891" h="342897">
                <a:moveTo>
                  <a:pt x="176617" y="342898"/>
                </a:moveTo>
                <a:cubicBezTo>
                  <a:pt x="104945" y="342898"/>
                  <a:pt x="40786" y="298171"/>
                  <a:pt x="15895" y="231255"/>
                </a:cubicBezTo>
                <a:cubicBezTo>
                  <a:pt x="7579" y="231813"/>
                  <a:pt x="11" y="224703"/>
                  <a:pt x="0" y="216097"/>
                </a:cubicBezTo>
                <a:cubicBezTo>
                  <a:pt x="0" y="207725"/>
                  <a:pt x="6809" y="200917"/>
                  <a:pt x="15180" y="200917"/>
                </a:cubicBezTo>
                <a:cubicBezTo>
                  <a:pt x="23552" y="200917"/>
                  <a:pt x="30361" y="207725"/>
                  <a:pt x="30361" y="216097"/>
                </a:cubicBezTo>
                <a:cubicBezTo>
                  <a:pt x="30361" y="221388"/>
                  <a:pt x="27648" y="226053"/>
                  <a:pt x="23541" y="228766"/>
                </a:cubicBezTo>
                <a:cubicBezTo>
                  <a:pt x="47349" y="292367"/>
                  <a:pt x="108417" y="334861"/>
                  <a:pt x="176617" y="334861"/>
                </a:cubicBezTo>
                <a:cubicBezTo>
                  <a:pt x="248567" y="334861"/>
                  <a:pt x="309657" y="286853"/>
                  <a:pt x="330351" y="220785"/>
                </a:cubicBezTo>
                <a:cubicBezTo>
                  <a:pt x="314189" y="243779"/>
                  <a:pt x="287076" y="259182"/>
                  <a:pt x="257073" y="259182"/>
                </a:cubicBezTo>
                <a:cubicBezTo>
                  <a:pt x="214411" y="259182"/>
                  <a:pt x="178202" y="228096"/>
                  <a:pt x="171527" y="186350"/>
                </a:cubicBezTo>
                <a:cubicBezTo>
                  <a:pt x="164540" y="184977"/>
                  <a:pt x="159260" y="178827"/>
                  <a:pt x="159260" y="171449"/>
                </a:cubicBezTo>
                <a:cubicBezTo>
                  <a:pt x="159260" y="164930"/>
                  <a:pt x="163390" y="159360"/>
                  <a:pt x="169172" y="157217"/>
                </a:cubicBezTo>
                <a:cubicBezTo>
                  <a:pt x="162385" y="119032"/>
                  <a:pt x="128821" y="90669"/>
                  <a:pt x="89642" y="90669"/>
                </a:cubicBezTo>
                <a:cubicBezTo>
                  <a:pt x="45586" y="90669"/>
                  <a:pt x="11062" y="126120"/>
                  <a:pt x="11039" y="171382"/>
                </a:cubicBezTo>
                <a:cubicBezTo>
                  <a:pt x="11039" y="171404"/>
                  <a:pt x="11039" y="171426"/>
                  <a:pt x="11039" y="171449"/>
                </a:cubicBezTo>
                <a:lnTo>
                  <a:pt x="2991" y="171449"/>
                </a:lnTo>
                <a:cubicBezTo>
                  <a:pt x="2991" y="171426"/>
                  <a:pt x="2991" y="171404"/>
                  <a:pt x="2991" y="171371"/>
                </a:cubicBezTo>
                <a:cubicBezTo>
                  <a:pt x="3036" y="76862"/>
                  <a:pt x="78949" y="0"/>
                  <a:pt x="172264" y="0"/>
                </a:cubicBezTo>
                <a:cubicBezTo>
                  <a:pt x="243924" y="0"/>
                  <a:pt x="308083" y="44715"/>
                  <a:pt x="332986" y="111631"/>
                </a:cubicBezTo>
                <a:cubicBezTo>
                  <a:pt x="341659" y="111252"/>
                  <a:pt x="348892" y="118184"/>
                  <a:pt x="348892" y="126790"/>
                </a:cubicBezTo>
                <a:cubicBezTo>
                  <a:pt x="348892" y="135161"/>
                  <a:pt x="342083" y="141970"/>
                  <a:pt x="333711" y="141970"/>
                </a:cubicBezTo>
                <a:cubicBezTo>
                  <a:pt x="325340" y="141970"/>
                  <a:pt x="318531" y="135161"/>
                  <a:pt x="318531" y="126790"/>
                </a:cubicBezTo>
                <a:cubicBezTo>
                  <a:pt x="318531" y="121510"/>
                  <a:pt x="321243" y="116844"/>
                  <a:pt x="325351" y="114121"/>
                </a:cubicBezTo>
                <a:cubicBezTo>
                  <a:pt x="301542" y="50519"/>
                  <a:pt x="240475" y="8037"/>
                  <a:pt x="172264" y="8037"/>
                </a:cubicBezTo>
                <a:cubicBezTo>
                  <a:pt x="101731" y="8037"/>
                  <a:pt x="41623" y="54181"/>
                  <a:pt x="19801" y="118239"/>
                </a:cubicBezTo>
                <a:cubicBezTo>
                  <a:pt x="35451" y="96485"/>
                  <a:pt x="60677" y="82633"/>
                  <a:pt x="89631" y="82633"/>
                </a:cubicBezTo>
                <a:cubicBezTo>
                  <a:pt x="132951" y="82633"/>
                  <a:pt x="170042" y="114176"/>
                  <a:pt x="177208" y="156525"/>
                </a:cubicBezTo>
                <a:cubicBezTo>
                  <a:pt x="184263" y="157820"/>
                  <a:pt x="189621" y="164026"/>
                  <a:pt x="189621" y="171449"/>
                </a:cubicBezTo>
                <a:cubicBezTo>
                  <a:pt x="189621" y="178023"/>
                  <a:pt x="185424" y="183638"/>
                  <a:pt x="179564" y="185736"/>
                </a:cubicBezTo>
                <a:cubicBezTo>
                  <a:pt x="185892" y="223274"/>
                  <a:pt x="218586" y="251135"/>
                  <a:pt x="257062" y="251135"/>
                </a:cubicBezTo>
                <a:cubicBezTo>
                  <a:pt x="300114" y="251135"/>
                  <a:pt x="336613" y="216331"/>
                  <a:pt x="337819" y="174663"/>
                </a:cubicBezTo>
                <a:cubicBezTo>
                  <a:pt x="337830" y="173592"/>
                  <a:pt x="337841" y="172520"/>
                  <a:pt x="337841" y="171438"/>
                </a:cubicBezTo>
                <a:lnTo>
                  <a:pt x="345889" y="171438"/>
                </a:lnTo>
                <a:cubicBezTo>
                  <a:pt x="345889" y="171806"/>
                  <a:pt x="345889" y="172163"/>
                  <a:pt x="345878" y="172532"/>
                </a:cubicBezTo>
                <a:lnTo>
                  <a:pt x="345889" y="172532"/>
                </a:lnTo>
                <a:cubicBezTo>
                  <a:pt x="345889" y="173302"/>
                  <a:pt x="345878" y="174072"/>
                  <a:pt x="345856" y="174842"/>
                </a:cubicBezTo>
                <a:cubicBezTo>
                  <a:pt x="344058" y="267822"/>
                  <a:pt x="268826" y="342898"/>
                  <a:pt x="176617" y="342898"/>
                </a:cubicBezTo>
                <a:close/>
                <a:moveTo>
                  <a:pt x="15180" y="208953"/>
                </a:moveTo>
                <a:cubicBezTo>
                  <a:pt x="11240" y="208953"/>
                  <a:pt x="8037" y="212157"/>
                  <a:pt x="8037" y="216097"/>
                </a:cubicBezTo>
                <a:cubicBezTo>
                  <a:pt x="8037" y="220037"/>
                  <a:pt x="11240" y="223241"/>
                  <a:pt x="15180" y="223241"/>
                </a:cubicBezTo>
                <a:cubicBezTo>
                  <a:pt x="19121" y="223241"/>
                  <a:pt x="22324" y="220037"/>
                  <a:pt x="22324" y="216097"/>
                </a:cubicBezTo>
                <a:cubicBezTo>
                  <a:pt x="22324" y="212157"/>
                  <a:pt x="19121" y="208953"/>
                  <a:pt x="15180" y="208953"/>
                </a:cubicBezTo>
                <a:close/>
                <a:moveTo>
                  <a:pt x="174440" y="164305"/>
                </a:moveTo>
                <a:cubicBezTo>
                  <a:pt x="170500" y="164305"/>
                  <a:pt x="167297" y="167509"/>
                  <a:pt x="167297" y="171449"/>
                </a:cubicBezTo>
                <a:cubicBezTo>
                  <a:pt x="167297" y="175389"/>
                  <a:pt x="170500" y="178593"/>
                  <a:pt x="174440" y="178593"/>
                </a:cubicBezTo>
                <a:cubicBezTo>
                  <a:pt x="178380" y="178593"/>
                  <a:pt x="181584" y="175389"/>
                  <a:pt x="181584" y="171449"/>
                </a:cubicBezTo>
                <a:cubicBezTo>
                  <a:pt x="181584" y="167509"/>
                  <a:pt x="178380" y="164305"/>
                  <a:pt x="174440" y="164305"/>
                </a:cubicBezTo>
                <a:close/>
                <a:moveTo>
                  <a:pt x="333711" y="119657"/>
                </a:moveTo>
                <a:cubicBezTo>
                  <a:pt x="329771" y="119657"/>
                  <a:pt x="326568" y="122860"/>
                  <a:pt x="326568" y="126801"/>
                </a:cubicBezTo>
                <a:cubicBezTo>
                  <a:pt x="326568" y="130741"/>
                  <a:pt x="329771" y="133944"/>
                  <a:pt x="333711" y="133944"/>
                </a:cubicBezTo>
                <a:cubicBezTo>
                  <a:pt x="337651" y="133944"/>
                  <a:pt x="340855" y="130741"/>
                  <a:pt x="340855" y="126801"/>
                </a:cubicBezTo>
                <a:cubicBezTo>
                  <a:pt x="340855" y="122860"/>
                  <a:pt x="337640" y="119657"/>
                  <a:pt x="333711" y="119657"/>
                </a:cubicBezTo>
                <a:close/>
              </a:path>
            </a:pathLst>
          </a:custGeom>
          <a:solidFill>
            <a:srgbClr val="000000"/>
          </a:solidFill>
          <a:ln w="11013" cap="flat">
            <a:noFill/>
            <a:prstDash val="solid"/>
            <a:miter/>
          </a:ln>
        </p:spPr>
        <p:txBody>
          <a:bodyPr rtlCol="0" anchor="ctr"/>
          <a:lstStyle/>
          <a:p>
            <a:endParaRPr lang="en-US" sz="900"/>
          </a:p>
        </p:txBody>
      </p:sp>
      <p:sp>
        <p:nvSpPr>
          <p:cNvPr id="6" name="Freeform: Shape 5">
            <a:extLst>
              <a:ext uri="{FF2B5EF4-FFF2-40B4-BE49-F238E27FC236}">
                <a16:creationId xmlns:a16="http://schemas.microsoft.com/office/drawing/2014/main" id="{37DF9860-FF2D-0A68-2FDB-4248E911B147}"/>
              </a:ext>
            </a:extLst>
          </p:cNvPr>
          <p:cNvSpPr/>
          <p:nvPr userDrawn="1"/>
        </p:nvSpPr>
        <p:spPr>
          <a:xfrm>
            <a:off x="4701317" y="1978219"/>
            <a:ext cx="644828" cy="638298"/>
          </a:xfrm>
          <a:custGeom>
            <a:avLst/>
            <a:gdLst>
              <a:gd name="connsiteX0" fmla="*/ 716288 w 1432576"/>
              <a:gd name="connsiteY0" fmla="*/ 0 h 1417883"/>
              <a:gd name="connsiteX1" fmla="*/ 716288 w 1432576"/>
              <a:gd name="connsiteY1" fmla="*/ 0 h 1417883"/>
              <a:gd name="connsiteX2" fmla="*/ 0 w 1432576"/>
              <a:gd name="connsiteY2" fmla="*/ 0 h 1417883"/>
              <a:gd name="connsiteX3" fmla="*/ 716288 w 1432576"/>
              <a:gd name="connsiteY3" fmla="*/ 708941 h 1417883"/>
              <a:gd name="connsiteX4" fmla="*/ 0 w 1432576"/>
              <a:gd name="connsiteY4" fmla="*/ 1417883 h 1417883"/>
              <a:gd name="connsiteX5" fmla="*/ 716288 w 1432576"/>
              <a:gd name="connsiteY5" fmla="*/ 1417883 h 1417883"/>
              <a:gd name="connsiteX6" fmla="*/ 716288 w 1432576"/>
              <a:gd name="connsiteY6" fmla="*/ 1417883 h 1417883"/>
              <a:gd name="connsiteX7" fmla="*/ 1432576 w 1432576"/>
              <a:gd name="connsiteY7" fmla="*/ 708941 h 1417883"/>
              <a:gd name="connsiteX8" fmla="*/ 716288 w 1432576"/>
              <a:gd name="connsiteY8" fmla="*/ 708941 h 1417883"/>
              <a:gd name="connsiteX9" fmla="*/ 716288 w 1432576"/>
              <a:gd name="connsiteY9" fmla="*/ 708941 h 1417883"/>
              <a:gd name="connsiteX10" fmla="*/ 1432576 w 1432576"/>
              <a:gd name="connsiteY10" fmla="*/ 708941 h 141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32576" h="1417883">
                <a:moveTo>
                  <a:pt x="716288" y="0"/>
                </a:moveTo>
                <a:lnTo>
                  <a:pt x="716288" y="0"/>
                </a:lnTo>
                <a:lnTo>
                  <a:pt x="0" y="0"/>
                </a:lnTo>
                <a:lnTo>
                  <a:pt x="716288" y="708941"/>
                </a:lnTo>
                <a:lnTo>
                  <a:pt x="0" y="1417883"/>
                </a:lnTo>
                <a:lnTo>
                  <a:pt x="716288" y="1417883"/>
                </a:lnTo>
                <a:lnTo>
                  <a:pt x="716288" y="1417883"/>
                </a:lnTo>
                <a:lnTo>
                  <a:pt x="1432576" y="708941"/>
                </a:lnTo>
                <a:lnTo>
                  <a:pt x="716288" y="708941"/>
                </a:lnTo>
                <a:lnTo>
                  <a:pt x="716288" y="708941"/>
                </a:lnTo>
                <a:lnTo>
                  <a:pt x="1432576" y="708941"/>
                </a:lnTo>
                <a:close/>
              </a:path>
            </a:pathLst>
          </a:custGeom>
          <a:solidFill>
            <a:schemeClr val="accent6"/>
          </a:solidFill>
          <a:ln w="7342" cap="flat">
            <a:noFill/>
            <a:prstDash val="solid"/>
            <a:miter/>
          </a:ln>
        </p:spPr>
        <p:txBody>
          <a:bodyPr rtlCol="0" anchor="ctr"/>
          <a:lstStyle/>
          <a:p>
            <a:endParaRPr lang="uk-UA" sz="900"/>
          </a:p>
        </p:txBody>
      </p:sp>
      <p:sp>
        <p:nvSpPr>
          <p:cNvPr id="10" name="Picture Placeholder 3">
            <a:extLst>
              <a:ext uri="{FF2B5EF4-FFF2-40B4-BE49-F238E27FC236}">
                <a16:creationId xmlns:a16="http://schemas.microsoft.com/office/drawing/2014/main" id="{17504274-0FF6-88F8-BEB9-DA628BA81375}"/>
              </a:ext>
            </a:extLst>
          </p:cNvPr>
          <p:cNvSpPr>
            <a:spLocks noGrp="1"/>
          </p:cNvSpPr>
          <p:nvPr>
            <p:ph type="pic" sz="quarter" idx="11" hasCustomPrompt="1"/>
          </p:nvPr>
        </p:nvSpPr>
        <p:spPr>
          <a:xfrm>
            <a:off x="2916909" y="1965092"/>
            <a:ext cx="2242668" cy="2242960"/>
          </a:xfrm>
          <a:prstGeom prst="ellipse">
            <a:avLst/>
          </a:prstGeom>
          <a:solidFill>
            <a:srgbClr val="E0E0E0"/>
          </a:solidFill>
        </p:spPr>
        <p:txBody>
          <a:bodyPr anchor="ctr"/>
          <a:lstStyle>
            <a:lvl1pPr algn="ctr">
              <a:defRPr>
                <a:solidFill>
                  <a:schemeClr val="accent5"/>
                </a:solidFill>
              </a:defRPr>
            </a:lvl1pPr>
          </a:lstStyle>
          <a:p>
            <a:r>
              <a:rPr lang="en-US"/>
              <a:t>Place imagery here</a:t>
            </a:r>
          </a:p>
        </p:txBody>
      </p:sp>
      <p:sp>
        <p:nvSpPr>
          <p:cNvPr id="11" name="Freeform: Shape 10">
            <a:extLst>
              <a:ext uri="{FF2B5EF4-FFF2-40B4-BE49-F238E27FC236}">
                <a16:creationId xmlns:a16="http://schemas.microsoft.com/office/drawing/2014/main" id="{CD59BB12-14A4-D953-6BDA-A30184BB25AB}"/>
              </a:ext>
            </a:extLst>
          </p:cNvPr>
          <p:cNvSpPr>
            <a:spLocks noChangeAspect="1"/>
          </p:cNvSpPr>
          <p:nvPr userDrawn="1"/>
        </p:nvSpPr>
        <p:spPr>
          <a:xfrm>
            <a:off x="2677196" y="3539951"/>
            <a:ext cx="1106238" cy="1101539"/>
          </a:xfrm>
          <a:custGeom>
            <a:avLst/>
            <a:gdLst>
              <a:gd name="connsiteX0" fmla="*/ 1002803 w 1998994"/>
              <a:gd name="connsiteY0" fmla="*/ 1581041 h 1990243"/>
              <a:gd name="connsiteX1" fmla="*/ 1247443 w 1998994"/>
              <a:gd name="connsiteY1" fmla="*/ 1338605 h 1990243"/>
              <a:gd name="connsiteX2" fmla="*/ 1002803 w 1998994"/>
              <a:gd name="connsiteY2" fmla="*/ 1096169 h 1990243"/>
              <a:gd name="connsiteX3" fmla="*/ 758163 w 1998994"/>
              <a:gd name="connsiteY3" fmla="*/ 1338605 h 1990243"/>
              <a:gd name="connsiteX4" fmla="*/ 1002803 w 1998994"/>
              <a:gd name="connsiteY4" fmla="*/ 1581041 h 1990243"/>
              <a:gd name="connsiteX5" fmla="*/ 1011619 w 1998994"/>
              <a:gd name="connsiteY5" fmla="*/ 1892534 h 1990243"/>
              <a:gd name="connsiteX6" fmla="*/ 1579507 w 1998994"/>
              <a:gd name="connsiteY6" fmla="*/ 1337870 h 1990243"/>
              <a:gd name="connsiteX7" fmla="*/ 1011619 w 1998994"/>
              <a:gd name="connsiteY7" fmla="*/ 782471 h 1990243"/>
              <a:gd name="connsiteX8" fmla="*/ 443731 w 1998994"/>
              <a:gd name="connsiteY8" fmla="*/ 1337136 h 1990243"/>
              <a:gd name="connsiteX9" fmla="*/ 1011619 w 1998994"/>
              <a:gd name="connsiteY9" fmla="*/ 1892534 h 1990243"/>
              <a:gd name="connsiteX10" fmla="*/ 0 w 1998994"/>
              <a:gd name="connsiteY10" fmla="*/ 1321708 h 1990243"/>
              <a:gd name="connsiteX11" fmla="*/ 999865 w 1998994"/>
              <a:gd name="connsiteY11" fmla="*/ 660519 h 1990243"/>
              <a:gd name="connsiteX12" fmla="*/ 1998260 w 1998994"/>
              <a:gd name="connsiteY12" fmla="*/ 1329055 h 1990243"/>
              <a:gd name="connsiteX13" fmla="*/ 999865 w 1998994"/>
              <a:gd name="connsiteY13" fmla="*/ 1990244 h 1990243"/>
              <a:gd name="connsiteX14" fmla="*/ 0 w 1998994"/>
              <a:gd name="connsiteY14" fmla="*/ 1321708 h 1990243"/>
              <a:gd name="connsiteX15" fmla="*/ 372470 w 1998994"/>
              <a:gd name="connsiteY15" fmla="*/ 197686 h 1990243"/>
              <a:gd name="connsiteX16" fmla="*/ 999865 w 1998994"/>
              <a:gd name="connsiteY16" fmla="*/ 64 h 1990243"/>
              <a:gd name="connsiteX17" fmla="*/ 1627260 w 1998994"/>
              <a:gd name="connsiteY17" fmla="*/ 197686 h 1990243"/>
              <a:gd name="connsiteX18" fmla="*/ 1998995 w 1998994"/>
              <a:gd name="connsiteY18" fmla="*/ 598808 h 1990243"/>
              <a:gd name="connsiteX19" fmla="*/ 1998995 w 1998994"/>
              <a:gd name="connsiteY19" fmla="*/ 796430 h 1990243"/>
              <a:gd name="connsiteX20" fmla="*/ 1550856 w 1998994"/>
              <a:gd name="connsiteY20" fmla="*/ 470978 h 1990243"/>
              <a:gd name="connsiteX21" fmla="*/ 999865 w 1998994"/>
              <a:gd name="connsiteY21" fmla="*/ 346087 h 1990243"/>
              <a:gd name="connsiteX22" fmla="*/ 448874 w 1998994"/>
              <a:gd name="connsiteY22" fmla="*/ 470978 h 1990243"/>
              <a:gd name="connsiteX23" fmla="*/ 734 w 1998994"/>
              <a:gd name="connsiteY23" fmla="*/ 796430 h 1990243"/>
              <a:gd name="connsiteX24" fmla="*/ 734 w 1998994"/>
              <a:gd name="connsiteY24" fmla="*/ 598808 h 1990243"/>
              <a:gd name="connsiteX25" fmla="*/ 372470 w 1998994"/>
              <a:gd name="connsiteY25" fmla="*/ 197686 h 1990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998994" h="1990243">
                <a:moveTo>
                  <a:pt x="1002803" y="1581041"/>
                </a:moveTo>
                <a:cubicBezTo>
                  <a:pt x="1137980" y="1581041"/>
                  <a:pt x="1247443" y="1472312"/>
                  <a:pt x="1247443" y="1338605"/>
                </a:cubicBezTo>
                <a:cubicBezTo>
                  <a:pt x="1247443" y="1204163"/>
                  <a:pt x="1137980" y="1096169"/>
                  <a:pt x="1002803" y="1096169"/>
                </a:cubicBezTo>
                <a:cubicBezTo>
                  <a:pt x="867627" y="1096169"/>
                  <a:pt x="758163" y="1204898"/>
                  <a:pt x="758163" y="1338605"/>
                </a:cubicBezTo>
                <a:cubicBezTo>
                  <a:pt x="757429" y="1472312"/>
                  <a:pt x="867627" y="1581041"/>
                  <a:pt x="1002803" y="1581041"/>
                </a:cubicBezTo>
                <a:close/>
                <a:moveTo>
                  <a:pt x="1011619" y="1892534"/>
                </a:moveTo>
                <a:cubicBezTo>
                  <a:pt x="1325317" y="1892534"/>
                  <a:pt x="1579507" y="1644221"/>
                  <a:pt x="1579507" y="1337870"/>
                </a:cubicBezTo>
                <a:cubicBezTo>
                  <a:pt x="1579507" y="1031520"/>
                  <a:pt x="1325317" y="782471"/>
                  <a:pt x="1011619" y="782471"/>
                </a:cubicBezTo>
                <a:cubicBezTo>
                  <a:pt x="697922" y="782471"/>
                  <a:pt x="443731" y="1030785"/>
                  <a:pt x="443731" y="1337136"/>
                </a:cubicBezTo>
                <a:cubicBezTo>
                  <a:pt x="443731" y="1643487"/>
                  <a:pt x="697187" y="1892534"/>
                  <a:pt x="1011619" y="1892534"/>
                </a:cubicBezTo>
                <a:close/>
                <a:moveTo>
                  <a:pt x="0" y="1321708"/>
                </a:moveTo>
                <a:cubicBezTo>
                  <a:pt x="0" y="1321708"/>
                  <a:pt x="230681" y="660519"/>
                  <a:pt x="999865" y="660519"/>
                </a:cubicBezTo>
                <a:cubicBezTo>
                  <a:pt x="1769048" y="660519"/>
                  <a:pt x="1998260" y="1329055"/>
                  <a:pt x="1998260" y="1329055"/>
                </a:cubicBezTo>
                <a:cubicBezTo>
                  <a:pt x="1998260" y="1329055"/>
                  <a:pt x="1771252" y="1990244"/>
                  <a:pt x="999865" y="1990244"/>
                </a:cubicBezTo>
                <a:cubicBezTo>
                  <a:pt x="228477" y="1990244"/>
                  <a:pt x="0" y="1321708"/>
                  <a:pt x="0" y="1321708"/>
                </a:cubicBezTo>
                <a:close/>
                <a:moveTo>
                  <a:pt x="372470" y="197686"/>
                </a:moveTo>
                <a:cubicBezTo>
                  <a:pt x="634741" y="1534"/>
                  <a:pt x="951378" y="-670"/>
                  <a:pt x="999865" y="64"/>
                </a:cubicBezTo>
                <a:cubicBezTo>
                  <a:pt x="1048352" y="-670"/>
                  <a:pt x="1364988" y="1534"/>
                  <a:pt x="1627260" y="197686"/>
                </a:cubicBezTo>
                <a:cubicBezTo>
                  <a:pt x="1911571" y="410736"/>
                  <a:pt x="1998995" y="598808"/>
                  <a:pt x="1998995" y="598808"/>
                </a:cubicBezTo>
                <a:lnTo>
                  <a:pt x="1998995" y="796430"/>
                </a:lnTo>
                <a:cubicBezTo>
                  <a:pt x="1998995" y="796430"/>
                  <a:pt x="1821208" y="595135"/>
                  <a:pt x="1550856" y="470978"/>
                </a:cubicBezTo>
                <a:cubicBezTo>
                  <a:pt x="1304012" y="357841"/>
                  <a:pt x="1043209" y="346821"/>
                  <a:pt x="999865" y="346087"/>
                </a:cubicBezTo>
                <a:cubicBezTo>
                  <a:pt x="956520" y="346821"/>
                  <a:pt x="695718" y="357841"/>
                  <a:pt x="448874" y="470978"/>
                </a:cubicBezTo>
                <a:cubicBezTo>
                  <a:pt x="178521" y="595135"/>
                  <a:pt x="734" y="796430"/>
                  <a:pt x="734" y="796430"/>
                </a:cubicBezTo>
                <a:lnTo>
                  <a:pt x="734" y="598808"/>
                </a:lnTo>
                <a:cubicBezTo>
                  <a:pt x="0" y="598808"/>
                  <a:pt x="88159" y="410736"/>
                  <a:pt x="372470" y="197686"/>
                </a:cubicBezTo>
                <a:close/>
              </a:path>
            </a:pathLst>
          </a:custGeom>
          <a:solidFill>
            <a:srgbClr val="6FDC8C"/>
          </a:solidFill>
          <a:ln w="7342" cap="flat">
            <a:noFill/>
            <a:prstDash val="solid"/>
            <a:miter/>
          </a:ln>
        </p:spPr>
        <p:txBody>
          <a:bodyPr rtlCol="0" anchor="ctr"/>
          <a:lstStyle/>
          <a:p>
            <a:endParaRPr lang="uk-UA" sz="900"/>
          </a:p>
        </p:txBody>
      </p:sp>
      <p:sp>
        <p:nvSpPr>
          <p:cNvPr id="12" name="Freeform: Shape 11">
            <a:extLst>
              <a:ext uri="{FF2B5EF4-FFF2-40B4-BE49-F238E27FC236}">
                <a16:creationId xmlns:a16="http://schemas.microsoft.com/office/drawing/2014/main" id="{4F97D62B-7DAA-1CE4-47AE-F1EFEA179E91}"/>
              </a:ext>
            </a:extLst>
          </p:cNvPr>
          <p:cNvSpPr/>
          <p:nvPr userDrawn="1"/>
        </p:nvSpPr>
        <p:spPr>
          <a:xfrm>
            <a:off x="5252852" y="3054862"/>
            <a:ext cx="535674" cy="535744"/>
          </a:xfrm>
          <a:custGeom>
            <a:avLst/>
            <a:gdLst>
              <a:gd name="connsiteX0" fmla="*/ 716288 w 1432576"/>
              <a:gd name="connsiteY0" fmla="*/ 1432576 h 1432576"/>
              <a:gd name="connsiteX1" fmla="*/ 0 w 1432576"/>
              <a:gd name="connsiteY1" fmla="*/ 716288 h 1432576"/>
              <a:gd name="connsiteX2" fmla="*/ 0 w 1432576"/>
              <a:gd name="connsiteY2" fmla="*/ 1432576 h 1432576"/>
              <a:gd name="connsiteX3" fmla="*/ 716288 w 1432576"/>
              <a:gd name="connsiteY3" fmla="*/ 1432576 h 1432576"/>
              <a:gd name="connsiteX4" fmla="*/ 716288 w 1432576"/>
              <a:gd name="connsiteY4" fmla="*/ 1432576 h 1432576"/>
              <a:gd name="connsiteX5" fmla="*/ 1432576 w 1432576"/>
              <a:gd name="connsiteY5" fmla="*/ 716288 h 1432576"/>
              <a:gd name="connsiteX6" fmla="*/ 1432576 w 1432576"/>
              <a:gd name="connsiteY6" fmla="*/ 1432576 h 1432576"/>
              <a:gd name="connsiteX7" fmla="*/ 716288 w 1432576"/>
              <a:gd name="connsiteY7" fmla="*/ 1432576 h 1432576"/>
              <a:gd name="connsiteX8" fmla="*/ 1432576 w 1432576"/>
              <a:gd name="connsiteY8" fmla="*/ 0 h 1432576"/>
              <a:gd name="connsiteX9" fmla="*/ 1432576 w 1432576"/>
              <a:gd name="connsiteY9" fmla="*/ 716288 h 1432576"/>
              <a:gd name="connsiteX10" fmla="*/ 716288 w 1432576"/>
              <a:gd name="connsiteY10" fmla="*/ 0 h 1432576"/>
              <a:gd name="connsiteX11" fmla="*/ 0 w 1432576"/>
              <a:gd name="connsiteY11" fmla="*/ 716288 h 1432576"/>
              <a:gd name="connsiteX12" fmla="*/ 0 w 1432576"/>
              <a:gd name="connsiteY12" fmla="*/ 0 h 1432576"/>
              <a:gd name="connsiteX13" fmla="*/ 716288 w 1432576"/>
              <a:gd name="connsiteY13" fmla="*/ 0 h 1432576"/>
              <a:gd name="connsiteX14" fmla="*/ 716288 w 1432576"/>
              <a:gd name="connsiteY14" fmla="*/ 0 h 1432576"/>
              <a:gd name="connsiteX15" fmla="*/ 1432576 w 1432576"/>
              <a:gd name="connsiteY15" fmla="*/ 0 h 143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32576" h="1432576">
                <a:moveTo>
                  <a:pt x="716288" y="1432576"/>
                </a:moveTo>
                <a:lnTo>
                  <a:pt x="0" y="716288"/>
                </a:lnTo>
                <a:lnTo>
                  <a:pt x="0" y="1432576"/>
                </a:lnTo>
                <a:lnTo>
                  <a:pt x="716288" y="1432576"/>
                </a:lnTo>
                <a:close/>
                <a:moveTo>
                  <a:pt x="716288" y="1432576"/>
                </a:moveTo>
                <a:lnTo>
                  <a:pt x="1432576" y="716288"/>
                </a:lnTo>
                <a:lnTo>
                  <a:pt x="1432576" y="1432576"/>
                </a:lnTo>
                <a:lnTo>
                  <a:pt x="716288" y="1432576"/>
                </a:lnTo>
                <a:close/>
                <a:moveTo>
                  <a:pt x="1432576" y="0"/>
                </a:moveTo>
                <a:lnTo>
                  <a:pt x="1432576" y="716288"/>
                </a:lnTo>
                <a:lnTo>
                  <a:pt x="716288" y="0"/>
                </a:lnTo>
                <a:lnTo>
                  <a:pt x="0" y="716288"/>
                </a:lnTo>
                <a:lnTo>
                  <a:pt x="0" y="0"/>
                </a:lnTo>
                <a:lnTo>
                  <a:pt x="716288" y="0"/>
                </a:lnTo>
                <a:lnTo>
                  <a:pt x="716288" y="0"/>
                </a:lnTo>
                <a:lnTo>
                  <a:pt x="1432576" y="0"/>
                </a:lnTo>
                <a:close/>
              </a:path>
            </a:pathLst>
          </a:custGeom>
          <a:solidFill>
            <a:srgbClr val="82CFFF"/>
          </a:solidFill>
          <a:ln w="7342" cap="flat">
            <a:noFill/>
            <a:prstDash val="solid"/>
            <a:miter/>
          </a:ln>
        </p:spPr>
        <p:txBody>
          <a:bodyPr rtlCol="0" anchor="ctr"/>
          <a:lstStyle/>
          <a:p>
            <a:endParaRPr lang="uk-UA" sz="900"/>
          </a:p>
        </p:txBody>
      </p:sp>
      <p:sp>
        <p:nvSpPr>
          <p:cNvPr id="13" name="Freeform: Shape 12">
            <a:extLst>
              <a:ext uri="{FF2B5EF4-FFF2-40B4-BE49-F238E27FC236}">
                <a16:creationId xmlns:a16="http://schemas.microsoft.com/office/drawing/2014/main" id="{996B0395-91C2-3087-5470-31A62CA190D2}"/>
              </a:ext>
            </a:extLst>
          </p:cNvPr>
          <p:cNvSpPr/>
          <p:nvPr userDrawn="1"/>
        </p:nvSpPr>
        <p:spPr>
          <a:xfrm rot="10800000">
            <a:off x="3095525" y="1714500"/>
            <a:ext cx="328807" cy="328850"/>
          </a:xfrm>
          <a:custGeom>
            <a:avLst/>
            <a:gdLst>
              <a:gd name="connsiteX0" fmla="*/ 1432576 w 1432576"/>
              <a:gd name="connsiteY0" fmla="*/ 1432576 h 1432576"/>
              <a:gd name="connsiteX1" fmla="*/ 716288 w 1432576"/>
              <a:gd name="connsiteY1" fmla="*/ 1432576 h 1432576"/>
              <a:gd name="connsiteX2" fmla="*/ 716288 w 1432576"/>
              <a:gd name="connsiteY2" fmla="*/ 1432576 h 1432576"/>
              <a:gd name="connsiteX3" fmla="*/ 0 w 1432576"/>
              <a:gd name="connsiteY3" fmla="*/ 1432576 h 1432576"/>
              <a:gd name="connsiteX4" fmla="*/ 716288 w 1432576"/>
              <a:gd name="connsiteY4" fmla="*/ 716288 h 1432576"/>
              <a:gd name="connsiteX5" fmla="*/ 716288 w 1432576"/>
              <a:gd name="connsiteY5" fmla="*/ 1432576 h 1432576"/>
              <a:gd name="connsiteX6" fmla="*/ 1432576 w 1432576"/>
              <a:gd name="connsiteY6" fmla="*/ 716288 h 1432576"/>
              <a:gd name="connsiteX7" fmla="*/ 1432576 w 1432576"/>
              <a:gd name="connsiteY7" fmla="*/ 1432576 h 1432576"/>
              <a:gd name="connsiteX8" fmla="*/ 716288 w 1432576"/>
              <a:gd name="connsiteY8" fmla="*/ 0 h 1432576"/>
              <a:gd name="connsiteX9" fmla="*/ 0 w 1432576"/>
              <a:gd name="connsiteY9" fmla="*/ 0 h 1432576"/>
              <a:gd name="connsiteX10" fmla="*/ 716288 w 1432576"/>
              <a:gd name="connsiteY10" fmla="*/ 716288 h 1432576"/>
              <a:gd name="connsiteX11" fmla="*/ 716288 w 1432576"/>
              <a:gd name="connsiteY11" fmla="*/ 0 h 1432576"/>
              <a:gd name="connsiteX12" fmla="*/ 1432576 w 1432576"/>
              <a:gd name="connsiteY12" fmla="*/ 716288 h 1432576"/>
              <a:gd name="connsiteX13" fmla="*/ 1432576 w 1432576"/>
              <a:gd name="connsiteY13" fmla="*/ 0 h 1432576"/>
              <a:gd name="connsiteX14" fmla="*/ 716288 w 1432576"/>
              <a:gd name="connsiteY14" fmla="*/ 0 h 1432576"/>
              <a:gd name="connsiteX15" fmla="*/ 716288 w 1432576"/>
              <a:gd name="connsiteY15" fmla="*/ 0 h 143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32576" h="1432576">
                <a:moveTo>
                  <a:pt x="1432576" y="1432576"/>
                </a:moveTo>
                <a:lnTo>
                  <a:pt x="716288" y="1432576"/>
                </a:lnTo>
                <a:lnTo>
                  <a:pt x="716288" y="1432576"/>
                </a:lnTo>
                <a:lnTo>
                  <a:pt x="0" y="1432576"/>
                </a:lnTo>
                <a:lnTo>
                  <a:pt x="716288" y="716288"/>
                </a:lnTo>
                <a:lnTo>
                  <a:pt x="716288" y="1432576"/>
                </a:lnTo>
                <a:lnTo>
                  <a:pt x="1432576" y="716288"/>
                </a:lnTo>
                <a:lnTo>
                  <a:pt x="1432576" y="1432576"/>
                </a:lnTo>
                <a:close/>
                <a:moveTo>
                  <a:pt x="716288" y="0"/>
                </a:moveTo>
                <a:lnTo>
                  <a:pt x="0" y="0"/>
                </a:lnTo>
                <a:lnTo>
                  <a:pt x="716288" y="716288"/>
                </a:lnTo>
                <a:lnTo>
                  <a:pt x="716288" y="0"/>
                </a:lnTo>
                <a:lnTo>
                  <a:pt x="1432576" y="716288"/>
                </a:lnTo>
                <a:lnTo>
                  <a:pt x="1432576" y="0"/>
                </a:lnTo>
                <a:lnTo>
                  <a:pt x="716288" y="0"/>
                </a:lnTo>
                <a:lnTo>
                  <a:pt x="716288" y="0"/>
                </a:lnTo>
                <a:close/>
              </a:path>
            </a:pathLst>
          </a:custGeom>
          <a:solidFill>
            <a:schemeClr val="accent2"/>
          </a:solidFill>
          <a:ln w="7342" cap="flat">
            <a:noFill/>
            <a:prstDash val="solid"/>
            <a:miter/>
          </a:ln>
        </p:spPr>
        <p:txBody>
          <a:bodyPr rtlCol="0" anchor="ctr"/>
          <a:lstStyle/>
          <a:p>
            <a:endParaRPr lang="uk-UA" sz="900"/>
          </a:p>
        </p:txBody>
      </p:sp>
      <p:grpSp>
        <p:nvGrpSpPr>
          <p:cNvPr id="14" name="Group 9">
            <a:extLst>
              <a:ext uri="{FF2B5EF4-FFF2-40B4-BE49-F238E27FC236}">
                <a16:creationId xmlns:a16="http://schemas.microsoft.com/office/drawing/2014/main" id="{A7DA5E5C-EDBC-79EB-26A0-9ACF1EBC09FC}"/>
              </a:ext>
            </a:extLst>
          </p:cNvPr>
          <p:cNvGrpSpPr>
            <a:grpSpLocks noChangeAspect="1"/>
          </p:cNvGrpSpPr>
          <p:nvPr userDrawn="1"/>
        </p:nvGrpSpPr>
        <p:grpSpPr bwMode="auto">
          <a:xfrm>
            <a:off x="4865364" y="3760660"/>
            <a:ext cx="634226" cy="559287"/>
            <a:chOff x="42" y="4229"/>
            <a:chExt cx="3881" cy="3422"/>
          </a:xfrm>
          <a:solidFill>
            <a:schemeClr val="tx1"/>
          </a:solidFill>
        </p:grpSpPr>
        <p:sp>
          <p:nvSpPr>
            <p:cNvPr id="15" name="Freeform 235">
              <a:extLst>
                <a:ext uri="{FF2B5EF4-FFF2-40B4-BE49-F238E27FC236}">
                  <a16:creationId xmlns:a16="http://schemas.microsoft.com/office/drawing/2014/main" id="{3EDCEECD-AC86-C1F8-0F0B-815623CDCD45}"/>
                </a:ext>
              </a:extLst>
            </p:cNvPr>
            <p:cNvSpPr>
              <a:spLocks noEditPoints="1"/>
            </p:cNvSpPr>
            <p:nvPr/>
          </p:nvSpPr>
          <p:spPr bwMode="auto">
            <a:xfrm>
              <a:off x="2058" y="4229"/>
              <a:ext cx="1865" cy="3422"/>
            </a:xfrm>
            <a:custGeom>
              <a:avLst/>
              <a:gdLst>
                <a:gd name="T0" fmla="*/ 2842 w 3636"/>
                <a:gd name="T1" fmla="*/ 2120 h 6673"/>
                <a:gd name="T2" fmla="*/ 1918 w 3636"/>
                <a:gd name="T3" fmla="*/ 577 h 6673"/>
                <a:gd name="T4" fmla="*/ 892 w 3636"/>
                <a:gd name="T5" fmla="*/ 0 h 6673"/>
                <a:gd name="T6" fmla="*/ 0 w 3636"/>
                <a:gd name="T7" fmla="*/ 5781 h 6673"/>
                <a:gd name="T8" fmla="*/ 1731 w 3636"/>
                <a:gd name="T9" fmla="*/ 6079 h 6673"/>
                <a:gd name="T10" fmla="*/ 2966 w 3636"/>
                <a:gd name="T11" fmla="*/ 5048 h 6673"/>
                <a:gd name="T12" fmla="*/ 3636 w 3636"/>
                <a:gd name="T13" fmla="*/ 3336 h 6673"/>
                <a:gd name="T14" fmla="*/ 1051 w 3636"/>
                <a:gd name="T15" fmla="*/ 2847 h 6673"/>
                <a:gd name="T16" fmla="*/ 738 w 3636"/>
                <a:gd name="T17" fmla="*/ 2847 h 6673"/>
                <a:gd name="T18" fmla="*/ 2684 w 3636"/>
                <a:gd name="T19" fmla="*/ 4426 h 6673"/>
                <a:gd name="T20" fmla="*/ 2640 w 3636"/>
                <a:gd name="T21" fmla="*/ 4559 h 6673"/>
                <a:gd name="T22" fmla="*/ 2121 w 3636"/>
                <a:gd name="T23" fmla="*/ 4715 h 6673"/>
                <a:gd name="T24" fmla="*/ 1467 w 3636"/>
                <a:gd name="T25" fmla="*/ 4803 h 6673"/>
                <a:gd name="T26" fmla="*/ 2121 w 3636"/>
                <a:gd name="T27" fmla="*/ 4891 h 6673"/>
                <a:gd name="T28" fmla="*/ 2790 w 3636"/>
                <a:gd name="T29" fmla="*/ 5048 h 6673"/>
                <a:gd name="T30" fmla="*/ 1693 w 3636"/>
                <a:gd name="T31" fmla="*/ 5890 h 6673"/>
                <a:gd name="T32" fmla="*/ 1585 w 3636"/>
                <a:gd name="T33" fmla="*/ 5954 h 6673"/>
                <a:gd name="T34" fmla="*/ 176 w 3636"/>
                <a:gd name="T35" fmla="*/ 5781 h 6673"/>
                <a:gd name="T36" fmla="*/ 807 w 3636"/>
                <a:gd name="T37" fmla="*/ 3912 h 6673"/>
                <a:gd name="T38" fmla="*/ 562 w 3636"/>
                <a:gd name="T39" fmla="*/ 5781 h 6673"/>
                <a:gd name="T40" fmla="*/ 1227 w 3636"/>
                <a:gd name="T41" fmla="*/ 5781 h 6673"/>
                <a:gd name="T42" fmla="*/ 983 w 3636"/>
                <a:gd name="T43" fmla="*/ 3912 h 6673"/>
                <a:gd name="T44" fmla="*/ 1881 w 3636"/>
                <a:gd name="T45" fmla="*/ 3424 h 6673"/>
                <a:gd name="T46" fmla="*/ 2778 w 3636"/>
                <a:gd name="T47" fmla="*/ 3669 h 6673"/>
                <a:gd name="T48" fmla="*/ 2778 w 3636"/>
                <a:gd name="T49" fmla="*/ 3004 h 6673"/>
                <a:gd name="T50" fmla="*/ 1888 w 3636"/>
                <a:gd name="T51" fmla="*/ 3248 h 6673"/>
                <a:gd name="T52" fmla="*/ 2132 w 3636"/>
                <a:gd name="T53" fmla="*/ 1380 h 6673"/>
                <a:gd name="T54" fmla="*/ 1467 w 3636"/>
                <a:gd name="T55" fmla="*/ 1380 h 6673"/>
                <a:gd name="T56" fmla="*/ 1712 w 3636"/>
                <a:gd name="T57" fmla="*/ 3338 h 6673"/>
                <a:gd name="T58" fmla="*/ 895 w 3636"/>
                <a:gd name="T59" fmla="*/ 3736 h 6673"/>
                <a:gd name="T60" fmla="*/ 176 w 3636"/>
                <a:gd name="T61" fmla="*/ 891 h 6673"/>
                <a:gd name="T62" fmla="*/ 807 w 3636"/>
                <a:gd name="T63" fmla="*/ 2527 h 6673"/>
                <a:gd name="T64" fmla="*/ 895 w 3636"/>
                <a:gd name="T65" fmla="*/ 3180 h 6673"/>
                <a:gd name="T66" fmla="*/ 983 w 3636"/>
                <a:gd name="T67" fmla="*/ 2527 h 6673"/>
                <a:gd name="T68" fmla="*/ 1585 w 3636"/>
                <a:gd name="T69" fmla="*/ 719 h 6673"/>
                <a:gd name="T70" fmla="*/ 1693 w 3636"/>
                <a:gd name="T71" fmla="*/ 783 h 6673"/>
                <a:gd name="T72" fmla="*/ 2790 w 3636"/>
                <a:gd name="T73" fmla="*/ 1625 h 6673"/>
                <a:gd name="T74" fmla="*/ 2629 w 3636"/>
                <a:gd name="T75" fmla="*/ 2191 h 6673"/>
                <a:gd name="T76" fmla="*/ 3460 w 3636"/>
                <a:gd name="T77" fmla="*/ 3336 h 6673"/>
                <a:gd name="T78" fmla="*/ 1956 w 3636"/>
                <a:gd name="T79" fmla="*/ 4803 h 6673"/>
                <a:gd name="T80" fmla="*/ 1643 w 3636"/>
                <a:gd name="T81" fmla="*/ 4803 h 6673"/>
                <a:gd name="T82" fmla="*/ 1956 w 3636"/>
                <a:gd name="T83" fmla="*/ 4803 h 6673"/>
                <a:gd name="T84" fmla="*/ 1051 w 3636"/>
                <a:gd name="T85" fmla="*/ 5781 h 6673"/>
                <a:gd name="T86" fmla="*/ 738 w 3636"/>
                <a:gd name="T87" fmla="*/ 5781 h 6673"/>
                <a:gd name="T88" fmla="*/ 1800 w 3636"/>
                <a:gd name="T89" fmla="*/ 1537 h 6673"/>
                <a:gd name="T90" fmla="*/ 1800 w 3636"/>
                <a:gd name="T91" fmla="*/ 1224 h 6673"/>
                <a:gd name="T92" fmla="*/ 1800 w 3636"/>
                <a:gd name="T93" fmla="*/ 1537 h 6673"/>
                <a:gd name="T94" fmla="*/ 2778 w 3636"/>
                <a:gd name="T95" fmla="*/ 3180 h 6673"/>
                <a:gd name="T96" fmla="*/ 2778 w 3636"/>
                <a:gd name="T97" fmla="*/ 3493 h 6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36" h="6673">
                  <a:moveTo>
                    <a:pt x="3636" y="3336"/>
                  </a:moveTo>
                  <a:cubicBezTo>
                    <a:pt x="3636" y="2807"/>
                    <a:pt x="3321" y="2331"/>
                    <a:pt x="2842" y="2120"/>
                  </a:cubicBezTo>
                  <a:cubicBezTo>
                    <a:pt x="2924" y="1968"/>
                    <a:pt x="2966" y="1799"/>
                    <a:pt x="2966" y="1625"/>
                  </a:cubicBezTo>
                  <a:cubicBezTo>
                    <a:pt x="2966" y="1047"/>
                    <a:pt x="2496" y="577"/>
                    <a:pt x="1918" y="577"/>
                  </a:cubicBezTo>
                  <a:cubicBezTo>
                    <a:pt x="1856" y="577"/>
                    <a:pt x="1794" y="582"/>
                    <a:pt x="1731" y="594"/>
                  </a:cubicBezTo>
                  <a:cubicBezTo>
                    <a:pt x="1607" y="240"/>
                    <a:pt x="1273" y="0"/>
                    <a:pt x="892" y="0"/>
                  </a:cubicBezTo>
                  <a:cubicBezTo>
                    <a:pt x="400" y="0"/>
                    <a:pt x="0" y="400"/>
                    <a:pt x="0" y="891"/>
                  </a:cubicBezTo>
                  <a:cubicBezTo>
                    <a:pt x="0" y="5781"/>
                    <a:pt x="0" y="5781"/>
                    <a:pt x="0" y="5781"/>
                  </a:cubicBezTo>
                  <a:cubicBezTo>
                    <a:pt x="0" y="6273"/>
                    <a:pt x="400" y="6673"/>
                    <a:pt x="892" y="6673"/>
                  </a:cubicBezTo>
                  <a:cubicBezTo>
                    <a:pt x="1273" y="6673"/>
                    <a:pt x="1607" y="6432"/>
                    <a:pt x="1731" y="6079"/>
                  </a:cubicBezTo>
                  <a:cubicBezTo>
                    <a:pt x="1794" y="6090"/>
                    <a:pt x="1856" y="6096"/>
                    <a:pt x="1918" y="6096"/>
                  </a:cubicBezTo>
                  <a:cubicBezTo>
                    <a:pt x="2496" y="6096"/>
                    <a:pt x="2966" y="5626"/>
                    <a:pt x="2966" y="5048"/>
                  </a:cubicBezTo>
                  <a:cubicBezTo>
                    <a:pt x="2966" y="4874"/>
                    <a:pt x="2924" y="4704"/>
                    <a:pt x="2842" y="4553"/>
                  </a:cubicBezTo>
                  <a:cubicBezTo>
                    <a:pt x="3321" y="4342"/>
                    <a:pt x="3636" y="3866"/>
                    <a:pt x="3636" y="3336"/>
                  </a:cubicBezTo>
                  <a:close/>
                  <a:moveTo>
                    <a:pt x="895" y="2691"/>
                  </a:moveTo>
                  <a:cubicBezTo>
                    <a:pt x="981" y="2691"/>
                    <a:pt x="1051" y="2761"/>
                    <a:pt x="1051" y="2847"/>
                  </a:cubicBezTo>
                  <a:cubicBezTo>
                    <a:pt x="1051" y="2934"/>
                    <a:pt x="981" y="3004"/>
                    <a:pt x="895" y="3004"/>
                  </a:cubicBezTo>
                  <a:cubicBezTo>
                    <a:pt x="808" y="3004"/>
                    <a:pt x="738" y="2934"/>
                    <a:pt x="738" y="2847"/>
                  </a:cubicBezTo>
                  <a:cubicBezTo>
                    <a:pt x="738" y="2761"/>
                    <a:pt x="808" y="2691"/>
                    <a:pt x="895" y="2691"/>
                  </a:cubicBezTo>
                  <a:close/>
                  <a:moveTo>
                    <a:pt x="2684" y="4426"/>
                  </a:moveTo>
                  <a:cubicBezTo>
                    <a:pt x="2658" y="4435"/>
                    <a:pt x="2638" y="4456"/>
                    <a:pt x="2629" y="4481"/>
                  </a:cubicBezTo>
                  <a:cubicBezTo>
                    <a:pt x="2621" y="4507"/>
                    <a:pt x="2625" y="4536"/>
                    <a:pt x="2640" y="4559"/>
                  </a:cubicBezTo>
                  <a:cubicBezTo>
                    <a:pt x="2674" y="4608"/>
                    <a:pt x="2702" y="4661"/>
                    <a:pt x="2725" y="4715"/>
                  </a:cubicBezTo>
                  <a:cubicBezTo>
                    <a:pt x="2121" y="4715"/>
                    <a:pt x="2121" y="4715"/>
                    <a:pt x="2121" y="4715"/>
                  </a:cubicBezTo>
                  <a:cubicBezTo>
                    <a:pt x="2082" y="4575"/>
                    <a:pt x="1953" y="4471"/>
                    <a:pt x="1800" y="4471"/>
                  </a:cubicBezTo>
                  <a:cubicBezTo>
                    <a:pt x="1617" y="4471"/>
                    <a:pt x="1467" y="4620"/>
                    <a:pt x="1467" y="4803"/>
                  </a:cubicBezTo>
                  <a:cubicBezTo>
                    <a:pt x="1467" y="4987"/>
                    <a:pt x="1617" y="5136"/>
                    <a:pt x="1800" y="5136"/>
                  </a:cubicBezTo>
                  <a:cubicBezTo>
                    <a:pt x="1953" y="5136"/>
                    <a:pt x="2082" y="5032"/>
                    <a:pt x="2121" y="4891"/>
                  </a:cubicBezTo>
                  <a:cubicBezTo>
                    <a:pt x="2776" y="4891"/>
                    <a:pt x="2776" y="4891"/>
                    <a:pt x="2776" y="4891"/>
                  </a:cubicBezTo>
                  <a:cubicBezTo>
                    <a:pt x="2785" y="4943"/>
                    <a:pt x="2790" y="4995"/>
                    <a:pt x="2790" y="5048"/>
                  </a:cubicBezTo>
                  <a:cubicBezTo>
                    <a:pt x="2790" y="5529"/>
                    <a:pt x="2399" y="5920"/>
                    <a:pt x="1918" y="5920"/>
                  </a:cubicBezTo>
                  <a:cubicBezTo>
                    <a:pt x="1844" y="5920"/>
                    <a:pt x="1769" y="5910"/>
                    <a:pt x="1693" y="5890"/>
                  </a:cubicBezTo>
                  <a:cubicBezTo>
                    <a:pt x="1670" y="5884"/>
                    <a:pt x="1646" y="5887"/>
                    <a:pt x="1626" y="5899"/>
                  </a:cubicBezTo>
                  <a:cubicBezTo>
                    <a:pt x="1605" y="5911"/>
                    <a:pt x="1591" y="5931"/>
                    <a:pt x="1585" y="5954"/>
                  </a:cubicBezTo>
                  <a:cubicBezTo>
                    <a:pt x="1506" y="6273"/>
                    <a:pt x="1221" y="6497"/>
                    <a:pt x="892" y="6497"/>
                  </a:cubicBezTo>
                  <a:cubicBezTo>
                    <a:pt x="497" y="6497"/>
                    <a:pt x="176" y="6176"/>
                    <a:pt x="176" y="5781"/>
                  </a:cubicBezTo>
                  <a:cubicBezTo>
                    <a:pt x="176" y="3912"/>
                    <a:pt x="176" y="3912"/>
                    <a:pt x="176" y="3912"/>
                  </a:cubicBezTo>
                  <a:cubicBezTo>
                    <a:pt x="807" y="3912"/>
                    <a:pt x="807" y="3912"/>
                    <a:pt x="807" y="3912"/>
                  </a:cubicBezTo>
                  <a:cubicBezTo>
                    <a:pt x="807" y="5461"/>
                    <a:pt x="807" y="5461"/>
                    <a:pt x="807" y="5461"/>
                  </a:cubicBezTo>
                  <a:cubicBezTo>
                    <a:pt x="666" y="5499"/>
                    <a:pt x="562" y="5628"/>
                    <a:pt x="562" y="5781"/>
                  </a:cubicBezTo>
                  <a:cubicBezTo>
                    <a:pt x="562" y="5965"/>
                    <a:pt x="711" y="6114"/>
                    <a:pt x="895" y="6114"/>
                  </a:cubicBezTo>
                  <a:cubicBezTo>
                    <a:pt x="1078" y="6114"/>
                    <a:pt x="1227" y="5965"/>
                    <a:pt x="1227" y="5781"/>
                  </a:cubicBezTo>
                  <a:cubicBezTo>
                    <a:pt x="1227" y="5628"/>
                    <a:pt x="1123" y="5499"/>
                    <a:pt x="983" y="5461"/>
                  </a:cubicBezTo>
                  <a:cubicBezTo>
                    <a:pt x="983" y="3912"/>
                    <a:pt x="983" y="3912"/>
                    <a:pt x="983" y="3912"/>
                  </a:cubicBezTo>
                  <a:cubicBezTo>
                    <a:pt x="1314" y="3912"/>
                    <a:pt x="1314" y="3912"/>
                    <a:pt x="1314" y="3912"/>
                  </a:cubicBezTo>
                  <a:cubicBezTo>
                    <a:pt x="1601" y="3912"/>
                    <a:pt x="1840" y="3700"/>
                    <a:pt x="1881" y="3424"/>
                  </a:cubicBezTo>
                  <a:cubicBezTo>
                    <a:pt x="2457" y="3424"/>
                    <a:pt x="2457" y="3424"/>
                    <a:pt x="2457" y="3424"/>
                  </a:cubicBezTo>
                  <a:cubicBezTo>
                    <a:pt x="2496" y="3565"/>
                    <a:pt x="2625" y="3669"/>
                    <a:pt x="2778" y="3669"/>
                  </a:cubicBezTo>
                  <a:cubicBezTo>
                    <a:pt x="2961" y="3669"/>
                    <a:pt x="3110" y="3520"/>
                    <a:pt x="3110" y="3336"/>
                  </a:cubicBezTo>
                  <a:cubicBezTo>
                    <a:pt x="3110" y="3153"/>
                    <a:pt x="2961" y="3004"/>
                    <a:pt x="2778" y="3004"/>
                  </a:cubicBezTo>
                  <a:cubicBezTo>
                    <a:pt x="2625" y="3004"/>
                    <a:pt x="2496" y="3108"/>
                    <a:pt x="2457" y="3248"/>
                  </a:cubicBezTo>
                  <a:cubicBezTo>
                    <a:pt x="1888" y="3248"/>
                    <a:pt x="1888" y="3248"/>
                    <a:pt x="1888" y="3248"/>
                  </a:cubicBezTo>
                  <a:cubicBezTo>
                    <a:pt x="1888" y="1701"/>
                    <a:pt x="1888" y="1701"/>
                    <a:pt x="1888" y="1701"/>
                  </a:cubicBezTo>
                  <a:cubicBezTo>
                    <a:pt x="2029" y="1662"/>
                    <a:pt x="2132" y="1533"/>
                    <a:pt x="2132" y="1380"/>
                  </a:cubicBezTo>
                  <a:cubicBezTo>
                    <a:pt x="2132" y="1197"/>
                    <a:pt x="1983" y="1048"/>
                    <a:pt x="1800" y="1048"/>
                  </a:cubicBezTo>
                  <a:cubicBezTo>
                    <a:pt x="1617" y="1048"/>
                    <a:pt x="1467" y="1197"/>
                    <a:pt x="1467" y="1380"/>
                  </a:cubicBezTo>
                  <a:cubicBezTo>
                    <a:pt x="1467" y="1533"/>
                    <a:pt x="1571" y="1662"/>
                    <a:pt x="1712" y="1701"/>
                  </a:cubicBezTo>
                  <a:cubicBezTo>
                    <a:pt x="1712" y="3338"/>
                    <a:pt x="1712" y="3338"/>
                    <a:pt x="1712" y="3338"/>
                  </a:cubicBezTo>
                  <a:cubicBezTo>
                    <a:pt x="1712" y="3557"/>
                    <a:pt x="1534" y="3736"/>
                    <a:pt x="1314" y="3736"/>
                  </a:cubicBezTo>
                  <a:cubicBezTo>
                    <a:pt x="895" y="3736"/>
                    <a:pt x="895" y="3736"/>
                    <a:pt x="895" y="3736"/>
                  </a:cubicBezTo>
                  <a:cubicBezTo>
                    <a:pt x="176" y="3736"/>
                    <a:pt x="176" y="3736"/>
                    <a:pt x="176" y="3736"/>
                  </a:cubicBezTo>
                  <a:cubicBezTo>
                    <a:pt x="176" y="891"/>
                    <a:pt x="176" y="891"/>
                    <a:pt x="176" y="891"/>
                  </a:cubicBezTo>
                  <a:cubicBezTo>
                    <a:pt x="176" y="526"/>
                    <a:pt x="452" y="224"/>
                    <a:pt x="807" y="181"/>
                  </a:cubicBezTo>
                  <a:cubicBezTo>
                    <a:pt x="807" y="2527"/>
                    <a:pt x="807" y="2527"/>
                    <a:pt x="807" y="2527"/>
                  </a:cubicBezTo>
                  <a:cubicBezTo>
                    <a:pt x="666" y="2565"/>
                    <a:pt x="562" y="2695"/>
                    <a:pt x="562" y="2847"/>
                  </a:cubicBezTo>
                  <a:cubicBezTo>
                    <a:pt x="562" y="3031"/>
                    <a:pt x="711" y="3180"/>
                    <a:pt x="895" y="3180"/>
                  </a:cubicBezTo>
                  <a:cubicBezTo>
                    <a:pt x="1078" y="3180"/>
                    <a:pt x="1227" y="3031"/>
                    <a:pt x="1227" y="2847"/>
                  </a:cubicBezTo>
                  <a:cubicBezTo>
                    <a:pt x="1227" y="2695"/>
                    <a:pt x="1123" y="2565"/>
                    <a:pt x="983" y="2527"/>
                  </a:cubicBezTo>
                  <a:cubicBezTo>
                    <a:pt x="983" y="182"/>
                    <a:pt x="983" y="182"/>
                    <a:pt x="983" y="182"/>
                  </a:cubicBezTo>
                  <a:cubicBezTo>
                    <a:pt x="1272" y="219"/>
                    <a:pt x="1513" y="429"/>
                    <a:pt x="1585" y="719"/>
                  </a:cubicBezTo>
                  <a:cubicBezTo>
                    <a:pt x="1591" y="742"/>
                    <a:pt x="1605" y="762"/>
                    <a:pt x="1626" y="774"/>
                  </a:cubicBezTo>
                  <a:cubicBezTo>
                    <a:pt x="1646" y="786"/>
                    <a:pt x="1670" y="789"/>
                    <a:pt x="1693" y="783"/>
                  </a:cubicBezTo>
                  <a:cubicBezTo>
                    <a:pt x="1769" y="763"/>
                    <a:pt x="1844" y="753"/>
                    <a:pt x="1918" y="753"/>
                  </a:cubicBezTo>
                  <a:cubicBezTo>
                    <a:pt x="2399" y="753"/>
                    <a:pt x="2790" y="1144"/>
                    <a:pt x="2790" y="1625"/>
                  </a:cubicBezTo>
                  <a:cubicBezTo>
                    <a:pt x="2790" y="1800"/>
                    <a:pt x="2738" y="1970"/>
                    <a:pt x="2640" y="2114"/>
                  </a:cubicBezTo>
                  <a:cubicBezTo>
                    <a:pt x="2625" y="2137"/>
                    <a:pt x="2621" y="2165"/>
                    <a:pt x="2629" y="2191"/>
                  </a:cubicBezTo>
                  <a:cubicBezTo>
                    <a:pt x="2638" y="2217"/>
                    <a:pt x="2658" y="2238"/>
                    <a:pt x="2684" y="2247"/>
                  </a:cubicBezTo>
                  <a:cubicBezTo>
                    <a:pt x="3148" y="2408"/>
                    <a:pt x="3460" y="2846"/>
                    <a:pt x="3460" y="3336"/>
                  </a:cubicBezTo>
                  <a:cubicBezTo>
                    <a:pt x="3460" y="3827"/>
                    <a:pt x="3148" y="4265"/>
                    <a:pt x="2684" y="4426"/>
                  </a:cubicBezTo>
                  <a:close/>
                  <a:moveTo>
                    <a:pt x="1956" y="4803"/>
                  </a:moveTo>
                  <a:cubicBezTo>
                    <a:pt x="1956" y="4890"/>
                    <a:pt x="1886" y="4960"/>
                    <a:pt x="1800" y="4960"/>
                  </a:cubicBezTo>
                  <a:cubicBezTo>
                    <a:pt x="1714" y="4960"/>
                    <a:pt x="1643" y="4890"/>
                    <a:pt x="1643" y="4803"/>
                  </a:cubicBezTo>
                  <a:cubicBezTo>
                    <a:pt x="1643" y="4717"/>
                    <a:pt x="1714" y="4647"/>
                    <a:pt x="1800" y="4647"/>
                  </a:cubicBezTo>
                  <a:cubicBezTo>
                    <a:pt x="1886" y="4647"/>
                    <a:pt x="1956" y="4717"/>
                    <a:pt x="1956" y="4803"/>
                  </a:cubicBezTo>
                  <a:close/>
                  <a:moveTo>
                    <a:pt x="895" y="5625"/>
                  </a:moveTo>
                  <a:cubicBezTo>
                    <a:pt x="981" y="5625"/>
                    <a:pt x="1051" y="5695"/>
                    <a:pt x="1051" y="5781"/>
                  </a:cubicBezTo>
                  <a:cubicBezTo>
                    <a:pt x="1051" y="5868"/>
                    <a:pt x="981" y="5938"/>
                    <a:pt x="895" y="5938"/>
                  </a:cubicBezTo>
                  <a:cubicBezTo>
                    <a:pt x="808" y="5938"/>
                    <a:pt x="738" y="5868"/>
                    <a:pt x="738" y="5781"/>
                  </a:cubicBezTo>
                  <a:cubicBezTo>
                    <a:pt x="738" y="5695"/>
                    <a:pt x="808" y="5625"/>
                    <a:pt x="895" y="5625"/>
                  </a:cubicBezTo>
                  <a:close/>
                  <a:moveTo>
                    <a:pt x="1800" y="1537"/>
                  </a:moveTo>
                  <a:cubicBezTo>
                    <a:pt x="1714" y="1537"/>
                    <a:pt x="1643" y="1467"/>
                    <a:pt x="1643" y="1380"/>
                  </a:cubicBezTo>
                  <a:cubicBezTo>
                    <a:pt x="1643" y="1294"/>
                    <a:pt x="1714" y="1224"/>
                    <a:pt x="1800" y="1224"/>
                  </a:cubicBezTo>
                  <a:cubicBezTo>
                    <a:pt x="1886" y="1224"/>
                    <a:pt x="1956" y="1294"/>
                    <a:pt x="1956" y="1380"/>
                  </a:cubicBezTo>
                  <a:cubicBezTo>
                    <a:pt x="1956" y="1467"/>
                    <a:pt x="1886" y="1537"/>
                    <a:pt x="1800" y="1537"/>
                  </a:cubicBezTo>
                  <a:close/>
                  <a:moveTo>
                    <a:pt x="2621" y="3336"/>
                  </a:moveTo>
                  <a:cubicBezTo>
                    <a:pt x="2621" y="3250"/>
                    <a:pt x="2692" y="3180"/>
                    <a:pt x="2778" y="3180"/>
                  </a:cubicBezTo>
                  <a:cubicBezTo>
                    <a:pt x="2864" y="3180"/>
                    <a:pt x="2934" y="3250"/>
                    <a:pt x="2934" y="3336"/>
                  </a:cubicBezTo>
                  <a:cubicBezTo>
                    <a:pt x="2934" y="3423"/>
                    <a:pt x="2864" y="3493"/>
                    <a:pt x="2778" y="3493"/>
                  </a:cubicBezTo>
                  <a:cubicBezTo>
                    <a:pt x="2692" y="3493"/>
                    <a:pt x="2621" y="3423"/>
                    <a:pt x="2621" y="33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uk-UA" sz="900"/>
            </a:p>
          </p:txBody>
        </p:sp>
        <p:sp>
          <p:nvSpPr>
            <p:cNvPr id="16" name="Freeform 11">
              <a:extLst>
                <a:ext uri="{FF2B5EF4-FFF2-40B4-BE49-F238E27FC236}">
                  <a16:creationId xmlns:a16="http://schemas.microsoft.com/office/drawing/2014/main" id="{1A55C837-0173-67FD-96C3-E425D43B80BF}"/>
                </a:ext>
              </a:extLst>
            </p:cNvPr>
            <p:cNvSpPr>
              <a:spLocks noEditPoints="1"/>
            </p:cNvSpPr>
            <p:nvPr/>
          </p:nvSpPr>
          <p:spPr bwMode="auto">
            <a:xfrm>
              <a:off x="42" y="4229"/>
              <a:ext cx="1865" cy="3422"/>
            </a:xfrm>
            <a:custGeom>
              <a:avLst/>
              <a:gdLst>
                <a:gd name="T0" fmla="*/ 1905 w 3636"/>
                <a:gd name="T1" fmla="*/ 594 h 6673"/>
                <a:gd name="T2" fmla="*/ 670 w 3636"/>
                <a:gd name="T3" fmla="*/ 1625 h 6673"/>
                <a:gd name="T4" fmla="*/ 0 w 3636"/>
                <a:gd name="T5" fmla="*/ 3336 h 6673"/>
                <a:gd name="T6" fmla="*/ 670 w 3636"/>
                <a:gd name="T7" fmla="*/ 5048 h 6673"/>
                <a:gd name="T8" fmla="*/ 1905 w 3636"/>
                <a:gd name="T9" fmla="*/ 6079 h 6673"/>
                <a:gd name="T10" fmla="*/ 3636 w 3636"/>
                <a:gd name="T11" fmla="*/ 5781 h 6673"/>
                <a:gd name="T12" fmla="*/ 2745 w 3636"/>
                <a:gd name="T13" fmla="*/ 0 h 6673"/>
                <a:gd name="T14" fmla="*/ 2585 w 3636"/>
                <a:gd name="T15" fmla="*/ 3825 h 6673"/>
                <a:gd name="T16" fmla="*/ 2898 w 3636"/>
                <a:gd name="T17" fmla="*/ 3825 h 6673"/>
                <a:gd name="T18" fmla="*/ 3460 w 3636"/>
                <a:gd name="T19" fmla="*/ 2761 h 6673"/>
                <a:gd name="T20" fmla="*/ 2830 w 3636"/>
                <a:gd name="T21" fmla="*/ 1212 h 6673"/>
                <a:gd name="T22" fmla="*/ 2742 w 3636"/>
                <a:gd name="T23" fmla="*/ 559 h 6673"/>
                <a:gd name="T24" fmla="*/ 2654 w 3636"/>
                <a:gd name="T25" fmla="*/ 1212 h 6673"/>
                <a:gd name="T26" fmla="*/ 2322 w 3636"/>
                <a:gd name="T27" fmla="*/ 2761 h 6673"/>
                <a:gd name="T28" fmla="*/ 1179 w 3636"/>
                <a:gd name="T29" fmla="*/ 3248 h 6673"/>
                <a:gd name="T30" fmla="*/ 526 w 3636"/>
                <a:gd name="T31" fmla="*/ 3336 h 6673"/>
                <a:gd name="T32" fmla="*/ 1179 w 3636"/>
                <a:gd name="T33" fmla="*/ 3424 h 6673"/>
                <a:gd name="T34" fmla="*/ 1748 w 3636"/>
                <a:gd name="T35" fmla="*/ 4972 h 6673"/>
                <a:gd name="T36" fmla="*/ 1836 w 3636"/>
                <a:gd name="T37" fmla="*/ 5625 h 6673"/>
                <a:gd name="T38" fmla="*/ 1924 w 3636"/>
                <a:gd name="T39" fmla="*/ 4972 h 6673"/>
                <a:gd name="T40" fmla="*/ 2322 w 3636"/>
                <a:gd name="T41" fmla="*/ 2937 h 6673"/>
                <a:gd name="T42" fmla="*/ 3460 w 3636"/>
                <a:gd name="T43" fmla="*/ 2937 h 6673"/>
                <a:gd name="T44" fmla="*/ 2830 w 3636"/>
                <a:gd name="T45" fmla="*/ 6491 h 6673"/>
                <a:gd name="T46" fmla="*/ 3074 w 3636"/>
                <a:gd name="T47" fmla="*/ 3825 h 6673"/>
                <a:gd name="T48" fmla="*/ 2409 w 3636"/>
                <a:gd name="T49" fmla="*/ 3825 h 6673"/>
                <a:gd name="T50" fmla="*/ 2654 w 3636"/>
                <a:gd name="T51" fmla="*/ 6491 h 6673"/>
                <a:gd name="T52" fmla="*/ 2011 w 3636"/>
                <a:gd name="T53" fmla="*/ 5899 h 6673"/>
                <a:gd name="T54" fmla="*/ 1943 w 3636"/>
                <a:gd name="T55" fmla="*/ 5890 h 6673"/>
                <a:gd name="T56" fmla="*/ 846 w 3636"/>
                <a:gd name="T57" fmla="*/ 5048 h 6673"/>
                <a:gd name="T58" fmla="*/ 1007 w 3636"/>
                <a:gd name="T59" fmla="*/ 4481 h 6673"/>
                <a:gd name="T60" fmla="*/ 176 w 3636"/>
                <a:gd name="T61" fmla="*/ 3336 h 6673"/>
                <a:gd name="T62" fmla="*/ 1007 w 3636"/>
                <a:gd name="T63" fmla="*/ 2191 h 6673"/>
                <a:gd name="T64" fmla="*/ 912 w 3636"/>
                <a:gd name="T65" fmla="*/ 1957 h 6673"/>
                <a:gd name="T66" fmla="*/ 1836 w 3636"/>
                <a:gd name="T67" fmla="*/ 2202 h 6673"/>
                <a:gd name="T68" fmla="*/ 1836 w 3636"/>
                <a:gd name="T69" fmla="*/ 1537 h 6673"/>
                <a:gd name="T70" fmla="*/ 860 w 3636"/>
                <a:gd name="T71" fmla="*/ 1781 h 6673"/>
                <a:gd name="T72" fmla="*/ 1718 w 3636"/>
                <a:gd name="T73" fmla="*/ 753 h 6673"/>
                <a:gd name="T74" fmla="*/ 2011 w 3636"/>
                <a:gd name="T75" fmla="*/ 774 h 6673"/>
                <a:gd name="T76" fmla="*/ 2745 w 3636"/>
                <a:gd name="T77" fmla="*/ 176 h 6673"/>
                <a:gd name="T78" fmla="*/ 3460 w 3636"/>
                <a:gd name="T79" fmla="*/ 2761 h 6673"/>
                <a:gd name="T80" fmla="*/ 2585 w 3636"/>
                <a:gd name="T81" fmla="*/ 891 h 6673"/>
                <a:gd name="T82" fmla="*/ 2898 w 3636"/>
                <a:gd name="T83" fmla="*/ 891 h 6673"/>
                <a:gd name="T84" fmla="*/ 1836 w 3636"/>
                <a:gd name="T85" fmla="*/ 5136 h 6673"/>
                <a:gd name="T86" fmla="*/ 1836 w 3636"/>
                <a:gd name="T87" fmla="*/ 5449 h 6673"/>
                <a:gd name="T88" fmla="*/ 1836 w 3636"/>
                <a:gd name="T89" fmla="*/ 5136 h 6673"/>
                <a:gd name="T90" fmla="*/ 858 w 3636"/>
                <a:gd name="T91" fmla="*/ 3493 h 6673"/>
                <a:gd name="T92" fmla="*/ 858 w 3636"/>
                <a:gd name="T93" fmla="*/ 3180 h 6673"/>
                <a:gd name="T94" fmla="*/ 1680 w 3636"/>
                <a:gd name="T95" fmla="*/ 1869 h 6673"/>
                <a:gd name="T96" fmla="*/ 1993 w 3636"/>
                <a:gd name="T97" fmla="*/ 1869 h 6673"/>
                <a:gd name="T98" fmla="*/ 1680 w 3636"/>
                <a:gd name="T99" fmla="*/ 1869 h 6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636" h="6673">
                  <a:moveTo>
                    <a:pt x="2745" y="0"/>
                  </a:moveTo>
                  <a:cubicBezTo>
                    <a:pt x="2363" y="0"/>
                    <a:pt x="2030" y="240"/>
                    <a:pt x="1905" y="594"/>
                  </a:cubicBezTo>
                  <a:cubicBezTo>
                    <a:pt x="1842" y="582"/>
                    <a:pt x="1780" y="577"/>
                    <a:pt x="1718" y="577"/>
                  </a:cubicBezTo>
                  <a:cubicBezTo>
                    <a:pt x="1140" y="577"/>
                    <a:pt x="670" y="1047"/>
                    <a:pt x="670" y="1625"/>
                  </a:cubicBezTo>
                  <a:cubicBezTo>
                    <a:pt x="670" y="1799"/>
                    <a:pt x="713" y="1968"/>
                    <a:pt x="794" y="2120"/>
                  </a:cubicBezTo>
                  <a:cubicBezTo>
                    <a:pt x="315" y="2331"/>
                    <a:pt x="0" y="2807"/>
                    <a:pt x="0" y="3336"/>
                  </a:cubicBezTo>
                  <a:cubicBezTo>
                    <a:pt x="0" y="3866"/>
                    <a:pt x="315" y="4342"/>
                    <a:pt x="794" y="4553"/>
                  </a:cubicBezTo>
                  <a:cubicBezTo>
                    <a:pt x="713" y="4704"/>
                    <a:pt x="670" y="4874"/>
                    <a:pt x="670" y="5048"/>
                  </a:cubicBezTo>
                  <a:cubicBezTo>
                    <a:pt x="670" y="5626"/>
                    <a:pt x="1140" y="6096"/>
                    <a:pt x="1718" y="6096"/>
                  </a:cubicBezTo>
                  <a:cubicBezTo>
                    <a:pt x="1780" y="6096"/>
                    <a:pt x="1842" y="6090"/>
                    <a:pt x="1905" y="6079"/>
                  </a:cubicBezTo>
                  <a:cubicBezTo>
                    <a:pt x="2030" y="6432"/>
                    <a:pt x="2363" y="6673"/>
                    <a:pt x="2745" y="6673"/>
                  </a:cubicBezTo>
                  <a:cubicBezTo>
                    <a:pt x="3236" y="6673"/>
                    <a:pt x="3636" y="6273"/>
                    <a:pt x="3636" y="5781"/>
                  </a:cubicBezTo>
                  <a:cubicBezTo>
                    <a:pt x="3636" y="891"/>
                    <a:pt x="3636" y="891"/>
                    <a:pt x="3636" y="891"/>
                  </a:cubicBezTo>
                  <a:cubicBezTo>
                    <a:pt x="3636" y="400"/>
                    <a:pt x="3236" y="0"/>
                    <a:pt x="2745" y="0"/>
                  </a:cubicBezTo>
                  <a:close/>
                  <a:moveTo>
                    <a:pt x="2742" y="3982"/>
                  </a:moveTo>
                  <a:cubicBezTo>
                    <a:pt x="2655" y="3982"/>
                    <a:pt x="2585" y="3912"/>
                    <a:pt x="2585" y="3825"/>
                  </a:cubicBezTo>
                  <a:cubicBezTo>
                    <a:pt x="2585" y="3739"/>
                    <a:pt x="2655" y="3669"/>
                    <a:pt x="2742" y="3669"/>
                  </a:cubicBezTo>
                  <a:cubicBezTo>
                    <a:pt x="2828" y="3669"/>
                    <a:pt x="2898" y="3739"/>
                    <a:pt x="2898" y="3825"/>
                  </a:cubicBezTo>
                  <a:cubicBezTo>
                    <a:pt x="2898" y="3912"/>
                    <a:pt x="2828" y="3982"/>
                    <a:pt x="2742" y="3982"/>
                  </a:cubicBezTo>
                  <a:close/>
                  <a:moveTo>
                    <a:pt x="3460" y="2761"/>
                  </a:moveTo>
                  <a:cubicBezTo>
                    <a:pt x="2830" y="2761"/>
                    <a:pt x="2830" y="2761"/>
                    <a:pt x="2830" y="2761"/>
                  </a:cubicBezTo>
                  <a:cubicBezTo>
                    <a:pt x="2830" y="1212"/>
                    <a:pt x="2830" y="1212"/>
                    <a:pt x="2830" y="1212"/>
                  </a:cubicBezTo>
                  <a:cubicBezTo>
                    <a:pt x="2970" y="1173"/>
                    <a:pt x="3074" y="1044"/>
                    <a:pt x="3074" y="891"/>
                  </a:cubicBezTo>
                  <a:cubicBezTo>
                    <a:pt x="3074" y="708"/>
                    <a:pt x="2925" y="559"/>
                    <a:pt x="2742" y="559"/>
                  </a:cubicBezTo>
                  <a:cubicBezTo>
                    <a:pt x="2558" y="559"/>
                    <a:pt x="2409" y="708"/>
                    <a:pt x="2409" y="891"/>
                  </a:cubicBezTo>
                  <a:cubicBezTo>
                    <a:pt x="2409" y="1044"/>
                    <a:pt x="2513" y="1173"/>
                    <a:pt x="2654" y="1212"/>
                  </a:cubicBezTo>
                  <a:cubicBezTo>
                    <a:pt x="2654" y="2761"/>
                    <a:pt x="2654" y="2761"/>
                    <a:pt x="2654" y="2761"/>
                  </a:cubicBezTo>
                  <a:cubicBezTo>
                    <a:pt x="2322" y="2761"/>
                    <a:pt x="2322" y="2761"/>
                    <a:pt x="2322" y="2761"/>
                  </a:cubicBezTo>
                  <a:cubicBezTo>
                    <a:pt x="2035" y="2761"/>
                    <a:pt x="1797" y="2973"/>
                    <a:pt x="1755" y="3248"/>
                  </a:cubicBezTo>
                  <a:cubicBezTo>
                    <a:pt x="1179" y="3248"/>
                    <a:pt x="1179" y="3248"/>
                    <a:pt x="1179" y="3248"/>
                  </a:cubicBezTo>
                  <a:cubicBezTo>
                    <a:pt x="1140" y="3108"/>
                    <a:pt x="1011" y="3004"/>
                    <a:pt x="858" y="3004"/>
                  </a:cubicBezTo>
                  <a:cubicBezTo>
                    <a:pt x="675" y="3004"/>
                    <a:pt x="526" y="3153"/>
                    <a:pt x="526" y="3336"/>
                  </a:cubicBezTo>
                  <a:cubicBezTo>
                    <a:pt x="526" y="3520"/>
                    <a:pt x="675" y="3669"/>
                    <a:pt x="858" y="3669"/>
                  </a:cubicBezTo>
                  <a:cubicBezTo>
                    <a:pt x="1011" y="3669"/>
                    <a:pt x="1140" y="3565"/>
                    <a:pt x="1179" y="3424"/>
                  </a:cubicBezTo>
                  <a:cubicBezTo>
                    <a:pt x="1748" y="3424"/>
                    <a:pt x="1748" y="3424"/>
                    <a:pt x="1748" y="3424"/>
                  </a:cubicBezTo>
                  <a:cubicBezTo>
                    <a:pt x="1748" y="4972"/>
                    <a:pt x="1748" y="4972"/>
                    <a:pt x="1748" y="4972"/>
                  </a:cubicBezTo>
                  <a:cubicBezTo>
                    <a:pt x="1608" y="5010"/>
                    <a:pt x="1504" y="5139"/>
                    <a:pt x="1504" y="5292"/>
                  </a:cubicBezTo>
                  <a:cubicBezTo>
                    <a:pt x="1504" y="5476"/>
                    <a:pt x="1653" y="5625"/>
                    <a:pt x="1836" y="5625"/>
                  </a:cubicBezTo>
                  <a:cubicBezTo>
                    <a:pt x="2020" y="5625"/>
                    <a:pt x="2169" y="5476"/>
                    <a:pt x="2169" y="5292"/>
                  </a:cubicBezTo>
                  <a:cubicBezTo>
                    <a:pt x="2169" y="5139"/>
                    <a:pt x="2065" y="5010"/>
                    <a:pt x="1924" y="4972"/>
                  </a:cubicBezTo>
                  <a:cubicBezTo>
                    <a:pt x="1924" y="3335"/>
                    <a:pt x="1924" y="3335"/>
                    <a:pt x="1924" y="3335"/>
                  </a:cubicBezTo>
                  <a:cubicBezTo>
                    <a:pt x="1924" y="3116"/>
                    <a:pt x="2103" y="2937"/>
                    <a:pt x="2322" y="2937"/>
                  </a:cubicBezTo>
                  <a:cubicBezTo>
                    <a:pt x="2742" y="2937"/>
                    <a:pt x="2742" y="2937"/>
                    <a:pt x="2742" y="2937"/>
                  </a:cubicBezTo>
                  <a:cubicBezTo>
                    <a:pt x="3460" y="2937"/>
                    <a:pt x="3460" y="2937"/>
                    <a:pt x="3460" y="2937"/>
                  </a:cubicBezTo>
                  <a:cubicBezTo>
                    <a:pt x="3460" y="5781"/>
                    <a:pt x="3460" y="5781"/>
                    <a:pt x="3460" y="5781"/>
                  </a:cubicBezTo>
                  <a:cubicBezTo>
                    <a:pt x="3460" y="6147"/>
                    <a:pt x="3184" y="6449"/>
                    <a:pt x="2830" y="6491"/>
                  </a:cubicBezTo>
                  <a:cubicBezTo>
                    <a:pt x="2830" y="4146"/>
                    <a:pt x="2830" y="4146"/>
                    <a:pt x="2830" y="4146"/>
                  </a:cubicBezTo>
                  <a:cubicBezTo>
                    <a:pt x="2970" y="4107"/>
                    <a:pt x="3074" y="3978"/>
                    <a:pt x="3074" y="3825"/>
                  </a:cubicBezTo>
                  <a:cubicBezTo>
                    <a:pt x="3074" y="3642"/>
                    <a:pt x="2925" y="3493"/>
                    <a:pt x="2742" y="3493"/>
                  </a:cubicBezTo>
                  <a:cubicBezTo>
                    <a:pt x="2558" y="3493"/>
                    <a:pt x="2409" y="3642"/>
                    <a:pt x="2409" y="3825"/>
                  </a:cubicBezTo>
                  <a:cubicBezTo>
                    <a:pt x="2409" y="3978"/>
                    <a:pt x="2513" y="4107"/>
                    <a:pt x="2654" y="4146"/>
                  </a:cubicBezTo>
                  <a:cubicBezTo>
                    <a:pt x="2654" y="6491"/>
                    <a:pt x="2654" y="6491"/>
                    <a:pt x="2654" y="6491"/>
                  </a:cubicBezTo>
                  <a:cubicBezTo>
                    <a:pt x="2364" y="6454"/>
                    <a:pt x="2123" y="6243"/>
                    <a:pt x="2051" y="5954"/>
                  </a:cubicBezTo>
                  <a:cubicBezTo>
                    <a:pt x="2046" y="5931"/>
                    <a:pt x="2031" y="5911"/>
                    <a:pt x="2011" y="5899"/>
                  </a:cubicBezTo>
                  <a:cubicBezTo>
                    <a:pt x="1997" y="5891"/>
                    <a:pt x="1981" y="5887"/>
                    <a:pt x="1966" y="5887"/>
                  </a:cubicBezTo>
                  <a:cubicBezTo>
                    <a:pt x="1958" y="5887"/>
                    <a:pt x="1951" y="5888"/>
                    <a:pt x="1943" y="5890"/>
                  </a:cubicBezTo>
                  <a:cubicBezTo>
                    <a:pt x="1867" y="5910"/>
                    <a:pt x="1792" y="5920"/>
                    <a:pt x="1718" y="5920"/>
                  </a:cubicBezTo>
                  <a:cubicBezTo>
                    <a:pt x="1237" y="5920"/>
                    <a:pt x="846" y="5529"/>
                    <a:pt x="846" y="5048"/>
                  </a:cubicBezTo>
                  <a:cubicBezTo>
                    <a:pt x="846" y="4872"/>
                    <a:pt x="898" y="4703"/>
                    <a:pt x="996" y="4559"/>
                  </a:cubicBezTo>
                  <a:cubicBezTo>
                    <a:pt x="1012" y="4536"/>
                    <a:pt x="1015" y="4507"/>
                    <a:pt x="1007" y="4481"/>
                  </a:cubicBezTo>
                  <a:cubicBezTo>
                    <a:pt x="998" y="4456"/>
                    <a:pt x="978" y="4435"/>
                    <a:pt x="952" y="4426"/>
                  </a:cubicBezTo>
                  <a:cubicBezTo>
                    <a:pt x="488" y="4265"/>
                    <a:pt x="176" y="3827"/>
                    <a:pt x="176" y="3336"/>
                  </a:cubicBezTo>
                  <a:cubicBezTo>
                    <a:pt x="176" y="2846"/>
                    <a:pt x="488" y="2408"/>
                    <a:pt x="952" y="2247"/>
                  </a:cubicBezTo>
                  <a:cubicBezTo>
                    <a:pt x="978" y="2238"/>
                    <a:pt x="998" y="2217"/>
                    <a:pt x="1007" y="2191"/>
                  </a:cubicBezTo>
                  <a:cubicBezTo>
                    <a:pt x="1015" y="2165"/>
                    <a:pt x="1012" y="2137"/>
                    <a:pt x="996" y="2114"/>
                  </a:cubicBezTo>
                  <a:cubicBezTo>
                    <a:pt x="962" y="2065"/>
                    <a:pt x="934" y="2012"/>
                    <a:pt x="912" y="1957"/>
                  </a:cubicBezTo>
                  <a:cubicBezTo>
                    <a:pt x="1516" y="1957"/>
                    <a:pt x="1516" y="1957"/>
                    <a:pt x="1516" y="1957"/>
                  </a:cubicBezTo>
                  <a:cubicBezTo>
                    <a:pt x="1554" y="2098"/>
                    <a:pt x="1683" y="2202"/>
                    <a:pt x="1836" y="2202"/>
                  </a:cubicBezTo>
                  <a:cubicBezTo>
                    <a:pt x="2020" y="2202"/>
                    <a:pt x="2169" y="2053"/>
                    <a:pt x="2169" y="1869"/>
                  </a:cubicBezTo>
                  <a:cubicBezTo>
                    <a:pt x="2169" y="1686"/>
                    <a:pt x="2020" y="1537"/>
                    <a:pt x="1836" y="1537"/>
                  </a:cubicBezTo>
                  <a:cubicBezTo>
                    <a:pt x="1683" y="1537"/>
                    <a:pt x="1554" y="1641"/>
                    <a:pt x="1516" y="1781"/>
                  </a:cubicBezTo>
                  <a:cubicBezTo>
                    <a:pt x="860" y="1781"/>
                    <a:pt x="860" y="1781"/>
                    <a:pt x="860" y="1781"/>
                  </a:cubicBezTo>
                  <a:cubicBezTo>
                    <a:pt x="851" y="1730"/>
                    <a:pt x="846" y="1678"/>
                    <a:pt x="846" y="1625"/>
                  </a:cubicBezTo>
                  <a:cubicBezTo>
                    <a:pt x="846" y="1144"/>
                    <a:pt x="1237" y="753"/>
                    <a:pt x="1718" y="753"/>
                  </a:cubicBezTo>
                  <a:cubicBezTo>
                    <a:pt x="1792" y="753"/>
                    <a:pt x="1867" y="763"/>
                    <a:pt x="1943" y="783"/>
                  </a:cubicBezTo>
                  <a:cubicBezTo>
                    <a:pt x="1966" y="789"/>
                    <a:pt x="1990" y="786"/>
                    <a:pt x="2011" y="774"/>
                  </a:cubicBezTo>
                  <a:cubicBezTo>
                    <a:pt x="2031" y="762"/>
                    <a:pt x="2046" y="742"/>
                    <a:pt x="2051" y="719"/>
                  </a:cubicBezTo>
                  <a:cubicBezTo>
                    <a:pt x="2130" y="400"/>
                    <a:pt x="2416" y="176"/>
                    <a:pt x="2745" y="176"/>
                  </a:cubicBezTo>
                  <a:cubicBezTo>
                    <a:pt x="3139" y="176"/>
                    <a:pt x="3460" y="497"/>
                    <a:pt x="3460" y="891"/>
                  </a:cubicBezTo>
                  <a:lnTo>
                    <a:pt x="3460" y="2761"/>
                  </a:lnTo>
                  <a:close/>
                  <a:moveTo>
                    <a:pt x="2742" y="1048"/>
                  </a:moveTo>
                  <a:cubicBezTo>
                    <a:pt x="2655" y="1048"/>
                    <a:pt x="2585" y="978"/>
                    <a:pt x="2585" y="891"/>
                  </a:cubicBezTo>
                  <a:cubicBezTo>
                    <a:pt x="2585" y="805"/>
                    <a:pt x="2655" y="735"/>
                    <a:pt x="2742" y="735"/>
                  </a:cubicBezTo>
                  <a:cubicBezTo>
                    <a:pt x="2828" y="735"/>
                    <a:pt x="2898" y="805"/>
                    <a:pt x="2898" y="891"/>
                  </a:cubicBezTo>
                  <a:cubicBezTo>
                    <a:pt x="2898" y="978"/>
                    <a:pt x="2828" y="1048"/>
                    <a:pt x="2742" y="1048"/>
                  </a:cubicBezTo>
                  <a:close/>
                  <a:moveTo>
                    <a:pt x="1836" y="5136"/>
                  </a:moveTo>
                  <a:cubicBezTo>
                    <a:pt x="1923" y="5136"/>
                    <a:pt x="1993" y="5206"/>
                    <a:pt x="1993" y="5292"/>
                  </a:cubicBezTo>
                  <a:cubicBezTo>
                    <a:pt x="1993" y="5379"/>
                    <a:pt x="1923" y="5449"/>
                    <a:pt x="1836" y="5449"/>
                  </a:cubicBezTo>
                  <a:cubicBezTo>
                    <a:pt x="1750" y="5449"/>
                    <a:pt x="1680" y="5379"/>
                    <a:pt x="1680" y="5292"/>
                  </a:cubicBezTo>
                  <a:cubicBezTo>
                    <a:pt x="1680" y="5206"/>
                    <a:pt x="1750" y="5136"/>
                    <a:pt x="1836" y="5136"/>
                  </a:cubicBezTo>
                  <a:close/>
                  <a:moveTo>
                    <a:pt x="1015" y="3336"/>
                  </a:moveTo>
                  <a:cubicBezTo>
                    <a:pt x="1015" y="3423"/>
                    <a:pt x="945" y="3493"/>
                    <a:pt x="858" y="3493"/>
                  </a:cubicBezTo>
                  <a:cubicBezTo>
                    <a:pt x="772" y="3493"/>
                    <a:pt x="702" y="3423"/>
                    <a:pt x="702" y="3336"/>
                  </a:cubicBezTo>
                  <a:cubicBezTo>
                    <a:pt x="702" y="3250"/>
                    <a:pt x="772" y="3180"/>
                    <a:pt x="858" y="3180"/>
                  </a:cubicBezTo>
                  <a:cubicBezTo>
                    <a:pt x="945" y="3180"/>
                    <a:pt x="1015" y="3250"/>
                    <a:pt x="1015" y="3336"/>
                  </a:cubicBezTo>
                  <a:close/>
                  <a:moveTo>
                    <a:pt x="1680" y="1869"/>
                  </a:moveTo>
                  <a:cubicBezTo>
                    <a:pt x="1680" y="1783"/>
                    <a:pt x="1750" y="1713"/>
                    <a:pt x="1836" y="1713"/>
                  </a:cubicBezTo>
                  <a:cubicBezTo>
                    <a:pt x="1923" y="1713"/>
                    <a:pt x="1993" y="1783"/>
                    <a:pt x="1993" y="1869"/>
                  </a:cubicBezTo>
                  <a:cubicBezTo>
                    <a:pt x="1993" y="1956"/>
                    <a:pt x="1923" y="2026"/>
                    <a:pt x="1836" y="2026"/>
                  </a:cubicBezTo>
                  <a:cubicBezTo>
                    <a:pt x="1750" y="2026"/>
                    <a:pt x="1680" y="1956"/>
                    <a:pt x="1680" y="18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uk-UA" sz="900"/>
            </a:p>
          </p:txBody>
        </p:sp>
      </p:grpSp>
      <p:sp>
        <p:nvSpPr>
          <p:cNvPr id="17" name="Text Placeholder 5">
            <a:extLst>
              <a:ext uri="{FF2B5EF4-FFF2-40B4-BE49-F238E27FC236}">
                <a16:creationId xmlns:a16="http://schemas.microsoft.com/office/drawing/2014/main" id="{89B8784A-93E2-6C44-35E0-2AC43977EEB9}"/>
              </a:ext>
            </a:extLst>
          </p:cNvPr>
          <p:cNvSpPr>
            <a:spLocks noGrp="1"/>
          </p:cNvSpPr>
          <p:nvPr>
            <p:ph type="body" sz="quarter" idx="13" hasCustomPrompt="1"/>
          </p:nvPr>
        </p:nvSpPr>
        <p:spPr>
          <a:xfrm>
            <a:off x="6380919" y="2377333"/>
            <a:ext cx="5523781" cy="1830719"/>
          </a:xfrm>
        </p:spPr>
        <p:txBody>
          <a:bodyPr/>
          <a:lstStyle>
            <a:lvl1pPr>
              <a:lnSpc>
                <a:spcPct val="130000"/>
              </a:lnSpc>
              <a:spcAft>
                <a:spcPts val="900"/>
              </a:spcAft>
              <a:defRPr sz="1800"/>
            </a:lvl1pPr>
          </a:lstStyle>
          <a:p>
            <a:r>
              <a:rPr lang="en-US" err="1"/>
              <a:t>Firstname</a:t>
            </a:r>
            <a:r>
              <a:rPr lang="en-US"/>
              <a:t> </a:t>
            </a:r>
            <a:r>
              <a:rPr lang="en-US" err="1"/>
              <a:t>Lastname</a:t>
            </a:r>
            <a:br>
              <a:rPr lang="en-US"/>
            </a:br>
            <a:r>
              <a:rPr lang="en-US"/>
              <a:t>Company, Job Title</a:t>
            </a:r>
            <a:br>
              <a:rPr lang="en-US"/>
            </a:br>
            <a:r>
              <a:rPr lang="en-US"/>
              <a:t>Contact</a:t>
            </a:r>
          </a:p>
        </p:txBody>
      </p:sp>
      <p:sp>
        <p:nvSpPr>
          <p:cNvPr id="7" name="TextBox 6">
            <a:extLst>
              <a:ext uri="{FF2B5EF4-FFF2-40B4-BE49-F238E27FC236}">
                <a16:creationId xmlns:a16="http://schemas.microsoft.com/office/drawing/2014/main" id="{6B77FCB9-0B57-A6F8-DCF6-8221F92B41F8}"/>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rgbClr val="000000"/>
                </a:solidFill>
                <a:latin typeface="IBM Plex Sans" panose="020B0503050203000203" pitchFamily="34" charset="0"/>
                <a:ea typeface="+mj-ea"/>
                <a:cs typeface="+mj-cs"/>
                <a:sym typeface="IBM Plex Sans Light"/>
              </a:rPr>
              <a:t>#IBMTechXchange</a:t>
            </a:r>
          </a:p>
        </p:txBody>
      </p:sp>
    </p:spTree>
    <p:extLst>
      <p:ext uri="{BB962C8B-B14F-4D97-AF65-F5344CB8AC3E}">
        <p14:creationId xmlns:p14="http://schemas.microsoft.com/office/powerpoint/2010/main" val="2685658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Title 1">
            <a:extLst>
              <a:ext uri="{FF2B5EF4-FFF2-40B4-BE49-F238E27FC236}">
                <a16:creationId xmlns:a16="http://schemas.microsoft.com/office/drawing/2014/main" id="{6733F7B7-5AD6-1E43-4FD9-3C700AC2CBD0}"/>
              </a:ext>
            </a:extLst>
          </p:cNvPr>
          <p:cNvSpPr>
            <a:spLocks noGrp="1"/>
          </p:cNvSpPr>
          <p:nvPr>
            <p:ph type="title"/>
          </p:nvPr>
        </p:nvSpPr>
        <p:spPr>
          <a:xfrm>
            <a:off x="269212" y="191938"/>
            <a:ext cx="8768104" cy="646263"/>
          </a:xfrm>
        </p:spPr>
        <p:txBody>
          <a:bodyPr rIns="457200"/>
          <a:lstStyle>
            <a:lvl1pPr>
              <a:lnSpc>
                <a:spcPct val="100000"/>
              </a:lnSpc>
              <a:defRPr sz="4299">
                <a:solidFill>
                  <a:schemeClr val="tx2"/>
                </a:solidFill>
              </a:defRPr>
            </a:lvl1pPr>
          </a:lstStyle>
          <a:p>
            <a:r>
              <a:rPr lang="en-US"/>
              <a:t>Click to edit Master title style</a:t>
            </a:r>
          </a:p>
        </p:txBody>
      </p:sp>
      <p:sp>
        <p:nvSpPr>
          <p:cNvPr id="6" name="Rectangle 5">
            <a:extLst>
              <a:ext uri="{FF2B5EF4-FFF2-40B4-BE49-F238E27FC236}">
                <a16:creationId xmlns:a16="http://schemas.microsoft.com/office/drawing/2014/main" id="{3062CE6B-0DAF-9C00-3396-9CE36E1C1BA0}"/>
              </a:ext>
            </a:extLst>
          </p:cNvPr>
          <p:cNvSpPr/>
          <p:nvPr userDrawn="1"/>
        </p:nvSpPr>
        <p:spPr bwMode="auto">
          <a:xfrm>
            <a:off x="9143603" y="3048000"/>
            <a:ext cx="3047603" cy="3048000"/>
          </a:xfrm>
          <a:prstGeom prst="rect">
            <a:avLst/>
          </a:prstGeom>
          <a:solidFill>
            <a:schemeClr val="bg2"/>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04" tIns="121904" rIns="121904" bIns="121904" numCol="1" rtlCol="0" anchor="t" anchorCtr="0" compatLnSpc="1">
            <a:prstTxWarp prst="textNoShape">
              <a:avLst/>
            </a:prstTxWarp>
          </a:bodyPr>
          <a:lstStyle/>
          <a:p>
            <a:pPr defTabSz="1218926" fontAlgn="base">
              <a:spcBef>
                <a:spcPct val="0"/>
              </a:spcBef>
              <a:spcAft>
                <a:spcPct val="0"/>
              </a:spcAft>
            </a:pPr>
            <a:endParaRPr lang="en-US" sz="1867">
              <a:solidFill>
                <a:schemeClr val="bg1"/>
              </a:solidFill>
            </a:endParaRPr>
          </a:p>
        </p:txBody>
      </p:sp>
      <p:sp>
        <p:nvSpPr>
          <p:cNvPr id="8" name="Text Placeholder 10">
            <a:extLst>
              <a:ext uri="{FF2B5EF4-FFF2-40B4-BE49-F238E27FC236}">
                <a16:creationId xmlns:a16="http://schemas.microsoft.com/office/drawing/2014/main" id="{5CF6371F-3AE6-2B80-8833-B0E2027EB315}"/>
              </a:ext>
            </a:extLst>
          </p:cNvPr>
          <p:cNvSpPr>
            <a:spLocks noGrp="1"/>
          </p:cNvSpPr>
          <p:nvPr>
            <p:ph type="body" sz="quarter" idx="14"/>
          </p:nvPr>
        </p:nvSpPr>
        <p:spPr>
          <a:xfrm>
            <a:off x="9428523" y="3429001"/>
            <a:ext cx="2474590" cy="2373923"/>
          </a:xfrm>
        </p:spPr>
        <p:txBody>
          <a:bodyPr/>
          <a:lstStyle>
            <a:lvl1pPr>
              <a:spcBef>
                <a:spcPts val="0"/>
              </a:spcBef>
              <a:spcAft>
                <a:spcPts val="1800"/>
              </a:spcAft>
              <a:defRPr sz="1800">
                <a:solidFill>
                  <a:schemeClr val="tx1"/>
                </a:solidFill>
              </a:defRPr>
            </a:lvl1pPr>
            <a:lvl2pPr marL="127990" indent="-127990">
              <a:spcBef>
                <a:spcPts val="0"/>
              </a:spcBef>
              <a:spcAft>
                <a:spcPts val="1800"/>
              </a:spcAft>
              <a:defRPr sz="1800">
                <a:solidFill>
                  <a:schemeClr val="tx1"/>
                </a:solidFill>
              </a:defRPr>
            </a:lvl2pPr>
            <a:lvl3pPr marL="255981" indent="-127990">
              <a:spcBef>
                <a:spcPts val="0"/>
              </a:spcBef>
              <a:spcAft>
                <a:spcPts val="1800"/>
              </a:spcAft>
              <a:defRPr sz="1800">
                <a:solidFill>
                  <a:schemeClr val="tx1"/>
                </a:solidFill>
              </a:defRPr>
            </a:lvl3pPr>
            <a:lvl4pPr marL="383971" indent="-127990">
              <a:spcBef>
                <a:spcPts val="0"/>
              </a:spcBef>
              <a:spcAft>
                <a:spcPts val="1800"/>
              </a:spcAft>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1">
            <a:extLst>
              <a:ext uri="{FF2B5EF4-FFF2-40B4-BE49-F238E27FC236}">
                <a16:creationId xmlns:a16="http://schemas.microsoft.com/office/drawing/2014/main" id="{F6160B3E-5D79-4A62-FCA2-1B484BEE34FE}"/>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grpSp>
        <p:nvGrpSpPr>
          <p:cNvPr id="16" name="Group 15">
            <a:extLst>
              <a:ext uri="{FF2B5EF4-FFF2-40B4-BE49-F238E27FC236}">
                <a16:creationId xmlns:a16="http://schemas.microsoft.com/office/drawing/2014/main" id="{C57956E6-043C-9154-3AF1-472FFABD7071}"/>
              </a:ext>
            </a:extLst>
          </p:cNvPr>
          <p:cNvGrpSpPr/>
          <p:nvPr userDrawn="1"/>
        </p:nvGrpSpPr>
        <p:grpSpPr>
          <a:xfrm>
            <a:off x="2761890" y="817742"/>
            <a:ext cx="5466433" cy="5278259"/>
            <a:chOff x="6942668" y="1637769"/>
            <a:chExt cx="10515600" cy="10152293"/>
          </a:xfrm>
        </p:grpSpPr>
        <p:sp>
          <p:nvSpPr>
            <p:cNvPr id="10" name="Freeform: Shape 9">
              <a:extLst>
                <a:ext uri="{FF2B5EF4-FFF2-40B4-BE49-F238E27FC236}">
                  <a16:creationId xmlns:a16="http://schemas.microsoft.com/office/drawing/2014/main" id="{042BB4D5-AD73-987F-76B7-38A354A5DCB0}"/>
                </a:ext>
              </a:extLst>
            </p:cNvPr>
            <p:cNvSpPr>
              <a:spLocks noChangeAspect="1"/>
            </p:cNvSpPr>
            <p:nvPr/>
          </p:nvSpPr>
          <p:spPr>
            <a:xfrm>
              <a:off x="6942668" y="6862050"/>
              <a:ext cx="2635137" cy="2635137"/>
            </a:xfrm>
            <a:custGeom>
              <a:avLst/>
              <a:gdLst>
                <a:gd name="connsiteX0" fmla="*/ 210111 w 1432576"/>
                <a:gd name="connsiteY0" fmla="*/ 926399 h 1432576"/>
                <a:gd name="connsiteX1" fmla="*/ 0 w 1432576"/>
                <a:gd name="connsiteY1" fmla="*/ 1432576 h 1432576"/>
                <a:gd name="connsiteX2" fmla="*/ 716288 w 1432576"/>
                <a:gd name="connsiteY2" fmla="*/ 1432576 h 1432576"/>
                <a:gd name="connsiteX3" fmla="*/ 1432576 w 1432576"/>
                <a:gd name="connsiteY3" fmla="*/ 1432576 h 1432576"/>
                <a:gd name="connsiteX4" fmla="*/ 1222465 w 1432576"/>
                <a:gd name="connsiteY4" fmla="*/ 926399 h 1432576"/>
                <a:gd name="connsiteX5" fmla="*/ 716288 w 1432576"/>
                <a:gd name="connsiteY5" fmla="*/ 716288 h 1432576"/>
                <a:gd name="connsiteX6" fmla="*/ 210111 w 1432576"/>
                <a:gd name="connsiteY6" fmla="*/ 926399 h 1432576"/>
                <a:gd name="connsiteX7" fmla="*/ 210111 w 1432576"/>
                <a:gd name="connsiteY7" fmla="*/ 506912 h 1432576"/>
                <a:gd name="connsiteX8" fmla="*/ 0 w 1432576"/>
                <a:gd name="connsiteY8" fmla="*/ 0 h 1432576"/>
                <a:gd name="connsiteX9" fmla="*/ 716288 w 1432576"/>
                <a:gd name="connsiteY9" fmla="*/ 0 h 1432576"/>
                <a:gd name="connsiteX10" fmla="*/ 1432576 w 1432576"/>
                <a:gd name="connsiteY10" fmla="*/ 0 h 1432576"/>
                <a:gd name="connsiteX11" fmla="*/ 1222465 w 1432576"/>
                <a:gd name="connsiteY11" fmla="*/ 506177 h 1432576"/>
                <a:gd name="connsiteX12" fmla="*/ 716288 w 1432576"/>
                <a:gd name="connsiteY12" fmla="*/ 716288 h 1432576"/>
                <a:gd name="connsiteX13" fmla="*/ 210111 w 1432576"/>
                <a:gd name="connsiteY13" fmla="*/ 506912 h 143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32576" h="1432576">
                  <a:moveTo>
                    <a:pt x="210111" y="926399"/>
                  </a:moveTo>
                  <a:cubicBezTo>
                    <a:pt x="75669" y="1060841"/>
                    <a:pt x="0" y="1243035"/>
                    <a:pt x="0" y="1432576"/>
                  </a:cubicBezTo>
                  <a:lnTo>
                    <a:pt x="716288" y="1432576"/>
                  </a:lnTo>
                  <a:lnTo>
                    <a:pt x="1432576" y="1432576"/>
                  </a:lnTo>
                  <a:cubicBezTo>
                    <a:pt x="1432576" y="1242301"/>
                    <a:pt x="1356907" y="1060106"/>
                    <a:pt x="1222465" y="926399"/>
                  </a:cubicBezTo>
                  <a:cubicBezTo>
                    <a:pt x="1088023" y="792692"/>
                    <a:pt x="905829" y="716288"/>
                    <a:pt x="716288" y="716288"/>
                  </a:cubicBezTo>
                  <a:cubicBezTo>
                    <a:pt x="526747" y="716288"/>
                    <a:pt x="343818" y="791957"/>
                    <a:pt x="210111" y="926399"/>
                  </a:cubicBezTo>
                  <a:close/>
                  <a:moveTo>
                    <a:pt x="210111" y="506912"/>
                  </a:moveTo>
                  <a:cubicBezTo>
                    <a:pt x="75669" y="372470"/>
                    <a:pt x="0" y="190276"/>
                    <a:pt x="0" y="0"/>
                  </a:cubicBezTo>
                  <a:lnTo>
                    <a:pt x="716288" y="0"/>
                  </a:lnTo>
                  <a:lnTo>
                    <a:pt x="1432576" y="0"/>
                  </a:lnTo>
                  <a:cubicBezTo>
                    <a:pt x="1432576" y="190276"/>
                    <a:pt x="1356907" y="372470"/>
                    <a:pt x="1222465" y="506177"/>
                  </a:cubicBezTo>
                  <a:cubicBezTo>
                    <a:pt x="1088023" y="639884"/>
                    <a:pt x="905829" y="716288"/>
                    <a:pt x="716288" y="716288"/>
                  </a:cubicBezTo>
                  <a:cubicBezTo>
                    <a:pt x="526747" y="716288"/>
                    <a:pt x="343818" y="641353"/>
                    <a:pt x="210111" y="506912"/>
                  </a:cubicBezTo>
                  <a:close/>
                </a:path>
              </a:pathLst>
            </a:custGeom>
            <a:solidFill>
              <a:srgbClr val="82CFFF"/>
            </a:solidFill>
            <a:ln w="7342" cap="flat">
              <a:noFill/>
              <a:prstDash val="solid"/>
              <a:miter/>
            </a:ln>
          </p:spPr>
          <p:txBody>
            <a:bodyPr rtlCol="0" anchor="ctr"/>
            <a:lstStyle/>
            <a:p>
              <a:endParaRPr lang="uk-UA" sz="900"/>
            </a:p>
          </p:txBody>
        </p:sp>
        <p:sp>
          <p:nvSpPr>
            <p:cNvPr id="11" name="Freeform: Shape 10">
              <a:extLst>
                <a:ext uri="{FF2B5EF4-FFF2-40B4-BE49-F238E27FC236}">
                  <a16:creationId xmlns:a16="http://schemas.microsoft.com/office/drawing/2014/main" id="{F611567E-C8D0-448A-9743-5236E0F534D6}"/>
                </a:ext>
              </a:extLst>
            </p:cNvPr>
            <p:cNvSpPr>
              <a:spLocks noChangeAspect="1"/>
            </p:cNvSpPr>
            <p:nvPr/>
          </p:nvSpPr>
          <p:spPr>
            <a:xfrm>
              <a:off x="9576042" y="6862049"/>
              <a:ext cx="2627365" cy="2627367"/>
            </a:xfrm>
            <a:custGeom>
              <a:avLst/>
              <a:gdLst>
                <a:gd name="connsiteX0" fmla="*/ 716288 w 1432576"/>
                <a:gd name="connsiteY0" fmla="*/ 1432576 h 1432576"/>
                <a:gd name="connsiteX1" fmla="*/ 716288 w 1432576"/>
                <a:gd name="connsiteY1" fmla="*/ 0 h 1432576"/>
                <a:gd name="connsiteX2" fmla="*/ 1432576 w 1432576"/>
                <a:gd name="connsiteY2" fmla="*/ 716288 h 1432576"/>
                <a:gd name="connsiteX3" fmla="*/ 716288 w 1432576"/>
                <a:gd name="connsiteY3" fmla="*/ 1432576 h 1432576"/>
                <a:gd name="connsiteX4" fmla="*/ 0 w 1432576"/>
                <a:gd name="connsiteY4" fmla="*/ 1432576 h 1432576"/>
                <a:gd name="connsiteX5" fmla="*/ 0 w 1432576"/>
                <a:gd name="connsiteY5" fmla="*/ 0 h 1432576"/>
                <a:gd name="connsiteX6" fmla="*/ 716288 w 1432576"/>
                <a:gd name="connsiteY6" fmla="*/ 716288 h 1432576"/>
                <a:gd name="connsiteX7" fmla="*/ 0 w 1432576"/>
                <a:gd name="connsiteY7" fmla="*/ 1432576 h 143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2576" h="1432576">
                  <a:moveTo>
                    <a:pt x="716288" y="1432576"/>
                  </a:moveTo>
                  <a:lnTo>
                    <a:pt x="716288" y="0"/>
                  </a:lnTo>
                  <a:lnTo>
                    <a:pt x="1432576" y="716288"/>
                  </a:lnTo>
                  <a:lnTo>
                    <a:pt x="716288" y="1432576"/>
                  </a:lnTo>
                  <a:close/>
                  <a:moveTo>
                    <a:pt x="0" y="1432576"/>
                  </a:moveTo>
                  <a:lnTo>
                    <a:pt x="0" y="0"/>
                  </a:lnTo>
                  <a:lnTo>
                    <a:pt x="716288" y="716288"/>
                  </a:lnTo>
                  <a:lnTo>
                    <a:pt x="0" y="1432576"/>
                  </a:lnTo>
                  <a:close/>
                </a:path>
              </a:pathLst>
            </a:custGeom>
            <a:solidFill>
              <a:srgbClr val="6FDC8C"/>
            </a:solidFill>
            <a:ln w="7342" cap="flat">
              <a:noFill/>
              <a:prstDash val="solid"/>
              <a:miter/>
            </a:ln>
          </p:spPr>
          <p:txBody>
            <a:bodyPr rtlCol="0" anchor="ctr"/>
            <a:lstStyle/>
            <a:p>
              <a:endParaRPr lang="uk-UA" sz="900"/>
            </a:p>
          </p:txBody>
        </p:sp>
        <p:sp>
          <p:nvSpPr>
            <p:cNvPr id="12" name="Freeform 51">
              <a:extLst>
                <a:ext uri="{FF2B5EF4-FFF2-40B4-BE49-F238E27FC236}">
                  <a16:creationId xmlns:a16="http://schemas.microsoft.com/office/drawing/2014/main" id="{5CF0DB26-C4CF-BD12-69F7-DB229CBF5260}"/>
                </a:ext>
              </a:extLst>
            </p:cNvPr>
            <p:cNvSpPr>
              <a:spLocks noEditPoints="1"/>
            </p:cNvSpPr>
            <p:nvPr/>
          </p:nvSpPr>
          <p:spPr bwMode="auto">
            <a:xfrm>
              <a:off x="6942668" y="9489416"/>
              <a:ext cx="2627365" cy="2300646"/>
            </a:xfrm>
            <a:custGeom>
              <a:avLst/>
              <a:gdLst>
                <a:gd name="T0" fmla="*/ 864 w 1729"/>
                <a:gd name="T1" fmla="*/ 1514 h 1514"/>
                <a:gd name="T2" fmla="*/ 108 w 1729"/>
                <a:gd name="T3" fmla="*/ 805 h 1514"/>
                <a:gd name="T4" fmla="*/ 28 w 1729"/>
                <a:gd name="T5" fmla="*/ 885 h 1514"/>
                <a:gd name="T6" fmla="*/ 0 w 1729"/>
                <a:gd name="T7" fmla="*/ 856 h 1514"/>
                <a:gd name="T8" fmla="*/ 127 w 1729"/>
                <a:gd name="T9" fmla="*/ 728 h 1514"/>
                <a:gd name="T10" fmla="*/ 255 w 1729"/>
                <a:gd name="T11" fmla="*/ 856 h 1514"/>
                <a:gd name="T12" fmla="*/ 226 w 1729"/>
                <a:gd name="T13" fmla="*/ 885 h 1514"/>
                <a:gd name="T14" fmla="*/ 150 w 1729"/>
                <a:gd name="T15" fmla="*/ 808 h 1514"/>
                <a:gd name="T16" fmla="*/ 864 w 1729"/>
                <a:gd name="T17" fmla="*/ 1474 h 1514"/>
                <a:gd name="T18" fmla="*/ 1561 w 1729"/>
                <a:gd name="T19" fmla="*/ 923 h 1514"/>
                <a:gd name="T20" fmla="*/ 1601 w 1729"/>
                <a:gd name="T21" fmla="*/ 932 h 1514"/>
                <a:gd name="T22" fmla="*/ 864 w 1729"/>
                <a:gd name="T23" fmla="*/ 1514 h 1514"/>
                <a:gd name="T24" fmla="*/ 864 w 1729"/>
                <a:gd name="T25" fmla="*/ 1098 h 1514"/>
                <a:gd name="T26" fmla="*/ 541 w 1729"/>
                <a:gd name="T27" fmla="*/ 774 h 1514"/>
                <a:gd name="T28" fmla="*/ 481 w 1729"/>
                <a:gd name="T29" fmla="*/ 631 h 1514"/>
                <a:gd name="T30" fmla="*/ 541 w 1729"/>
                <a:gd name="T31" fmla="*/ 485 h 1514"/>
                <a:gd name="T32" fmla="*/ 685 w 1729"/>
                <a:gd name="T33" fmla="*/ 425 h 1514"/>
                <a:gd name="T34" fmla="*/ 685 w 1729"/>
                <a:gd name="T35" fmla="*/ 425 h 1514"/>
                <a:gd name="T36" fmla="*/ 830 w 1729"/>
                <a:gd name="T37" fmla="*/ 485 h 1514"/>
                <a:gd name="T38" fmla="*/ 864 w 1729"/>
                <a:gd name="T39" fmla="*/ 519 h 1514"/>
                <a:gd name="T40" fmla="*/ 898 w 1729"/>
                <a:gd name="T41" fmla="*/ 485 h 1514"/>
                <a:gd name="T42" fmla="*/ 1043 w 1729"/>
                <a:gd name="T43" fmla="*/ 425 h 1514"/>
                <a:gd name="T44" fmla="*/ 1188 w 1729"/>
                <a:gd name="T45" fmla="*/ 485 h 1514"/>
                <a:gd name="T46" fmla="*/ 1248 w 1729"/>
                <a:gd name="T47" fmla="*/ 633 h 1514"/>
                <a:gd name="T48" fmla="*/ 1188 w 1729"/>
                <a:gd name="T49" fmla="*/ 774 h 1514"/>
                <a:gd name="T50" fmla="*/ 864 w 1729"/>
                <a:gd name="T51" fmla="*/ 1098 h 1514"/>
                <a:gd name="T52" fmla="*/ 685 w 1729"/>
                <a:gd name="T53" fmla="*/ 466 h 1514"/>
                <a:gd name="T54" fmla="*/ 685 w 1729"/>
                <a:gd name="T55" fmla="*/ 466 h 1514"/>
                <a:gd name="T56" fmla="*/ 569 w 1729"/>
                <a:gd name="T57" fmla="*/ 514 h 1514"/>
                <a:gd name="T58" fmla="*/ 521 w 1729"/>
                <a:gd name="T59" fmla="*/ 630 h 1514"/>
                <a:gd name="T60" fmla="*/ 569 w 1729"/>
                <a:gd name="T61" fmla="*/ 746 h 1514"/>
                <a:gd name="T62" fmla="*/ 864 w 1729"/>
                <a:gd name="T63" fmla="*/ 1040 h 1514"/>
                <a:gd name="T64" fmla="*/ 1159 w 1729"/>
                <a:gd name="T65" fmla="*/ 746 h 1514"/>
                <a:gd name="T66" fmla="*/ 1207 w 1729"/>
                <a:gd name="T67" fmla="*/ 633 h 1514"/>
                <a:gd name="T68" fmla="*/ 1159 w 1729"/>
                <a:gd name="T69" fmla="*/ 514 h 1514"/>
                <a:gd name="T70" fmla="*/ 1043 w 1729"/>
                <a:gd name="T71" fmla="*/ 466 h 1514"/>
                <a:gd name="T72" fmla="*/ 927 w 1729"/>
                <a:gd name="T73" fmla="*/ 514 h 1514"/>
                <a:gd name="T74" fmla="*/ 864 w 1729"/>
                <a:gd name="T75" fmla="*/ 576 h 1514"/>
                <a:gd name="T76" fmla="*/ 801 w 1729"/>
                <a:gd name="T77" fmla="*/ 514 h 1514"/>
                <a:gd name="T78" fmla="*/ 685 w 1729"/>
                <a:gd name="T79" fmla="*/ 466 h 1514"/>
                <a:gd name="T80" fmla="*/ 1601 w 1729"/>
                <a:gd name="T81" fmla="*/ 786 h 1514"/>
                <a:gd name="T82" fmla="*/ 1473 w 1729"/>
                <a:gd name="T83" fmla="*/ 658 h 1514"/>
                <a:gd name="T84" fmla="*/ 1502 w 1729"/>
                <a:gd name="T85" fmla="*/ 629 h 1514"/>
                <a:gd name="T86" fmla="*/ 1579 w 1729"/>
                <a:gd name="T87" fmla="*/ 706 h 1514"/>
                <a:gd name="T88" fmla="*/ 864 w 1729"/>
                <a:gd name="T89" fmla="*/ 41 h 1514"/>
                <a:gd name="T90" fmla="*/ 167 w 1729"/>
                <a:gd name="T91" fmla="*/ 592 h 1514"/>
                <a:gd name="T92" fmla="*/ 127 w 1729"/>
                <a:gd name="T93" fmla="*/ 582 h 1514"/>
                <a:gd name="T94" fmla="*/ 864 w 1729"/>
                <a:gd name="T95" fmla="*/ 0 h 1514"/>
                <a:gd name="T96" fmla="*/ 1620 w 1729"/>
                <a:gd name="T97" fmla="*/ 709 h 1514"/>
                <a:gd name="T98" fmla="*/ 1700 w 1729"/>
                <a:gd name="T99" fmla="*/ 629 h 1514"/>
                <a:gd name="T100" fmla="*/ 1729 w 1729"/>
                <a:gd name="T101" fmla="*/ 658 h 1514"/>
                <a:gd name="T102" fmla="*/ 1601 w 1729"/>
                <a:gd name="T103" fmla="*/ 786 h 1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29" h="1514">
                  <a:moveTo>
                    <a:pt x="864" y="1514"/>
                  </a:moveTo>
                  <a:cubicBezTo>
                    <a:pt x="463" y="1514"/>
                    <a:pt x="133" y="1200"/>
                    <a:pt x="108" y="805"/>
                  </a:cubicBezTo>
                  <a:cubicBezTo>
                    <a:pt x="28" y="885"/>
                    <a:pt x="28" y="885"/>
                    <a:pt x="28" y="885"/>
                  </a:cubicBezTo>
                  <a:cubicBezTo>
                    <a:pt x="0" y="856"/>
                    <a:pt x="0" y="856"/>
                    <a:pt x="0" y="856"/>
                  </a:cubicBezTo>
                  <a:cubicBezTo>
                    <a:pt x="127" y="728"/>
                    <a:pt x="127" y="728"/>
                    <a:pt x="127" y="728"/>
                  </a:cubicBezTo>
                  <a:cubicBezTo>
                    <a:pt x="255" y="856"/>
                    <a:pt x="255" y="856"/>
                    <a:pt x="255" y="856"/>
                  </a:cubicBezTo>
                  <a:cubicBezTo>
                    <a:pt x="226" y="885"/>
                    <a:pt x="226" y="885"/>
                    <a:pt x="226" y="885"/>
                  </a:cubicBezTo>
                  <a:cubicBezTo>
                    <a:pt x="150" y="808"/>
                    <a:pt x="150" y="808"/>
                    <a:pt x="150" y="808"/>
                  </a:cubicBezTo>
                  <a:cubicBezTo>
                    <a:pt x="176" y="1180"/>
                    <a:pt x="486" y="1474"/>
                    <a:pt x="864" y="1474"/>
                  </a:cubicBezTo>
                  <a:cubicBezTo>
                    <a:pt x="1198" y="1474"/>
                    <a:pt x="1485" y="1247"/>
                    <a:pt x="1561" y="923"/>
                  </a:cubicBezTo>
                  <a:cubicBezTo>
                    <a:pt x="1601" y="932"/>
                    <a:pt x="1601" y="932"/>
                    <a:pt x="1601" y="932"/>
                  </a:cubicBezTo>
                  <a:cubicBezTo>
                    <a:pt x="1520" y="1275"/>
                    <a:pt x="1217" y="1514"/>
                    <a:pt x="864" y="1514"/>
                  </a:cubicBezTo>
                  <a:close/>
                  <a:moveTo>
                    <a:pt x="864" y="1098"/>
                  </a:moveTo>
                  <a:cubicBezTo>
                    <a:pt x="541" y="774"/>
                    <a:pt x="541" y="774"/>
                    <a:pt x="541" y="774"/>
                  </a:cubicBezTo>
                  <a:cubicBezTo>
                    <a:pt x="502" y="736"/>
                    <a:pt x="481" y="685"/>
                    <a:pt x="481" y="631"/>
                  </a:cubicBezTo>
                  <a:cubicBezTo>
                    <a:pt x="480" y="575"/>
                    <a:pt x="502" y="524"/>
                    <a:pt x="541" y="485"/>
                  </a:cubicBezTo>
                  <a:cubicBezTo>
                    <a:pt x="579" y="446"/>
                    <a:pt x="630" y="425"/>
                    <a:pt x="685" y="425"/>
                  </a:cubicBezTo>
                  <a:cubicBezTo>
                    <a:pt x="685" y="425"/>
                    <a:pt x="685" y="425"/>
                    <a:pt x="685" y="425"/>
                  </a:cubicBezTo>
                  <a:cubicBezTo>
                    <a:pt x="740" y="425"/>
                    <a:pt x="792" y="446"/>
                    <a:pt x="830" y="485"/>
                  </a:cubicBezTo>
                  <a:cubicBezTo>
                    <a:pt x="864" y="519"/>
                    <a:pt x="864" y="519"/>
                    <a:pt x="864" y="519"/>
                  </a:cubicBezTo>
                  <a:cubicBezTo>
                    <a:pt x="898" y="485"/>
                    <a:pt x="898" y="485"/>
                    <a:pt x="898" y="485"/>
                  </a:cubicBezTo>
                  <a:cubicBezTo>
                    <a:pt x="937" y="446"/>
                    <a:pt x="988" y="425"/>
                    <a:pt x="1043" y="425"/>
                  </a:cubicBezTo>
                  <a:cubicBezTo>
                    <a:pt x="1098" y="425"/>
                    <a:pt x="1149" y="446"/>
                    <a:pt x="1188" y="485"/>
                  </a:cubicBezTo>
                  <a:cubicBezTo>
                    <a:pt x="1227" y="524"/>
                    <a:pt x="1249" y="577"/>
                    <a:pt x="1248" y="633"/>
                  </a:cubicBezTo>
                  <a:cubicBezTo>
                    <a:pt x="1247" y="687"/>
                    <a:pt x="1225" y="737"/>
                    <a:pt x="1188" y="774"/>
                  </a:cubicBezTo>
                  <a:lnTo>
                    <a:pt x="864" y="1098"/>
                  </a:lnTo>
                  <a:close/>
                  <a:moveTo>
                    <a:pt x="685" y="466"/>
                  </a:moveTo>
                  <a:cubicBezTo>
                    <a:pt x="685" y="466"/>
                    <a:pt x="685" y="466"/>
                    <a:pt x="685" y="466"/>
                  </a:cubicBezTo>
                  <a:cubicBezTo>
                    <a:pt x="641" y="466"/>
                    <a:pt x="600" y="483"/>
                    <a:pt x="569" y="514"/>
                  </a:cubicBezTo>
                  <a:cubicBezTo>
                    <a:pt x="538" y="545"/>
                    <a:pt x="521" y="586"/>
                    <a:pt x="521" y="630"/>
                  </a:cubicBezTo>
                  <a:cubicBezTo>
                    <a:pt x="522" y="674"/>
                    <a:pt x="539" y="715"/>
                    <a:pt x="569" y="746"/>
                  </a:cubicBezTo>
                  <a:cubicBezTo>
                    <a:pt x="864" y="1040"/>
                    <a:pt x="864" y="1040"/>
                    <a:pt x="864" y="1040"/>
                  </a:cubicBezTo>
                  <a:cubicBezTo>
                    <a:pt x="1159" y="746"/>
                    <a:pt x="1159" y="746"/>
                    <a:pt x="1159" y="746"/>
                  </a:cubicBezTo>
                  <a:cubicBezTo>
                    <a:pt x="1189" y="715"/>
                    <a:pt x="1206" y="675"/>
                    <a:pt x="1207" y="633"/>
                  </a:cubicBezTo>
                  <a:cubicBezTo>
                    <a:pt x="1208" y="588"/>
                    <a:pt x="1191" y="545"/>
                    <a:pt x="1159" y="514"/>
                  </a:cubicBezTo>
                  <a:cubicBezTo>
                    <a:pt x="1128" y="483"/>
                    <a:pt x="1087" y="466"/>
                    <a:pt x="1043" y="466"/>
                  </a:cubicBezTo>
                  <a:cubicBezTo>
                    <a:pt x="999" y="466"/>
                    <a:pt x="958" y="483"/>
                    <a:pt x="927" y="514"/>
                  </a:cubicBezTo>
                  <a:cubicBezTo>
                    <a:pt x="864" y="576"/>
                    <a:pt x="864" y="576"/>
                    <a:pt x="864" y="576"/>
                  </a:cubicBezTo>
                  <a:cubicBezTo>
                    <a:pt x="801" y="514"/>
                    <a:pt x="801" y="514"/>
                    <a:pt x="801" y="514"/>
                  </a:cubicBezTo>
                  <a:cubicBezTo>
                    <a:pt x="770" y="483"/>
                    <a:pt x="729" y="466"/>
                    <a:pt x="685" y="466"/>
                  </a:cubicBezTo>
                  <a:close/>
                  <a:moveTo>
                    <a:pt x="1601" y="786"/>
                  </a:moveTo>
                  <a:cubicBezTo>
                    <a:pt x="1473" y="658"/>
                    <a:pt x="1473" y="658"/>
                    <a:pt x="1473" y="658"/>
                  </a:cubicBezTo>
                  <a:cubicBezTo>
                    <a:pt x="1502" y="629"/>
                    <a:pt x="1502" y="629"/>
                    <a:pt x="1502" y="629"/>
                  </a:cubicBezTo>
                  <a:cubicBezTo>
                    <a:pt x="1579" y="706"/>
                    <a:pt x="1579" y="706"/>
                    <a:pt x="1579" y="706"/>
                  </a:cubicBezTo>
                  <a:cubicBezTo>
                    <a:pt x="1553" y="335"/>
                    <a:pt x="1242" y="41"/>
                    <a:pt x="864" y="41"/>
                  </a:cubicBezTo>
                  <a:cubicBezTo>
                    <a:pt x="530" y="41"/>
                    <a:pt x="244" y="267"/>
                    <a:pt x="167" y="592"/>
                  </a:cubicBezTo>
                  <a:cubicBezTo>
                    <a:pt x="127" y="582"/>
                    <a:pt x="127" y="582"/>
                    <a:pt x="127" y="582"/>
                  </a:cubicBezTo>
                  <a:cubicBezTo>
                    <a:pt x="208" y="239"/>
                    <a:pt x="511" y="0"/>
                    <a:pt x="864" y="0"/>
                  </a:cubicBezTo>
                  <a:cubicBezTo>
                    <a:pt x="1266" y="0"/>
                    <a:pt x="1595" y="314"/>
                    <a:pt x="1620" y="709"/>
                  </a:cubicBezTo>
                  <a:cubicBezTo>
                    <a:pt x="1700" y="629"/>
                    <a:pt x="1700" y="629"/>
                    <a:pt x="1700" y="629"/>
                  </a:cubicBezTo>
                  <a:cubicBezTo>
                    <a:pt x="1729" y="658"/>
                    <a:pt x="1729" y="658"/>
                    <a:pt x="1729" y="658"/>
                  </a:cubicBezTo>
                  <a:lnTo>
                    <a:pt x="1601" y="78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uk-UA" sz="900"/>
            </a:p>
          </p:txBody>
        </p:sp>
        <p:sp>
          <p:nvSpPr>
            <p:cNvPr id="13" name="Freeform: Shape 12">
              <a:extLst>
                <a:ext uri="{FF2B5EF4-FFF2-40B4-BE49-F238E27FC236}">
                  <a16:creationId xmlns:a16="http://schemas.microsoft.com/office/drawing/2014/main" id="{D2972600-4154-B967-EC67-DD52A5BD7094}"/>
                </a:ext>
              </a:extLst>
            </p:cNvPr>
            <p:cNvSpPr>
              <a:spLocks noChangeAspect="1"/>
            </p:cNvSpPr>
            <p:nvPr/>
          </p:nvSpPr>
          <p:spPr>
            <a:xfrm>
              <a:off x="12205170" y="1637769"/>
              <a:ext cx="2627498" cy="2627497"/>
            </a:xfrm>
            <a:custGeom>
              <a:avLst/>
              <a:gdLst>
                <a:gd name="connsiteX0" fmla="*/ 1432576 w 1432576"/>
                <a:gd name="connsiteY0" fmla="*/ 1432576 h 1432576"/>
                <a:gd name="connsiteX1" fmla="*/ 1432576 w 1432576"/>
                <a:gd name="connsiteY1" fmla="*/ 0 h 1432576"/>
                <a:gd name="connsiteX2" fmla="*/ 716288 w 1432576"/>
                <a:gd name="connsiteY2" fmla="*/ 716288 h 1432576"/>
                <a:gd name="connsiteX3" fmla="*/ 0 w 1432576"/>
                <a:gd name="connsiteY3" fmla="*/ 0 h 1432576"/>
                <a:gd name="connsiteX4" fmla="*/ 0 w 1432576"/>
                <a:gd name="connsiteY4" fmla="*/ 1432576 h 1432576"/>
                <a:gd name="connsiteX5" fmla="*/ 716288 w 1432576"/>
                <a:gd name="connsiteY5" fmla="*/ 716288 h 143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2576" h="1432576">
                  <a:moveTo>
                    <a:pt x="1432576" y="1432576"/>
                  </a:moveTo>
                  <a:lnTo>
                    <a:pt x="1432576" y="0"/>
                  </a:lnTo>
                  <a:lnTo>
                    <a:pt x="716288" y="716288"/>
                  </a:lnTo>
                  <a:lnTo>
                    <a:pt x="0" y="0"/>
                  </a:lnTo>
                  <a:lnTo>
                    <a:pt x="0" y="1432576"/>
                  </a:lnTo>
                  <a:lnTo>
                    <a:pt x="716288" y="716288"/>
                  </a:lnTo>
                  <a:close/>
                </a:path>
              </a:pathLst>
            </a:custGeom>
            <a:solidFill>
              <a:srgbClr val="D02670"/>
            </a:solidFill>
            <a:ln w="7342" cap="flat">
              <a:noFill/>
              <a:prstDash val="solid"/>
              <a:miter/>
            </a:ln>
          </p:spPr>
          <p:txBody>
            <a:bodyPr rtlCol="0" anchor="ctr"/>
            <a:lstStyle/>
            <a:p>
              <a:endParaRPr lang="uk-UA" sz="900"/>
            </a:p>
          </p:txBody>
        </p:sp>
        <p:sp>
          <p:nvSpPr>
            <p:cNvPr id="14" name="Freeform: Shape 13">
              <a:extLst>
                <a:ext uri="{FF2B5EF4-FFF2-40B4-BE49-F238E27FC236}">
                  <a16:creationId xmlns:a16="http://schemas.microsoft.com/office/drawing/2014/main" id="{E74DAC60-F4CE-135D-45BD-1E79D0919FAD}"/>
                </a:ext>
              </a:extLst>
            </p:cNvPr>
            <p:cNvSpPr>
              <a:spLocks noChangeAspect="1"/>
            </p:cNvSpPr>
            <p:nvPr/>
          </p:nvSpPr>
          <p:spPr>
            <a:xfrm>
              <a:off x="14830771" y="4265266"/>
              <a:ext cx="2627497" cy="2615995"/>
            </a:xfrm>
            <a:custGeom>
              <a:avLst/>
              <a:gdLst>
                <a:gd name="connsiteX0" fmla="*/ 1002803 w 1998994"/>
                <a:gd name="connsiteY0" fmla="*/ 1581041 h 1990243"/>
                <a:gd name="connsiteX1" fmla="*/ 1247443 w 1998994"/>
                <a:gd name="connsiteY1" fmla="*/ 1338605 h 1990243"/>
                <a:gd name="connsiteX2" fmla="*/ 1002803 w 1998994"/>
                <a:gd name="connsiteY2" fmla="*/ 1096169 h 1990243"/>
                <a:gd name="connsiteX3" fmla="*/ 758163 w 1998994"/>
                <a:gd name="connsiteY3" fmla="*/ 1338605 h 1990243"/>
                <a:gd name="connsiteX4" fmla="*/ 1002803 w 1998994"/>
                <a:gd name="connsiteY4" fmla="*/ 1581041 h 1990243"/>
                <a:gd name="connsiteX5" fmla="*/ 1011619 w 1998994"/>
                <a:gd name="connsiteY5" fmla="*/ 1892534 h 1990243"/>
                <a:gd name="connsiteX6" fmla="*/ 1579507 w 1998994"/>
                <a:gd name="connsiteY6" fmla="*/ 1337870 h 1990243"/>
                <a:gd name="connsiteX7" fmla="*/ 1011619 w 1998994"/>
                <a:gd name="connsiteY7" fmla="*/ 782471 h 1990243"/>
                <a:gd name="connsiteX8" fmla="*/ 443731 w 1998994"/>
                <a:gd name="connsiteY8" fmla="*/ 1337136 h 1990243"/>
                <a:gd name="connsiteX9" fmla="*/ 1011619 w 1998994"/>
                <a:gd name="connsiteY9" fmla="*/ 1892534 h 1990243"/>
                <a:gd name="connsiteX10" fmla="*/ 0 w 1998994"/>
                <a:gd name="connsiteY10" fmla="*/ 1321708 h 1990243"/>
                <a:gd name="connsiteX11" fmla="*/ 999865 w 1998994"/>
                <a:gd name="connsiteY11" fmla="*/ 660519 h 1990243"/>
                <a:gd name="connsiteX12" fmla="*/ 1998260 w 1998994"/>
                <a:gd name="connsiteY12" fmla="*/ 1329055 h 1990243"/>
                <a:gd name="connsiteX13" fmla="*/ 999865 w 1998994"/>
                <a:gd name="connsiteY13" fmla="*/ 1990244 h 1990243"/>
                <a:gd name="connsiteX14" fmla="*/ 0 w 1998994"/>
                <a:gd name="connsiteY14" fmla="*/ 1321708 h 1990243"/>
                <a:gd name="connsiteX15" fmla="*/ 372470 w 1998994"/>
                <a:gd name="connsiteY15" fmla="*/ 197686 h 1990243"/>
                <a:gd name="connsiteX16" fmla="*/ 999865 w 1998994"/>
                <a:gd name="connsiteY16" fmla="*/ 64 h 1990243"/>
                <a:gd name="connsiteX17" fmla="*/ 1627260 w 1998994"/>
                <a:gd name="connsiteY17" fmla="*/ 197686 h 1990243"/>
                <a:gd name="connsiteX18" fmla="*/ 1998995 w 1998994"/>
                <a:gd name="connsiteY18" fmla="*/ 598808 h 1990243"/>
                <a:gd name="connsiteX19" fmla="*/ 1998995 w 1998994"/>
                <a:gd name="connsiteY19" fmla="*/ 796430 h 1990243"/>
                <a:gd name="connsiteX20" fmla="*/ 1550856 w 1998994"/>
                <a:gd name="connsiteY20" fmla="*/ 470978 h 1990243"/>
                <a:gd name="connsiteX21" fmla="*/ 999865 w 1998994"/>
                <a:gd name="connsiteY21" fmla="*/ 346087 h 1990243"/>
                <a:gd name="connsiteX22" fmla="*/ 448874 w 1998994"/>
                <a:gd name="connsiteY22" fmla="*/ 470978 h 1990243"/>
                <a:gd name="connsiteX23" fmla="*/ 734 w 1998994"/>
                <a:gd name="connsiteY23" fmla="*/ 796430 h 1990243"/>
                <a:gd name="connsiteX24" fmla="*/ 734 w 1998994"/>
                <a:gd name="connsiteY24" fmla="*/ 598808 h 1990243"/>
                <a:gd name="connsiteX25" fmla="*/ 372470 w 1998994"/>
                <a:gd name="connsiteY25" fmla="*/ 197686 h 1990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998994" h="1990243">
                  <a:moveTo>
                    <a:pt x="1002803" y="1581041"/>
                  </a:moveTo>
                  <a:cubicBezTo>
                    <a:pt x="1137980" y="1581041"/>
                    <a:pt x="1247443" y="1472312"/>
                    <a:pt x="1247443" y="1338605"/>
                  </a:cubicBezTo>
                  <a:cubicBezTo>
                    <a:pt x="1247443" y="1204163"/>
                    <a:pt x="1137980" y="1096169"/>
                    <a:pt x="1002803" y="1096169"/>
                  </a:cubicBezTo>
                  <a:cubicBezTo>
                    <a:pt x="867627" y="1096169"/>
                    <a:pt x="758163" y="1204898"/>
                    <a:pt x="758163" y="1338605"/>
                  </a:cubicBezTo>
                  <a:cubicBezTo>
                    <a:pt x="757429" y="1472312"/>
                    <a:pt x="867627" y="1581041"/>
                    <a:pt x="1002803" y="1581041"/>
                  </a:cubicBezTo>
                  <a:close/>
                  <a:moveTo>
                    <a:pt x="1011619" y="1892534"/>
                  </a:moveTo>
                  <a:cubicBezTo>
                    <a:pt x="1325317" y="1892534"/>
                    <a:pt x="1579507" y="1644221"/>
                    <a:pt x="1579507" y="1337870"/>
                  </a:cubicBezTo>
                  <a:cubicBezTo>
                    <a:pt x="1579507" y="1031520"/>
                    <a:pt x="1325317" y="782471"/>
                    <a:pt x="1011619" y="782471"/>
                  </a:cubicBezTo>
                  <a:cubicBezTo>
                    <a:pt x="697922" y="782471"/>
                    <a:pt x="443731" y="1030785"/>
                    <a:pt x="443731" y="1337136"/>
                  </a:cubicBezTo>
                  <a:cubicBezTo>
                    <a:pt x="443731" y="1643487"/>
                    <a:pt x="697187" y="1892534"/>
                    <a:pt x="1011619" y="1892534"/>
                  </a:cubicBezTo>
                  <a:close/>
                  <a:moveTo>
                    <a:pt x="0" y="1321708"/>
                  </a:moveTo>
                  <a:cubicBezTo>
                    <a:pt x="0" y="1321708"/>
                    <a:pt x="230681" y="660519"/>
                    <a:pt x="999865" y="660519"/>
                  </a:cubicBezTo>
                  <a:cubicBezTo>
                    <a:pt x="1769048" y="660519"/>
                    <a:pt x="1998260" y="1329055"/>
                    <a:pt x="1998260" y="1329055"/>
                  </a:cubicBezTo>
                  <a:cubicBezTo>
                    <a:pt x="1998260" y="1329055"/>
                    <a:pt x="1771252" y="1990244"/>
                    <a:pt x="999865" y="1990244"/>
                  </a:cubicBezTo>
                  <a:cubicBezTo>
                    <a:pt x="228477" y="1990244"/>
                    <a:pt x="0" y="1321708"/>
                    <a:pt x="0" y="1321708"/>
                  </a:cubicBezTo>
                  <a:close/>
                  <a:moveTo>
                    <a:pt x="372470" y="197686"/>
                  </a:moveTo>
                  <a:cubicBezTo>
                    <a:pt x="634741" y="1534"/>
                    <a:pt x="951378" y="-670"/>
                    <a:pt x="999865" y="64"/>
                  </a:cubicBezTo>
                  <a:cubicBezTo>
                    <a:pt x="1048352" y="-670"/>
                    <a:pt x="1364988" y="1534"/>
                    <a:pt x="1627260" y="197686"/>
                  </a:cubicBezTo>
                  <a:cubicBezTo>
                    <a:pt x="1911571" y="410736"/>
                    <a:pt x="1998995" y="598808"/>
                    <a:pt x="1998995" y="598808"/>
                  </a:cubicBezTo>
                  <a:lnTo>
                    <a:pt x="1998995" y="796430"/>
                  </a:lnTo>
                  <a:cubicBezTo>
                    <a:pt x="1998995" y="796430"/>
                    <a:pt x="1821208" y="595135"/>
                    <a:pt x="1550856" y="470978"/>
                  </a:cubicBezTo>
                  <a:cubicBezTo>
                    <a:pt x="1304012" y="357841"/>
                    <a:pt x="1043209" y="346821"/>
                    <a:pt x="999865" y="346087"/>
                  </a:cubicBezTo>
                  <a:cubicBezTo>
                    <a:pt x="956520" y="346821"/>
                    <a:pt x="695718" y="357841"/>
                    <a:pt x="448874" y="470978"/>
                  </a:cubicBezTo>
                  <a:cubicBezTo>
                    <a:pt x="178521" y="595135"/>
                    <a:pt x="734" y="796430"/>
                    <a:pt x="734" y="796430"/>
                  </a:cubicBezTo>
                  <a:lnTo>
                    <a:pt x="734" y="598808"/>
                  </a:lnTo>
                  <a:cubicBezTo>
                    <a:pt x="0" y="598808"/>
                    <a:pt x="88159" y="410736"/>
                    <a:pt x="372470" y="197686"/>
                  </a:cubicBezTo>
                  <a:close/>
                </a:path>
              </a:pathLst>
            </a:custGeom>
            <a:solidFill>
              <a:schemeClr val="accent1"/>
            </a:solidFill>
            <a:ln w="7342" cap="flat">
              <a:noFill/>
              <a:prstDash val="solid"/>
              <a:miter/>
            </a:ln>
          </p:spPr>
          <p:txBody>
            <a:bodyPr rtlCol="0" anchor="ctr"/>
            <a:lstStyle/>
            <a:p>
              <a:endParaRPr lang="uk-UA" sz="900"/>
            </a:p>
          </p:txBody>
        </p:sp>
        <p:sp>
          <p:nvSpPr>
            <p:cNvPr id="15" name="Freeform: Shape 14">
              <a:extLst>
                <a:ext uri="{FF2B5EF4-FFF2-40B4-BE49-F238E27FC236}">
                  <a16:creationId xmlns:a16="http://schemas.microsoft.com/office/drawing/2014/main" id="{3D3C316D-E8FA-6F5D-66FB-CFAB01662BFA}"/>
                </a:ext>
              </a:extLst>
            </p:cNvPr>
            <p:cNvSpPr/>
            <p:nvPr/>
          </p:nvSpPr>
          <p:spPr>
            <a:xfrm>
              <a:off x="12205170" y="4265266"/>
              <a:ext cx="2627497" cy="2596786"/>
            </a:xfrm>
            <a:custGeom>
              <a:avLst/>
              <a:gdLst>
                <a:gd name="connsiteX0" fmla="*/ 8348 w 356174"/>
                <a:gd name="connsiteY0" fmla="*/ 123807 h 352011"/>
                <a:gd name="connsiteX1" fmla="*/ 8348 w 356174"/>
                <a:gd name="connsiteY1" fmla="*/ 178093 h 352011"/>
                <a:gd name="connsiteX2" fmla="*/ 0 w 356174"/>
                <a:gd name="connsiteY2" fmla="*/ 178093 h 352011"/>
                <a:gd name="connsiteX3" fmla="*/ 0 w 356174"/>
                <a:gd name="connsiteY3" fmla="*/ 123795 h 352011"/>
                <a:gd name="connsiteX4" fmla="*/ 38807 w 356174"/>
                <a:gd name="connsiteY4" fmla="*/ 66182 h 352011"/>
                <a:gd name="connsiteX5" fmla="*/ 24928 w 356174"/>
                <a:gd name="connsiteY5" fmla="*/ 37219 h 352011"/>
                <a:gd name="connsiteX6" fmla="*/ 62147 w 356174"/>
                <a:gd name="connsiteY6" fmla="*/ 0 h 352011"/>
                <a:gd name="connsiteX7" fmla="*/ 99366 w 356174"/>
                <a:gd name="connsiteY7" fmla="*/ 37219 h 352011"/>
                <a:gd name="connsiteX8" fmla="*/ 85487 w 356174"/>
                <a:gd name="connsiteY8" fmla="*/ 66194 h 352011"/>
                <a:gd name="connsiteX9" fmla="*/ 124294 w 356174"/>
                <a:gd name="connsiteY9" fmla="*/ 123807 h 352011"/>
                <a:gd name="connsiteX10" fmla="*/ 124294 w 356174"/>
                <a:gd name="connsiteY10" fmla="*/ 178093 h 352011"/>
                <a:gd name="connsiteX11" fmla="*/ 115946 w 356174"/>
                <a:gd name="connsiteY11" fmla="*/ 178093 h 352011"/>
                <a:gd name="connsiteX12" fmla="*/ 115946 w 356174"/>
                <a:gd name="connsiteY12" fmla="*/ 123795 h 352011"/>
                <a:gd name="connsiteX13" fmla="*/ 74600 w 356174"/>
                <a:gd name="connsiteY13" fmla="*/ 71457 h 352011"/>
                <a:gd name="connsiteX14" fmla="*/ 71411 w 356174"/>
                <a:gd name="connsiteY14" fmla="*/ 67794 h 352011"/>
                <a:gd name="connsiteX15" fmla="*/ 73869 w 356174"/>
                <a:gd name="connsiteY15" fmla="*/ 63585 h 352011"/>
                <a:gd name="connsiteX16" fmla="*/ 91029 w 356174"/>
                <a:gd name="connsiteY16" fmla="*/ 37207 h 352011"/>
                <a:gd name="connsiteX17" fmla="*/ 62159 w 356174"/>
                <a:gd name="connsiteY17" fmla="*/ 8337 h 352011"/>
                <a:gd name="connsiteX18" fmla="*/ 33276 w 356174"/>
                <a:gd name="connsiteY18" fmla="*/ 37219 h 352011"/>
                <a:gd name="connsiteX19" fmla="*/ 50436 w 356174"/>
                <a:gd name="connsiteY19" fmla="*/ 63596 h 352011"/>
                <a:gd name="connsiteX20" fmla="*/ 52895 w 356174"/>
                <a:gd name="connsiteY20" fmla="*/ 67794 h 352011"/>
                <a:gd name="connsiteX21" fmla="*/ 49694 w 356174"/>
                <a:gd name="connsiteY21" fmla="*/ 71469 h 352011"/>
                <a:gd name="connsiteX22" fmla="*/ 8348 w 356174"/>
                <a:gd name="connsiteY22" fmla="*/ 123807 h 352011"/>
                <a:gd name="connsiteX23" fmla="*/ 317390 w 356174"/>
                <a:gd name="connsiteY23" fmla="*/ 240112 h 352011"/>
                <a:gd name="connsiteX24" fmla="*/ 331269 w 356174"/>
                <a:gd name="connsiteY24" fmla="*/ 211138 h 352011"/>
                <a:gd name="connsiteX25" fmla="*/ 294039 w 356174"/>
                <a:gd name="connsiteY25" fmla="*/ 173919 h 352011"/>
                <a:gd name="connsiteX26" fmla="*/ 256809 w 356174"/>
                <a:gd name="connsiteY26" fmla="*/ 211138 h 352011"/>
                <a:gd name="connsiteX27" fmla="*/ 270687 w 356174"/>
                <a:gd name="connsiteY27" fmla="*/ 240112 h 352011"/>
                <a:gd name="connsiteX28" fmla="*/ 231880 w 356174"/>
                <a:gd name="connsiteY28" fmla="*/ 297726 h 352011"/>
                <a:gd name="connsiteX29" fmla="*/ 231880 w 356174"/>
                <a:gd name="connsiteY29" fmla="*/ 352012 h 352011"/>
                <a:gd name="connsiteX30" fmla="*/ 240240 w 356174"/>
                <a:gd name="connsiteY30" fmla="*/ 352012 h 352011"/>
                <a:gd name="connsiteX31" fmla="*/ 240240 w 356174"/>
                <a:gd name="connsiteY31" fmla="*/ 297714 h 352011"/>
                <a:gd name="connsiteX32" fmla="*/ 281575 w 356174"/>
                <a:gd name="connsiteY32" fmla="*/ 245376 h 352011"/>
                <a:gd name="connsiteX33" fmla="*/ 284763 w 356174"/>
                <a:gd name="connsiteY33" fmla="*/ 241701 h 352011"/>
                <a:gd name="connsiteX34" fmla="*/ 282305 w 356174"/>
                <a:gd name="connsiteY34" fmla="*/ 237504 h 352011"/>
                <a:gd name="connsiteX35" fmla="*/ 265157 w 356174"/>
                <a:gd name="connsiteY35" fmla="*/ 211138 h 352011"/>
                <a:gd name="connsiteX36" fmla="*/ 294027 w 356174"/>
                <a:gd name="connsiteY36" fmla="*/ 182267 h 352011"/>
                <a:gd name="connsiteX37" fmla="*/ 322898 w 356174"/>
                <a:gd name="connsiteY37" fmla="*/ 211138 h 352011"/>
                <a:gd name="connsiteX38" fmla="*/ 305749 w 356174"/>
                <a:gd name="connsiteY38" fmla="*/ 237504 h 352011"/>
                <a:gd name="connsiteX39" fmla="*/ 303291 w 356174"/>
                <a:gd name="connsiteY39" fmla="*/ 241701 h 352011"/>
                <a:gd name="connsiteX40" fmla="*/ 306480 w 356174"/>
                <a:gd name="connsiteY40" fmla="*/ 245376 h 352011"/>
                <a:gd name="connsiteX41" fmla="*/ 347815 w 356174"/>
                <a:gd name="connsiteY41" fmla="*/ 297714 h 352011"/>
                <a:gd name="connsiteX42" fmla="*/ 347815 w 356174"/>
                <a:gd name="connsiteY42" fmla="*/ 352012 h 352011"/>
                <a:gd name="connsiteX43" fmla="*/ 356174 w 356174"/>
                <a:gd name="connsiteY43" fmla="*/ 352012 h 352011"/>
                <a:gd name="connsiteX44" fmla="*/ 356174 w 356174"/>
                <a:gd name="connsiteY44" fmla="*/ 297714 h 352011"/>
                <a:gd name="connsiteX45" fmla="*/ 317390 w 356174"/>
                <a:gd name="connsiteY45" fmla="*/ 240112 h 352011"/>
                <a:gd name="connsiteX46" fmla="*/ 66321 w 356174"/>
                <a:gd name="connsiteY46" fmla="*/ 259255 h 352011"/>
                <a:gd name="connsiteX47" fmla="*/ 66321 w 356174"/>
                <a:gd name="connsiteY47" fmla="*/ 199763 h 352011"/>
                <a:gd name="connsiteX48" fmla="*/ 93986 w 356174"/>
                <a:gd name="connsiteY48" fmla="*/ 227428 h 352011"/>
                <a:gd name="connsiteX49" fmla="*/ 99887 w 356174"/>
                <a:gd name="connsiteY49" fmla="*/ 221515 h 352011"/>
                <a:gd name="connsiteX50" fmla="*/ 62147 w 356174"/>
                <a:gd name="connsiteY50" fmla="*/ 183786 h 352011"/>
                <a:gd name="connsiteX51" fmla="*/ 24418 w 356174"/>
                <a:gd name="connsiteY51" fmla="*/ 221515 h 352011"/>
                <a:gd name="connsiteX52" fmla="*/ 30320 w 356174"/>
                <a:gd name="connsiteY52" fmla="*/ 227428 h 352011"/>
                <a:gd name="connsiteX53" fmla="*/ 57985 w 356174"/>
                <a:gd name="connsiteY53" fmla="*/ 199763 h 352011"/>
                <a:gd name="connsiteX54" fmla="*/ 57985 w 356174"/>
                <a:gd name="connsiteY54" fmla="*/ 259255 h 352011"/>
                <a:gd name="connsiteX55" fmla="*/ 108537 w 356174"/>
                <a:gd name="connsiteY55" fmla="*/ 309808 h 352011"/>
                <a:gd name="connsiteX56" fmla="*/ 212888 w 356174"/>
                <a:gd name="connsiteY56" fmla="*/ 309808 h 352011"/>
                <a:gd name="connsiteX57" fmla="*/ 212888 w 356174"/>
                <a:gd name="connsiteY57" fmla="*/ 301459 h 352011"/>
                <a:gd name="connsiteX58" fmla="*/ 108537 w 356174"/>
                <a:gd name="connsiteY58" fmla="*/ 301459 h 352011"/>
                <a:gd name="connsiteX59" fmla="*/ 66321 w 356174"/>
                <a:gd name="connsiteY59" fmla="*/ 259255 h 352011"/>
                <a:gd name="connsiteX60" fmla="*/ 289865 w 356174"/>
                <a:gd name="connsiteY60" fmla="*/ 85336 h 352011"/>
                <a:gd name="connsiteX61" fmla="*/ 289865 w 356174"/>
                <a:gd name="connsiteY61" fmla="*/ 144816 h 352011"/>
                <a:gd name="connsiteX62" fmla="*/ 262212 w 356174"/>
                <a:gd name="connsiteY62" fmla="*/ 117163 h 352011"/>
                <a:gd name="connsiteX63" fmla="*/ 256299 w 356174"/>
                <a:gd name="connsiteY63" fmla="*/ 123065 h 352011"/>
                <a:gd name="connsiteX64" fmla="*/ 294039 w 356174"/>
                <a:gd name="connsiteY64" fmla="*/ 160805 h 352011"/>
                <a:gd name="connsiteX65" fmla="*/ 331779 w 356174"/>
                <a:gd name="connsiteY65" fmla="*/ 123065 h 352011"/>
                <a:gd name="connsiteX66" fmla="*/ 325866 w 356174"/>
                <a:gd name="connsiteY66" fmla="*/ 117163 h 352011"/>
                <a:gd name="connsiteX67" fmla="*/ 298213 w 356174"/>
                <a:gd name="connsiteY67" fmla="*/ 144816 h 352011"/>
                <a:gd name="connsiteX68" fmla="*/ 298213 w 356174"/>
                <a:gd name="connsiteY68" fmla="*/ 85336 h 352011"/>
                <a:gd name="connsiteX69" fmla="*/ 247661 w 356174"/>
                <a:gd name="connsiteY69" fmla="*/ 34784 h 352011"/>
                <a:gd name="connsiteX70" fmla="*/ 120120 w 356174"/>
                <a:gd name="connsiteY70" fmla="*/ 34784 h 352011"/>
                <a:gd name="connsiteX71" fmla="*/ 120120 w 356174"/>
                <a:gd name="connsiteY71" fmla="*/ 43132 h 352011"/>
                <a:gd name="connsiteX72" fmla="*/ 247661 w 356174"/>
                <a:gd name="connsiteY72" fmla="*/ 43132 h 352011"/>
                <a:gd name="connsiteX73" fmla="*/ 289865 w 356174"/>
                <a:gd name="connsiteY73" fmla="*/ 85336 h 352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356174" h="352011">
                  <a:moveTo>
                    <a:pt x="8348" y="123807"/>
                  </a:moveTo>
                  <a:lnTo>
                    <a:pt x="8348" y="178093"/>
                  </a:lnTo>
                  <a:lnTo>
                    <a:pt x="0" y="178093"/>
                  </a:lnTo>
                  <a:lnTo>
                    <a:pt x="0" y="123795"/>
                  </a:lnTo>
                  <a:cubicBezTo>
                    <a:pt x="0" y="98044"/>
                    <a:pt x="15560" y="75527"/>
                    <a:pt x="38807" y="66182"/>
                  </a:cubicBezTo>
                  <a:cubicBezTo>
                    <a:pt x="30169" y="59237"/>
                    <a:pt x="24928" y="48628"/>
                    <a:pt x="24928" y="37219"/>
                  </a:cubicBezTo>
                  <a:cubicBezTo>
                    <a:pt x="24928" y="16696"/>
                    <a:pt x="41625" y="0"/>
                    <a:pt x="62147" y="0"/>
                  </a:cubicBezTo>
                  <a:cubicBezTo>
                    <a:pt x="82669" y="0"/>
                    <a:pt x="99366" y="16696"/>
                    <a:pt x="99366" y="37219"/>
                  </a:cubicBezTo>
                  <a:cubicBezTo>
                    <a:pt x="99366" y="48628"/>
                    <a:pt x="94125" y="59225"/>
                    <a:pt x="85487" y="66194"/>
                  </a:cubicBezTo>
                  <a:cubicBezTo>
                    <a:pt x="108734" y="75539"/>
                    <a:pt x="124294" y="98055"/>
                    <a:pt x="124294" y="123807"/>
                  </a:cubicBezTo>
                  <a:lnTo>
                    <a:pt x="124294" y="178093"/>
                  </a:lnTo>
                  <a:lnTo>
                    <a:pt x="115946" y="178093"/>
                  </a:lnTo>
                  <a:lnTo>
                    <a:pt x="115946" y="123795"/>
                  </a:lnTo>
                  <a:cubicBezTo>
                    <a:pt x="115946" y="98751"/>
                    <a:pt x="98937" y="77232"/>
                    <a:pt x="74600" y="71457"/>
                  </a:cubicBezTo>
                  <a:cubicBezTo>
                    <a:pt x="72860" y="71052"/>
                    <a:pt x="71573" y="69568"/>
                    <a:pt x="71411" y="67794"/>
                  </a:cubicBezTo>
                  <a:cubicBezTo>
                    <a:pt x="71249" y="66008"/>
                    <a:pt x="72234" y="64315"/>
                    <a:pt x="73869" y="63585"/>
                  </a:cubicBezTo>
                  <a:cubicBezTo>
                    <a:pt x="84293" y="58947"/>
                    <a:pt x="91029" y="48593"/>
                    <a:pt x="91029" y="37207"/>
                  </a:cubicBezTo>
                  <a:cubicBezTo>
                    <a:pt x="91029" y="21288"/>
                    <a:pt x="78078" y="8337"/>
                    <a:pt x="62159" y="8337"/>
                  </a:cubicBezTo>
                  <a:cubicBezTo>
                    <a:pt x="46239" y="8337"/>
                    <a:pt x="33276" y="21299"/>
                    <a:pt x="33276" y="37219"/>
                  </a:cubicBezTo>
                  <a:cubicBezTo>
                    <a:pt x="33276" y="48605"/>
                    <a:pt x="40013" y="58959"/>
                    <a:pt x="50436" y="63596"/>
                  </a:cubicBezTo>
                  <a:cubicBezTo>
                    <a:pt x="52071" y="64327"/>
                    <a:pt x="53057" y="66020"/>
                    <a:pt x="52895" y="67794"/>
                  </a:cubicBezTo>
                  <a:cubicBezTo>
                    <a:pt x="52732" y="69579"/>
                    <a:pt x="51445" y="71063"/>
                    <a:pt x="49694" y="71469"/>
                  </a:cubicBezTo>
                  <a:cubicBezTo>
                    <a:pt x="25357" y="77243"/>
                    <a:pt x="8348" y="98763"/>
                    <a:pt x="8348" y="123807"/>
                  </a:cubicBezTo>
                  <a:close/>
                  <a:moveTo>
                    <a:pt x="317390" y="240112"/>
                  </a:moveTo>
                  <a:cubicBezTo>
                    <a:pt x="326028" y="233144"/>
                    <a:pt x="331269" y="222535"/>
                    <a:pt x="331269" y="211138"/>
                  </a:cubicBezTo>
                  <a:cubicBezTo>
                    <a:pt x="331269" y="190604"/>
                    <a:pt x="314573" y="173919"/>
                    <a:pt x="294039" y="173919"/>
                  </a:cubicBezTo>
                  <a:cubicBezTo>
                    <a:pt x="273505" y="173919"/>
                    <a:pt x="256809" y="190604"/>
                    <a:pt x="256809" y="211138"/>
                  </a:cubicBezTo>
                  <a:cubicBezTo>
                    <a:pt x="256809" y="222535"/>
                    <a:pt x="262049" y="233144"/>
                    <a:pt x="270687" y="240112"/>
                  </a:cubicBezTo>
                  <a:cubicBezTo>
                    <a:pt x="247440" y="249458"/>
                    <a:pt x="231880" y="271974"/>
                    <a:pt x="231880" y="297726"/>
                  </a:cubicBezTo>
                  <a:lnTo>
                    <a:pt x="231880" y="352012"/>
                  </a:lnTo>
                  <a:lnTo>
                    <a:pt x="240240" y="352012"/>
                  </a:lnTo>
                  <a:lnTo>
                    <a:pt x="240240" y="297714"/>
                  </a:lnTo>
                  <a:cubicBezTo>
                    <a:pt x="240240" y="272670"/>
                    <a:pt x="257238" y="251151"/>
                    <a:pt x="281575" y="245376"/>
                  </a:cubicBezTo>
                  <a:cubicBezTo>
                    <a:pt x="283314" y="244959"/>
                    <a:pt x="284601" y="243486"/>
                    <a:pt x="284763" y="241701"/>
                  </a:cubicBezTo>
                  <a:cubicBezTo>
                    <a:pt x="284937" y="239927"/>
                    <a:pt x="283940" y="238223"/>
                    <a:pt x="282305" y="237504"/>
                  </a:cubicBezTo>
                  <a:cubicBezTo>
                    <a:pt x="271882" y="232877"/>
                    <a:pt x="265157" y="222523"/>
                    <a:pt x="265157" y="211138"/>
                  </a:cubicBezTo>
                  <a:cubicBezTo>
                    <a:pt x="265157" y="195218"/>
                    <a:pt x="278108" y="182267"/>
                    <a:pt x="294027" y="182267"/>
                  </a:cubicBezTo>
                  <a:cubicBezTo>
                    <a:pt x="309947" y="182267"/>
                    <a:pt x="322898" y="195218"/>
                    <a:pt x="322898" y="211138"/>
                  </a:cubicBezTo>
                  <a:cubicBezTo>
                    <a:pt x="322898" y="222523"/>
                    <a:pt x="316173" y="232877"/>
                    <a:pt x="305749" y="237504"/>
                  </a:cubicBezTo>
                  <a:cubicBezTo>
                    <a:pt x="304115" y="238223"/>
                    <a:pt x="303117" y="239927"/>
                    <a:pt x="303291" y="241701"/>
                  </a:cubicBezTo>
                  <a:cubicBezTo>
                    <a:pt x="303465" y="243486"/>
                    <a:pt x="304741" y="244959"/>
                    <a:pt x="306480" y="245376"/>
                  </a:cubicBezTo>
                  <a:cubicBezTo>
                    <a:pt x="330829" y="251151"/>
                    <a:pt x="347815" y="272670"/>
                    <a:pt x="347815" y="297714"/>
                  </a:cubicBezTo>
                  <a:lnTo>
                    <a:pt x="347815" y="352012"/>
                  </a:lnTo>
                  <a:lnTo>
                    <a:pt x="356174" y="352012"/>
                  </a:lnTo>
                  <a:lnTo>
                    <a:pt x="356174" y="297714"/>
                  </a:lnTo>
                  <a:cubicBezTo>
                    <a:pt x="356186" y="271974"/>
                    <a:pt x="340638" y="249446"/>
                    <a:pt x="317390" y="240112"/>
                  </a:cubicBezTo>
                  <a:close/>
                  <a:moveTo>
                    <a:pt x="66321" y="259255"/>
                  </a:moveTo>
                  <a:lnTo>
                    <a:pt x="66321" y="199763"/>
                  </a:lnTo>
                  <a:lnTo>
                    <a:pt x="93986" y="227428"/>
                  </a:lnTo>
                  <a:lnTo>
                    <a:pt x="99887" y="221515"/>
                  </a:lnTo>
                  <a:lnTo>
                    <a:pt x="62147" y="183786"/>
                  </a:lnTo>
                  <a:lnTo>
                    <a:pt x="24418" y="221515"/>
                  </a:lnTo>
                  <a:lnTo>
                    <a:pt x="30320" y="227428"/>
                  </a:lnTo>
                  <a:lnTo>
                    <a:pt x="57985" y="199763"/>
                  </a:lnTo>
                  <a:lnTo>
                    <a:pt x="57985" y="259255"/>
                  </a:lnTo>
                  <a:cubicBezTo>
                    <a:pt x="57985" y="287129"/>
                    <a:pt x="80664" y="309808"/>
                    <a:pt x="108537" y="309808"/>
                  </a:cubicBezTo>
                  <a:lnTo>
                    <a:pt x="212888" y="309808"/>
                  </a:lnTo>
                  <a:lnTo>
                    <a:pt x="212888" y="301459"/>
                  </a:lnTo>
                  <a:lnTo>
                    <a:pt x="108537" y="301459"/>
                  </a:lnTo>
                  <a:cubicBezTo>
                    <a:pt x="85255" y="301459"/>
                    <a:pt x="66321" y="282525"/>
                    <a:pt x="66321" y="259255"/>
                  </a:cubicBezTo>
                  <a:close/>
                  <a:moveTo>
                    <a:pt x="289865" y="85336"/>
                  </a:moveTo>
                  <a:lnTo>
                    <a:pt x="289865" y="144816"/>
                  </a:lnTo>
                  <a:lnTo>
                    <a:pt x="262212" y="117163"/>
                  </a:lnTo>
                  <a:lnTo>
                    <a:pt x="256299" y="123065"/>
                  </a:lnTo>
                  <a:lnTo>
                    <a:pt x="294039" y="160805"/>
                  </a:lnTo>
                  <a:lnTo>
                    <a:pt x="331779" y="123065"/>
                  </a:lnTo>
                  <a:lnTo>
                    <a:pt x="325866" y="117163"/>
                  </a:lnTo>
                  <a:lnTo>
                    <a:pt x="298213" y="144816"/>
                  </a:lnTo>
                  <a:lnTo>
                    <a:pt x="298213" y="85336"/>
                  </a:lnTo>
                  <a:cubicBezTo>
                    <a:pt x="298213" y="57463"/>
                    <a:pt x="275534" y="34784"/>
                    <a:pt x="247661" y="34784"/>
                  </a:cubicBezTo>
                  <a:lnTo>
                    <a:pt x="120120" y="34784"/>
                  </a:lnTo>
                  <a:lnTo>
                    <a:pt x="120120" y="43132"/>
                  </a:lnTo>
                  <a:lnTo>
                    <a:pt x="247661" y="43132"/>
                  </a:lnTo>
                  <a:cubicBezTo>
                    <a:pt x="270931" y="43132"/>
                    <a:pt x="289865" y="62066"/>
                    <a:pt x="289865" y="85336"/>
                  </a:cubicBezTo>
                  <a:close/>
                </a:path>
              </a:pathLst>
            </a:custGeom>
            <a:solidFill>
              <a:srgbClr val="000000"/>
            </a:solidFill>
            <a:ln w="11311" cap="flat">
              <a:noFill/>
              <a:prstDash val="solid"/>
              <a:miter/>
            </a:ln>
          </p:spPr>
          <p:txBody>
            <a:bodyPr rtlCol="0" anchor="ctr"/>
            <a:lstStyle/>
            <a:p>
              <a:endParaRPr lang="en-US" sz="900"/>
            </a:p>
          </p:txBody>
        </p:sp>
      </p:grpSp>
      <p:sp>
        <p:nvSpPr>
          <p:cNvPr id="2" name="TextBox 1">
            <a:extLst>
              <a:ext uri="{FF2B5EF4-FFF2-40B4-BE49-F238E27FC236}">
                <a16:creationId xmlns:a16="http://schemas.microsoft.com/office/drawing/2014/main" id="{DE677881-1C56-7326-815E-DBD945C147DF}"/>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rgbClr val="000000"/>
                </a:solidFill>
                <a:latin typeface="IBM Plex Sans" panose="020B0503050203000203" pitchFamily="34" charset="0"/>
                <a:ea typeface="+mj-ea"/>
                <a:cs typeface="+mj-cs"/>
                <a:sym typeface="IBM Plex Sans Light"/>
              </a:rPr>
              <a:t>#IBMTechXchange</a:t>
            </a:r>
          </a:p>
        </p:txBody>
      </p:sp>
    </p:spTree>
    <p:extLst>
      <p:ext uri="{BB962C8B-B14F-4D97-AF65-F5344CB8AC3E}">
        <p14:creationId xmlns:p14="http://schemas.microsoft.com/office/powerpoint/2010/main" val="3267954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5232004" y="3084230"/>
            <a:ext cx="1727991" cy="689541"/>
          </a:xfrm>
          <a:prstGeom prst="rect">
            <a:avLst/>
          </a:prstGeom>
        </p:spPr>
      </p:pic>
    </p:spTree>
    <p:extLst>
      <p:ext uri="{BB962C8B-B14F-4D97-AF65-F5344CB8AC3E}">
        <p14:creationId xmlns:p14="http://schemas.microsoft.com/office/powerpoint/2010/main" val="2376190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12192000" cy="6858000"/>
          </a:xfrm>
          <a:solidFill>
            <a:srgbClr val="E0E0E0"/>
          </a:solidFill>
        </p:spPr>
        <p:txBody>
          <a:bodyPr anchor="ctr"/>
          <a:lstStyle>
            <a:lvl1pPr algn="ctr">
              <a:defRPr>
                <a:solidFill>
                  <a:schemeClr val="accent5"/>
                </a:solidFill>
              </a:defRPr>
            </a:lvl1pPr>
          </a:lstStyle>
          <a:p>
            <a:r>
              <a:rPr lang="en-US"/>
              <a:t>Place imagery here</a:t>
            </a:r>
          </a:p>
        </p:txBody>
      </p:sp>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70048" y="6452315"/>
            <a:ext cx="134652" cy="123111"/>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2627637766"/>
      </p:ext>
    </p:extLst>
  </p:cSld>
  <p:clrMapOvr>
    <a:masterClrMapping/>
  </p:clrMapOvr>
  <p:transition spd="med"/>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descr="Place imagery here">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12192000" cy="6000750"/>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3144044"/>
          </a:xfrm>
        </p:spPr>
        <p:txBody>
          <a:bodyPr/>
          <a:lstStyle>
            <a:lvl1pPr>
              <a:lnSpc>
                <a:spcPct val="100000"/>
              </a:lnSpc>
              <a:defRPr sz="4299">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87999" y="6044184"/>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3335316" y="6042370"/>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descr="IBM 8-bar logo">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116588309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pic>
        <p:nvPicPr>
          <p:cNvPr id="4" name="Picture 3" descr="IBM 8-bar logo">
            <a:extLst>
              <a:ext uri="{FF2B5EF4-FFF2-40B4-BE49-F238E27FC236}">
                <a16:creationId xmlns:a16="http://schemas.microsoft.com/office/drawing/2014/main" id="{E4F73B63-FCC7-DAFC-5E97-E0D29B2DBF2C}"/>
              </a:ext>
            </a:extLst>
          </p:cNvPr>
          <p:cNvPicPr>
            <a:picLocks noChangeAspect="1"/>
          </p:cNvPicPr>
          <p:nvPr userDrawn="1"/>
        </p:nvPicPr>
        <p:blipFill>
          <a:blip r:embed="rId2"/>
          <a:stretch>
            <a:fillRect/>
          </a:stretch>
        </p:blipFill>
        <p:spPr>
          <a:xfrm>
            <a:off x="11185445" y="6288882"/>
            <a:ext cx="769062" cy="286200"/>
          </a:xfrm>
          <a:prstGeom prst="rect">
            <a:avLst/>
          </a:prstGeom>
        </p:spPr>
      </p:pic>
      <p:sp>
        <p:nvSpPr>
          <p:cNvPr id="8" name="Title 1">
            <a:extLst>
              <a:ext uri="{FF2B5EF4-FFF2-40B4-BE49-F238E27FC236}">
                <a16:creationId xmlns:a16="http://schemas.microsoft.com/office/drawing/2014/main" id="{31EEBBCD-6628-78CD-1209-20B2834A647D}"/>
              </a:ext>
            </a:extLst>
          </p:cNvPr>
          <p:cNvSpPr>
            <a:spLocks noGrp="1"/>
          </p:cNvSpPr>
          <p:nvPr>
            <p:ph type="title"/>
          </p:nvPr>
        </p:nvSpPr>
        <p:spPr>
          <a:xfrm>
            <a:off x="287963" y="155575"/>
            <a:ext cx="5049878" cy="5178425"/>
          </a:xfrm>
        </p:spPr>
        <p:txBody>
          <a:bodyPr/>
          <a:lstStyle>
            <a:lvl1pPr>
              <a:lnSpc>
                <a:spcPct val="100000"/>
              </a:lnSpc>
              <a:defRPr sz="4199">
                <a:solidFill>
                  <a:schemeClr val="tx2"/>
                </a:solidFill>
              </a:defRPr>
            </a:lvl1pPr>
          </a:lstStyle>
          <a:p>
            <a:r>
              <a:rPr lang="en-US"/>
              <a:t>Click to edit Master title style</a:t>
            </a:r>
          </a:p>
        </p:txBody>
      </p:sp>
    </p:spTree>
    <p:extLst>
      <p:ext uri="{BB962C8B-B14F-4D97-AF65-F5344CB8AC3E}">
        <p14:creationId xmlns:p14="http://schemas.microsoft.com/office/powerpoint/2010/main" val="3873497766"/>
      </p:ext>
    </p:extLst>
  </p:cSld>
  <p:clrMapOvr>
    <a:masterClrMapping/>
  </p:clrMapOvr>
  <p:transition spd="med"/>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descr="Blue 10 full slide background ">
            <a:extLst>
              <a:ext uri="{FF2B5EF4-FFF2-40B4-BE49-F238E27FC236}">
                <a16:creationId xmlns:a16="http://schemas.microsoft.com/office/drawing/2014/main" id="{8D23798D-A03E-2BC6-136A-14C1E387E723}"/>
              </a:ext>
            </a:extLst>
          </p:cNvPr>
          <p:cNvSpPr/>
          <p:nvPr userDrawn="1"/>
        </p:nvSpPr>
        <p:spPr bwMode="auto">
          <a:xfrm>
            <a:off x="0" y="0"/>
            <a:ext cx="12192000" cy="600075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indent="0" algn="l" defTabSz="457109" rtl="0" eaLnBrk="1" fontAlgn="base" latinLnBrk="0" hangingPunct="1">
              <a:lnSpc>
                <a:spcPct val="100000"/>
              </a:lnSpc>
              <a:spcBef>
                <a:spcPct val="0"/>
              </a:spcBef>
              <a:spcAft>
                <a:spcPct val="0"/>
              </a:spcAft>
              <a:buClrTx/>
              <a:buSzTx/>
              <a:buFont typeface="IBM Plex Sans Light"/>
              <a:buNone/>
              <a:tabLst/>
            </a:pPr>
            <a:endParaRPr kumimoji="0" lang="en-US" sz="700" b="0" i="0" u="none" strike="noStrike" cap="none" normalizeH="0" baseline="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2286794"/>
          </a:xfrm>
        </p:spPr>
        <p:txBody>
          <a:bodyPr/>
          <a:lstStyle>
            <a:lvl1pPr>
              <a:lnSpc>
                <a:spcPct val="100000"/>
              </a:lnSpc>
              <a:defRPr sz="4299">
                <a:solidFill>
                  <a:schemeClr val="tx2"/>
                </a:solidFill>
              </a:defRPr>
            </a:lvl1pPr>
          </a:lstStyle>
          <a:p>
            <a:r>
              <a:rPr lang="en-US"/>
              <a:t>Click to edit Master title style</a:t>
            </a:r>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287999" y="6044184"/>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3335316" y="6042370"/>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descr="IBM 8-bar logo">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4184636287"/>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2286794"/>
          </a:xfrm>
        </p:spPr>
        <p:txBody>
          <a:bodyPr/>
          <a:lstStyle>
            <a:lvl1pPr>
              <a:lnSpc>
                <a:spcPct val="100000"/>
              </a:lnSpc>
              <a:defRPr sz="4299"/>
            </a:lvl1pPr>
          </a:lstStyle>
          <a:p>
            <a:r>
              <a:rPr lang="en-US"/>
              <a:t>Click to edit Master title style</a:t>
            </a:r>
          </a:p>
        </p:txBody>
      </p:sp>
      <p:pic>
        <p:nvPicPr>
          <p:cNvPr id="3" name="Picture 2" descr="IBM 8-bar logo">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1655748597"/>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2286794"/>
          </a:xfrm>
        </p:spPr>
        <p:txBody>
          <a:bodyPr/>
          <a:lstStyle>
            <a:lvl1pPr>
              <a:lnSpc>
                <a:spcPct val="100000"/>
              </a:lnSpc>
              <a:defRPr sz="4299">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87998" y="6231636"/>
            <a:ext cx="5524575" cy="381000"/>
          </a:xfrm>
        </p:spPr>
        <p:txBody>
          <a:bodyPr anchor="b"/>
          <a:lstStyle>
            <a:lvl1pPr>
              <a:lnSpc>
                <a:spcPct val="110000"/>
              </a:lnSpc>
              <a:spcBef>
                <a:spcPts val="0"/>
              </a:spcBef>
              <a:defRPr sz="1400">
                <a:solidFill>
                  <a:schemeClr val="tx1"/>
                </a:solidFill>
              </a:defRPr>
            </a:lvl1pPr>
          </a:lstStyle>
          <a:p>
            <a:pPr lvl="0"/>
            <a:r>
              <a:rPr lang="en-US"/>
              <a:t>Click to edit Master text styles</a:t>
            </a:r>
          </a:p>
        </p:txBody>
      </p:sp>
      <p:pic>
        <p:nvPicPr>
          <p:cNvPr id="3" name="Picture 2" descr="IBM 8-bar logo">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3386539019"/>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192024"/>
            <a:ext cx="5049878" cy="5239544"/>
          </a:xfrm>
        </p:spPr>
        <p:txBody>
          <a:bodyPr/>
          <a:lstStyle>
            <a:lvl1pPr>
              <a:lnSpc>
                <a:spcPct val="100000"/>
              </a:lnSpc>
              <a:defRPr sz="4299">
                <a:solidFill>
                  <a:schemeClr val="tx2"/>
                </a:solidFill>
              </a:defRPr>
            </a:lvl1pPr>
          </a:lstStyle>
          <a:p>
            <a:r>
              <a:rPr lang="en-US"/>
              <a:t>Click to edit Master title style</a:t>
            </a:r>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6"/>
            <a:ext cx="5523781" cy="6287294"/>
          </a:xfrm>
          <a:solidFill>
            <a:srgbClr val="E0E0E0"/>
          </a:solidFill>
        </p:spPr>
        <p:txBody>
          <a:bodyPr anchor="ctr"/>
          <a:lstStyle>
            <a:lvl1pPr algn="ctr">
              <a:defRPr>
                <a:solidFill>
                  <a:schemeClr val="accent5"/>
                </a:solidFill>
              </a:defRPr>
            </a:lvl1pPr>
          </a:lstStyle>
          <a:p>
            <a:r>
              <a:rPr lang="en-US"/>
              <a:t>Place imagery here</a:t>
            </a:r>
          </a:p>
        </p:txBody>
      </p:sp>
      <p:pic>
        <p:nvPicPr>
          <p:cNvPr id="9" name="Picture 8" descr="IBM 8-bar logo">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288888" y="6263482"/>
            <a:ext cx="819043" cy="304800"/>
          </a:xfrm>
          <a:prstGeom prst="rect">
            <a:avLst/>
          </a:prstGeom>
        </p:spPr>
      </p:pic>
    </p:spTree>
    <p:extLst>
      <p:ext uri="{BB962C8B-B14F-4D97-AF65-F5344CB8AC3E}">
        <p14:creationId xmlns:p14="http://schemas.microsoft.com/office/powerpoint/2010/main" val="2110627792"/>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87999" y="288036"/>
            <a:ext cx="5049180" cy="285750"/>
          </a:xfrm>
        </p:spPr>
        <p:txBody>
          <a:bodyPr/>
          <a:lstStyle>
            <a:lvl1pPr>
              <a:spcBef>
                <a:spcPts val="0"/>
              </a:spcBef>
              <a:defRPr sz="14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763524"/>
            <a:ext cx="5049180" cy="4668838"/>
          </a:xfrm>
        </p:spPr>
        <p:txBody>
          <a:bodyPr/>
          <a:lstStyle>
            <a:lvl1pPr>
              <a:lnSpc>
                <a:spcPct val="100000"/>
              </a:lnSpc>
              <a:defRPr sz="4299">
                <a:solidFill>
                  <a:schemeClr val="tx2"/>
                </a:solidFill>
              </a:defRPr>
            </a:lvl1pPr>
          </a:lstStyle>
          <a:p>
            <a:r>
              <a:rPr lang="en-US"/>
              <a:t>Click to edit Master title style</a:t>
            </a:r>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6"/>
            <a:ext cx="5523781" cy="6287294"/>
          </a:xfrm>
          <a:solidFill>
            <a:srgbClr val="E0E0E0"/>
          </a:solidFill>
        </p:spPr>
        <p:txBody>
          <a:bodyPr anchor="ctr"/>
          <a:lstStyle>
            <a:lvl1pPr algn="ctr">
              <a:defRPr>
                <a:solidFill>
                  <a:schemeClr val="accent5"/>
                </a:solidFill>
              </a:defRPr>
            </a:lvl1pPr>
          </a:lstStyle>
          <a:p>
            <a:r>
              <a:rPr lang="en-US"/>
              <a:t>Place imagery here</a:t>
            </a:r>
          </a:p>
        </p:txBody>
      </p:sp>
      <p:pic>
        <p:nvPicPr>
          <p:cNvPr id="4" name="Picture 3" descr="IBM 8-bar logo">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288888" y="6263482"/>
            <a:ext cx="819043" cy="304800"/>
          </a:xfrm>
          <a:prstGeom prst="rect">
            <a:avLst/>
          </a:prstGeom>
        </p:spPr>
      </p:pic>
    </p:spTree>
    <p:extLst>
      <p:ext uri="{BB962C8B-B14F-4D97-AF65-F5344CB8AC3E}">
        <p14:creationId xmlns:p14="http://schemas.microsoft.com/office/powerpoint/2010/main" val="2501701621"/>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2477765" cy="2286794"/>
          </a:xfrm>
        </p:spPr>
        <p:txBody>
          <a:bodyPr/>
          <a:lstStyle>
            <a:lvl1pPr>
              <a:lnSpc>
                <a:spcPct val="100000"/>
              </a:lnSpc>
              <a:defRPr sz="3199">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6380919" y="284957"/>
            <a:ext cx="2476178" cy="5715794"/>
          </a:xfrm>
        </p:spPr>
        <p:txBody>
          <a:bodyPr/>
          <a:lstStyle>
            <a:lvl1pPr defTabSz="580528">
              <a:spcBef>
                <a:spcPts val="0"/>
              </a:spcBef>
              <a:defRPr>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9430110" y="284957"/>
            <a:ext cx="2474590" cy="5715794"/>
          </a:xfrm>
        </p:spPr>
        <p:txBody>
          <a:bodyPr/>
          <a:lstStyle>
            <a:lvl1pPr defTabSz="580528">
              <a:spcBef>
                <a:spcPts val="0"/>
              </a:spcBef>
              <a:defRPr>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84125" y="6402118"/>
            <a:ext cx="2477765" cy="190500"/>
          </a:xfrm>
        </p:spPr>
        <p:txBody>
          <a:bodyPr/>
          <a:lstStyle/>
          <a:p>
            <a:endParaRPr lang="en-US"/>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577659310"/>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1429544"/>
          </a:xfrm>
        </p:spPr>
        <p:txBody>
          <a:bodyPr rIns="457200"/>
          <a:lstStyle>
            <a:lvl1pPr>
              <a:lnSpc>
                <a:spcPct val="100000"/>
              </a:lnSpc>
              <a:defRPr sz="3199">
                <a:solidFill>
                  <a:schemeClr val="tx2"/>
                </a:solidFill>
              </a:defRPr>
            </a:lvl1pPr>
          </a:lstStyle>
          <a:p>
            <a:r>
              <a:rPr lang="en-US"/>
              <a:t>Click to edit Master title style</a:t>
            </a:r>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84125" y="6402118"/>
            <a:ext cx="2477765" cy="190500"/>
          </a:xfrm>
        </p:spPr>
        <p:txBody>
          <a:bodyPr/>
          <a:lstStyle/>
          <a:p>
            <a:endParaRPr lang="en-US"/>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217215310"/>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87300" y="210312"/>
            <a:ext cx="8569797" cy="4095750"/>
          </a:xfrm>
        </p:spPr>
        <p:txBody>
          <a:bodyPr/>
          <a:lstStyle>
            <a:lvl1pPr>
              <a:defRPr sz="8598" b="0" i="0">
                <a:solidFill>
                  <a:schemeClr val="tx2"/>
                </a:solidFill>
                <a:latin typeface="IBM Plex Sans ExtLt" panose="020B0303050203000203" pitchFamily="34" charset="0"/>
              </a:defRPr>
            </a:lvl1pPr>
          </a:lstStyle>
          <a:p>
            <a:r>
              <a:rPr lang="en-US"/>
              <a:t>Click to edit Master title style</a:t>
            </a:r>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84125" y="6402118"/>
            <a:ext cx="2477765" cy="190500"/>
          </a:xfrm>
        </p:spPr>
        <p:txBody>
          <a:bodyPr/>
          <a:lstStyle/>
          <a:p>
            <a:endParaRPr lang="en-US"/>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093436670"/>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4953942" cy="1429544"/>
          </a:xfrm>
        </p:spPr>
        <p:txBody>
          <a:bodyPr/>
          <a:lstStyle>
            <a:lvl1pPr>
              <a:lnSpc>
                <a:spcPct val="100000"/>
              </a:lnSpc>
              <a:defRPr sz="3199">
                <a:solidFill>
                  <a:schemeClr val="tx2"/>
                </a:solidFill>
              </a:defRPr>
            </a:lvl1pPr>
          </a:lstStyle>
          <a:p>
            <a:r>
              <a:rPr lang="en-US"/>
              <a:t>Click to edit Master title style</a:t>
            </a:r>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6382795" y="224028"/>
            <a:ext cx="5520318" cy="4287044"/>
          </a:xfrm>
        </p:spPr>
        <p:txBody>
          <a:bodyPr/>
          <a:lstStyle>
            <a:lvl1pPr>
              <a:lnSpc>
                <a:spcPct val="100000"/>
              </a:lnSpc>
              <a:spcBef>
                <a:spcPts val="0"/>
              </a:spcBef>
              <a:defRPr sz="3199">
                <a:solidFill>
                  <a:schemeClr val="tx2"/>
                </a:solidFill>
              </a:defRPr>
            </a:lvl1pPr>
            <a:lvl2pPr marL="292549" indent="-292549">
              <a:lnSpc>
                <a:spcPct val="100000"/>
              </a:lnSpc>
              <a:spcBef>
                <a:spcPts val="0"/>
              </a:spcBef>
              <a:defRPr sz="3199">
                <a:solidFill>
                  <a:schemeClr val="tx2"/>
                </a:solidFill>
              </a:defRPr>
            </a:lvl2pPr>
            <a:lvl3pPr marL="548530" indent="-292549">
              <a:lnSpc>
                <a:spcPct val="100000"/>
              </a:lnSpc>
              <a:spcBef>
                <a:spcPts val="0"/>
              </a:spcBef>
              <a:defRPr sz="3199">
                <a:solidFill>
                  <a:schemeClr val="tx2"/>
                </a:solidFill>
              </a:defRPr>
            </a:lvl3pPr>
            <a:lvl4pPr marL="877648">
              <a:lnSpc>
                <a:spcPct val="100000"/>
              </a:lnSpc>
              <a:spcBef>
                <a:spcPts val="0"/>
              </a:spcBef>
              <a:defRPr sz="3199">
                <a:solidFill>
                  <a:schemeClr val="tx2"/>
                </a:solidFill>
              </a:defRPr>
            </a:lvl4pPr>
            <a:lvl5pPr>
              <a:lnSpc>
                <a:spcPct val="100000"/>
              </a:lnSpc>
              <a:spcBef>
                <a:spcPts val="0"/>
              </a:spcBef>
              <a:defRPr sz="3199"/>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84125" y="6402118"/>
            <a:ext cx="2477765" cy="190500"/>
          </a:xfrm>
        </p:spPr>
        <p:txBody>
          <a:bodyPr/>
          <a:lstStyle/>
          <a:p>
            <a:endParaRPr lang="en-US"/>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335137974"/>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210312"/>
            <a:ext cx="7330121" cy="4858544"/>
          </a:xfrm>
        </p:spPr>
        <p:txBody>
          <a:bodyPr/>
          <a:lstStyle>
            <a:lvl1pPr>
              <a:lnSpc>
                <a:spcPct val="100000"/>
              </a:lnSpc>
              <a:defRPr sz="4299">
                <a:solidFill>
                  <a:schemeClr val="tx2"/>
                </a:solidFill>
              </a:defRPr>
            </a:lvl1pPr>
          </a:lstStyle>
          <a:p>
            <a:r>
              <a:rPr lang="en-US"/>
              <a:t>Click to edit Master title style</a:t>
            </a:r>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84125" y="6402118"/>
            <a:ext cx="2477765" cy="190500"/>
          </a:xfrm>
        </p:spPr>
        <p:txBody>
          <a:bodyPr/>
          <a:lstStyle/>
          <a:p>
            <a:endParaRPr lang="en-US"/>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3749184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ver, plain, label">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87963" y="6239574"/>
            <a:ext cx="5518504" cy="381000"/>
          </a:xfrm>
        </p:spPr>
        <p:txBody>
          <a:bodyPr anchor="b"/>
          <a:lstStyle>
            <a:lvl1pPr>
              <a:lnSpc>
                <a:spcPct val="110000"/>
              </a:lnSpc>
              <a:spcBef>
                <a:spcPts val="0"/>
              </a:spcBef>
              <a:defRPr sz="1400">
                <a:solidFill>
                  <a:schemeClr val="tx1"/>
                </a:solidFill>
              </a:defRPr>
            </a:lvl1pPr>
          </a:lstStyle>
          <a:p>
            <a:pPr lvl="0"/>
            <a:r>
              <a:rPr lang="en-US"/>
              <a:t>Click to edit Master text styles</a:t>
            </a:r>
          </a:p>
        </p:txBody>
      </p:sp>
      <p:pic>
        <p:nvPicPr>
          <p:cNvPr id="4" name="Picture 3" descr="IBM 8-bar logo">
            <a:extLst>
              <a:ext uri="{FF2B5EF4-FFF2-40B4-BE49-F238E27FC236}">
                <a16:creationId xmlns:a16="http://schemas.microsoft.com/office/drawing/2014/main" id="{81A5AEF9-6465-6773-9724-1305F8245375}"/>
              </a:ext>
            </a:extLst>
          </p:cNvPr>
          <p:cNvPicPr>
            <a:picLocks noChangeAspect="1"/>
          </p:cNvPicPr>
          <p:nvPr userDrawn="1"/>
        </p:nvPicPr>
        <p:blipFill>
          <a:blip r:embed="rId2"/>
          <a:stretch>
            <a:fillRect/>
          </a:stretch>
        </p:blipFill>
        <p:spPr>
          <a:xfrm>
            <a:off x="11185445" y="6288882"/>
            <a:ext cx="769062" cy="286200"/>
          </a:xfrm>
          <a:prstGeom prst="rect">
            <a:avLst/>
          </a:prstGeom>
        </p:spPr>
      </p:pic>
      <p:sp>
        <p:nvSpPr>
          <p:cNvPr id="10" name="Title 1">
            <a:extLst>
              <a:ext uri="{FF2B5EF4-FFF2-40B4-BE49-F238E27FC236}">
                <a16:creationId xmlns:a16="http://schemas.microsoft.com/office/drawing/2014/main" id="{D0F40089-D6C5-B905-B7FE-24BFF3580F12}"/>
              </a:ext>
            </a:extLst>
          </p:cNvPr>
          <p:cNvSpPr>
            <a:spLocks noGrp="1"/>
          </p:cNvSpPr>
          <p:nvPr>
            <p:ph type="title"/>
          </p:nvPr>
        </p:nvSpPr>
        <p:spPr>
          <a:xfrm>
            <a:off x="287963" y="155575"/>
            <a:ext cx="5049878" cy="5178425"/>
          </a:xfrm>
        </p:spPr>
        <p:txBody>
          <a:bodyPr/>
          <a:lstStyle>
            <a:lvl1pPr>
              <a:lnSpc>
                <a:spcPct val="100000"/>
              </a:lnSpc>
              <a:defRPr sz="4199">
                <a:solidFill>
                  <a:schemeClr val="tx2"/>
                </a:solidFill>
              </a:defRPr>
            </a:lvl1pPr>
          </a:lstStyle>
          <a:p>
            <a:r>
              <a:rPr lang="en-US"/>
              <a:t>Click to edit Master title style</a:t>
            </a:r>
          </a:p>
        </p:txBody>
      </p:sp>
    </p:spTree>
    <p:extLst>
      <p:ext uri="{BB962C8B-B14F-4D97-AF65-F5344CB8AC3E}">
        <p14:creationId xmlns:p14="http://schemas.microsoft.com/office/powerpoint/2010/main" val="3612214333"/>
      </p:ext>
    </p:extLst>
  </p:cSld>
  <p:clrMapOvr>
    <a:masterClrMapping/>
  </p:clrMapOvr>
  <p:transition spd="med"/>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87999" y="288036"/>
            <a:ext cx="3811091" cy="3144044"/>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87998" y="4649724"/>
            <a:ext cx="5524575" cy="1771650"/>
          </a:xfrm>
        </p:spPr>
        <p:txBody>
          <a:bodyPr anchor="b"/>
          <a:lstStyle>
            <a:lvl1pPr>
              <a:lnSpc>
                <a:spcPct val="90000"/>
              </a:lnSpc>
              <a:spcBef>
                <a:spcPts val="0"/>
              </a:spcBef>
              <a:defRPr sz="12897" b="0" i="0">
                <a:solidFill>
                  <a:schemeClr val="accent1"/>
                </a:solidFill>
                <a:latin typeface="IBM Plex Sans ExtLt" panose="020B0303050203000203" pitchFamily="34" charset="0"/>
              </a:defRPr>
            </a:lvl1pPr>
          </a:lstStyle>
          <a:p>
            <a:r>
              <a:rPr lang="en-US"/>
              <a:t>↗︎00M</a:t>
            </a:r>
          </a:p>
        </p:txBody>
      </p:sp>
      <p:cxnSp>
        <p:nvCxnSpPr>
          <p:cNvPr id="9" name="Straight Connector 8" descr="Vertical column divider">
            <a:extLst>
              <a:ext uri="{FF2B5EF4-FFF2-40B4-BE49-F238E27FC236}">
                <a16:creationId xmlns:a16="http://schemas.microsoft.com/office/drawing/2014/main" id="{1C44518A-7FBB-67DA-E35B-8BC0AAFC6062}"/>
              </a:ext>
            </a:extLst>
          </p:cNvPr>
          <p:cNvCxnSpPr/>
          <p:nvPr userDrawn="1"/>
        </p:nvCxnSpPr>
        <p:spPr bwMode="auto">
          <a:xfrm>
            <a:off x="609600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6380919" y="288036"/>
            <a:ext cx="3809504" cy="3144044"/>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6380919" y="4648200"/>
            <a:ext cx="5523781" cy="1771650"/>
          </a:xfrm>
        </p:spPr>
        <p:txBody>
          <a:bodyPr anchor="b"/>
          <a:lstStyle>
            <a:lvl1pPr>
              <a:lnSpc>
                <a:spcPct val="90000"/>
              </a:lnSpc>
              <a:spcBef>
                <a:spcPts val="0"/>
              </a:spcBef>
              <a:defRPr sz="12897" b="0" i="0">
                <a:solidFill>
                  <a:schemeClr val="accent1"/>
                </a:solidFill>
                <a:latin typeface="IBM Plex Sans ExtLt" panose="020B0303050203000203" pitchFamily="34" charset="0"/>
              </a:defRPr>
            </a:lvl1pPr>
          </a:lstStyle>
          <a:p>
            <a:r>
              <a:rPr lang="en-US"/>
              <a:t>+00%</a:t>
            </a:r>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84125" y="6402118"/>
            <a:ext cx="2477765" cy="190500"/>
          </a:xfrm>
        </p:spPr>
        <p:txBody>
          <a:bodyPr/>
          <a:lstStyle/>
          <a:p>
            <a:endParaRPr lang="en-US"/>
          </a:p>
        </p:txBody>
      </p: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478576791"/>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0" cy="1429544"/>
          </a:xfrm>
        </p:spPr>
        <p:txBody>
          <a:bodyPr/>
          <a:lstStyle>
            <a:lvl1pPr>
              <a:lnSpc>
                <a:spcPct val="110000"/>
              </a:lnSpc>
              <a:defRPr sz="1800">
                <a:solidFill>
                  <a:schemeClr val="tx2"/>
                </a:solidFill>
              </a:defRPr>
            </a:lvl1pPr>
          </a:lstStyle>
          <a:p>
            <a:r>
              <a:rPr lang="en-US"/>
              <a:t>Click to edit Master title style</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14884"/>
            <a:ext cx="2475384" cy="953956"/>
          </a:xfrm>
        </p:spPr>
        <p:txBody>
          <a:bodyPr/>
          <a:lstStyle>
            <a:lvl1pPr>
              <a:lnSpc>
                <a:spcPct val="90000"/>
              </a:lnSpc>
              <a:defRPr sz="6499">
                <a:solidFill>
                  <a:schemeClr val="accent1"/>
                </a:solidFill>
              </a:defRPr>
            </a:lvl1pPr>
            <a:lvl2pPr marL="0" indent="0">
              <a:buNone/>
              <a:defRPr/>
            </a:lvl2pPr>
          </a:lstStyle>
          <a:p>
            <a:pPr lvl="0"/>
            <a:r>
              <a:rPr lang="en-US"/>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3333316" y="1166534"/>
            <a:ext cx="2475384" cy="483652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383301" y="213241"/>
            <a:ext cx="2474590" cy="953294"/>
          </a:xfrm>
        </p:spPr>
        <p:txBody>
          <a:bodyPr/>
          <a:lstStyle>
            <a:lvl1pPr>
              <a:lnSpc>
                <a:spcPct val="90000"/>
              </a:lnSpc>
              <a:defRPr sz="6499">
                <a:solidFill>
                  <a:schemeClr val="accent1"/>
                </a:solidFill>
              </a:defRPr>
            </a:lvl1pPr>
          </a:lstStyle>
          <a:p>
            <a:pPr lvl="0"/>
            <a:r>
              <a:rPr lang="en-US"/>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1167327"/>
            <a:ext cx="2476178"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9428523" y="214827"/>
            <a:ext cx="2474590" cy="951707"/>
          </a:xfrm>
        </p:spPr>
        <p:txBody>
          <a:bodyPr/>
          <a:lstStyle>
            <a:lvl1pPr>
              <a:lnSpc>
                <a:spcPct val="90000"/>
              </a:lnSpc>
              <a:defRPr sz="6499">
                <a:solidFill>
                  <a:schemeClr val="accent1"/>
                </a:solidFill>
              </a:defRPr>
            </a:lvl1pPr>
          </a:lstStyle>
          <a:p>
            <a:pPr lvl="0"/>
            <a:r>
              <a:rPr lang="en-US"/>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9428522" y="1166533"/>
            <a:ext cx="2476178"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84125" y="6402118"/>
            <a:ext cx="2477765" cy="190500"/>
          </a:xfrm>
        </p:spPr>
        <p:txBody>
          <a:bodyPr/>
          <a:lstStyle/>
          <a:p>
            <a:endParaRPr lang="en-US"/>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544334305"/>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87300" y="201168"/>
            <a:ext cx="2474590" cy="2667794"/>
          </a:xfrm>
        </p:spPr>
        <p:txBody>
          <a:bodyPr/>
          <a:lstStyle>
            <a:lvl1pPr>
              <a:lnSpc>
                <a:spcPct val="100000"/>
              </a:lnSpc>
              <a:defRPr sz="4299">
                <a:solidFill>
                  <a:schemeClr val="accent1"/>
                </a:solidFill>
              </a:defRPr>
            </a:lvl1pPr>
          </a:lstStyle>
          <a:p>
            <a:r>
              <a:rPr lang="en-US"/>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3333316" y="201168"/>
            <a:ext cx="5523781" cy="2667794"/>
          </a:xfrm>
        </p:spPr>
        <p:txBody>
          <a:bodyPr/>
          <a:lstStyle>
            <a:lvl1pPr>
              <a:lnSpc>
                <a:spcPct val="100000"/>
              </a:lnSpc>
              <a:spcBef>
                <a:spcPts val="0"/>
              </a:spcBef>
              <a:defRPr sz="4299">
                <a:solidFill>
                  <a:schemeClr val="tx1"/>
                </a:solidFill>
              </a:defRPr>
            </a:lvl1pPr>
            <a:lvl2pPr marL="393113" indent="-393113">
              <a:lnSpc>
                <a:spcPct val="100000"/>
              </a:lnSpc>
              <a:spcBef>
                <a:spcPts val="0"/>
              </a:spcBef>
              <a:defRPr sz="4299">
                <a:solidFill>
                  <a:schemeClr val="tx1"/>
                </a:solidFill>
              </a:defRPr>
            </a:lvl2pPr>
            <a:lvl3pPr marL="749658" indent="-393113">
              <a:lnSpc>
                <a:spcPct val="100000"/>
              </a:lnSpc>
              <a:spcBef>
                <a:spcPts val="0"/>
              </a:spcBef>
              <a:defRPr sz="4299">
                <a:solidFill>
                  <a:schemeClr val="tx1"/>
                </a:solidFill>
              </a:defRPr>
            </a:lvl3pPr>
            <a:lvl4pPr marL="1142771" indent="-393113">
              <a:lnSpc>
                <a:spcPct val="100000"/>
              </a:lnSpc>
              <a:spcBef>
                <a:spcPts val="0"/>
              </a:spcBef>
              <a:defRPr sz="4299">
                <a:solidFill>
                  <a:schemeClr val="tx1"/>
                </a:solidFill>
              </a:defRPr>
            </a:lvl4pPr>
            <a:lvl5pPr>
              <a:lnSpc>
                <a:spcPct val="100000"/>
              </a:lnSpc>
              <a:spcBef>
                <a:spcPts val="0"/>
              </a:spcBef>
              <a:defRPr sz="4299">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0" name="Straight Connector 9" descr="Horizontal row divider">
            <a:extLst>
              <a:ext uri="{FF2B5EF4-FFF2-40B4-BE49-F238E27FC236}">
                <a16:creationId xmlns:a16="http://schemas.microsoft.com/office/drawing/2014/main" id="{3D81813D-DA09-FCA0-D570-1E2D428C59E9}"/>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87300" y="3238500"/>
            <a:ext cx="2474590" cy="2667000"/>
          </a:xfrm>
        </p:spPr>
        <p:txBody>
          <a:bodyPr/>
          <a:lstStyle>
            <a:lvl1pPr>
              <a:lnSpc>
                <a:spcPct val="100000"/>
              </a:lnSpc>
              <a:defRPr sz="4299">
                <a:solidFill>
                  <a:schemeClr val="accent1"/>
                </a:solidFill>
              </a:defRPr>
            </a:lvl1pPr>
            <a:lvl2pPr>
              <a:lnSpc>
                <a:spcPct val="100000"/>
              </a:lnSpc>
              <a:defRPr sz="4299">
                <a:solidFill>
                  <a:schemeClr val="accent1"/>
                </a:solidFill>
              </a:defRPr>
            </a:lvl2pPr>
            <a:lvl3pPr>
              <a:lnSpc>
                <a:spcPct val="100000"/>
              </a:lnSpc>
              <a:defRPr sz="4299">
                <a:solidFill>
                  <a:schemeClr val="accent1"/>
                </a:solidFill>
              </a:defRPr>
            </a:lvl3pPr>
            <a:lvl4pPr>
              <a:lnSpc>
                <a:spcPct val="100000"/>
              </a:lnSpc>
              <a:defRPr sz="4299">
                <a:solidFill>
                  <a:schemeClr val="accent1"/>
                </a:solidFill>
              </a:defRPr>
            </a:lvl4pPr>
            <a:lvl5pPr>
              <a:lnSpc>
                <a:spcPct val="100000"/>
              </a:lnSpc>
              <a:defRPr sz="4299">
                <a:solidFill>
                  <a:schemeClr val="accent1"/>
                </a:solidFill>
              </a:defRPr>
            </a:lvl5pPr>
          </a:lstStyle>
          <a:p>
            <a:pPr lvl="0"/>
            <a:r>
              <a:rPr lang="en-US"/>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3333316" y="3238500"/>
            <a:ext cx="5523781" cy="2667000"/>
          </a:xfrm>
        </p:spPr>
        <p:txBody>
          <a:bodyPr/>
          <a:lstStyle>
            <a:lvl1pPr>
              <a:lnSpc>
                <a:spcPct val="100000"/>
              </a:lnSpc>
              <a:spcBef>
                <a:spcPts val="0"/>
              </a:spcBef>
              <a:defRPr sz="4299">
                <a:solidFill>
                  <a:schemeClr val="tx1"/>
                </a:solidFill>
              </a:defRPr>
            </a:lvl1pPr>
            <a:lvl2pPr marL="393113" indent="-393113">
              <a:lnSpc>
                <a:spcPct val="100000"/>
              </a:lnSpc>
              <a:spcBef>
                <a:spcPts val="0"/>
              </a:spcBef>
              <a:defRPr sz="4299">
                <a:solidFill>
                  <a:schemeClr val="tx1"/>
                </a:solidFill>
              </a:defRPr>
            </a:lvl2pPr>
            <a:lvl3pPr marL="749658" indent="-393113">
              <a:lnSpc>
                <a:spcPct val="100000"/>
              </a:lnSpc>
              <a:spcBef>
                <a:spcPts val="0"/>
              </a:spcBef>
              <a:defRPr sz="4299">
                <a:solidFill>
                  <a:schemeClr val="tx1"/>
                </a:solidFill>
              </a:defRPr>
            </a:lvl3pPr>
            <a:lvl4pPr marL="1142771" indent="-393113">
              <a:lnSpc>
                <a:spcPct val="100000"/>
              </a:lnSpc>
              <a:spcBef>
                <a:spcPts val="0"/>
              </a:spcBef>
              <a:defRPr sz="4299">
                <a:solidFill>
                  <a:schemeClr val="tx1"/>
                </a:solidFill>
              </a:defRPr>
            </a:lvl4pPr>
            <a:lvl5pPr>
              <a:lnSpc>
                <a:spcPct val="100000"/>
              </a:lnSpc>
              <a:spcBef>
                <a:spcPts val="0"/>
              </a:spcBef>
              <a:defRPr sz="4299">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84125" y="6402118"/>
            <a:ext cx="2477765" cy="190500"/>
          </a:xfrm>
        </p:spPr>
        <p:txBody>
          <a:bodyPr/>
          <a:lstStyle/>
          <a:p>
            <a:endParaRPr lang="en-US"/>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186266813"/>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0" cy="1429544"/>
          </a:xfrm>
        </p:spPr>
        <p:txBody>
          <a:bodyPr/>
          <a:lstStyle>
            <a:lvl1pPr>
              <a:lnSpc>
                <a:spcPct val="110000"/>
              </a:lnSpc>
              <a:defRPr sz="1800">
                <a:solidFill>
                  <a:schemeClr val="tx2"/>
                </a:solidFill>
              </a:defRPr>
            </a:lvl1pPr>
          </a:lstStyle>
          <a:p>
            <a:r>
              <a:rPr lang="en-US"/>
              <a:t>Click to edit Master title style</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05740"/>
            <a:ext cx="2475384" cy="1429544"/>
          </a:xfrm>
        </p:spPr>
        <p:txBody>
          <a:bodyPr/>
          <a:lstStyle>
            <a:lvl1pPr>
              <a:lnSpc>
                <a:spcPct val="90000"/>
              </a:lnSpc>
              <a:defRPr sz="6499">
                <a:solidFill>
                  <a:schemeClr val="accent1"/>
                </a:solidFill>
              </a:defRPr>
            </a:lvl1pPr>
            <a:lvl2pPr marL="0" indent="0">
              <a:buNone/>
              <a:defRPr/>
            </a:lvl2pPr>
          </a:lstStyle>
          <a:p>
            <a:r>
              <a:rPr lang="en-US"/>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380919" y="288036"/>
            <a:ext cx="3809504" cy="1429544"/>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7" name="Straight Connector 16" descr="Horizontal row divider">
            <a:extLst>
              <a:ext uri="{FF2B5EF4-FFF2-40B4-BE49-F238E27FC236}">
                <a16:creationId xmlns:a16="http://schemas.microsoft.com/office/drawing/2014/main" id="{1103109C-6DA9-8F27-B4B1-EE276442E489}"/>
              </a:ext>
            </a:extLst>
          </p:cNvPr>
          <p:cNvCxnSpPr/>
          <p:nvPr userDrawn="1"/>
        </p:nvCxnSpPr>
        <p:spPr bwMode="auto">
          <a:xfrm>
            <a:off x="3333316" y="20002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3333316" y="2093976"/>
            <a:ext cx="2475384" cy="1428753"/>
          </a:xfrm>
        </p:spPr>
        <p:txBody>
          <a:bodyPr/>
          <a:lstStyle>
            <a:lvl1pPr>
              <a:lnSpc>
                <a:spcPct val="90000"/>
              </a:lnSpc>
              <a:defRPr sz="6499">
                <a:solidFill>
                  <a:schemeClr val="accent1"/>
                </a:solidFill>
              </a:defRPr>
            </a:lvl1pPr>
          </a:lstStyle>
          <a:p>
            <a:r>
              <a:rPr lang="en-US"/>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2190750"/>
            <a:ext cx="3809504" cy="14287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5" name="Straight Connector 14" descr="Horizontal row divider">
            <a:extLst>
              <a:ext uri="{FF2B5EF4-FFF2-40B4-BE49-F238E27FC236}">
                <a16:creationId xmlns:a16="http://schemas.microsoft.com/office/drawing/2014/main" id="{687931BB-B3EF-829C-B354-B048514D5138}"/>
              </a:ext>
            </a:extLst>
          </p:cNvPr>
          <p:cNvCxnSpPr/>
          <p:nvPr userDrawn="1"/>
        </p:nvCxnSpPr>
        <p:spPr bwMode="auto">
          <a:xfrm>
            <a:off x="3333316" y="40957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3333317" y="4201668"/>
            <a:ext cx="2475383" cy="1428753"/>
          </a:xfrm>
        </p:spPr>
        <p:txBody>
          <a:bodyPr/>
          <a:lstStyle>
            <a:lvl1pPr>
              <a:lnSpc>
                <a:spcPct val="90000"/>
              </a:lnSpc>
              <a:defRPr sz="6499">
                <a:solidFill>
                  <a:schemeClr val="accent1"/>
                </a:solidFill>
              </a:defRPr>
            </a:lvl1pPr>
          </a:lstStyle>
          <a:p>
            <a:r>
              <a:rPr lang="en-US"/>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6380919" y="4286250"/>
            <a:ext cx="3809504" cy="14287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a:lnSpc>
                <a:spcPct val="120000"/>
              </a:lnSpc>
              <a:spcBef>
                <a:spcPts val="0"/>
              </a:spcBef>
              <a:defRPr sz="800" b="0" i="0">
                <a:solidFill>
                  <a:schemeClr val="tx1"/>
                </a:solidFill>
                <a:latin typeface="IBM Plex Sans" panose="020B0503050203000203" pitchFamily="34" charset="0"/>
              </a:defRPr>
            </a:lvl2pPr>
            <a:lvl3pPr>
              <a:lnSpc>
                <a:spcPct val="120000"/>
              </a:lnSpc>
              <a:spcBef>
                <a:spcPts val="0"/>
              </a:spcBef>
              <a:defRPr sz="800" b="0" i="0">
                <a:solidFill>
                  <a:schemeClr val="tx1"/>
                </a:solidFill>
                <a:latin typeface="IBM Plex Sans" panose="020B0503050203000203" pitchFamily="34" charset="0"/>
              </a:defRPr>
            </a:lvl3pPr>
            <a:lvl4pPr>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84125" y="6402118"/>
            <a:ext cx="2477765" cy="190500"/>
          </a:xfrm>
        </p:spPr>
        <p:txBody>
          <a:bodyPr/>
          <a:lstStyle/>
          <a:p>
            <a:endParaRPr lang="en-US"/>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484538318"/>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87999" y="1714500"/>
            <a:ext cx="2477765"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84125" y="6402118"/>
            <a:ext cx="2477765" cy="190500"/>
          </a:xfrm>
        </p:spPr>
        <p:txBody>
          <a:bodyPr/>
          <a:lstStyle/>
          <a:p>
            <a:endParaRPr lang="en-US"/>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907613186"/>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762794"/>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289681" y="1714500"/>
            <a:ext cx="2475384"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descr="Vertical column divider">
            <a:extLst>
              <a:ext uri="{FF2B5EF4-FFF2-40B4-BE49-F238E27FC236}">
                <a16:creationId xmlns:a16="http://schemas.microsoft.com/office/drawing/2014/main" id="{ABAB2974-AD95-0BF2-C41A-265AEF03B4F7}"/>
              </a:ext>
            </a:extLst>
          </p:cNvPr>
          <p:cNvCxnSpPr>
            <a:cxnSpLocks/>
          </p:cNvCxnSpPr>
          <p:nvPr userDrawn="1"/>
        </p:nvCxnSpPr>
        <p:spPr bwMode="auto">
          <a:xfrm>
            <a:off x="3047603" y="1714500"/>
            <a:ext cx="0" cy="42862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1" name="Straight Connector 20" descr="Vertical column divider">
            <a:extLst>
              <a:ext uri="{FF2B5EF4-FFF2-40B4-BE49-F238E27FC236}">
                <a16:creationId xmlns:a16="http://schemas.microsoft.com/office/drawing/2014/main" id="{CDB8CB8D-C4DB-E357-4948-59CD6A18A9DC}"/>
              </a:ext>
            </a:extLst>
          </p:cNvPr>
          <p:cNvCxnSpPr/>
          <p:nvPr userDrawn="1"/>
        </p:nvCxnSpPr>
        <p:spPr bwMode="auto">
          <a:xfrm>
            <a:off x="6093683"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2" name="Straight Connector 21" descr="Vertical column divider">
            <a:extLst>
              <a:ext uri="{FF2B5EF4-FFF2-40B4-BE49-F238E27FC236}">
                <a16:creationId xmlns:a16="http://schemas.microsoft.com/office/drawing/2014/main" id="{8B5887E5-28C4-AA99-EBD5-E34B88F46F25}"/>
              </a:ext>
            </a:extLst>
          </p:cNvPr>
          <p:cNvCxnSpPr/>
          <p:nvPr userDrawn="1"/>
        </p:nvCxnSpPr>
        <p:spPr bwMode="auto">
          <a:xfrm>
            <a:off x="9142810"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84125" y="6402118"/>
            <a:ext cx="2477765" cy="190500"/>
          </a:xfrm>
        </p:spPr>
        <p:txBody>
          <a:bodyPr/>
          <a:lstStyle/>
          <a:p>
            <a:endParaRPr lang="en-US"/>
          </a:p>
        </p:txBody>
      </p: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986275577"/>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p>
        </p:txBody>
      </p:sp>
      <p:cxnSp>
        <p:nvCxnSpPr>
          <p:cNvPr id="14" name="Straight Connector 13" descr="Vertical column divider">
            <a:extLst>
              <a:ext uri="{FF2B5EF4-FFF2-40B4-BE49-F238E27FC236}">
                <a16:creationId xmlns:a16="http://schemas.microsoft.com/office/drawing/2014/main" id="{C6EB28FF-C21F-A83D-2D19-2242B76C6B09}"/>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3D7A0E74-695D-C6F5-07CD-01209D58A70A}"/>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19E1AC9A-B000-435B-E4BC-54B09FB795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84125" y="6402118"/>
            <a:ext cx="2477765" cy="190500"/>
          </a:xfrm>
        </p:spPr>
        <p:txBody>
          <a:bodyPr/>
          <a:lstStyle/>
          <a:p>
            <a:endParaRPr lang="en-US"/>
          </a:p>
        </p:txBody>
      </p: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62258098"/>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87999" y="288036"/>
            <a:ext cx="2474590" cy="1048544"/>
          </a:xfrm>
        </p:spPr>
        <p:txBody>
          <a:bodyPr/>
          <a:lstStyle>
            <a:lvl1pPr>
              <a:lnSpc>
                <a:spcPct val="110000"/>
              </a:lnSpc>
              <a:defRPr sz="12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87999" y="1714500"/>
            <a:ext cx="2477765" cy="2000250"/>
          </a:xfrm>
        </p:spPr>
        <p:txBody>
          <a:bodyPr/>
          <a:lstStyle>
            <a:lvl1pPr>
              <a:lnSpc>
                <a:spcPct val="100000"/>
              </a:lnSpc>
              <a:spcBef>
                <a:spcPts val="0"/>
              </a:spcBef>
              <a:defRPr sz="1800">
                <a:solidFill>
                  <a:schemeClr val="tx1"/>
                </a:solidFill>
              </a:defRPr>
            </a:lvl1pPr>
          </a:lstStyle>
          <a:p>
            <a:pPr lvl="0"/>
            <a:r>
              <a:rPr lang="en-US"/>
              <a:t>Click to edit Master text styles</a:t>
            </a:r>
          </a:p>
        </p:txBody>
      </p:sp>
      <p:cxnSp>
        <p:nvCxnSpPr>
          <p:cNvPr id="17" name="Straight Connector 16" descr="Vertical column divider">
            <a:extLst>
              <a:ext uri="{FF2B5EF4-FFF2-40B4-BE49-F238E27FC236}">
                <a16:creationId xmlns:a16="http://schemas.microsoft.com/office/drawing/2014/main" id="{4D695107-5427-4D2D-F88F-89BA74127CB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 name="Picture Placeholder 13" descr="Place pictogram here">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3333316" y="288036"/>
            <a:ext cx="607997" cy="608076"/>
          </a:xfrm>
        </p:spPr>
        <p:txBody>
          <a:bodyPr anchor="ctr"/>
          <a:lstStyle>
            <a:lvl1pPr algn="ctr">
              <a:defRPr sz="800">
                <a:solidFill>
                  <a:schemeClr val="tx1"/>
                </a:solidFill>
              </a:defRPr>
            </a:lvl1pPr>
          </a:lstStyle>
          <a:p>
            <a:r>
              <a:rPr lang="en-US"/>
              <a:t>Pictogram</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3333316" y="1714500"/>
            <a:ext cx="2475384"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43B07B4A-5DB5-8126-EA79-502787053E82}"/>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3" descr="Place pictogram here">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6387345" y="288036"/>
            <a:ext cx="607997" cy="608076"/>
          </a:xfrm>
        </p:spPr>
        <p:txBody>
          <a:bodyPr anchor="ctr"/>
          <a:lstStyle>
            <a:lvl1pPr algn="ctr">
              <a:defRPr sz="800">
                <a:solidFill>
                  <a:schemeClr val="tx1"/>
                </a:solidFill>
              </a:defRPr>
            </a:lvl1pPr>
          </a:lstStyle>
          <a:p>
            <a:r>
              <a:rPr lang="en-US"/>
              <a:t>Pictogram</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6383185" y="1714500"/>
            <a:ext cx="2470738"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4D829559-0A72-8826-E06A-C6CCD39750A4}"/>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3" descr="Place pictogram here">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9428522" y="288036"/>
            <a:ext cx="607997" cy="608076"/>
          </a:xfrm>
        </p:spPr>
        <p:txBody>
          <a:bodyPr anchor="ctr"/>
          <a:lstStyle>
            <a:lvl1pPr algn="ctr">
              <a:defRPr sz="800">
                <a:solidFill>
                  <a:schemeClr val="tx1"/>
                </a:solidFill>
              </a:defRPr>
            </a:lvl1pPr>
          </a:lstStyle>
          <a:p>
            <a:r>
              <a:rPr lang="en-US"/>
              <a:t>Pictogram</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9428523" y="1714500"/>
            <a:ext cx="2476177"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a:p>
        </p:txBody>
      </p: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976497063"/>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6"/>
          </a:xfrm>
        </p:spPr>
        <p:txBody>
          <a:bodyPr/>
          <a:lstStyle>
            <a:lvl1pPr>
              <a:lnSpc>
                <a:spcPct val="100000"/>
              </a:lnSpc>
              <a:defRPr sz="3199">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2554" y="192024"/>
            <a:ext cx="2477765" cy="570706"/>
          </a:xfrm>
        </p:spPr>
        <p:txBody>
          <a:bodyPr/>
          <a:lstStyle>
            <a:lvl1pPr>
              <a:lnSpc>
                <a:spcPct val="100000"/>
              </a:lnSpc>
              <a:spcBef>
                <a:spcPts val="0"/>
              </a:spcBef>
              <a:defRPr sz="3199">
                <a:solidFill>
                  <a:schemeClr val="tx2"/>
                </a:solidFill>
              </a:defRPr>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5047593"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869562173"/>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87999" y="288036"/>
            <a:ext cx="3711980" cy="953294"/>
          </a:xfrm>
        </p:spPr>
        <p:txBody>
          <a:bodyPr/>
          <a:lstStyle>
            <a:lvl1pPr>
              <a:lnSpc>
                <a:spcPct val="110000"/>
              </a:lnSpc>
              <a:defRPr sz="18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87999" y="1714500"/>
            <a:ext cx="5049180" cy="42862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6380919" y="1714500"/>
            <a:ext cx="5047593" cy="42862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06183001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5750"/>
            <a:ext cx="5520847" cy="6289332"/>
          </a:xfrm>
          <a:solidFill>
            <a:srgbClr val="E0E0E0"/>
          </a:solidFill>
        </p:spPr>
        <p:txBody>
          <a:bodyPr anchor="ctr"/>
          <a:lstStyle>
            <a:lvl1pPr algn="ctr">
              <a:defRPr>
                <a:solidFill>
                  <a:schemeClr val="accent5"/>
                </a:solidFill>
              </a:defRPr>
            </a:lvl1pPr>
          </a:lstStyle>
          <a:p>
            <a:r>
              <a:rPr lang="en-US"/>
              <a:t>Place imagery here</a:t>
            </a:r>
          </a:p>
        </p:txBody>
      </p:sp>
      <p:pic>
        <p:nvPicPr>
          <p:cNvPr id="3" name="Picture 2" descr="IBM 8-bar logo">
            <a:extLst>
              <a:ext uri="{FF2B5EF4-FFF2-40B4-BE49-F238E27FC236}">
                <a16:creationId xmlns:a16="http://schemas.microsoft.com/office/drawing/2014/main" id="{5C99EA1F-50F2-8D44-9784-4C9D55555354}"/>
              </a:ext>
            </a:extLst>
          </p:cNvPr>
          <p:cNvPicPr>
            <a:picLocks noChangeAspect="1"/>
          </p:cNvPicPr>
          <p:nvPr userDrawn="1"/>
        </p:nvPicPr>
        <p:blipFill>
          <a:blip r:embed="rId2"/>
          <a:stretch>
            <a:fillRect/>
          </a:stretch>
        </p:blipFill>
        <p:spPr>
          <a:xfrm>
            <a:off x="290006" y="6288882"/>
            <a:ext cx="769062" cy="286200"/>
          </a:xfrm>
          <a:prstGeom prst="rect">
            <a:avLst/>
          </a:prstGeom>
        </p:spPr>
      </p:pic>
      <p:sp>
        <p:nvSpPr>
          <p:cNvPr id="6" name="Title 1">
            <a:extLst>
              <a:ext uri="{FF2B5EF4-FFF2-40B4-BE49-F238E27FC236}">
                <a16:creationId xmlns:a16="http://schemas.microsoft.com/office/drawing/2014/main" id="{EC22CE22-4A72-C394-2534-3F9CEE594205}"/>
              </a:ext>
            </a:extLst>
          </p:cNvPr>
          <p:cNvSpPr>
            <a:spLocks noGrp="1"/>
          </p:cNvSpPr>
          <p:nvPr>
            <p:ph type="title"/>
          </p:nvPr>
        </p:nvSpPr>
        <p:spPr>
          <a:xfrm>
            <a:off x="287963" y="155575"/>
            <a:ext cx="5049878" cy="5178425"/>
          </a:xfrm>
        </p:spPr>
        <p:txBody>
          <a:bodyPr/>
          <a:lstStyle>
            <a:lvl1pPr>
              <a:lnSpc>
                <a:spcPct val="100000"/>
              </a:lnSpc>
              <a:defRPr sz="4199">
                <a:solidFill>
                  <a:schemeClr val="tx2"/>
                </a:solidFill>
              </a:defRPr>
            </a:lvl1pPr>
          </a:lstStyle>
          <a:p>
            <a:r>
              <a:rPr lang="en-US"/>
              <a:t>Click to edit Master title style</a:t>
            </a:r>
          </a:p>
        </p:txBody>
      </p:sp>
    </p:spTree>
    <p:extLst>
      <p:ext uri="{BB962C8B-B14F-4D97-AF65-F5344CB8AC3E}">
        <p14:creationId xmlns:p14="http://schemas.microsoft.com/office/powerpoint/2010/main" val="751359429"/>
      </p:ext>
    </p:extLst>
  </p:cSld>
  <p:clrMapOvr>
    <a:masterClrMapping/>
  </p:clrMapOvr>
  <p:transition spd="med"/>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9" y="192024"/>
            <a:ext cx="5522193" cy="2286794"/>
          </a:xfrm>
        </p:spPr>
        <p:txBody>
          <a:bodyPr rIns="457200"/>
          <a:lstStyle>
            <a:lvl1pPr>
              <a:lnSpc>
                <a:spcPct val="100000"/>
              </a:lnSpc>
              <a:defRPr>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19" y="288036"/>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2" y="288036"/>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202932898"/>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8" y="288036"/>
            <a:ext cx="2476178" cy="2286794"/>
          </a:xfrm>
        </p:spPr>
        <p:txBody>
          <a:bodyPr/>
          <a:lstStyle>
            <a:lvl1pPr>
              <a:lnSpc>
                <a:spcPct val="100000"/>
              </a:lnSpc>
              <a:defRPr sz="18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19" y="284957"/>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2" y="284957"/>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614462877"/>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9" y="192024"/>
            <a:ext cx="5519019" cy="2286794"/>
          </a:xfrm>
        </p:spPr>
        <p:txBody>
          <a:bodyPr rIns="457200"/>
          <a:lstStyle>
            <a:lvl1pPr>
              <a:lnSpc>
                <a:spcPct val="100000"/>
              </a:lnSpc>
              <a:defRPr>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010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039729743"/>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8" y="288036"/>
            <a:ext cx="2474591" cy="2286794"/>
          </a:xfrm>
        </p:spPr>
        <p:txBody>
          <a:bodyPr rIns="0"/>
          <a:lstStyle>
            <a:lvl1pPr>
              <a:lnSpc>
                <a:spcPct val="100000"/>
              </a:lnSpc>
              <a:defRPr sz="1400">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1697"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778511691"/>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7"/>
          </a:xfrm>
        </p:spPr>
        <p:txBody>
          <a:bodyPr/>
          <a:lstStyle>
            <a:lvl1pPr>
              <a:lnSpc>
                <a:spcPct val="100000"/>
              </a:lnSpc>
              <a:defRPr sz="3199">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4142" y="192024"/>
            <a:ext cx="2477765" cy="570706"/>
          </a:xfrm>
        </p:spPr>
        <p:txBody>
          <a:bodyPr/>
          <a:lstStyle>
            <a:lvl1pPr>
              <a:lnSpc>
                <a:spcPct val="100000"/>
              </a:lnSpc>
              <a:spcBef>
                <a:spcPts val="0"/>
              </a:spcBef>
              <a:defRPr sz="3199">
                <a:solidFill>
                  <a:schemeClr val="tx2"/>
                </a:solidFill>
              </a:defRPr>
            </a:lvl1pPr>
            <a:lvl2pPr>
              <a:lnSpc>
                <a:spcPct val="90000"/>
              </a:lnSpc>
              <a:spcBef>
                <a:spcPts val="0"/>
              </a:spcBef>
              <a:defRPr sz="1400"/>
            </a:lvl2pPr>
            <a:lvl3pPr>
              <a:lnSpc>
                <a:spcPct val="90000"/>
              </a:lnSpc>
              <a:spcBef>
                <a:spcPts val="0"/>
              </a:spcBef>
              <a:defRPr sz="1400"/>
            </a:lvl3pPr>
            <a:lvl4pPr>
              <a:lnSpc>
                <a:spcPct val="90000"/>
              </a:lnSpc>
              <a:spcBef>
                <a:spcPts val="0"/>
              </a:spcBef>
              <a:defRPr sz="1400"/>
            </a:lvl4pPr>
            <a:lvl5pPr>
              <a:lnSpc>
                <a:spcPct val="90000"/>
              </a:lnSpc>
              <a:spcBef>
                <a:spcPts val="0"/>
              </a:spcBef>
              <a:defRPr sz="140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3" name="Straight Connector 12" descr="Vertical column divider">
            <a:extLst>
              <a:ext uri="{FF2B5EF4-FFF2-40B4-BE49-F238E27FC236}">
                <a16:creationId xmlns:a16="http://schemas.microsoft.com/office/drawing/2014/main" id="{202744BD-C7A4-D538-2E19-AA279C025A21}"/>
              </a:ext>
            </a:extLst>
          </p:cNvPr>
          <p:cNvCxnSpPr/>
          <p:nvPr userDrawn="1"/>
        </p:nvCxnSpPr>
        <p:spPr bwMode="auto">
          <a:xfrm>
            <a:off x="609368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Picture Placeholder 4" descr="Place pictogram here">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6380919" y="288036"/>
            <a:ext cx="607997" cy="607231"/>
          </a:xfrm>
        </p:spPr>
        <p:txBody>
          <a:bodyPr anchor="ctr"/>
          <a:lstStyle>
            <a:lvl1pPr algn="ctr">
              <a:defRPr sz="800">
                <a:solidFill>
                  <a:schemeClr val="tx1"/>
                </a:solidFill>
              </a:defRPr>
            </a:lvl1pPr>
          </a:lstStyle>
          <a:p>
            <a:r>
              <a:rPr lang="en-US"/>
              <a:t>Pictogram</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2988"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ADCE883F-3781-7F7E-8236-8BB5CEBAD7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Picture Placeholder 11" descr="Place pictogram here">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9428522" y="288036"/>
            <a:ext cx="608843" cy="608076"/>
          </a:xfrm>
        </p:spPr>
        <p:txBody>
          <a:bodyPr anchor="ctr"/>
          <a:lstStyle>
            <a:lvl1pPr algn="ctr">
              <a:defRPr sz="800">
                <a:solidFill>
                  <a:schemeClr val="tx1"/>
                </a:solidFill>
              </a:defRPr>
            </a:lvl1pPr>
          </a:lstStyle>
          <a:p>
            <a:r>
              <a:rPr lang="en-US"/>
              <a:t>Pictogram</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30591"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a:p>
        </p:txBody>
      </p: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27964120"/>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13" name="Picture Placeholder 12" descr="Place pictogram here">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87998" y="288036"/>
            <a:ext cx="607997" cy="608076"/>
          </a:xfrm>
        </p:spPr>
        <p:txBody>
          <a:bodyPr anchor="ctr"/>
          <a:lstStyle>
            <a:lvl1pPr algn="ctr">
              <a:defRPr sz="800"/>
            </a:lvl1pPr>
          </a:lstStyle>
          <a:p>
            <a:r>
              <a:rPr lang="en-US"/>
              <a:t>Pictogram</a:t>
            </a:r>
          </a:p>
        </p:txBody>
      </p:sp>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87999" y="1239012"/>
            <a:ext cx="3334903"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00A530A6-2F26-DA70-D0D9-6DD90453CEC1}"/>
              </a:ext>
              <a:ext uri="{C183D7F6-B498-43B3-948B-1728B52AA6E4}">
                <adec:decorative xmlns:adec="http://schemas.microsoft.com/office/drawing/2017/decorative" val="0"/>
              </a:ext>
            </a:extLst>
          </p:cNvPr>
          <p:cNvCxnSpPr/>
          <p:nvPr userDrawn="1"/>
        </p:nvCxnSpPr>
        <p:spPr bwMode="auto">
          <a:xfrm>
            <a:off x="6095206"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4" descr="Place pictogram here">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6380919" y="288036"/>
            <a:ext cx="607997" cy="608076"/>
          </a:xfrm>
        </p:spPr>
        <p:txBody>
          <a:bodyPr anchor="ctr"/>
          <a:lstStyle>
            <a:lvl1pPr algn="ctr">
              <a:defRPr sz="800"/>
            </a:lvl1pPr>
          </a:lstStyle>
          <a:p>
            <a:r>
              <a:rPr lang="en-US"/>
              <a:t>Pictogram</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6380919" y="1238250"/>
            <a:ext cx="3333316"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9C5483A0-0E31-72CE-21C3-6248FAEBC09A}"/>
              </a:ext>
              <a:ext uri="{C183D7F6-B498-43B3-948B-1728B52AA6E4}">
                <adec:decorative xmlns:adec="http://schemas.microsoft.com/office/drawing/2017/decorative" val="0"/>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6" descr="Place pictogram here">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87998" y="3236976"/>
            <a:ext cx="607997" cy="608076"/>
          </a:xfrm>
        </p:spPr>
        <p:txBody>
          <a:bodyPr anchor="ctr"/>
          <a:lstStyle>
            <a:lvl1pPr algn="ctr">
              <a:defRPr sz="800"/>
            </a:lvl1pPr>
          </a:lstStyle>
          <a:p>
            <a:r>
              <a:rPr lang="en-US"/>
              <a:t>Pictogram</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87998" y="4192524"/>
            <a:ext cx="3334904"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18" descr="Place pictogram here">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6380919" y="3238500"/>
            <a:ext cx="607997" cy="608076"/>
          </a:xfrm>
        </p:spPr>
        <p:txBody>
          <a:bodyPr anchor="ctr"/>
          <a:lstStyle>
            <a:lvl1pPr algn="ctr">
              <a:defRPr sz="800"/>
            </a:lvl1pPr>
          </a:lstStyle>
          <a:p>
            <a:r>
              <a:rPr lang="en-US"/>
              <a:t>Pictogram</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6380920" y="4191000"/>
            <a:ext cx="3333316"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a:p>
        </p:txBody>
      </p: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091252406"/>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288036"/>
            <a:ext cx="2477765" cy="570706"/>
          </a:xfrm>
        </p:spPr>
        <p:txBody>
          <a:bodyPr/>
          <a:lstStyle>
            <a:lvl1pPr>
              <a:defRPr sz="140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8" y="841248"/>
            <a:ext cx="2857128" cy="1138428"/>
          </a:xfrm>
        </p:spPr>
        <p:txBody>
          <a:bodyPr/>
          <a:lstStyle>
            <a:lvl1pPr>
              <a:lnSpc>
                <a:spcPct val="110000"/>
              </a:lnSpc>
              <a:defRPr sz="1800">
                <a:solidFill>
                  <a:schemeClr val="tx2"/>
                </a:solidFill>
              </a:defRPr>
            </a:lvl1pPr>
          </a:lstStyle>
          <a:p>
            <a:r>
              <a:rPr lang="en-US"/>
              <a:t>Click to edit Master title style</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1681"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372597157"/>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288036"/>
            <a:ext cx="2477765" cy="224028"/>
          </a:xfrm>
        </p:spPr>
        <p:txBody>
          <a:bodyPr/>
          <a:lstStyle>
            <a:lvl1pPr>
              <a:defRPr sz="140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763524"/>
            <a:ext cx="5521401" cy="1138428"/>
          </a:xfrm>
        </p:spPr>
        <p:txBody>
          <a:bodyPr rIns="457200"/>
          <a:lstStyle>
            <a:lvl1pPr>
              <a:lnSpc>
                <a:spcPct val="110000"/>
              </a:lnSpc>
              <a:defRPr sz="3199">
                <a:solidFill>
                  <a:schemeClr val="tx2"/>
                </a:solidFill>
              </a:defRPr>
            </a:lvl1pPr>
          </a:lstStyle>
          <a:p>
            <a:r>
              <a:rPr lang="en-US"/>
              <a:t>Click to edit Master title style</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4957"/>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4957"/>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447942086"/>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288036"/>
            <a:ext cx="2477765" cy="2286794"/>
          </a:xfrm>
        </p:spPr>
        <p:txBody>
          <a:bodyPr/>
          <a:lstStyle>
            <a:lvl1pPr>
              <a:lnSpc>
                <a:spcPct val="100000"/>
              </a:lnSpc>
              <a:defRPr sz="1400">
                <a:solidFill>
                  <a:schemeClr val="tx2"/>
                </a:solidFill>
              </a:defRPr>
            </a:lvl1pPr>
          </a:lstStyle>
          <a:p>
            <a:r>
              <a:rPr lang="en-US"/>
              <a:t>Click to edit Master title style</a:t>
            </a:r>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28416"/>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1187"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49"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197487668"/>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192024"/>
            <a:ext cx="5524575" cy="2286794"/>
          </a:xfrm>
        </p:spPr>
        <p:txBody>
          <a:bodyPr rIns="457200"/>
          <a:lstStyle>
            <a:lvl1pPr>
              <a:lnSpc>
                <a:spcPct val="100000"/>
              </a:lnSpc>
              <a:defRPr>
                <a:solidFill>
                  <a:schemeClr val="tx2"/>
                </a:solidFill>
              </a:defRPr>
            </a:lvl1pPr>
          </a:lstStyle>
          <a:p>
            <a:r>
              <a:rPr lang="en-US"/>
              <a:t>Click to edit Master title style</a:t>
            </a:r>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28416"/>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4362"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49"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3835195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ver, imagery, half, label">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87963" y="288036"/>
            <a:ext cx="5049180" cy="285750"/>
          </a:xfrm>
        </p:spPr>
        <p:txBody>
          <a:bodyPr/>
          <a:lstStyle>
            <a:lvl1pPr>
              <a:spcBef>
                <a:spcPts val="0"/>
              </a:spcBef>
              <a:defRPr sz="14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63" y="756000"/>
            <a:ext cx="5049180" cy="4573588"/>
          </a:xfrm>
        </p:spPr>
        <p:txBody>
          <a:bodyPr/>
          <a:lstStyle>
            <a:lvl1pPr>
              <a:lnSpc>
                <a:spcPct val="100000"/>
              </a:lnSpc>
              <a:defRPr sz="4199">
                <a:solidFill>
                  <a:schemeClr val="tx2"/>
                </a:solidFill>
              </a:defRPr>
            </a:lvl1pPr>
          </a:lstStyle>
          <a:p>
            <a:r>
              <a:rPr lang="en-US"/>
              <a:t>Click to edit Master title style</a:t>
            </a:r>
          </a:p>
        </p:txBody>
      </p:sp>
      <p:pic>
        <p:nvPicPr>
          <p:cNvPr id="3" name="Picture 2" descr="IBM 8-bar logo">
            <a:extLst>
              <a:ext uri="{FF2B5EF4-FFF2-40B4-BE49-F238E27FC236}">
                <a16:creationId xmlns:a16="http://schemas.microsoft.com/office/drawing/2014/main" id="{0A3BE97F-BB78-DA67-3A9B-B2FBFA0DFC6D}"/>
              </a:ext>
            </a:extLst>
          </p:cNvPr>
          <p:cNvPicPr>
            <a:picLocks noChangeAspect="1"/>
          </p:cNvPicPr>
          <p:nvPr userDrawn="1"/>
        </p:nvPicPr>
        <p:blipFill>
          <a:blip r:embed="rId2"/>
          <a:stretch>
            <a:fillRect/>
          </a:stretch>
        </p:blipFill>
        <p:spPr>
          <a:xfrm>
            <a:off x="290006" y="6288882"/>
            <a:ext cx="769062" cy="286200"/>
          </a:xfrm>
          <a:prstGeom prst="rect">
            <a:avLst/>
          </a:prstGeom>
        </p:spPr>
      </p:pic>
      <p:sp>
        <p:nvSpPr>
          <p:cNvPr id="6" name="Picture Placeholder 6" descr="Place imagery here">
            <a:extLst>
              <a:ext uri="{FF2B5EF4-FFF2-40B4-BE49-F238E27FC236}">
                <a16:creationId xmlns:a16="http://schemas.microsoft.com/office/drawing/2014/main" id="{54AE768F-E6B1-F789-5E61-E59B3DBA779A}"/>
              </a:ext>
            </a:extLst>
          </p:cNvPr>
          <p:cNvSpPr>
            <a:spLocks noGrp="1"/>
          </p:cNvSpPr>
          <p:nvPr>
            <p:ph type="pic" sz="quarter" idx="12" hasCustomPrompt="1"/>
          </p:nvPr>
        </p:nvSpPr>
        <p:spPr>
          <a:xfrm>
            <a:off x="6380919" y="284957"/>
            <a:ext cx="5520847" cy="6290125"/>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234318255"/>
      </p:ext>
    </p:extLst>
  </p:cSld>
  <p:clrMapOvr>
    <a:masterClrMapping/>
  </p:clrMapOvr>
  <p:transition spd="med"/>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2286794"/>
          </a:xfrm>
        </p:spPr>
        <p:txBody>
          <a:bodyPr/>
          <a:lstStyle>
            <a:lvl1pPr>
              <a:lnSpc>
                <a:spcPct val="110000"/>
              </a:lnSpc>
              <a:defRPr sz="1400">
                <a:solidFill>
                  <a:schemeClr val="tx2"/>
                </a:solidFill>
              </a:defRPr>
            </a:lvl1pPr>
          </a:lstStyle>
          <a:p>
            <a:r>
              <a:rPr lang="en-US"/>
              <a:t>Click to edit Master title style</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3332554"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3334141"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542014489"/>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87999" y="288036"/>
            <a:ext cx="2474590" cy="1429544"/>
          </a:xfrm>
        </p:spPr>
        <p:txBody>
          <a:bodyPr/>
          <a:lstStyle>
            <a:lvl1pPr>
              <a:lnSpc>
                <a:spcPct val="110000"/>
              </a:lnSpc>
              <a:defRPr sz="1400">
                <a:solidFill>
                  <a:schemeClr val="tx2"/>
                </a:solidFill>
              </a:defRPr>
            </a:lvl1pPr>
          </a:lstStyle>
          <a:p>
            <a:r>
              <a:rPr lang="en-US"/>
              <a:t>Click to edit Master title style</a:t>
            </a:r>
          </a:p>
        </p:txBody>
      </p:sp>
      <p:cxnSp>
        <p:nvCxnSpPr>
          <p:cNvPr id="24" name="Straight Connector 23" descr="Vertical column divider">
            <a:extLst>
              <a:ext uri="{FF2B5EF4-FFF2-40B4-BE49-F238E27FC236}">
                <a16:creationId xmlns:a16="http://schemas.microsoft.com/office/drawing/2014/main" id="{B5CBE6E3-0E18-8A57-578D-D314948AF14F}"/>
              </a:ext>
              <a:ext uri="{C183D7F6-B498-43B3-948B-1728B52AA6E4}">
                <adec:decorative xmlns:adec="http://schemas.microsoft.com/office/drawing/2017/decorative" val="0"/>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5" descr="Place icon here">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3333316" y="288036"/>
            <a:ext cx="201142" cy="201613"/>
          </a:xfrm>
        </p:spPr>
        <p:txBody>
          <a:bodyPr/>
          <a:lstStyle>
            <a:lvl1pPr>
              <a:defRPr sz="700">
                <a:solidFill>
                  <a:schemeClr val="tx1"/>
                </a:solidFill>
              </a:defRPr>
            </a:lvl1pPr>
          </a:lstStyle>
          <a:p>
            <a:r>
              <a:rPr lang="en-US"/>
              <a:t>Icon</a:t>
            </a:r>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3333316" y="666750"/>
            <a:ext cx="2475384"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8" name="Straight Connector 27" descr="Vertical column divider">
            <a:extLst>
              <a:ext uri="{FF2B5EF4-FFF2-40B4-BE49-F238E27FC236}">
                <a16:creationId xmlns:a16="http://schemas.microsoft.com/office/drawing/2014/main" id="{52FF3B59-8BBA-8C99-9D4D-743723E434FC}"/>
              </a:ext>
              <a:ext uri="{C183D7F6-B498-43B3-948B-1728B52AA6E4}">
                <adec:decorative xmlns:adec="http://schemas.microsoft.com/office/drawing/2017/decorative" val="0"/>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5" descr="Place icon here">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6380920" y="288036"/>
            <a:ext cx="201142" cy="201613"/>
          </a:xfrm>
        </p:spPr>
        <p:txBody>
          <a:bodyPr/>
          <a:lstStyle>
            <a:lvl1pPr>
              <a:defRPr sz="700">
                <a:solidFill>
                  <a:schemeClr val="tx1"/>
                </a:solidFill>
              </a:defRPr>
            </a:lvl1pPr>
          </a:lstStyle>
          <a:p>
            <a:r>
              <a:rPr lang="en-US"/>
              <a:t>Icon</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6380919" y="666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7" name="Straight Connector 26" descr="Vertical column divider">
            <a:extLst>
              <a:ext uri="{FF2B5EF4-FFF2-40B4-BE49-F238E27FC236}">
                <a16:creationId xmlns:a16="http://schemas.microsoft.com/office/drawing/2014/main" id="{47200B05-7E36-4E03-3739-0BA983764616}"/>
              </a:ext>
              <a:ext uri="{C183D7F6-B498-43B3-948B-1728B52AA6E4}">
                <adec:decorative xmlns:adec="http://schemas.microsoft.com/office/drawing/2017/decorative" val="0"/>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Picture Placeholder 15" descr="Place icon here">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9428523" y="288036"/>
            <a:ext cx="201142" cy="201613"/>
          </a:xfrm>
        </p:spPr>
        <p:txBody>
          <a:bodyPr/>
          <a:lstStyle>
            <a:lvl1pPr>
              <a:defRPr sz="700">
                <a:solidFill>
                  <a:schemeClr val="tx1"/>
                </a:solidFill>
              </a:defRPr>
            </a:lvl1pPr>
          </a:lstStyle>
          <a:p>
            <a:r>
              <a:rPr lang="en-US"/>
              <a:t>Icon</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9428523" y="666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3" name="Straight Connector 22" descr="Horizontal row divider">
            <a:extLst>
              <a:ext uri="{FF2B5EF4-FFF2-40B4-BE49-F238E27FC236}">
                <a16:creationId xmlns:a16="http://schemas.microsoft.com/office/drawing/2014/main" id="{252CDB94-BA57-B58F-95F0-D406FE34BB40}"/>
              </a:ext>
              <a:ext uri="{C183D7F6-B498-43B3-948B-1728B52AA6E4}">
                <adec:decorative xmlns:adec="http://schemas.microsoft.com/office/drawing/2017/decorative" val="0"/>
              </a:ext>
            </a:extLst>
          </p:cNvPr>
          <p:cNvCxnSpPr>
            <a:cxnSpLocks/>
          </p:cNvCxnSpPr>
          <p:nvPr userDrawn="1"/>
        </p:nvCxnSpPr>
        <p:spPr bwMode="auto">
          <a:xfrm>
            <a:off x="3047603" y="3048000"/>
            <a:ext cx="886027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Picture Placeholder 15" descr="Place icon here">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3333316" y="3347315"/>
            <a:ext cx="201142" cy="201613"/>
          </a:xfrm>
        </p:spPr>
        <p:txBody>
          <a:bodyPr/>
          <a:lstStyle>
            <a:lvl1pPr>
              <a:defRPr sz="700">
                <a:solidFill>
                  <a:schemeClr val="tx1"/>
                </a:solidFill>
              </a:defRPr>
            </a:lvl1pPr>
          </a:lstStyle>
          <a:p>
            <a:r>
              <a:rPr lang="en-US"/>
              <a:t>Icon</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3333316" y="3714750"/>
            <a:ext cx="2475384"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Picture Placeholder 15" descr="Place icon here">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6380920" y="3347315"/>
            <a:ext cx="201142" cy="201613"/>
          </a:xfrm>
        </p:spPr>
        <p:txBody>
          <a:bodyPr/>
          <a:lstStyle>
            <a:lvl1pPr>
              <a:defRPr sz="700">
                <a:solidFill>
                  <a:schemeClr val="tx1"/>
                </a:solidFill>
              </a:defRPr>
            </a:lvl1pPr>
          </a:lstStyle>
          <a:p>
            <a:r>
              <a:rPr lang="en-US"/>
              <a:t>Icon</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6380920" y="3714750"/>
            <a:ext cx="2475384" cy="1896341"/>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15" descr="Place icon here">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9428523" y="3347315"/>
            <a:ext cx="201142" cy="201613"/>
          </a:xfrm>
        </p:spPr>
        <p:txBody>
          <a:bodyPr/>
          <a:lstStyle>
            <a:lvl1pPr>
              <a:defRPr sz="700">
                <a:solidFill>
                  <a:schemeClr val="tx1"/>
                </a:solidFill>
              </a:defRPr>
            </a:lvl1pPr>
          </a:lstStyle>
          <a:p>
            <a:r>
              <a:rPr lang="en-US"/>
              <a:t>Icon</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9428523" y="3714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a:p>
        </p:txBody>
      </p: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978149924"/>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192024"/>
            <a:ext cx="5519019" cy="1706563"/>
          </a:xfrm>
        </p:spPr>
        <p:txBody>
          <a:bodyPr rIns="457200"/>
          <a:lstStyle>
            <a:lvl1pPr>
              <a:lnSpc>
                <a:spcPct val="100000"/>
              </a:lnSpc>
              <a:defRPr sz="3199">
                <a:solidFill>
                  <a:schemeClr val="tx2"/>
                </a:solidFill>
              </a:defRPr>
            </a:lvl1pPr>
          </a:lstStyle>
          <a:p>
            <a:r>
              <a:rPr lang="en-US"/>
              <a:t>Click to edit Master title style</a:t>
            </a:r>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1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0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87998" y="3332988"/>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6"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1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010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a:p>
        </p:txBody>
      </p: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699187552"/>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288036"/>
            <a:ext cx="2474590" cy="1706563"/>
          </a:xfrm>
        </p:spPr>
        <p:txBody>
          <a:bodyPr rIns="0"/>
          <a:lstStyle>
            <a:lvl1pPr>
              <a:lnSpc>
                <a:spcPct val="110000"/>
              </a:lnSpc>
              <a:defRPr sz="1800">
                <a:solidFill>
                  <a:schemeClr val="tx2"/>
                </a:solidFill>
              </a:defRPr>
            </a:lvl1pPr>
          </a:lstStyle>
          <a:p>
            <a:r>
              <a:rPr lang="en-US"/>
              <a:t>Click to edit Master title style</a:t>
            </a:r>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1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0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90042"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6"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1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010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a:p>
        </p:txBody>
      </p: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489011704"/>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3333316" y="1714500"/>
            <a:ext cx="2475384"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10" descr="Place imagery here">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6380919" y="284956"/>
            <a:ext cx="5523781" cy="6287294"/>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a:p>
        </p:txBody>
      </p:sp>
    </p:spTree>
    <p:extLst>
      <p:ext uri="{BB962C8B-B14F-4D97-AF65-F5344CB8AC3E}">
        <p14:creationId xmlns:p14="http://schemas.microsoft.com/office/powerpoint/2010/main" val="555249287"/>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descr="Place imagery here">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3047603" y="0"/>
            <a:ext cx="9144397" cy="6858000"/>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70048" y="6452314"/>
            <a:ext cx="134652" cy="123111"/>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3606419478"/>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Picture Placeholder 6" descr="Place imagery here">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3333316" y="282575"/>
            <a:ext cx="8574559" cy="6289675"/>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a:p>
        </p:txBody>
      </p:sp>
    </p:spTree>
    <p:extLst>
      <p:ext uri="{BB962C8B-B14F-4D97-AF65-F5344CB8AC3E}">
        <p14:creationId xmlns:p14="http://schemas.microsoft.com/office/powerpoint/2010/main" val="1653271603"/>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12192000" cy="6858000"/>
          </a:xfrm>
          <a:solidFill>
            <a:srgbClr val="E0E0E0"/>
          </a:solidFill>
        </p:spPr>
        <p:txBody>
          <a:bodyPr anchor="ctr"/>
          <a:lstStyle>
            <a:lvl1pPr algn="ctr">
              <a:defRPr>
                <a:solidFill>
                  <a:schemeClr val="accent5"/>
                </a:solidFill>
              </a:defRPr>
            </a:lvl1pPr>
          </a:lstStyle>
          <a:p>
            <a:r>
              <a:rPr lang="en-US"/>
              <a:t>Place imagery here</a:t>
            </a:r>
          </a:p>
        </p:txBody>
      </p:sp>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70048" y="6452314"/>
            <a:ext cx="134652" cy="123111"/>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4069679365"/>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84126" y="284957"/>
            <a:ext cx="11620574" cy="6290468"/>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1508572758"/>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p>
        </p:txBody>
      </p:sp>
      <p:sp>
        <p:nvSpPr>
          <p:cNvPr id="17" name="Picture Placeholder 7" descr="Place bio portrait here">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87999" y="1333500"/>
            <a:ext cx="1236501" cy="1238250"/>
          </a:xfrm>
          <a:solidFill>
            <a:srgbClr val="E0E0E0"/>
          </a:solidFill>
        </p:spPr>
        <p:txBody>
          <a:bodyPr anchor="ctr"/>
          <a:lstStyle>
            <a:lvl1pPr algn="ctr">
              <a:defRPr>
                <a:solidFill>
                  <a:schemeClr val="accent5"/>
                </a:solidFill>
              </a:defRPr>
            </a:lvl1pPr>
          </a:lstStyle>
          <a:p>
            <a:r>
              <a:rPr lang="en-US"/>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714277" y="13335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Picture Placeholder 7" descr="Place bio portrait here">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87999" y="30607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714277" y="30607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descr="Place bio portrait here">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87999" y="4762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714277" y="4762501"/>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descr="Place bio portrait here">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6377745" y="1333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7807896" y="13335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descr="Place bio portrait here">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6377745" y="30607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7807896" y="30607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descr="Place bio portrait here">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6377745" y="4762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7807896" y="4762501"/>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62747281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63" y="192024"/>
            <a:ext cx="2470717" cy="2105025"/>
          </a:xfrm>
        </p:spPr>
        <p:txBody>
          <a:bodyPr/>
          <a:lstStyle>
            <a:lvl1pPr>
              <a:lnSpc>
                <a:spcPct val="100000"/>
              </a:lnSpc>
              <a:defRPr sz="3399">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6382506" y="287338"/>
            <a:ext cx="2476178" cy="5808659"/>
          </a:xfrm>
        </p:spPr>
        <p:txBody>
          <a:bodyPr/>
          <a:lstStyle>
            <a:lvl1pPr defTabSz="580528">
              <a:spcBef>
                <a:spcPts val="0"/>
              </a:spcBef>
              <a:defRPr>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9430110" y="287337"/>
            <a:ext cx="2470622" cy="5810250"/>
          </a:xfrm>
        </p:spPr>
        <p:txBody>
          <a:bodyPr/>
          <a:lstStyle>
            <a:lvl1pPr defTabSz="580528">
              <a:spcBef>
                <a:spcPts val="0"/>
              </a:spcBef>
              <a:defRPr>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87963" y="6408000"/>
            <a:ext cx="2477765" cy="190500"/>
          </a:xfrm>
        </p:spPr>
        <p:txBody>
          <a:bodyPr/>
          <a:lstStyle/>
          <a:p>
            <a:endParaRPr lang="en-US"/>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687545801"/>
      </p:ext>
    </p:extLst>
  </p:cSld>
  <p:clrMapOvr>
    <a:masterClrMapping/>
  </p:clrMapOvr>
  <p:transition spd="med"/>
  <p:extLst>
    <p:ext uri="{DCECCB84-F9BA-43D5-87BE-67443E8EF086}">
      <p15:sldGuideLst xmlns:p15="http://schemas.microsoft.com/office/powerpoint/2012/main"/>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2286794"/>
          </a:xfrm>
        </p:spPr>
        <p:txBody>
          <a:bodyPr/>
          <a:lstStyle>
            <a:lvl1pPr>
              <a:lnSpc>
                <a:spcPct val="110000"/>
              </a:lnSpc>
              <a:defRPr sz="1400">
                <a:solidFill>
                  <a:schemeClr val="tx2"/>
                </a:solidFill>
              </a:defRPr>
            </a:lvl1pPr>
          </a:lstStyle>
          <a:p>
            <a:r>
              <a:rPr lang="en-US"/>
              <a:t>Click to edit Master title style</a:t>
            </a:r>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3333316" y="284957"/>
            <a:ext cx="8571384" cy="5715794"/>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981112293"/>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024"/>
            <a:ext cx="2477765" cy="1429544"/>
          </a:xfrm>
        </p:spPr>
        <p:txBody>
          <a:bodyPr/>
          <a:lstStyle>
            <a:lvl1pPr>
              <a:lnSpc>
                <a:spcPct val="90000"/>
              </a:lnSpc>
              <a:spcBef>
                <a:spcPts val="0"/>
              </a:spcBef>
              <a:defRPr sz="3199">
                <a:solidFill>
                  <a:schemeClr val="tx2"/>
                </a:solidFill>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536649139"/>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3524"/>
          </a:xfrm>
        </p:spPr>
        <p:txBody>
          <a:bodyPr/>
          <a:lstStyle>
            <a:lvl1pPr>
              <a:lnSpc>
                <a:spcPct val="110000"/>
              </a:lnSpc>
              <a:defRPr sz="1400">
                <a:solidFill>
                  <a:schemeClr val="tx2"/>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296427978"/>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024"/>
            <a:ext cx="2477765" cy="1429544"/>
          </a:xfrm>
        </p:spPr>
        <p:txBody>
          <a:bodyPr/>
          <a:lstStyle>
            <a:lvl1pPr>
              <a:lnSpc>
                <a:spcPct val="90000"/>
              </a:lnSpc>
              <a:spcBef>
                <a:spcPts val="0"/>
              </a:spcBef>
              <a:defRPr sz="3199">
                <a:solidFill>
                  <a:schemeClr val="tx2"/>
                </a:solidFill>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a:t>Click to edit Master text styles</a:t>
            </a:r>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6380919"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90474" y="6402388"/>
            <a:ext cx="2477765" cy="190500"/>
          </a:xfrm>
        </p:spPr>
        <p:txBody>
          <a:bodyPr/>
          <a:lstStyle/>
          <a:p>
            <a:endParaRPr lang="en-US"/>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210384496"/>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Left side text, white+cyan">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FF199AD-99F5-8A31-D55D-6EA7FE65BF0B}"/>
              </a:ext>
            </a:extLst>
          </p:cNvPr>
          <p:cNvSpPr>
            <a:spLocks noGrp="1"/>
          </p:cNvSpPr>
          <p:nvPr>
            <p:ph type="sldNum" sz="quarter" idx="10"/>
          </p:nvPr>
        </p:nvSpPr>
        <p:spPr/>
        <p:txBody>
          <a:bodyPr/>
          <a:lstStyle/>
          <a:p>
            <a:fld id="{86CB4B4D-7CA3-9044-876B-883B54F8677D}" type="slidenum">
              <a:rPr lang="en-US" smtClean="0"/>
              <a:pPr/>
              <a:t>‹#›</a:t>
            </a:fld>
            <a:endParaRPr lang="en-US"/>
          </a:p>
        </p:txBody>
      </p:sp>
      <p:sp>
        <p:nvSpPr>
          <p:cNvPr id="7" name="Text Placeholder 4">
            <a:extLst>
              <a:ext uri="{FF2B5EF4-FFF2-40B4-BE49-F238E27FC236}">
                <a16:creationId xmlns:a16="http://schemas.microsoft.com/office/drawing/2014/main" id="{B46CC3A1-4537-FC29-D1E2-9858E5E2B37B}"/>
              </a:ext>
            </a:extLst>
          </p:cNvPr>
          <p:cNvSpPr>
            <a:spLocks noGrp="1"/>
          </p:cNvSpPr>
          <p:nvPr>
            <p:ph type="body" sz="quarter" idx="12"/>
          </p:nvPr>
        </p:nvSpPr>
        <p:spPr>
          <a:xfrm>
            <a:off x="287999" y="1717768"/>
            <a:ext cx="2473891" cy="42862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itle 1">
            <a:extLst>
              <a:ext uri="{FF2B5EF4-FFF2-40B4-BE49-F238E27FC236}">
                <a16:creationId xmlns:a16="http://schemas.microsoft.com/office/drawing/2014/main" id="{D29BAF6E-9877-855F-9A5E-2AFA760A83B3}"/>
              </a:ext>
            </a:extLst>
          </p:cNvPr>
          <p:cNvSpPr>
            <a:spLocks noGrp="1"/>
          </p:cNvSpPr>
          <p:nvPr>
            <p:ph type="title"/>
          </p:nvPr>
        </p:nvSpPr>
        <p:spPr>
          <a:xfrm>
            <a:off x="269212" y="191937"/>
            <a:ext cx="2492678" cy="1429544"/>
          </a:xfrm>
        </p:spPr>
        <p:txBody>
          <a:bodyPr rIns="457200"/>
          <a:lstStyle>
            <a:lvl1pPr>
              <a:lnSpc>
                <a:spcPct val="100000"/>
              </a:lnSpc>
              <a:defRPr sz="3199">
                <a:solidFill>
                  <a:schemeClr val="tx2"/>
                </a:solidFill>
              </a:defRPr>
            </a:lvl1pPr>
          </a:lstStyle>
          <a:p>
            <a:r>
              <a:rPr lang="en-US"/>
              <a:t>Click to edit Master title style</a:t>
            </a:r>
          </a:p>
        </p:txBody>
      </p:sp>
      <p:sp>
        <p:nvSpPr>
          <p:cNvPr id="9" name="Footer Placeholder 1">
            <a:extLst>
              <a:ext uri="{FF2B5EF4-FFF2-40B4-BE49-F238E27FC236}">
                <a16:creationId xmlns:a16="http://schemas.microsoft.com/office/drawing/2014/main" id="{A0039F55-4DA1-0F76-E4F4-FC3FFABD733D}"/>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
        <p:nvSpPr>
          <p:cNvPr id="2" name="Rectangle 1">
            <a:extLst>
              <a:ext uri="{FF2B5EF4-FFF2-40B4-BE49-F238E27FC236}">
                <a16:creationId xmlns:a16="http://schemas.microsoft.com/office/drawing/2014/main" id="{32BE503C-A69C-5EFC-BA7A-97308B436F87}"/>
              </a:ext>
            </a:extLst>
          </p:cNvPr>
          <p:cNvSpPr/>
          <p:nvPr userDrawn="1"/>
        </p:nvSpPr>
        <p:spPr bwMode="auto">
          <a:xfrm>
            <a:off x="3047603" y="0"/>
            <a:ext cx="9144397" cy="6858001"/>
          </a:xfrm>
          <a:prstGeom prst="rect">
            <a:avLst/>
          </a:prstGeom>
          <a:solidFill>
            <a:schemeClr val="bg2"/>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60952" tIns="60952" rIns="60952" bIns="60952" numCol="1" rtlCol="0" anchor="t" anchorCtr="0" compatLnSpc="1">
            <a:prstTxWarp prst="textNoShape">
              <a:avLst/>
            </a:prstTxWarp>
          </a:bodyPr>
          <a:lstStyle/>
          <a:p>
            <a:pPr defTabSz="609463" fontAlgn="base">
              <a:spcBef>
                <a:spcPct val="0"/>
              </a:spcBef>
              <a:spcAft>
                <a:spcPct val="0"/>
              </a:spcAft>
            </a:pPr>
            <a:endParaRPr lang="en-US" sz="933">
              <a:solidFill>
                <a:schemeClr val="bg1"/>
              </a:solidFill>
            </a:endParaRPr>
          </a:p>
        </p:txBody>
      </p:sp>
      <p:sp>
        <p:nvSpPr>
          <p:cNvPr id="4" name="Slide Number Placeholder 2">
            <a:extLst>
              <a:ext uri="{FF2B5EF4-FFF2-40B4-BE49-F238E27FC236}">
                <a16:creationId xmlns:a16="http://schemas.microsoft.com/office/drawing/2014/main" id="{BDA953EC-0A9D-D7C9-44B5-8EE8D209213E}"/>
              </a:ext>
            </a:extLst>
          </p:cNvPr>
          <p:cNvSpPr txBox="1">
            <a:spLocks/>
          </p:cNvSpPr>
          <p:nvPr userDrawn="1"/>
        </p:nvSpPr>
        <p:spPr>
          <a:xfrm>
            <a:off x="11770048" y="6469507"/>
            <a:ext cx="134652" cy="123111"/>
          </a:xfrm>
          <a:prstGeom prst="rect">
            <a:avLst/>
          </a:prstGeom>
          <a:ln w="12700">
            <a:miter lim="400000"/>
          </a:ln>
        </p:spPr>
        <p:txBody>
          <a:bodyPr wrap="none" lIns="0" tIns="0" rIns="0" bIns="0" anchor="b" anchorCtr="0">
            <a:spAutoFit/>
          </a:bodyPr>
          <a:lstStyle>
            <a:defPPr>
              <a:defRPr lang="en-US"/>
            </a:defPPr>
            <a:lvl1pPr marL="0" algn="r" defTabSz="1829379" rtl="0" eaLnBrk="1" latinLnBrk="0" hangingPunct="1">
              <a:defRPr sz="1600" b="0" i="0" kern="1200">
                <a:solidFill>
                  <a:schemeClr val="tx1"/>
                </a:solidFill>
                <a:latin typeface="IBM Plex Sans" panose="020B0503050203000203" pitchFamily="34" charset="0"/>
                <a:ea typeface="+mn-ea"/>
                <a:cs typeface="+mn-cs"/>
                <a:sym typeface="IBM Plex San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fld id="{86CB4B4D-7CA3-9044-876B-883B54F8677D}" type="slidenum">
              <a:rPr lang="en-US" sz="800" smtClean="0"/>
              <a:pPr/>
              <a:t>‹#›</a:t>
            </a:fld>
            <a:endParaRPr lang="en-US" sz="800"/>
          </a:p>
        </p:txBody>
      </p:sp>
      <p:sp>
        <p:nvSpPr>
          <p:cNvPr id="5" name="TextBox 4">
            <a:extLst>
              <a:ext uri="{FF2B5EF4-FFF2-40B4-BE49-F238E27FC236}">
                <a16:creationId xmlns:a16="http://schemas.microsoft.com/office/drawing/2014/main" id="{601A55EE-A18A-C593-7B5F-86BC1380288B}"/>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rgbClr val="000000"/>
                </a:solidFill>
                <a:latin typeface="IBM Plex Sans" panose="020B0503050203000203" pitchFamily="34" charset="0"/>
                <a:ea typeface="+mj-ea"/>
                <a:cs typeface="+mj-cs"/>
                <a:sym typeface="IBM Plex Sans Light"/>
              </a:rPr>
              <a:t>#IBMTechXchange</a:t>
            </a:r>
          </a:p>
        </p:txBody>
      </p:sp>
    </p:spTree>
    <p:extLst>
      <p:ext uri="{BB962C8B-B14F-4D97-AF65-F5344CB8AC3E}">
        <p14:creationId xmlns:p14="http://schemas.microsoft.com/office/powerpoint/2010/main" val="717506195"/>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Section, callouts, big image with margi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50545"/>
            <a:ext cx="2474590" cy="762794"/>
          </a:xfrm>
        </p:spPr>
        <p:txBody>
          <a:bodyPr/>
          <a:lstStyle>
            <a:lvl1pPr>
              <a:lnSpc>
                <a:spcPct val="110000"/>
              </a:lnSpc>
              <a:defRPr sz="1400">
                <a:solidFill>
                  <a:schemeClr val="tx2"/>
                </a:solidFill>
              </a:defRPr>
            </a:lvl1pPr>
          </a:lstStyle>
          <a:p>
            <a:r>
              <a:rPr lang="en-US"/>
              <a:t>Click to edit Master title style</a:t>
            </a:r>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3333316" y="282575"/>
            <a:ext cx="8574559" cy="6289675"/>
          </a:xfrm>
          <a:solidFill>
            <a:srgbClr val="E0E0E0"/>
          </a:solidFill>
        </p:spPr>
        <p:txBody>
          <a:bodyPr anchor="ctr"/>
          <a:lstStyle>
            <a:lvl1pPr algn="ctr">
              <a:defRPr>
                <a:solidFill>
                  <a:schemeClr val="accent5"/>
                </a:solidFill>
              </a:defRPr>
            </a:lvl1pPr>
          </a:lstStyle>
          <a:p>
            <a:r>
              <a:rPr lang="en-US"/>
              <a:t>Place imagery here</a:t>
            </a:r>
          </a:p>
        </p:txBody>
      </p:sp>
      <p:sp>
        <p:nvSpPr>
          <p:cNvPr id="5" name="Text Placeholder 5">
            <a:extLst>
              <a:ext uri="{FF2B5EF4-FFF2-40B4-BE49-F238E27FC236}">
                <a16:creationId xmlns:a16="http://schemas.microsoft.com/office/drawing/2014/main" id="{2F1062D6-5670-E376-5181-FACE84388D3D}"/>
              </a:ext>
            </a:extLst>
          </p:cNvPr>
          <p:cNvSpPr>
            <a:spLocks noGrp="1"/>
          </p:cNvSpPr>
          <p:nvPr>
            <p:ph type="body" sz="quarter" idx="15"/>
          </p:nvPr>
        </p:nvSpPr>
        <p:spPr>
          <a:xfrm>
            <a:off x="287999" y="1670659"/>
            <a:ext cx="2477765" cy="4327710"/>
          </a:xfrm>
        </p:spPr>
        <p:txBody>
          <a:bodyPr/>
          <a:lstStyle>
            <a:lvl1pPr>
              <a:lnSpc>
                <a:spcPct val="110000"/>
              </a:lnSpc>
              <a:spcBef>
                <a:spcPts val="0"/>
              </a:spcBef>
              <a:spcAft>
                <a:spcPts val="1800"/>
              </a:spcAft>
              <a:defRPr sz="1800">
                <a:solidFill>
                  <a:schemeClr val="tx1"/>
                </a:solidFill>
              </a:defRPr>
            </a:lvl1pPr>
            <a:lvl2pPr marL="127990" indent="-127990">
              <a:lnSpc>
                <a:spcPct val="110000"/>
              </a:lnSpc>
              <a:spcBef>
                <a:spcPts val="0"/>
              </a:spcBef>
              <a:spcAft>
                <a:spcPts val="1800"/>
              </a:spcAft>
              <a:defRPr sz="1800">
                <a:solidFill>
                  <a:schemeClr val="tx1"/>
                </a:solidFill>
              </a:defRPr>
            </a:lvl2pPr>
            <a:lvl3pPr marL="255981" indent="-127990">
              <a:lnSpc>
                <a:spcPct val="110000"/>
              </a:lnSpc>
              <a:spcBef>
                <a:spcPts val="0"/>
              </a:spcBef>
              <a:spcAft>
                <a:spcPts val="1800"/>
              </a:spcAft>
              <a:defRPr sz="1800">
                <a:solidFill>
                  <a:schemeClr val="tx1"/>
                </a:solidFill>
              </a:defRPr>
            </a:lvl3pPr>
            <a:lvl4pPr marL="383971" indent="-127990">
              <a:lnSpc>
                <a:spcPct val="110000"/>
              </a:lnSpc>
              <a:spcBef>
                <a:spcPts val="0"/>
              </a:spcBef>
              <a:spcAft>
                <a:spcPts val="1800"/>
              </a:spcAft>
              <a:defRPr sz="18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1">
            <a:extLst>
              <a:ext uri="{FF2B5EF4-FFF2-40B4-BE49-F238E27FC236}">
                <a16:creationId xmlns:a16="http://schemas.microsoft.com/office/drawing/2014/main" id="{7A89EF34-F2E4-1534-281A-F12601CCE830}"/>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Tree>
    <p:extLst>
      <p:ext uri="{BB962C8B-B14F-4D97-AF65-F5344CB8AC3E}">
        <p14:creationId xmlns:p14="http://schemas.microsoft.com/office/powerpoint/2010/main" val="2830079290"/>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Text, pictograms, 2 wide column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87999" y="3429000"/>
            <a:ext cx="5049180" cy="2569369"/>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6380919" y="3429000"/>
            <a:ext cx="5047593" cy="2569369"/>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8" name="Picture Placeholder 12">
            <a:extLst>
              <a:ext uri="{FF2B5EF4-FFF2-40B4-BE49-F238E27FC236}">
                <a16:creationId xmlns:a16="http://schemas.microsoft.com/office/drawing/2014/main" id="{79CF79E9-58BB-513E-43E9-E0BEE12B4583}"/>
              </a:ext>
            </a:extLst>
          </p:cNvPr>
          <p:cNvSpPr>
            <a:spLocks noGrp="1"/>
          </p:cNvSpPr>
          <p:nvPr>
            <p:ph type="pic" sz="quarter" idx="15" hasCustomPrompt="1"/>
          </p:nvPr>
        </p:nvSpPr>
        <p:spPr>
          <a:xfrm>
            <a:off x="287998" y="2478024"/>
            <a:ext cx="607997" cy="608076"/>
          </a:xfrm>
        </p:spPr>
        <p:txBody>
          <a:bodyPr anchor="ctr"/>
          <a:lstStyle>
            <a:lvl1pPr algn="ctr">
              <a:defRPr sz="800"/>
            </a:lvl1pPr>
          </a:lstStyle>
          <a:p>
            <a:r>
              <a:rPr lang="en-US"/>
              <a:t>Pictogram</a:t>
            </a:r>
          </a:p>
        </p:txBody>
      </p:sp>
      <p:sp>
        <p:nvSpPr>
          <p:cNvPr id="9" name="Title 1">
            <a:extLst>
              <a:ext uri="{FF2B5EF4-FFF2-40B4-BE49-F238E27FC236}">
                <a16:creationId xmlns:a16="http://schemas.microsoft.com/office/drawing/2014/main" id="{922459F1-A8D7-D6F0-9077-040A2C23378F}"/>
              </a:ext>
            </a:extLst>
          </p:cNvPr>
          <p:cNvSpPr>
            <a:spLocks noGrp="1"/>
          </p:cNvSpPr>
          <p:nvPr>
            <p:ph type="title"/>
          </p:nvPr>
        </p:nvSpPr>
        <p:spPr>
          <a:xfrm>
            <a:off x="269212" y="191937"/>
            <a:ext cx="7345034" cy="1429544"/>
          </a:xfrm>
        </p:spPr>
        <p:txBody>
          <a:bodyPr rIns="457200"/>
          <a:lstStyle>
            <a:lvl1pPr>
              <a:lnSpc>
                <a:spcPct val="100000"/>
              </a:lnSpc>
              <a:defRPr sz="3199">
                <a:solidFill>
                  <a:schemeClr val="tx2"/>
                </a:solidFill>
              </a:defRPr>
            </a:lvl1pPr>
          </a:lstStyle>
          <a:p>
            <a:r>
              <a:rPr lang="en-US"/>
              <a:t>Click to edit Master title style</a:t>
            </a:r>
          </a:p>
        </p:txBody>
      </p:sp>
      <p:sp>
        <p:nvSpPr>
          <p:cNvPr id="10" name="Picture Placeholder 12">
            <a:extLst>
              <a:ext uri="{FF2B5EF4-FFF2-40B4-BE49-F238E27FC236}">
                <a16:creationId xmlns:a16="http://schemas.microsoft.com/office/drawing/2014/main" id="{FA3EE5FA-E03D-2868-F43C-AED3641C30C5}"/>
              </a:ext>
            </a:extLst>
          </p:cNvPr>
          <p:cNvSpPr>
            <a:spLocks noGrp="1"/>
          </p:cNvSpPr>
          <p:nvPr>
            <p:ph type="pic" sz="quarter" idx="16" hasCustomPrompt="1"/>
          </p:nvPr>
        </p:nvSpPr>
        <p:spPr>
          <a:xfrm>
            <a:off x="6380919" y="2478024"/>
            <a:ext cx="607997" cy="608076"/>
          </a:xfrm>
        </p:spPr>
        <p:txBody>
          <a:bodyPr anchor="ctr"/>
          <a:lstStyle>
            <a:lvl1pPr algn="ctr">
              <a:defRPr sz="800"/>
            </a:lvl1pPr>
          </a:lstStyle>
          <a:p>
            <a:r>
              <a:rPr lang="en-US"/>
              <a:t>Pictogram</a:t>
            </a:r>
          </a:p>
        </p:txBody>
      </p:sp>
      <p:sp>
        <p:nvSpPr>
          <p:cNvPr id="3" name="Footer Placeholder 1">
            <a:extLst>
              <a:ext uri="{FF2B5EF4-FFF2-40B4-BE49-F238E27FC236}">
                <a16:creationId xmlns:a16="http://schemas.microsoft.com/office/drawing/2014/main" id="{4A670BDF-CD12-E7E2-0D14-69CE028ED3DE}"/>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Tree>
    <p:extLst>
      <p:ext uri="{BB962C8B-B14F-4D97-AF65-F5344CB8AC3E}">
        <p14:creationId xmlns:p14="http://schemas.microsoft.com/office/powerpoint/2010/main" val="4144039568"/>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Title, plain">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9264" y="6469420"/>
            <a:ext cx="135436"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pPr defTabSz="914507">
              <a:defRPr/>
            </a:pPr>
            <a:fld id="{86CB4B4D-7CA3-9044-876B-883B54F8677D}" type="slidenum">
              <a:rPr lang="en-US" smtClean="0">
                <a:solidFill>
                  <a:srgbClr val="000000"/>
                </a:solidFill>
              </a:rPr>
              <a:pPr defTabSz="914507">
                <a:defRPr/>
              </a:pPr>
              <a:t>‹#›</a:t>
            </a:fld>
            <a:endParaRPr lang="en-US">
              <a:solidFill>
                <a:srgbClr val="000000"/>
              </a:solidFill>
            </a:endParaRPr>
          </a:p>
        </p:txBody>
      </p:sp>
      <p:sp>
        <p:nvSpPr>
          <p:cNvPr id="3" name="Title 1">
            <a:extLst>
              <a:ext uri="{FF2B5EF4-FFF2-40B4-BE49-F238E27FC236}">
                <a16:creationId xmlns:a16="http://schemas.microsoft.com/office/drawing/2014/main" id="{6733F7B7-5AD6-1E43-4FD9-3C700AC2CBD0}"/>
              </a:ext>
            </a:extLst>
          </p:cNvPr>
          <p:cNvSpPr>
            <a:spLocks noGrp="1"/>
          </p:cNvSpPr>
          <p:nvPr>
            <p:ph type="title"/>
          </p:nvPr>
        </p:nvSpPr>
        <p:spPr>
          <a:xfrm>
            <a:off x="269212" y="191937"/>
            <a:ext cx="7345034" cy="1429544"/>
          </a:xfrm>
        </p:spPr>
        <p:txBody>
          <a:bodyPr rIns="457200"/>
          <a:lstStyle>
            <a:lvl1pPr>
              <a:lnSpc>
                <a:spcPct val="100000"/>
              </a:lnSpc>
              <a:defRPr sz="3198">
                <a:solidFill>
                  <a:schemeClr val="tx2"/>
                </a:solidFill>
              </a:defRPr>
            </a:lvl1pPr>
          </a:lstStyle>
          <a:p>
            <a:r>
              <a:rPr lang="en-US"/>
              <a:t>Click to edit Master title style</a:t>
            </a:r>
          </a:p>
        </p:txBody>
      </p:sp>
      <p:sp>
        <p:nvSpPr>
          <p:cNvPr id="5" name="Footer Placeholder 1">
            <a:extLst>
              <a:ext uri="{FF2B5EF4-FFF2-40B4-BE49-F238E27FC236}">
                <a16:creationId xmlns:a16="http://schemas.microsoft.com/office/drawing/2014/main" id="{99C054CF-9453-850A-6B65-8421B4607965}"/>
              </a:ext>
            </a:extLst>
          </p:cNvPr>
          <p:cNvSpPr>
            <a:spLocks noGrp="1"/>
          </p:cNvSpPr>
          <p:nvPr>
            <p:ph type="ftr" sz="quarter" idx="3"/>
          </p:nvPr>
        </p:nvSpPr>
        <p:spPr>
          <a:xfrm>
            <a:off x="284126"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pPr defTabSz="914507">
              <a:defRPr/>
            </a:pPr>
            <a:r>
              <a:rPr lang="en-US">
                <a:solidFill>
                  <a:srgbClr val="000000"/>
                </a:solidFill>
              </a:rPr>
              <a:t>IBM TechXchange | © 2024 IBM Corporation</a:t>
            </a:r>
          </a:p>
        </p:txBody>
      </p:sp>
    </p:spTree>
    <p:extLst>
      <p:ext uri="{BB962C8B-B14F-4D97-AF65-F5344CB8AC3E}">
        <p14:creationId xmlns:p14="http://schemas.microsoft.com/office/powerpoint/2010/main" val="2724229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2_Boxes, 6 stack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602"/>
            <a:ext cx="2474591" cy="2286795"/>
          </a:xfrm>
        </p:spPr>
        <p:txBody>
          <a:bodyPr/>
          <a:lstStyle>
            <a:lvl1pPr>
              <a:lnSpc>
                <a:spcPct val="100000"/>
              </a:lnSpc>
              <a:defRPr sz="3196"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lvl1pPr>
              <a:defRPr b="0" i="0">
                <a:latin typeface="IBM Plex Sans Light" panose="020B0403050203000203" pitchFamily="34" charset="0"/>
              </a:defRPr>
            </a:lvl1pPr>
          </a:lstStyle>
          <a:p>
            <a:pPr defTabSz="913969">
              <a:defRPr/>
            </a:pPr>
            <a:endParaRPr lang="en-US">
              <a:solidFill>
                <a:srgbClr val="000000"/>
              </a:solidFill>
            </a:endParaRPr>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11772187" y="6407871"/>
            <a:ext cx="132515" cy="246221"/>
          </a:xfrm>
          <a:prstGeom prst="rect">
            <a:avLst/>
          </a:prstGeom>
          <a:ln w="12700">
            <a:miter lim="400000"/>
          </a:ln>
        </p:spPr>
        <p:txBody>
          <a:bodyPr wrap="squar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pPr defTabSz="913969">
              <a:defRPr/>
            </a:pPr>
            <a:fld id="{86CB4B4D-7CA3-9044-876B-883B54F8677D}" type="slidenum">
              <a:rPr lang="en-US" smtClean="0">
                <a:solidFill>
                  <a:srgbClr val="000000"/>
                </a:solidFill>
              </a:rPr>
              <a:pPr defTabSz="913969">
                <a:defRPr/>
              </a:pPr>
              <a:t>‹#›</a:t>
            </a:fld>
            <a:endParaRPr lang="en-US">
              <a:solidFill>
                <a:srgbClr val="000000"/>
              </a:solidFill>
            </a:endParaRPr>
          </a:p>
        </p:txBody>
      </p:sp>
      <p:sp>
        <p:nvSpPr>
          <p:cNvPr id="19" name="Text Placeholder 6">
            <a:extLst>
              <a:ext uri="{FF2B5EF4-FFF2-40B4-BE49-F238E27FC236}">
                <a16:creationId xmlns:a16="http://schemas.microsoft.com/office/drawing/2014/main" id="{B74FE312-96C3-0801-8AFE-48C53A3855EF}"/>
              </a:ext>
            </a:extLst>
          </p:cNvPr>
          <p:cNvSpPr>
            <a:spLocks noGrp="1"/>
          </p:cNvSpPr>
          <p:nvPr>
            <p:ph type="body" sz="quarter" idx="10"/>
          </p:nvPr>
        </p:nvSpPr>
        <p:spPr>
          <a:xfrm>
            <a:off x="6363186" y="288039"/>
            <a:ext cx="2481639" cy="2572543"/>
          </a:xfrm>
          <a:prstGeom prst="rect">
            <a:avLst/>
          </a:prstGeom>
        </p:spPr>
        <p:txBody>
          <a:bodyPr/>
          <a:lstStyle>
            <a:lvl1pPr defTabSz="580187">
              <a:lnSpc>
                <a:spcPct val="100000"/>
              </a:lnSpc>
              <a:spcBef>
                <a:spcPts val="0"/>
              </a:spcBef>
              <a:defRPr sz="1800" b="0" i="0">
                <a:solidFill>
                  <a:schemeClr val="tx1"/>
                </a:solidFill>
                <a:latin typeface="IBM Plex Sans Light" panose="020B0403050203000203" pitchFamily="34" charset="0"/>
              </a:defRPr>
            </a:lvl1pPr>
            <a:lvl2pPr defTabSz="580187">
              <a:lnSpc>
                <a:spcPct val="100000"/>
              </a:lnSpc>
              <a:spcBef>
                <a:spcPts val="0"/>
              </a:spcBef>
              <a:defRPr sz="1800" b="0" i="0">
                <a:solidFill>
                  <a:schemeClr val="tx1"/>
                </a:solidFill>
                <a:latin typeface="IBM Plex Sans Light" panose="020B0403050203000203" pitchFamily="34" charset="0"/>
              </a:defRPr>
            </a:lvl2pPr>
            <a:lvl3pPr defTabSz="580187">
              <a:lnSpc>
                <a:spcPct val="100000"/>
              </a:lnSpc>
              <a:spcBef>
                <a:spcPts val="0"/>
              </a:spcBef>
              <a:defRPr sz="1800" b="0" i="0">
                <a:solidFill>
                  <a:schemeClr val="tx1"/>
                </a:solidFill>
                <a:latin typeface="IBM Plex Sans Light" panose="020B0403050203000203" pitchFamily="34" charset="0"/>
              </a:defRPr>
            </a:lvl3pPr>
            <a:lvl4pPr defTabSz="580187">
              <a:lnSpc>
                <a:spcPct val="100000"/>
              </a:lnSpc>
              <a:spcBef>
                <a:spcPts val="0"/>
              </a:spcBef>
              <a:defRPr sz="1800" b="0" i="0">
                <a:solidFill>
                  <a:schemeClr val="tx1"/>
                </a:solidFill>
                <a:latin typeface="IBM Plex Sans Light" panose="020B0403050203000203" pitchFamily="34" charset="0"/>
              </a:defRPr>
            </a:lvl4pPr>
            <a:lvl5pPr defTabSz="580187">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6">
            <a:extLst>
              <a:ext uri="{FF2B5EF4-FFF2-40B4-BE49-F238E27FC236}">
                <a16:creationId xmlns:a16="http://schemas.microsoft.com/office/drawing/2014/main" id="{BFE072FD-410A-B1CF-4BD5-EFE459133BB6}"/>
              </a:ext>
            </a:extLst>
          </p:cNvPr>
          <p:cNvSpPr>
            <a:spLocks noGrp="1"/>
          </p:cNvSpPr>
          <p:nvPr>
            <p:ph type="body" sz="quarter" idx="23"/>
          </p:nvPr>
        </p:nvSpPr>
        <p:spPr>
          <a:xfrm>
            <a:off x="9398653" y="288039"/>
            <a:ext cx="2481639" cy="2572543"/>
          </a:xfrm>
          <a:prstGeom prst="rect">
            <a:avLst/>
          </a:prstGeom>
        </p:spPr>
        <p:txBody>
          <a:bodyPr/>
          <a:lstStyle>
            <a:lvl1pPr defTabSz="580187">
              <a:lnSpc>
                <a:spcPct val="100000"/>
              </a:lnSpc>
              <a:spcBef>
                <a:spcPts val="0"/>
              </a:spcBef>
              <a:defRPr sz="1800" b="0" i="0">
                <a:solidFill>
                  <a:schemeClr val="tx1"/>
                </a:solidFill>
                <a:latin typeface="IBM Plex Sans Light" panose="020B0403050203000203" pitchFamily="34" charset="0"/>
              </a:defRPr>
            </a:lvl1pPr>
            <a:lvl2pPr defTabSz="580187">
              <a:lnSpc>
                <a:spcPct val="100000"/>
              </a:lnSpc>
              <a:spcBef>
                <a:spcPts val="0"/>
              </a:spcBef>
              <a:defRPr sz="1800" b="0" i="0">
                <a:solidFill>
                  <a:schemeClr val="tx1"/>
                </a:solidFill>
                <a:latin typeface="IBM Plex Sans Light" panose="020B0403050203000203" pitchFamily="34" charset="0"/>
              </a:defRPr>
            </a:lvl2pPr>
            <a:lvl3pPr defTabSz="580187">
              <a:lnSpc>
                <a:spcPct val="100000"/>
              </a:lnSpc>
              <a:spcBef>
                <a:spcPts val="0"/>
              </a:spcBef>
              <a:defRPr sz="1800" b="0" i="0">
                <a:solidFill>
                  <a:schemeClr val="tx1"/>
                </a:solidFill>
                <a:latin typeface="IBM Plex Sans Light" panose="020B0403050203000203" pitchFamily="34" charset="0"/>
              </a:defRPr>
            </a:lvl3pPr>
            <a:lvl4pPr defTabSz="580187">
              <a:lnSpc>
                <a:spcPct val="100000"/>
              </a:lnSpc>
              <a:spcBef>
                <a:spcPts val="0"/>
              </a:spcBef>
              <a:defRPr sz="1800" b="0" i="0">
                <a:solidFill>
                  <a:schemeClr val="tx1"/>
                </a:solidFill>
                <a:latin typeface="IBM Plex Sans Light" panose="020B0403050203000203" pitchFamily="34" charset="0"/>
              </a:defRPr>
            </a:lvl4pPr>
            <a:lvl5pPr defTabSz="580187">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6">
            <a:extLst>
              <a:ext uri="{FF2B5EF4-FFF2-40B4-BE49-F238E27FC236}">
                <a16:creationId xmlns:a16="http://schemas.microsoft.com/office/drawing/2014/main" id="{1C0822F6-B969-1E92-CC74-0CBB1126A9C8}"/>
              </a:ext>
            </a:extLst>
          </p:cNvPr>
          <p:cNvSpPr>
            <a:spLocks noGrp="1"/>
          </p:cNvSpPr>
          <p:nvPr>
            <p:ph type="body" sz="quarter" idx="24"/>
          </p:nvPr>
        </p:nvSpPr>
        <p:spPr>
          <a:xfrm>
            <a:off x="6363186" y="3333751"/>
            <a:ext cx="2481639" cy="2476500"/>
          </a:xfrm>
          <a:prstGeom prst="rect">
            <a:avLst/>
          </a:prstGeom>
        </p:spPr>
        <p:txBody>
          <a:bodyPr/>
          <a:lstStyle>
            <a:lvl1pPr defTabSz="580187">
              <a:lnSpc>
                <a:spcPct val="100000"/>
              </a:lnSpc>
              <a:spcBef>
                <a:spcPts val="0"/>
              </a:spcBef>
              <a:defRPr sz="1800" b="0" i="0">
                <a:solidFill>
                  <a:schemeClr val="tx1"/>
                </a:solidFill>
                <a:latin typeface="IBM Plex Sans Light" panose="020B0403050203000203" pitchFamily="34" charset="0"/>
              </a:defRPr>
            </a:lvl1pPr>
            <a:lvl2pPr defTabSz="580187">
              <a:lnSpc>
                <a:spcPct val="100000"/>
              </a:lnSpc>
              <a:spcBef>
                <a:spcPts val="0"/>
              </a:spcBef>
              <a:defRPr sz="1800" b="0" i="0">
                <a:solidFill>
                  <a:schemeClr val="tx1"/>
                </a:solidFill>
                <a:latin typeface="IBM Plex Sans Light" panose="020B0403050203000203" pitchFamily="34" charset="0"/>
              </a:defRPr>
            </a:lvl2pPr>
            <a:lvl3pPr defTabSz="580187">
              <a:lnSpc>
                <a:spcPct val="100000"/>
              </a:lnSpc>
              <a:spcBef>
                <a:spcPts val="0"/>
              </a:spcBef>
              <a:defRPr sz="1800" b="0" i="0">
                <a:solidFill>
                  <a:schemeClr val="tx1"/>
                </a:solidFill>
                <a:latin typeface="IBM Plex Sans Light" panose="020B0403050203000203" pitchFamily="34" charset="0"/>
              </a:defRPr>
            </a:lvl3pPr>
            <a:lvl4pPr defTabSz="580187">
              <a:lnSpc>
                <a:spcPct val="100000"/>
              </a:lnSpc>
              <a:spcBef>
                <a:spcPts val="0"/>
              </a:spcBef>
              <a:defRPr sz="1800" b="0" i="0">
                <a:solidFill>
                  <a:schemeClr val="tx1"/>
                </a:solidFill>
                <a:latin typeface="IBM Plex Sans Light" panose="020B0403050203000203" pitchFamily="34" charset="0"/>
              </a:defRPr>
            </a:lvl4pPr>
            <a:lvl5pPr defTabSz="580187">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6">
            <a:extLst>
              <a:ext uri="{FF2B5EF4-FFF2-40B4-BE49-F238E27FC236}">
                <a16:creationId xmlns:a16="http://schemas.microsoft.com/office/drawing/2014/main" id="{F9AB4B51-7CBC-4B83-F837-82517C33FEBA}"/>
              </a:ext>
            </a:extLst>
          </p:cNvPr>
          <p:cNvSpPr>
            <a:spLocks noGrp="1"/>
          </p:cNvSpPr>
          <p:nvPr>
            <p:ph type="body" sz="quarter" idx="25"/>
          </p:nvPr>
        </p:nvSpPr>
        <p:spPr>
          <a:xfrm>
            <a:off x="9398653" y="3333751"/>
            <a:ext cx="2481639" cy="2476500"/>
          </a:xfrm>
          <a:prstGeom prst="rect">
            <a:avLst/>
          </a:prstGeom>
        </p:spPr>
        <p:txBody>
          <a:bodyPr/>
          <a:lstStyle>
            <a:lvl1pPr defTabSz="580187">
              <a:lnSpc>
                <a:spcPct val="100000"/>
              </a:lnSpc>
              <a:spcBef>
                <a:spcPts val="0"/>
              </a:spcBef>
              <a:defRPr sz="1800" b="0" i="0">
                <a:solidFill>
                  <a:schemeClr val="tx1"/>
                </a:solidFill>
                <a:latin typeface="IBM Plex Sans Light" panose="020B0403050203000203" pitchFamily="34" charset="0"/>
              </a:defRPr>
            </a:lvl1pPr>
            <a:lvl2pPr defTabSz="580187">
              <a:lnSpc>
                <a:spcPct val="100000"/>
              </a:lnSpc>
              <a:spcBef>
                <a:spcPts val="0"/>
              </a:spcBef>
              <a:defRPr sz="1800" b="0" i="0">
                <a:solidFill>
                  <a:schemeClr val="tx1"/>
                </a:solidFill>
                <a:latin typeface="IBM Plex Sans Light" panose="020B0403050203000203" pitchFamily="34" charset="0"/>
              </a:defRPr>
            </a:lvl2pPr>
            <a:lvl3pPr defTabSz="580187">
              <a:lnSpc>
                <a:spcPct val="100000"/>
              </a:lnSpc>
              <a:spcBef>
                <a:spcPts val="0"/>
              </a:spcBef>
              <a:defRPr sz="1800" b="0" i="0">
                <a:solidFill>
                  <a:schemeClr val="tx1"/>
                </a:solidFill>
                <a:latin typeface="IBM Plex Sans Light" panose="020B0403050203000203" pitchFamily="34" charset="0"/>
              </a:defRPr>
            </a:lvl3pPr>
            <a:lvl4pPr defTabSz="580187">
              <a:lnSpc>
                <a:spcPct val="100000"/>
              </a:lnSpc>
              <a:spcBef>
                <a:spcPts val="0"/>
              </a:spcBef>
              <a:defRPr sz="1800" b="0" i="0">
                <a:solidFill>
                  <a:schemeClr val="tx1"/>
                </a:solidFill>
                <a:latin typeface="IBM Plex Sans Light" panose="020B0403050203000203" pitchFamily="34" charset="0"/>
              </a:defRPr>
            </a:lvl4pPr>
            <a:lvl5pPr defTabSz="580187">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ext Placeholder 6">
            <a:extLst>
              <a:ext uri="{FF2B5EF4-FFF2-40B4-BE49-F238E27FC236}">
                <a16:creationId xmlns:a16="http://schemas.microsoft.com/office/drawing/2014/main" id="{4AB00072-45AF-510F-C146-BAC3B20406FD}"/>
              </a:ext>
            </a:extLst>
          </p:cNvPr>
          <p:cNvSpPr>
            <a:spLocks noGrp="1"/>
          </p:cNvSpPr>
          <p:nvPr>
            <p:ph type="body" sz="quarter" idx="26"/>
          </p:nvPr>
        </p:nvSpPr>
        <p:spPr>
          <a:xfrm>
            <a:off x="3332557" y="288039"/>
            <a:ext cx="2481639" cy="2572543"/>
          </a:xfrm>
          <a:prstGeom prst="rect">
            <a:avLst/>
          </a:prstGeom>
        </p:spPr>
        <p:txBody>
          <a:bodyPr/>
          <a:lstStyle>
            <a:lvl1pPr defTabSz="580187">
              <a:lnSpc>
                <a:spcPct val="100000"/>
              </a:lnSpc>
              <a:spcBef>
                <a:spcPts val="0"/>
              </a:spcBef>
              <a:defRPr sz="1800" b="0" i="0">
                <a:solidFill>
                  <a:schemeClr val="tx1"/>
                </a:solidFill>
                <a:latin typeface="IBM Plex Sans Light" panose="020B0403050203000203" pitchFamily="34" charset="0"/>
              </a:defRPr>
            </a:lvl1pPr>
            <a:lvl2pPr defTabSz="580187">
              <a:lnSpc>
                <a:spcPct val="100000"/>
              </a:lnSpc>
              <a:spcBef>
                <a:spcPts val="0"/>
              </a:spcBef>
              <a:defRPr sz="1800" b="0" i="0">
                <a:solidFill>
                  <a:schemeClr val="tx1"/>
                </a:solidFill>
                <a:latin typeface="IBM Plex Sans Light" panose="020B0403050203000203" pitchFamily="34" charset="0"/>
              </a:defRPr>
            </a:lvl2pPr>
            <a:lvl3pPr defTabSz="580187">
              <a:lnSpc>
                <a:spcPct val="100000"/>
              </a:lnSpc>
              <a:spcBef>
                <a:spcPts val="0"/>
              </a:spcBef>
              <a:defRPr sz="1800" b="0" i="0">
                <a:solidFill>
                  <a:schemeClr val="tx1"/>
                </a:solidFill>
                <a:latin typeface="IBM Plex Sans Light" panose="020B0403050203000203" pitchFamily="34" charset="0"/>
              </a:defRPr>
            </a:lvl3pPr>
            <a:lvl4pPr defTabSz="580187">
              <a:lnSpc>
                <a:spcPct val="100000"/>
              </a:lnSpc>
              <a:spcBef>
                <a:spcPts val="0"/>
              </a:spcBef>
              <a:defRPr sz="1800" b="0" i="0">
                <a:solidFill>
                  <a:schemeClr val="tx1"/>
                </a:solidFill>
                <a:latin typeface="IBM Plex Sans Light" panose="020B0403050203000203" pitchFamily="34" charset="0"/>
              </a:defRPr>
            </a:lvl4pPr>
            <a:lvl5pPr defTabSz="580187">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Text Placeholder 6">
            <a:extLst>
              <a:ext uri="{FF2B5EF4-FFF2-40B4-BE49-F238E27FC236}">
                <a16:creationId xmlns:a16="http://schemas.microsoft.com/office/drawing/2014/main" id="{C4503F3E-D426-7E9E-BDBD-CDA2B731934A}"/>
              </a:ext>
            </a:extLst>
          </p:cNvPr>
          <p:cNvSpPr>
            <a:spLocks noGrp="1"/>
          </p:cNvSpPr>
          <p:nvPr>
            <p:ph type="body" sz="quarter" idx="27"/>
          </p:nvPr>
        </p:nvSpPr>
        <p:spPr>
          <a:xfrm>
            <a:off x="3332557" y="3333751"/>
            <a:ext cx="2481639" cy="2476499"/>
          </a:xfrm>
          <a:prstGeom prst="rect">
            <a:avLst/>
          </a:prstGeom>
        </p:spPr>
        <p:txBody>
          <a:bodyPr/>
          <a:lstStyle>
            <a:lvl1pPr defTabSz="580187">
              <a:lnSpc>
                <a:spcPct val="100000"/>
              </a:lnSpc>
              <a:spcBef>
                <a:spcPts val="0"/>
              </a:spcBef>
              <a:defRPr sz="1800" b="0" i="0">
                <a:solidFill>
                  <a:schemeClr val="tx1"/>
                </a:solidFill>
                <a:latin typeface="IBM Plex Sans Light" panose="020B0403050203000203" pitchFamily="34" charset="0"/>
              </a:defRPr>
            </a:lvl1pPr>
            <a:lvl2pPr defTabSz="580187">
              <a:lnSpc>
                <a:spcPct val="100000"/>
              </a:lnSpc>
              <a:spcBef>
                <a:spcPts val="0"/>
              </a:spcBef>
              <a:defRPr sz="1800" b="0" i="0">
                <a:solidFill>
                  <a:schemeClr val="tx1"/>
                </a:solidFill>
                <a:latin typeface="IBM Plex Sans Light" panose="020B0403050203000203" pitchFamily="34" charset="0"/>
              </a:defRPr>
            </a:lvl2pPr>
            <a:lvl3pPr defTabSz="580187">
              <a:lnSpc>
                <a:spcPct val="100000"/>
              </a:lnSpc>
              <a:spcBef>
                <a:spcPts val="0"/>
              </a:spcBef>
              <a:defRPr sz="1800" b="0" i="0">
                <a:solidFill>
                  <a:schemeClr val="tx1"/>
                </a:solidFill>
                <a:latin typeface="IBM Plex Sans Light" panose="020B0403050203000203" pitchFamily="34" charset="0"/>
              </a:defRPr>
            </a:lvl3pPr>
            <a:lvl4pPr defTabSz="580187">
              <a:lnSpc>
                <a:spcPct val="100000"/>
              </a:lnSpc>
              <a:spcBef>
                <a:spcPts val="0"/>
              </a:spcBef>
              <a:defRPr sz="1800" b="0" i="0">
                <a:solidFill>
                  <a:schemeClr val="tx1"/>
                </a:solidFill>
                <a:latin typeface="IBM Plex Sans Light" panose="020B0403050203000203" pitchFamily="34" charset="0"/>
              </a:defRPr>
            </a:lvl4pPr>
            <a:lvl5pPr defTabSz="580187">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683660003"/>
      </p:ext>
    </p:extLst>
  </p:cSld>
  <p:clrMapOvr>
    <a:masterClrMapping/>
  </p:clrMapOvr>
  <p:transition spd="med"/>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Blank slide, no foot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63" y="288036"/>
            <a:ext cx="2474590" cy="1234377"/>
          </a:xfrm>
        </p:spPr>
        <p:txBody>
          <a:bodyPr/>
          <a:lstStyle>
            <a:lvl1pPr>
              <a:lnSpc>
                <a:spcPct val="110000"/>
              </a:lnSpc>
              <a:defRPr sz="1400">
                <a:solidFill>
                  <a:schemeClr val="tx2"/>
                </a:solidFill>
              </a:defRPr>
            </a:lvl1pPr>
          </a:lstStyle>
          <a:p>
            <a:r>
              <a:rPr lang="en-US"/>
              <a:t>Click to edit Master title style</a:t>
            </a:r>
          </a:p>
        </p:txBody>
      </p:sp>
      <p:sp>
        <p:nvSpPr>
          <p:cNvPr id="3" name="Slide Number">
            <a:extLst>
              <a:ext uri="{FF2B5EF4-FFF2-40B4-BE49-F238E27FC236}">
                <a16:creationId xmlns:a16="http://schemas.microsoft.com/office/drawing/2014/main" id="{B0435695-E156-66C6-5CE4-B0F751F125D2}"/>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271519300"/>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63" y="192024"/>
            <a:ext cx="5517527" cy="1331913"/>
          </a:xfrm>
        </p:spPr>
        <p:txBody>
          <a:bodyPr rIns="457200"/>
          <a:lstStyle>
            <a:lvl1pPr>
              <a:lnSpc>
                <a:spcPct val="100000"/>
              </a:lnSpc>
              <a:defRPr sz="3399">
                <a:solidFill>
                  <a:schemeClr val="tx2"/>
                </a:solidFill>
              </a:defRPr>
            </a:lvl1pPr>
          </a:lstStyle>
          <a:p>
            <a:r>
              <a:rPr lang="en-US"/>
              <a:t>Click to edit Master title style</a:t>
            </a:r>
          </a:p>
        </p:txBody>
      </p:sp>
      <p:sp>
        <p:nvSpPr>
          <p:cNvPr id="3" name="Footer Placeholder 3">
            <a:extLst>
              <a:ext uri="{FF2B5EF4-FFF2-40B4-BE49-F238E27FC236}">
                <a16:creationId xmlns:a16="http://schemas.microsoft.com/office/drawing/2014/main" id="{42F412B5-726F-373A-86F7-2FBA60F14014}"/>
              </a:ext>
            </a:extLst>
          </p:cNvPr>
          <p:cNvSpPr>
            <a:spLocks noGrp="1"/>
          </p:cNvSpPr>
          <p:nvPr>
            <p:ph type="ftr" sz="quarter" idx="18"/>
          </p:nvPr>
        </p:nvSpPr>
        <p:spPr>
          <a:xfrm>
            <a:off x="287963" y="6408000"/>
            <a:ext cx="2477765" cy="190500"/>
          </a:xfrm>
        </p:spPr>
        <p:txBody>
          <a:bodyPr/>
          <a:lstStyle/>
          <a:p>
            <a:endParaRPr lang="en-US"/>
          </a:p>
        </p:txBody>
      </p:sp>
      <p:sp>
        <p:nvSpPr>
          <p:cNvPr id="6" name="Slide Number">
            <a:extLst>
              <a:ext uri="{FF2B5EF4-FFF2-40B4-BE49-F238E27FC236}">
                <a16:creationId xmlns:a16="http://schemas.microsoft.com/office/drawing/2014/main" id="{6E2B1415-A9D9-645B-4DF0-7D16976DF727}"/>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503114670"/>
      </p:ext>
    </p:extLst>
  </p:cSld>
  <p:clrMapOvr>
    <a:masterClrMapping/>
  </p:clrMapOvr>
  <p:transition spd="med"/>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descr="IBM 8-bar logo">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5232004" y="3084230"/>
            <a:ext cx="1727991" cy="689541"/>
          </a:xfrm>
          <a:prstGeom prst="rect">
            <a:avLst/>
          </a:prstGeom>
        </p:spPr>
      </p:pic>
    </p:spTree>
    <p:extLst>
      <p:ext uri="{BB962C8B-B14F-4D97-AF65-F5344CB8AC3E}">
        <p14:creationId xmlns:p14="http://schemas.microsoft.com/office/powerpoint/2010/main" val="3978146053"/>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8" name="Text Placeholder 5">
            <a:extLst>
              <a:ext uri="{FF2B5EF4-FFF2-40B4-BE49-F238E27FC236}">
                <a16:creationId xmlns:a16="http://schemas.microsoft.com/office/drawing/2014/main" id="{03F79CF1-BB23-64AA-9C92-5A1EAE747F93}"/>
              </a:ext>
            </a:extLst>
          </p:cNvPr>
          <p:cNvSpPr>
            <a:spLocks noGrp="1"/>
          </p:cNvSpPr>
          <p:nvPr>
            <p:ph type="body" sz="quarter" idx="13" hasCustomPrompt="1"/>
          </p:nvPr>
        </p:nvSpPr>
        <p:spPr>
          <a:xfrm>
            <a:off x="262697" y="3429000"/>
            <a:ext cx="5050131" cy="1451113"/>
          </a:xfrm>
        </p:spPr>
        <p:txBody>
          <a:bodyPr/>
          <a:lstStyle>
            <a:lvl1pPr>
              <a:defRPr/>
            </a:lvl1pPr>
          </a:lstStyle>
          <a:p>
            <a:r>
              <a:rPr lang="en-US"/>
              <a:t>Session code (ID number)</a:t>
            </a:r>
            <a:br>
              <a:rPr lang="en-US"/>
            </a:br>
            <a:r>
              <a:rPr lang="en-US"/>
              <a:t>Session Title</a:t>
            </a:r>
            <a:br>
              <a:rPr lang="en-US"/>
            </a:br>
            <a:r>
              <a:rPr lang="en-US" err="1"/>
              <a:t>Firstname</a:t>
            </a:r>
            <a:r>
              <a:rPr lang="en-US"/>
              <a:t> </a:t>
            </a:r>
            <a:r>
              <a:rPr lang="en-US" err="1"/>
              <a:t>Lastname</a:t>
            </a:r>
            <a:br>
              <a:rPr lang="en-US"/>
            </a:br>
            <a:r>
              <a:rPr lang="en-US"/>
              <a:t>Company, Job Title</a:t>
            </a:r>
          </a:p>
        </p:txBody>
      </p:sp>
      <p:sp>
        <p:nvSpPr>
          <p:cNvPr id="10" name="Title 1">
            <a:extLst>
              <a:ext uri="{FF2B5EF4-FFF2-40B4-BE49-F238E27FC236}">
                <a16:creationId xmlns:a16="http://schemas.microsoft.com/office/drawing/2014/main" id="{C20F0B5B-6B52-3139-61A7-7B7287D7127D}"/>
              </a:ext>
            </a:extLst>
          </p:cNvPr>
          <p:cNvSpPr>
            <a:spLocks noGrp="1"/>
          </p:cNvSpPr>
          <p:nvPr>
            <p:ph type="title"/>
          </p:nvPr>
        </p:nvSpPr>
        <p:spPr>
          <a:xfrm>
            <a:off x="262950" y="1093032"/>
            <a:ext cx="5049878" cy="2070856"/>
          </a:xfrm>
        </p:spPr>
        <p:txBody>
          <a:bodyPr/>
          <a:lstStyle>
            <a:lvl1pPr>
              <a:lnSpc>
                <a:spcPct val="100000"/>
              </a:lnSpc>
              <a:defRPr sz="3199">
                <a:solidFill>
                  <a:schemeClr val="tx2"/>
                </a:solidFill>
              </a:defRPr>
            </a:lvl1pPr>
          </a:lstStyle>
          <a:p>
            <a:r>
              <a:rPr lang="en-US"/>
              <a:t>Click to edit Master title style</a:t>
            </a:r>
          </a:p>
        </p:txBody>
      </p:sp>
      <p:grpSp>
        <p:nvGrpSpPr>
          <p:cNvPr id="26" name="Graphic 5">
            <a:extLst>
              <a:ext uri="{FF2B5EF4-FFF2-40B4-BE49-F238E27FC236}">
                <a16:creationId xmlns:a16="http://schemas.microsoft.com/office/drawing/2014/main" id="{F1A637DE-FA28-1BBA-ED19-561BF47FC9AA}"/>
              </a:ext>
            </a:extLst>
          </p:cNvPr>
          <p:cNvGrpSpPr/>
          <p:nvPr userDrawn="1"/>
        </p:nvGrpSpPr>
        <p:grpSpPr>
          <a:xfrm>
            <a:off x="299134" y="288036"/>
            <a:ext cx="1878950" cy="218297"/>
            <a:chOff x="6597650" y="8572457"/>
            <a:chExt cx="11188016" cy="1299659"/>
          </a:xfrm>
          <a:solidFill>
            <a:srgbClr val="000000"/>
          </a:solidFill>
        </p:grpSpPr>
        <p:sp>
          <p:nvSpPr>
            <p:cNvPr id="27" name="Freeform: Shape 26">
              <a:extLst>
                <a:ext uri="{FF2B5EF4-FFF2-40B4-BE49-F238E27FC236}">
                  <a16:creationId xmlns:a16="http://schemas.microsoft.com/office/drawing/2014/main" id="{F5985145-6140-8167-8472-4F70B1B08F56}"/>
                </a:ext>
              </a:extLst>
            </p:cNvPr>
            <p:cNvSpPr/>
            <p:nvPr/>
          </p:nvSpPr>
          <p:spPr>
            <a:xfrm>
              <a:off x="11603037" y="8572457"/>
              <a:ext cx="633888" cy="1010097"/>
            </a:xfrm>
            <a:custGeom>
              <a:avLst/>
              <a:gdLst>
                <a:gd name="connsiteX0" fmla="*/ 95 w 633888"/>
                <a:gd name="connsiteY0" fmla="*/ 42 h 1010097"/>
                <a:gd name="connsiteX1" fmla="*/ 202502 w 633888"/>
                <a:gd name="connsiteY1" fmla="*/ 42 h 1010097"/>
                <a:gd name="connsiteX2" fmla="*/ 204216 w 633888"/>
                <a:gd name="connsiteY2" fmla="*/ 419904 h 1010097"/>
                <a:gd name="connsiteX3" fmla="*/ 276320 w 633888"/>
                <a:gd name="connsiteY3" fmla="*/ 318463 h 1010097"/>
                <a:gd name="connsiteX4" fmla="*/ 591884 w 633888"/>
                <a:gd name="connsiteY4" fmla="*/ 373899 h 1010097"/>
                <a:gd name="connsiteX5" fmla="*/ 633793 w 633888"/>
                <a:gd name="connsiteY5" fmla="*/ 562303 h 1010097"/>
                <a:gd name="connsiteX6" fmla="*/ 633889 w 633888"/>
                <a:gd name="connsiteY6" fmla="*/ 1010073 h 1010097"/>
                <a:gd name="connsiteX7" fmla="*/ 431482 w 633888"/>
                <a:gd name="connsiteY7" fmla="*/ 1010073 h 1010097"/>
                <a:gd name="connsiteX8" fmla="*/ 431102 w 633888"/>
                <a:gd name="connsiteY8" fmla="*/ 561827 h 1010097"/>
                <a:gd name="connsiteX9" fmla="*/ 376333 w 633888"/>
                <a:gd name="connsiteY9" fmla="*/ 448765 h 1010097"/>
                <a:gd name="connsiteX10" fmla="*/ 203454 w 633888"/>
                <a:gd name="connsiteY10" fmla="*/ 533538 h 1010097"/>
                <a:gd name="connsiteX11" fmla="*/ 202502 w 633888"/>
                <a:gd name="connsiteY11" fmla="*/ 1010073 h 1010097"/>
                <a:gd name="connsiteX12" fmla="*/ 0 w 633888"/>
                <a:gd name="connsiteY12" fmla="*/ 1009978 h 1010097"/>
                <a:gd name="connsiteX13" fmla="*/ 95 w 633888"/>
                <a:gd name="connsiteY13" fmla="*/ 42 h 101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3888" h="1010097">
                  <a:moveTo>
                    <a:pt x="95" y="42"/>
                  </a:moveTo>
                  <a:cubicBezTo>
                    <a:pt x="67533" y="-53"/>
                    <a:pt x="134969" y="42"/>
                    <a:pt x="202502" y="42"/>
                  </a:cubicBezTo>
                  <a:cubicBezTo>
                    <a:pt x="203549" y="139965"/>
                    <a:pt x="200311" y="280077"/>
                    <a:pt x="204216" y="419904"/>
                  </a:cubicBezTo>
                  <a:cubicBezTo>
                    <a:pt x="224504" y="383709"/>
                    <a:pt x="241364" y="343419"/>
                    <a:pt x="276320" y="318463"/>
                  </a:cubicBezTo>
                  <a:cubicBezTo>
                    <a:pt x="371284" y="247692"/>
                    <a:pt x="531781" y="265695"/>
                    <a:pt x="591884" y="373899"/>
                  </a:cubicBezTo>
                  <a:cubicBezTo>
                    <a:pt x="624840" y="430668"/>
                    <a:pt x="633413" y="497724"/>
                    <a:pt x="633793" y="562303"/>
                  </a:cubicBezTo>
                  <a:cubicBezTo>
                    <a:pt x="633984" y="711560"/>
                    <a:pt x="633793" y="860817"/>
                    <a:pt x="633889" y="1010073"/>
                  </a:cubicBezTo>
                  <a:lnTo>
                    <a:pt x="431482" y="1010073"/>
                  </a:lnTo>
                  <a:cubicBezTo>
                    <a:pt x="431197" y="860626"/>
                    <a:pt x="432054" y="711179"/>
                    <a:pt x="431102" y="561827"/>
                  </a:cubicBezTo>
                  <a:cubicBezTo>
                    <a:pt x="429959" y="519441"/>
                    <a:pt x="420624" y="466386"/>
                    <a:pt x="376333" y="448765"/>
                  </a:cubicBezTo>
                  <a:cubicBezTo>
                    <a:pt x="310801" y="425334"/>
                    <a:pt x="211836" y="455052"/>
                    <a:pt x="203454" y="533538"/>
                  </a:cubicBezTo>
                  <a:cubicBezTo>
                    <a:pt x="201168" y="692319"/>
                    <a:pt x="203168" y="851196"/>
                    <a:pt x="202502" y="1010073"/>
                  </a:cubicBezTo>
                  <a:cubicBezTo>
                    <a:pt x="134969" y="1010073"/>
                    <a:pt x="67533" y="1010169"/>
                    <a:pt x="0" y="1009978"/>
                  </a:cubicBezTo>
                  <a:cubicBezTo>
                    <a:pt x="191" y="673365"/>
                    <a:pt x="95" y="336656"/>
                    <a:pt x="95" y="42"/>
                  </a:cubicBezTo>
                  <a:close/>
                </a:path>
              </a:pathLst>
            </a:custGeom>
            <a:solidFill>
              <a:srgbClr val="000000"/>
            </a:solidFill>
            <a:ln w="9525" cap="flat">
              <a:noFill/>
              <a:prstDash val="solid"/>
              <a:miter/>
            </a:ln>
          </p:spPr>
          <p:txBody>
            <a:bodyPr rtlCol="0" anchor="ctr"/>
            <a:lstStyle/>
            <a:p>
              <a:endParaRPr lang="en-US" sz="900"/>
            </a:p>
          </p:txBody>
        </p:sp>
        <p:sp>
          <p:nvSpPr>
            <p:cNvPr id="28" name="Freeform: Shape 27">
              <a:extLst>
                <a:ext uri="{FF2B5EF4-FFF2-40B4-BE49-F238E27FC236}">
                  <a16:creationId xmlns:a16="http://schemas.microsoft.com/office/drawing/2014/main" id="{7D933579-F84C-4074-BCE8-A5F3C6A8C115}"/>
                </a:ext>
              </a:extLst>
            </p:cNvPr>
            <p:cNvSpPr/>
            <p:nvPr/>
          </p:nvSpPr>
          <p:spPr>
            <a:xfrm>
              <a:off x="14012576" y="8572457"/>
              <a:ext cx="634202" cy="1010164"/>
            </a:xfrm>
            <a:custGeom>
              <a:avLst/>
              <a:gdLst>
                <a:gd name="connsiteX0" fmla="*/ 381 w 634202"/>
                <a:gd name="connsiteY0" fmla="*/ 42 h 1010164"/>
                <a:gd name="connsiteX1" fmla="*/ 202788 w 634202"/>
                <a:gd name="connsiteY1" fmla="*/ 42 h 1010164"/>
                <a:gd name="connsiteX2" fmla="*/ 204502 w 634202"/>
                <a:gd name="connsiteY2" fmla="*/ 419904 h 1010164"/>
                <a:gd name="connsiteX3" fmla="*/ 271558 w 634202"/>
                <a:gd name="connsiteY3" fmla="*/ 322559 h 1010164"/>
                <a:gd name="connsiteX4" fmla="*/ 596265 w 634202"/>
                <a:gd name="connsiteY4" fmla="*/ 381233 h 1010164"/>
                <a:gd name="connsiteX5" fmla="*/ 634175 w 634202"/>
                <a:gd name="connsiteY5" fmla="*/ 562303 h 1010164"/>
                <a:gd name="connsiteX6" fmla="*/ 634175 w 634202"/>
                <a:gd name="connsiteY6" fmla="*/ 1010073 h 1010164"/>
                <a:gd name="connsiteX7" fmla="*/ 431768 w 634202"/>
                <a:gd name="connsiteY7" fmla="*/ 1010073 h 1010164"/>
                <a:gd name="connsiteX8" fmla="*/ 431388 w 634202"/>
                <a:gd name="connsiteY8" fmla="*/ 562303 h 1010164"/>
                <a:gd name="connsiteX9" fmla="*/ 376333 w 634202"/>
                <a:gd name="connsiteY9" fmla="*/ 448575 h 1010164"/>
                <a:gd name="connsiteX10" fmla="*/ 203835 w 634202"/>
                <a:gd name="connsiteY10" fmla="*/ 533347 h 1010164"/>
                <a:gd name="connsiteX11" fmla="*/ 202788 w 634202"/>
                <a:gd name="connsiteY11" fmla="*/ 1010073 h 1010164"/>
                <a:gd name="connsiteX12" fmla="*/ 0 w 634202"/>
                <a:gd name="connsiteY12" fmla="*/ 1009597 h 1010164"/>
                <a:gd name="connsiteX13" fmla="*/ 381 w 634202"/>
                <a:gd name="connsiteY13" fmla="*/ 42 h 1010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4202" h="1010164">
                  <a:moveTo>
                    <a:pt x="381" y="42"/>
                  </a:moveTo>
                  <a:cubicBezTo>
                    <a:pt x="67819" y="-53"/>
                    <a:pt x="135255" y="42"/>
                    <a:pt x="202788" y="42"/>
                  </a:cubicBezTo>
                  <a:cubicBezTo>
                    <a:pt x="203835" y="139965"/>
                    <a:pt x="200597" y="280077"/>
                    <a:pt x="204502" y="419904"/>
                  </a:cubicBezTo>
                  <a:cubicBezTo>
                    <a:pt x="223933" y="385710"/>
                    <a:pt x="239363" y="347419"/>
                    <a:pt x="271558" y="322559"/>
                  </a:cubicBezTo>
                  <a:cubicBezTo>
                    <a:pt x="367856" y="244644"/>
                    <a:pt x="538544" y="265314"/>
                    <a:pt x="596265" y="381233"/>
                  </a:cubicBezTo>
                  <a:cubicBezTo>
                    <a:pt x="625888" y="436573"/>
                    <a:pt x="633794" y="500391"/>
                    <a:pt x="634175" y="562303"/>
                  </a:cubicBezTo>
                  <a:cubicBezTo>
                    <a:pt x="634270" y="711560"/>
                    <a:pt x="634079" y="860817"/>
                    <a:pt x="634175" y="1010073"/>
                  </a:cubicBezTo>
                  <a:lnTo>
                    <a:pt x="431768" y="1010073"/>
                  </a:lnTo>
                  <a:cubicBezTo>
                    <a:pt x="431483" y="860817"/>
                    <a:pt x="432245" y="711560"/>
                    <a:pt x="431388" y="562303"/>
                  </a:cubicBezTo>
                  <a:cubicBezTo>
                    <a:pt x="430340" y="519822"/>
                    <a:pt x="421005" y="466101"/>
                    <a:pt x="376333" y="448575"/>
                  </a:cubicBezTo>
                  <a:cubicBezTo>
                    <a:pt x="310801" y="425524"/>
                    <a:pt x="212408" y="455147"/>
                    <a:pt x="203835" y="533347"/>
                  </a:cubicBezTo>
                  <a:cubicBezTo>
                    <a:pt x="201359" y="692129"/>
                    <a:pt x="203454" y="851101"/>
                    <a:pt x="202788" y="1010073"/>
                  </a:cubicBezTo>
                  <a:cubicBezTo>
                    <a:pt x="135160" y="1009883"/>
                    <a:pt x="67533" y="1010645"/>
                    <a:pt x="0" y="1009597"/>
                  </a:cubicBezTo>
                  <a:cubicBezTo>
                    <a:pt x="858" y="673079"/>
                    <a:pt x="95" y="336561"/>
                    <a:pt x="381" y="42"/>
                  </a:cubicBezTo>
                  <a:close/>
                </a:path>
              </a:pathLst>
            </a:custGeom>
            <a:solidFill>
              <a:srgbClr val="000000"/>
            </a:solidFill>
            <a:ln w="9525" cap="flat">
              <a:noFill/>
              <a:prstDash val="solid"/>
              <a:miter/>
            </a:ln>
          </p:spPr>
          <p:txBody>
            <a:bodyPr rtlCol="0" anchor="ctr"/>
            <a:lstStyle/>
            <a:p>
              <a:endParaRPr lang="en-US" sz="900"/>
            </a:p>
          </p:txBody>
        </p:sp>
        <p:sp>
          <p:nvSpPr>
            <p:cNvPr id="29" name="Freeform: Shape 28">
              <a:extLst>
                <a:ext uri="{FF2B5EF4-FFF2-40B4-BE49-F238E27FC236}">
                  <a16:creationId xmlns:a16="http://schemas.microsoft.com/office/drawing/2014/main" id="{EB61EFE4-D8E6-B1E2-379D-12B26CE8F152}"/>
                </a:ext>
              </a:extLst>
            </p:cNvPr>
            <p:cNvSpPr/>
            <p:nvPr/>
          </p:nvSpPr>
          <p:spPr>
            <a:xfrm>
              <a:off x="6597650" y="8630030"/>
              <a:ext cx="382566" cy="952500"/>
            </a:xfrm>
            <a:custGeom>
              <a:avLst/>
              <a:gdLst>
                <a:gd name="connsiteX0" fmla="*/ 0 w 382566"/>
                <a:gd name="connsiteY0" fmla="*/ 0 h 952500"/>
                <a:gd name="connsiteX1" fmla="*/ 382524 w 382566"/>
                <a:gd name="connsiteY1" fmla="*/ 0 h 952500"/>
                <a:gd name="connsiteX2" fmla="*/ 382524 w 382566"/>
                <a:gd name="connsiteY2" fmla="*/ 95631 h 952500"/>
                <a:gd name="connsiteX3" fmla="*/ 248793 w 382566"/>
                <a:gd name="connsiteY3" fmla="*/ 95631 h 952500"/>
                <a:gd name="connsiteX4" fmla="*/ 248793 w 382566"/>
                <a:gd name="connsiteY4" fmla="*/ 856869 h 952500"/>
                <a:gd name="connsiteX5" fmla="*/ 382524 w 382566"/>
                <a:gd name="connsiteY5" fmla="*/ 856869 h 952500"/>
                <a:gd name="connsiteX6" fmla="*/ 382524 w 382566"/>
                <a:gd name="connsiteY6" fmla="*/ 952500 h 952500"/>
                <a:gd name="connsiteX7" fmla="*/ 0 w 382566"/>
                <a:gd name="connsiteY7" fmla="*/ 952500 h 952500"/>
                <a:gd name="connsiteX8" fmla="*/ 0 w 382566"/>
                <a:gd name="connsiteY8" fmla="*/ 856869 h 952500"/>
                <a:gd name="connsiteX9" fmla="*/ 133731 w 382566"/>
                <a:gd name="connsiteY9" fmla="*/ 856869 h 952500"/>
                <a:gd name="connsiteX10" fmla="*/ 133731 w 382566"/>
                <a:gd name="connsiteY10" fmla="*/ 95631 h 952500"/>
                <a:gd name="connsiteX11" fmla="*/ 0 w 382566"/>
                <a:gd name="connsiteY11" fmla="*/ 95631 h 952500"/>
                <a:gd name="connsiteX12" fmla="*/ 0 w 382566"/>
                <a:gd name="connsiteY12" fmla="*/ 0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2566" h="952500">
                  <a:moveTo>
                    <a:pt x="0" y="0"/>
                  </a:moveTo>
                  <a:lnTo>
                    <a:pt x="382524" y="0"/>
                  </a:lnTo>
                  <a:lnTo>
                    <a:pt x="382524" y="95631"/>
                  </a:lnTo>
                  <a:lnTo>
                    <a:pt x="248793" y="95631"/>
                  </a:lnTo>
                  <a:lnTo>
                    <a:pt x="248793" y="856869"/>
                  </a:lnTo>
                  <a:cubicBezTo>
                    <a:pt x="293370" y="856869"/>
                    <a:pt x="337947" y="856869"/>
                    <a:pt x="382524" y="856869"/>
                  </a:cubicBezTo>
                  <a:cubicBezTo>
                    <a:pt x="382524" y="888682"/>
                    <a:pt x="382619" y="920591"/>
                    <a:pt x="382524" y="952500"/>
                  </a:cubicBezTo>
                  <a:lnTo>
                    <a:pt x="0" y="952500"/>
                  </a:lnTo>
                  <a:cubicBezTo>
                    <a:pt x="0" y="920591"/>
                    <a:pt x="0" y="888682"/>
                    <a:pt x="0" y="856869"/>
                  </a:cubicBezTo>
                  <a:cubicBezTo>
                    <a:pt x="44577" y="856869"/>
                    <a:pt x="89154" y="856869"/>
                    <a:pt x="133731" y="856869"/>
                  </a:cubicBezTo>
                  <a:lnTo>
                    <a:pt x="133731" y="95631"/>
                  </a:lnTo>
                  <a:lnTo>
                    <a:pt x="0" y="95631"/>
                  </a:lnTo>
                  <a:cubicBezTo>
                    <a:pt x="0" y="63722"/>
                    <a:pt x="0" y="31909"/>
                    <a:pt x="0" y="0"/>
                  </a:cubicBezTo>
                  <a:close/>
                </a:path>
              </a:pathLst>
            </a:custGeom>
            <a:solidFill>
              <a:srgbClr val="000000"/>
            </a:solidFill>
            <a:ln w="9525" cap="flat">
              <a:noFill/>
              <a:prstDash val="solid"/>
              <a:miter/>
            </a:ln>
          </p:spPr>
          <p:txBody>
            <a:bodyPr rtlCol="0" anchor="ctr"/>
            <a:lstStyle/>
            <a:p>
              <a:endParaRPr lang="en-US" sz="900"/>
            </a:p>
          </p:txBody>
        </p:sp>
        <p:sp>
          <p:nvSpPr>
            <p:cNvPr id="30" name="Freeform: Shape 29">
              <a:extLst>
                <a:ext uri="{FF2B5EF4-FFF2-40B4-BE49-F238E27FC236}">
                  <a16:creationId xmlns:a16="http://schemas.microsoft.com/office/drawing/2014/main" id="{EB4E91B9-0A97-3141-A66A-E824B4E354B8}"/>
                </a:ext>
              </a:extLst>
            </p:cNvPr>
            <p:cNvSpPr/>
            <p:nvPr/>
          </p:nvSpPr>
          <p:spPr>
            <a:xfrm>
              <a:off x="7188676" y="8629948"/>
              <a:ext cx="678881" cy="952722"/>
            </a:xfrm>
            <a:custGeom>
              <a:avLst/>
              <a:gdLst>
                <a:gd name="connsiteX0" fmla="*/ 0 w 678881"/>
                <a:gd name="connsiteY0" fmla="*/ 83 h 952722"/>
                <a:gd name="connsiteX1" fmla="*/ 409956 w 678881"/>
                <a:gd name="connsiteY1" fmla="*/ 464 h 952722"/>
                <a:gd name="connsiteX2" fmla="*/ 622554 w 678881"/>
                <a:gd name="connsiteY2" fmla="*/ 130575 h 952722"/>
                <a:gd name="connsiteX3" fmla="*/ 607886 w 678881"/>
                <a:gd name="connsiteY3" fmla="*/ 378130 h 952722"/>
                <a:gd name="connsiteX4" fmla="*/ 486347 w 678881"/>
                <a:gd name="connsiteY4" fmla="*/ 452711 h 952722"/>
                <a:gd name="connsiteX5" fmla="*/ 662940 w 678881"/>
                <a:gd name="connsiteY5" fmla="*/ 585394 h 952722"/>
                <a:gd name="connsiteX6" fmla="*/ 543878 w 678881"/>
                <a:gd name="connsiteY6" fmla="*/ 925246 h 952722"/>
                <a:gd name="connsiteX7" fmla="*/ 428530 w 678881"/>
                <a:gd name="connsiteY7" fmla="*/ 952678 h 952722"/>
                <a:gd name="connsiteX8" fmla="*/ 0 w 678881"/>
                <a:gd name="connsiteY8" fmla="*/ 952583 h 952722"/>
                <a:gd name="connsiteX9" fmla="*/ 0 w 678881"/>
                <a:gd name="connsiteY9" fmla="*/ 83 h 952722"/>
                <a:gd name="connsiteX10" fmla="*/ 115062 w 678881"/>
                <a:gd name="connsiteY10" fmla="*/ 101238 h 952722"/>
                <a:gd name="connsiteX11" fmla="*/ 115062 w 678881"/>
                <a:gd name="connsiteY11" fmla="*/ 412039 h 952722"/>
                <a:gd name="connsiteX12" fmla="*/ 400050 w 678881"/>
                <a:gd name="connsiteY12" fmla="*/ 410896 h 952722"/>
                <a:gd name="connsiteX13" fmla="*/ 519398 w 678881"/>
                <a:gd name="connsiteY13" fmla="*/ 313646 h 952722"/>
                <a:gd name="connsiteX14" fmla="*/ 513969 w 678881"/>
                <a:gd name="connsiteY14" fmla="*/ 180391 h 952722"/>
                <a:gd name="connsiteX15" fmla="*/ 389858 w 678881"/>
                <a:gd name="connsiteY15" fmla="*/ 101715 h 952722"/>
                <a:gd name="connsiteX16" fmla="*/ 115062 w 678881"/>
                <a:gd name="connsiteY16" fmla="*/ 101238 h 952722"/>
                <a:gd name="connsiteX17" fmla="*/ 115062 w 678881"/>
                <a:gd name="connsiteY17" fmla="*/ 510432 h 952722"/>
                <a:gd name="connsiteX18" fmla="*/ 115062 w 678881"/>
                <a:gd name="connsiteY18" fmla="*/ 851427 h 952722"/>
                <a:gd name="connsiteX19" fmla="*/ 400526 w 678881"/>
                <a:gd name="connsiteY19" fmla="*/ 851332 h 952722"/>
                <a:gd name="connsiteX20" fmla="*/ 520637 w 678881"/>
                <a:gd name="connsiteY20" fmla="*/ 805993 h 952722"/>
                <a:gd name="connsiteX21" fmla="*/ 555498 w 678881"/>
                <a:gd name="connsiteY21" fmla="*/ 705314 h 952722"/>
                <a:gd name="connsiteX22" fmla="*/ 529304 w 678881"/>
                <a:gd name="connsiteY22" fmla="*/ 566535 h 952722"/>
                <a:gd name="connsiteX23" fmla="*/ 400241 w 678881"/>
                <a:gd name="connsiteY23" fmla="*/ 510623 h 952722"/>
                <a:gd name="connsiteX24" fmla="*/ 115062 w 678881"/>
                <a:gd name="connsiteY24" fmla="*/ 510432 h 952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8881" h="952722">
                  <a:moveTo>
                    <a:pt x="0" y="83"/>
                  </a:moveTo>
                  <a:cubicBezTo>
                    <a:pt x="136684" y="369"/>
                    <a:pt x="273272" y="-489"/>
                    <a:pt x="409956" y="464"/>
                  </a:cubicBezTo>
                  <a:cubicBezTo>
                    <a:pt x="497015" y="1893"/>
                    <a:pt x="586931" y="48279"/>
                    <a:pt x="622554" y="130575"/>
                  </a:cubicBezTo>
                  <a:cubicBezTo>
                    <a:pt x="655701" y="208490"/>
                    <a:pt x="657416" y="306693"/>
                    <a:pt x="607886" y="378130"/>
                  </a:cubicBezTo>
                  <a:cubicBezTo>
                    <a:pt x="580073" y="419850"/>
                    <a:pt x="532067" y="438328"/>
                    <a:pt x="486347" y="452711"/>
                  </a:cubicBezTo>
                  <a:cubicBezTo>
                    <a:pt x="563213" y="461950"/>
                    <a:pt x="636365" y="510909"/>
                    <a:pt x="662940" y="585394"/>
                  </a:cubicBezTo>
                  <a:cubicBezTo>
                    <a:pt x="705898" y="706743"/>
                    <a:pt x="660654" y="862191"/>
                    <a:pt x="543878" y="925246"/>
                  </a:cubicBezTo>
                  <a:cubicBezTo>
                    <a:pt x="508730" y="944391"/>
                    <a:pt x="468440" y="953440"/>
                    <a:pt x="428530" y="952678"/>
                  </a:cubicBezTo>
                  <a:cubicBezTo>
                    <a:pt x="285655" y="952488"/>
                    <a:pt x="142875" y="952583"/>
                    <a:pt x="0" y="952583"/>
                  </a:cubicBezTo>
                  <a:lnTo>
                    <a:pt x="0" y="83"/>
                  </a:lnTo>
                  <a:moveTo>
                    <a:pt x="115062" y="101238"/>
                  </a:moveTo>
                  <a:lnTo>
                    <a:pt x="115062" y="412039"/>
                  </a:lnTo>
                  <a:cubicBezTo>
                    <a:pt x="210026" y="411277"/>
                    <a:pt x="305086" y="413658"/>
                    <a:pt x="400050" y="410896"/>
                  </a:cubicBezTo>
                  <a:cubicBezTo>
                    <a:pt x="455486" y="408896"/>
                    <a:pt x="510540" y="370605"/>
                    <a:pt x="519398" y="313646"/>
                  </a:cubicBezTo>
                  <a:cubicBezTo>
                    <a:pt x="523875" y="269640"/>
                    <a:pt x="527495" y="223158"/>
                    <a:pt x="513969" y="180391"/>
                  </a:cubicBezTo>
                  <a:cubicBezTo>
                    <a:pt x="496919" y="128956"/>
                    <a:pt x="441293" y="102000"/>
                    <a:pt x="389858" y="101715"/>
                  </a:cubicBezTo>
                  <a:cubicBezTo>
                    <a:pt x="298228" y="100572"/>
                    <a:pt x="206693" y="101715"/>
                    <a:pt x="115062" y="101238"/>
                  </a:cubicBezTo>
                  <a:moveTo>
                    <a:pt x="115062" y="510432"/>
                  </a:moveTo>
                  <a:lnTo>
                    <a:pt x="115062" y="851427"/>
                  </a:lnTo>
                  <a:cubicBezTo>
                    <a:pt x="210217" y="851332"/>
                    <a:pt x="305372" y="851523"/>
                    <a:pt x="400526" y="851332"/>
                  </a:cubicBezTo>
                  <a:cubicBezTo>
                    <a:pt x="443960" y="851046"/>
                    <a:pt x="490538" y="839235"/>
                    <a:pt x="520637" y="805993"/>
                  </a:cubicBezTo>
                  <a:cubicBezTo>
                    <a:pt x="545878" y="779133"/>
                    <a:pt x="555212" y="741318"/>
                    <a:pt x="555498" y="705314"/>
                  </a:cubicBezTo>
                  <a:cubicBezTo>
                    <a:pt x="556355" y="658356"/>
                    <a:pt x="558832" y="606349"/>
                    <a:pt x="529304" y="566535"/>
                  </a:cubicBezTo>
                  <a:cubicBezTo>
                    <a:pt x="500348" y="525768"/>
                    <a:pt x="448056" y="510718"/>
                    <a:pt x="400241" y="510623"/>
                  </a:cubicBezTo>
                  <a:cubicBezTo>
                    <a:pt x="305181" y="510147"/>
                    <a:pt x="210122" y="510623"/>
                    <a:pt x="115062" y="510432"/>
                  </a:cubicBezTo>
                  <a:close/>
                </a:path>
              </a:pathLst>
            </a:custGeom>
            <a:solidFill>
              <a:srgbClr val="000000"/>
            </a:solidFill>
            <a:ln w="9525" cap="flat">
              <a:noFill/>
              <a:prstDash val="solid"/>
              <a:miter/>
            </a:ln>
          </p:spPr>
          <p:txBody>
            <a:bodyPr rtlCol="0" anchor="ctr"/>
            <a:lstStyle/>
            <a:p>
              <a:endParaRPr lang="en-US" sz="900"/>
            </a:p>
          </p:txBody>
        </p:sp>
        <p:sp>
          <p:nvSpPr>
            <p:cNvPr id="31" name="Freeform: Shape 30">
              <a:extLst>
                <a:ext uri="{FF2B5EF4-FFF2-40B4-BE49-F238E27FC236}">
                  <a16:creationId xmlns:a16="http://schemas.microsoft.com/office/drawing/2014/main" id="{DAC6552B-CC29-F330-6668-3C653EA3A00C}"/>
                </a:ext>
              </a:extLst>
            </p:cNvPr>
            <p:cNvSpPr/>
            <p:nvPr/>
          </p:nvSpPr>
          <p:spPr>
            <a:xfrm>
              <a:off x="8079644" y="8629935"/>
              <a:ext cx="854868" cy="952499"/>
            </a:xfrm>
            <a:custGeom>
              <a:avLst/>
              <a:gdLst>
                <a:gd name="connsiteX0" fmla="*/ 0 w 854868"/>
                <a:gd name="connsiteY0" fmla="*/ 95 h 952499"/>
                <a:gd name="connsiteX1" fmla="*/ 153734 w 854868"/>
                <a:gd name="connsiteY1" fmla="*/ 95 h 952499"/>
                <a:gd name="connsiteX2" fmla="*/ 430530 w 854868"/>
                <a:gd name="connsiteY2" fmla="*/ 516827 h 952499"/>
                <a:gd name="connsiteX3" fmla="*/ 706946 w 854868"/>
                <a:gd name="connsiteY3" fmla="*/ 0 h 952499"/>
                <a:gd name="connsiteX4" fmla="*/ 854869 w 854868"/>
                <a:gd name="connsiteY4" fmla="*/ 0 h 952499"/>
                <a:gd name="connsiteX5" fmla="*/ 854869 w 854868"/>
                <a:gd name="connsiteY5" fmla="*/ 952500 h 952499"/>
                <a:gd name="connsiteX6" fmla="*/ 742569 w 854868"/>
                <a:gd name="connsiteY6" fmla="*/ 952500 h 952499"/>
                <a:gd name="connsiteX7" fmla="*/ 741521 w 854868"/>
                <a:gd name="connsiteY7" fmla="*/ 146780 h 952499"/>
                <a:gd name="connsiteX8" fmla="*/ 707422 w 854868"/>
                <a:gd name="connsiteY8" fmla="*/ 207074 h 952499"/>
                <a:gd name="connsiteX9" fmla="*/ 427577 w 854868"/>
                <a:gd name="connsiteY9" fmla="*/ 725138 h 952499"/>
                <a:gd name="connsiteX10" fmla="*/ 193262 w 854868"/>
                <a:gd name="connsiteY10" fmla="*/ 297752 h 952499"/>
                <a:gd name="connsiteX11" fmla="*/ 113348 w 854868"/>
                <a:gd name="connsiteY11" fmla="*/ 146209 h 952499"/>
                <a:gd name="connsiteX12" fmla="*/ 112300 w 854868"/>
                <a:gd name="connsiteY12" fmla="*/ 952500 h 952499"/>
                <a:gd name="connsiteX13" fmla="*/ 0 w 854868"/>
                <a:gd name="connsiteY13" fmla="*/ 952500 h 952499"/>
                <a:gd name="connsiteX14" fmla="*/ 0 w 854868"/>
                <a:gd name="connsiteY14" fmla="*/ 95 h 952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54868" h="952499">
                  <a:moveTo>
                    <a:pt x="0" y="95"/>
                  </a:moveTo>
                  <a:cubicBezTo>
                    <a:pt x="51245" y="95"/>
                    <a:pt x="102489" y="95"/>
                    <a:pt x="153734" y="95"/>
                  </a:cubicBezTo>
                  <a:cubicBezTo>
                    <a:pt x="246221" y="172212"/>
                    <a:pt x="335090" y="346424"/>
                    <a:pt x="430530" y="516827"/>
                  </a:cubicBezTo>
                  <a:cubicBezTo>
                    <a:pt x="522923" y="344615"/>
                    <a:pt x="614744" y="172212"/>
                    <a:pt x="706946" y="0"/>
                  </a:cubicBezTo>
                  <a:lnTo>
                    <a:pt x="854869" y="0"/>
                  </a:lnTo>
                  <a:lnTo>
                    <a:pt x="854869" y="952500"/>
                  </a:lnTo>
                  <a:lnTo>
                    <a:pt x="742569" y="952500"/>
                  </a:lnTo>
                  <a:cubicBezTo>
                    <a:pt x="741902" y="683895"/>
                    <a:pt x="743998" y="415290"/>
                    <a:pt x="741521" y="146780"/>
                  </a:cubicBezTo>
                  <a:cubicBezTo>
                    <a:pt x="726948" y="164973"/>
                    <a:pt x="717613" y="186404"/>
                    <a:pt x="707422" y="207074"/>
                  </a:cubicBezTo>
                  <a:cubicBezTo>
                    <a:pt x="619982" y="382810"/>
                    <a:pt x="520541" y="552260"/>
                    <a:pt x="427577" y="725138"/>
                  </a:cubicBezTo>
                  <a:cubicBezTo>
                    <a:pt x="349472" y="582644"/>
                    <a:pt x="270510" y="440722"/>
                    <a:pt x="193262" y="297752"/>
                  </a:cubicBezTo>
                  <a:cubicBezTo>
                    <a:pt x="165830" y="247650"/>
                    <a:pt x="145161" y="193739"/>
                    <a:pt x="113348" y="146209"/>
                  </a:cubicBezTo>
                  <a:cubicBezTo>
                    <a:pt x="110966" y="415004"/>
                    <a:pt x="112967" y="683705"/>
                    <a:pt x="112300" y="952500"/>
                  </a:cubicBezTo>
                  <a:lnTo>
                    <a:pt x="0" y="952500"/>
                  </a:lnTo>
                  <a:lnTo>
                    <a:pt x="0" y="95"/>
                  </a:lnTo>
                  <a:close/>
                </a:path>
              </a:pathLst>
            </a:custGeom>
            <a:solidFill>
              <a:srgbClr val="000000"/>
            </a:solidFill>
            <a:ln w="9525" cap="flat">
              <a:noFill/>
              <a:prstDash val="solid"/>
              <a:miter/>
            </a:ln>
          </p:spPr>
          <p:txBody>
            <a:bodyPr rtlCol="0" anchor="ctr"/>
            <a:lstStyle/>
            <a:p>
              <a:endParaRPr lang="en-US" sz="900"/>
            </a:p>
          </p:txBody>
        </p:sp>
        <p:sp>
          <p:nvSpPr>
            <p:cNvPr id="32" name="Freeform: Shape 31">
              <a:extLst>
                <a:ext uri="{FF2B5EF4-FFF2-40B4-BE49-F238E27FC236}">
                  <a16:creationId xmlns:a16="http://schemas.microsoft.com/office/drawing/2014/main" id="{19266CF2-A3CF-C8D9-7BB9-06D2E42E9729}"/>
                </a:ext>
              </a:extLst>
            </p:cNvPr>
            <p:cNvSpPr/>
            <p:nvPr/>
          </p:nvSpPr>
          <p:spPr>
            <a:xfrm>
              <a:off x="9365138" y="8630030"/>
              <a:ext cx="723900" cy="952500"/>
            </a:xfrm>
            <a:custGeom>
              <a:avLst/>
              <a:gdLst>
                <a:gd name="connsiteX0" fmla="*/ 0 w 723900"/>
                <a:gd name="connsiteY0" fmla="*/ 0 h 952500"/>
                <a:gd name="connsiteX1" fmla="*/ 723900 w 723900"/>
                <a:gd name="connsiteY1" fmla="*/ 0 h 952500"/>
                <a:gd name="connsiteX2" fmla="*/ 723900 w 723900"/>
                <a:gd name="connsiteY2" fmla="*/ 184595 h 952500"/>
                <a:gd name="connsiteX3" fmla="*/ 465963 w 723900"/>
                <a:gd name="connsiteY3" fmla="*/ 184499 h 952500"/>
                <a:gd name="connsiteX4" fmla="*/ 465963 w 723900"/>
                <a:gd name="connsiteY4" fmla="*/ 952500 h 952500"/>
                <a:gd name="connsiteX5" fmla="*/ 257937 w 723900"/>
                <a:gd name="connsiteY5" fmla="*/ 952500 h 952500"/>
                <a:gd name="connsiteX6" fmla="*/ 257937 w 723900"/>
                <a:gd name="connsiteY6" fmla="*/ 184595 h 952500"/>
                <a:gd name="connsiteX7" fmla="*/ 0 w 723900"/>
                <a:gd name="connsiteY7" fmla="*/ 184595 h 952500"/>
                <a:gd name="connsiteX8" fmla="*/ 0 w 723900"/>
                <a:gd name="connsiteY8" fmla="*/ 0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3900" h="952500">
                  <a:moveTo>
                    <a:pt x="0" y="0"/>
                  </a:moveTo>
                  <a:lnTo>
                    <a:pt x="723900" y="0"/>
                  </a:lnTo>
                  <a:lnTo>
                    <a:pt x="723900" y="184595"/>
                  </a:lnTo>
                  <a:cubicBezTo>
                    <a:pt x="637889" y="184595"/>
                    <a:pt x="551879" y="184595"/>
                    <a:pt x="465963" y="184499"/>
                  </a:cubicBezTo>
                  <a:cubicBezTo>
                    <a:pt x="465868" y="440531"/>
                    <a:pt x="465963" y="696468"/>
                    <a:pt x="465963" y="952500"/>
                  </a:cubicBezTo>
                  <a:lnTo>
                    <a:pt x="257937" y="952500"/>
                  </a:lnTo>
                  <a:lnTo>
                    <a:pt x="257937" y="184595"/>
                  </a:lnTo>
                  <a:cubicBezTo>
                    <a:pt x="172021" y="184499"/>
                    <a:pt x="86011" y="184595"/>
                    <a:pt x="0" y="184595"/>
                  </a:cubicBezTo>
                  <a:lnTo>
                    <a:pt x="0" y="0"/>
                  </a:lnTo>
                  <a:close/>
                </a:path>
              </a:pathLst>
            </a:custGeom>
            <a:solidFill>
              <a:srgbClr val="000000"/>
            </a:solidFill>
            <a:ln w="9525" cap="flat">
              <a:noFill/>
              <a:prstDash val="solid"/>
              <a:miter/>
            </a:ln>
          </p:spPr>
          <p:txBody>
            <a:bodyPr rtlCol="0" anchor="ctr"/>
            <a:lstStyle/>
            <a:p>
              <a:endParaRPr lang="en-US" sz="900"/>
            </a:p>
          </p:txBody>
        </p:sp>
        <p:sp>
          <p:nvSpPr>
            <p:cNvPr id="33" name="Freeform: Shape 32">
              <a:extLst>
                <a:ext uri="{FF2B5EF4-FFF2-40B4-BE49-F238E27FC236}">
                  <a16:creationId xmlns:a16="http://schemas.microsoft.com/office/drawing/2014/main" id="{F944B8FF-4796-89E0-ECF1-D2DAE08721F7}"/>
                </a:ext>
              </a:extLst>
            </p:cNvPr>
            <p:cNvSpPr/>
            <p:nvPr/>
          </p:nvSpPr>
          <p:spPr>
            <a:xfrm>
              <a:off x="12344082" y="8630030"/>
              <a:ext cx="875252" cy="952622"/>
            </a:xfrm>
            <a:custGeom>
              <a:avLst/>
              <a:gdLst>
                <a:gd name="connsiteX0" fmla="*/ 14954 w 875252"/>
                <a:gd name="connsiteY0" fmla="*/ 0 h 952622"/>
                <a:gd name="connsiteX1" fmla="*/ 257080 w 875252"/>
                <a:gd name="connsiteY1" fmla="*/ 0 h 952622"/>
                <a:gd name="connsiteX2" fmla="*/ 444627 w 875252"/>
                <a:gd name="connsiteY2" fmla="*/ 324612 h 952622"/>
                <a:gd name="connsiteX3" fmla="*/ 634555 w 875252"/>
                <a:gd name="connsiteY3" fmla="*/ 95 h 952622"/>
                <a:gd name="connsiteX4" fmla="*/ 858869 w 875252"/>
                <a:gd name="connsiteY4" fmla="*/ 95 h 952622"/>
                <a:gd name="connsiteX5" fmla="*/ 565499 w 875252"/>
                <a:gd name="connsiteY5" fmla="*/ 464058 h 952622"/>
                <a:gd name="connsiteX6" fmla="*/ 875252 w 875252"/>
                <a:gd name="connsiteY6" fmla="*/ 952595 h 952622"/>
                <a:gd name="connsiteX7" fmla="*/ 634555 w 875252"/>
                <a:gd name="connsiteY7" fmla="*/ 952595 h 952622"/>
                <a:gd name="connsiteX8" fmla="*/ 426625 w 875252"/>
                <a:gd name="connsiteY8" fmla="*/ 599504 h 952622"/>
                <a:gd name="connsiteX9" fmla="*/ 224314 w 875252"/>
                <a:gd name="connsiteY9" fmla="*/ 952595 h 952622"/>
                <a:gd name="connsiteX10" fmla="*/ 0 w 875252"/>
                <a:gd name="connsiteY10" fmla="*/ 952595 h 952622"/>
                <a:gd name="connsiteX11" fmla="*/ 305562 w 875252"/>
                <a:gd name="connsiteY11" fmla="*/ 459867 h 952622"/>
                <a:gd name="connsiteX12" fmla="*/ 14954 w 875252"/>
                <a:gd name="connsiteY12" fmla="*/ 95 h 952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75252" h="952622">
                  <a:moveTo>
                    <a:pt x="14954" y="0"/>
                  </a:moveTo>
                  <a:cubicBezTo>
                    <a:pt x="95631" y="0"/>
                    <a:pt x="176308" y="0"/>
                    <a:pt x="257080" y="0"/>
                  </a:cubicBezTo>
                  <a:cubicBezTo>
                    <a:pt x="319754" y="108109"/>
                    <a:pt x="381381" y="216789"/>
                    <a:pt x="444627" y="324612"/>
                  </a:cubicBezTo>
                  <a:cubicBezTo>
                    <a:pt x="508064" y="216503"/>
                    <a:pt x="571119" y="108204"/>
                    <a:pt x="634555" y="95"/>
                  </a:cubicBezTo>
                  <a:lnTo>
                    <a:pt x="858869" y="95"/>
                  </a:lnTo>
                  <a:cubicBezTo>
                    <a:pt x="761143" y="154781"/>
                    <a:pt x="663321" y="309372"/>
                    <a:pt x="565499" y="464058"/>
                  </a:cubicBezTo>
                  <a:cubicBezTo>
                    <a:pt x="668750" y="626840"/>
                    <a:pt x="772001" y="789718"/>
                    <a:pt x="875252" y="952595"/>
                  </a:cubicBezTo>
                  <a:cubicBezTo>
                    <a:pt x="795052" y="952691"/>
                    <a:pt x="714756" y="952500"/>
                    <a:pt x="634555" y="952595"/>
                  </a:cubicBezTo>
                  <a:cubicBezTo>
                    <a:pt x="565118" y="834962"/>
                    <a:pt x="496538" y="716852"/>
                    <a:pt x="426625" y="599504"/>
                  </a:cubicBezTo>
                  <a:cubicBezTo>
                    <a:pt x="358807" y="716947"/>
                    <a:pt x="291846" y="834962"/>
                    <a:pt x="224314" y="952595"/>
                  </a:cubicBezTo>
                  <a:lnTo>
                    <a:pt x="0" y="952595"/>
                  </a:lnTo>
                  <a:cubicBezTo>
                    <a:pt x="101822" y="788289"/>
                    <a:pt x="203740" y="624173"/>
                    <a:pt x="305562" y="459867"/>
                  </a:cubicBezTo>
                  <a:cubicBezTo>
                    <a:pt x="208693" y="306705"/>
                    <a:pt x="111823" y="153353"/>
                    <a:pt x="14954" y="95"/>
                  </a:cubicBezTo>
                  <a:close/>
                </a:path>
              </a:pathLst>
            </a:custGeom>
            <a:solidFill>
              <a:srgbClr val="000000"/>
            </a:solidFill>
            <a:ln w="9525" cap="flat">
              <a:noFill/>
              <a:prstDash val="solid"/>
              <a:miter/>
            </a:ln>
          </p:spPr>
          <p:txBody>
            <a:bodyPr rtlCol="0" anchor="ctr"/>
            <a:lstStyle/>
            <a:p>
              <a:endParaRPr lang="en-US" sz="900"/>
            </a:p>
          </p:txBody>
        </p:sp>
        <p:sp>
          <p:nvSpPr>
            <p:cNvPr id="34" name="Freeform: Shape 33">
              <a:extLst>
                <a:ext uri="{FF2B5EF4-FFF2-40B4-BE49-F238E27FC236}">
                  <a16:creationId xmlns:a16="http://schemas.microsoft.com/office/drawing/2014/main" id="{42DF0011-F527-8047-800F-7E155446FCD6}"/>
                </a:ext>
              </a:extLst>
            </p:cNvPr>
            <p:cNvSpPr/>
            <p:nvPr/>
          </p:nvSpPr>
          <p:spPr>
            <a:xfrm>
              <a:off x="16351421" y="8727139"/>
              <a:ext cx="728351" cy="1144977"/>
            </a:xfrm>
            <a:custGeom>
              <a:avLst/>
              <a:gdLst>
                <a:gd name="connsiteX0" fmla="*/ 509416 w 728351"/>
                <a:gd name="connsiteY0" fmla="*/ 14429 h 1144977"/>
                <a:gd name="connsiteX1" fmla="*/ 685629 w 728351"/>
                <a:gd name="connsiteY1" fmla="*/ 904 h 1144977"/>
                <a:gd name="connsiteX2" fmla="*/ 685724 w 728351"/>
                <a:gd name="connsiteY2" fmla="*/ 151304 h 1144977"/>
                <a:gd name="connsiteX3" fmla="*/ 522275 w 728351"/>
                <a:gd name="connsiteY3" fmla="*/ 152542 h 1144977"/>
                <a:gd name="connsiteX4" fmla="*/ 628097 w 728351"/>
                <a:gd name="connsiteY4" fmla="*/ 257031 h 1144977"/>
                <a:gd name="connsiteX5" fmla="*/ 595141 w 728351"/>
                <a:gd name="connsiteY5" fmla="*/ 517730 h 1144977"/>
                <a:gd name="connsiteX6" fmla="*/ 424834 w 728351"/>
                <a:gd name="connsiteY6" fmla="*/ 596312 h 1144977"/>
                <a:gd name="connsiteX7" fmla="*/ 215093 w 728351"/>
                <a:gd name="connsiteY7" fmla="*/ 586406 h 1144977"/>
                <a:gd name="connsiteX8" fmla="*/ 207664 w 728351"/>
                <a:gd name="connsiteY8" fmla="*/ 685561 h 1144977"/>
                <a:gd name="connsiteX9" fmla="*/ 352254 w 728351"/>
                <a:gd name="connsiteY9" fmla="*/ 698229 h 1144977"/>
                <a:gd name="connsiteX10" fmla="*/ 619430 w 728351"/>
                <a:gd name="connsiteY10" fmla="*/ 722327 h 1144977"/>
                <a:gd name="connsiteX11" fmla="*/ 722490 w 728351"/>
                <a:gd name="connsiteY11" fmla="*/ 848248 h 1144977"/>
                <a:gd name="connsiteX12" fmla="*/ 671818 w 728351"/>
                <a:gd name="connsiteY12" fmla="*/ 1060560 h 1144977"/>
                <a:gd name="connsiteX13" fmla="*/ 458933 w 728351"/>
                <a:gd name="connsiteY13" fmla="*/ 1139237 h 1144977"/>
                <a:gd name="connsiteX14" fmla="*/ 192615 w 728351"/>
                <a:gd name="connsiteY14" fmla="*/ 1135141 h 1144977"/>
                <a:gd name="connsiteX15" fmla="*/ 44406 w 728351"/>
                <a:gd name="connsiteY15" fmla="*/ 1078372 h 1144977"/>
                <a:gd name="connsiteX16" fmla="*/ 53168 w 728351"/>
                <a:gd name="connsiteY16" fmla="*/ 870060 h 1144977"/>
                <a:gd name="connsiteX17" fmla="*/ 132893 w 728351"/>
                <a:gd name="connsiteY17" fmla="*/ 840533 h 1144977"/>
                <a:gd name="connsiteX18" fmla="*/ 133845 w 728351"/>
                <a:gd name="connsiteY18" fmla="*/ 828817 h 1144977"/>
                <a:gd name="connsiteX19" fmla="*/ 74886 w 728351"/>
                <a:gd name="connsiteY19" fmla="*/ 800909 h 1144977"/>
                <a:gd name="connsiteX20" fmla="*/ 62407 w 728351"/>
                <a:gd name="connsiteY20" fmla="*/ 623458 h 1144977"/>
                <a:gd name="connsiteX21" fmla="*/ 167373 w 728351"/>
                <a:gd name="connsiteY21" fmla="*/ 571451 h 1144977"/>
                <a:gd name="connsiteX22" fmla="*/ 48883 w 728351"/>
                <a:gd name="connsiteY22" fmla="*/ 446293 h 1144977"/>
                <a:gd name="connsiteX23" fmla="*/ 89078 w 728351"/>
                <a:gd name="connsiteY23" fmla="*/ 211311 h 1144977"/>
                <a:gd name="connsiteX24" fmla="*/ 259099 w 728351"/>
                <a:gd name="connsiteY24" fmla="*/ 128444 h 1144977"/>
                <a:gd name="connsiteX25" fmla="*/ 463982 w 728351"/>
                <a:gd name="connsiteY25" fmla="*/ 135397 h 1144977"/>
                <a:gd name="connsiteX26" fmla="*/ 509416 w 728351"/>
                <a:gd name="connsiteY26" fmla="*/ 14429 h 1144977"/>
                <a:gd name="connsiteX27" fmla="*/ 299866 w 728351"/>
                <a:gd name="connsiteY27" fmla="*/ 260841 h 1144977"/>
                <a:gd name="connsiteX28" fmla="*/ 226714 w 728351"/>
                <a:gd name="connsiteY28" fmla="*/ 331612 h 1144977"/>
                <a:gd name="connsiteX29" fmla="*/ 251860 w 728351"/>
                <a:gd name="connsiteY29" fmla="*/ 441245 h 1144977"/>
                <a:gd name="connsiteX30" fmla="*/ 381210 w 728351"/>
                <a:gd name="connsiteY30" fmla="*/ 465724 h 1144977"/>
                <a:gd name="connsiteX31" fmla="*/ 458838 w 728351"/>
                <a:gd name="connsiteY31" fmla="*/ 397906 h 1144977"/>
                <a:gd name="connsiteX32" fmla="*/ 431216 w 728351"/>
                <a:gd name="connsiteY32" fmla="*/ 281320 h 1144977"/>
                <a:gd name="connsiteX33" fmla="*/ 299866 w 728351"/>
                <a:gd name="connsiteY33" fmla="*/ 260841 h 1144977"/>
                <a:gd name="connsiteX34" fmla="*/ 182613 w 728351"/>
                <a:gd name="connsiteY34" fmla="*/ 987218 h 1144977"/>
                <a:gd name="connsiteX35" fmla="*/ 343872 w 728351"/>
                <a:gd name="connsiteY35" fmla="*/ 1010554 h 1144977"/>
                <a:gd name="connsiteX36" fmla="*/ 507321 w 728351"/>
                <a:gd name="connsiteY36" fmla="*/ 990170 h 1144977"/>
                <a:gd name="connsiteX37" fmla="*/ 517321 w 728351"/>
                <a:gd name="connsiteY37" fmla="*/ 890158 h 1144977"/>
                <a:gd name="connsiteX38" fmla="*/ 428644 w 728351"/>
                <a:gd name="connsiteY38" fmla="*/ 870536 h 1144977"/>
                <a:gd name="connsiteX39" fmla="*/ 180994 w 728351"/>
                <a:gd name="connsiteY39" fmla="*/ 870155 h 1144977"/>
                <a:gd name="connsiteX40" fmla="*/ 182613 w 728351"/>
                <a:gd name="connsiteY40" fmla="*/ 987218 h 1144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28351" h="1144977">
                  <a:moveTo>
                    <a:pt x="509416" y="14429"/>
                  </a:moveTo>
                  <a:cubicBezTo>
                    <a:pt x="564471" y="-10431"/>
                    <a:pt x="627240" y="5381"/>
                    <a:pt x="685629" y="904"/>
                  </a:cubicBezTo>
                  <a:cubicBezTo>
                    <a:pt x="685629" y="51005"/>
                    <a:pt x="685629" y="101202"/>
                    <a:pt x="685724" y="151304"/>
                  </a:cubicBezTo>
                  <a:cubicBezTo>
                    <a:pt x="631146" y="151875"/>
                    <a:pt x="576663" y="150065"/>
                    <a:pt x="522275" y="152542"/>
                  </a:cubicBezTo>
                  <a:cubicBezTo>
                    <a:pt x="564185" y="179498"/>
                    <a:pt x="607809" y="209311"/>
                    <a:pt x="628097" y="257031"/>
                  </a:cubicBezTo>
                  <a:cubicBezTo>
                    <a:pt x="665245" y="340280"/>
                    <a:pt x="658673" y="448769"/>
                    <a:pt x="595141" y="517730"/>
                  </a:cubicBezTo>
                  <a:cubicBezTo>
                    <a:pt x="551136" y="564879"/>
                    <a:pt x="487223" y="587168"/>
                    <a:pt x="424834" y="596312"/>
                  </a:cubicBezTo>
                  <a:cubicBezTo>
                    <a:pt x="355112" y="605551"/>
                    <a:pt x="283388" y="603932"/>
                    <a:pt x="215093" y="586406"/>
                  </a:cubicBezTo>
                  <a:cubicBezTo>
                    <a:pt x="183757" y="608123"/>
                    <a:pt x="170231" y="663177"/>
                    <a:pt x="207664" y="685561"/>
                  </a:cubicBezTo>
                  <a:cubicBezTo>
                    <a:pt x="252527" y="707087"/>
                    <a:pt x="304247" y="695181"/>
                    <a:pt x="352254" y="698229"/>
                  </a:cubicBezTo>
                  <a:cubicBezTo>
                    <a:pt x="441312" y="701277"/>
                    <a:pt x="534848" y="687085"/>
                    <a:pt x="619430" y="722327"/>
                  </a:cubicBezTo>
                  <a:cubicBezTo>
                    <a:pt x="672484" y="743282"/>
                    <a:pt x="712108" y="792241"/>
                    <a:pt x="722490" y="848248"/>
                  </a:cubicBezTo>
                  <a:cubicBezTo>
                    <a:pt x="736301" y="921019"/>
                    <a:pt x="728110" y="1006744"/>
                    <a:pt x="671818" y="1060560"/>
                  </a:cubicBezTo>
                  <a:cubicBezTo>
                    <a:pt x="614857" y="1114281"/>
                    <a:pt x="534086" y="1130283"/>
                    <a:pt x="458933" y="1139237"/>
                  </a:cubicBezTo>
                  <a:cubicBezTo>
                    <a:pt x="370447" y="1147428"/>
                    <a:pt x="280721" y="1147524"/>
                    <a:pt x="192615" y="1135141"/>
                  </a:cubicBezTo>
                  <a:cubicBezTo>
                    <a:pt x="140322" y="1126473"/>
                    <a:pt x="85744" y="1113233"/>
                    <a:pt x="44406" y="1078372"/>
                  </a:cubicBezTo>
                  <a:cubicBezTo>
                    <a:pt x="-17698" y="1026937"/>
                    <a:pt x="-14554" y="915209"/>
                    <a:pt x="53168" y="870060"/>
                  </a:cubicBezTo>
                  <a:cubicBezTo>
                    <a:pt x="76505" y="852820"/>
                    <a:pt x="105461" y="847867"/>
                    <a:pt x="132893" y="840533"/>
                  </a:cubicBezTo>
                  <a:cubicBezTo>
                    <a:pt x="133179" y="837580"/>
                    <a:pt x="133560" y="831674"/>
                    <a:pt x="133845" y="828817"/>
                  </a:cubicBezTo>
                  <a:cubicBezTo>
                    <a:pt x="113747" y="820149"/>
                    <a:pt x="91459" y="815577"/>
                    <a:pt x="74886" y="800909"/>
                  </a:cubicBezTo>
                  <a:cubicBezTo>
                    <a:pt x="22880" y="759475"/>
                    <a:pt x="13259" y="670702"/>
                    <a:pt x="62407" y="623458"/>
                  </a:cubicBezTo>
                  <a:cubicBezTo>
                    <a:pt x="90411" y="594597"/>
                    <a:pt x="130036" y="582786"/>
                    <a:pt x="167373" y="571451"/>
                  </a:cubicBezTo>
                  <a:cubicBezTo>
                    <a:pt x="114129" y="546401"/>
                    <a:pt x="66980" y="503538"/>
                    <a:pt x="48883" y="446293"/>
                  </a:cubicBezTo>
                  <a:cubicBezTo>
                    <a:pt x="23546" y="368283"/>
                    <a:pt x="33357" y="274271"/>
                    <a:pt x="89078" y="211311"/>
                  </a:cubicBezTo>
                  <a:cubicBezTo>
                    <a:pt x="132036" y="162448"/>
                    <a:pt x="196043" y="138159"/>
                    <a:pt x="259099" y="128444"/>
                  </a:cubicBezTo>
                  <a:cubicBezTo>
                    <a:pt x="327012" y="118728"/>
                    <a:pt x="396925" y="119871"/>
                    <a:pt x="463982" y="135397"/>
                  </a:cubicBezTo>
                  <a:cubicBezTo>
                    <a:pt x="462457" y="91963"/>
                    <a:pt x="465697" y="37289"/>
                    <a:pt x="509416" y="14429"/>
                  </a:cubicBezTo>
                  <a:moveTo>
                    <a:pt x="299866" y="260841"/>
                  </a:moveTo>
                  <a:cubicBezTo>
                    <a:pt x="264243" y="267223"/>
                    <a:pt x="231476" y="294464"/>
                    <a:pt x="226714" y="331612"/>
                  </a:cubicBezTo>
                  <a:cubicBezTo>
                    <a:pt x="221476" y="368855"/>
                    <a:pt x="221571" y="413908"/>
                    <a:pt x="251860" y="441245"/>
                  </a:cubicBezTo>
                  <a:cubicBezTo>
                    <a:pt x="286817" y="471534"/>
                    <a:pt x="337585" y="472201"/>
                    <a:pt x="381210" y="465724"/>
                  </a:cubicBezTo>
                  <a:cubicBezTo>
                    <a:pt x="417214" y="460676"/>
                    <a:pt x="452171" y="435339"/>
                    <a:pt x="458838" y="397906"/>
                  </a:cubicBezTo>
                  <a:cubicBezTo>
                    <a:pt x="465315" y="358282"/>
                    <a:pt x="465315" y="308942"/>
                    <a:pt x="431216" y="281320"/>
                  </a:cubicBezTo>
                  <a:cubicBezTo>
                    <a:pt x="394164" y="253221"/>
                    <a:pt x="343586" y="252935"/>
                    <a:pt x="299866" y="260841"/>
                  </a:cubicBezTo>
                  <a:moveTo>
                    <a:pt x="182613" y="987218"/>
                  </a:moveTo>
                  <a:cubicBezTo>
                    <a:pt x="230810" y="1015888"/>
                    <a:pt x="289960" y="1009411"/>
                    <a:pt x="343872" y="1010554"/>
                  </a:cubicBezTo>
                  <a:cubicBezTo>
                    <a:pt x="398354" y="1009411"/>
                    <a:pt x="457124" y="1016078"/>
                    <a:pt x="507321" y="990170"/>
                  </a:cubicBezTo>
                  <a:cubicBezTo>
                    <a:pt x="543135" y="972073"/>
                    <a:pt x="550183" y="914256"/>
                    <a:pt x="517321" y="890158"/>
                  </a:cubicBezTo>
                  <a:cubicBezTo>
                    <a:pt x="491509" y="872346"/>
                    <a:pt x="458744" y="871394"/>
                    <a:pt x="428644" y="870536"/>
                  </a:cubicBezTo>
                  <a:cubicBezTo>
                    <a:pt x="346062" y="870155"/>
                    <a:pt x="263481" y="871013"/>
                    <a:pt x="180994" y="870155"/>
                  </a:cubicBezTo>
                  <a:cubicBezTo>
                    <a:pt x="153467" y="902064"/>
                    <a:pt x="142608" y="960548"/>
                    <a:pt x="182613" y="987218"/>
                  </a:cubicBezTo>
                  <a:close/>
                </a:path>
              </a:pathLst>
            </a:custGeom>
            <a:solidFill>
              <a:srgbClr val="000000"/>
            </a:solidFill>
            <a:ln w="9525" cap="flat">
              <a:noFill/>
              <a:prstDash val="solid"/>
              <a:miter/>
            </a:ln>
          </p:spPr>
          <p:txBody>
            <a:bodyPr rtlCol="0" anchor="ctr"/>
            <a:lstStyle/>
            <a:p>
              <a:endParaRPr lang="en-US" sz="900"/>
            </a:p>
          </p:txBody>
        </p:sp>
        <p:sp>
          <p:nvSpPr>
            <p:cNvPr id="35" name="Freeform: Shape 34">
              <a:extLst>
                <a:ext uri="{FF2B5EF4-FFF2-40B4-BE49-F238E27FC236}">
                  <a16:creationId xmlns:a16="http://schemas.microsoft.com/office/drawing/2014/main" id="{53871B77-82D8-9E96-7FDF-19E07894D012}"/>
                </a:ext>
              </a:extLst>
            </p:cNvPr>
            <p:cNvSpPr/>
            <p:nvPr/>
          </p:nvSpPr>
          <p:spPr>
            <a:xfrm>
              <a:off x="10085832" y="8849421"/>
              <a:ext cx="669369" cy="749856"/>
            </a:xfrm>
            <a:custGeom>
              <a:avLst/>
              <a:gdLst>
                <a:gd name="connsiteX0" fmla="*/ 260667 w 669369"/>
                <a:gd name="connsiteY0" fmla="*/ 6542 h 749856"/>
                <a:gd name="connsiteX1" fmla="*/ 515461 w 669369"/>
                <a:gd name="connsiteY1" fmla="*/ 44071 h 749856"/>
                <a:gd name="connsiteX2" fmla="*/ 650335 w 669369"/>
                <a:gd name="connsiteY2" fmla="*/ 226855 h 749856"/>
                <a:gd name="connsiteX3" fmla="*/ 669099 w 669369"/>
                <a:gd name="connsiteY3" fmla="*/ 426404 h 749856"/>
                <a:gd name="connsiteX4" fmla="*/ 208470 w 669369"/>
                <a:gd name="connsiteY4" fmla="*/ 426404 h 749856"/>
                <a:gd name="connsiteX5" fmla="*/ 248666 w 669369"/>
                <a:gd name="connsiteY5" fmla="*/ 550039 h 749856"/>
                <a:gd name="connsiteX6" fmla="*/ 408590 w 669369"/>
                <a:gd name="connsiteY6" fmla="*/ 587472 h 749856"/>
                <a:gd name="connsiteX7" fmla="*/ 543464 w 669369"/>
                <a:gd name="connsiteY7" fmla="*/ 505081 h 749856"/>
                <a:gd name="connsiteX8" fmla="*/ 645001 w 669369"/>
                <a:gd name="connsiteY8" fmla="*/ 630239 h 749856"/>
                <a:gd name="connsiteX9" fmla="*/ 370110 w 669369"/>
                <a:gd name="connsiteY9" fmla="*/ 749111 h 749856"/>
                <a:gd name="connsiteX10" fmla="*/ 115697 w 669369"/>
                <a:gd name="connsiteY10" fmla="*/ 673673 h 749856"/>
                <a:gd name="connsiteX11" fmla="*/ 2444 w 669369"/>
                <a:gd name="connsiteY11" fmla="*/ 428785 h 749856"/>
                <a:gd name="connsiteX12" fmla="*/ 63881 w 669369"/>
                <a:gd name="connsiteY12" fmla="*/ 132082 h 749856"/>
                <a:gd name="connsiteX13" fmla="*/ 260667 w 669369"/>
                <a:gd name="connsiteY13" fmla="*/ 6542 h 749856"/>
                <a:gd name="connsiteX14" fmla="*/ 236283 w 669369"/>
                <a:gd name="connsiteY14" fmla="*/ 199900 h 749856"/>
                <a:gd name="connsiteX15" fmla="*/ 208375 w 669369"/>
                <a:gd name="connsiteY15" fmla="*/ 307246 h 749856"/>
                <a:gd name="connsiteX16" fmla="*/ 460216 w 669369"/>
                <a:gd name="connsiteY16" fmla="*/ 307246 h 749856"/>
                <a:gd name="connsiteX17" fmla="*/ 429450 w 669369"/>
                <a:gd name="connsiteY17" fmla="*/ 188851 h 749856"/>
                <a:gd name="connsiteX18" fmla="*/ 236283 w 669369"/>
                <a:gd name="connsiteY18" fmla="*/ 199900 h 74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9369" h="749856">
                  <a:moveTo>
                    <a:pt x="260667" y="6542"/>
                  </a:moveTo>
                  <a:cubicBezTo>
                    <a:pt x="346297" y="-7650"/>
                    <a:pt x="439261" y="-316"/>
                    <a:pt x="515461" y="44071"/>
                  </a:cubicBezTo>
                  <a:cubicBezTo>
                    <a:pt x="583279" y="83123"/>
                    <a:pt x="629285" y="152465"/>
                    <a:pt x="650335" y="226855"/>
                  </a:cubicBezTo>
                  <a:cubicBezTo>
                    <a:pt x="669956" y="291435"/>
                    <a:pt x="669956" y="359539"/>
                    <a:pt x="669099" y="426404"/>
                  </a:cubicBezTo>
                  <a:cubicBezTo>
                    <a:pt x="515556" y="426404"/>
                    <a:pt x="362013" y="426404"/>
                    <a:pt x="208470" y="426404"/>
                  </a:cubicBezTo>
                  <a:cubicBezTo>
                    <a:pt x="208565" y="470124"/>
                    <a:pt x="215900" y="518035"/>
                    <a:pt x="248666" y="550039"/>
                  </a:cubicBezTo>
                  <a:cubicBezTo>
                    <a:pt x="290004" y="590806"/>
                    <a:pt x="353822" y="596140"/>
                    <a:pt x="408590" y="587472"/>
                  </a:cubicBezTo>
                  <a:cubicBezTo>
                    <a:pt x="462693" y="579090"/>
                    <a:pt x="506603" y="543181"/>
                    <a:pt x="543464" y="505081"/>
                  </a:cubicBezTo>
                  <a:cubicBezTo>
                    <a:pt x="577373" y="546705"/>
                    <a:pt x="610235" y="589282"/>
                    <a:pt x="645001" y="630239"/>
                  </a:cubicBezTo>
                  <a:cubicBezTo>
                    <a:pt x="576993" y="708916"/>
                    <a:pt x="471741" y="744920"/>
                    <a:pt x="370110" y="749111"/>
                  </a:cubicBezTo>
                  <a:cubicBezTo>
                    <a:pt x="280384" y="754159"/>
                    <a:pt x="184848" y="734062"/>
                    <a:pt x="115697" y="673673"/>
                  </a:cubicBezTo>
                  <a:cubicBezTo>
                    <a:pt x="44640" y="613094"/>
                    <a:pt x="10255" y="519844"/>
                    <a:pt x="2444" y="428785"/>
                  </a:cubicBezTo>
                  <a:cubicBezTo>
                    <a:pt x="-6128" y="327249"/>
                    <a:pt x="6350" y="218664"/>
                    <a:pt x="63881" y="132082"/>
                  </a:cubicBezTo>
                  <a:cubicBezTo>
                    <a:pt x="107886" y="64645"/>
                    <a:pt x="181800" y="19972"/>
                    <a:pt x="260667" y="6542"/>
                  </a:cubicBezTo>
                  <a:moveTo>
                    <a:pt x="236283" y="199900"/>
                  </a:moveTo>
                  <a:cubicBezTo>
                    <a:pt x="213804" y="230856"/>
                    <a:pt x="209042" y="270004"/>
                    <a:pt x="208375" y="307246"/>
                  </a:cubicBezTo>
                  <a:lnTo>
                    <a:pt x="460216" y="307246"/>
                  </a:lnTo>
                  <a:cubicBezTo>
                    <a:pt x="459835" y="266289"/>
                    <a:pt x="455930" y="222093"/>
                    <a:pt x="429450" y="188851"/>
                  </a:cubicBezTo>
                  <a:cubicBezTo>
                    <a:pt x="382111" y="129700"/>
                    <a:pt x="278003" y="138273"/>
                    <a:pt x="236283" y="199900"/>
                  </a:cubicBezTo>
                  <a:close/>
                </a:path>
              </a:pathLst>
            </a:custGeom>
            <a:solidFill>
              <a:srgbClr val="000000"/>
            </a:solidFill>
            <a:ln w="9525" cap="flat">
              <a:noFill/>
              <a:prstDash val="solid"/>
              <a:miter/>
            </a:ln>
          </p:spPr>
          <p:txBody>
            <a:bodyPr rtlCol="0" anchor="ctr"/>
            <a:lstStyle/>
            <a:p>
              <a:endParaRPr lang="en-US" sz="900"/>
            </a:p>
          </p:txBody>
        </p:sp>
        <p:sp>
          <p:nvSpPr>
            <p:cNvPr id="36" name="Freeform: Shape 35">
              <a:extLst>
                <a:ext uri="{FF2B5EF4-FFF2-40B4-BE49-F238E27FC236}">
                  <a16:creationId xmlns:a16="http://schemas.microsoft.com/office/drawing/2014/main" id="{08EB9A85-89C6-1EC3-5478-A8F89D67749A}"/>
                </a:ext>
              </a:extLst>
            </p:cNvPr>
            <p:cNvSpPr/>
            <p:nvPr/>
          </p:nvSpPr>
          <p:spPr>
            <a:xfrm>
              <a:off x="10852675" y="8849297"/>
              <a:ext cx="625965" cy="749878"/>
            </a:xfrm>
            <a:custGeom>
              <a:avLst/>
              <a:gdLst>
                <a:gd name="connsiteX0" fmla="*/ 115044 w 625965"/>
                <a:gd name="connsiteY0" fmla="*/ 72770 h 749878"/>
                <a:gd name="connsiteX1" fmla="*/ 437561 w 625965"/>
                <a:gd name="connsiteY1" fmla="*/ 13810 h 749878"/>
                <a:gd name="connsiteX2" fmla="*/ 621870 w 625965"/>
                <a:gd name="connsiteY2" fmla="*/ 187165 h 749878"/>
                <a:gd name="connsiteX3" fmla="*/ 458230 w 625965"/>
                <a:gd name="connsiteY3" fmla="*/ 258221 h 749878"/>
                <a:gd name="connsiteX4" fmla="*/ 411843 w 625965"/>
                <a:gd name="connsiteY4" fmla="*/ 184117 h 749878"/>
                <a:gd name="connsiteX5" fmla="*/ 233916 w 625965"/>
                <a:gd name="connsiteY5" fmla="*/ 212120 h 749878"/>
                <a:gd name="connsiteX6" fmla="*/ 210771 w 625965"/>
                <a:gd name="connsiteY6" fmla="*/ 371093 h 749878"/>
                <a:gd name="connsiteX7" fmla="*/ 230868 w 625965"/>
                <a:gd name="connsiteY7" fmla="*/ 533684 h 749878"/>
                <a:gd name="connsiteX8" fmla="*/ 439371 w 625965"/>
                <a:gd name="connsiteY8" fmla="*/ 540352 h 749878"/>
                <a:gd name="connsiteX9" fmla="*/ 468708 w 625965"/>
                <a:gd name="connsiteY9" fmla="*/ 483392 h 749878"/>
                <a:gd name="connsiteX10" fmla="*/ 625965 w 625965"/>
                <a:gd name="connsiteY10" fmla="*/ 551782 h 749878"/>
                <a:gd name="connsiteX11" fmla="*/ 521095 w 625965"/>
                <a:gd name="connsiteY11" fmla="*/ 697800 h 749878"/>
                <a:gd name="connsiteX12" fmla="*/ 271921 w 625965"/>
                <a:gd name="connsiteY12" fmla="*/ 745425 h 749878"/>
                <a:gd name="connsiteX13" fmla="*/ 70086 w 625965"/>
                <a:gd name="connsiteY13" fmla="*/ 627696 h 749878"/>
                <a:gd name="connsiteX14" fmla="*/ 1316 w 625965"/>
                <a:gd name="connsiteY14" fmla="*/ 333183 h 749878"/>
                <a:gd name="connsiteX15" fmla="*/ 115044 w 625965"/>
                <a:gd name="connsiteY15" fmla="*/ 72770 h 749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5965" h="749878">
                  <a:moveTo>
                    <a:pt x="115044" y="72770"/>
                  </a:moveTo>
                  <a:cubicBezTo>
                    <a:pt x="202770" y="-1430"/>
                    <a:pt x="329357" y="-14479"/>
                    <a:pt x="437561" y="13810"/>
                  </a:cubicBezTo>
                  <a:cubicBezTo>
                    <a:pt x="523476" y="36003"/>
                    <a:pt x="592628" y="104202"/>
                    <a:pt x="621870" y="187165"/>
                  </a:cubicBezTo>
                  <a:cubicBezTo>
                    <a:pt x="567387" y="211073"/>
                    <a:pt x="512713" y="234504"/>
                    <a:pt x="458230" y="258221"/>
                  </a:cubicBezTo>
                  <a:cubicBezTo>
                    <a:pt x="449086" y="230313"/>
                    <a:pt x="436418" y="201738"/>
                    <a:pt x="411843" y="184117"/>
                  </a:cubicBezTo>
                  <a:cubicBezTo>
                    <a:pt x="358503" y="144969"/>
                    <a:pt x="269445" y="152494"/>
                    <a:pt x="233916" y="212120"/>
                  </a:cubicBezTo>
                  <a:cubicBezTo>
                    <a:pt x="204294" y="259650"/>
                    <a:pt x="211342" y="317753"/>
                    <a:pt x="210771" y="371093"/>
                  </a:cubicBezTo>
                  <a:cubicBezTo>
                    <a:pt x="212104" y="425385"/>
                    <a:pt x="203055" y="484059"/>
                    <a:pt x="230868" y="533684"/>
                  </a:cubicBezTo>
                  <a:cubicBezTo>
                    <a:pt x="271350" y="608265"/>
                    <a:pt x="392317" y="607884"/>
                    <a:pt x="439371" y="540352"/>
                  </a:cubicBezTo>
                  <a:cubicBezTo>
                    <a:pt x="452134" y="523112"/>
                    <a:pt x="460135" y="502919"/>
                    <a:pt x="468708" y="483392"/>
                  </a:cubicBezTo>
                  <a:cubicBezTo>
                    <a:pt x="521095" y="506252"/>
                    <a:pt x="573578" y="528922"/>
                    <a:pt x="625965" y="551782"/>
                  </a:cubicBezTo>
                  <a:cubicBezTo>
                    <a:pt x="605106" y="608741"/>
                    <a:pt x="571673" y="662939"/>
                    <a:pt x="521095" y="697800"/>
                  </a:cubicBezTo>
                  <a:cubicBezTo>
                    <a:pt x="449372" y="748092"/>
                    <a:pt x="356598" y="756855"/>
                    <a:pt x="271921" y="745425"/>
                  </a:cubicBezTo>
                  <a:cubicBezTo>
                    <a:pt x="192673" y="734757"/>
                    <a:pt x="116473" y="693800"/>
                    <a:pt x="70086" y="627696"/>
                  </a:cubicBezTo>
                  <a:cubicBezTo>
                    <a:pt x="9603" y="543114"/>
                    <a:pt x="-4876" y="434624"/>
                    <a:pt x="1316" y="333183"/>
                  </a:cubicBezTo>
                  <a:cubicBezTo>
                    <a:pt x="7031" y="237171"/>
                    <a:pt x="39702" y="136778"/>
                    <a:pt x="115044" y="72770"/>
                  </a:cubicBezTo>
                  <a:close/>
                </a:path>
              </a:pathLst>
            </a:custGeom>
            <a:solidFill>
              <a:srgbClr val="000000"/>
            </a:solidFill>
            <a:ln w="9525" cap="flat">
              <a:noFill/>
              <a:prstDash val="solid"/>
              <a:miter/>
            </a:ln>
          </p:spPr>
          <p:txBody>
            <a:bodyPr rtlCol="0" anchor="ctr"/>
            <a:lstStyle/>
            <a:p>
              <a:endParaRPr lang="en-US" sz="900"/>
            </a:p>
          </p:txBody>
        </p:sp>
        <p:sp>
          <p:nvSpPr>
            <p:cNvPr id="37" name="Freeform: Shape 36">
              <a:extLst>
                <a:ext uri="{FF2B5EF4-FFF2-40B4-BE49-F238E27FC236}">
                  <a16:creationId xmlns:a16="http://schemas.microsoft.com/office/drawing/2014/main" id="{7D9AA833-AD83-E679-5D6E-186A8D02B00C}"/>
                </a:ext>
              </a:extLst>
            </p:cNvPr>
            <p:cNvSpPr/>
            <p:nvPr/>
          </p:nvSpPr>
          <p:spPr>
            <a:xfrm>
              <a:off x="13262546" y="8849276"/>
              <a:ext cx="625919" cy="749850"/>
            </a:xfrm>
            <a:custGeom>
              <a:avLst/>
              <a:gdLst>
                <a:gd name="connsiteX0" fmla="*/ 114142 w 625919"/>
                <a:gd name="connsiteY0" fmla="*/ 73457 h 749850"/>
                <a:gd name="connsiteX1" fmla="*/ 437897 w 625919"/>
                <a:gd name="connsiteY1" fmla="*/ 13831 h 749850"/>
                <a:gd name="connsiteX2" fmla="*/ 621920 w 625919"/>
                <a:gd name="connsiteY2" fmla="*/ 187281 h 749850"/>
                <a:gd name="connsiteX3" fmla="*/ 458280 w 625919"/>
                <a:gd name="connsiteY3" fmla="*/ 258242 h 749850"/>
                <a:gd name="connsiteX4" fmla="*/ 399225 w 625919"/>
                <a:gd name="connsiteY4" fmla="*/ 175946 h 749850"/>
                <a:gd name="connsiteX5" fmla="*/ 237776 w 625919"/>
                <a:gd name="connsiteY5" fmla="*/ 206426 h 749850"/>
                <a:gd name="connsiteX6" fmla="*/ 210725 w 625919"/>
                <a:gd name="connsiteY6" fmla="*/ 371209 h 749850"/>
                <a:gd name="connsiteX7" fmla="*/ 231013 w 625919"/>
                <a:gd name="connsiteY7" fmla="*/ 534086 h 749850"/>
                <a:gd name="connsiteX8" fmla="*/ 437992 w 625919"/>
                <a:gd name="connsiteY8" fmla="*/ 542278 h 749850"/>
                <a:gd name="connsiteX9" fmla="*/ 468662 w 625919"/>
                <a:gd name="connsiteY9" fmla="*/ 483413 h 749850"/>
                <a:gd name="connsiteX10" fmla="*/ 625920 w 625919"/>
                <a:gd name="connsiteY10" fmla="*/ 551898 h 749850"/>
                <a:gd name="connsiteX11" fmla="*/ 514573 w 625919"/>
                <a:gd name="connsiteY11" fmla="*/ 702203 h 749850"/>
                <a:gd name="connsiteX12" fmla="*/ 265494 w 625919"/>
                <a:gd name="connsiteY12" fmla="*/ 744398 h 749850"/>
                <a:gd name="connsiteX13" fmla="*/ 66422 w 625919"/>
                <a:gd name="connsiteY13" fmla="*/ 622478 h 749850"/>
                <a:gd name="connsiteX14" fmla="*/ 1937 w 625919"/>
                <a:gd name="connsiteY14" fmla="*/ 324441 h 749850"/>
                <a:gd name="connsiteX15" fmla="*/ 114142 w 625919"/>
                <a:gd name="connsiteY15" fmla="*/ 73457 h 749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5919" h="749850">
                  <a:moveTo>
                    <a:pt x="114142" y="73457"/>
                  </a:moveTo>
                  <a:cubicBezTo>
                    <a:pt x="201962" y="-1409"/>
                    <a:pt x="329121" y="-14554"/>
                    <a:pt x="437897" y="13831"/>
                  </a:cubicBezTo>
                  <a:cubicBezTo>
                    <a:pt x="523717" y="36215"/>
                    <a:pt x="592582" y="104318"/>
                    <a:pt x="621920" y="187281"/>
                  </a:cubicBezTo>
                  <a:cubicBezTo>
                    <a:pt x="567341" y="210998"/>
                    <a:pt x="512763" y="234525"/>
                    <a:pt x="458280" y="258242"/>
                  </a:cubicBezTo>
                  <a:cubicBezTo>
                    <a:pt x="448184" y="225476"/>
                    <a:pt x="430753" y="192425"/>
                    <a:pt x="399225" y="175946"/>
                  </a:cubicBezTo>
                  <a:cubicBezTo>
                    <a:pt x="347599" y="148133"/>
                    <a:pt x="272447" y="155658"/>
                    <a:pt x="237776" y="206426"/>
                  </a:cubicBezTo>
                  <a:cubicBezTo>
                    <a:pt x="203772" y="254432"/>
                    <a:pt x="211202" y="315869"/>
                    <a:pt x="210725" y="371209"/>
                  </a:cubicBezTo>
                  <a:cubicBezTo>
                    <a:pt x="212059" y="425692"/>
                    <a:pt x="203105" y="484366"/>
                    <a:pt x="231013" y="534086"/>
                  </a:cubicBezTo>
                  <a:cubicBezTo>
                    <a:pt x="271304" y="607524"/>
                    <a:pt x="390081" y="607905"/>
                    <a:pt x="437992" y="542278"/>
                  </a:cubicBezTo>
                  <a:cubicBezTo>
                    <a:pt x="451422" y="524561"/>
                    <a:pt x="459899" y="503702"/>
                    <a:pt x="468662" y="483413"/>
                  </a:cubicBezTo>
                  <a:cubicBezTo>
                    <a:pt x="521050" y="506178"/>
                    <a:pt x="573532" y="528943"/>
                    <a:pt x="625920" y="551898"/>
                  </a:cubicBezTo>
                  <a:cubicBezTo>
                    <a:pt x="604298" y="611144"/>
                    <a:pt x="568579" y="667532"/>
                    <a:pt x="514573" y="702203"/>
                  </a:cubicBezTo>
                  <a:cubicBezTo>
                    <a:pt x="441706" y="749732"/>
                    <a:pt x="349600" y="756971"/>
                    <a:pt x="265494" y="744398"/>
                  </a:cubicBezTo>
                  <a:cubicBezTo>
                    <a:pt x="186341" y="732492"/>
                    <a:pt x="111189" y="689534"/>
                    <a:pt x="66422" y="622478"/>
                  </a:cubicBezTo>
                  <a:cubicBezTo>
                    <a:pt x="7366" y="535991"/>
                    <a:pt x="-5587" y="426644"/>
                    <a:pt x="1937" y="324441"/>
                  </a:cubicBezTo>
                  <a:cubicBezTo>
                    <a:pt x="8890" y="231668"/>
                    <a:pt x="41656" y="135465"/>
                    <a:pt x="114142" y="73457"/>
                  </a:cubicBezTo>
                  <a:close/>
                </a:path>
              </a:pathLst>
            </a:custGeom>
            <a:solidFill>
              <a:srgbClr val="000000"/>
            </a:solidFill>
            <a:ln w="9525" cap="flat">
              <a:noFill/>
              <a:prstDash val="solid"/>
              <a:miter/>
            </a:ln>
          </p:spPr>
          <p:txBody>
            <a:bodyPr rtlCol="0" anchor="ctr"/>
            <a:lstStyle/>
            <a:p>
              <a:endParaRPr lang="en-US" sz="900"/>
            </a:p>
          </p:txBody>
        </p:sp>
        <p:sp>
          <p:nvSpPr>
            <p:cNvPr id="38" name="Freeform: Shape 37">
              <a:extLst>
                <a:ext uri="{FF2B5EF4-FFF2-40B4-BE49-F238E27FC236}">
                  <a16:creationId xmlns:a16="http://schemas.microsoft.com/office/drawing/2014/main" id="{5BEADA96-1A80-9EB1-DBCA-0EBF9FDAB801}"/>
                </a:ext>
              </a:extLst>
            </p:cNvPr>
            <p:cNvSpPr/>
            <p:nvPr/>
          </p:nvSpPr>
          <p:spPr>
            <a:xfrm>
              <a:off x="14778191" y="8849530"/>
              <a:ext cx="689710" cy="749617"/>
            </a:xfrm>
            <a:custGeom>
              <a:avLst/>
              <a:gdLst>
                <a:gd name="connsiteX0" fmla="*/ 27247 w 689710"/>
                <a:gd name="connsiteY0" fmla="*/ 137021 h 749617"/>
                <a:gd name="connsiteX1" fmla="*/ 239750 w 689710"/>
                <a:gd name="connsiteY1" fmla="*/ 5290 h 749617"/>
                <a:gd name="connsiteX2" fmla="*/ 522070 w 689710"/>
                <a:gd name="connsiteY2" fmla="*/ 49582 h 749617"/>
                <a:gd name="connsiteX3" fmla="*/ 622654 w 689710"/>
                <a:gd name="connsiteY3" fmla="*/ 247606 h 749617"/>
                <a:gd name="connsiteX4" fmla="*/ 623036 w 689710"/>
                <a:gd name="connsiteY4" fmla="*/ 575838 h 749617"/>
                <a:gd name="connsiteX5" fmla="*/ 689711 w 689710"/>
                <a:gd name="connsiteY5" fmla="*/ 575933 h 749617"/>
                <a:gd name="connsiteX6" fmla="*/ 689711 w 689710"/>
                <a:gd name="connsiteY6" fmla="*/ 733000 h 749617"/>
                <a:gd name="connsiteX7" fmla="*/ 506259 w 689710"/>
                <a:gd name="connsiteY7" fmla="*/ 713950 h 749617"/>
                <a:gd name="connsiteX8" fmla="*/ 438441 w 689710"/>
                <a:gd name="connsiteY8" fmla="*/ 603270 h 749617"/>
                <a:gd name="connsiteX9" fmla="*/ 388625 w 689710"/>
                <a:gd name="connsiteY9" fmla="*/ 690805 h 749617"/>
                <a:gd name="connsiteX10" fmla="*/ 169074 w 689710"/>
                <a:gd name="connsiteY10" fmla="*/ 745288 h 749617"/>
                <a:gd name="connsiteX11" fmla="*/ 15341 w 689710"/>
                <a:gd name="connsiteY11" fmla="*/ 626892 h 749617"/>
                <a:gd name="connsiteX12" fmla="*/ 37153 w 689710"/>
                <a:gd name="connsiteY12" fmla="*/ 416008 h 749617"/>
                <a:gd name="connsiteX13" fmla="*/ 191076 w 689710"/>
                <a:gd name="connsiteY13" fmla="*/ 327521 h 749617"/>
                <a:gd name="connsiteX14" fmla="*/ 420629 w 689710"/>
                <a:gd name="connsiteY14" fmla="*/ 316663 h 749617"/>
                <a:gd name="connsiteX15" fmla="*/ 392911 w 689710"/>
                <a:gd name="connsiteY15" fmla="*/ 189028 h 749617"/>
                <a:gd name="connsiteX16" fmla="*/ 258323 w 689710"/>
                <a:gd name="connsiteY16" fmla="*/ 163310 h 749617"/>
                <a:gd name="connsiteX17" fmla="*/ 147452 w 689710"/>
                <a:gd name="connsiteY17" fmla="*/ 243130 h 749617"/>
                <a:gd name="connsiteX18" fmla="*/ 27247 w 689710"/>
                <a:gd name="connsiteY18" fmla="*/ 137021 h 749617"/>
                <a:gd name="connsiteX19" fmla="*/ 252894 w 689710"/>
                <a:gd name="connsiteY19" fmla="*/ 442583 h 749617"/>
                <a:gd name="connsiteX20" fmla="*/ 260038 w 689710"/>
                <a:gd name="connsiteY20" fmla="*/ 604508 h 749617"/>
                <a:gd name="connsiteX21" fmla="*/ 401579 w 689710"/>
                <a:gd name="connsiteY21" fmla="*/ 571552 h 749617"/>
                <a:gd name="connsiteX22" fmla="*/ 420534 w 689710"/>
                <a:gd name="connsiteY22" fmla="*/ 431725 h 749617"/>
                <a:gd name="connsiteX23" fmla="*/ 252894 w 689710"/>
                <a:gd name="connsiteY23" fmla="*/ 442583 h 749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89710" h="749617">
                  <a:moveTo>
                    <a:pt x="27247" y="137021"/>
                  </a:moveTo>
                  <a:cubicBezTo>
                    <a:pt x="73634" y="63583"/>
                    <a:pt x="153834" y="15387"/>
                    <a:pt x="239750" y="5290"/>
                  </a:cubicBezTo>
                  <a:cubicBezTo>
                    <a:pt x="334618" y="-6044"/>
                    <a:pt x="438632" y="-2520"/>
                    <a:pt x="522070" y="49582"/>
                  </a:cubicBezTo>
                  <a:cubicBezTo>
                    <a:pt x="588936" y="91015"/>
                    <a:pt x="621988" y="171025"/>
                    <a:pt x="622654" y="247606"/>
                  </a:cubicBezTo>
                  <a:cubicBezTo>
                    <a:pt x="623512" y="357049"/>
                    <a:pt x="622654" y="466396"/>
                    <a:pt x="623036" y="575838"/>
                  </a:cubicBezTo>
                  <a:cubicBezTo>
                    <a:pt x="645134" y="575838"/>
                    <a:pt x="667422" y="575838"/>
                    <a:pt x="689711" y="575933"/>
                  </a:cubicBezTo>
                  <a:cubicBezTo>
                    <a:pt x="689615" y="628225"/>
                    <a:pt x="689615" y="680613"/>
                    <a:pt x="689711" y="733000"/>
                  </a:cubicBezTo>
                  <a:cubicBezTo>
                    <a:pt x="628750" y="728238"/>
                    <a:pt x="561790" y="746621"/>
                    <a:pt x="506259" y="713950"/>
                  </a:cubicBezTo>
                  <a:cubicBezTo>
                    <a:pt x="466540" y="690614"/>
                    <a:pt x="448442" y="646037"/>
                    <a:pt x="438441" y="603270"/>
                  </a:cubicBezTo>
                  <a:cubicBezTo>
                    <a:pt x="423963" y="633559"/>
                    <a:pt x="413866" y="667278"/>
                    <a:pt x="388625" y="690805"/>
                  </a:cubicBezTo>
                  <a:cubicBezTo>
                    <a:pt x="331952" y="747193"/>
                    <a:pt x="244702" y="756908"/>
                    <a:pt x="169074" y="745288"/>
                  </a:cubicBezTo>
                  <a:cubicBezTo>
                    <a:pt x="102113" y="735477"/>
                    <a:pt x="38676" y="691948"/>
                    <a:pt x="15341" y="626892"/>
                  </a:cubicBezTo>
                  <a:cubicBezTo>
                    <a:pt x="-9234" y="558693"/>
                    <a:pt x="-5900" y="476302"/>
                    <a:pt x="37153" y="416008"/>
                  </a:cubicBezTo>
                  <a:cubicBezTo>
                    <a:pt x="73062" y="366097"/>
                    <a:pt x="132498" y="339808"/>
                    <a:pt x="191076" y="327521"/>
                  </a:cubicBezTo>
                  <a:cubicBezTo>
                    <a:pt x="266515" y="311424"/>
                    <a:pt x="344048" y="317996"/>
                    <a:pt x="420629" y="316663"/>
                  </a:cubicBezTo>
                  <a:cubicBezTo>
                    <a:pt x="420439" y="273419"/>
                    <a:pt x="425963" y="222746"/>
                    <a:pt x="392911" y="189028"/>
                  </a:cubicBezTo>
                  <a:cubicBezTo>
                    <a:pt x="357764" y="155119"/>
                    <a:pt x="303377" y="154547"/>
                    <a:pt x="258323" y="163310"/>
                  </a:cubicBezTo>
                  <a:cubicBezTo>
                    <a:pt x="211460" y="172359"/>
                    <a:pt x="174884" y="205982"/>
                    <a:pt x="147452" y="243130"/>
                  </a:cubicBezTo>
                  <a:cubicBezTo>
                    <a:pt x="107447" y="207697"/>
                    <a:pt x="67728" y="171883"/>
                    <a:pt x="27247" y="137021"/>
                  </a:cubicBezTo>
                  <a:moveTo>
                    <a:pt x="252894" y="442583"/>
                  </a:moveTo>
                  <a:cubicBezTo>
                    <a:pt x="182600" y="464872"/>
                    <a:pt x="184981" y="591078"/>
                    <a:pt x="260038" y="604508"/>
                  </a:cubicBezTo>
                  <a:cubicBezTo>
                    <a:pt x="308044" y="613557"/>
                    <a:pt x="366337" y="609461"/>
                    <a:pt x="401579" y="571552"/>
                  </a:cubicBezTo>
                  <a:cubicBezTo>
                    <a:pt x="433298" y="532213"/>
                    <a:pt x="416438" y="477921"/>
                    <a:pt x="420534" y="431725"/>
                  </a:cubicBezTo>
                  <a:cubicBezTo>
                    <a:pt x="364813" y="434677"/>
                    <a:pt x="306615" y="423724"/>
                    <a:pt x="252894" y="442583"/>
                  </a:cubicBezTo>
                  <a:close/>
                </a:path>
              </a:pathLst>
            </a:custGeom>
            <a:solidFill>
              <a:srgbClr val="000000"/>
            </a:solidFill>
            <a:ln w="9525" cap="flat">
              <a:noFill/>
              <a:prstDash val="solid"/>
              <a:miter/>
            </a:ln>
          </p:spPr>
          <p:txBody>
            <a:bodyPr rtlCol="0" anchor="ctr"/>
            <a:lstStyle/>
            <a:p>
              <a:endParaRPr lang="en-US" sz="900"/>
            </a:p>
          </p:txBody>
        </p:sp>
        <p:sp>
          <p:nvSpPr>
            <p:cNvPr id="39" name="Freeform: Shape 38">
              <a:extLst>
                <a:ext uri="{FF2B5EF4-FFF2-40B4-BE49-F238E27FC236}">
                  <a16:creationId xmlns:a16="http://schemas.microsoft.com/office/drawing/2014/main" id="{E08DAAAF-22D3-8686-027F-301825BDAA00}"/>
                </a:ext>
              </a:extLst>
            </p:cNvPr>
            <p:cNvSpPr/>
            <p:nvPr/>
          </p:nvSpPr>
          <p:spPr>
            <a:xfrm>
              <a:off x="15602775" y="8849035"/>
              <a:ext cx="633507" cy="733518"/>
            </a:xfrm>
            <a:custGeom>
              <a:avLst/>
              <a:gdLst>
                <a:gd name="connsiteX0" fmla="*/ 311944 w 633507"/>
                <a:gd name="connsiteY0" fmla="*/ 20073 h 733518"/>
                <a:gd name="connsiteX1" fmla="*/ 569214 w 633507"/>
                <a:gd name="connsiteY1" fmla="*/ 66078 h 733518"/>
                <a:gd name="connsiteX2" fmla="*/ 633413 w 633507"/>
                <a:gd name="connsiteY2" fmla="*/ 276295 h 733518"/>
                <a:gd name="connsiteX3" fmla="*/ 633508 w 633507"/>
                <a:gd name="connsiteY3" fmla="*/ 733495 h 733518"/>
                <a:gd name="connsiteX4" fmla="*/ 431006 w 633507"/>
                <a:gd name="connsiteY4" fmla="*/ 733495 h 733518"/>
                <a:gd name="connsiteX5" fmla="*/ 430435 w 633507"/>
                <a:gd name="connsiteY5" fmla="*/ 276676 h 733518"/>
                <a:gd name="connsiteX6" fmla="*/ 369951 w 633507"/>
                <a:gd name="connsiteY6" fmla="*/ 169901 h 733518"/>
                <a:gd name="connsiteX7" fmla="*/ 203264 w 633507"/>
                <a:gd name="connsiteY7" fmla="*/ 257245 h 733518"/>
                <a:gd name="connsiteX8" fmla="*/ 202502 w 633507"/>
                <a:gd name="connsiteY8" fmla="*/ 733495 h 733518"/>
                <a:gd name="connsiteX9" fmla="*/ 0 w 633507"/>
                <a:gd name="connsiteY9" fmla="*/ 733400 h 733518"/>
                <a:gd name="connsiteX10" fmla="*/ 95 w 633507"/>
                <a:gd name="connsiteY10" fmla="*/ 16739 h 733518"/>
                <a:gd name="connsiteX11" fmla="*/ 202406 w 633507"/>
                <a:gd name="connsiteY11" fmla="*/ 16739 h 733518"/>
                <a:gd name="connsiteX12" fmla="*/ 204883 w 633507"/>
                <a:gd name="connsiteY12" fmla="*/ 144564 h 733518"/>
                <a:gd name="connsiteX13" fmla="*/ 311944 w 633507"/>
                <a:gd name="connsiteY13" fmla="*/ 20073 h 733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3507" h="733518">
                  <a:moveTo>
                    <a:pt x="311944" y="20073"/>
                  </a:moveTo>
                  <a:cubicBezTo>
                    <a:pt x="395669" y="-15837"/>
                    <a:pt x="506825" y="-5359"/>
                    <a:pt x="569214" y="66078"/>
                  </a:cubicBezTo>
                  <a:cubicBezTo>
                    <a:pt x="618649" y="123609"/>
                    <a:pt x="632365" y="202572"/>
                    <a:pt x="633413" y="276295"/>
                  </a:cubicBezTo>
                  <a:cubicBezTo>
                    <a:pt x="633603" y="428695"/>
                    <a:pt x="633317" y="581095"/>
                    <a:pt x="633508" y="733495"/>
                  </a:cubicBezTo>
                  <a:lnTo>
                    <a:pt x="431006" y="733495"/>
                  </a:lnTo>
                  <a:cubicBezTo>
                    <a:pt x="430625" y="581190"/>
                    <a:pt x="431864" y="428981"/>
                    <a:pt x="430435" y="276676"/>
                  </a:cubicBezTo>
                  <a:cubicBezTo>
                    <a:pt x="429101" y="234861"/>
                    <a:pt x="415290" y="183045"/>
                    <a:pt x="369951" y="169901"/>
                  </a:cubicBezTo>
                  <a:cubicBezTo>
                    <a:pt x="305086" y="150946"/>
                    <a:pt x="210884" y="180759"/>
                    <a:pt x="203264" y="257245"/>
                  </a:cubicBezTo>
                  <a:cubicBezTo>
                    <a:pt x="201263" y="415931"/>
                    <a:pt x="202978" y="574713"/>
                    <a:pt x="202502" y="733495"/>
                  </a:cubicBezTo>
                  <a:cubicBezTo>
                    <a:pt x="134970" y="733495"/>
                    <a:pt x="67437" y="733590"/>
                    <a:pt x="0" y="733400"/>
                  </a:cubicBezTo>
                  <a:cubicBezTo>
                    <a:pt x="191" y="494513"/>
                    <a:pt x="-95" y="255626"/>
                    <a:pt x="95" y="16739"/>
                  </a:cubicBezTo>
                  <a:lnTo>
                    <a:pt x="202406" y="16739"/>
                  </a:lnTo>
                  <a:cubicBezTo>
                    <a:pt x="203264" y="59315"/>
                    <a:pt x="200025" y="102083"/>
                    <a:pt x="204883" y="144564"/>
                  </a:cubicBezTo>
                  <a:cubicBezTo>
                    <a:pt x="226790" y="93606"/>
                    <a:pt x="258604" y="42456"/>
                    <a:pt x="311944" y="20073"/>
                  </a:cubicBezTo>
                  <a:close/>
                </a:path>
              </a:pathLst>
            </a:custGeom>
            <a:solidFill>
              <a:srgbClr val="000000"/>
            </a:solidFill>
            <a:ln w="9525" cap="flat">
              <a:noFill/>
              <a:prstDash val="solid"/>
              <a:miter/>
            </a:ln>
          </p:spPr>
          <p:txBody>
            <a:bodyPr rtlCol="0" anchor="ctr"/>
            <a:lstStyle/>
            <a:p>
              <a:endParaRPr lang="en-US" sz="900"/>
            </a:p>
          </p:txBody>
        </p:sp>
        <p:sp>
          <p:nvSpPr>
            <p:cNvPr id="40" name="Freeform: Shape 39">
              <a:extLst>
                <a:ext uri="{FF2B5EF4-FFF2-40B4-BE49-F238E27FC236}">
                  <a16:creationId xmlns:a16="http://schemas.microsoft.com/office/drawing/2014/main" id="{3BF8AFFD-1B6C-839E-B09F-AF5203BE810E}"/>
                </a:ext>
              </a:extLst>
            </p:cNvPr>
            <p:cNvSpPr/>
            <p:nvPr/>
          </p:nvSpPr>
          <p:spPr>
            <a:xfrm>
              <a:off x="17116014" y="8849344"/>
              <a:ext cx="669651" cy="749917"/>
            </a:xfrm>
            <a:custGeom>
              <a:avLst/>
              <a:gdLst>
                <a:gd name="connsiteX0" fmla="*/ 174305 w 669651"/>
                <a:gd name="connsiteY0" fmla="*/ 34909 h 749917"/>
                <a:gd name="connsiteX1" fmla="*/ 433670 w 669651"/>
                <a:gd name="connsiteY1" fmla="*/ 11287 h 749917"/>
                <a:gd name="connsiteX2" fmla="*/ 624838 w 669651"/>
                <a:gd name="connsiteY2" fmla="*/ 161973 h 749917"/>
                <a:gd name="connsiteX3" fmla="*/ 669129 w 669651"/>
                <a:gd name="connsiteY3" fmla="*/ 426482 h 749917"/>
                <a:gd name="connsiteX4" fmla="*/ 208500 w 669651"/>
                <a:gd name="connsiteY4" fmla="*/ 426482 h 749917"/>
                <a:gd name="connsiteX5" fmla="*/ 248028 w 669651"/>
                <a:gd name="connsiteY5" fmla="*/ 549450 h 749917"/>
                <a:gd name="connsiteX6" fmla="*/ 408049 w 669651"/>
                <a:gd name="connsiteY6" fmla="*/ 587645 h 749917"/>
                <a:gd name="connsiteX7" fmla="*/ 543589 w 669651"/>
                <a:gd name="connsiteY7" fmla="*/ 505063 h 749917"/>
                <a:gd name="connsiteX8" fmla="*/ 645031 w 669651"/>
                <a:gd name="connsiteY8" fmla="*/ 631269 h 749917"/>
                <a:gd name="connsiteX9" fmla="*/ 388617 w 669651"/>
                <a:gd name="connsiteY9" fmla="*/ 747951 h 749917"/>
                <a:gd name="connsiteX10" fmla="*/ 125441 w 669651"/>
                <a:gd name="connsiteY10" fmla="*/ 681752 h 749917"/>
                <a:gd name="connsiteX11" fmla="*/ 5045 w 669651"/>
                <a:gd name="connsiteY11" fmla="*/ 451342 h 749917"/>
                <a:gd name="connsiteX12" fmla="*/ 33526 w 669651"/>
                <a:gd name="connsiteY12" fmla="*/ 189214 h 749917"/>
                <a:gd name="connsiteX13" fmla="*/ 174305 w 669651"/>
                <a:gd name="connsiteY13" fmla="*/ 34909 h 749917"/>
                <a:gd name="connsiteX14" fmla="*/ 232502 w 669651"/>
                <a:gd name="connsiteY14" fmla="*/ 205788 h 749917"/>
                <a:gd name="connsiteX15" fmla="*/ 208500 w 669651"/>
                <a:gd name="connsiteY15" fmla="*/ 307324 h 749917"/>
                <a:gd name="connsiteX16" fmla="*/ 460722 w 669651"/>
                <a:gd name="connsiteY16" fmla="*/ 307324 h 749917"/>
                <a:gd name="connsiteX17" fmla="*/ 423956 w 669651"/>
                <a:gd name="connsiteY17" fmla="*/ 182547 h 749917"/>
                <a:gd name="connsiteX18" fmla="*/ 232502 w 669651"/>
                <a:gd name="connsiteY18" fmla="*/ 205883 h 749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9651" h="749917">
                  <a:moveTo>
                    <a:pt x="174305" y="34909"/>
                  </a:moveTo>
                  <a:cubicBezTo>
                    <a:pt x="254220" y="-3858"/>
                    <a:pt x="347945" y="-8144"/>
                    <a:pt x="433670" y="11287"/>
                  </a:cubicBezTo>
                  <a:cubicBezTo>
                    <a:pt x="515681" y="29956"/>
                    <a:pt x="587690" y="86439"/>
                    <a:pt x="624838" y="161973"/>
                  </a:cubicBezTo>
                  <a:cubicBezTo>
                    <a:pt x="667223" y="243126"/>
                    <a:pt x="671510" y="336852"/>
                    <a:pt x="669129" y="426482"/>
                  </a:cubicBezTo>
                  <a:cubicBezTo>
                    <a:pt x="515586" y="426482"/>
                    <a:pt x="362043" y="426482"/>
                    <a:pt x="208500" y="426482"/>
                  </a:cubicBezTo>
                  <a:cubicBezTo>
                    <a:pt x="208690" y="469916"/>
                    <a:pt x="215834" y="517350"/>
                    <a:pt x="248028" y="549450"/>
                  </a:cubicBezTo>
                  <a:cubicBezTo>
                    <a:pt x="289272" y="590693"/>
                    <a:pt x="353089" y="596217"/>
                    <a:pt x="408049" y="587645"/>
                  </a:cubicBezTo>
                  <a:cubicBezTo>
                    <a:pt x="462341" y="579453"/>
                    <a:pt x="506537" y="543449"/>
                    <a:pt x="543589" y="505063"/>
                  </a:cubicBezTo>
                  <a:cubicBezTo>
                    <a:pt x="577308" y="547259"/>
                    <a:pt x="611216" y="589169"/>
                    <a:pt x="645031" y="631269"/>
                  </a:cubicBezTo>
                  <a:cubicBezTo>
                    <a:pt x="580260" y="703755"/>
                    <a:pt x="484153" y="740997"/>
                    <a:pt x="388617" y="747951"/>
                  </a:cubicBezTo>
                  <a:cubicBezTo>
                    <a:pt x="297273" y="756047"/>
                    <a:pt x="198880" y="740140"/>
                    <a:pt x="125441" y="681752"/>
                  </a:cubicBezTo>
                  <a:cubicBezTo>
                    <a:pt x="54481" y="626602"/>
                    <a:pt x="16381" y="538782"/>
                    <a:pt x="5045" y="451342"/>
                  </a:cubicBezTo>
                  <a:cubicBezTo>
                    <a:pt x="-5812" y="363522"/>
                    <a:pt x="-384" y="271701"/>
                    <a:pt x="33526" y="189214"/>
                  </a:cubicBezTo>
                  <a:cubicBezTo>
                    <a:pt x="60291" y="123301"/>
                    <a:pt x="110011" y="66246"/>
                    <a:pt x="174305" y="34909"/>
                  </a:cubicBezTo>
                  <a:moveTo>
                    <a:pt x="232502" y="205788"/>
                  </a:moveTo>
                  <a:cubicBezTo>
                    <a:pt x="213072" y="235887"/>
                    <a:pt x="209262" y="272367"/>
                    <a:pt x="208500" y="307324"/>
                  </a:cubicBezTo>
                  <a:cubicBezTo>
                    <a:pt x="292510" y="307324"/>
                    <a:pt x="376616" y="307324"/>
                    <a:pt x="460722" y="307324"/>
                  </a:cubicBezTo>
                  <a:cubicBezTo>
                    <a:pt x="459770" y="263890"/>
                    <a:pt x="455292" y="215884"/>
                    <a:pt x="423956" y="182547"/>
                  </a:cubicBezTo>
                  <a:cubicBezTo>
                    <a:pt x="372234" y="128730"/>
                    <a:pt x="270317" y="141780"/>
                    <a:pt x="232502" y="205883"/>
                  </a:cubicBezTo>
                  <a:close/>
                </a:path>
              </a:pathLst>
            </a:custGeom>
            <a:solidFill>
              <a:srgbClr val="000000"/>
            </a:solidFill>
            <a:ln w="9525" cap="flat">
              <a:noFill/>
              <a:prstDash val="solid"/>
              <a:miter/>
            </a:ln>
          </p:spPr>
          <p:txBody>
            <a:bodyPr rtlCol="0" anchor="ctr"/>
            <a:lstStyle/>
            <a:p>
              <a:endParaRPr lang="en-US" sz="900"/>
            </a:p>
          </p:txBody>
        </p:sp>
      </p:grpSp>
      <p:pic>
        <p:nvPicPr>
          <p:cNvPr id="4" name="Picture 3">
            <a:extLst>
              <a:ext uri="{FF2B5EF4-FFF2-40B4-BE49-F238E27FC236}">
                <a16:creationId xmlns:a16="http://schemas.microsoft.com/office/drawing/2014/main" id="{2DE16743-7FE4-7DB0-AE65-92E8AEA8C0B8}"/>
              </a:ext>
            </a:extLst>
          </p:cNvPr>
          <p:cNvPicPr>
            <a:picLocks noChangeAspect="1"/>
          </p:cNvPicPr>
          <p:nvPr userDrawn="1"/>
        </p:nvPicPr>
        <p:blipFill>
          <a:blip r:embed="rId2"/>
          <a:stretch>
            <a:fillRect/>
          </a:stretch>
        </p:blipFill>
        <p:spPr>
          <a:xfrm>
            <a:off x="11081689" y="266700"/>
            <a:ext cx="819043" cy="304800"/>
          </a:xfrm>
          <a:prstGeom prst="rect">
            <a:avLst/>
          </a:prstGeom>
        </p:spPr>
      </p:pic>
      <p:sp>
        <p:nvSpPr>
          <p:cNvPr id="24" name="TextBox 23">
            <a:extLst>
              <a:ext uri="{FF2B5EF4-FFF2-40B4-BE49-F238E27FC236}">
                <a16:creationId xmlns:a16="http://schemas.microsoft.com/office/drawing/2014/main" id="{E731D5B8-4EA5-5E55-4109-62B4448E3095}"/>
              </a:ext>
            </a:extLst>
          </p:cNvPr>
          <p:cNvSpPr txBox="1"/>
          <p:nvPr userDrawn="1"/>
        </p:nvSpPr>
        <p:spPr>
          <a:xfrm>
            <a:off x="270381" y="5966327"/>
            <a:ext cx="2761097" cy="646331"/>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r>
              <a:rPr lang="en-US" sz="1400" kern="0"/>
              <a:t>October 21–24, 2024</a:t>
            </a:r>
          </a:p>
          <a:p>
            <a:r>
              <a:rPr lang="en-US" sz="1400" kern="0"/>
              <a:t>Mandalay Bay Convention Center</a:t>
            </a:r>
            <a:br>
              <a:rPr lang="en-US" sz="1400" kern="0"/>
            </a:br>
            <a:r>
              <a:rPr lang="en-US" sz="1400" kern="0"/>
              <a:t>Las Vegas, Nevada</a:t>
            </a:r>
          </a:p>
        </p:txBody>
      </p:sp>
      <p:grpSp>
        <p:nvGrpSpPr>
          <p:cNvPr id="2" name="Group 1">
            <a:extLst>
              <a:ext uri="{FF2B5EF4-FFF2-40B4-BE49-F238E27FC236}">
                <a16:creationId xmlns:a16="http://schemas.microsoft.com/office/drawing/2014/main" id="{61955243-FDD9-38F4-67E5-08E40398CBFB}"/>
              </a:ext>
            </a:extLst>
          </p:cNvPr>
          <p:cNvGrpSpPr/>
          <p:nvPr userDrawn="1"/>
        </p:nvGrpSpPr>
        <p:grpSpPr>
          <a:xfrm>
            <a:off x="6407331" y="1234495"/>
            <a:ext cx="5496670" cy="5332199"/>
            <a:chOff x="12816331" y="921113"/>
            <a:chExt cx="10994772" cy="10664398"/>
          </a:xfrm>
        </p:grpSpPr>
        <p:sp>
          <p:nvSpPr>
            <p:cNvPr id="3" name="Rectangle 2">
              <a:extLst>
                <a:ext uri="{FF2B5EF4-FFF2-40B4-BE49-F238E27FC236}">
                  <a16:creationId xmlns:a16="http://schemas.microsoft.com/office/drawing/2014/main" id="{EC35D6C5-324D-054F-7D84-45882D8CFB0B}"/>
                </a:ext>
              </a:extLst>
            </p:cNvPr>
            <p:cNvSpPr>
              <a:spLocks noChangeAspect="1"/>
            </p:cNvSpPr>
            <p:nvPr/>
          </p:nvSpPr>
          <p:spPr bwMode="auto">
            <a:xfrm>
              <a:off x="18324703" y="6099111"/>
              <a:ext cx="5486400" cy="5486400"/>
            </a:xfrm>
            <a:prstGeom prst="rect">
              <a:avLst/>
            </a:prstGeom>
            <a:solidFill>
              <a:schemeClr val="tx1">
                <a:alpha val="32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163767" marR="0" indent="-163767" algn="l" defTabSz="457109"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uk-UA" sz="1000" b="0" i="0" u="none" strike="noStrike" cap="none" normalizeH="0" baseline="0">
                <a:ln>
                  <a:noFill/>
                </a:ln>
                <a:solidFill>
                  <a:schemeClr val="bg1"/>
                </a:solidFill>
                <a:effectLst/>
                <a:latin typeface="+mn-lt"/>
              </a:endParaRPr>
            </a:p>
          </p:txBody>
        </p:sp>
        <p:sp>
          <p:nvSpPr>
            <p:cNvPr id="5" name="Freeform: Shape 4">
              <a:extLst>
                <a:ext uri="{FF2B5EF4-FFF2-40B4-BE49-F238E27FC236}">
                  <a16:creationId xmlns:a16="http://schemas.microsoft.com/office/drawing/2014/main" id="{6E76E893-8292-959C-74CA-9EFEF503B53A}"/>
                </a:ext>
              </a:extLst>
            </p:cNvPr>
            <p:cNvSpPr>
              <a:spLocks noChangeAspect="1"/>
            </p:cNvSpPr>
            <p:nvPr/>
          </p:nvSpPr>
          <p:spPr>
            <a:xfrm>
              <a:off x="12816331" y="8842243"/>
              <a:ext cx="2743200" cy="2743268"/>
            </a:xfrm>
            <a:custGeom>
              <a:avLst/>
              <a:gdLst>
                <a:gd name="connsiteX0" fmla="*/ 164333 w 305786"/>
                <a:gd name="connsiteY0" fmla="*/ 305795 h 305794"/>
                <a:gd name="connsiteX1" fmla="*/ 162308 w 305786"/>
                <a:gd name="connsiteY1" fmla="*/ 305257 h 305794"/>
                <a:gd name="connsiteX2" fmla="*/ 160213 w 305786"/>
                <a:gd name="connsiteY2" fmla="*/ 301675 h 305794"/>
                <a:gd name="connsiteX3" fmla="*/ 160213 w 305786"/>
                <a:gd name="connsiteY3" fmla="*/ 225134 h 305794"/>
                <a:gd name="connsiteX4" fmla="*/ 156666 w 305786"/>
                <a:gd name="connsiteY4" fmla="*/ 223669 h 305794"/>
                <a:gd name="connsiteX5" fmla="*/ 98574 w 305786"/>
                <a:gd name="connsiteY5" fmla="*/ 281704 h 305794"/>
                <a:gd name="connsiteX6" fmla="*/ 92749 w 305786"/>
                <a:gd name="connsiteY6" fmla="*/ 275867 h 305794"/>
                <a:gd name="connsiteX7" fmla="*/ 150818 w 305786"/>
                <a:gd name="connsiteY7" fmla="*/ 217844 h 305794"/>
                <a:gd name="connsiteX8" fmla="*/ 148758 w 305786"/>
                <a:gd name="connsiteY8" fmla="*/ 210119 h 305794"/>
                <a:gd name="connsiteX9" fmla="*/ 164322 w 305786"/>
                <a:gd name="connsiteY9" fmla="*/ 194555 h 305794"/>
                <a:gd name="connsiteX10" fmla="*/ 179886 w 305786"/>
                <a:gd name="connsiteY10" fmla="*/ 210119 h 305794"/>
                <a:gd name="connsiteX11" fmla="*/ 168442 w 305786"/>
                <a:gd name="connsiteY11" fmla="*/ 225134 h 305794"/>
                <a:gd name="connsiteX12" fmla="*/ 168442 w 305786"/>
                <a:gd name="connsiteY12" fmla="*/ 294407 h 305794"/>
                <a:gd name="connsiteX13" fmla="*/ 217413 w 305786"/>
                <a:gd name="connsiteY13" fmla="*/ 265018 h 305794"/>
                <a:gd name="connsiteX14" fmla="*/ 217413 w 305786"/>
                <a:gd name="connsiteY14" fmla="*/ 164342 h 305794"/>
                <a:gd name="connsiteX15" fmla="*/ 218614 w 305786"/>
                <a:gd name="connsiteY15" fmla="*/ 161435 h 305794"/>
                <a:gd name="connsiteX16" fmla="*/ 266372 w 305786"/>
                <a:gd name="connsiteY16" fmla="*/ 113700 h 305794"/>
                <a:gd name="connsiteX17" fmla="*/ 297546 w 305786"/>
                <a:gd name="connsiteY17" fmla="*/ 38453 h 305794"/>
                <a:gd name="connsiteX18" fmla="*/ 297546 w 305786"/>
                <a:gd name="connsiteY18" fmla="*/ 8240 h 305794"/>
                <a:gd name="connsiteX19" fmla="*/ 267333 w 305786"/>
                <a:gd name="connsiteY19" fmla="*/ 8240 h 305794"/>
                <a:gd name="connsiteX20" fmla="*/ 192120 w 305786"/>
                <a:gd name="connsiteY20" fmla="*/ 39403 h 305794"/>
                <a:gd name="connsiteX21" fmla="*/ 144363 w 305786"/>
                <a:gd name="connsiteY21" fmla="*/ 87138 h 305794"/>
                <a:gd name="connsiteX22" fmla="*/ 141445 w 305786"/>
                <a:gd name="connsiteY22" fmla="*/ 88351 h 305794"/>
                <a:gd name="connsiteX23" fmla="*/ 40791 w 305786"/>
                <a:gd name="connsiteY23" fmla="*/ 88351 h 305794"/>
                <a:gd name="connsiteX24" fmla="*/ 11390 w 305786"/>
                <a:gd name="connsiteY24" fmla="*/ 137333 h 305794"/>
                <a:gd name="connsiteX25" fmla="*/ 80652 w 305786"/>
                <a:gd name="connsiteY25" fmla="*/ 137333 h 305794"/>
                <a:gd name="connsiteX26" fmla="*/ 95667 w 305786"/>
                <a:gd name="connsiteY26" fmla="*/ 125888 h 305794"/>
                <a:gd name="connsiteX27" fmla="*/ 111231 w 305786"/>
                <a:gd name="connsiteY27" fmla="*/ 141453 h 305794"/>
                <a:gd name="connsiteX28" fmla="*/ 95667 w 305786"/>
                <a:gd name="connsiteY28" fmla="*/ 157017 h 305794"/>
                <a:gd name="connsiteX29" fmla="*/ 87965 w 305786"/>
                <a:gd name="connsiteY29" fmla="*/ 154980 h 305794"/>
                <a:gd name="connsiteX30" fmla="*/ 29907 w 305786"/>
                <a:gd name="connsiteY30" fmla="*/ 213038 h 305794"/>
                <a:gd name="connsiteX31" fmla="*/ 24082 w 305786"/>
                <a:gd name="connsiteY31" fmla="*/ 207201 h 305794"/>
                <a:gd name="connsiteX32" fmla="*/ 82128 w 305786"/>
                <a:gd name="connsiteY32" fmla="*/ 149144 h 305794"/>
                <a:gd name="connsiteX33" fmla="*/ 80652 w 305786"/>
                <a:gd name="connsiteY33" fmla="*/ 145573 h 305794"/>
                <a:gd name="connsiteX34" fmla="*/ 4112 w 305786"/>
                <a:gd name="connsiteY34" fmla="*/ 145573 h 305794"/>
                <a:gd name="connsiteX35" fmla="*/ 530 w 305786"/>
                <a:gd name="connsiteY35" fmla="*/ 143479 h 305794"/>
                <a:gd name="connsiteX36" fmla="*/ 587 w 305786"/>
                <a:gd name="connsiteY36" fmla="*/ 139336 h 305794"/>
                <a:gd name="connsiteX37" fmla="*/ 34931 w 305786"/>
                <a:gd name="connsiteY37" fmla="*/ 82114 h 305794"/>
                <a:gd name="connsiteX38" fmla="*/ 38456 w 305786"/>
                <a:gd name="connsiteY38" fmla="*/ 80111 h 305794"/>
                <a:gd name="connsiteX39" fmla="*/ 139739 w 305786"/>
                <a:gd name="connsiteY39" fmla="*/ 80111 h 305794"/>
                <a:gd name="connsiteX40" fmla="*/ 186284 w 305786"/>
                <a:gd name="connsiteY40" fmla="*/ 33578 h 305794"/>
                <a:gd name="connsiteX41" fmla="*/ 267333 w 305786"/>
                <a:gd name="connsiteY41" fmla="*/ 0 h 305794"/>
                <a:gd name="connsiteX42" fmla="*/ 301666 w 305786"/>
                <a:gd name="connsiteY42" fmla="*/ 0 h 305794"/>
                <a:gd name="connsiteX43" fmla="*/ 305786 w 305786"/>
                <a:gd name="connsiteY43" fmla="*/ 4120 h 305794"/>
                <a:gd name="connsiteX44" fmla="*/ 305786 w 305786"/>
                <a:gd name="connsiteY44" fmla="*/ 38453 h 305794"/>
                <a:gd name="connsiteX45" fmla="*/ 272220 w 305786"/>
                <a:gd name="connsiteY45" fmla="*/ 119514 h 305794"/>
                <a:gd name="connsiteX46" fmla="*/ 225675 w 305786"/>
                <a:gd name="connsiteY46" fmla="*/ 166047 h 305794"/>
                <a:gd name="connsiteX47" fmla="*/ 225675 w 305786"/>
                <a:gd name="connsiteY47" fmla="*/ 267341 h 305794"/>
                <a:gd name="connsiteX48" fmla="*/ 223673 w 305786"/>
                <a:gd name="connsiteY48" fmla="*/ 270878 h 305794"/>
                <a:gd name="connsiteX49" fmla="*/ 166451 w 305786"/>
                <a:gd name="connsiteY49" fmla="*/ 305211 h 305794"/>
                <a:gd name="connsiteX50" fmla="*/ 164333 w 305786"/>
                <a:gd name="connsiteY50" fmla="*/ 305795 h 305794"/>
                <a:gd name="connsiteX51" fmla="*/ 164333 w 305786"/>
                <a:gd name="connsiteY51" fmla="*/ 202795 h 305794"/>
                <a:gd name="connsiteX52" fmla="*/ 157009 w 305786"/>
                <a:gd name="connsiteY52" fmla="*/ 210119 h 305794"/>
                <a:gd name="connsiteX53" fmla="*/ 164333 w 305786"/>
                <a:gd name="connsiteY53" fmla="*/ 217444 h 305794"/>
                <a:gd name="connsiteX54" fmla="*/ 171658 w 305786"/>
                <a:gd name="connsiteY54" fmla="*/ 210119 h 305794"/>
                <a:gd name="connsiteX55" fmla="*/ 164333 w 305786"/>
                <a:gd name="connsiteY55" fmla="*/ 202795 h 305794"/>
                <a:gd name="connsiteX56" fmla="*/ 95667 w 305786"/>
                <a:gd name="connsiteY56" fmla="*/ 134128 h 305794"/>
                <a:gd name="connsiteX57" fmla="*/ 88343 w 305786"/>
                <a:gd name="connsiteY57" fmla="*/ 141453 h 305794"/>
                <a:gd name="connsiteX58" fmla="*/ 95667 w 305786"/>
                <a:gd name="connsiteY58" fmla="*/ 148777 h 305794"/>
                <a:gd name="connsiteX59" fmla="*/ 102991 w 305786"/>
                <a:gd name="connsiteY59" fmla="*/ 141453 h 305794"/>
                <a:gd name="connsiteX60" fmla="*/ 95667 w 305786"/>
                <a:gd name="connsiteY60" fmla="*/ 134128 h 305794"/>
                <a:gd name="connsiteX61" fmla="*/ 7019 w 305786"/>
                <a:gd name="connsiteY61" fmla="*/ 304593 h 305794"/>
                <a:gd name="connsiteX62" fmla="*/ 1193 w 305786"/>
                <a:gd name="connsiteY62" fmla="*/ 298756 h 305794"/>
                <a:gd name="connsiteX63" fmla="*/ 150806 w 305786"/>
                <a:gd name="connsiteY63" fmla="*/ 149155 h 305794"/>
                <a:gd name="connsiteX64" fmla="*/ 148769 w 305786"/>
                <a:gd name="connsiteY64" fmla="*/ 141453 h 305794"/>
                <a:gd name="connsiteX65" fmla="*/ 164333 w 305786"/>
                <a:gd name="connsiteY65" fmla="*/ 125888 h 305794"/>
                <a:gd name="connsiteX66" fmla="*/ 179898 w 305786"/>
                <a:gd name="connsiteY66" fmla="*/ 141453 h 305794"/>
                <a:gd name="connsiteX67" fmla="*/ 164333 w 305786"/>
                <a:gd name="connsiteY67" fmla="*/ 157017 h 305794"/>
                <a:gd name="connsiteX68" fmla="*/ 156631 w 305786"/>
                <a:gd name="connsiteY68" fmla="*/ 154980 h 305794"/>
                <a:gd name="connsiteX69" fmla="*/ 7019 w 305786"/>
                <a:gd name="connsiteY69" fmla="*/ 304593 h 305794"/>
                <a:gd name="connsiteX70" fmla="*/ 164333 w 305786"/>
                <a:gd name="connsiteY70" fmla="*/ 134128 h 305794"/>
                <a:gd name="connsiteX71" fmla="*/ 157009 w 305786"/>
                <a:gd name="connsiteY71" fmla="*/ 141453 h 305794"/>
                <a:gd name="connsiteX72" fmla="*/ 164333 w 305786"/>
                <a:gd name="connsiteY72" fmla="*/ 148777 h 305794"/>
                <a:gd name="connsiteX73" fmla="*/ 171658 w 305786"/>
                <a:gd name="connsiteY73" fmla="*/ 141453 h 305794"/>
                <a:gd name="connsiteX74" fmla="*/ 164333 w 305786"/>
                <a:gd name="connsiteY74" fmla="*/ 134128 h 305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305786" h="305794">
                  <a:moveTo>
                    <a:pt x="164333" y="305795"/>
                  </a:moveTo>
                  <a:cubicBezTo>
                    <a:pt x="163635" y="305795"/>
                    <a:pt x="162937" y="305611"/>
                    <a:pt x="162308" y="305257"/>
                  </a:cubicBezTo>
                  <a:cubicBezTo>
                    <a:pt x="161015" y="304524"/>
                    <a:pt x="160213" y="303162"/>
                    <a:pt x="160213" y="301675"/>
                  </a:cubicBezTo>
                  <a:lnTo>
                    <a:pt x="160213" y="225134"/>
                  </a:lnTo>
                  <a:cubicBezTo>
                    <a:pt x="158966" y="224791"/>
                    <a:pt x="157776" y="224299"/>
                    <a:pt x="156666" y="223669"/>
                  </a:cubicBezTo>
                  <a:lnTo>
                    <a:pt x="98574" y="281704"/>
                  </a:lnTo>
                  <a:lnTo>
                    <a:pt x="92749" y="275867"/>
                  </a:lnTo>
                  <a:lnTo>
                    <a:pt x="150818" y="217844"/>
                  </a:lnTo>
                  <a:cubicBezTo>
                    <a:pt x="149513" y="215578"/>
                    <a:pt x="148758" y="212935"/>
                    <a:pt x="148758" y="210119"/>
                  </a:cubicBezTo>
                  <a:cubicBezTo>
                    <a:pt x="148758" y="201536"/>
                    <a:pt x="155739" y="194555"/>
                    <a:pt x="164322" y="194555"/>
                  </a:cubicBezTo>
                  <a:cubicBezTo>
                    <a:pt x="172905" y="194555"/>
                    <a:pt x="179886" y="201536"/>
                    <a:pt x="179886" y="210119"/>
                  </a:cubicBezTo>
                  <a:cubicBezTo>
                    <a:pt x="179886" y="217272"/>
                    <a:pt x="175022" y="223315"/>
                    <a:pt x="168442" y="225134"/>
                  </a:cubicBezTo>
                  <a:lnTo>
                    <a:pt x="168442" y="294407"/>
                  </a:lnTo>
                  <a:lnTo>
                    <a:pt x="217413" y="265018"/>
                  </a:lnTo>
                  <a:lnTo>
                    <a:pt x="217413" y="164342"/>
                  </a:lnTo>
                  <a:cubicBezTo>
                    <a:pt x="217413" y="163243"/>
                    <a:pt x="217847" y="162202"/>
                    <a:pt x="218614" y="161435"/>
                  </a:cubicBezTo>
                  <a:lnTo>
                    <a:pt x="266372" y="113700"/>
                  </a:lnTo>
                  <a:cubicBezTo>
                    <a:pt x="286491" y="93592"/>
                    <a:pt x="297546" y="66881"/>
                    <a:pt x="297546" y="38453"/>
                  </a:cubicBezTo>
                  <a:lnTo>
                    <a:pt x="297546" y="8240"/>
                  </a:lnTo>
                  <a:lnTo>
                    <a:pt x="267333" y="8240"/>
                  </a:lnTo>
                  <a:cubicBezTo>
                    <a:pt x="238928" y="8240"/>
                    <a:pt x="212205" y="19307"/>
                    <a:pt x="192120" y="39403"/>
                  </a:cubicBezTo>
                  <a:lnTo>
                    <a:pt x="144363" y="87138"/>
                  </a:lnTo>
                  <a:cubicBezTo>
                    <a:pt x="143585" y="87916"/>
                    <a:pt x="142543" y="88351"/>
                    <a:pt x="141445" y="88351"/>
                  </a:cubicBezTo>
                  <a:lnTo>
                    <a:pt x="40791" y="88351"/>
                  </a:lnTo>
                  <a:lnTo>
                    <a:pt x="11390" y="137333"/>
                  </a:lnTo>
                  <a:lnTo>
                    <a:pt x="80652" y="137333"/>
                  </a:lnTo>
                  <a:cubicBezTo>
                    <a:pt x="82460" y="130741"/>
                    <a:pt x="88503" y="125888"/>
                    <a:pt x="95667" y="125888"/>
                  </a:cubicBezTo>
                  <a:cubicBezTo>
                    <a:pt x="104250" y="125888"/>
                    <a:pt x="111231" y="132870"/>
                    <a:pt x="111231" y="141453"/>
                  </a:cubicBezTo>
                  <a:cubicBezTo>
                    <a:pt x="111231" y="150036"/>
                    <a:pt x="104250" y="157017"/>
                    <a:pt x="95667" y="157017"/>
                  </a:cubicBezTo>
                  <a:cubicBezTo>
                    <a:pt x="92863" y="157017"/>
                    <a:pt x="90242" y="156273"/>
                    <a:pt x="87965" y="154980"/>
                  </a:cubicBezTo>
                  <a:lnTo>
                    <a:pt x="29907" y="213038"/>
                  </a:lnTo>
                  <a:lnTo>
                    <a:pt x="24082" y="207201"/>
                  </a:lnTo>
                  <a:lnTo>
                    <a:pt x="82128" y="149144"/>
                  </a:lnTo>
                  <a:cubicBezTo>
                    <a:pt x="81499" y="148033"/>
                    <a:pt x="80995" y="146832"/>
                    <a:pt x="80652" y="145573"/>
                  </a:cubicBezTo>
                  <a:lnTo>
                    <a:pt x="4112" y="145573"/>
                  </a:lnTo>
                  <a:cubicBezTo>
                    <a:pt x="2624" y="145573"/>
                    <a:pt x="1251" y="144772"/>
                    <a:pt x="530" y="143479"/>
                  </a:cubicBezTo>
                  <a:cubicBezTo>
                    <a:pt x="-191" y="142185"/>
                    <a:pt x="-180" y="140606"/>
                    <a:pt x="587" y="139336"/>
                  </a:cubicBezTo>
                  <a:lnTo>
                    <a:pt x="34931" y="82114"/>
                  </a:lnTo>
                  <a:cubicBezTo>
                    <a:pt x="35675" y="80878"/>
                    <a:pt x="37014" y="80111"/>
                    <a:pt x="38456" y="80111"/>
                  </a:cubicBezTo>
                  <a:lnTo>
                    <a:pt x="139739" y="80111"/>
                  </a:lnTo>
                  <a:lnTo>
                    <a:pt x="186284" y="33578"/>
                  </a:lnTo>
                  <a:cubicBezTo>
                    <a:pt x="207937" y="11925"/>
                    <a:pt x="236719" y="0"/>
                    <a:pt x="267333" y="0"/>
                  </a:cubicBezTo>
                  <a:lnTo>
                    <a:pt x="301666" y="0"/>
                  </a:lnTo>
                  <a:cubicBezTo>
                    <a:pt x="303944" y="0"/>
                    <a:pt x="305786" y="1843"/>
                    <a:pt x="305786" y="4120"/>
                  </a:cubicBezTo>
                  <a:lnTo>
                    <a:pt x="305786" y="38453"/>
                  </a:lnTo>
                  <a:cubicBezTo>
                    <a:pt x="305786" y="69078"/>
                    <a:pt x="293861" y="97861"/>
                    <a:pt x="272220" y="119514"/>
                  </a:cubicBezTo>
                  <a:lnTo>
                    <a:pt x="225675" y="166047"/>
                  </a:lnTo>
                  <a:lnTo>
                    <a:pt x="225675" y="267341"/>
                  </a:lnTo>
                  <a:cubicBezTo>
                    <a:pt x="225675" y="268783"/>
                    <a:pt x="224920" y="270122"/>
                    <a:pt x="223673" y="270878"/>
                  </a:cubicBezTo>
                  <a:lnTo>
                    <a:pt x="166451" y="305211"/>
                  </a:lnTo>
                  <a:cubicBezTo>
                    <a:pt x="165798" y="305600"/>
                    <a:pt x="165066" y="305795"/>
                    <a:pt x="164333" y="305795"/>
                  </a:cubicBezTo>
                  <a:close/>
                  <a:moveTo>
                    <a:pt x="164333" y="202795"/>
                  </a:moveTo>
                  <a:cubicBezTo>
                    <a:pt x="160294" y="202795"/>
                    <a:pt x="157009" y="206079"/>
                    <a:pt x="157009" y="210119"/>
                  </a:cubicBezTo>
                  <a:cubicBezTo>
                    <a:pt x="157009" y="214159"/>
                    <a:pt x="160294" y="217444"/>
                    <a:pt x="164333" y="217444"/>
                  </a:cubicBezTo>
                  <a:cubicBezTo>
                    <a:pt x="168373" y="217444"/>
                    <a:pt x="171658" y="214159"/>
                    <a:pt x="171658" y="210119"/>
                  </a:cubicBezTo>
                  <a:cubicBezTo>
                    <a:pt x="171658" y="206079"/>
                    <a:pt x="168373" y="202795"/>
                    <a:pt x="164333" y="202795"/>
                  </a:cubicBezTo>
                  <a:close/>
                  <a:moveTo>
                    <a:pt x="95667" y="134128"/>
                  </a:moveTo>
                  <a:cubicBezTo>
                    <a:pt x="91627" y="134128"/>
                    <a:pt x="88343" y="137413"/>
                    <a:pt x="88343" y="141453"/>
                  </a:cubicBezTo>
                  <a:cubicBezTo>
                    <a:pt x="88343" y="145493"/>
                    <a:pt x="91627" y="148777"/>
                    <a:pt x="95667" y="148777"/>
                  </a:cubicBezTo>
                  <a:cubicBezTo>
                    <a:pt x="99707" y="148777"/>
                    <a:pt x="102991" y="145493"/>
                    <a:pt x="102991" y="141453"/>
                  </a:cubicBezTo>
                  <a:cubicBezTo>
                    <a:pt x="102991" y="137413"/>
                    <a:pt x="99707" y="134128"/>
                    <a:pt x="95667" y="134128"/>
                  </a:cubicBezTo>
                  <a:close/>
                  <a:moveTo>
                    <a:pt x="7019" y="304593"/>
                  </a:moveTo>
                  <a:lnTo>
                    <a:pt x="1193" y="298756"/>
                  </a:lnTo>
                  <a:lnTo>
                    <a:pt x="150806" y="149155"/>
                  </a:lnTo>
                  <a:cubicBezTo>
                    <a:pt x="149513" y="146878"/>
                    <a:pt x="148769" y="144257"/>
                    <a:pt x="148769" y="141453"/>
                  </a:cubicBezTo>
                  <a:cubicBezTo>
                    <a:pt x="148769" y="132870"/>
                    <a:pt x="155750" y="125888"/>
                    <a:pt x="164333" y="125888"/>
                  </a:cubicBezTo>
                  <a:cubicBezTo>
                    <a:pt x="172917" y="125888"/>
                    <a:pt x="179898" y="132870"/>
                    <a:pt x="179898" y="141453"/>
                  </a:cubicBezTo>
                  <a:cubicBezTo>
                    <a:pt x="179898" y="150036"/>
                    <a:pt x="172917" y="157017"/>
                    <a:pt x="164333" y="157017"/>
                  </a:cubicBezTo>
                  <a:cubicBezTo>
                    <a:pt x="161530" y="157017"/>
                    <a:pt x="158909" y="156273"/>
                    <a:pt x="156631" y="154980"/>
                  </a:cubicBezTo>
                  <a:lnTo>
                    <a:pt x="7019" y="304593"/>
                  </a:lnTo>
                  <a:close/>
                  <a:moveTo>
                    <a:pt x="164333" y="134128"/>
                  </a:moveTo>
                  <a:cubicBezTo>
                    <a:pt x="160294" y="134128"/>
                    <a:pt x="157009" y="137413"/>
                    <a:pt x="157009" y="141453"/>
                  </a:cubicBezTo>
                  <a:cubicBezTo>
                    <a:pt x="157009" y="145493"/>
                    <a:pt x="160294" y="148777"/>
                    <a:pt x="164333" y="148777"/>
                  </a:cubicBezTo>
                  <a:cubicBezTo>
                    <a:pt x="168373" y="148777"/>
                    <a:pt x="171658" y="145493"/>
                    <a:pt x="171658" y="141453"/>
                  </a:cubicBezTo>
                  <a:cubicBezTo>
                    <a:pt x="171658" y="137413"/>
                    <a:pt x="168373" y="134128"/>
                    <a:pt x="164333" y="134128"/>
                  </a:cubicBezTo>
                  <a:close/>
                </a:path>
              </a:pathLst>
            </a:custGeom>
            <a:solidFill>
              <a:srgbClr val="000000"/>
            </a:solidFill>
            <a:ln w="11311" cap="flat">
              <a:noFill/>
              <a:prstDash val="solid"/>
              <a:miter/>
            </a:ln>
          </p:spPr>
          <p:txBody>
            <a:bodyPr rtlCol="0" anchor="ctr"/>
            <a:lstStyle/>
            <a:p>
              <a:endParaRPr lang="en-US" sz="900"/>
            </a:p>
          </p:txBody>
        </p:sp>
        <p:sp>
          <p:nvSpPr>
            <p:cNvPr id="6" name="Freeform: Shape 5">
              <a:extLst>
                <a:ext uri="{FF2B5EF4-FFF2-40B4-BE49-F238E27FC236}">
                  <a16:creationId xmlns:a16="http://schemas.microsoft.com/office/drawing/2014/main" id="{8454FB2F-C531-D354-CE82-8674E31A58B6}"/>
                </a:ext>
              </a:extLst>
            </p:cNvPr>
            <p:cNvSpPr>
              <a:spLocks noChangeAspect="1"/>
            </p:cNvSpPr>
            <p:nvPr/>
          </p:nvSpPr>
          <p:spPr>
            <a:xfrm rot="16200000">
              <a:off x="21062822" y="3355911"/>
              <a:ext cx="2743200" cy="2743200"/>
            </a:xfrm>
            <a:custGeom>
              <a:avLst/>
              <a:gdLst>
                <a:gd name="connsiteX0" fmla="*/ 210111 w 1432576"/>
                <a:gd name="connsiteY0" fmla="*/ 926399 h 1432576"/>
                <a:gd name="connsiteX1" fmla="*/ 0 w 1432576"/>
                <a:gd name="connsiteY1" fmla="*/ 1432576 h 1432576"/>
                <a:gd name="connsiteX2" fmla="*/ 716288 w 1432576"/>
                <a:gd name="connsiteY2" fmla="*/ 1432576 h 1432576"/>
                <a:gd name="connsiteX3" fmla="*/ 1432576 w 1432576"/>
                <a:gd name="connsiteY3" fmla="*/ 1432576 h 1432576"/>
                <a:gd name="connsiteX4" fmla="*/ 1222465 w 1432576"/>
                <a:gd name="connsiteY4" fmla="*/ 926399 h 1432576"/>
                <a:gd name="connsiteX5" fmla="*/ 716288 w 1432576"/>
                <a:gd name="connsiteY5" fmla="*/ 716288 h 1432576"/>
                <a:gd name="connsiteX6" fmla="*/ 210111 w 1432576"/>
                <a:gd name="connsiteY6" fmla="*/ 926399 h 1432576"/>
                <a:gd name="connsiteX7" fmla="*/ 210111 w 1432576"/>
                <a:gd name="connsiteY7" fmla="*/ 506912 h 1432576"/>
                <a:gd name="connsiteX8" fmla="*/ 0 w 1432576"/>
                <a:gd name="connsiteY8" fmla="*/ 0 h 1432576"/>
                <a:gd name="connsiteX9" fmla="*/ 716288 w 1432576"/>
                <a:gd name="connsiteY9" fmla="*/ 0 h 1432576"/>
                <a:gd name="connsiteX10" fmla="*/ 1432576 w 1432576"/>
                <a:gd name="connsiteY10" fmla="*/ 0 h 1432576"/>
                <a:gd name="connsiteX11" fmla="*/ 1222465 w 1432576"/>
                <a:gd name="connsiteY11" fmla="*/ 506177 h 1432576"/>
                <a:gd name="connsiteX12" fmla="*/ 716288 w 1432576"/>
                <a:gd name="connsiteY12" fmla="*/ 716288 h 1432576"/>
                <a:gd name="connsiteX13" fmla="*/ 210111 w 1432576"/>
                <a:gd name="connsiteY13" fmla="*/ 506912 h 143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32576" h="1432576">
                  <a:moveTo>
                    <a:pt x="210111" y="926399"/>
                  </a:moveTo>
                  <a:cubicBezTo>
                    <a:pt x="75669" y="1060841"/>
                    <a:pt x="0" y="1243035"/>
                    <a:pt x="0" y="1432576"/>
                  </a:cubicBezTo>
                  <a:lnTo>
                    <a:pt x="716288" y="1432576"/>
                  </a:lnTo>
                  <a:lnTo>
                    <a:pt x="1432576" y="1432576"/>
                  </a:lnTo>
                  <a:cubicBezTo>
                    <a:pt x="1432576" y="1242301"/>
                    <a:pt x="1356907" y="1060106"/>
                    <a:pt x="1222465" y="926399"/>
                  </a:cubicBezTo>
                  <a:cubicBezTo>
                    <a:pt x="1088023" y="792692"/>
                    <a:pt x="905829" y="716288"/>
                    <a:pt x="716288" y="716288"/>
                  </a:cubicBezTo>
                  <a:cubicBezTo>
                    <a:pt x="526747" y="716288"/>
                    <a:pt x="343818" y="791957"/>
                    <a:pt x="210111" y="926399"/>
                  </a:cubicBezTo>
                  <a:close/>
                  <a:moveTo>
                    <a:pt x="210111" y="506912"/>
                  </a:moveTo>
                  <a:cubicBezTo>
                    <a:pt x="75669" y="372470"/>
                    <a:pt x="0" y="190276"/>
                    <a:pt x="0" y="0"/>
                  </a:cubicBezTo>
                  <a:lnTo>
                    <a:pt x="716288" y="0"/>
                  </a:lnTo>
                  <a:lnTo>
                    <a:pt x="1432576" y="0"/>
                  </a:lnTo>
                  <a:cubicBezTo>
                    <a:pt x="1432576" y="190276"/>
                    <a:pt x="1356907" y="372470"/>
                    <a:pt x="1222465" y="506177"/>
                  </a:cubicBezTo>
                  <a:cubicBezTo>
                    <a:pt x="1088023" y="639884"/>
                    <a:pt x="905829" y="716288"/>
                    <a:pt x="716288" y="716288"/>
                  </a:cubicBezTo>
                  <a:cubicBezTo>
                    <a:pt x="526747" y="716288"/>
                    <a:pt x="343818" y="641353"/>
                    <a:pt x="210111" y="506912"/>
                  </a:cubicBezTo>
                  <a:close/>
                </a:path>
              </a:pathLst>
            </a:custGeom>
            <a:solidFill>
              <a:srgbClr val="D02670"/>
            </a:solidFill>
            <a:ln w="7342" cap="flat">
              <a:noFill/>
              <a:prstDash val="solid"/>
              <a:miter/>
            </a:ln>
          </p:spPr>
          <p:txBody>
            <a:bodyPr rtlCol="0" anchor="ctr"/>
            <a:lstStyle/>
            <a:p>
              <a:endParaRPr lang="uk-UA" sz="900"/>
            </a:p>
          </p:txBody>
        </p:sp>
        <p:sp>
          <p:nvSpPr>
            <p:cNvPr id="7" name="Freeform: Shape 6">
              <a:extLst>
                <a:ext uri="{FF2B5EF4-FFF2-40B4-BE49-F238E27FC236}">
                  <a16:creationId xmlns:a16="http://schemas.microsoft.com/office/drawing/2014/main" id="{15BD5313-7624-0100-76FD-071F8C211452}"/>
                </a:ext>
              </a:extLst>
            </p:cNvPr>
            <p:cNvSpPr>
              <a:spLocks noChangeAspect="1"/>
            </p:cNvSpPr>
            <p:nvPr/>
          </p:nvSpPr>
          <p:spPr>
            <a:xfrm>
              <a:off x="15564361" y="6099111"/>
              <a:ext cx="2743200" cy="2743200"/>
            </a:xfrm>
            <a:custGeom>
              <a:avLst/>
              <a:gdLst>
                <a:gd name="connsiteX0" fmla="*/ 716288 w 1432576"/>
                <a:gd name="connsiteY0" fmla="*/ 1432576 h 1432576"/>
                <a:gd name="connsiteX1" fmla="*/ 716288 w 1432576"/>
                <a:gd name="connsiteY1" fmla="*/ 0 h 1432576"/>
                <a:gd name="connsiteX2" fmla="*/ 1432576 w 1432576"/>
                <a:gd name="connsiteY2" fmla="*/ 716288 h 1432576"/>
                <a:gd name="connsiteX3" fmla="*/ 716288 w 1432576"/>
                <a:gd name="connsiteY3" fmla="*/ 1432576 h 1432576"/>
                <a:gd name="connsiteX4" fmla="*/ 0 w 1432576"/>
                <a:gd name="connsiteY4" fmla="*/ 1432576 h 1432576"/>
                <a:gd name="connsiteX5" fmla="*/ 0 w 1432576"/>
                <a:gd name="connsiteY5" fmla="*/ 0 h 1432576"/>
                <a:gd name="connsiteX6" fmla="*/ 716288 w 1432576"/>
                <a:gd name="connsiteY6" fmla="*/ 716288 h 1432576"/>
                <a:gd name="connsiteX7" fmla="*/ 0 w 1432576"/>
                <a:gd name="connsiteY7" fmla="*/ 1432576 h 143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2576" h="1432576">
                  <a:moveTo>
                    <a:pt x="716288" y="1432576"/>
                  </a:moveTo>
                  <a:lnTo>
                    <a:pt x="716288" y="0"/>
                  </a:lnTo>
                  <a:lnTo>
                    <a:pt x="1432576" y="716288"/>
                  </a:lnTo>
                  <a:lnTo>
                    <a:pt x="716288" y="1432576"/>
                  </a:lnTo>
                  <a:close/>
                  <a:moveTo>
                    <a:pt x="0" y="1432576"/>
                  </a:moveTo>
                  <a:lnTo>
                    <a:pt x="0" y="0"/>
                  </a:lnTo>
                  <a:lnTo>
                    <a:pt x="716288" y="716288"/>
                  </a:lnTo>
                  <a:lnTo>
                    <a:pt x="0" y="1432576"/>
                  </a:lnTo>
                  <a:close/>
                </a:path>
              </a:pathLst>
            </a:custGeom>
            <a:solidFill>
              <a:schemeClr val="accent1"/>
            </a:solidFill>
            <a:ln w="7342" cap="flat">
              <a:noFill/>
              <a:prstDash val="solid"/>
              <a:miter/>
            </a:ln>
          </p:spPr>
          <p:txBody>
            <a:bodyPr rtlCol="0" anchor="ctr"/>
            <a:lstStyle/>
            <a:p>
              <a:endParaRPr lang="uk-UA" sz="900"/>
            </a:p>
          </p:txBody>
        </p:sp>
        <p:sp>
          <p:nvSpPr>
            <p:cNvPr id="9" name="Freeform: Shape 8">
              <a:extLst>
                <a:ext uri="{FF2B5EF4-FFF2-40B4-BE49-F238E27FC236}">
                  <a16:creationId xmlns:a16="http://schemas.microsoft.com/office/drawing/2014/main" id="{90087CCD-731F-3AD9-581D-CD41741B1C9D}"/>
                </a:ext>
              </a:extLst>
            </p:cNvPr>
            <p:cNvSpPr>
              <a:spLocks noChangeAspect="1"/>
            </p:cNvSpPr>
            <p:nvPr/>
          </p:nvSpPr>
          <p:spPr>
            <a:xfrm>
              <a:off x="15564361" y="8842311"/>
              <a:ext cx="2755261" cy="2743200"/>
            </a:xfrm>
            <a:custGeom>
              <a:avLst/>
              <a:gdLst>
                <a:gd name="connsiteX0" fmla="*/ 1002803 w 1998994"/>
                <a:gd name="connsiteY0" fmla="*/ 1581041 h 1990243"/>
                <a:gd name="connsiteX1" fmla="*/ 1247443 w 1998994"/>
                <a:gd name="connsiteY1" fmla="*/ 1338605 h 1990243"/>
                <a:gd name="connsiteX2" fmla="*/ 1002803 w 1998994"/>
                <a:gd name="connsiteY2" fmla="*/ 1096169 h 1990243"/>
                <a:gd name="connsiteX3" fmla="*/ 758163 w 1998994"/>
                <a:gd name="connsiteY3" fmla="*/ 1338605 h 1990243"/>
                <a:gd name="connsiteX4" fmla="*/ 1002803 w 1998994"/>
                <a:gd name="connsiteY4" fmla="*/ 1581041 h 1990243"/>
                <a:gd name="connsiteX5" fmla="*/ 1011619 w 1998994"/>
                <a:gd name="connsiteY5" fmla="*/ 1892534 h 1990243"/>
                <a:gd name="connsiteX6" fmla="*/ 1579507 w 1998994"/>
                <a:gd name="connsiteY6" fmla="*/ 1337870 h 1990243"/>
                <a:gd name="connsiteX7" fmla="*/ 1011619 w 1998994"/>
                <a:gd name="connsiteY7" fmla="*/ 782471 h 1990243"/>
                <a:gd name="connsiteX8" fmla="*/ 443731 w 1998994"/>
                <a:gd name="connsiteY8" fmla="*/ 1337136 h 1990243"/>
                <a:gd name="connsiteX9" fmla="*/ 1011619 w 1998994"/>
                <a:gd name="connsiteY9" fmla="*/ 1892534 h 1990243"/>
                <a:gd name="connsiteX10" fmla="*/ 0 w 1998994"/>
                <a:gd name="connsiteY10" fmla="*/ 1321708 h 1990243"/>
                <a:gd name="connsiteX11" fmla="*/ 999865 w 1998994"/>
                <a:gd name="connsiteY11" fmla="*/ 660519 h 1990243"/>
                <a:gd name="connsiteX12" fmla="*/ 1998260 w 1998994"/>
                <a:gd name="connsiteY12" fmla="*/ 1329055 h 1990243"/>
                <a:gd name="connsiteX13" fmla="*/ 999865 w 1998994"/>
                <a:gd name="connsiteY13" fmla="*/ 1990244 h 1990243"/>
                <a:gd name="connsiteX14" fmla="*/ 0 w 1998994"/>
                <a:gd name="connsiteY14" fmla="*/ 1321708 h 1990243"/>
                <a:gd name="connsiteX15" fmla="*/ 372470 w 1998994"/>
                <a:gd name="connsiteY15" fmla="*/ 197686 h 1990243"/>
                <a:gd name="connsiteX16" fmla="*/ 999865 w 1998994"/>
                <a:gd name="connsiteY16" fmla="*/ 64 h 1990243"/>
                <a:gd name="connsiteX17" fmla="*/ 1627260 w 1998994"/>
                <a:gd name="connsiteY17" fmla="*/ 197686 h 1990243"/>
                <a:gd name="connsiteX18" fmla="*/ 1998995 w 1998994"/>
                <a:gd name="connsiteY18" fmla="*/ 598808 h 1990243"/>
                <a:gd name="connsiteX19" fmla="*/ 1998995 w 1998994"/>
                <a:gd name="connsiteY19" fmla="*/ 796430 h 1990243"/>
                <a:gd name="connsiteX20" fmla="*/ 1550856 w 1998994"/>
                <a:gd name="connsiteY20" fmla="*/ 470978 h 1990243"/>
                <a:gd name="connsiteX21" fmla="*/ 999865 w 1998994"/>
                <a:gd name="connsiteY21" fmla="*/ 346087 h 1990243"/>
                <a:gd name="connsiteX22" fmla="*/ 448874 w 1998994"/>
                <a:gd name="connsiteY22" fmla="*/ 470978 h 1990243"/>
                <a:gd name="connsiteX23" fmla="*/ 734 w 1998994"/>
                <a:gd name="connsiteY23" fmla="*/ 796430 h 1990243"/>
                <a:gd name="connsiteX24" fmla="*/ 734 w 1998994"/>
                <a:gd name="connsiteY24" fmla="*/ 598808 h 1990243"/>
                <a:gd name="connsiteX25" fmla="*/ 372470 w 1998994"/>
                <a:gd name="connsiteY25" fmla="*/ 197686 h 1990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998994" h="1990243">
                  <a:moveTo>
                    <a:pt x="1002803" y="1581041"/>
                  </a:moveTo>
                  <a:cubicBezTo>
                    <a:pt x="1137980" y="1581041"/>
                    <a:pt x="1247443" y="1472312"/>
                    <a:pt x="1247443" y="1338605"/>
                  </a:cubicBezTo>
                  <a:cubicBezTo>
                    <a:pt x="1247443" y="1204163"/>
                    <a:pt x="1137980" y="1096169"/>
                    <a:pt x="1002803" y="1096169"/>
                  </a:cubicBezTo>
                  <a:cubicBezTo>
                    <a:pt x="867627" y="1096169"/>
                    <a:pt x="758163" y="1204898"/>
                    <a:pt x="758163" y="1338605"/>
                  </a:cubicBezTo>
                  <a:cubicBezTo>
                    <a:pt x="757429" y="1472312"/>
                    <a:pt x="867627" y="1581041"/>
                    <a:pt x="1002803" y="1581041"/>
                  </a:cubicBezTo>
                  <a:close/>
                  <a:moveTo>
                    <a:pt x="1011619" y="1892534"/>
                  </a:moveTo>
                  <a:cubicBezTo>
                    <a:pt x="1325317" y="1892534"/>
                    <a:pt x="1579507" y="1644221"/>
                    <a:pt x="1579507" y="1337870"/>
                  </a:cubicBezTo>
                  <a:cubicBezTo>
                    <a:pt x="1579507" y="1031520"/>
                    <a:pt x="1325317" y="782471"/>
                    <a:pt x="1011619" y="782471"/>
                  </a:cubicBezTo>
                  <a:cubicBezTo>
                    <a:pt x="697922" y="782471"/>
                    <a:pt x="443731" y="1030785"/>
                    <a:pt x="443731" y="1337136"/>
                  </a:cubicBezTo>
                  <a:cubicBezTo>
                    <a:pt x="443731" y="1643487"/>
                    <a:pt x="697187" y="1892534"/>
                    <a:pt x="1011619" y="1892534"/>
                  </a:cubicBezTo>
                  <a:close/>
                  <a:moveTo>
                    <a:pt x="0" y="1321708"/>
                  </a:moveTo>
                  <a:cubicBezTo>
                    <a:pt x="0" y="1321708"/>
                    <a:pt x="230681" y="660519"/>
                    <a:pt x="999865" y="660519"/>
                  </a:cubicBezTo>
                  <a:cubicBezTo>
                    <a:pt x="1769048" y="660519"/>
                    <a:pt x="1998260" y="1329055"/>
                    <a:pt x="1998260" y="1329055"/>
                  </a:cubicBezTo>
                  <a:cubicBezTo>
                    <a:pt x="1998260" y="1329055"/>
                    <a:pt x="1771252" y="1990244"/>
                    <a:pt x="999865" y="1990244"/>
                  </a:cubicBezTo>
                  <a:cubicBezTo>
                    <a:pt x="228477" y="1990244"/>
                    <a:pt x="0" y="1321708"/>
                    <a:pt x="0" y="1321708"/>
                  </a:cubicBezTo>
                  <a:close/>
                  <a:moveTo>
                    <a:pt x="372470" y="197686"/>
                  </a:moveTo>
                  <a:cubicBezTo>
                    <a:pt x="634741" y="1534"/>
                    <a:pt x="951378" y="-670"/>
                    <a:pt x="999865" y="64"/>
                  </a:cubicBezTo>
                  <a:cubicBezTo>
                    <a:pt x="1048352" y="-670"/>
                    <a:pt x="1364988" y="1534"/>
                    <a:pt x="1627260" y="197686"/>
                  </a:cubicBezTo>
                  <a:cubicBezTo>
                    <a:pt x="1911571" y="410736"/>
                    <a:pt x="1998995" y="598808"/>
                    <a:pt x="1998995" y="598808"/>
                  </a:cubicBezTo>
                  <a:lnTo>
                    <a:pt x="1998995" y="796430"/>
                  </a:lnTo>
                  <a:cubicBezTo>
                    <a:pt x="1998995" y="796430"/>
                    <a:pt x="1821208" y="595135"/>
                    <a:pt x="1550856" y="470978"/>
                  </a:cubicBezTo>
                  <a:cubicBezTo>
                    <a:pt x="1304012" y="357841"/>
                    <a:pt x="1043209" y="346821"/>
                    <a:pt x="999865" y="346087"/>
                  </a:cubicBezTo>
                  <a:cubicBezTo>
                    <a:pt x="956520" y="346821"/>
                    <a:pt x="695718" y="357841"/>
                    <a:pt x="448874" y="470978"/>
                  </a:cubicBezTo>
                  <a:cubicBezTo>
                    <a:pt x="178521" y="595135"/>
                    <a:pt x="734" y="796430"/>
                    <a:pt x="734" y="796430"/>
                  </a:cubicBezTo>
                  <a:lnTo>
                    <a:pt x="734" y="598808"/>
                  </a:lnTo>
                  <a:cubicBezTo>
                    <a:pt x="0" y="598808"/>
                    <a:pt x="88159" y="410736"/>
                    <a:pt x="372470" y="197686"/>
                  </a:cubicBezTo>
                  <a:close/>
                </a:path>
              </a:pathLst>
            </a:custGeom>
            <a:solidFill>
              <a:schemeClr val="accent2"/>
            </a:solidFill>
            <a:ln w="7342" cap="flat">
              <a:noFill/>
              <a:prstDash val="solid"/>
              <a:miter/>
            </a:ln>
          </p:spPr>
          <p:txBody>
            <a:bodyPr rtlCol="0" anchor="ctr"/>
            <a:lstStyle/>
            <a:p>
              <a:endParaRPr lang="uk-UA" sz="900"/>
            </a:p>
          </p:txBody>
        </p:sp>
        <p:grpSp>
          <p:nvGrpSpPr>
            <p:cNvPr id="11" name="Graphic 16">
              <a:extLst>
                <a:ext uri="{FF2B5EF4-FFF2-40B4-BE49-F238E27FC236}">
                  <a16:creationId xmlns:a16="http://schemas.microsoft.com/office/drawing/2014/main" id="{D5797ED0-36EA-D3F1-3C55-157E1621EF20}"/>
                </a:ext>
              </a:extLst>
            </p:cNvPr>
            <p:cNvGrpSpPr>
              <a:grpSpLocks noChangeAspect="1"/>
            </p:cNvGrpSpPr>
            <p:nvPr/>
          </p:nvGrpSpPr>
          <p:grpSpPr>
            <a:xfrm>
              <a:off x="15564361" y="1434389"/>
              <a:ext cx="2743200" cy="1905476"/>
              <a:chOff x="36425971" y="7102135"/>
              <a:chExt cx="2006341" cy="1393639"/>
            </a:xfrm>
            <a:solidFill>
              <a:srgbClr val="08BDBA"/>
            </a:solidFill>
          </p:grpSpPr>
          <p:sp>
            <p:nvSpPr>
              <p:cNvPr id="16" name="Freeform: Shape 15">
                <a:extLst>
                  <a:ext uri="{FF2B5EF4-FFF2-40B4-BE49-F238E27FC236}">
                    <a16:creationId xmlns:a16="http://schemas.microsoft.com/office/drawing/2014/main" id="{8B7C0B27-49A4-DD3C-384D-B22C36B814CC}"/>
                  </a:ext>
                </a:extLst>
              </p:cNvPr>
              <p:cNvSpPr/>
              <p:nvPr/>
            </p:nvSpPr>
            <p:spPr>
              <a:xfrm>
                <a:off x="36425971" y="7517215"/>
                <a:ext cx="694983" cy="753755"/>
              </a:xfrm>
              <a:custGeom>
                <a:avLst/>
                <a:gdLst>
                  <a:gd name="connsiteX0" fmla="*/ 508381 w 694983"/>
                  <a:gd name="connsiteY0" fmla="*/ 563480 h 753755"/>
                  <a:gd name="connsiteX1" fmla="*/ 258598 w 694983"/>
                  <a:gd name="connsiteY1" fmla="*/ 753756 h 753755"/>
                  <a:gd name="connsiteX2" fmla="*/ 0 w 694983"/>
                  <a:gd name="connsiteY2" fmla="*/ 498830 h 753755"/>
                  <a:gd name="connsiteX3" fmla="*/ 166766 w 694983"/>
                  <a:gd name="connsiteY3" fmla="*/ 260802 h 753755"/>
                  <a:gd name="connsiteX4" fmla="*/ 694983 w 694983"/>
                  <a:gd name="connsiteY4" fmla="*/ 0 h 753755"/>
                  <a:gd name="connsiteX5" fmla="*/ 508381 w 694983"/>
                  <a:gd name="connsiteY5" fmla="*/ 563480 h 753755"/>
                  <a:gd name="connsiteX6" fmla="*/ 508381 w 694983"/>
                  <a:gd name="connsiteY6" fmla="*/ 563480 h 753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4983" h="753755">
                    <a:moveTo>
                      <a:pt x="508381" y="563480"/>
                    </a:moveTo>
                    <a:cubicBezTo>
                      <a:pt x="479729" y="672944"/>
                      <a:pt x="378347" y="753756"/>
                      <a:pt x="258598" y="753756"/>
                    </a:cubicBezTo>
                    <a:cubicBezTo>
                      <a:pt x="116075" y="753756"/>
                      <a:pt x="0" y="639884"/>
                      <a:pt x="0" y="498830"/>
                    </a:cubicBezTo>
                    <a:cubicBezTo>
                      <a:pt x="0" y="390102"/>
                      <a:pt x="69057" y="296800"/>
                      <a:pt x="166766" y="260802"/>
                    </a:cubicBezTo>
                    <a:lnTo>
                      <a:pt x="694983" y="0"/>
                    </a:lnTo>
                    <a:lnTo>
                      <a:pt x="508381" y="563480"/>
                    </a:lnTo>
                    <a:lnTo>
                      <a:pt x="508381" y="563480"/>
                    </a:lnTo>
                    <a:close/>
                  </a:path>
                </a:pathLst>
              </a:custGeom>
              <a:grpFill/>
              <a:ln w="7342" cap="flat">
                <a:noFill/>
                <a:prstDash val="solid"/>
                <a:miter/>
              </a:ln>
            </p:spPr>
            <p:txBody>
              <a:bodyPr rtlCol="0" anchor="ctr"/>
              <a:lstStyle/>
              <a:p>
                <a:endParaRPr lang="uk-UA" sz="900"/>
              </a:p>
            </p:txBody>
          </p:sp>
          <p:sp>
            <p:nvSpPr>
              <p:cNvPr id="17" name="Freeform: Shape 16">
                <a:extLst>
                  <a:ext uri="{FF2B5EF4-FFF2-40B4-BE49-F238E27FC236}">
                    <a16:creationId xmlns:a16="http://schemas.microsoft.com/office/drawing/2014/main" id="{0E5CDB3B-6C72-DD99-3C95-E1B5ABFA6346}"/>
                  </a:ext>
                </a:extLst>
              </p:cNvPr>
              <p:cNvSpPr/>
              <p:nvPr/>
            </p:nvSpPr>
            <p:spPr>
              <a:xfrm>
                <a:off x="37737329" y="7517215"/>
                <a:ext cx="694983" cy="753755"/>
              </a:xfrm>
              <a:custGeom>
                <a:avLst/>
                <a:gdLst>
                  <a:gd name="connsiteX0" fmla="*/ 186602 w 694983"/>
                  <a:gd name="connsiteY0" fmla="*/ 563480 h 753755"/>
                  <a:gd name="connsiteX1" fmla="*/ 436385 w 694983"/>
                  <a:gd name="connsiteY1" fmla="*/ 753756 h 753755"/>
                  <a:gd name="connsiteX2" fmla="*/ 694983 w 694983"/>
                  <a:gd name="connsiteY2" fmla="*/ 498830 h 753755"/>
                  <a:gd name="connsiteX3" fmla="*/ 528216 w 694983"/>
                  <a:gd name="connsiteY3" fmla="*/ 260802 h 753755"/>
                  <a:gd name="connsiteX4" fmla="*/ 0 w 694983"/>
                  <a:gd name="connsiteY4" fmla="*/ 0 h 753755"/>
                  <a:gd name="connsiteX5" fmla="*/ 186602 w 694983"/>
                  <a:gd name="connsiteY5" fmla="*/ 563480 h 753755"/>
                  <a:gd name="connsiteX6" fmla="*/ 186602 w 694983"/>
                  <a:gd name="connsiteY6" fmla="*/ 563480 h 753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4983" h="753755">
                    <a:moveTo>
                      <a:pt x="186602" y="563480"/>
                    </a:moveTo>
                    <a:cubicBezTo>
                      <a:pt x="215254" y="672944"/>
                      <a:pt x="316636" y="753756"/>
                      <a:pt x="436385" y="753756"/>
                    </a:cubicBezTo>
                    <a:cubicBezTo>
                      <a:pt x="578908" y="753756"/>
                      <a:pt x="694983" y="639884"/>
                      <a:pt x="694983" y="498830"/>
                    </a:cubicBezTo>
                    <a:cubicBezTo>
                      <a:pt x="694983" y="390102"/>
                      <a:pt x="625925" y="296800"/>
                      <a:pt x="528216" y="260802"/>
                    </a:cubicBezTo>
                    <a:lnTo>
                      <a:pt x="0" y="0"/>
                    </a:lnTo>
                    <a:lnTo>
                      <a:pt x="186602" y="563480"/>
                    </a:lnTo>
                    <a:lnTo>
                      <a:pt x="186602" y="563480"/>
                    </a:lnTo>
                    <a:close/>
                  </a:path>
                </a:pathLst>
              </a:custGeom>
              <a:grpFill/>
              <a:ln w="7342" cap="flat">
                <a:noFill/>
                <a:prstDash val="solid"/>
                <a:miter/>
              </a:ln>
            </p:spPr>
            <p:txBody>
              <a:bodyPr rtlCol="0" anchor="ctr"/>
              <a:lstStyle/>
              <a:p>
                <a:endParaRPr lang="uk-UA" sz="900"/>
              </a:p>
            </p:txBody>
          </p:sp>
          <p:sp>
            <p:nvSpPr>
              <p:cNvPr id="18" name="Freeform: Shape 17">
                <a:extLst>
                  <a:ext uri="{FF2B5EF4-FFF2-40B4-BE49-F238E27FC236}">
                    <a16:creationId xmlns:a16="http://schemas.microsoft.com/office/drawing/2014/main" id="{76A8546A-1FD8-E11A-44B4-8F39BA8B6CD2}"/>
                  </a:ext>
                </a:extLst>
              </p:cNvPr>
              <p:cNvSpPr/>
              <p:nvPr/>
            </p:nvSpPr>
            <p:spPr>
              <a:xfrm>
                <a:off x="37109934" y="7401874"/>
                <a:ext cx="638414" cy="1093900"/>
              </a:xfrm>
              <a:custGeom>
                <a:avLst/>
                <a:gdLst>
                  <a:gd name="connsiteX0" fmla="*/ 47018 w 638414"/>
                  <a:gd name="connsiteY0" fmla="*/ 944031 h 1093900"/>
                  <a:gd name="connsiteX1" fmla="*/ 318840 w 638414"/>
                  <a:gd name="connsiteY1" fmla="*/ 1093901 h 1093900"/>
                  <a:gd name="connsiteX2" fmla="*/ 590662 w 638414"/>
                  <a:gd name="connsiteY2" fmla="*/ 944031 h 1093900"/>
                  <a:gd name="connsiteX3" fmla="*/ 47018 w 638414"/>
                  <a:gd name="connsiteY3" fmla="*/ 944031 h 1093900"/>
                  <a:gd name="connsiteX4" fmla="*/ 47018 w 638414"/>
                  <a:gd name="connsiteY4" fmla="*/ 944031 h 1093900"/>
                  <a:gd name="connsiteX5" fmla="*/ 0 w 638414"/>
                  <a:gd name="connsiteY5" fmla="*/ 628864 h 1093900"/>
                  <a:gd name="connsiteX6" fmla="*/ 0 w 638414"/>
                  <a:gd name="connsiteY6" fmla="*/ 778734 h 1093900"/>
                  <a:gd name="connsiteX7" fmla="*/ 0 w 638414"/>
                  <a:gd name="connsiteY7" fmla="*/ 793427 h 1093900"/>
                  <a:gd name="connsiteX8" fmla="*/ 637680 w 638414"/>
                  <a:gd name="connsiteY8" fmla="*/ 793427 h 1093900"/>
                  <a:gd name="connsiteX9" fmla="*/ 637680 w 638414"/>
                  <a:gd name="connsiteY9" fmla="*/ 778734 h 1093900"/>
                  <a:gd name="connsiteX10" fmla="*/ 637680 w 638414"/>
                  <a:gd name="connsiteY10" fmla="*/ 628864 h 1093900"/>
                  <a:gd name="connsiteX11" fmla="*/ 0 w 638414"/>
                  <a:gd name="connsiteY11" fmla="*/ 628864 h 1093900"/>
                  <a:gd name="connsiteX12" fmla="*/ 0 w 638414"/>
                  <a:gd name="connsiteY12" fmla="*/ 628864 h 1093900"/>
                  <a:gd name="connsiteX13" fmla="*/ 38202 w 638414"/>
                  <a:gd name="connsiteY13" fmla="*/ 164563 h 1093900"/>
                  <a:gd name="connsiteX14" fmla="*/ 318840 w 638414"/>
                  <a:gd name="connsiteY14" fmla="*/ 0 h 1093900"/>
                  <a:gd name="connsiteX15" fmla="*/ 599478 w 638414"/>
                  <a:gd name="connsiteY15" fmla="*/ 164563 h 1093900"/>
                  <a:gd name="connsiteX16" fmla="*/ 38202 w 638414"/>
                  <a:gd name="connsiteY16" fmla="*/ 164563 h 1093900"/>
                  <a:gd name="connsiteX17" fmla="*/ 0 w 638414"/>
                  <a:gd name="connsiteY17" fmla="*/ 314432 h 1093900"/>
                  <a:gd name="connsiteX18" fmla="*/ 0 w 638414"/>
                  <a:gd name="connsiteY18" fmla="*/ 478995 h 1093900"/>
                  <a:gd name="connsiteX19" fmla="*/ 638415 w 638414"/>
                  <a:gd name="connsiteY19" fmla="*/ 478995 h 1093900"/>
                  <a:gd name="connsiteX20" fmla="*/ 638415 w 638414"/>
                  <a:gd name="connsiteY20" fmla="*/ 314432 h 1093900"/>
                  <a:gd name="connsiteX21" fmla="*/ 0 w 638414"/>
                  <a:gd name="connsiteY21" fmla="*/ 314432 h 109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38414" h="1093900">
                    <a:moveTo>
                      <a:pt x="47018" y="944031"/>
                    </a:moveTo>
                    <a:cubicBezTo>
                      <a:pt x="102852" y="1033659"/>
                      <a:pt x="204234" y="1093901"/>
                      <a:pt x="318840" y="1093901"/>
                    </a:cubicBezTo>
                    <a:cubicBezTo>
                      <a:pt x="434181" y="1093901"/>
                      <a:pt x="534828" y="1033659"/>
                      <a:pt x="590662" y="944031"/>
                    </a:cubicBezTo>
                    <a:lnTo>
                      <a:pt x="47018" y="944031"/>
                    </a:lnTo>
                    <a:lnTo>
                      <a:pt x="47018" y="944031"/>
                    </a:lnTo>
                    <a:close/>
                    <a:moveTo>
                      <a:pt x="0" y="628864"/>
                    </a:moveTo>
                    <a:lnTo>
                      <a:pt x="0" y="778734"/>
                    </a:lnTo>
                    <a:cubicBezTo>
                      <a:pt x="0" y="783876"/>
                      <a:pt x="0" y="789019"/>
                      <a:pt x="0" y="793427"/>
                    </a:cubicBezTo>
                    <a:lnTo>
                      <a:pt x="637680" y="793427"/>
                    </a:lnTo>
                    <a:cubicBezTo>
                      <a:pt x="637680" y="788284"/>
                      <a:pt x="637680" y="783876"/>
                      <a:pt x="637680" y="778734"/>
                    </a:cubicBezTo>
                    <a:lnTo>
                      <a:pt x="637680" y="628864"/>
                    </a:lnTo>
                    <a:lnTo>
                      <a:pt x="0" y="628864"/>
                    </a:lnTo>
                    <a:lnTo>
                      <a:pt x="0" y="628864"/>
                    </a:lnTo>
                    <a:close/>
                    <a:moveTo>
                      <a:pt x="38202" y="164563"/>
                    </a:moveTo>
                    <a:cubicBezTo>
                      <a:pt x="92566" y="66119"/>
                      <a:pt x="197622" y="0"/>
                      <a:pt x="318840" y="0"/>
                    </a:cubicBezTo>
                    <a:cubicBezTo>
                      <a:pt x="440058" y="0"/>
                      <a:pt x="545848" y="66853"/>
                      <a:pt x="599478" y="164563"/>
                    </a:cubicBezTo>
                    <a:lnTo>
                      <a:pt x="38202" y="164563"/>
                    </a:lnTo>
                    <a:close/>
                    <a:moveTo>
                      <a:pt x="0" y="314432"/>
                    </a:moveTo>
                    <a:lnTo>
                      <a:pt x="0" y="478995"/>
                    </a:lnTo>
                    <a:lnTo>
                      <a:pt x="638415" y="478995"/>
                    </a:lnTo>
                    <a:lnTo>
                      <a:pt x="638415" y="314432"/>
                    </a:lnTo>
                    <a:lnTo>
                      <a:pt x="0" y="314432"/>
                    </a:lnTo>
                    <a:close/>
                  </a:path>
                </a:pathLst>
              </a:custGeom>
              <a:grpFill/>
              <a:ln w="7342" cap="flat">
                <a:noFill/>
                <a:prstDash val="solid"/>
                <a:miter/>
              </a:ln>
            </p:spPr>
            <p:txBody>
              <a:bodyPr rtlCol="0" anchor="ctr"/>
              <a:lstStyle/>
              <a:p>
                <a:endParaRPr lang="uk-UA" sz="900"/>
              </a:p>
            </p:txBody>
          </p:sp>
          <p:sp>
            <p:nvSpPr>
              <p:cNvPr id="19" name="Freeform: Shape 18">
                <a:extLst>
                  <a:ext uri="{FF2B5EF4-FFF2-40B4-BE49-F238E27FC236}">
                    <a16:creationId xmlns:a16="http://schemas.microsoft.com/office/drawing/2014/main" id="{FEB60C58-79B3-AFA1-53F6-E9C215573672}"/>
                  </a:ext>
                </a:extLst>
              </p:cNvPr>
              <p:cNvSpPr/>
              <p:nvPr/>
            </p:nvSpPr>
            <p:spPr>
              <a:xfrm>
                <a:off x="37125362" y="7102135"/>
                <a:ext cx="304146" cy="299739"/>
              </a:xfrm>
              <a:custGeom>
                <a:avLst/>
                <a:gdLst>
                  <a:gd name="connsiteX0" fmla="*/ 304147 w 304146"/>
                  <a:gd name="connsiteY0" fmla="*/ 149870 h 299739"/>
                  <a:gd name="connsiteX1" fmla="*/ 152073 w 304146"/>
                  <a:gd name="connsiteY1" fmla="*/ 299739 h 299739"/>
                  <a:gd name="connsiteX2" fmla="*/ 0 w 304146"/>
                  <a:gd name="connsiteY2" fmla="*/ 149870 h 299739"/>
                  <a:gd name="connsiteX3" fmla="*/ 152073 w 304146"/>
                  <a:gd name="connsiteY3" fmla="*/ 0 h 299739"/>
                  <a:gd name="connsiteX4" fmla="*/ 304147 w 304146"/>
                  <a:gd name="connsiteY4" fmla="*/ 149870 h 299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146" h="299739">
                    <a:moveTo>
                      <a:pt x="304147" y="149870"/>
                    </a:moveTo>
                    <a:cubicBezTo>
                      <a:pt x="304147" y="232640"/>
                      <a:pt x="236061" y="299739"/>
                      <a:pt x="152073" y="299739"/>
                    </a:cubicBezTo>
                    <a:cubicBezTo>
                      <a:pt x="68085" y="299739"/>
                      <a:pt x="0" y="232640"/>
                      <a:pt x="0" y="149870"/>
                    </a:cubicBezTo>
                    <a:cubicBezTo>
                      <a:pt x="0" y="67099"/>
                      <a:pt x="68085" y="0"/>
                      <a:pt x="152073" y="0"/>
                    </a:cubicBezTo>
                    <a:cubicBezTo>
                      <a:pt x="236061" y="0"/>
                      <a:pt x="304147" y="67099"/>
                      <a:pt x="304147" y="149870"/>
                    </a:cubicBezTo>
                    <a:close/>
                  </a:path>
                </a:pathLst>
              </a:custGeom>
              <a:grpFill/>
              <a:ln w="7342" cap="flat">
                <a:noFill/>
                <a:prstDash val="solid"/>
                <a:miter/>
              </a:ln>
            </p:spPr>
            <p:txBody>
              <a:bodyPr rtlCol="0" anchor="ctr"/>
              <a:lstStyle/>
              <a:p>
                <a:endParaRPr lang="uk-UA" sz="900"/>
              </a:p>
            </p:txBody>
          </p:sp>
          <p:sp>
            <p:nvSpPr>
              <p:cNvPr id="20" name="Freeform: Shape 19">
                <a:extLst>
                  <a:ext uri="{FF2B5EF4-FFF2-40B4-BE49-F238E27FC236}">
                    <a16:creationId xmlns:a16="http://schemas.microsoft.com/office/drawing/2014/main" id="{504CFB1E-8D8C-C36F-82D8-F9E25329F9D6}"/>
                  </a:ext>
                </a:extLst>
              </p:cNvPr>
              <p:cNvSpPr/>
              <p:nvPr/>
            </p:nvSpPr>
            <p:spPr>
              <a:xfrm>
                <a:off x="37444202" y="7102135"/>
                <a:ext cx="304146" cy="299739"/>
              </a:xfrm>
              <a:custGeom>
                <a:avLst/>
                <a:gdLst>
                  <a:gd name="connsiteX0" fmla="*/ 304147 w 304146"/>
                  <a:gd name="connsiteY0" fmla="*/ 149870 h 299739"/>
                  <a:gd name="connsiteX1" fmla="*/ 152074 w 304146"/>
                  <a:gd name="connsiteY1" fmla="*/ 299739 h 299739"/>
                  <a:gd name="connsiteX2" fmla="*/ 0 w 304146"/>
                  <a:gd name="connsiteY2" fmla="*/ 149870 h 299739"/>
                  <a:gd name="connsiteX3" fmla="*/ 152074 w 304146"/>
                  <a:gd name="connsiteY3" fmla="*/ 0 h 299739"/>
                  <a:gd name="connsiteX4" fmla="*/ 304147 w 304146"/>
                  <a:gd name="connsiteY4" fmla="*/ 149870 h 299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146" h="299739">
                    <a:moveTo>
                      <a:pt x="304147" y="149870"/>
                    </a:moveTo>
                    <a:cubicBezTo>
                      <a:pt x="304147" y="232640"/>
                      <a:pt x="236062" y="299739"/>
                      <a:pt x="152074" y="299739"/>
                    </a:cubicBezTo>
                    <a:cubicBezTo>
                      <a:pt x="68086" y="299739"/>
                      <a:pt x="0" y="232640"/>
                      <a:pt x="0" y="149870"/>
                    </a:cubicBezTo>
                    <a:cubicBezTo>
                      <a:pt x="0" y="67099"/>
                      <a:pt x="68086" y="0"/>
                      <a:pt x="152074" y="0"/>
                    </a:cubicBezTo>
                    <a:cubicBezTo>
                      <a:pt x="236062" y="0"/>
                      <a:pt x="304147" y="67099"/>
                      <a:pt x="304147" y="149870"/>
                    </a:cubicBezTo>
                    <a:close/>
                  </a:path>
                </a:pathLst>
              </a:custGeom>
              <a:grpFill/>
              <a:ln w="7342" cap="flat">
                <a:noFill/>
                <a:prstDash val="solid"/>
                <a:miter/>
              </a:ln>
            </p:spPr>
            <p:txBody>
              <a:bodyPr rtlCol="0" anchor="ctr"/>
              <a:lstStyle/>
              <a:p>
                <a:endParaRPr lang="uk-UA" sz="900"/>
              </a:p>
            </p:txBody>
          </p:sp>
        </p:grpSp>
        <p:pic>
          <p:nvPicPr>
            <p:cNvPr id="12" name="Picture 11" descr="A person and person looking at laptops&#10;&#10;Description automatically generated">
              <a:extLst>
                <a:ext uri="{FF2B5EF4-FFF2-40B4-BE49-F238E27FC236}">
                  <a16:creationId xmlns:a16="http://schemas.microsoft.com/office/drawing/2014/main" id="{F1EB6B27-4F3F-D504-8C67-1ED377E4AB35}"/>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8324703" y="6099111"/>
              <a:ext cx="5486400" cy="5486400"/>
            </a:xfrm>
            <a:prstGeom prst="rect">
              <a:avLst/>
            </a:prstGeom>
          </p:spPr>
        </p:pic>
        <p:grpSp>
          <p:nvGrpSpPr>
            <p:cNvPr id="13" name="Group 9">
              <a:extLst>
                <a:ext uri="{FF2B5EF4-FFF2-40B4-BE49-F238E27FC236}">
                  <a16:creationId xmlns:a16="http://schemas.microsoft.com/office/drawing/2014/main" id="{15001D89-F5FA-912A-34AC-895F5B23A0EC}"/>
                </a:ext>
              </a:extLst>
            </p:cNvPr>
            <p:cNvGrpSpPr>
              <a:grpSpLocks noChangeAspect="1"/>
            </p:cNvGrpSpPr>
            <p:nvPr/>
          </p:nvGrpSpPr>
          <p:grpSpPr bwMode="auto">
            <a:xfrm>
              <a:off x="21062822" y="921113"/>
              <a:ext cx="2743200" cy="2418752"/>
              <a:chOff x="42" y="4229"/>
              <a:chExt cx="3881" cy="3422"/>
            </a:xfrm>
            <a:solidFill>
              <a:schemeClr val="tx1"/>
            </a:solidFill>
          </p:grpSpPr>
          <p:sp>
            <p:nvSpPr>
              <p:cNvPr id="14" name="Freeform 235">
                <a:extLst>
                  <a:ext uri="{FF2B5EF4-FFF2-40B4-BE49-F238E27FC236}">
                    <a16:creationId xmlns:a16="http://schemas.microsoft.com/office/drawing/2014/main" id="{044C0AB7-DDC8-594B-B541-9B61D2A37C2D}"/>
                  </a:ext>
                </a:extLst>
              </p:cNvPr>
              <p:cNvSpPr>
                <a:spLocks noEditPoints="1"/>
              </p:cNvSpPr>
              <p:nvPr/>
            </p:nvSpPr>
            <p:spPr bwMode="auto">
              <a:xfrm>
                <a:off x="2058" y="4229"/>
                <a:ext cx="1865" cy="3422"/>
              </a:xfrm>
              <a:custGeom>
                <a:avLst/>
                <a:gdLst>
                  <a:gd name="T0" fmla="*/ 2842 w 3636"/>
                  <a:gd name="T1" fmla="*/ 2120 h 6673"/>
                  <a:gd name="T2" fmla="*/ 1918 w 3636"/>
                  <a:gd name="T3" fmla="*/ 577 h 6673"/>
                  <a:gd name="T4" fmla="*/ 892 w 3636"/>
                  <a:gd name="T5" fmla="*/ 0 h 6673"/>
                  <a:gd name="T6" fmla="*/ 0 w 3636"/>
                  <a:gd name="T7" fmla="*/ 5781 h 6673"/>
                  <a:gd name="T8" fmla="*/ 1731 w 3636"/>
                  <a:gd name="T9" fmla="*/ 6079 h 6673"/>
                  <a:gd name="T10" fmla="*/ 2966 w 3636"/>
                  <a:gd name="T11" fmla="*/ 5048 h 6673"/>
                  <a:gd name="T12" fmla="*/ 3636 w 3636"/>
                  <a:gd name="T13" fmla="*/ 3336 h 6673"/>
                  <a:gd name="T14" fmla="*/ 1051 w 3636"/>
                  <a:gd name="T15" fmla="*/ 2847 h 6673"/>
                  <a:gd name="T16" fmla="*/ 738 w 3636"/>
                  <a:gd name="T17" fmla="*/ 2847 h 6673"/>
                  <a:gd name="T18" fmla="*/ 2684 w 3636"/>
                  <a:gd name="T19" fmla="*/ 4426 h 6673"/>
                  <a:gd name="T20" fmla="*/ 2640 w 3636"/>
                  <a:gd name="T21" fmla="*/ 4559 h 6673"/>
                  <a:gd name="T22" fmla="*/ 2121 w 3636"/>
                  <a:gd name="T23" fmla="*/ 4715 h 6673"/>
                  <a:gd name="T24" fmla="*/ 1467 w 3636"/>
                  <a:gd name="T25" fmla="*/ 4803 h 6673"/>
                  <a:gd name="T26" fmla="*/ 2121 w 3636"/>
                  <a:gd name="T27" fmla="*/ 4891 h 6673"/>
                  <a:gd name="T28" fmla="*/ 2790 w 3636"/>
                  <a:gd name="T29" fmla="*/ 5048 h 6673"/>
                  <a:gd name="T30" fmla="*/ 1693 w 3636"/>
                  <a:gd name="T31" fmla="*/ 5890 h 6673"/>
                  <a:gd name="T32" fmla="*/ 1585 w 3636"/>
                  <a:gd name="T33" fmla="*/ 5954 h 6673"/>
                  <a:gd name="T34" fmla="*/ 176 w 3636"/>
                  <a:gd name="T35" fmla="*/ 5781 h 6673"/>
                  <a:gd name="T36" fmla="*/ 807 w 3636"/>
                  <a:gd name="T37" fmla="*/ 3912 h 6673"/>
                  <a:gd name="T38" fmla="*/ 562 w 3636"/>
                  <a:gd name="T39" fmla="*/ 5781 h 6673"/>
                  <a:gd name="T40" fmla="*/ 1227 w 3636"/>
                  <a:gd name="T41" fmla="*/ 5781 h 6673"/>
                  <a:gd name="T42" fmla="*/ 983 w 3636"/>
                  <a:gd name="T43" fmla="*/ 3912 h 6673"/>
                  <a:gd name="T44" fmla="*/ 1881 w 3636"/>
                  <a:gd name="T45" fmla="*/ 3424 h 6673"/>
                  <a:gd name="T46" fmla="*/ 2778 w 3636"/>
                  <a:gd name="T47" fmla="*/ 3669 h 6673"/>
                  <a:gd name="T48" fmla="*/ 2778 w 3636"/>
                  <a:gd name="T49" fmla="*/ 3004 h 6673"/>
                  <a:gd name="T50" fmla="*/ 1888 w 3636"/>
                  <a:gd name="T51" fmla="*/ 3248 h 6673"/>
                  <a:gd name="T52" fmla="*/ 2132 w 3636"/>
                  <a:gd name="T53" fmla="*/ 1380 h 6673"/>
                  <a:gd name="T54" fmla="*/ 1467 w 3636"/>
                  <a:gd name="T55" fmla="*/ 1380 h 6673"/>
                  <a:gd name="T56" fmla="*/ 1712 w 3636"/>
                  <a:gd name="T57" fmla="*/ 3338 h 6673"/>
                  <a:gd name="T58" fmla="*/ 895 w 3636"/>
                  <a:gd name="T59" fmla="*/ 3736 h 6673"/>
                  <a:gd name="T60" fmla="*/ 176 w 3636"/>
                  <a:gd name="T61" fmla="*/ 891 h 6673"/>
                  <a:gd name="T62" fmla="*/ 807 w 3636"/>
                  <a:gd name="T63" fmla="*/ 2527 h 6673"/>
                  <a:gd name="T64" fmla="*/ 895 w 3636"/>
                  <a:gd name="T65" fmla="*/ 3180 h 6673"/>
                  <a:gd name="T66" fmla="*/ 983 w 3636"/>
                  <a:gd name="T67" fmla="*/ 2527 h 6673"/>
                  <a:gd name="T68" fmla="*/ 1585 w 3636"/>
                  <a:gd name="T69" fmla="*/ 719 h 6673"/>
                  <a:gd name="T70" fmla="*/ 1693 w 3636"/>
                  <a:gd name="T71" fmla="*/ 783 h 6673"/>
                  <a:gd name="T72" fmla="*/ 2790 w 3636"/>
                  <a:gd name="T73" fmla="*/ 1625 h 6673"/>
                  <a:gd name="T74" fmla="*/ 2629 w 3636"/>
                  <a:gd name="T75" fmla="*/ 2191 h 6673"/>
                  <a:gd name="T76" fmla="*/ 3460 w 3636"/>
                  <a:gd name="T77" fmla="*/ 3336 h 6673"/>
                  <a:gd name="T78" fmla="*/ 1956 w 3636"/>
                  <a:gd name="T79" fmla="*/ 4803 h 6673"/>
                  <a:gd name="T80" fmla="*/ 1643 w 3636"/>
                  <a:gd name="T81" fmla="*/ 4803 h 6673"/>
                  <a:gd name="T82" fmla="*/ 1956 w 3636"/>
                  <a:gd name="T83" fmla="*/ 4803 h 6673"/>
                  <a:gd name="T84" fmla="*/ 1051 w 3636"/>
                  <a:gd name="T85" fmla="*/ 5781 h 6673"/>
                  <a:gd name="T86" fmla="*/ 738 w 3636"/>
                  <a:gd name="T87" fmla="*/ 5781 h 6673"/>
                  <a:gd name="T88" fmla="*/ 1800 w 3636"/>
                  <a:gd name="T89" fmla="*/ 1537 h 6673"/>
                  <a:gd name="T90" fmla="*/ 1800 w 3636"/>
                  <a:gd name="T91" fmla="*/ 1224 h 6673"/>
                  <a:gd name="T92" fmla="*/ 1800 w 3636"/>
                  <a:gd name="T93" fmla="*/ 1537 h 6673"/>
                  <a:gd name="T94" fmla="*/ 2778 w 3636"/>
                  <a:gd name="T95" fmla="*/ 3180 h 6673"/>
                  <a:gd name="T96" fmla="*/ 2778 w 3636"/>
                  <a:gd name="T97" fmla="*/ 3493 h 6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36" h="6673">
                    <a:moveTo>
                      <a:pt x="3636" y="3336"/>
                    </a:moveTo>
                    <a:cubicBezTo>
                      <a:pt x="3636" y="2807"/>
                      <a:pt x="3321" y="2331"/>
                      <a:pt x="2842" y="2120"/>
                    </a:cubicBezTo>
                    <a:cubicBezTo>
                      <a:pt x="2924" y="1968"/>
                      <a:pt x="2966" y="1799"/>
                      <a:pt x="2966" y="1625"/>
                    </a:cubicBezTo>
                    <a:cubicBezTo>
                      <a:pt x="2966" y="1047"/>
                      <a:pt x="2496" y="577"/>
                      <a:pt x="1918" y="577"/>
                    </a:cubicBezTo>
                    <a:cubicBezTo>
                      <a:pt x="1856" y="577"/>
                      <a:pt x="1794" y="582"/>
                      <a:pt x="1731" y="594"/>
                    </a:cubicBezTo>
                    <a:cubicBezTo>
                      <a:pt x="1607" y="240"/>
                      <a:pt x="1273" y="0"/>
                      <a:pt x="892" y="0"/>
                    </a:cubicBezTo>
                    <a:cubicBezTo>
                      <a:pt x="400" y="0"/>
                      <a:pt x="0" y="400"/>
                      <a:pt x="0" y="891"/>
                    </a:cubicBezTo>
                    <a:cubicBezTo>
                      <a:pt x="0" y="5781"/>
                      <a:pt x="0" y="5781"/>
                      <a:pt x="0" y="5781"/>
                    </a:cubicBezTo>
                    <a:cubicBezTo>
                      <a:pt x="0" y="6273"/>
                      <a:pt x="400" y="6673"/>
                      <a:pt x="892" y="6673"/>
                    </a:cubicBezTo>
                    <a:cubicBezTo>
                      <a:pt x="1273" y="6673"/>
                      <a:pt x="1607" y="6432"/>
                      <a:pt x="1731" y="6079"/>
                    </a:cubicBezTo>
                    <a:cubicBezTo>
                      <a:pt x="1794" y="6090"/>
                      <a:pt x="1856" y="6096"/>
                      <a:pt x="1918" y="6096"/>
                    </a:cubicBezTo>
                    <a:cubicBezTo>
                      <a:pt x="2496" y="6096"/>
                      <a:pt x="2966" y="5626"/>
                      <a:pt x="2966" y="5048"/>
                    </a:cubicBezTo>
                    <a:cubicBezTo>
                      <a:pt x="2966" y="4874"/>
                      <a:pt x="2924" y="4704"/>
                      <a:pt x="2842" y="4553"/>
                    </a:cubicBezTo>
                    <a:cubicBezTo>
                      <a:pt x="3321" y="4342"/>
                      <a:pt x="3636" y="3866"/>
                      <a:pt x="3636" y="3336"/>
                    </a:cubicBezTo>
                    <a:close/>
                    <a:moveTo>
                      <a:pt x="895" y="2691"/>
                    </a:moveTo>
                    <a:cubicBezTo>
                      <a:pt x="981" y="2691"/>
                      <a:pt x="1051" y="2761"/>
                      <a:pt x="1051" y="2847"/>
                    </a:cubicBezTo>
                    <a:cubicBezTo>
                      <a:pt x="1051" y="2934"/>
                      <a:pt x="981" y="3004"/>
                      <a:pt x="895" y="3004"/>
                    </a:cubicBezTo>
                    <a:cubicBezTo>
                      <a:pt x="808" y="3004"/>
                      <a:pt x="738" y="2934"/>
                      <a:pt x="738" y="2847"/>
                    </a:cubicBezTo>
                    <a:cubicBezTo>
                      <a:pt x="738" y="2761"/>
                      <a:pt x="808" y="2691"/>
                      <a:pt x="895" y="2691"/>
                    </a:cubicBezTo>
                    <a:close/>
                    <a:moveTo>
                      <a:pt x="2684" y="4426"/>
                    </a:moveTo>
                    <a:cubicBezTo>
                      <a:pt x="2658" y="4435"/>
                      <a:pt x="2638" y="4456"/>
                      <a:pt x="2629" y="4481"/>
                    </a:cubicBezTo>
                    <a:cubicBezTo>
                      <a:pt x="2621" y="4507"/>
                      <a:pt x="2625" y="4536"/>
                      <a:pt x="2640" y="4559"/>
                    </a:cubicBezTo>
                    <a:cubicBezTo>
                      <a:pt x="2674" y="4608"/>
                      <a:pt x="2702" y="4661"/>
                      <a:pt x="2725" y="4715"/>
                    </a:cubicBezTo>
                    <a:cubicBezTo>
                      <a:pt x="2121" y="4715"/>
                      <a:pt x="2121" y="4715"/>
                      <a:pt x="2121" y="4715"/>
                    </a:cubicBezTo>
                    <a:cubicBezTo>
                      <a:pt x="2082" y="4575"/>
                      <a:pt x="1953" y="4471"/>
                      <a:pt x="1800" y="4471"/>
                    </a:cubicBezTo>
                    <a:cubicBezTo>
                      <a:pt x="1617" y="4471"/>
                      <a:pt x="1467" y="4620"/>
                      <a:pt x="1467" y="4803"/>
                    </a:cubicBezTo>
                    <a:cubicBezTo>
                      <a:pt x="1467" y="4987"/>
                      <a:pt x="1617" y="5136"/>
                      <a:pt x="1800" y="5136"/>
                    </a:cubicBezTo>
                    <a:cubicBezTo>
                      <a:pt x="1953" y="5136"/>
                      <a:pt x="2082" y="5032"/>
                      <a:pt x="2121" y="4891"/>
                    </a:cubicBezTo>
                    <a:cubicBezTo>
                      <a:pt x="2776" y="4891"/>
                      <a:pt x="2776" y="4891"/>
                      <a:pt x="2776" y="4891"/>
                    </a:cubicBezTo>
                    <a:cubicBezTo>
                      <a:pt x="2785" y="4943"/>
                      <a:pt x="2790" y="4995"/>
                      <a:pt x="2790" y="5048"/>
                    </a:cubicBezTo>
                    <a:cubicBezTo>
                      <a:pt x="2790" y="5529"/>
                      <a:pt x="2399" y="5920"/>
                      <a:pt x="1918" y="5920"/>
                    </a:cubicBezTo>
                    <a:cubicBezTo>
                      <a:pt x="1844" y="5920"/>
                      <a:pt x="1769" y="5910"/>
                      <a:pt x="1693" y="5890"/>
                    </a:cubicBezTo>
                    <a:cubicBezTo>
                      <a:pt x="1670" y="5884"/>
                      <a:pt x="1646" y="5887"/>
                      <a:pt x="1626" y="5899"/>
                    </a:cubicBezTo>
                    <a:cubicBezTo>
                      <a:pt x="1605" y="5911"/>
                      <a:pt x="1591" y="5931"/>
                      <a:pt x="1585" y="5954"/>
                    </a:cubicBezTo>
                    <a:cubicBezTo>
                      <a:pt x="1506" y="6273"/>
                      <a:pt x="1221" y="6497"/>
                      <a:pt x="892" y="6497"/>
                    </a:cubicBezTo>
                    <a:cubicBezTo>
                      <a:pt x="497" y="6497"/>
                      <a:pt x="176" y="6176"/>
                      <a:pt x="176" y="5781"/>
                    </a:cubicBezTo>
                    <a:cubicBezTo>
                      <a:pt x="176" y="3912"/>
                      <a:pt x="176" y="3912"/>
                      <a:pt x="176" y="3912"/>
                    </a:cubicBezTo>
                    <a:cubicBezTo>
                      <a:pt x="807" y="3912"/>
                      <a:pt x="807" y="3912"/>
                      <a:pt x="807" y="3912"/>
                    </a:cubicBezTo>
                    <a:cubicBezTo>
                      <a:pt x="807" y="5461"/>
                      <a:pt x="807" y="5461"/>
                      <a:pt x="807" y="5461"/>
                    </a:cubicBezTo>
                    <a:cubicBezTo>
                      <a:pt x="666" y="5499"/>
                      <a:pt x="562" y="5628"/>
                      <a:pt x="562" y="5781"/>
                    </a:cubicBezTo>
                    <a:cubicBezTo>
                      <a:pt x="562" y="5965"/>
                      <a:pt x="711" y="6114"/>
                      <a:pt x="895" y="6114"/>
                    </a:cubicBezTo>
                    <a:cubicBezTo>
                      <a:pt x="1078" y="6114"/>
                      <a:pt x="1227" y="5965"/>
                      <a:pt x="1227" y="5781"/>
                    </a:cubicBezTo>
                    <a:cubicBezTo>
                      <a:pt x="1227" y="5628"/>
                      <a:pt x="1123" y="5499"/>
                      <a:pt x="983" y="5461"/>
                    </a:cubicBezTo>
                    <a:cubicBezTo>
                      <a:pt x="983" y="3912"/>
                      <a:pt x="983" y="3912"/>
                      <a:pt x="983" y="3912"/>
                    </a:cubicBezTo>
                    <a:cubicBezTo>
                      <a:pt x="1314" y="3912"/>
                      <a:pt x="1314" y="3912"/>
                      <a:pt x="1314" y="3912"/>
                    </a:cubicBezTo>
                    <a:cubicBezTo>
                      <a:pt x="1601" y="3912"/>
                      <a:pt x="1840" y="3700"/>
                      <a:pt x="1881" y="3424"/>
                    </a:cubicBezTo>
                    <a:cubicBezTo>
                      <a:pt x="2457" y="3424"/>
                      <a:pt x="2457" y="3424"/>
                      <a:pt x="2457" y="3424"/>
                    </a:cubicBezTo>
                    <a:cubicBezTo>
                      <a:pt x="2496" y="3565"/>
                      <a:pt x="2625" y="3669"/>
                      <a:pt x="2778" y="3669"/>
                    </a:cubicBezTo>
                    <a:cubicBezTo>
                      <a:pt x="2961" y="3669"/>
                      <a:pt x="3110" y="3520"/>
                      <a:pt x="3110" y="3336"/>
                    </a:cubicBezTo>
                    <a:cubicBezTo>
                      <a:pt x="3110" y="3153"/>
                      <a:pt x="2961" y="3004"/>
                      <a:pt x="2778" y="3004"/>
                    </a:cubicBezTo>
                    <a:cubicBezTo>
                      <a:pt x="2625" y="3004"/>
                      <a:pt x="2496" y="3108"/>
                      <a:pt x="2457" y="3248"/>
                    </a:cubicBezTo>
                    <a:cubicBezTo>
                      <a:pt x="1888" y="3248"/>
                      <a:pt x="1888" y="3248"/>
                      <a:pt x="1888" y="3248"/>
                    </a:cubicBezTo>
                    <a:cubicBezTo>
                      <a:pt x="1888" y="1701"/>
                      <a:pt x="1888" y="1701"/>
                      <a:pt x="1888" y="1701"/>
                    </a:cubicBezTo>
                    <a:cubicBezTo>
                      <a:pt x="2029" y="1662"/>
                      <a:pt x="2132" y="1533"/>
                      <a:pt x="2132" y="1380"/>
                    </a:cubicBezTo>
                    <a:cubicBezTo>
                      <a:pt x="2132" y="1197"/>
                      <a:pt x="1983" y="1048"/>
                      <a:pt x="1800" y="1048"/>
                    </a:cubicBezTo>
                    <a:cubicBezTo>
                      <a:pt x="1617" y="1048"/>
                      <a:pt x="1467" y="1197"/>
                      <a:pt x="1467" y="1380"/>
                    </a:cubicBezTo>
                    <a:cubicBezTo>
                      <a:pt x="1467" y="1533"/>
                      <a:pt x="1571" y="1662"/>
                      <a:pt x="1712" y="1701"/>
                    </a:cubicBezTo>
                    <a:cubicBezTo>
                      <a:pt x="1712" y="3338"/>
                      <a:pt x="1712" y="3338"/>
                      <a:pt x="1712" y="3338"/>
                    </a:cubicBezTo>
                    <a:cubicBezTo>
                      <a:pt x="1712" y="3557"/>
                      <a:pt x="1534" y="3736"/>
                      <a:pt x="1314" y="3736"/>
                    </a:cubicBezTo>
                    <a:cubicBezTo>
                      <a:pt x="895" y="3736"/>
                      <a:pt x="895" y="3736"/>
                      <a:pt x="895" y="3736"/>
                    </a:cubicBezTo>
                    <a:cubicBezTo>
                      <a:pt x="176" y="3736"/>
                      <a:pt x="176" y="3736"/>
                      <a:pt x="176" y="3736"/>
                    </a:cubicBezTo>
                    <a:cubicBezTo>
                      <a:pt x="176" y="891"/>
                      <a:pt x="176" y="891"/>
                      <a:pt x="176" y="891"/>
                    </a:cubicBezTo>
                    <a:cubicBezTo>
                      <a:pt x="176" y="526"/>
                      <a:pt x="452" y="224"/>
                      <a:pt x="807" y="181"/>
                    </a:cubicBezTo>
                    <a:cubicBezTo>
                      <a:pt x="807" y="2527"/>
                      <a:pt x="807" y="2527"/>
                      <a:pt x="807" y="2527"/>
                    </a:cubicBezTo>
                    <a:cubicBezTo>
                      <a:pt x="666" y="2565"/>
                      <a:pt x="562" y="2695"/>
                      <a:pt x="562" y="2847"/>
                    </a:cubicBezTo>
                    <a:cubicBezTo>
                      <a:pt x="562" y="3031"/>
                      <a:pt x="711" y="3180"/>
                      <a:pt x="895" y="3180"/>
                    </a:cubicBezTo>
                    <a:cubicBezTo>
                      <a:pt x="1078" y="3180"/>
                      <a:pt x="1227" y="3031"/>
                      <a:pt x="1227" y="2847"/>
                    </a:cubicBezTo>
                    <a:cubicBezTo>
                      <a:pt x="1227" y="2695"/>
                      <a:pt x="1123" y="2565"/>
                      <a:pt x="983" y="2527"/>
                    </a:cubicBezTo>
                    <a:cubicBezTo>
                      <a:pt x="983" y="182"/>
                      <a:pt x="983" y="182"/>
                      <a:pt x="983" y="182"/>
                    </a:cubicBezTo>
                    <a:cubicBezTo>
                      <a:pt x="1272" y="219"/>
                      <a:pt x="1513" y="429"/>
                      <a:pt x="1585" y="719"/>
                    </a:cubicBezTo>
                    <a:cubicBezTo>
                      <a:pt x="1591" y="742"/>
                      <a:pt x="1605" y="762"/>
                      <a:pt x="1626" y="774"/>
                    </a:cubicBezTo>
                    <a:cubicBezTo>
                      <a:pt x="1646" y="786"/>
                      <a:pt x="1670" y="789"/>
                      <a:pt x="1693" y="783"/>
                    </a:cubicBezTo>
                    <a:cubicBezTo>
                      <a:pt x="1769" y="763"/>
                      <a:pt x="1844" y="753"/>
                      <a:pt x="1918" y="753"/>
                    </a:cubicBezTo>
                    <a:cubicBezTo>
                      <a:pt x="2399" y="753"/>
                      <a:pt x="2790" y="1144"/>
                      <a:pt x="2790" y="1625"/>
                    </a:cubicBezTo>
                    <a:cubicBezTo>
                      <a:pt x="2790" y="1800"/>
                      <a:pt x="2738" y="1970"/>
                      <a:pt x="2640" y="2114"/>
                    </a:cubicBezTo>
                    <a:cubicBezTo>
                      <a:pt x="2625" y="2137"/>
                      <a:pt x="2621" y="2165"/>
                      <a:pt x="2629" y="2191"/>
                    </a:cubicBezTo>
                    <a:cubicBezTo>
                      <a:pt x="2638" y="2217"/>
                      <a:pt x="2658" y="2238"/>
                      <a:pt x="2684" y="2247"/>
                    </a:cubicBezTo>
                    <a:cubicBezTo>
                      <a:pt x="3148" y="2408"/>
                      <a:pt x="3460" y="2846"/>
                      <a:pt x="3460" y="3336"/>
                    </a:cubicBezTo>
                    <a:cubicBezTo>
                      <a:pt x="3460" y="3827"/>
                      <a:pt x="3148" y="4265"/>
                      <a:pt x="2684" y="4426"/>
                    </a:cubicBezTo>
                    <a:close/>
                    <a:moveTo>
                      <a:pt x="1956" y="4803"/>
                    </a:moveTo>
                    <a:cubicBezTo>
                      <a:pt x="1956" y="4890"/>
                      <a:pt x="1886" y="4960"/>
                      <a:pt x="1800" y="4960"/>
                    </a:cubicBezTo>
                    <a:cubicBezTo>
                      <a:pt x="1714" y="4960"/>
                      <a:pt x="1643" y="4890"/>
                      <a:pt x="1643" y="4803"/>
                    </a:cubicBezTo>
                    <a:cubicBezTo>
                      <a:pt x="1643" y="4717"/>
                      <a:pt x="1714" y="4647"/>
                      <a:pt x="1800" y="4647"/>
                    </a:cubicBezTo>
                    <a:cubicBezTo>
                      <a:pt x="1886" y="4647"/>
                      <a:pt x="1956" y="4717"/>
                      <a:pt x="1956" y="4803"/>
                    </a:cubicBezTo>
                    <a:close/>
                    <a:moveTo>
                      <a:pt x="895" y="5625"/>
                    </a:moveTo>
                    <a:cubicBezTo>
                      <a:pt x="981" y="5625"/>
                      <a:pt x="1051" y="5695"/>
                      <a:pt x="1051" y="5781"/>
                    </a:cubicBezTo>
                    <a:cubicBezTo>
                      <a:pt x="1051" y="5868"/>
                      <a:pt x="981" y="5938"/>
                      <a:pt x="895" y="5938"/>
                    </a:cubicBezTo>
                    <a:cubicBezTo>
                      <a:pt x="808" y="5938"/>
                      <a:pt x="738" y="5868"/>
                      <a:pt x="738" y="5781"/>
                    </a:cubicBezTo>
                    <a:cubicBezTo>
                      <a:pt x="738" y="5695"/>
                      <a:pt x="808" y="5625"/>
                      <a:pt x="895" y="5625"/>
                    </a:cubicBezTo>
                    <a:close/>
                    <a:moveTo>
                      <a:pt x="1800" y="1537"/>
                    </a:moveTo>
                    <a:cubicBezTo>
                      <a:pt x="1714" y="1537"/>
                      <a:pt x="1643" y="1467"/>
                      <a:pt x="1643" y="1380"/>
                    </a:cubicBezTo>
                    <a:cubicBezTo>
                      <a:pt x="1643" y="1294"/>
                      <a:pt x="1714" y="1224"/>
                      <a:pt x="1800" y="1224"/>
                    </a:cubicBezTo>
                    <a:cubicBezTo>
                      <a:pt x="1886" y="1224"/>
                      <a:pt x="1956" y="1294"/>
                      <a:pt x="1956" y="1380"/>
                    </a:cubicBezTo>
                    <a:cubicBezTo>
                      <a:pt x="1956" y="1467"/>
                      <a:pt x="1886" y="1537"/>
                      <a:pt x="1800" y="1537"/>
                    </a:cubicBezTo>
                    <a:close/>
                    <a:moveTo>
                      <a:pt x="2621" y="3336"/>
                    </a:moveTo>
                    <a:cubicBezTo>
                      <a:pt x="2621" y="3250"/>
                      <a:pt x="2692" y="3180"/>
                      <a:pt x="2778" y="3180"/>
                    </a:cubicBezTo>
                    <a:cubicBezTo>
                      <a:pt x="2864" y="3180"/>
                      <a:pt x="2934" y="3250"/>
                      <a:pt x="2934" y="3336"/>
                    </a:cubicBezTo>
                    <a:cubicBezTo>
                      <a:pt x="2934" y="3423"/>
                      <a:pt x="2864" y="3493"/>
                      <a:pt x="2778" y="3493"/>
                    </a:cubicBezTo>
                    <a:cubicBezTo>
                      <a:pt x="2692" y="3493"/>
                      <a:pt x="2621" y="3423"/>
                      <a:pt x="2621" y="33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uk-UA" sz="900"/>
              </a:p>
            </p:txBody>
          </p:sp>
          <p:sp>
            <p:nvSpPr>
              <p:cNvPr id="15" name="Freeform 11">
                <a:extLst>
                  <a:ext uri="{FF2B5EF4-FFF2-40B4-BE49-F238E27FC236}">
                    <a16:creationId xmlns:a16="http://schemas.microsoft.com/office/drawing/2014/main" id="{207D72C0-5C64-3BDF-4A8D-98F96A2B0CC4}"/>
                  </a:ext>
                </a:extLst>
              </p:cNvPr>
              <p:cNvSpPr>
                <a:spLocks noEditPoints="1"/>
              </p:cNvSpPr>
              <p:nvPr/>
            </p:nvSpPr>
            <p:spPr bwMode="auto">
              <a:xfrm>
                <a:off x="42" y="4229"/>
                <a:ext cx="1865" cy="3422"/>
              </a:xfrm>
              <a:custGeom>
                <a:avLst/>
                <a:gdLst>
                  <a:gd name="T0" fmla="*/ 1905 w 3636"/>
                  <a:gd name="T1" fmla="*/ 594 h 6673"/>
                  <a:gd name="T2" fmla="*/ 670 w 3636"/>
                  <a:gd name="T3" fmla="*/ 1625 h 6673"/>
                  <a:gd name="T4" fmla="*/ 0 w 3636"/>
                  <a:gd name="T5" fmla="*/ 3336 h 6673"/>
                  <a:gd name="T6" fmla="*/ 670 w 3636"/>
                  <a:gd name="T7" fmla="*/ 5048 h 6673"/>
                  <a:gd name="T8" fmla="*/ 1905 w 3636"/>
                  <a:gd name="T9" fmla="*/ 6079 h 6673"/>
                  <a:gd name="T10" fmla="*/ 3636 w 3636"/>
                  <a:gd name="T11" fmla="*/ 5781 h 6673"/>
                  <a:gd name="T12" fmla="*/ 2745 w 3636"/>
                  <a:gd name="T13" fmla="*/ 0 h 6673"/>
                  <a:gd name="T14" fmla="*/ 2585 w 3636"/>
                  <a:gd name="T15" fmla="*/ 3825 h 6673"/>
                  <a:gd name="T16" fmla="*/ 2898 w 3636"/>
                  <a:gd name="T17" fmla="*/ 3825 h 6673"/>
                  <a:gd name="T18" fmla="*/ 3460 w 3636"/>
                  <a:gd name="T19" fmla="*/ 2761 h 6673"/>
                  <a:gd name="T20" fmla="*/ 2830 w 3636"/>
                  <a:gd name="T21" fmla="*/ 1212 h 6673"/>
                  <a:gd name="T22" fmla="*/ 2742 w 3636"/>
                  <a:gd name="T23" fmla="*/ 559 h 6673"/>
                  <a:gd name="T24" fmla="*/ 2654 w 3636"/>
                  <a:gd name="T25" fmla="*/ 1212 h 6673"/>
                  <a:gd name="T26" fmla="*/ 2322 w 3636"/>
                  <a:gd name="T27" fmla="*/ 2761 h 6673"/>
                  <a:gd name="T28" fmla="*/ 1179 w 3636"/>
                  <a:gd name="T29" fmla="*/ 3248 h 6673"/>
                  <a:gd name="T30" fmla="*/ 526 w 3636"/>
                  <a:gd name="T31" fmla="*/ 3336 h 6673"/>
                  <a:gd name="T32" fmla="*/ 1179 w 3636"/>
                  <a:gd name="T33" fmla="*/ 3424 h 6673"/>
                  <a:gd name="T34" fmla="*/ 1748 w 3636"/>
                  <a:gd name="T35" fmla="*/ 4972 h 6673"/>
                  <a:gd name="T36" fmla="*/ 1836 w 3636"/>
                  <a:gd name="T37" fmla="*/ 5625 h 6673"/>
                  <a:gd name="T38" fmla="*/ 1924 w 3636"/>
                  <a:gd name="T39" fmla="*/ 4972 h 6673"/>
                  <a:gd name="T40" fmla="*/ 2322 w 3636"/>
                  <a:gd name="T41" fmla="*/ 2937 h 6673"/>
                  <a:gd name="T42" fmla="*/ 3460 w 3636"/>
                  <a:gd name="T43" fmla="*/ 2937 h 6673"/>
                  <a:gd name="T44" fmla="*/ 2830 w 3636"/>
                  <a:gd name="T45" fmla="*/ 6491 h 6673"/>
                  <a:gd name="T46" fmla="*/ 3074 w 3636"/>
                  <a:gd name="T47" fmla="*/ 3825 h 6673"/>
                  <a:gd name="T48" fmla="*/ 2409 w 3636"/>
                  <a:gd name="T49" fmla="*/ 3825 h 6673"/>
                  <a:gd name="T50" fmla="*/ 2654 w 3636"/>
                  <a:gd name="T51" fmla="*/ 6491 h 6673"/>
                  <a:gd name="T52" fmla="*/ 2011 w 3636"/>
                  <a:gd name="T53" fmla="*/ 5899 h 6673"/>
                  <a:gd name="T54" fmla="*/ 1943 w 3636"/>
                  <a:gd name="T55" fmla="*/ 5890 h 6673"/>
                  <a:gd name="T56" fmla="*/ 846 w 3636"/>
                  <a:gd name="T57" fmla="*/ 5048 h 6673"/>
                  <a:gd name="T58" fmla="*/ 1007 w 3636"/>
                  <a:gd name="T59" fmla="*/ 4481 h 6673"/>
                  <a:gd name="T60" fmla="*/ 176 w 3636"/>
                  <a:gd name="T61" fmla="*/ 3336 h 6673"/>
                  <a:gd name="T62" fmla="*/ 1007 w 3636"/>
                  <a:gd name="T63" fmla="*/ 2191 h 6673"/>
                  <a:gd name="T64" fmla="*/ 912 w 3636"/>
                  <a:gd name="T65" fmla="*/ 1957 h 6673"/>
                  <a:gd name="T66" fmla="*/ 1836 w 3636"/>
                  <a:gd name="T67" fmla="*/ 2202 h 6673"/>
                  <a:gd name="T68" fmla="*/ 1836 w 3636"/>
                  <a:gd name="T69" fmla="*/ 1537 h 6673"/>
                  <a:gd name="T70" fmla="*/ 860 w 3636"/>
                  <a:gd name="T71" fmla="*/ 1781 h 6673"/>
                  <a:gd name="T72" fmla="*/ 1718 w 3636"/>
                  <a:gd name="T73" fmla="*/ 753 h 6673"/>
                  <a:gd name="T74" fmla="*/ 2011 w 3636"/>
                  <a:gd name="T75" fmla="*/ 774 h 6673"/>
                  <a:gd name="T76" fmla="*/ 2745 w 3636"/>
                  <a:gd name="T77" fmla="*/ 176 h 6673"/>
                  <a:gd name="T78" fmla="*/ 3460 w 3636"/>
                  <a:gd name="T79" fmla="*/ 2761 h 6673"/>
                  <a:gd name="T80" fmla="*/ 2585 w 3636"/>
                  <a:gd name="T81" fmla="*/ 891 h 6673"/>
                  <a:gd name="T82" fmla="*/ 2898 w 3636"/>
                  <a:gd name="T83" fmla="*/ 891 h 6673"/>
                  <a:gd name="T84" fmla="*/ 1836 w 3636"/>
                  <a:gd name="T85" fmla="*/ 5136 h 6673"/>
                  <a:gd name="T86" fmla="*/ 1836 w 3636"/>
                  <a:gd name="T87" fmla="*/ 5449 h 6673"/>
                  <a:gd name="T88" fmla="*/ 1836 w 3636"/>
                  <a:gd name="T89" fmla="*/ 5136 h 6673"/>
                  <a:gd name="T90" fmla="*/ 858 w 3636"/>
                  <a:gd name="T91" fmla="*/ 3493 h 6673"/>
                  <a:gd name="T92" fmla="*/ 858 w 3636"/>
                  <a:gd name="T93" fmla="*/ 3180 h 6673"/>
                  <a:gd name="T94" fmla="*/ 1680 w 3636"/>
                  <a:gd name="T95" fmla="*/ 1869 h 6673"/>
                  <a:gd name="T96" fmla="*/ 1993 w 3636"/>
                  <a:gd name="T97" fmla="*/ 1869 h 6673"/>
                  <a:gd name="T98" fmla="*/ 1680 w 3636"/>
                  <a:gd name="T99" fmla="*/ 1869 h 6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636" h="6673">
                    <a:moveTo>
                      <a:pt x="2745" y="0"/>
                    </a:moveTo>
                    <a:cubicBezTo>
                      <a:pt x="2363" y="0"/>
                      <a:pt x="2030" y="240"/>
                      <a:pt x="1905" y="594"/>
                    </a:cubicBezTo>
                    <a:cubicBezTo>
                      <a:pt x="1842" y="582"/>
                      <a:pt x="1780" y="577"/>
                      <a:pt x="1718" y="577"/>
                    </a:cubicBezTo>
                    <a:cubicBezTo>
                      <a:pt x="1140" y="577"/>
                      <a:pt x="670" y="1047"/>
                      <a:pt x="670" y="1625"/>
                    </a:cubicBezTo>
                    <a:cubicBezTo>
                      <a:pt x="670" y="1799"/>
                      <a:pt x="713" y="1968"/>
                      <a:pt x="794" y="2120"/>
                    </a:cubicBezTo>
                    <a:cubicBezTo>
                      <a:pt x="315" y="2331"/>
                      <a:pt x="0" y="2807"/>
                      <a:pt x="0" y="3336"/>
                    </a:cubicBezTo>
                    <a:cubicBezTo>
                      <a:pt x="0" y="3866"/>
                      <a:pt x="315" y="4342"/>
                      <a:pt x="794" y="4553"/>
                    </a:cubicBezTo>
                    <a:cubicBezTo>
                      <a:pt x="713" y="4704"/>
                      <a:pt x="670" y="4874"/>
                      <a:pt x="670" y="5048"/>
                    </a:cubicBezTo>
                    <a:cubicBezTo>
                      <a:pt x="670" y="5626"/>
                      <a:pt x="1140" y="6096"/>
                      <a:pt x="1718" y="6096"/>
                    </a:cubicBezTo>
                    <a:cubicBezTo>
                      <a:pt x="1780" y="6096"/>
                      <a:pt x="1842" y="6090"/>
                      <a:pt x="1905" y="6079"/>
                    </a:cubicBezTo>
                    <a:cubicBezTo>
                      <a:pt x="2030" y="6432"/>
                      <a:pt x="2363" y="6673"/>
                      <a:pt x="2745" y="6673"/>
                    </a:cubicBezTo>
                    <a:cubicBezTo>
                      <a:pt x="3236" y="6673"/>
                      <a:pt x="3636" y="6273"/>
                      <a:pt x="3636" y="5781"/>
                    </a:cubicBezTo>
                    <a:cubicBezTo>
                      <a:pt x="3636" y="891"/>
                      <a:pt x="3636" y="891"/>
                      <a:pt x="3636" y="891"/>
                    </a:cubicBezTo>
                    <a:cubicBezTo>
                      <a:pt x="3636" y="400"/>
                      <a:pt x="3236" y="0"/>
                      <a:pt x="2745" y="0"/>
                    </a:cubicBezTo>
                    <a:close/>
                    <a:moveTo>
                      <a:pt x="2742" y="3982"/>
                    </a:moveTo>
                    <a:cubicBezTo>
                      <a:pt x="2655" y="3982"/>
                      <a:pt x="2585" y="3912"/>
                      <a:pt x="2585" y="3825"/>
                    </a:cubicBezTo>
                    <a:cubicBezTo>
                      <a:pt x="2585" y="3739"/>
                      <a:pt x="2655" y="3669"/>
                      <a:pt x="2742" y="3669"/>
                    </a:cubicBezTo>
                    <a:cubicBezTo>
                      <a:pt x="2828" y="3669"/>
                      <a:pt x="2898" y="3739"/>
                      <a:pt x="2898" y="3825"/>
                    </a:cubicBezTo>
                    <a:cubicBezTo>
                      <a:pt x="2898" y="3912"/>
                      <a:pt x="2828" y="3982"/>
                      <a:pt x="2742" y="3982"/>
                    </a:cubicBezTo>
                    <a:close/>
                    <a:moveTo>
                      <a:pt x="3460" y="2761"/>
                    </a:moveTo>
                    <a:cubicBezTo>
                      <a:pt x="2830" y="2761"/>
                      <a:pt x="2830" y="2761"/>
                      <a:pt x="2830" y="2761"/>
                    </a:cubicBezTo>
                    <a:cubicBezTo>
                      <a:pt x="2830" y="1212"/>
                      <a:pt x="2830" y="1212"/>
                      <a:pt x="2830" y="1212"/>
                    </a:cubicBezTo>
                    <a:cubicBezTo>
                      <a:pt x="2970" y="1173"/>
                      <a:pt x="3074" y="1044"/>
                      <a:pt x="3074" y="891"/>
                    </a:cubicBezTo>
                    <a:cubicBezTo>
                      <a:pt x="3074" y="708"/>
                      <a:pt x="2925" y="559"/>
                      <a:pt x="2742" y="559"/>
                    </a:cubicBezTo>
                    <a:cubicBezTo>
                      <a:pt x="2558" y="559"/>
                      <a:pt x="2409" y="708"/>
                      <a:pt x="2409" y="891"/>
                    </a:cubicBezTo>
                    <a:cubicBezTo>
                      <a:pt x="2409" y="1044"/>
                      <a:pt x="2513" y="1173"/>
                      <a:pt x="2654" y="1212"/>
                    </a:cubicBezTo>
                    <a:cubicBezTo>
                      <a:pt x="2654" y="2761"/>
                      <a:pt x="2654" y="2761"/>
                      <a:pt x="2654" y="2761"/>
                    </a:cubicBezTo>
                    <a:cubicBezTo>
                      <a:pt x="2322" y="2761"/>
                      <a:pt x="2322" y="2761"/>
                      <a:pt x="2322" y="2761"/>
                    </a:cubicBezTo>
                    <a:cubicBezTo>
                      <a:pt x="2035" y="2761"/>
                      <a:pt x="1797" y="2973"/>
                      <a:pt x="1755" y="3248"/>
                    </a:cubicBezTo>
                    <a:cubicBezTo>
                      <a:pt x="1179" y="3248"/>
                      <a:pt x="1179" y="3248"/>
                      <a:pt x="1179" y="3248"/>
                    </a:cubicBezTo>
                    <a:cubicBezTo>
                      <a:pt x="1140" y="3108"/>
                      <a:pt x="1011" y="3004"/>
                      <a:pt x="858" y="3004"/>
                    </a:cubicBezTo>
                    <a:cubicBezTo>
                      <a:pt x="675" y="3004"/>
                      <a:pt x="526" y="3153"/>
                      <a:pt x="526" y="3336"/>
                    </a:cubicBezTo>
                    <a:cubicBezTo>
                      <a:pt x="526" y="3520"/>
                      <a:pt x="675" y="3669"/>
                      <a:pt x="858" y="3669"/>
                    </a:cubicBezTo>
                    <a:cubicBezTo>
                      <a:pt x="1011" y="3669"/>
                      <a:pt x="1140" y="3565"/>
                      <a:pt x="1179" y="3424"/>
                    </a:cubicBezTo>
                    <a:cubicBezTo>
                      <a:pt x="1748" y="3424"/>
                      <a:pt x="1748" y="3424"/>
                      <a:pt x="1748" y="3424"/>
                    </a:cubicBezTo>
                    <a:cubicBezTo>
                      <a:pt x="1748" y="4972"/>
                      <a:pt x="1748" y="4972"/>
                      <a:pt x="1748" y="4972"/>
                    </a:cubicBezTo>
                    <a:cubicBezTo>
                      <a:pt x="1608" y="5010"/>
                      <a:pt x="1504" y="5139"/>
                      <a:pt x="1504" y="5292"/>
                    </a:cubicBezTo>
                    <a:cubicBezTo>
                      <a:pt x="1504" y="5476"/>
                      <a:pt x="1653" y="5625"/>
                      <a:pt x="1836" y="5625"/>
                    </a:cubicBezTo>
                    <a:cubicBezTo>
                      <a:pt x="2020" y="5625"/>
                      <a:pt x="2169" y="5476"/>
                      <a:pt x="2169" y="5292"/>
                    </a:cubicBezTo>
                    <a:cubicBezTo>
                      <a:pt x="2169" y="5139"/>
                      <a:pt x="2065" y="5010"/>
                      <a:pt x="1924" y="4972"/>
                    </a:cubicBezTo>
                    <a:cubicBezTo>
                      <a:pt x="1924" y="3335"/>
                      <a:pt x="1924" y="3335"/>
                      <a:pt x="1924" y="3335"/>
                    </a:cubicBezTo>
                    <a:cubicBezTo>
                      <a:pt x="1924" y="3116"/>
                      <a:pt x="2103" y="2937"/>
                      <a:pt x="2322" y="2937"/>
                    </a:cubicBezTo>
                    <a:cubicBezTo>
                      <a:pt x="2742" y="2937"/>
                      <a:pt x="2742" y="2937"/>
                      <a:pt x="2742" y="2937"/>
                    </a:cubicBezTo>
                    <a:cubicBezTo>
                      <a:pt x="3460" y="2937"/>
                      <a:pt x="3460" y="2937"/>
                      <a:pt x="3460" y="2937"/>
                    </a:cubicBezTo>
                    <a:cubicBezTo>
                      <a:pt x="3460" y="5781"/>
                      <a:pt x="3460" y="5781"/>
                      <a:pt x="3460" y="5781"/>
                    </a:cubicBezTo>
                    <a:cubicBezTo>
                      <a:pt x="3460" y="6147"/>
                      <a:pt x="3184" y="6449"/>
                      <a:pt x="2830" y="6491"/>
                    </a:cubicBezTo>
                    <a:cubicBezTo>
                      <a:pt x="2830" y="4146"/>
                      <a:pt x="2830" y="4146"/>
                      <a:pt x="2830" y="4146"/>
                    </a:cubicBezTo>
                    <a:cubicBezTo>
                      <a:pt x="2970" y="4107"/>
                      <a:pt x="3074" y="3978"/>
                      <a:pt x="3074" y="3825"/>
                    </a:cubicBezTo>
                    <a:cubicBezTo>
                      <a:pt x="3074" y="3642"/>
                      <a:pt x="2925" y="3493"/>
                      <a:pt x="2742" y="3493"/>
                    </a:cubicBezTo>
                    <a:cubicBezTo>
                      <a:pt x="2558" y="3493"/>
                      <a:pt x="2409" y="3642"/>
                      <a:pt x="2409" y="3825"/>
                    </a:cubicBezTo>
                    <a:cubicBezTo>
                      <a:pt x="2409" y="3978"/>
                      <a:pt x="2513" y="4107"/>
                      <a:pt x="2654" y="4146"/>
                    </a:cubicBezTo>
                    <a:cubicBezTo>
                      <a:pt x="2654" y="6491"/>
                      <a:pt x="2654" y="6491"/>
                      <a:pt x="2654" y="6491"/>
                    </a:cubicBezTo>
                    <a:cubicBezTo>
                      <a:pt x="2364" y="6454"/>
                      <a:pt x="2123" y="6243"/>
                      <a:pt x="2051" y="5954"/>
                    </a:cubicBezTo>
                    <a:cubicBezTo>
                      <a:pt x="2046" y="5931"/>
                      <a:pt x="2031" y="5911"/>
                      <a:pt x="2011" y="5899"/>
                    </a:cubicBezTo>
                    <a:cubicBezTo>
                      <a:pt x="1997" y="5891"/>
                      <a:pt x="1981" y="5887"/>
                      <a:pt x="1966" y="5887"/>
                    </a:cubicBezTo>
                    <a:cubicBezTo>
                      <a:pt x="1958" y="5887"/>
                      <a:pt x="1951" y="5888"/>
                      <a:pt x="1943" y="5890"/>
                    </a:cubicBezTo>
                    <a:cubicBezTo>
                      <a:pt x="1867" y="5910"/>
                      <a:pt x="1792" y="5920"/>
                      <a:pt x="1718" y="5920"/>
                    </a:cubicBezTo>
                    <a:cubicBezTo>
                      <a:pt x="1237" y="5920"/>
                      <a:pt x="846" y="5529"/>
                      <a:pt x="846" y="5048"/>
                    </a:cubicBezTo>
                    <a:cubicBezTo>
                      <a:pt x="846" y="4872"/>
                      <a:pt x="898" y="4703"/>
                      <a:pt x="996" y="4559"/>
                    </a:cubicBezTo>
                    <a:cubicBezTo>
                      <a:pt x="1012" y="4536"/>
                      <a:pt x="1015" y="4507"/>
                      <a:pt x="1007" y="4481"/>
                    </a:cubicBezTo>
                    <a:cubicBezTo>
                      <a:pt x="998" y="4456"/>
                      <a:pt x="978" y="4435"/>
                      <a:pt x="952" y="4426"/>
                    </a:cubicBezTo>
                    <a:cubicBezTo>
                      <a:pt x="488" y="4265"/>
                      <a:pt x="176" y="3827"/>
                      <a:pt x="176" y="3336"/>
                    </a:cubicBezTo>
                    <a:cubicBezTo>
                      <a:pt x="176" y="2846"/>
                      <a:pt x="488" y="2408"/>
                      <a:pt x="952" y="2247"/>
                    </a:cubicBezTo>
                    <a:cubicBezTo>
                      <a:pt x="978" y="2238"/>
                      <a:pt x="998" y="2217"/>
                      <a:pt x="1007" y="2191"/>
                    </a:cubicBezTo>
                    <a:cubicBezTo>
                      <a:pt x="1015" y="2165"/>
                      <a:pt x="1012" y="2137"/>
                      <a:pt x="996" y="2114"/>
                    </a:cubicBezTo>
                    <a:cubicBezTo>
                      <a:pt x="962" y="2065"/>
                      <a:pt x="934" y="2012"/>
                      <a:pt x="912" y="1957"/>
                    </a:cubicBezTo>
                    <a:cubicBezTo>
                      <a:pt x="1516" y="1957"/>
                      <a:pt x="1516" y="1957"/>
                      <a:pt x="1516" y="1957"/>
                    </a:cubicBezTo>
                    <a:cubicBezTo>
                      <a:pt x="1554" y="2098"/>
                      <a:pt x="1683" y="2202"/>
                      <a:pt x="1836" y="2202"/>
                    </a:cubicBezTo>
                    <a:cubicBezTo>
                      <a:pt x="2020" y="2202"/>
                      <a:pt x="2169" y="2053"/>
                      <a:pt x="2169" y="1869"/>
                    </a:cubicBezTo>
                    <a:cubicBezTo>
                      <a:pt x="2169" y="1686"/>
                      <a:pt x="2020" y="1537"/>
                      <a:pt x="1836" y="1537"/>
                    </a:cubicBezTo>
                    <a:cubicBezTo>
                      <a:pt x="1683" y="1537"/>
                      <a:pt x="1554" y="1641"/>
                      <a:pt x="1516" y="1781"/>
                    </a:cubicBezTo>
                    <a:cubicBezTo>
                      <a:pt x="860" y="1781"/>
                      <a:pt x="860" y="1781"/>
                      <a:pt x="860" y="1781"/>
                    </a:cubicBezTo>
                    <a:cubicBezTo>
                      <a:pt x="851" y="1730"/>
                      <a:pt x="846" y="1678"/>
                      <a:pt x="846" y="1625"/>
                    </a:cubicBezTo>
                    <a:cubicBezTo>
                      <a:pt x="846" y="1144"/>
                      <a:pt x="1237" y="753"/>
                      <a:pt x="1718" y="753"/>
                    </a:cubicBezTo>
                    <a:cubicBezTo>
                      <a:pt x="1792" y="753"/>
                      <a:pt x="1867" y="763"/>
                      <a:pt x="1943" y="783"/>
                    </a:cubicBezTo>
                    <a:cubicBezTo>
                      <a:pt x="1966" y="789"/>
                      <a:pt x="1990" y="786"/>
                      <a:pt x="2011" y="774"/>
                    </a:cubicBezTo>
                    <a:cubicBezTo>
                      <a:pt x="2031" y="762"/>
                      <a:pt x="2046" y="742"/>
                      <a:pt x="2051" y="719"/>
                    </a:cubicBezTo>
                    <a:cubicBezTo>
                      <a:pt x="2130" y="400"/>
                      <a:pt x="2416" y="176"/>
                      <a:pt x="2745" y="176"/>
                    </a:cubicBezTo>
                    <a:cubicBezTo>
                      <a:pt x="3139" y="176"/>
                      <a:pt x="3460" y="497"/>
                      <a:pt x="3460" y="891"/>
                    </a:cubicBezTo>
                    <a:lnTo>
                      <a:pt x="3460" y="2761"/>
                    </a:lnTo>
                    <a:close/>
                    <a:moveTo>
                      <a:pt x="2742" y="1048"/>
                    </a:moveTo>
                    <a:cubicBezTo>
                      <a:pt x="2655" y="1048"/>
                      <a:pt x="2585" y="978"/>
                      <a:pt x="2585" y="891"/>
                    </a:cubicBezTo>
                    <a:cubicBezTo>
                      <a:pt x="2585" y="805"/>
                      <a:pt x="2655" y="735"/>
                      <a:pt x="2742" y="735"/>
                    </a:cubicBezTo>
                    <a:cubicBezTo>
                      <a:pt x="2828" y="735"/>
                      <a:pt x="2898" y="805"/>
                      <a:pt x="2898" y="891"/>
                    </a:cubicBezTo>
                    <a:cubicBezTo>
                      <a:pt x="2898" y="978"/>
                      <a:pt x="2828" y="1048"/>
                      <a:pt x="2742" y="1048"/>
                    </a:cubicBezTo>
                    <a:close/>
                    <a:moveTo>
                      <a:pt x="1836" y="5136"/>
                    </a:moveTo>
                    <a:cubicBezTo>
                      <a:pt x="1923" y="5136"/>
                      <a:pt x="1993" y="5206"/>
                      <a:pt x="1993" y="5292"/>
                    </a:cubicBezTo>
                    <a:cubicBezTo>
                      <a:pt x="1993" y="5379"/>
                      <a:pt x="1923" y="5449"/>
                      <a:pt x="1836" y="5449"/>
                    </a:cubicBezTo>
                    <a:cubicBezTo>
                      <a:pt x="1750" y="5449"/>
                      <a:pt x="1680" y="5379"/>
                      <a:pt x="1680" y="5292"/>
                    </a:cubicBezTo>
                    <a:cubicBezTo>
                      <a:pt x="1680" y="5206"/>
                      <a:pt x="1750" y="5136"/>
                      <a:pt x="1836" y="5136"/>
                    </a:cubicBezTo>
                    <a:close/>
                    <a:moveTo>
                      <a:pt x="1015" y="3336"/>
                    </a:moveTo>
                    <a:cubicBezTo>
                      <a:pt x="1015" y="3423"/>
                      <a:pt x="945" y="3493"/>
                      <a:pt x="858" y="3493"/>
                    </a:cubicBezTo>
                    <a:cubicBezTo>
                      <a:pt x="772" y="3493"/>
                      <a:pt x="702" y="3423"/>
                      <a:pt x="702" y="3336"/>
                    </a:cubicBezTo>
                    <a:cubicBezTo>
                      <a:pt x="702" y="3250"/>
                      <a:pt x="772" y="3180"/>
                      <a:pt x="858" y="3180"/>
                    </a:cubicBezTo>
                    <a:cubicBezTo>
                      <a:pt x="945" y="3180"/>
                      <a:pt x="1015" y="3250"/>
                      <a:pt x="1015" y="3336"/>
                    </a:cubicBezTo>
                    <a:close/>
                    <a:moveTo>
                      <a:pt x="1680" y="1869"/>
                    </a:moveTo>
                    <a:cubicBezTo>
                      <a:pt x="1680" y="1783"/>
                      <a:pt x="1750" y="1713"/>
                      <a:pt x="1836" y="1713"/>
                    </a:cubicBezTo>
                    <a:cubicBezTo>
                      <a:pt x="1923" y="1713"/>
                      <a:pt x="1993" y="1783"/>
                      <a:pt x="1993" y="1869"/>
                    </a:cubicBezTo>
                    <a:cubicBezTo>
                      <a:pt x="1993" y="1956"/>
                      <a:pt x="1923" y="2026"/>
                      <a:pt x="1836" y="2026"/>
                    </a:cubicBezTo>
                    <a:cubicBezTo>
                      <a:pt x="1750" y="2026"/>
                      <a:pt x="1680" y="1956"/>
                      <a:pt x="1680" y="18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uk-UA" sz="900"/>
              </a:p>
            </p:txBody>
          </p:sp>
        </p:grpSp>
      </p:grpSp>
    </p:spTree>
    <p:extLst>
      <p:ext uri="{BB962C8B-B14F-4D97-AF65-F5344CB8AC3E}">
        <p14:creationId xmlns:p14="http://schemas.microsoft.com/office/powerpoint/2010/main" val="3066017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8" name="Text Placeholder 5">
            <a:extLst>
              <a:ext uri="{FF2B5EF4-FFF2-40B4-BE49-F238E27FC236}">
                <a16:creationId xmlns:a16="http://schemas.microsoft.com/office/drawing/2014/main" id="{03F79CF1-BB23-64AA-9C92-5A1EAE747F93}"/>
              </a:ext>
            </a:extLst>
          </p:cNvPr>
          <p:cNvSpPr>
            <a:spLocks noGrp="1"/>
          </p:cNvSpPr>
          <p:nvPr>
            <p:ph type="body" sz="quarter" idx="13" hasCustomPrompt="1"/>
          </p:nvPr>
        </p:nvSpPr>
        <p:spPr>
          <a:xfrm>
            <a:off x="262697" y="3429000"/>
            <a:ext cx="5050131" cy="1451113"/>
          </a:xfrm>
        </p:spPr>
        <p:txBody>
          <a:bodyPr/>
          <a:lstStyle>
            <a:lvl1pPr>
              <a:defRPr/>
            </a:lvl1pPr>
          </a:lstStyle>
          <a:p>
            <a:r>
              <a:rPr lang="en-US"/>
              <a:t>Session code (ID number)</a:t>
            </a:r>
            <a:br>
              <a:rPr lang="en-US"/>
            </a:br>
            <a:r>
              <a:rPr lang="en-US"/>
              <a:t>Session Title</a:t>
            </a:r>
            <a:br>
              <a:rPr lang="en-US"/>
            </a:br>
            <a:r>
              <a:rPr lang="en-US" err="1"/>
              <a:t>Firstname</a:t>
            </a:r>
            <a:r>
              <a:rPr lang="en-US"/>
              <a:t> </a:t>
            </a:r>
            <a:r>
              <a:rPr lang="en-US" err="1"/>
              <a:t>Lastname</a:t>
            </a:r>
            <a:br>
              <a:rPr lang="en-US"/>
            </a:br>
            <a:r>
              <a:rPr lang="en-US"/>
              <a:t>Company, Job Title</a:t>
            </a:r>
          </a:p>
        </p:txBody>
      </p:sp>
      <p:sp>
        <p:nvSpPr>
          <p:cNvPr id="10" name="Title 1">
            <a:extLst>
              <a:ext uri="{FF2B5EF4-FFF2-40B4-BE49-F238E27FC236}">
                <a16:creationId xmlns:a16="http://schemas.microsoft.com/office/drawing/2014/main" id="{C20F0B5B-6B52-3139-61A7-7B7287D7127D}"/>
              </a:ext>
            </a:extLst>
          </p:cNvPr>
          <p:cNvSpPr>
            <a:spLocks noGrp="1"/>
          </p:cNvSpPr>
          <p:nvPr>
            <p:ph type="title"/>
          </p:nvPr>
        </p:nvSpPr>
        <p:spPr>
          <a:xfrm>
            <a:off x="262950" y="1093032"/>
            <a:ext cx="5049878" cy="2070856"/>
          </a:xfrm>
        </p:spPr>
        <p:txBody>
          <a:bodyPr/>
          <a:lstStyle>
            <a:lvl1pPr>
              <a:lnSpc>
                <a:spcPct val="100000"/>
              </a:lnSpc>
              <a:defRPr sz="3199">
                <a:solidFill>
                  <a:schemeClr val="tx2"/>
                </a:solidFill>
              </a:defRPr>
            </a:lvl1pPr>
          </a:lstStyle>
          <a:p>
            <a:r>
              <a:rPr lang="en-US"/>
              <a:t>Click to edit Master title style</a:t>
            </a:r>
          </a:p>
        </p:txBody>
      </p:sp>
      <p:grpSp>
        <p:nvGrpSpPr>
          <p:cNvPr id="26" name="Graphic 5">
            <a:extLst>
              <a:ext uri="{FF2B5EF4-FFF2-40B4-BE49-F238E27FC236}">
                <a16:creationId xmlns:a16="http://schemas.microsoft.com/office/drawing/2014/main" id="{F1A637DE-FA28-1BBA-ED19-561BF47FC9AA}"/>
              </a:ext>
            </a:extLst>
          </p:cNvPr>
          <p:cNvGrpSpPr/>
          <p:nvPr userDrawn="1"/>
        </p:nvGrpSpPr>
        <p:grpSpPr>
          <a:xfrm>
            <a:off x="299134" y="288036"/>
            <a:ext cx="1878950" cy="218297"/>
            <a:chOff x="6597650" y="8572457"/>
            <a:chExt cx="11188016" cy="1299659"/>
          </a:xfrm>
          <a:solidFill>
            <a:srgbClr val="000000"/>
          </a:solidFill>
        </p:grpSpPr>
        <p:sp>
          <p:nvSpPr>
            <p:cNvPr id="27" name="Freeform: Shape 26">
              <a:extLst>
                <a:ext uri="{FF2B5EF4-FFF2-40B4-BE49-F238E27FC236}">
                  <a16:creationId xmlns:a16="http://schemas.microsoft.com/office/drawing/2014/main" id="{F5985145-6140-8167-8472-4F70B1B08F56}"/>
                </a:ext>
              </a:extLst>
            </p:cNvPr>
            <p:cNvSpPr/>
            <p:nvPr/>
          </p:nvSpPr>
          <p:spPr>
            <a:xfrm>
              <a:off x="11603037" y="8572457"/>
              <a:ext cx="633888" cy="1010097"/>
            </a:xfrm>
            <a:custGeom>
              <a:avLst/>
              <a:gdLst>
                <a:gd name="connsiteX0" fmla="*/ 95 w 633888"/>
                <a:gd name="connsiteY0" fmla="*/ 42 h 1010097"/>
                <a:gd name="connsiteX1" fmla="*/ 202502 w 633888"/>
                <a:gd name="connsiteY1" fmla="*/ 42 h 1010097"/>
                <a:gd name="connsiteX2" fmla="*/ 204216 w 633888"/>
                <a:gd name="connsiteY2" fmla="*/ 419904 h 1010097"/>
                <a:gd name="connsiteX3" fmla="*/ 276320 w 633888"/>
                <a:gd name="connsiteY3" fmla="*/ 318463 h 1010097"/>
                <a:gd name="connsiteX4" fmla="*/ 591884 w 633888"/>
                <a:gd name="connsiteY4" fmla="*/ 373899 h 1010097"/>
                <a:gd name="connsiteX5" fmla="*/ 633793 w 633888"/>
                <a:gd name="connsiteY5" fmla="*/ 562303 h 1010097"/>
                <a:gd name="connsiteX6" fmla="*/ 633889 w 633888"/>
                <a:gd name="connsiteY6" fmla="*/ 1010073 h 1010097"/>
                <a:gd name="connsiteX7" fmla="*/ 431482 w 633888"/>
                <a:gd name="connsiteY7" fmla="*/ 1010073 h 1010097"/>
                <a:gd name="connsiteX8" fmla="*/ 431102 w 633888"/>
                <a:gd name="connsiteY8" fmla="*/ 561827 h 1010097"/>
                <a:gd name="connsiteX9" fmla="*/ 376333 w 633888"/>
                <a:gd name="connsiteY9" fmla="*/ 448765 h 1010097"/>
                <a:gd name="connsiteX10" fmla="*/ 203454 w 633888"/>
                <a:gd name="connsiteY10" fmla="*/ 533538 h 1010097"/>
                <a:gd name="connsiteX11" fmla="*/ 202502 w 633888"/>
                <a:gd name="connsiteY11" fmla="*/ 1010073 h 1010097"/>
                <a:gd name="connsiteX12" fmla="*/ 0 w 633888"/>
                <a:gd name="connsiteY12" fmla="*/ 1009978 h 1010097"/>
                <a:gd name="connsiteX13" fmla="*/ 95 w 633888"/>
                <a:gd name="connsiteY13" fmla="*/ 42 h 101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3888" h="1010097">
                  <a:moveTo>
                    <a:pt x="95" y="42"/>
                  </a:moveTo>
                  <a:cubicBezTo>
                    <a:pt x="67533" y="-53"/>
                    <a:pt x="134969" y="42"/>
                    <a:pt x="202502" y="42"/>
                  </a:cubicBezTo>
                  <a:cubicBezTo>
                    <a:pt x="203549" y="139965"/>
                    <a:pt x="200311" y="280077"/>
                    <a:pt x="204216" y="419904"/>
                  </a:cubicBezTo>
                  <a:cubicBezTo>
                    <a:pt x="224504" y="383709"/>
                    <a:pt x="241364" y="343419"/>
                    <a:pt x="276320" y="318463"/>
                  </a:cubicBezTo>
                  <a:cubicBezTo>
                    <a:pt x="371284" y="247692"/>
                    <a:pt x="531781" y="265695"/>
                    <a:pt x="591884" y="373899"/>
                  </a:cubicBezTo>
                  <a:cubicBezTo>
                    <a:pt x="624840" y="430668"/>
                    <a:pt x="633413" y="497724"/>
                    <a:pt x="633793" y="562303"/>
                  </a:cubicBezTo>
                  <a:cubicBezTo>
                    <a:pt x="633984" y="711560"/>
                    <a:pt x="633793" y="860817"/>
                    <a:pt x="633889" y="1010073"/>
                  </a:cubicBezTo>
                  <a:lnTo>
                    <a:pt x="431482" y="1010073"/>
                  </a:lnTo>
                  <a:cubicBezTo>
                    <a:pt x="431197" y="860626"/>
                    <a:pt x="432054" y="711179"/>
                    <a:pt x="431102" y="561827"/>
                  </a:cubicBezTo>
                  <a:cubicBezTo>
                    <a:pt x="429959" y="519441"/>
                    <a:pt x="420624" y="466386"/>
                    <a:pt x="376333" y="448765"/>
                  </a:cubicBezTo>
                  <a:cubicBezTo>
                    <a:pt x="310801" y="425334"/>
                    <a:pt x="211836" y="455052"/>
                    <a:pt x="203454" y="533538"/>
                  </a:cubicBezTo>
                  <a:cubicBezTo>
                    <a:pt x="201168" y="692319"/>
                    <a:pt x="203168" y="851196"/>
                    <a:pt x="202502" y="1010073"/>
                  </a:cubicBezTo>
                  <a:cubicBezTo>
                    <a:pt x="134969" y="1010073"/>
                    <a:pt x="67533" y="1010169"/>
                    <a:pt x="0" y="1009978"/>
                  </a:cubicBezTo>
                  <a:cubicBezTo>
                    <a:pt x="191" y="673365"/>
                    <a:pt x="95" y="336656"/>
                    <a:pt x="95" y="42"/>
                  </a:cubicBezTo>
                  <a:close/>
                </a:path>
              </a:pathLst>
            </a:custGeom>
            <a:solidFill>
              <a:srgbClr val="000000"/>
            </a:solidFill>
            <a:ln w="9525" cap="flat">
              <a:noFill/>
              <a:prstDash val="solid"/>
              <a:miter/>
            </a:ln>
          </p:spPr>
          <p:txBody>
            <a:bodyPr rtlCol="0" anchor="ctr"/>
            <a:lstStyle/>
            <a:p>
              <a:endParaRPr lang="en-US" sz="900"/>
            </a:p>
          </p:txBody>
        </p:sp>
        <p:sp>
          <p:nvSpPr>
            <p:cNvPr id="28" name="Freeform: Shape 27">
              <a:extLst>
                <a:ext uri="{FF2B5EF4-FFF2-40B4-BE49-F238E27FC236}">
                  <a16:creationId xmlns:a16="http://schemas.microsoft.com/office/drawing/2014/main" id="{7D933579-F84C-4074-BCE8-A5F3C6A8C115}"/>
                </a:ext>
              </a:extLst>
            </p:cNvPr>
            <p:cNvSpPr/>
            <p:nvPr/>
          </p:nvSpPr>
          <p:spPr>
            <a:xfrm>
              <a:off x="14012576" y="8572457"/>
              <a:ext cx="634202" cy="1010164"/>
            </a:xfrm>
            <a:custGeom>
              <a:avLst/>
              <a:gdLst>
                <a:gd name="connsiteX0" fmla="*/ 381 w 634202"/>
                <a:gd name="connsiteY0" fmla="*/ 42 h 1010164"/>
                <a:gd name="connsiteX1" fmla="*/ 202788 w 634202"/>
                <a:gd name="connsiteY1" fmla="*/ 42 h 1010164"/>
                <a:gd name="connsiteX2" fmla="*/ 204502 w 634202"/>
                <a:gd name="connsiteY2" fmla="*/ 419904 h 1010164"/>
                <a:gd name="connsiteX3" fmla="*/ 271558 w 634202"/>
                <a:gd name="connsiteY3" fmla="*/ 322559 h 1010164"/>
                <a:gd name="connsiteX4" fmla="*/ 596265 w 634202"/>
                <a:gd name="connsiteY4" fmla="*/ 381233 h 1010164"/>
                <a:gd name="connsiteX5" fmla="*/ 634175 w 634202"/>
                <a:gd name="connsiteY5" fmla="*/ 562303 h 1010164"/>
                <a:gd name="connsiteX6" fmla="*/ 634175 w 634202"/>
                <a:gd name="connsiteY6" fmla="*/ 1010073 h 1010164"/>
                <a:gd name="connsiteX7" fmla="*/ 431768 w 634202"/>
                <a:gd name="connsiteY7" fmla="*/ 1010073 h 1010164"/>
                <a:gd name="connsiteX8" fmla="*/ 431388 w 634202"/>
                <a:gd name="connsiteY8" fmla="*/ 562303 h 1010164"/>
                <a:gd name="connsiteX9" fmla="*/ 376333 w 634202"/>
                <a:gd name="connsiteY9" fmla="*/ 448575 h 1010164"/>
                <a:gd name="connsiteX10" fmla="*/ 203835 w 634202"/>
                <a:gd name="connsiteY10" fmla="*/ 533347 h 1010164"/>
                <a:gd name="connsiteX11" fmla="*/ 202788 w 634202"/>
                <a:gd name="connsiteY11" fmla="*/ 1010073 h 1010164"/>
                <a:gd name="connsiteX12" fmla="*/ 0 w 634202"/>
                <a:gd name="connsiteY12" fmla="*/ 1009597 h 1010164"/>
                <a:gd name="connsiteX13" fmla="*/ 381 w 634202"/>
                <a:gd name="connsiteY13" fmla="*/ 42 h 1010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4202" h="1010164">
                  <a:moveTo>
                    <a:pt x="381" y="42"/>
                  </a:moveTo>
                  <a:cubicBezTo>
                    <a:pt x="67819" y="-53"/>
                    <a:pt x="135255" y="42"/>
                    <a:pt x="202788" y="42"/>
                  </a:cubicBezTo>
                  <a:cubicBezTo>
                    <a:pt x="203835" y="139965"/>
                    <a:pt x="200597" y="280077"/>
                    <a:pt x="204502" y="419904"/>
                  </a:cubicBezTo>
                  <a:cubicBezTo>
                    <a:pt x="223933" y="385710"/>
                    <a:pt x="239363" y="347419"/>
                    <a:pt x="271558" y="322559"/>
                  </a:cubicBezTo>
                  <a:cubicBezTo>
                    <a:pt x="367856" y="244644"/>
                    <a:pt x="538544" y="265314"/>
                    <a:pt x="596265" y="381233"/>
                  </a:cubicBezTo>
                  <a:cubicBezTo>
                    <a:pt x="625888" y="436573"/>
                    <a:pt x="633794" y="500391"/>
                    <a:pt x="634175" y="562303"/>
                  </a:cubicBezTo>
                  <a:cubicBezTo>
                    <a:pt x="634270" y="711560"/>
                    <a:pt x="634079" y="860817"/>
                    <a:pt x="634175" y="1010073"/>
                  </a:cubicBezTo>
                  <a:lnTo>
                    <a:pt x="431768" y="1010073"/>
                  </a:lnTo>
                  <a:cubicBezTo>
                    <a:pt x="431483" y="860817"/>
                    <a:pt x="432245" y="711560"/>
                    <a:pt x="431388" y="562303"/>
                  </a:cubicBezTo>
                  <a:cubicBezTo>
                    <a:pt x="430340" y="519822"/>
                    <a:pt x="421005" y="466101"/>
                    <a:pt x="376333" y="448575"/>
                  </a:cubicBezTo>
                  <a:cubicBezTo>
                    <a:pt x="310801" y="425524"/>
                    <a:pt x="212408" y="455147"/>
                    <a:pt x="203835" y="533347"/>
                  </a:cubicBezTo>
                  <a:cubicBezTo>
                    <a:pt x="201359" y="692129"/>
                    <a:pt x="203454" y="851101"/>
                    <a:pt x="202788" y="1010073"/>
                  </a:cubicBezTo>
                  <a:cubicBezTo>
                    <a:pt x="135160" y="1009883"/>
                    <a:pt x="67533" y="1010645"/>
                    <a:pt x="0" y="1009597"/>
                  </a:cubicBezTo>
                  <a:cubicBezTo>
                    <a:pt x="858" y="673079"/>
                    <a:pt x="95" y="336561"/>
                    <a:pt x="381" y="42"/>
                  </a:cubicBezTo>
                  <a:close/>
                </a:path>
              </a:pathLst>
            </a:custGeom>
            <a:solidFill>
              <a:srgbClr val="000000"/>
            </a:solidFill>
            <a:ln w="9525" cap="flat">
              <a:noFill/>
              <a:prstDash val="solid"/>
              <a:miter/>
            </a:ln>
          </p:spPr>
          <p:txBody>
            <a:bodyPr rtlCol="0" anchor="ctr"/>
            <a:lstStyle/>
            <a:p>
              <a:endParaRPr lang="en-US" sz="900"/>
            </a:p>
          </p:txBody>
        </p:sp>
        <p:sp>
          <p:nvSpPr>
            <p:cNvPr id="29" name="Freeform: Shape 28">
              <a:extLst>
                <a:ext uri="{FF2B5EF4-FFF2-40B4-BE49-F238E27FC236}">
                  <a16:creationId xmlns:a16="http://schemas.microsoft.com/office/drawing/2014/main" id="{EB61EFE4-D8E6-B1E2-379D-12B26CE8F152}"/>
                </a:ext>
              </a:extLst>
            </p:cNvPr>
            <p:cNvSpPr/>
            <p:nvPr/>
          </p:nvSpPr>
          <p:spPr>
            <a:xfrm>
              <a:off x="6597650" y="8630030"/>
              <a:ext cx="382566" cy="952500"/>
            </a:xfrm>
            <a:custGeom>
              <a:avLst/>
              <a:gdLst>
                <a:gd name="connsiteX0" fmla="*/ 0 w 382566"/>
                <a:gd name="connsiteY0" fmla="*/ 0 h 952500"/>
                <a:gd name="connsiteX1" fmla="*/ 382524 w 382566"/>
                <a:gd name="connsiteY1" fmla="*/ 0 h 952500"/>
                <a:gd name="connsiteX2" fmla="*/ 382524 w 382566"/>
                <a:gd name="connsiteY2" fmla="*/ 95631 h 952500"/>
                <a:gd name="connsiteX3" fmla="*/ 248793 w 382566"/>
                <a:gd name="connsiteY3" fmla="*/ 95631 h 952500"/>
                <a:gd name="connsiteX4" fmla="*/ 248793 w 382566"/>
                <a:gd name="connsiteY4" fmla="*/ 856869 h 952500"/>
                <a:gd name="connsiteX5" fmla="*/ 382524 w 382566"/>
                <a:gd name="connsiteY5" fmla="*/ 856869 h 952500"/>
                <a:gd name="connsiteX6" fmla="*/ 382524 w 382566"/>
                <a:gd name="connsiteY6" fmla="*/ 952500 h 952500"/>
                <a:gd name="connsiteX7" fmla="*/ 0 w 382566"/>
                <a:gd name="connsiteY7" fmla="*/ 952500 h 952500"/>
                <a:gd name="connsiteX8" fmla="*/ 0 w 382566"/>
                <a:gd name="connsiteY8" fmla="*/ 856869 h 952500"/>
                <a:gd name="connsiteX9" fmla="*/ 133731 w 382566"/>
                <a:gd name="connsiteY9" fmla="*/ 856869 h 952500"/>
                <a:gd name="connsiteX10" fmla="*/ 133731 w 382566"/>
                <a:gd name="connsiteY10" fmla="*/ 95631 h 952500"/>
                <a:gd name="connsiteX11" fmla="*/ 0 w 382566"/>
                <a:gd name="connsiteY11" fmla="*/ 95631 h 952500"/>
                <a:gd name="connsiteX12" fmla="*/ 0 w 382566"/>
                <a:gd name="connsiteY12" fmla="*/ 0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2566" h="952500">
                  <a:moveTo>
                    <a:pt x="0" y="0"/>
                  </a:moveTo>
                  <a:lnTo>
                    <a:pt x="382524" y="0"/>
                  </a:lnTo>
                  <a:lnTo>
                    <a:pt x="382524" y="95631"/>
                  </a:lnTo>
                  <a:lnTo>
                    <a:pt x="248793" y="95631"/>
                  </a:lnTo>
                  <a:lnTo>
                    <a:pt x="248793" y="856869"/>
                  </a:lnTo>
                  <a:cubicBezTo>
                    <a:pt x="293370" y="856869"/>
                    <a:pt x="337947" y="856869"/>
                    <a:pt x="382524" y="856869"/>
                  </a:cubicBezTo>
                  <a:cubicBezTo>
                    <a:pt x="382524" y="888682"/>
                    <a:pt x="382619" y="920591"/>
                    <a:pt x="382524" y="952500"/>
                  </a:cubicBezTo>
                  <a:lnTo>
                    <a:pt x="0" y="952500"/>
                  </a:lnTo>
                  <a:cubicBezTo>
                    <a:pt x="0" y="920591"/>
                    <a:pt x="0" y="888682"/>
                    <a:pt x="0" y="856869"/>
                  </a:cubicBezTo>
                  <a:cubicBezTo>
                    <a:pt x="44577" y="856869"/>
                    <a:pt x="89154" y="856869"/>
                    <a:pt x="133731" y="856869"/>
                  </a:cubicBezTo>
                  <a:lnTo>
                    <a:pt x="133731" y="95631"/>
                  </a:lnTo>
                  <a:lnTo>
                    <a:pt x="0" y="95631"/>
                  </a:lnTo>
                  <a:cubicBezTo>
                    <a:pt x="0" y="63722"/>
                    <a:pt x="0" y="31909"/>
                    <a:pt x="0" y="0"/>
                  </a:cubicBezTo>
                  <a:close/>
                </a:path>
              </a:pathLst>
            </a:custGeom>
            <a:solidFill>
              <a:srgbClr val="000000"/>
            </a:solidFill>
            <a:ln w="9525" cap="flat">
              <a:noFill/>
              <a:prstDash val="solid"/>
              <a:miter/>
            </a:ln>
          </p:spPr>
          <p:txBody>
            <a:bodyPr rtlCol="0" anchor="ctr"/>
            <a:lstStyle/>
            <a:p>
              <a:endParaRPr lang="en-US" sz="900"/>
            </a:p>
          </p:txBody>
        </p:sp>
        <p:sp>
          <p:nvSpPr>
            <p:cNvPr id="30" name="Freeform: Shape 29">
              <a:extLst>
                <a:ext uri="{FF2B5EF4-FFF2-40B4-BE49-F238E27FC236}">
                  <a16:creationId xmlns:a16="http://schemas.microsoft.com/office/drawing/2014/main" id="{EB4E91B9-0A97-3141-A66A-E824B4E354B8}"/>
                </a:ext>
              </a:extLst>
            </p:cNvPr>
            <p:cNvSpPr/>
            <p:nvPr/>
          </p:nvSpPr>
          <p:spPr>
            <a:xfrm>
              <a:off x="7188676" y="8629948"/>
              <a:ext cx="678881" cy="952722"/>
            </a:xfrm>
            <a:custGeom>
              <a:avLst/>
              <a:gdLst>
                <a:gd name="connsiteX0" fmla="*/ 0 w 678881"/>
                <a:gd name="connsiteY0" fmla="*/ 83 h 952722"/>
                <a:gd name="connsiteX1" fmla="*/ 409956 w 678881"/>
                <a:gd name="connsiteY1" fmla="*/ 464 h 952722"/>
                <a:gd name="connsiteX2" fmla="*/ 622554 w 678881"/>
                <a:gd name="connsiteY2" fmla="*/ 130575 h 952722"/>
                <a:gd name="connsiteX3" fmla="*/ 607886 w 678881"/>
                <a:gd name="connsiteY3" fmla="*/ 378130 h 952722"/>
                <a:gd name="connsiteX4" fmla="*/ 486347 w 678881"/>
                <a:gd name="connsiteY4" fmla="*/ 452711 h 952722"/>
                <a:gd name="connsiteX5" fmla="*/ 662940 w 678881"/>
                <a:gd name="connsiteY5" fmla="*/ 585394 h 952722"/>
                <a:gd name="connsiteX6" fmla="*/ 543878 w 678881"/>
                <a:gd name="connsiteY6" fmla="*/ 925246 h 952722"/>
                <a:gd name="connsiteX7" fmla="*/ 428530 w 678881"/>
                <a:gd name="connsiteY7" fmla="*/ 952678 h 952722"/>
                <a:gd name="connsiteX8" fmla="*/ 0 w 678881"/>
                <a:gd name="connsiteY8" fmla="*/ 952583 h 952722"/>
                <a:gd name="connsiteX9" fmla="*/ 0 w 678881"/>
                <a:gd name="connsiteY9" fmla="*/ 83 h 952722"/>
                <a:gd name="connsiteX10" fmla="*/ 115062 w 678881"/>
                <a:gd name="connsiteY10" fmla="*/ 101238 h 952722"/>
                <a:gd name="connsiteX11" fmla="*/ 115062 w 678881"/>
                <a:gd name="connsiteY11" fmla="*/ 412039 h 952722"/>
                <a:gd name="connsiteX12" fmla="*/ 400050 w 678881"/>
                <a:gd name="connsiteY12" fmla="*/ 410896 h 952722"/>
                <a:gd name="connsiteX13" fmla="*/ 519398 w 678881"/>
                <a:gd name="connsiteY13" fmla="*/ 313646 h 952722"/>
                <a:gd name="connsiteX14" fmla="*/ 513969 w 678881"/>
                <a:gd name="connsiteY14" fmla="*/ 180391 h 952722"/>
                <a:gd name="connsiteX15" fmla="*/ 389858 w 678881"/>
                <a:gd name="connsiteY15" fmla="*/ 101715 h 952722"/>
                <a:gd name="connsiteX16" fmla="*/ 115062 w 678881"/>
                <a:gd name="connsiteY16" fmla="*/ 101238 h 952722"/>
                <a:gd name="connsiteX17" fmla="*/ 115062 w 678881"/>
                <a:gd name="connsiteY17" fmla="*/ 510432 h 952722"/>
                <a:gd name="connsiteX18" fmla="*/ 115062 w 678881"/>
                <a:gd name="connsiteY18" fmla="*/ 851427 h 952722"/>
                <a:gd name="connsiteX19" fmla="*/ 400526 w 678881"/>
                <a:gd name="connsiteY19" fmla="*/ 851332 h 952722"/>
                <a:gd name="connsiteX20" fmla="*/ 520637 w 678881"/>
                <a:gd name="connsiteY20" fmla="*/ 805993 h 952722"/>
                <a:gd name="connsiteX21" fmla="*/ 555498 w 678881"/>
                <a:gd name="connsiteY21" fmla="*/ 705314 h 952722"/>
                <a:gd name="connsiteX22" fmla="*/ 529304 w 678881"/>
                <a:gd name="connsiteY22" fmla="*/ 566535 h 952722"/>
                <a:gd name="connsiteX23" fmla="*/ 400241 w 678881"/>
                <a:gd name="connsiteY23" fmla="*/ 510623 h 952722"/>
                <a:gd name="connsiteX24" fmla="*/ 115062 w 678881"/>
                <a:gd name="connsiteY24" fmla="*/ 510432 h 952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8881" h="952722">
                  <a:moveTo>
                    <a:pt x="0" y="83"/>
                  </a:moveTo>
                  <a:cubicBezTo>
                    <a:pt x="136684" y="369"/>
                    <a:pt x="273272" y="-489"/>
                    <a:pt x="409956" y="464"/>
                  </a:cubicBezTo>
                  <a:cubicBezTo>
                    <a:pt x="497015" y="1893"/>
                    <a:pt x="586931" y="48279"/>
                    <a:pt x="622554" y="130575"/>
                  </a:cubicBezTo>
                  <a:cubicBezTo>
                    <a:pt x="655701" y="208490"/>
                    <a:pt x="657416" y="306693"/>
                    <a:pt x="607886" y="378130"/>
                  </a:cubicBezTo>
                  <a:cubicBezTo>
                    <a:pt x="580073" y="419850"/>
                    <a:pt x="532067" y="438328"/>
                    <a:pt x="486347" y="452711"/>
                  </a:cubicBezTo>
                  <a:cubicBezTo>
                    <a:pt x="563213" y="461950"/>
                    <a:pt x="636365" y="510909"/>
                    <a:pt x="662940" y="585394"/>
                  </a:cubicBezTo>
                  <a:cubicBezTo>
                    <a:pt x="705898" y="706743"/>
                    <a:pt x="660654" y="862191"/>
                    <a:pt x="543878" y="925246"/>
                  </a:cubicBezTo>
                  <a:cubicBezTo>
                    <a:pt x="508730" y="944391"/>
                    <a:pt x="468440" y="953440"/>
                    <a:pt x="428530" y="952678"/>
                  </a:cubicBezTo>
                  <a:cubicBezTo>
                    <a:pt x="285655" y="952488"/>
                    <a:pt x="142875" y="952583"/>
                    <a:pt x="0" y="952583"/>
                  </a:cubicBezTo>
                  <a:lnTo>
                    <a:pt x="0" y="83"/>
                  </a:lnTo>
                  <a:moveTo>
                    <a:pt x="115062" y="101238"/>
                  </a:moveTo>
                  <a:lnTo>
                    <a:pt x="115062" y="412039"/>
                  </a:lnTo>
                  <a:cubicBezTo>
                    <a:pt x="210026" y="411277"/>
                    <a:pt x="305086" y="413658"/>
                    <a:pt x="400050" y="410896"/>
                  </a:cubicBezTo>
                  <a:cubicBezTo>
                    <a:pt x="455486" y="408896"/>
                    <a:pt x="510540" y="370605"/>
                    <a:pt x="519398" y="313646"/>
                  </a:cubicBezTo>
                  <a:cubicBezTo>
                    <a:pt x="523875" y="269640"/>
                    <a:pt x="527495" y="223158"/>
                    <a:pt x="513969" y="180391"/>
                  </a:cubicBezTo>
                  <a:cubicBezTo>
                    <a:pt x="496919" y="128956"/>
                    <a:pt x="441293" y="102000"/>
                    <a:pt x="389858" y="101715"/>
                  </a:cubicBezTo>
                  <a:cubicBezTo>
                    <a:pt x="298228" y="100572"/>
                    <a:pt x="206693" y="101715"/>
                    <a:pt x="115062" y="101238"/>
                  </a:cubicBezTo>
                  <a:moveTo>
                    <a:pt x="115062" y="510432"/>
                  </a:moveTo>
                  <a:lnTo>
                    <a:pt x="115062" y="851427"/>
                  </a:lnTo>
                  <a:cubicBezTo>
                    <a:pt x="210217" y="851332"/>
                    <a:pt x="305372" y="851523"/>
                    <a:pt x="400526" y="851332"/>
                  </a:cubicBezTo>
                  <a:cubicBezTo>
                    <a:pt x="443960" y="851046"/>
                    <a:pt x="490538" y="839235"/>
                    <a:pt x="520637" y="805993"/>
                  </a:cubicBezTo>
                  <a:cubicBezTo>
                    <a:pt x="545878" y="779133"/>
                    <a:pt x="555212" y="741318"/>
                    <a:pt x="555498" y="705314"/>
                  </a:cubicBezTo>
                  <a:cubicBezTo>
                    <a:pt x="556355" y="658356"/>
                    <a:pt x="558832" y="606349"/>
                    <a:pt x="529304" y="566535"/>
                  </a:cubicBezTo>
                  <a:cubicBezTo>
                    <a:pt x="500348" y="525768"/>
                    <a:pt x="448056" y="510718"/>
                    <a:pt x="400241" y="510623"/>
                  </a:cubicBezTo>
                  <a:cubicBezTo>
                    <a:pt x="305181" y="510147"/>
                    <a:pt x="210122" y="510623"/>
                    <a:pt x="115062" y="510432"/>
                  </a:cubicBezTo>
                  <a:close/>
                </a:path>
              </a:pathLst>
            </a:custGeom>
            <a:solidFill>
              <a:srgbClr val="000000"/>
            </a:solidFill>
            <a:ln w="9525" cap="flat">
              <a:noFill/>
              <a:prstDash val="solid"/>
              <a:miter/>
            </a:ln>
          </p:spPr>
          <p:txBody>
            <a:bodyPr rtlCol="0" anchor="ctr"/>
            <a:lstStyle/>
            <a:p>
              <a:endParaRPr lang="en-US" sz="900"/>
            </a:p>
          </p:txBody>
        </p:sp>
        <p:sp>
          <p:nvSpPr>
            <p:cNvPr id="31" name="Freeform: Shape 30">
              <a:extLst>
                <a:ext uri="{FF2B5EF4-FFF2-40B4-BE49-F238E27FC236}">
                  <a16:creationId xmlns:a16="http://schemas.microsoft.com/office/drawing/2014/main" id="{DAC6552B-CC29-F330-6668-3C653EA3A00C}"/>
                </a:ext>
              </a:extLst>
            </p:cNvPr>
            <p:cNvSpPr/>
            <p:nvPr/>
          </p:nvSpPr>
          <p:spPr>
            <a:xfrm>
              <a:off x="8079644" y="8629935"/>
              <a:ext cx="854868" cy="952499"/>
            </a:xfrm>
            <a:custGeom>
              <a:avLst/>
              <a:gdLst>
                <a:gd name="connsiteX0" fmla="*/ 0 w 854868"/>
                <a:gd name="connsiteY0" fmla="*/ 95 h 952499"/>
                <a:gd name="connsiteX1" fmla="*/ 153734 w 854868"/>
                <a:gd name="connsiteY1" fmla="*/ 95 h 952499"/>
                <a:gd name="connsiteX2" fmla="*/ 430530 w 854868"/>
                <a:gd name="connsiteY2" fmla="*/ 516827 h 952499"/>
                <a:gd name="connsiteX3" fmla="*/ 706946 w 854868"/>
                <a:gd name="connsiteY3" fmla="*/ 0 h 952499"/>
                <a:gd name="connsiteX4" fmla="*/ 854869 w 854868"/>
                <a:gd name="connsiteY4" fmla="*/ 0 h 952499"/>
                <a:gd name="connsiteX5" fmla="*/ 854869 w 854868"/>
                <a:gd name="connsiteY5" fmla="*/ 952500 h 952499"/>
                <a:gd name="connsiteX6" fmla="*/ 742569 w 854868"/>
                <a:gd name="connsiteY6" fmla="*/ 952500 h 952499"/>
                <a:gd name="connsiteX7" fmla="*/ 741521 w 854868"/>
                <a:gd name="connsiteY7" fmla="*/ 146780 h 952499"/>
                <a:gd name="connsiteX8" fmla="*/ 707422 w 854868"/>
                <a:gd name="connsiteY8" fmla="*/ 207074 h 952499"/>
                <a:gd name="connsiteX9" fmla="*/ 427577 w 854868"/>
                <a:gd name="connsiteY9" fmla="*/ 725138 h 952499"/>
                <a:gd name="connsiteX10" fmla="*/ 193262 w 854868"/>
                <a:gd name="connsiteY10" fmla="*/ 297752 h 952499"/>
                <a:gd name="connsiteX11" fmla="*/ 113348 w 854868"/>
                <a:gd name="connsiteY11" fmla="*/ 146209 h 952499"/>
                <a:gd name="connsiteX12" fmla="*/ 112300 w 854868"/>
                <a:gd name="connsiteY12" fmla="*/ 952500 h 952499"/>
                <a:gd name="connsiteX13" fmla="*/ 0 w 854868"/>
                <a:gd name="connsiteY13" fmla="*/ 952500 h 952499"/>
                <a:gd name="connsiteX14" fmla="*/ 0 w 854868"/>
                <a:gd name="connsiteY14" fmla="*/ 95 h 952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54868" h="952499">
                  <a:moveTo>
                    <a:pt x="0" y="95"/>
                  </a:moveTo>
                  <a:cubicBezTo>
                    <a:pt x="51245" y="95"/>
                    <a:pt x="102489" y="95"/>
                    <a:pt x="153734" y="95"/>
                  </a:cubicBezTo>
                  <a:cubicBezTo>
                    <a:pt x="246221" y="172212"/>
                    <a:pt x="335090" y="346424"/>
                    <a:pt x="430530" y="516827"/>
                  </a:cubicBezTo>
                  <a:cubicBezTo>
                    <a:pt x="522923" y="344615"/>
                    <a:pt x="614744" y="172212"/>
                    <a:pt x="706946" y="0"/>
                  </a:cubicBezTo>
                  <a:lnTo>
                    <a:pt x="854869" y="0"/>
                  </a:lnTo>
                  <a:lnTo>
                    <a:pt x="854869" y="952500"/>
                  </a:lnTo>
                  <a:lnTo>
                    <a:pt x="742569" y="952500"/>
                  </a:lnTo>
                  <a:cubicBezTo>
                    <a:pt x="741902" y="683895"/>
                    <a:pt x="743998" y="415290"/>
                    <a:pt x="741521" y="146780"/>
                  </a:cubicBezTo>
                  <a:cubicBezTo>
                    <a:pt x="726948" y="164973"/>
                    <a:pt x="717613" y="186404"/>
                    <a:pt x="707422" y="207074"/>
                  </a:cubicBezTo>
                  <a:cubicBezTo>
                    <a:pt x="619982" y="382810"/>
                    <a:pt x="520541" y="552260"/>
                    <a:pt x="427577" y="725138"/>
                  </a:cubicBezTo>
                  <a:cubicBezTo>
                    <a:pt x="349472" y="582644"/>
                    <a:pt x="270510" y="440722"/>
                    <a:pt x="193262" y="297752"/>
                  </a:cubicBezTo>
                  <a:cubicBezTo>
                    <a:pt x="165830" y="247650"/>
                    <a:pt x="145161" y="193739"/>
                    <a:pt x="113348" y="146209"/>
                  </a:cubicBezTo>
                  <a:cubicBezTo>
                    <a:pt x="110966" y="415004"/>
                    <a:pt x="112967" y="683705"/>
                    <a:pt x="112300" y="952500"/>
                  </a:cubicBezTo>
                  <a:lnTo>
                    <a:pt x="0" y="952500"/>
                  </a:lnTo>
                  <a:lnTo>
                    <a:pt x="0" y="95"/>
                  </a:lnTo>
                  <a:close/>
                </a:path>
              </a:pathLst>
            </a:custGeom>
            <a:solidFill>
              <a:srgbClr val="000000"/>
            </a:solidFill>
            <a:ln w="9525" cap="flat">
              <a:noFill/>
              <a:prstDash val="solid"/>
              <a:miter/>
            </a:ln>
          </p:spPr>
          <p:txBody>
            <a:bodyPr rtlCol="0" anchor="ctr"/>
            <a:lstStyle/>
            <a:p>
              <a:endParaRPr lang="en-US" sz="900"/>
            </a:p>
          </p:txBody>
        </p:sp>
        <p:sp>
          <p:nvSpPr>
            <p:cNvPr id="32" name="Freeform: Shape 31">
              <a:extLst>
                <a:ext uri="{FF2B5EF4-FFF2-40B4-BE49-F238E27FC236}">
                  <a16:creationId xmlns:a16="http://schemas.microsoft.com/office/drawing/2014/main" id="{19266CF2-A3CF-C8D9-7BB9-06D2E42E9729}"/>
                </a:ext>
              </a:extLst>
            </p:cNvPr>
            <p:cNvSpPr/>
            <p:nvPr/>
          </p:nvSpPr>
          <p:spPr>
            <a:xfrm>
              <a:off x="9365138" y="8630030"/>
              <a:ext cx="723900" cy="952500"/>
            </a:xfrm>
            <a:custGeom>
              <a:avLst/>
              <a:gdLst>
                <a:gd name="connsiteX0" fmla="*/ 0 w 723900"/>
                <a:gd name="connsiteY0" fmla="*/ 0 h 952500"/>
                <a:gd name="connsiteX1" fmla="*/ 723900 w 723900"/>
                <a:gd name="connsiteY1" fmla="*/ 0 h 952500"/>
                <a:gd name="connsiteX2" fmla="*/ 723900 w 723900"/>
                <a:gd name="connsiteY2" fmla="*/ 184595 h 952500"/>
                <a:gd name="connsiteX3" fmla="*/ 465963 w 723900"/>
                <a:gd name="connsiteY3" fmla="*/ 184499 h 952500"/>
                <a:gd name="connsiteX4" fmla="*/ 465963 w 723900"/>
                <a:gd name="connsiteY4" fmla="*/ 952500 h 952500"/>
                <a:gd name="connsiteX5" fmla="*/ 257937 w 723900"/>
                <a:gd name="connsiteY5" fmla="*/ 952500 h 952500"/>
                <a:gd name="connsiteX6" fmla="*/ 257937 w 723900"/>
                <a:gd name="connsiteY6" fmla="*/ 184595 h 952500"/>
                <a:gd name="connsiteX7" fmla="*/ 0 w 723900"/>
                <a:gd name="connsiteY7" fmla="*/ 184595 h 952500"/>
                <a:gd name="connsiteX8" fmla="*/ 0 w 723900"/>
                <a:gd name="connsiteY8" fmla="*/ 0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3900" h="952500">
                  <a:moveTo>
                    <a:pt x="0" y="0"/>
                  </a:moveTo>
                  <a:lnTo>
                    <a:pt x="723900" y="0"/>
                  </a:lnTo>
                  <a:lnTo>
                    <a:pt x="723900" y="184595"/>
                  </a:lnTo>
                  <a:cubicBezTo>
                    <a:pt x="637889" y="184595"/>
                    <a:pt x="551879" y="184595"/>
                    <a:pt x="465963" y="184499"/>
                  </a:cubicBezTo>
                  <a:cubicBezTo>
                    <a:pt x="465868" y="440531"/>
                    <a:pt x="465963" y="696468"/>
                    <a:pt x="465963" y="952500"/>
                  </a:cubicBezTo>
                  <a:lnTo>
                    <a:pt x="257937" y="952500"/>
                  </a:lnTo>
                  <a:lnTo>
                    <a:pt x="257937" y="184595"/>
                  </a:lnTo>
                  <a:cubicBezTo>
                    <a:pt x="172021" y="184499"/>
                    <a:pt x="86011" y="184595"/>
                    <a:pt x="0" y="184595"/>
                  </a:cubicBezTo>
                  <a:lnTo>
                    <a:pt x="0" y="0"/>
                  </a:lnTo>
                  <a:close/>
                </a:path>
              </a:pathLst>
            </a:custGeom>
            <a:solidFill>
              <a:srgbClr val="000000"/>
            </a:solidFill>
            <a:ln w="9525" cap="flat">
              <a:noFill/>
              <a:prstDash val="solid"/>
              <a:miter/>
            </a:ln>
          </p:spPr>
          <p:txBody>
            <a:bodyPr rtlCol="0" anchor="ctr"/>
            <a:lstStyle/>
            <a:p>
              <a:endParaRPr lang="en-US" sz="900"/>
            </a:p>
          </p:txBody>
        </p:sp>
        <p:sp>
          <p:nvSpPr>
            <p:cNvPr id="33" name="Freeform: Shape 32">
              <a:extLst>
                <a:ext uri="{FF2B5EF4-FFF2-40B4-BE49-F238E27FC236}">
                  <a16:creationId xmlns:a16="http://schemas.microsoft.com/office/drawing/2014/main" id="{F944B8FF-4796-89E0-ECF1-D2DAE08721F7}"/>
                </a:ext>
              </a:extLst>
            </p:cNvPr>
            <p:cNvSpPr/>
            <p:nvPr/>
          </p:nvSpPr>
          <p:spPr>
            <a:xfrm>
              <a:off x="12344082" y="8630030"/>
              <a:ext cx="875252" cy="952622"/>
            </a:xfrm>
            <a:custGeom>
              <a:avLst/>
              <a:gdLst>
                <a:gd name="connsiteX0" fmla="*/ 14954 w 875252"/>
                <a:gd name="connsiteY0" fmla="*/ 0 h 952622"/>
                <a:gd name="connsiteX1" fmla="*/ 257080 w 875252"/>
                <a:gd name="connsiteY1" fmla="*/ 0 h 952622"/>
                <a:gd name="connsiteX2" fmla="*/ 444627 w 875252"/>
                <a:gd name="connsiteY2" fmla="*/ 324612 h 952622"/>
                <a:gd name="connsiteX3" fmla="*/ 634555 w 875252"/>
                <a:gd name="connsiteY3" fmla="*/ 95 h 952622"/>
                <a:gd name="connsiteX4" fmla="*/ 858869 w 875252"/>
                <a:gd name="connsiteY4" fmla="*/ 95 h 952622"/>
                <a:gd name="connsiteX5" fmla="*/ 565499 w 875252"/>
                <a:gd name="connsiteY5" fmla="*/ 464058 h 952622"/>
                <a:gd name="connsiteX6" fmla="*/ 875252 w 875252"/>
                <a:gd name="connsiteY6" fmla="*/ 952595 h 952622"/>
                <a:gd name="connsiteX7" fmla="*/ 634555 w 875252"/>
                <a:gd name="connsiteY7" fmla="*/ 952595 h 952622"/>
                <a:gd name="connsiteX8" fmla="*/ 426625 w 875252"/>
                <a:gd name="connsiteY8" fmla="*/ 599504 h 952622"/>
                <a:gd name="connsiteX9" fmla="*/ 224314 w 875252"/>
                <a:gd name="connsiteY9" fmla="*/ 952595 h 952622"/>
                <a:gd name="connsiteX10" fmla="*/ 0 w 875252"/>
                <a:gd name="connsiteY10" fmla="*/ 952595 h 952622"/>
                <a:gd name="connsiteX11" fmla="*/ 305562 w 875252"/>
                <a:gd name="connsiteY11" fmla="*/ 459867 h 952622"/>
                <a:gd name="connsiteX12" fmla="*/ 14954 w 875252"/>
                <a:gd name="connsiteY12" fmla="*/ 95 h 952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75252" h="952622">
                  <a:moveTo>
                    <a:pt x="14954" y="0"/>
                  </a:moveTo>
                  <a:cubicBezTo>
                    <a:pt x="95631" y="0"/>
                    <a:pt x="176308" y="0"/>
                    <a:pt x="257080" y="0"/>
                  </a:cubicBezTo>
                  <a:cubicBezTo>
                    <a:pt x="319754" y="108109"/>
                    <a:pt x="381381" y="216789"/>
                    <a:pt x="444627" y="324612"/>
                  </a:cubicBezTo>
                  <a:cubicBezTo>
                    <a:pt x="508064" y="216503"/>
                    <a:pt x="571119" y="108204"/>
                    <a:pt x="634555" y="95"/>
                  </a:cubicBezTo>
                  <a:lnTo>
                    <a:pt x="858869" y="95"/>
                  </a:lnTo>
                  <a:cubicBezTo>
                    <a:pt x="761143" y="154781"/>
                    <a:pt x="663321" y="309372"/>
                    <a:pt x="565499" y="464058"/>
                  </a:cubicBezTo>
                  <a:cubicBezTo>
                    <a:pt x="668750" y="626840"/>
                    <a:pt x="772001" y="789718"/>
                    <a:pt x="875252" y="952595"/>
                  </a:cubicBezTo>
                  <a:cubicBezTo>
                    <a:pt x="795052" y="952691"/>
                    <a:pt x="714756" y="952500"/>
                    <a:pt x="634555" y="952595"/>
                  </a:cubicBezTo>
                  <a:cubicBezTo>
                    <a:pt x="565118" y="834962"/>
                    <a:pt x="496538" y="716852"/>
                    <a:pt x="426625" y="599504"/>
                  </a:cubicBezTo>
                  <a:cubicBezTo>
                    <a:pt x="358807" y="716947"/>
                    <a:pt x="291846" y="834962"/>
                    <a:pt x="224314" y="952595"/>
                  </a:cubicBezTo>
                  <a:lnTo>
                    <a:pt x="0" y="952595"/>
                  </a:lnTo>
                  <a:cubicBezTo>
                    <a:pt x="101822" y="788289"/>
                    <a:pt x="203740" y="624173"/>
                    <a:pt x="305562" y="459867"/>
                  </a:cubicBezTo>
                  <a:cubicBezTo>
                    <a:pt x="208693" y="306705"/>
                    <a:pt x="111823" y="153353"/>
                    <a:pt x="14954" y="95"/>
                  </a:cubicBezTo>
                  <a:close/>
                </a:path>
              </a:pathLst>
            </a:custGeom>
            <a:solidFill>
              <a:srgbClr val="000000"/>
            </a:solidFill>
            <a:ln w="9525" cap="flat">
              <a:noFill/>
              <a:prstDash val="solid"/>
              <a:miter/>
            </a:ln>
          </p:spPr>
          <p:txBody>
            <a:bodyPr rtlCol="0" anchor="ctr"/>
            <a:lstStyle/>
            <a:p>
              <a:endParaRPr lang="en-US" sz="900"/>
            </a:p>
          </p:txBody>
        </p:sp>
        <p:sp>
          <p:nvSpPr>
            <p:cNvPr id="34" name="Freeform: Shape 33">
              <a:extLst>
                <a:ext uri="{FF2B5EF4-FFF2-40B4-BE49-F238E27FC236}">
                  <a16:creationId xmlns:a16="http://schemas.microsoft.com/office/drawing/2014/main" id="{42DF0011-F527-8047-800F-7E155446FCD6}"/>
                </a:ext>
              </a:extLst>
            </p:cNvPr>
            <p:cNvSpPr/>
            <p:nvPr/>
          </p:nvSpPr>
          <p:spPr>
            <a:xfrm>
              <a:off x="16351421" y="8727139"/>
              <a:ext cx="728351" cy="1144977"/>
            </a:xfrm>
            <a:custGeom>
              <a:avLst/>
              <a:gdLst>
                <a:gd name="connsiteX0" fmla="*/ 509416 w 728351"/>
                <a:gd name="connsiteY0" fmla="*/ 14429 h 1144977"/>
                <a:gd name="connsiteX1" fmla="*/ 685629 w 728351"/>
                <a:gd name="connsiteY1" fmla="*/ 904 h 1144977"/>
                <a:gd name="connsiteX2" fmla="*/ 685724 w 728351"/>
                <a:gd name="connsiteY2" fmla="*/ 151304 h 1144977"/>
                <a:gd name="connsiteX3" fmla="*/ 522275 w 728351"/>
                <a:gd name="connsiteY3" fmla="*/ 152542 h 1144977"/>
                <a:gd name="connsiteX4" fmla="*/ 628097 w 728351"/>
                <a:gd name="connsiteY4" fmla="*/ 257031 h 1144977"/>
                <a:gd name="connsiteX5" fmla="*/ 595141 w 728351"/>
                <a:gd name="connsiteY5" fmla="*/ 517730 h 1144977"/>
                <a:gd name="connsiteX6" fmla="*/ 424834 w 728351"/>
                <a:gd name="connsiteY6" fmla="*/ 596312 h 1144977"/>
                <a:gd name="connsiteX7" fmla="*/ 215093 w 728351"/>
                <a:gd name="connsiteY7" fmla="*/ 586406 h 1144977"/>
                <a:gd name="connsiteX8" fmla="*/ 207664 w 728351"/>
                <a:gd name="connsiteY8" fmla="*/ 685561 h 1144977"/>
                <a:gd name="connsiteX9" fmla="*/ 352254 w 728351"/>
                <a:gd name="connsiteY9" fmla="*/ 698229 h 1144977"/>
                <a:gd name="connsiteX10" fmla="*/ 619430 w 728351"/>
                <a:gd name="connsiteY10" fmla="*/ 722327 h 1144977"/>
                <a:gd name="connsiteX11" fmla="*/ 722490 w 728351"/>
                <a:gd name="connsiteY11" fmla="*/ 848248 h 1144977"/>
                <a:gd name="connsiteX12" fmla="*/ 671818 w 728351"/>
                <a:gd name="connsiteY12" fmla="*/ 1060560 h 1144977"/>
                <a:gd name="connsiteX13" fmla="*/ 458933 w 728351"/>
                <a:gd name="connsiteY13" fmla="*/ 1139237 h 1144977"/>
                <a:gd name="connsiteX14" fmla="*/ 192615 w 728351"/>
                <a:gd name="connsiteY14" fmla="*/ 1135141 h 1144977"/>
                <a:gd name="connsiteX15" fmla="*/ 44406 w 728351"/>
                <a:gd name="connsiteY15" fmla="*/ 1078372 h 1144977"/>
                <a:gd name="connsiteX16" fmla="*/ 53168 w 728351"/>
                <a:gd name="connsiteY16" fmla="*/ 870060 h 1144977"/>
                <a:gd name="connsiteX17" fmla="*/ 132893 w 728351"/>
                <a:gd name="connsiteY17" fmla="*/ 840533 h 1144977"/>
                <a:gd name="connsiteX18" fmla="*/ 133845 w 728351"/>
                <a:gd name="connsiteY18" fmla="*/ 828817 h 1144977"/>
                <a:gd name="connsiteX19" fmla="*/ 74886 w 728351"/>
                <a:gd name="connsiteY19" fmla="*/ 800909 h 1144977"/>
                <a:gd name="connsiteX20" fmla="*/ 62407 w 728351"/>
                <a:gd name="connsiteY20" fmla="*/ 623458 h 1144977"/>
                <a:gd name="connsiteX21" fmla="*/ 167373 w 728351"/>
                <a:gd name="connsiteY21" fmla="*/ 571451 h 1144977"/>
                <a:gd name="connsiteX22" fmla="*/ 48883 w 728351"/>
                <a:gd name="connsiteY22" fmla="*/ 446293 h 1144977"/>
                <a:gd name="connsiteX23" fmla="*/ 89078 w 728351"/>
                <a:gd name="connsiteY23" fmla="*/ 211311 h 1144977"/>
                <a:gd name="connsiteX24" fmla="*/ 259099 w 728351"/>
                <a:gd name="connsiteY24" fmla="*/ 128444 h 1144977"/>
                <a:gd name="connsiteX25" fmla="*/ 463982 w 728351"/>
                <a:gd name="connsiteY25" fmla="*/ 135397 h 1144977"/>
                <a:gd name="connsiteX26" fmla="*/ 509416 w 728351"/>
                <a:gd name="connsiteY26" fmla="*/ 14429 h 1144977"/>
                <a:gd name="connsiteX27" fmla="*/ 299866 w 728351"/>
                <a:gd name="connsiteY27" fmla="*/ 260841 h 1144977"/>
                <a:gd name="connsiteX28" fmla="*/ 226714 w 728351"/>
                <a:gd name="connsiteY28" fmla="*/ 331612 h 1144977"/>
                <a:gd name="connsiteX29" fmla="*/ 251860 w 728351"/>
                <a:gd name="connsiteY29" fmla="*/ 441245 h 1144977"/>
                <a:gd name="connsiteX30" fmla="*/ 381210 w 728351"/>
                <a:gd name="connsiteY30" fmla="*/ 465724 h 1144977"/>
                <a:gd name="connsiteX31" fmla="*/ 458838 w 728351"/>
                <a:gd name="connsiteY31" fmla="*/ 397906 h 1144977"/>
                <a:gd name="connsiteX32" fmla="*/ 431216 w 728351"/>
                <a:gd name="connsiteY32" fmla="*/ 281320 h 1144977"/>
                <a:gd name="connsiteX33" fmla="*/ 299866 w 728351"/>
                <a:gd name="connsiteY33" fmla="*/ 260841 h 1144977"/>
                <a:gd name="connsiteX34" fmla="*/ 182613 w 728351"/>
                <a:gd name="connsiteY34" fmla="*/ 987218 h 1144977"/>
                <a:gd name="connsiteX35" fmla="*/ 343872 w 728351"/>
                <a:gd name="connsiteY35" fmla="*/ 1010554 h 1144977"/>
                <a:gd name="connsiteX36" fmla="*/ 507321 w 728351"/>
                <a:gd name="connsiteY36" fmla="*/ 990170 h 1144977"/>
                <a:gd name="connsiteX37" fmla="*/ 517321 w 728351"/>
                <a:gd name="connsiteY37" fmla="*/ 890158 h 1144977"/>
                <a:gd name="connsiteX38" fmla="*/ 428644 w 728351"/>
                <a:gd name="connsiteY38" fmla="*/ 870536 h 1144977"/>
                <a:gd name="connsiteX39" fmla="*/ 180994 w 728351"/>
                <a:gd name="connsiteY39" fmla="*/ 870155 h 1144977"/>
                <a:gd name="connsiteX40" fmla="*/ 182613 w 728351"/>
                <a:gd name="connsiteY40" fmla="*/ 987218 h 1144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28351" h="1144977">
                  <a:moveTo>
                    <a:pt x="509416" y="14429"/>
                  </a:moveTo>
                  <a:cubicBezTo>
                    <a:pt x="564471" y="-10431"/>
                    <a:pt x="627240" y="5381"/>
                    <a:pt x="685629" y="904"/>
                  </a:cubicBezTo>
                  <a:cubicBezTo>
                    <a:pt x="685629" y="51005"/>
                    <a:pt x="685629" y="101202"/>
                    <a:pt x="685724" y="151304"/>
                  </a:cubicBezTo>
                  <a:cubicBezTo>
                    <a:pt x="631146" y="151875"/>
                    <a:pt x="576663" y="150065"/>
                    <a:pt x="522275" y="152542"/>
                  </a:cubicBezTo>
                  <a:cubicBezTo>
                    <a:pt x="564185" y="179498"/>
                    <a:pt x="607809" y="209311"/>
                    <a:pt x="628097" y="257031"/>
                  </a:cubicBezTo>
                  <a:cubicBezTo>
                    <a:pt x="665245" y="340280"/>
                    <a:pt x="658673" y="448769"/>
                    <a:pt x="595141" y="517730"/>
                  </a:cubicBezTo>
                  <a:cubicBezTo>
                    <a:pt x="551136" y="564879"/>
                    <a:pt x="487223" y="587168"/>
                    <a:pt x="424834" y="596312"/>
                  </a:cubicBezTo>
                  <a:cubicBezTo>
                    <a:pt x="355112" y="605551"/>
                    <a:pt x="283388" y="603932"/>
                    <a:pt x="215093" y="586406"/>
                  </a:cubicBezTo>
                  <a:cubicBezTo>
                    <a:pt x="183757" y="608123"/>
                    <a:pt x="170231" y="663177"/>
                    <a:pt x="207664" y="685561"/>
                  </a:cubicBezTo>
                  <a:cubicBezTo>
                    <a:pt x="252527" y="707087"/>
                    <a:pt x="304247" y="695181"/>
                    <a:pt x="352254" y="698229"/>
                  </a:cubicBezTo>
                  <a:cubicBezTo>
                    <a:pt x="441312" y="701277"/>
                    <a:pt x="534848" y="687085"/>
                    <a:pt x="619430" y="722327"/>
                  </a:cubicBezTo>
                  <a:cubicBezTo>
                    <a:pt x="672484" y="743282"/>
                    <a:pt x="712108" y="792241"/>
                    <a:pt x="722490" y="848248"/>
                  </a:cubicBezTo>
                  <a:cubicBezTo>
                    <a:pt x="736301" y="921019"/>
                    <a:pt x="728110" y="1006744"/>
                    <a:pt x="671818" y="1060560"/>
                  </a:cubicBezTo>
                  <a:cubicBezTo>
                    <a:pt x="614857" y="1114281"/>
                    <a:pt x="534086" y="1130283"/>
                    <a:pt x="458933" y="1139237"/>
                  </a:cubicBezTo>
                  <a:cubicBezTo>
                    <a:pt x="370447" y="1147428"/>
                    <a:pt x="280721" y="1147524"/>
                    <a:pt x="192615" y="1135141"/>
                  </a:cubicBezTo>
                  <a:cubicBezTo>
                    <a:pt x="140322" y="1126473"/>
                    <a:pt x="85744" y="1113233"/>
                    <a:pt x="44406" y="1078372"/>
                  </a:cubicBezTo>
                  <a:cubicBezTo>
                    <a:pt x="-17698" y="1026937"/>
                    <a:pt x="-14554" y="915209"/>
                    <a:pt x="53168" y="870060"/>
                  </a:cubicBezTo>
                  <a:cubicBezTo>
                    <a:pt x="76505" y="852820"/>
                    <a:pt x="105461" y="847867"/>
                    <a:pt x="132893" y="840533"/>
                  </a:cubicBezTo>
                  <a:cubicBezTo>
                    <a:pt x="133179" y="837580"/>
                    <a:pt x="133560" y="831674"/>
                    <a:pt x="133845" y="828817"/>
                  </a:cubicBezTo>
                  <a:cubicBezTo>
                    <a:pt x="113747" y="820149"/>
                    <a:pt x="91459" y="815577"/>
                    <a:pt x="74886" y="800909"/>
                  </a:cubicBezTo>
                  <a:cubicBezTo>
                    <a:pt x="22880" y="759475"/>
                    <a:pt x="13259" y="670702"/>
                    <a:pt x="62407" y="623458"/>
                  </a:cubicBezTo>
                  <a:cubicBezTo>
                    <a:pt x="90411" y="594597"/>
                    <a:pt x="130036" y="582786"/>
                    <a:pt x="167373" y="571451"/>
                  </a:cubicBezTo>
                  <a:cubicBezTo>
                    <a:pt x="114129" y="546401"/>
                    <a:pt x="66980" y="503538"/>
                    <a:pt x="48883" y="446293"/>
                  </a:cubicBezTo>
                  <a:cubicBezTo>
                    <a:pt x="23546" y="368283"/>
                    <a:pt x="33357" y="274271"/>
                    <a:pt x="89078" y="211311"/>
                  </a:cubicBezTo>
                  <a:cubicBezTo>
                    <a:pt x="132036" y="162448"/>
                    <a:pt x="196043" y="138159"/>
                    <a:pt x="259099" y="128444"/>
                  </a:cubicBezTo>
                  <a:cubicBezTo>
                    <a:pt x="327012" y="118728"/>
                    <a:pt x="396925" y="119871"/>
                    <a:pt x="463982" y="135397"/>
                  </a:cubicBezTo>
                  <a:cubicBezTo>
                    <a:pt x="462457" y="91963"/>
                    <a:pt x="465697" y="37289"/>
                    <a:pt x="509416" y="14429"/>
                  </a:cubicBezTo>
                  <a:moveTo>
                    <a:pt x="299866" y="260841"/>
                  </a:moveTo>
                  <a:cubicBezTo>
                    <a:pt x="264243" y="267223"/>
                    <a:pt x="231476" y="294464"/>
                    <a:pt x="226714" y="331612"/>
                  </a:cubicBezTo>
                  <a:cubicBezTo>
                    <a:pt x="221476" y="368855"/>
                    <a:pt x="221571" y="413908"/>
                    <a:pt x="251860" y="441245"/>
                  </a:cubicBezTo>
                  <a:cubicBezTo>
                    <a:pt x="286817" y="471534"/>
                    <a:pt x="337585" y="472201"/>
                    <a:pt x="381210" y="465724"/>
                  </a:cubicBezTo>
                  <a:cubicBezTo>
                    <a:pt x="417214" y="460676"/>
                    <a:pt x="452171" y="435339"/>
                    <a:pt x="458838" y="397906"/>
                  </a:cubicBezTo>
                  <a:cubicBezTo>
                    <a:pt x="465315" y="358282"/>
                    <a:pt x="465315" y="308942"/>
                    <a:pt x="431216" y="281320"/>
                  </a:cubicBezTo>
                  <a:cubicBezTo>
                    <a:pt x="394164" y="253221"/>
                    <a:pt x="343586" y="252935"/>
                    <a:pt x="299866" y="260841"/>
                  </a:cubicBezTo>
                  <a:moveTo>
                    <a:pt x="182613" y="987218"/>
                  </a:moveTo>
                  <a:cubicBezTo>
                    <a:pt x="230810" y="1015888"/>
                    <a:pt x="289960" y="1009411"/>
                    <a:pt x="343872" y="1010554"/>
                  </a:cubicBezTo>
                  <a:cubicBezTo>
                    <a:pt x="398354" y="1009411"/>
                    <a:pt x="457124" y="1016078"/>
                    <a:pt x="507321" y="990170"/>
                  </a:cubicBezTo>
                  <a:cubicBezTo>
                    <a:pt x="543135" y="972073"/>
                    <a:pt x="550183" y="914256"/>
                    <a:pt x="517321" y="890158"/>
                  </a:cubicBezTo>
                  <a:cubicBezTo>
                    <a:pt x="491509" y="872346"/>
                    <a:pt x="458744" y="871394"/>
                    <a:pt x="428644" y="870536"/>
                  </a:cubicBezTo>
                  <a:cubicBezTo>
                    <a:pt x="346062" y="870155"/>
                    <a:pt x="263481" y="871013"/>
                    <a:pt x="180994" y="870155"/>
                  </a:cubicBezTo>
                  <a:cubicBezTo>
                    <a:pt x="153467" y="902064"/>
                    <a:pt x="142608" y="960548"/>
                    <a:pt x="182613" y="987218"/>
                  </a:cubicBezTo>
                  <a:close/>
                </a:path>
              </a:pathLst>
            </a:custGeom>
            <a:solidFill>
              <a:srgbClr val="000000"/>
            </a:solidFill>
            <a:ln w="9525" cap="flat">
              <a:noFill/>
              <a:prstDash val="solid"/>
              <a:miter/>
            </a:ln>
          </p:spPr>
          <p:txBody>
            <a:bodyPr rtlCol="0" anchor="ctr"/>
            <a:lstStyle/>
            <a:p>
              <a:endParaRPr lang="en-US" sz="900"/>
            </a:p>
          </p:txBody>
        </p:sp>
        <p:sp>
          <p:nvSpPr>
            <p:cNvPr id="35" name="Freeform: Shape 34">
              <a:extLst>
                <a:ext uri="{FF2B5EF4-FFF2-40B4-BE49-F238E27FC236}">
                  <a16:creationId xmlns:a16="http://schemas.microsoft.com/office/drawing/2014/main" id="{53871B77-82D8-9E96-7FDF-19E07894D012}"/>
                </a:ext>
              </a:extLst>
            </p:cNvPr>
            <p:cNvSpPr/>
            <p:nvPr/>
          </p:nvSpPr>
          <p:spPr>
            <a:xfrm>
              <a:off x="10085832" y="8849421"/>
              <a:ext cx="669369" cy="749856"/>
            </a:xfrm>
            <a:custGeom>
              <a:avLst/>
              <a:gdLst>
                <a:gd name="connsiteX0" fmla="*/ 260667 w 669369"/>
                <a:gd name="connsiteY0" fmla="*/ 6542 h 749856"/>
                <a:gd name="connsiteX1" fmla="*/ 515461 w 669369"/>
                <a:gd name="connsiteY1" fmla="*/ 44071 h 749856"/>
                <a:gd name="connsiteX2" fmla="*/ 650335 w 669369"/>
                <a:gd name="connsiteY2" fmla="*/ 226855 h 749856"/>
                <a:gd name="connsiteX3" fmla="*/ 669099 w 669369"/>
                <a:gd name="connsiteY3" fmla="*/ 426404 h 749856"/>
                <a:gd name="connsiteX4" fmla="*/ 208470 w 669369"/>
                <a:gd name="connsiteY4" fmla="*/ 426404 h 749856"/>
                <a:gd name="connsiteX5" fmla="*/ 248666 w 669369"/>
                <a:gd name="connsiteY5" fmla="*/ 550039 h 749856"/>
                <a:gd name="connsiteX6" fmla="*/ 408590 w 669369"/>
                <a:gd name="connsiteY6" fmla="*/ 587472 h 749856"/>
                <a:gd name="connsiteX7" fmla="*/ 543464 w 669369"/>
                <a:gd name="connsiteY7" fmla="*/ 505081 h 749856"/>
                <a:gd name="connsiteX8" fmla="*/ 645001 w 669369"/>
                <a:gd name="connsiteY8" fmla="*/ 630239 h 749856"/>
                <a:gd name="connsiteX9" fmla="*/ 370110 w 669369"/>
                <a:gd name="connsiteY9" fmla="*/ 749111 h 749856"/>
                <a:gd name="connsiteX10" fmla="*/ 115697 w 669369"/>
                <a:gd name="connsiteY10" fmla="*/ 673673 h 749856"/>
                <a:gd name="connsiteX11" fmla="*/ 2444 w 669369"/>
                <a:gd name="connsiteY11" fmla="*/ 428785 h 749856"/>
                <a:gd name="connsiteX12" fmla="*/ 63881 w 669369"/>
                <a:gd name="connsiteY12" fmla="*/ 132082 h 749856"/>
                <a:gd name="connsiteX13" fmla="*/ 260667 w 669369"/>
                <a:gd name="connsiteY13" fmla="*/ 6542 h 749856"/>
                <a:gd name="connsiteX14" fmla="*/ 236283 w 669369"/>
                <a:gd name="connsiteY14" fmla="*/ 199900 h 749856"/>
                <a:gd name="connsiteX15" fmla="*/ 208375 w 669369"/>
                <a:gd name="connsiteY15" fmla="*/ 307246 h 749856"/>
                <a:gd name="connsiteX16" fmla="*/ 460216 w 669369"/>
                <a:gd name="connsiteY16" fmla="*/ 307246 h 749856"/>
                <a:gd name="connsiteX17" fmla="*/ 429450 w 669369"/>
                <a:gd name="connsiteY17" fmla="*/ 188851 h 749856"/>
                <a:gd name="connsiteX18" fmla="*/ 236283 w 669369"/>
                <a:gd name="connsiteY18" fmla="*/ 199900 h 74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9369" h="749856">
                  <a:moveTo>
                    <a:pt x="260667" y="6542"/>
                  </a:moveTo>
                  <a:cubicBezTo>
                    <a:pt x="346297" y="-7650"/>
                    <a:pt x="439261" y="-316"/>
                    <a:pt x="515461" y="44071"/>
                  </a:cubicBezTo>
                  <a:cubicBezTo>
                    <a:pt x="583279" y="83123"/>
                    <a:pt x="629285" y="152465"/>
                    <a:pt x="650335" y="226855"/>
                  </a:cubicBezTo>
                  <a:cubicBezTo>
                    <a:pt x="669956" y="291435"/>
                    <a:pt x="669956" y="359539"/>
                    <a:pt x="669099" y="426404"/>
                  </a:cubicBezTo>
                  <a:cubicBezTo>
                    <a:pt x="515556" y="426404"/>
                    <a:pt x="362013" y="426404"/>
                    <a:pt x="208470" y="426404"/>
                  </a:cubicBezTo>
                  <a:cubicBezTo>
                    <a:pt x="208565" y="470124"/>
                    <a:pt x="215900" y="518035"/>
                    <a:pt x="248666" y="550039"/>
                  </a:cubicBezTo>
                  <a:cubicBezTo>
                    <a:pt x="290004" y="590806"/>
                    <a:pt x="353822" y="596140"/>
                    <a:pt x="408590" y="587472"/>
                  </a:cubicBezTo>
                  <a:cubicBezTo>
                    <a:pt x="462693" y="579090"/>
                    <a:pt x="506603" y="543181"/>
                    <a:pt x="543464" y="505081"/>
                  </a:cubicBezTo>
                  <a:cubicBezTo>
                    <a:pt x="577373" y="546705"/>
                    <a:pt x="610235" y="589282"/>
                    <a:pt x="645001" y="630239"/>
                  </a:cubicBezTo>
                  <a:cubicBezTo>
                    <a:pt x="576993" y="708916"/>
                    <a:pt x="471741" y="744920"/>
                    <a:pt x="370110" y="749111"/>
                  </a:cubicBezTo>
                  <a:cubicBezTo>
                    <a:pt x="280384" y="754159"/>
                    <a:pt x="184848" y="734062"/>
                    <a:pt x="115697" y="673673"/>
                  </a:cubicBezTo>
                  <a:cubicBezTo>
                    <a:pt x="44640" y="613094"/>
                    <a:pt x="10255" y="519844"/>
                    <a:pt x="2444" y="428785"/>
                  </a:cubicBezTo>
                  <a:cubicBezTo>
                    <a:pt x="-6128" y="327249"/>
                    <a:pt x="6350" y="218664"/>
                    <a:pt x="63881" y="132082"/>
                  </a:cubicBezTo>
                  <a:cubicBezTo>
                    <a:pt x="107886" y="64645"/>
                    <a:pt x="181800" y="19972"/>
                    <a:pt x="260667" y="6542"/>
                  </a:cubicBezTo>
                  <a:moveTo>
                    <a:pt x="236283" y="199900"/>
                  </a:moveTo>
                  <a:cubicBezTo>
                    <a:pt x="213804" y="230856"/>
                    <a:pt x="209042" y="270004"/>
                    <a:pt x="208375" y="307246"/>
                  </a:cubicBezTo>
                  <a:lnTo>
                    <a:pt x="460216" y="307246"/>
                  </a:lnTo>
                  <a:cubicBezTo>
                    <a:pt x="459835" y="266289"/>
                    <a:pt x="455930" y="222093"/>
                    <a:pt x="429450" y="188851"/>
                  </a:cubicBezTo>
                  <a:cubicBezTo>
                    <a:pt x="382111" y="129700"/>
                    <a:pt x="278003" y="138273"/>
                    <a:pt x="236283" y="199900"/>
                  </a:cubicBezTo>
                  <a:close/>
                </a:path>
              </a:pathLst>
            </a:custGeom>
            <a:solidFill>
              <a:srgbClr val="000000"/>
            </a:solidFill>
            <a:ln w="9525" cap="flat">
              <a:noFill/>
              <a:prstDash val="solid"/>
              <a:miter/>
            </a:ln>
          </p:spPr>
          <p:txBody>
            <a:bodyPr rtlCol="0" anchor="ctr"/>
            <a:lstStyle/>
            <a:p>
              <a:endParaRPr lang="en-US" sz="900"/>
            </a:p>
          </p:txBody>
        </p:sp>
        <p:sp>
          <p:nvSpPr>
            <p:cNvPr id="36" name="Freeform: Shape 35">
              <a:extLst>
                <a:ext uri="{FF2B5EF4-FFF2-40B4-BE49-F238E27FC236}">
                  <a16:creationId xmlns:a16="http://schemas.microsoft.com/office/drawing/2014/main" id="{08EB9A85-89C6-1EC3-5478-A8F89D67749A}"/>
                </a:ext>
              </a:extLst>
            </p:cNvPr>
            <p:cNvSpPr/>
            <p:nvPr/>
          </p:nvSpPr>
          <p:spPr>
            <a:xfrm>
              <a:off x="10852675" y="8849297"/>
              <a:ext cx="625965" cy="749878"/>
            </a:xfrm>
            <a:custGeom>
              <a:avLst/>
              <a:gdLst>
                <a:gd name="connsiteX0" fmla="*/ 115044 w 625965"/>
                <a:gd name="connsiteY0" fmla="*/ 72770 h 749878"/>
                <a:gd name="connsiteX1" fmla="*/ 437561 w 625965"/>
                <a:gd name="connsiteY1" fmla="*/ 13810 h 749878"/>
                <a:gd name="connsiteX2" fmla="*/ 621870 w 625965"/>
                <a:gd name="connsiteY2" fmla="*/ 187165 h 749878"/>
                <a:gd name="connsiteX3" fmla="*/ 458230 w 625965"/>
                <a:gd name="connsiteY3" fmla="*/ 258221 h 749878"/>
                <a:gd name="connsiteX4" fmla="*/ 411843 w 625965"/>
                <a:gd name="connsiteY4" fmla="*/ 184117 h 749878"/>
                <a:gd name="connsiteX5" fmla="*/ 233916 w 625965"/>
                <a:gd name="connsiteY5" fmla="*/ 212120 h 749878"/>
                <a:gd name="connsiteX6" fmla="*/ 210771 w 625965"/>
                <a:gd name="connsiteY6" fmla="*/ 371093 h 749878"/>
                <a:gd name="connsiteX7" fmla="*/ 230868 w 625965"/>
                <a:gd name="connsiteY7" fmla="*/ 533684 h 749878"/>
                <a:gd name="connsiteX8" fmla="*/ 439371 w 625965"/>
                <a:gd name="connsiteY8" fmla="*/ 540352 h 749878"/>
                <a:gd name="connsiteX9" fmla="*/ 468708 w 625965"/>
                <a:gd name="connsiteY9" fmla="*/ 483392 h 749878"/>
                <a:gd name="connsiteX10" fmla="*/ 625965 w 625965"/>
                <a:gd name="connsiteY10" fmla="*/ 551782 h 749878"/>
                <a:gd name="connsiteX11" fmla="*/ 521095 w 625965"/>
                <a:gd name="connsiteY11" fmla="*/ 697800 h 749878"/>
                <a:gd name="connsiteX12" fmla="*/ 271921 w 625965"/>
                <a:gd name="connsiteY12" fmla="*/ 745425 h 749878"/>
                <a:gd name="connsiteX13" fmla="*/ 70086 w 625965"/>
                <a:gd name="connsiteY13" fmla="*/ 627696 h 749878"/>
                <a:gd name="connsiteX14" fmla="*/ 1316 w 625965"/>
                <a:gd name="connsiteY14" fmla="*/ 333183 h 749878"/>
                <a:gd name="connsiteX15" fmla="*/ 115044 w 625965"/>
                <a:gd name="connsiteY15" fmla="*/ 72770 h 749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5965" h="749878">
                  <a:moveTo>
                    <a:pt x="115044" y="72770"/>
                  </a:moveTo>
                  <a:cubicBezTo>
                    <a:pt x="202770" y="-1430"/>
                    <a:pt x="329357" y="-14479"/>
                    <a:pt x="437561" y="13810"/>
                  </a:cubicBezTo>
                  <a:cubicBezTo>
                    <a:pt x="523476" y="36003"/>
                    <a:pt x="592628" y="104202"/>
                    <a:pt x="621870" y="187165"/>
                  </a:cubicBezTo>
                  <a:cubicBezTo>
                    <a:pt x="567387" y="211073"/>
                    <a:pt x="512713" y="234504"/>
                    <a:pt x="458230" y="258221"/>
                  </a:cubicBezTo>
                  <a:cubicBezTo>
                    <a:pt x="449086" y="230313"/>
                    <a:pt x="436418" y="201738"/>
                    <a:pt x="411843" y="184117"/>
                  </a:cubicBezTo>
                  <a:cubicBezTo>
                    <a:pt x="358503" y="144969"/>
                    <a:pt x="269445" y="152494"/>
                    <a:pt x="233916" y="212120"/>
                  </a:cubicBezTo>
                  <a:cubicBezTo>
                    <a:pt x="204294" y="259650"/>
                    <a:pt x="211342" y="317753"/>
                    <a:pt x="210771" y="371093"/>
                  </a:cubicBezTo>
                  <a:cubicBezTo>
                    <a:pt x="212104" y="425385"/>
                    <a:pt x="203055" y="484059"/>
                    <a:pt x="230868" y="533684"/>
                  </a:cubicBezTo>
                  <a:cubicBezTo>
                    <a:pt x="271350" y="608265"/>
                    <a:pt x="392317" y="607884"/>
                    <a:pt x="439371" y="540352"/>
                  </a:cubicBezTo>
                  <a:cubicBezTo>
                    <a:pt x="452134" y="523112"/>
                    <a:pt x="460135" y="502919"/>
                    <a:pt x="468708" y="483392"/>
                  </a:cubicBezTo>
                  <a:cubicBezTo>
                    <a:pt x="521095" y="506252"/>
                    <a:pt x="573578" y="528922"/>
                    <a:pt x="625965" y="551782"/>
                  </a:cubicBezTo>
                  <a:cubicBezTo>
                    <a:pt x="605106" y="608741"/>
                    <a:pt x="571673" y="662939"/>
                    <a:pt x="521095" y="697800"/>
                  </a:cubicBezTo>
                  <a:cubicBezTo>
                    <a:pt x="449372" y="748092"/>
                    <a:pt x="356598" y="756855"/>
                    <a:pt x="271921" y="745425"/>
                  </a:cubicBezTo>
                  <a:cubicBezTo>
                    <a:pt x="192673" y="734757"/>
                    <a:pt x="116473" y="693800"/>
                    <a:pt x="70086" y="627696"/>
                  </a:cubicBezTo>
                  <a:cubicBezTo>
                    <a:pt x="9603" y="543114"/>
                    <a:pt x="-4876" y="434624"/>
                    <a:pt x="1316" y="333183"/>
                  </a:cubicBezTo>
                  <a:cubicBezTo>
                    <a:pt x="7031" y="237171"/>
                    <a:pt x="39702" y="136778"/>
                    <a:pt x="115044" y="72770"/>
                  </a:cubicBezTo>
                  <a:close/>
                </a:path>
              </a:pathLst>
            </a:custGeom>
            <a:solidFill>
              <a:srgbClr val="000000"/>
            </a:solidFill>
            <a:ln w="9525" cap="flat">
              <a:noFill/>
              <a:prstDash val="solid"/>
              <a:miter/>
            </a:ln>
          </p:spPr>
          <p:txBody>
            <a:bodyPr rtlCol="0" anchor="ctr"/>
            <a:lstStyle/>
            <a:p>
              <a:endParaRPr lang="en-US" sz="900"/>
            </a:p>
          </p:txBody>
        </p:sp>
        <p:sp>
          <p:nvSpPr>
            <p:cNvPr id="37" name="Freeform: Shape 36">
              <a:extLst>
                <a:ext uri="{FF2B5EF4-FFF2-40B4-BE49-F238E27FC236}">
                  <a16:creationId xmlns:a16="http://schemas.microsoft.com/office/drawing/2014/main" id="{7D9AA833-AD83-E679-5D6E-186A8D02B00C}"/>
                </a:ext>
              </a:extLst>
            </p:cNvPr>
            <p:cNvSpPr/>
            <p:nvPr/>
          </p:nvSpPr>
          <p:spPr>
            <a:xfrm>
              <a:off x="13262546" y="8849276"/>
              <a:ext cx="625919" cy="749850"/>
            </a:xfrm>
            <a:custGeom>
              <a:avLst/>
              <a:gdLst>
                <a:gd name="connsiteX0" fmla="*/ 114142 w 625919"/>
                <a:gd name="connsiteY0" fmla="*/ 73457 h 749850"/>
                <a:gd name="connsiteX1" fmla="*/ 437897 w 625919"/>
                <a:gd name="connsiteY1" fmla="*/ 13831 h 749850"/>
                <a:gd name="connsiteX2" fmla="*/ 621920 w 625919"/>
                <a:gd name="connsiteY2" fmla="*/ 187281 h 749850"/>
                <a:gd name="connsiteX3" fmla="*/ 458280 w 625919"/>
                <a:gd name="connsiteY3" fmla="*/ 258242 h 749850"/>
                <a:gd name="connsiteX4" fmla="*/ 399225 w 625919"/>
                <a:gd name="connsiteY4" fmla="*/ 175946 h 749850"/>
                <a:gd name="connsiteX5" fmla="*/ 237776 w 625919"/>
                <a:gd name="connsiteY5" fmla="*/ 206426 h 749850"/>
                <a:gd name="connsiteX6" fmla="*/ 210725 w 625919"/>
                <a:gd name="connsiteY6" fmla="*/ 371209 h 749850"/>
                <a:gd name="connsiteX7" fmla="*/ 231013 w 625919"/>
                <a:gd name="connsiteY7" fmla="*/ 534086 h 749850"/>
                <a:gd name="connsiteX8" fmla="*/ 437992 w 625919"/>
                <a:gd name="connsiteY8" fmla="*/ 542278 h 749850"/>
                <a:gd name="connsiteX9" fmla="*/ 468662 w 625919"/>
                <a:gd name="connsiteY9" fmla="*/ 483413 h 749850"/>
                <a:gd name="connsiteX10" fmla="*/ 625920 w 625919"/>
                <a:gd name="connsiteY10" fmla="*/ 551898 h 749850"/>
                <a:gd name="connsiteX11" fmla="*/ 514573 w 625919"/>
                <a:gd name="connsiteY11" fmla="*/ 702203 h 749850"/>
                <a:gd name="connsiteX12" fmla="*/ 265494 w 625919"/>
                <a:gd name="connsiteY12" fmla="*/ 744398 h 749850"/>
                <a:gd name="connsiteX13" fmla="*/ 66422 w 625919"/>
                <a:gd name="connsiteY13" fmla="*/ 622478 h 749850"/>
                <a:gd name="connsiteX14" fmla="*/ 1937 w 625919"/>
                <a:gd name="connsiteY14" fmla="*/ 324441 h 749850"/>
                <a:gd name="connsiteX15" fmla="*/ 114142 w 625919"/>
                <a:gd name="connsiteY15" fmla="*/ 73457 h 749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5919" h="749850">
                  <a:moveTo>
                    <a:pt x="114142" y="73457"/>
                  </a:moveTo>
                  <a:cubicBezTo>
                    <a:pt x="201962" y="-1409"/>
                    <a:pt x="329121" y="-14554"/>
                    <a:pt x="437897" y="13831"/>
                  </a:cubicBezTo>
                  <a:cubicBezTo>
                    <a:pt x="523717" y="36215"/>
                    <a:pt x="592582" y="104318"/>
                    <a:pt x="621920" y="187281"/>
                  </a:cubicBezTo>
                  <a:cubicBezTo>
                    <a:pt x="567341" y="210998"/>
                    <a:pt x="512763" y="234525"/>
                    <a:pt x="458280" y="258242"/>
                  </a:cubicBezTo>
                  <a:cubicBezTo>
                    <a:pt x="448184" y="225476"/>
                    <a:pt x="430753" y="192425"/>
                    <a:pt x="399225" y="175946"/>
                  </a:cubicBezTo>
                  <a:cubicBezTo>
                    <a:pt x="347599" y="148133"/>
                    <a:pt x="272447" y="155658"/>
                    <a:pt x="237776" y="206426"/>
                  </a:cubicBezTo>
                  <a:cubicBezTo>
                    <a:pt x="203772" y="254432"/>
                    <a:pt x="211202" y="315869"/>
                    <a:pt x="210725" y="371209"/>
                  </a:cubicBezTo>
                  <a:cubicBezTo>
                    <a:pt x="212059" y="425692"/>
                    <a:pt x="203105" y="484366"/>
                    <a:pt x="231013" y="534086"/>
                  </a:cubicBezTo>
                  <a:cubicBezTo>
                    <a:pt x="271304" y="607524"/>
                    <a:pt x="390081" y="607905"/>
                    <a:pt x="437992" y="542278"/>
                  </a:cubicBezTo>
                  <a:cubicBezTo>
                    <a:pt x="451422" y="524561"/>
                    <a:pt x="459899" y="503702"/>
                    <a:pt x="468662" y="483413"/>
                  </a:cubicBezTo>
                  <a:cubicBezTo>
                    <a:pt x="521050" y="506178"/>
                    <a:pt x="573532" y="528943"/>
                    <a:pt x="625920" y="551898"/>
                  </a:cubicBezTo>
                  <a:cubicBezTo>
                    <a:pt x="604298" y="611144"/>
                    <a:pt x="568579" y="667532"/>
                    <a:pt x="514573" y="702203"/>
                  </a:cubicBezTo>
                  <a:cubicBezTo>
                    <a:pt x="441706" y="749732"/>
                    <a:pt x="349600" y="756971"/>
                    <a:pt x="265494" y="744398"/>
                  </a:cubicBezTo>
                  <a:cubicBezTo>
                    <a:pt x="186341" y="732492"/>
                    <a:pt x="111189" y="689534"/>
                    <a:pt x="66422" y="622478"/>
                  </a:cubicBezTo>
                  <a:cubicBezTo>
                    <a:pt x="7366" y="535991"/>
                    <a:pt x="-5587" y="426644"/>
                    <a:pt x="1937" y="324441"/>
                  </a:cubicBezTo>
                  <a:cubicBezTo>
                    <a:pt x="8890" y="231668"/>
                    <a:pt x="41656" y="135465"/>
                    <a:pt x="114142" y="73457"/>
                  </a:cubicBezTo>
                  <a:close/>
                </a:path>
              </a:pathLst>
            </a:custGeom>
            <a:solidFill>
              <a:srgbClr val="000000"/>
            </a:solidFill>
            <a:ln w="9525" cap="flat">
              <a:noFill/>
              <a:prstDash val="solid"/>
              <a:miter/>
            </a:ln>
          </p:spPr>
          <p:txBody>
            <a:bodyPr rtlCol="0" anchor="ctr"/>
            <a:lstStyle/>
            <a:p>
              <a:endParaRPr lang="en-US" sz="900"/>
            </a:p>
          </p:txBody>
        </p:sp>
        <p:sp>
          <p:nvSpPr>
            <p:cNvPr id="38" name="Freeform: Shape 37">
              <a:extLst>
                <a:ext uri="{FF2B5EF4-FFF2-40B4-BE49-F238E27FC236}">
                  <a16:creationId xmlns:a16="http://schemas.microsoft.com/office/drawing/2014/main" id="{5BEADA96-1A80-9EB1-DBCA-0EBF9FDAB801}"/>
                </a:ext>
              </a:extLst>
            </p:cNvPr>
            <p:cNvSpPr/>
            <p:nvPr/>
          </p:nvSpPr>
          <p:spPr>
            <a:xfrm>
              <a:off x="14778191" y="8849530"/>
              <a:ext cx="689710" cy="749617"/>
            </a:xfrm>
            <a:custGeom>
              <a:avLst/>
              <a:gdLst>
                <a:gd name="connsiteX0" fmla="*/ 27247 w 689710"/>
                <a:gd name="connsiteY0" fmla="*/ 137021 h 749617"/>
                <a:gd name="connsiteX1" fmla="*/ 239750 w 689710"/>
                <a:gd name="connsiteY1" fmla="*/ 5290 h 749617"/>
                <a:gd name="connsiteX2" fmla="*/ 522070 w 689710"/>
                <a:gd name="connsiteY2" fmla="*/ 49582 h 749617"/>
                <a:gd name="connsiteX3" fmla="*/ 622654 w 689710"/>
                <a:gd name="connsiteY3" fmla="*/ 247606 h 749617"/>
                <a:gd name="connsiteX4" fmla="*/ 623036 w 689710"/>
                <a:gd name="connsiteY4" fmla="*/ 575838 h 749617"/>
                <a:gd name="connsiteX5" fmla="*/ 689711 w 689710"/>
                <a:gd name="connsiteY5" fmla="*/ 575933 h 749617"/>
                <a:gd name="connsiteX6" fmla="*/ 689711 w 689710"/>
                <a:gd name="connsiteY6" fmla="*/ 733000 h 749617"/>
                <a:gd name="connsiteX7" fmla="*/ 506259 w 689710"/>
                <a:gd name="connsiteY7" fmla="*/ 713950 h 749617"/>
                <a:gd name="connsiteX8" fmla="*/ 438441 w 689710"/>
                <a:gd name="connsiteY8" fmla="*/ 603270 h 749617"/>
                <a:gd name="connsiteX9" fmla="*/ 388625 w 689710"/>
                <a:gd name="connsiteY9" fmla="*/ 690805 h 749617"/>
                <a:gd name="connsiteX10" fmla="*/ 169074 w 689710"/>
                <a:gd name="connsiteY10" fmla="*/ 745288 h 749617"/>
                <a:gd name="connsiteX11" fmla="*/ 15341 w 689710"/>
                <a:gd name="connsiteY11" fmla="*/ 626892 h 749617"/>
                <a:gd name="connsiteX12" fmla="*/ 37153 w 689710"/>
                <a:gd name="connsiteY12" fmla="*/ 416008 h 749617"/>
                <a:gd name="connsiteX13" fmla="*/ 191076 w 689710"/>
                <a:gd name="connsiteY13" fmla="*/ 327521 h 749617"/>
                <a:gd name="connsiteX14" fmla="*/ 420629 w 689710"/>
                <a:gd name="connsiteY14" fmla="*/ 316663 h 749617"/>
                <a:gd name="connsiteX15" fmla="*/ 392911 w 689710"/>
                <a:gd name="connsiteY15" fmla="*/ 189028 h 749617"/>
                <a:gd name="connsiteX16" fmla="*/ 258323 w 689710"/>
                <a:gd name="connsiteY16" fmla="*/ 163310 h 749617"/>
                <a:gd name="connsiteX17" fmla="*/ 147452 w 689710"/>
                <a:gd name="connsiteY17" fmla="*/ 243130 h 749617"/>
                <a:gd name="connsiteX18" fmla="*/ 27247 w 689710"/>
                <a:gd name="connsiteY18" fmla="*/ 137021 h 749617"/>
                <a:gd name="connsiteX19" fmla="*/ 252894 w 689710"/>
                <a:gd name="connsiteY19" fmla="*/ 442583 h 749617"/>
                <a:gd name="connsiteX20" fmla="*/ 260038 w 689710"/>
                <a:gd name="connsiteY20" fmla="*/ 604508 h 749617"/>
                <a:gd name="connsiteX21" fmla="*/ 401579 w 689710"/>
                <a:gd name="connsiteY21" fmla="*/ 571552 h 749617"/>
                <a:gd name="connsiteX22" fmla="*/ 420534 w 689710"/>
                <a:gd name="connsiteY22" fmla="*/ 431725 h 749617"/>
                <a:gd name="connsiteX23" fmla="*/ 252894 w 689710"/>
                <a:gd name="connsiteY23" fmla="*/ 442583 h 749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89710" h="749617">
                  <a:moveTo>
                    <a:pt x="27247" y="137021"/>
                  </a:moveTo>
                  <a:cubicBezTo>
                    <a:pt x="73634" y="63583"/>
                    <a:pt x="153834" y="15387"/>
                    <a:pt x="239750" y="5290"/>
                  </a:cubicBezTo>
                  <a:cubicBezTo>
                    <a:pt x="334618" y="-6044"/>
                    <a:pt x="438632" y="-2520"/>
                    <a:pt x="522070" y="49582"/>
                  </a:cubicBezTo>
                  <a:cubicBezTo>
                    <a:pt x="588936" y="91015"/>
                    <a:pt x="621988" y="171025"/>
                    <a:pt x="622654" y="247606"/>
                  </a:cubicBezTo>
                  <a:cubicBezTo>
                    <a:pt x="623512" y="357049"/>
                    <a:pt x="622654" y="466396"/>
                    <a:pt x="623036" y="575838"/>
                  </a:cubicBezTo>
                  <a:cubicBezTo>
                    <a:pt x="645134" y="575838"/>
                    <a:pt x="667422" y="575838"/>
                    <a:pt x="689711" y="575933"/>
                  </a:cubicBezTo>
                  <a:cubicBezTo>
                    <a:pt x="689615" y="628225"/>
                    <a:pt x="689615" y="680613"/>
                    <a:pt x="689711" y="733000"/>
                  </a:cubicBezTo>
                  <a:cubicBezTo>
                    <a:pt x="628750" y="728238"/>
                    <a:pt x="561790" y="746621"/>
                    <a:pt x="506259" y="713950"/>
                  </a:cubicBezTo>
                  <a:cubicBezTo>
                    <a:pt x="466540" y="690614"/>
                    <a:pt x="448442" y="646037"/>
                    <a:pt x="438441" y="603270"/>
                  </a:cubicBezTo>
                  <a:cubicBezTo>
                    <a:pt x="423963" y="633559"/>
                    <a:pt x="413866" y="667278"/>
                    <a:pt x="388625" y="690805"/>
                  </a:cubicBezTo>
                  <a:cubicBezTo>
                    <a:pt x="331952" y="747193"/>
                    <a:pt x="244702" y="756908"/>
                    <a:pt x="169074" y="745288"/>
                  </a:cubicBezTo>
                  <a:cubicBezTo>
                    <a:pt x="102113" y="735477"/>
                    <a:pt x="38676" y="691948"/>
                    <a:pt x="15341" y="626892"/>
                  </a:cubicBezTo>
                  <a:cubicBezTo>
                    <a:pt x="-9234" y="558693"/>
                    <a:pt x="-5900" y="476302"/>
                    <a:pt x="37153" y="416008"/>
                  </a:cubicBezTo>
                  <a:cubicBezTo>
                    <a:pt x="73062" y="366097"/>
                    <a:pt x="132498" y="339808"/>
                    <a:pt x="191076" y="327521"/>
                  </a:cubicBezTo>
                  <a:cubicBezTo>
                    <a:pt x="266515" y="311424"/>
                    <a:pt x="344048" y="317996"/>
                    <a:pt x="420629" y="316663"/>
                  </a:cubicBezTo>
                  <a:cubicBezTo>
                    <a:pt x="420439" y="273419"/>
                    <a:pt x="425963" y="222746"/>
                    <a:pt x="392911" y="189028"/>
                  </a:cubicBezTo>
                  <a:cubicBezTo>
                    <a:pt x="357764" y="155119"/>
                    <a:pt x="303377" y="154547"/>
                    <a:pt x="258323" y="163310"/>
                  </a:cubicBezTo>
                  <a:cubicBezTo>
                    <a:pt x="211460" y="172359"/>
                    <a:pt x="174884" y="205982"/>
                    <a:pt x="147452" y="243130"/>
                  </a:cubicBezTo>
                  <a:cubicBezTo>
                    <a:pt x="107447" y="207697"/>
                    <a:pt x="67728" y="171883"/>
                    <a:pt x="27247" y="137021"/>
                  </a:cubicBezTo>
                  <a:moveTo>
                    <a:pt x="252894" y="442583"/>
                  </a:moveTo>
                  <a:cubicBezTo>
                    <a:pt x="182600" y="464872"/>
                    <a:pt x="184981" y="591078"/>
                    <a:pt x="260038" y="604508"/>
                  </a:cubicBezTo>
                  <a:cubicBezTo>
                    <a:pt x="308044" y="613557"/>
                    <a:pt x="366337" y="609461"/>
                    <a:pt x="401579" y="571552"/>
                  </a:cubicBezTo>
                  <a:cubicBezTo>
                    <a:pt x="433298" y="532213"/>
                    <a:pt x="416438" y="477921"/>
                    <a:pt x="420534" y="431725"/>
                  </a:cubicBezTo>
                  <a:cubicBezTo>
                    <a:pt x="364813" y="434677"/>
                    <a:pt x="306615" y="423724"/>
                    <a:pt x="252894" y="442583"/>
                  </a:cubicBezTo>
                  <a:close/>
                </a:path>
              </a:pathLst>
            </a:custGeom>
            <a:solidFill>
              <a:srgbClr val="000000"/>
            </a:solidFill>
            <a:ln w="9525" cap="flat">
              <a:noFill/>
              <a:prstDash val="solid"/>
              <a:miter/>
            </a:ln>
          </p:spPr>
          <p:txBody>
            <a:bodyPr rtlCol="0" anchor="ctr"/>
            <a:lstStyle/>
            <a:p>
              <a:endParaRPr lang="en-US" sz="900"/>
            </a:p>
          </p:txBody>
        </p:sp>
        <p:sp>
          <p:nvSpPr>
            <p:cNvPr id="39" name="Freeform: Shape 38">
              <a:extLst>
                <a:ext uri="{FF2B5EF4-FFF2-40B4-BE49-F238E27FC236}">
                  <a16:creationId xmlns:a16="http://schemas.microsoft.com/office/drawing/2014/main" id="{E08DAAAF-22D3-8686-027F-301825BDAA00}"/>
                </a:ext>
              </a:extLst>
            </p:cNvPr>
            <p:cNvSpPr/>
            <p:nvPr/>
          </p:nvSpPr>
          <p:spPr>
            <a:xfrm>
              <a:off x="15602775" y="8849035"/>
              <a:ext cx="633507" cy="733518"/>
            </a:xfrm>
            <a:custGeom>
              <a:avLst/>
              <a:gdLst>
                <a:gd name="connsiteX0" fmla="*/ 311944 w 633507"/>
                <a:gd name="connsiteY0" fmla="*/ 20073 h 733518"/>
                <a:gd name="connsiteX1" fmla="*/ 569214 w 633507"/>
                <a:gd name="connsiteY1" fmla="*/ 66078 h 733518"/>
                <a:gd name="connsiteX2" fmla="*/ 633413 w 633507"/>
                <a:gd name="connsiteY2" fmla="*/ 276295 h 733518"/>
                <a:gd name="connsiteX3" fmla="*/ 633508 w 633507"/>
                <a:gd name="connsiteY3" fmla="*/ 733495 h 733518"/>
                <a:gd name="connsiteX4" fmla="*/ 431006 w 633507"/>
                <a:gd name="connsiteY4" fmla="*/ 733495 h 733518"/>
                <a:gd name="connsiteX5" fmla="*/ 430435 w 633507"/>
                <a:gd name="connsiteY5" fmla="*/ 276676 h 733518"/>
                <a:gd name="connsiteX6" fmla="*/ 369951 w 633507"/>
                <a:gd name="connsiteY6" fmla="*/ 169901 h 733518"/>
                <a:gd name="connsiteX7" fmla="*/ 203264 w 633507"/>
                <a:gd name="connsiteY7" fmla="*/ 257245 h 733518"/>
                <a:gd name="connsiteX8" fmla="*/ 202502 w 633507"/>
                <a:gd name="connsiteY8" fmla="*/ 733495 h 733518"/>
                <a:gd name="connsiteX9" fmla="*/ 0 w 633507"/>
                <a:gd name="connsiteY9" fmla="*/ 733400 h 733518"/>
                <a:gd name="connsiteX10" fmla="*/ 95 w 633507"/>
                <a:gd name="connsiteY10" fmla="*/ 16739 h 733518"/>
                <a:gd name="connsiteX11" fmla="*/ 202406 w 633507"/>
                <a:gd name="connsiteY11" fmla="*/ 16739 h 733518"/>
                <a:gd name="connsiteX12" fmla="*/ 204883 w 633507"/>
                <a:gd name="connsiteY12" fmla="*/ 144564 h 733518"/>
                <a:gd name="connsiteX13" fmla="*/ 311944 w 633507"/>
                <a:gd name="connsiteY13" fmla="*/ 20073 h 733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3507" h="733518">
                  <a:moveTo>
                    <a:pt x="311944" y="20073"/>
                  </a:moveTo>
                  <a:cubicBezTo>
                    <a:pt x="395669" y="-15837"/>
                    <a:pt x="506825" y="-5359"/>
                    <a:pt x="569214" y="66078"/>
                  </a:cubicBezTo>
                  <a:cubicBezTo>
                    <a:pt x="618649" y="123609"/>
                    <a:pt x="632365" y="202572"/>
                    <a:pt x="633413" y="276295"/>
                  </a:cubicBezTo>
                  <a:cubicBezTo>
                    <a:pt x="633603" y="428695"/>
                    <a:pt x="633317" y="581095"/>
                    <a:pt x="633508" y="733495"/>
                  </a:cubicBezTo>
                  <a:lnTo>
                    <a:pt x="431006" y="733495"/>
                  </a:lnTo>
                  <a:cubicBezTo>
                    <a:pt x="430625" y="581190"/>
                    <a:pt x="431864" y="428981"/>
                    <a:pt x="430435" y="276676"/>
                  </a:cubicBezTo>
                  <a:cubicBezTo>
                    <a:pt x="429101" y="234861"/>
                    <a:pt x="415290" y="183045"/>
                    <a:pt x="369951" y="169901"/>
                  </a:cubicBezTo>
                  <a:cubicBezTo>
                    <a:pt x="305086" y="150946"/>
                    <a:pt x="210884" y="180759"/>
                    <a:pt x="203264" y="257245"/>
                  </a:cubicBezTo>
                  <a:cubicBezTo>
                    <a:pt x="201263" y="415931"/>
                    <a:pt x="202978" y="574713"/>
                    <a:pt x="202502" y="733495"/>
                  </a:cubicBezTo>
                  <a:cubicBezTo>
                    <a:pt x="134970" y="733495"/>
                    <a:pt x="67437" y="733590"/>
                    <a:pt x="0" y="733400"/>
                  </a:cubicBezTo>
                  <a:cubicBezTo>
                    <a:pt x="191" y="494513"/>
                    <a:pt x="-95" y="255626"/>
                    <a:pt x="95" y="16739"/>
                  </a:cubicBezTo>
                  <a:lnTo>
                    <a:pt x="202406" y="16739"/>
                  </a:lnTo>
                  <a:cubicBezTo>
                    <a:pt x="203264" y="59315"/>
                    <a:pt x="200025" y="102083"/>
                    <a:pt x="204883" y="144564"/>
                  </a:cubicBezTo>
                  <a:cubicBezTo>
                    <a:pt x="226790" y="93606"/>
                    <a:pt x="258604" y="42456"/>
                    <a:pt x="311944" y="20073"/>
                  </a:cubicBezTo>
                  <a:close/>
                </a:path>
              </a:pathLst>
            </a:custGeom>
            <a:solidFill>
              <a:srgbClr val="000000"/>
            </a:solidFill>
            <a:ln w="9525" cap="flat">
              <a:noFill/>
              <a:prstDash val="solid"/>
              <a:miter/>
            </a:ln>
          </p:spPr>
          <p:txBody>
            <a:bodyPr rtlCol="0" anchor="ctr"/>
            <a:lstStyle/>
            <a:p>
              <a:endParaRPr lang="en-US" sz="900"/>
            </a:p>
          </p:txBody>
        </p:sp>
        <p:sp>
          <p:nvSpPr>
            <p:cNvPr id="40" name="Freeform: Shape 39">
              <a:extLst>
                <a:ext uri="{FF2B5EF4-FFF2-40B4-BE49-F238E27FC236}">
                  <a16:creationId xmlns:a16="http://schemas.microsoft.com/office/drawing/2014/main" id="{3BF8AFFD-1B6C-839E-B09F-AF5203BE810E}"/>
                </a:ext>
              </a:extLst>
            </p:cNvPr>
            <p:cNvSpPr/>
            <p:nvPr/>
          </p:nvSpPr>
          <p:spPr>
            <a:xfrm>
              <a:off x="17116014" y="8849344"/>
              <a:ext cx="669651" cy="749917"/>
            </a:xfrm>
            <a:custGeom>
              <a:avLst/>
              <a:gdLst>
                <a:gd name="connsiteX0" fmla="*/ 174305 w 669651"/>
                <a:gd name="connsiteY0" fmla="*/ 34909 h 749917"/>
                <a:gd name="connsiteX1" fmla="*/ 433670 w 669651"/>
                <a:gd name="connsiteY1" fmla="*/ 11287 h 749917"/>
                <a:gd name="connsiteX2" fmla="*/ 624838 w 669651"/>
                <a:gd name="connsiteY2" fmla="*/ 161973 h 749917"/>
                <a:gd name="connsiteX3" fmla="*/ 669129 w 669651"/>
                <a:gd name="connsiteY3" fmla="*/ 426482 h 749917"/>
                <a:gd name="connsiteX4" fmla="*/ 208500 w 669651"/>
                <a:gd name="connsiteY4" fmla="*/ 426482 h 749917"/>
                <a:gd name="connsiteX5" fmla="*/ 248028 w 669651"/>
                <a:gd name="connsiteY5" fmla="*/ 549450 h 749917"/>
                <a:gd name="connsiteX6" fmla="*/ 408049 w 669651"/>
                <a:gd name="connsiteY6" fmla="*/ 587645 h 749917"/>
                <a:gd name="connsiteX7" fmla="*/ 543589 w 669651"/>
                <a:gd name="connsiteY7" fmla="*/ 505063 h 749917"/>
                <a:gd name="connsiteX8" fmla="*/ 645031 w 669651"/>
                <a:gd name="connsiteY8" fmla="*/ 631269 h 749917"/>
                <a:gd name="connsiteX9" fmla="*/ 388617 w 669651"/>
                <a:gd name="connsiteY9" fmla="*/ 747951 h 749917"/>
                <a:gd name="connsiteX10" fmla="*/ 125441 w 669651"/>
                <a:gd name="connsiteY10" fmla="*/ 681752 h 749917"/>
                <a:gd name="connsiteX11" fmla="*/ 5045 w 669651"/>
                <a:gd name="connsiteY11" fmla="*/ 451342 h 749917"/>
                <a:gd name="connsiteX12" fmla="*/ 33526 w 669651"/>
                <a:gd name="connsiteY12" fmla="*/ 189214 h 749917"/>
                <a:gd name="connsiteX13" fmla="*/ 174305 w 669651"/>
                <a:gd name="connsiteY13" fmla="*/ 34909 h 749917"/>
                <a:gd name="connsiteX14" fmla="*/ 232502 w 669651"/>
                <a:gd name="connsiteY14" fmla="*/ 205788 h 749917"/>
                <a:gd name="connsiteX15" fmla="*/ 208500 w 669651"/>
                <a:gd name="connsiteY15" fmla="*/ 307324 h 749917"/>
                <a:gd name="connsiteX16" fmla="*/ 460722 w 669651"/>
                <a:gd name="connsiteY16" fmla="*/ 307324 h 749917"/>
                <a:gd name="connsiteX17" fmla="*/ 423956 w 669651"/>
                <a:gd name="connsiteY17" fmla="*/ 182547 h 749917"/>
                <a:gd name="connsiteX18" fmla="*/ 232502 w 669651"/>
                <a:gd name="connsiteY18" fmla="*/ 205883 h 749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9651" h="749917">
                  <a:moveTo>
                    <a:pt x="174305" y="34909"/>
                  </a:moveTo>
                  <a:cubicBezTo>
                    <a:pt x="254220" y="-3858"/>
                    <a:pt x="347945" y="-8144"/>
                    <a:pt x="433670" y="11287"/>
                  </a:cubicBezTo>
                  <a:cubicBezTo>
                    <a:pt x="515681" y="29956"/>
                    <a:pt x="587690" y="86439"/>
                    <a:pt x="624838" y="161973"/>
                  </a:cubicBezTo>
                  <a:cubicBezTo>
                    <a:pt x="667223" y="243126"/>
                    <a:pt x="671510" y="336852"/>
                    <a:pt x="669129" y="426482"/>
                  </a:cubicBezTo>
                  <a:cubicBezTo>
                    <a:pt x="515586" y="426482"/>
                    <a:pt x="362043" y="426482"/>
                    <a:pt x="208500" y="426482"/>
                  </a:cubicBezTo>
                  <a:cubicBezTo>
                    <a:pt x="208690" y="469916"/>
                    <a:pt x="215834" y="517350"/>
                    <a:pt x="248028" y="549450"/>
                  </a:cubicBezTo>
                  <a:cubicBezTo>
                    <a:pt x="289272" y="590693"/>
                    <a:pt x="353089" y="596217"/>
                    <a:pt x="408049" y="587645"/>
                  </a:cubicBezTo>
                  <a:cubicBezTo>
                    <a:pt x="462341" y="579453"/>
                    <a:pt x="506537" y="543449"/>
                    <a:pt x="543589" y="505063"/>
                  </a:cubicBezTo>
                  <a:cubicBezTo>
                    <a:pt x="577308" y="547259"/>
                    <a:pt x="611216" y="589169"/>
                    <a:pt x="645031" y="631269"/>
                  </a:cubicBezTo>
                  <a:cubicBezTo>
                    <a:pt x="580260" y="703755"/>
                    <a:pt x="484153" y="740997"/>
                    <a:pt x="388617" y="747951"/>
                  </a:cubicBezTo>
                  <a:cubicBezTo>
                    <a:pt x="297273" y="756047"/>
                    <a:pt x="198880" y="740140"/>
                    <a:pt x="125441" y="681752"/>
                  </a:cubicBezTo>
                  <a:cubicBezTo>
                    <a:pt x="54481" y="626602"/>
                    <a:pt x="16381" y="538782"/>
                    <a:pt x="5045" y="451342"/>
                  </a:cubicBezTo>
                  <a:cubicBezTo>
                    <a:pt x="-5812" y="363522"/>
                    <a:pt x="-384" y="271701"/>
                    <a:pt x="33526" y="189214"/>
                  </a:cubicBezTo>
                  <a:cubicBezTo>
                    <a:pt x="60291" y="123301"/>
                    <a:pt x="110011" y="66246"/>
                    <a:pt x="174305" y="34909"/>
                  </a:cubicBezTo>
                  <a:moveTo>
                    <a:pt x="232502" y="205788"/>
                  </a:moveTo>
                  <a:cubicBezTo>
                    <a:pt x="213072" y="235887"/>
                    <a:pt x="209262" y="272367"/>
                    <a:pt x="208500" y="307324"/>
                  </a:cubicBezTo>
                  <a:cubicBezTo>
                    <a:pt x="292510" y="307324"/>
                    <a:pt x="376616" y="307324"/>
                    <a:pt x="460722" y="307324"/>
                  </a:cubicBezTo>
                  <a:cubicBezTo>
                    <a:pt x="459770" y="263890"/>
                    <a:pt x="455292" y="215884"/>
                    <a:pt x="423956" y="182547"/>
                  </a:cubicBezTo>
                  <a:cubicBezTo>
                    <a:pt x="372234" y="128730"/>
                    <a:pt x="270317" y="141780"/>
                    <a:pt x="232502" y="205883"/>
                  </a:cubicBezTo>
                  <a:close/>
                </a:path>
              </a:pathLst>
            </a:custGeom>
            <a:solidFill>
              <a:srgbClr val="000000"/>
            </a:solidFill>
            <a:ln w="9525" cap="flat">
              <a:noFill/>
              <a:prstDash val="solid"/>
              <a:miter/>
            </a:ln>
          </p:spPr>
          <p:txBody>
            <a:bodyPr rtlCol="0" anchor="ctr"/>
            <a:lstStyle/>
            <a:p>
              <a:endParaRPr lang="en-US" sz="900"/>
            </a:p>
          </p:txBody>
        </p:sp>
      </p:grpSp>
      <p:pic>
        <p:nvPicPr>
          <p:cNvPr id="4" name="Picture 3">
            <a:extLst>
              <a:ext uri="{FF2B5EF4-FFF2-40B4-BE49-F238E27FC236}">
                <a16:creationId xmlns:a16="http://schemas.microsoft.com/office/drawing/2014/main" id="{2DE16743-7FE4-7DB0-AE65-92E8AEA8C0B8}"/>
              </a:ext>
            </a:extLst>
          </p:cNvPr>
          <p:cNvPicPr>
            <a:picLocks noChangeAspect="1"/>
          </p:cNvPicPr>
          <p:nvPr userDrawn="1"/>
        </p:nvPicPr>
        <p:blipFill>
          <a:blip r:embed="rId2"/>
          <a:stretch>
            <a:fillRect/>
          </a:stretch>
        </p:blipFill>
        <p:spPr>
          <a:xfrm>
            <a:off x="11081689" y="266700"/>
            <a:ext cx="819043" cy="304800"/>
          </a:xfrm>
          <a:prstGeom prst="rect">
            <a:avLst/>
          </a:prstGeom>
        </p:spPr>
      </p:pic>
      <p:sp>
        <p:nvSpPr>
          <p:cNvPr id="24" name="TextBox 23">
            <a:extLst>
              <a:ext uri="{FF2B5EF4-FFF2-40B4-BE49-F238E27FC236}">
                <a16:creationId xmlns:a16="http://schemas.microsoft.com/office/drawing/2014/main" id="{E731D5B8-4EA5-5E55-4109-62B4448E3095}"/>
              </a:ext>
            </a:extLst>
          </p:cNvPr>
          <p:cNvSpPr txBox="1"/>
          <p:nvPr userDrawn="1"/>
        </p:nvSpPr>
        <p:spPr>
          <a:xfrm>
            <a:off x="270381" y="5966327"/>
            <a:ext cx="2761097" cy="646331"/>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r>
              <a:rPr lang="en-US" sz="1400" kern="0"/>
              <a:t>October 21–24, 2024</a:t>
            </a:r>
          </a:p>
          <a:p>
            <a:r>
              <a:rPr lang="en-US" sz="1400" kern="0"/>
              <a:t>Mandalay Bay Convention Center</a:t>
            </a:r>
            <a:br>
              <a:rPr lang="en-US" sz="1400" kern="0"/>
            </a:br>
            <a:r>
              <a:rPr lang="en-US" sz="1400" kern="0"/>
              <a:t>Las Vegas, Nevada</a:t>
            </a:r>
          </a:p>
        </p:txBody>
      </p:sp>
      <p:pic>
        <p:nvPicPr>
          <p:cNvPr id="2" name="Picture 1">
            <a:extLst>
              <a:ext uri="{FF2B5EF4-FFF2-40B4-BE49-F238E27FC236}">
                <a16:creationId xmlns:a16="http://schemas.microsoft.com/office/drawing/2014/main" id="{C62D5298-FF2B-CE25-1AC6-2FB95E4AFA8F}"/>
              </a:ext>
            </a:extLst>
          </p:cNvPr>
          <p:cNvPicPr>
            <a:picLocks noChangeAspect="1"/>
          </p:cNvPicPr>
          <p:nvPr userDrawn="1"/>
        </p:nvPicPr>
        <p:blipFill>
          <a:blip r:embed="rId3"/>
          <a:srcRect/>
          <a:stretch/>
        </p:blipFill>
        <p:spPr>
          <a:xfrm>
            <a:off x="6421573" y="1093032"/>
            <a:ext cx="1371421" cy="1371600"/>
          </a:xfrm>
          <a:prstGeom prst="rect">
            <a:avLst/>
          </a:prstGeom>
        </p:spPr>
      </p:pic>
      <p:pic>
        <p:nvPicPr>
          <p:cNvPr id="3" name="Picture 2">
            <a:extLst>
              <a:ext uri="{FF2B5EF4-FFF2-40B4-BE49-F238E27FC236}">
                <a16:creationId xmlns:a16="http://schemas.microsoft.com/office/drawing/2014/main" id="{8FC73F7B-8BBC-DBE2-335A-8A1EF2B00A8D}"/>
              </a:ext>
            </a:extLst>
          </p:cNvPr>
          <p:cNvPicPr>
            <a:picLocks noChangeAspect="1"/>
          </p:cNvPicPr>
          <p:nvPr userDrawn="1"/>
        </p:nvPicPr>
        <p:blipFill>
          <a:blip r:embed="rId4"/>
          <a:srcRect/>
          <a:stretch/>
        </p:blipFill>
        <p:spPr>
          <a:xfrm>
            <a:off x="6421573" y="5207832"/>
            <a:ext cx="1371421" cy="1371600"/>
          </a:xfrm>
          <a:prstGeom prst="rect">
            <a:avLst/>
          </a:prstGeom>
        </p:spPr>
      </p:pic>
      <p:pic>
        <p:nvPicPr>
          <p:cNvPr id="5" name="Picture 4">
            <a:extLst>
              <a:ext uri="{FF2B5EF4-FFF2-40B4-BE49-F238E27FC236}">
                <a16:creationId xmlns:a16="http://schemas.microsoft.com/office/drawing/2014/main" id="{9E828881-3C73-4CC0-304A-5AC27805F5F0}"/>
              </a:ext>
            </a:extLst>
          </p:cNvPr>
          <p:cNvPicPr>
            <a:picLocks noChangeAspect="1"/>
          </p:cNvPicPr>
          <p:nvPr userDrawn="1"/>
        </p:nvPicPr>
        <p:blipFill>
          <a:blip r:embed="rId5"/>
          <a:srcRect/>
          <a:stretch/>
        </p:blipFill>
        <p:spPr>
          <a:xfrm flipH="1">
            <a:off x="9164416" y="3836232"/>
            <a:ext cx="1371421" cy="1371600"/>
          </a:xfrm>
          <a:prstGeom prst="rect">
            <a:avLst/>
          </a:prstGeom>
        </p:spPr>
      </p:pic>
      <p:pic>
        <p:nvPicPr>
          <p:cNvPr id="6" name="Picture 5">
            <a:extLst>
              <a:ext uri="{FF2B5EF4-FFF2-40B4-BE49-F238E27FC236}">
                <a16:creationId xmlns:a16="http://schemas.microsoft.com/office/drawing/2014/main" id="{BD04376E-49EF-52CA-67FC-C796BB231404}"/>
              </a:ext>
            </a:extLst>
          </p:cNvPr>
          <p:cNvPicPr>
            <a:picLocks noChangeAspect="1"/>
          </p:cNvPicPr>
          <p:nvPr userDrawn="1"/>
        </p:nvPicPr>
        <p:blipFill>
          <a:blip r:embed="rId6"/>
          <a:srcRect/>
          <a:stretch/>
        </p:blipFill>
        <p:spPr>
          <a:xfrm>
            <a:off x="10535837" y="5207832"/>
            <a:ext cx="1371421" cy="1371600"/>
          </a:xfrm>
          <a:prstGeom prst="rect">
            <a:avLst/>
          </a:prstGeom>
        </p:spPr>
      </p:pic>
      <p:pic>
        <p:nvPicPr>
          <p:cNvPr id="7" name="Picture 6">
            <a:extLst>
              <a:ext uri="{FF2B5EF4-FFF2-40B4-BE49-F238E27FC236}">
                <a16:creationId xmlns:a16="http://schemas.microsoft.com/office/drawing/2014/main" id="{9CFF03C3-AD18-C342-2ECF-EC31EFFBEB32}"/>
              </a:ext>
            </a:extLst>
          </p:cNvPr>
          <p:cNvPicPr>
            <a:picLocks noChangeAspect="1"/>
          </p:cNvPicPr>
          <p:nvPr userDrawn="1"/>
        </p:nvPicPr>
        <p:blipFill>
          <a:blip r:embed="rId7"/>
          <a:srcRect/>
          <a:stretch/>
        </p:blipFill>
        <p:spPr>
          <a:xfrm>
            <a:off x="10535837" y="2464632"/>
            <a:ext cx="1371421" cy="1371600"/>
          </a:xfrm>
          <a:prstGeom prst="rect">
            <a:avLst/>
          </a:prstGeom>
        </p:spPr>
      </p:pic>
      <p:pic>
        <p:nvPicPr>
          <p:cNvPr id="9" name="Picture 8">
            <a:extLst>
              <a:ext uri="{FF2B5EF4-FFF2-40B4-BE49-F238E27FC236}">
                <a16:creationId xmlns:a16="http://schemas.microsoft.com/office/drawing/2014/main" id="{1BE3BDA4-D0D0-4EE1-04D3-00365696F3CF}"/>
              </a:ext>
            </a:extLst>
          </p:cNvPr>
          <p:cNvPicPr>
            <a:picLocks noChangeAspect="1"/>
          </p:cNvPicPr>
          <p:nvPr userDrawn="1"/>
        </p:nvPicPr>
        <p:blipFill>
          <a:blip r:embed="rId8"/>
          <a:srcRect/>
          <a:stretch/>
        </p:blipFill>
        <p:spPr>
          <a:xfrm>
            <a:off x="7792995" y="3836232"/>
            <a:ext cx="1371421" cy="1371600"/>
          </a:xfrm>
          <a:prstGeom prst="rect">
            <a:avLst/>
          </a:prstGeom>
        </p:spPr>
      </p:pic>
      <p:pic>
        <p:nvPicPr>
          <p:cNvPr id="11" name="Picture 10">
            <a:extLst>
              <a:ext uri="{FF2B5EF4-FFF2-40B4-BE49-F238E27FC236}">
                <a16:creationId xmlns:a16="http://schemas.microsoft.com/office/drawing/2014/main" id="{0D830655-5F6B-56C7-3482-75CB9197F216}"/>
              </a:ext>
            </a:extLst>
          </p:cNvPr>
          <p:cNvPicPr>
            <a:picLocks noChangeAspect="1"/>
          </p:cNvPicPr>
          <p:nvPr userDrawn="1"/>
        </p:nvPicPr>
        <p:blipFill>
          <a:blip r:embed="rId9"/>
          <a:srcRect/>
          <a:stretch/>
        </p:blipFill>
        <p:spPr>
          <a:xfrm>
            <a:off x="7792995" y="2464632"/>
            <a:ext cx="1371421" cy="1371600"/>
          </a:xfrm>
          <a:prstGeom prst="rect">
            <a:avLst/>
          </a:prstGeom>
        </p:spPr>
      </p:pic>
      <p:pic>
        <p:nvPicPr>
          <p:cNvPr id="12" name="Picture 11">
            <a:extLst>
              <a:ext uri="{FF2B5EF4-FFF2-40B4-BE49-F238E27FC236}">
                <a16:creationId xmlns:a16="http://schemas.microsoft.com/office/drawing/2014/main" id="{4AE5727B-73FC-8D91-C360-E1BF23E8AD09}"/>
              </a:ext>
            </a:extLst>
          </p:cNvPr>
          <p:cNvPicPr>
            <a:picLocks noChangeAspect="1"/>
          </p:cNvPicPr>
          <p:nvPr userDrawn="1"/>
        </p:nvPicPr>
        <p:blipFill>
          <a:blip r:embed="rId10"/>
          <a:srcRect/>
          <a:stretch/>
        </p:blipFill>
        <p:spPr>
          <a:xfrm>
            <a:off x="9164416" y="1093032"/>
            <a:ext cx="1371421" cy="1371600"/>
          </a:xfrm>
          <a:prstGeom prst="rect">
            <a:avLst/>
          </a:prstGeom>
        </p:spPr>
      </p:pic>
    </p:spTree>
    <p:extLst>
      <p:ext uri="{BB962C8B-B14F-4D97-AF65-F5344CB8AC3E}">
        <p14:creationId xmlns:p14="http://schemas.microsoft.com/office/powerpoint/2010/main" val="1921895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bg2"/>
        </a:solidFill>
        <a:effectLst/>
      </p:bgPr>
    </p:bg>
    <p:spTree>
      <p:nvGrpSpPr>
        <p:cNvPr id="1" name=""/>
        <p:cNvGrpSpPr/>
        <p:nvPr/>
      </p:nvGrpSpPr>
      <p:grpSpPr>
        <a:xfrm>
          <a:off x="0" y="0"/>
          <a:ext cx="0" cy="0"/>
          <a:chOff x="0" y="0"/>
          <a:chExt cx="0" cy="0"/>
        </a:xfrm>
      </p:grpSpPr>
      <p:sp>
        <p:nvSpPr>
          <p:cNvPr id="8" name="Text Placeholder 5">
            <a:extLst>
              <a:ext uri="{FF2B5EF4-FFF2-40B4-BE49-F238E27FC236}">
                <a16:creationId xmlns:a16="http://schemas.microsoft.com/office/drawing/2014/main" id="{03F79CF1-BB23-64AA-9C92-5A1EAE747F93}"/>
              </a:ext>
            </a:extLst>
          </p:cNvPr>
          <p:cNvSpPr>
            <a:spLocks noGrp="1"/>
          </p:cNvSpPr>
          <p:nvPr>
            <p:ph type="body" sz="quarter" idx="13" hasCustomPrompt="1"/>
          </p:nvPr>
        </p:nvSpPr>
        <p:spPr>
          <a:xfrm>
            <a:off x="262697" y="3429000"/>
            <a:ext cx="5050131" cy="1451113"/>
          </a:xfrm>
        </p:spPr>
        <p:txBody>
          <a:bodyPr/>
          <a:lstStyle>
            <a:lvl1pPr>
              <a:defRPr/>
            </a:lvl1pPr>
          </a:lstStyle>
          <a:p>
            <a:r>
              <a:rPr lang="en-US"/>
              <a:t>Session code (ID number)</a:t>
            </a:r>
            <a:br>
              <a:rPr lang="en-US"/>
            </a:br>
            <a:r>
              <a:rPr lang="en-US"/>
              <a:t>Session Title</a:t>
            </a:r>
            <a:br>
              <a:rPr lang="en-US"/>
            </a:br>
            <a:r>
              <a:rPr lang="en-US" err="1"/>
              <a:t>Firstname</a:t>
            </a:r>
            <a:r>
              <a:rPr lang="en-US"/>
              <a:t> </a:t>
            </a:r>
            <a:r>
              <a:rPr lang="en-US" err="1"/>
              <a:t>Lastname</a:t>
            </a:r>
            <a:br>
              <a:rPr lang="en-US"/>
            </a:br>
            <a:r>
              <a:rPr lang="en-US"/>
              <a:t>Company, Job Title</a:t>
            </a:r>
          </a:p>
        </p:txBody>
      </p:sp>
      <p:sp>
        <p:nvSpPr>
          <p:cNvPr id="10" name="Title 1">
            <a:extLst>
              <a:ext uri="{FF2B5EF4-FFF2-40B4-BE49-F238E27FC236}">
                <a16:creationId xmlns:a16="http://schemas.microsoft.com/office/drawing/2014/main" id="{C20F0B5B-6B52-3139-61A7-7B7287D7127D}"/>
              </a:ext>
            </a:extLst>
          </p:cNvPr>
          <p:cNvSpPr>
            <a:spLocks noGrp="1"/>
          </p:cNvSpPr>
          <p:nvPr>
            <p:ph type="title"/>
          </p:nvPr>
        </p:nvSpPr>
        <p:spPr>
          <a:xfrm>
            <a:off x="262950" y="1093032"/>
            <a:ext cx="5049878" cy="2070856"/>
          </a:xfrm>
        </p:spPr>
        <p:txBody>
          <a:bodyPr/>
          <a:lstStyle>
            <a:lvl1pPr>
              <a:lnSpc>
                <a:spcPct val="100000"/>
              </a:lnSpc>
              <a:defRPr sz="3199">
                <a:solidFill>
                  <a:schemeClr val="tx2"/>
                </a:solidFill>
              </a:defRPr>
            </a:lvl1pPr>
          </a:lstStyle>
          <a:p>
            <a:r>
              <a:rPr lang="en-US"/>
              <a:t>Click to edit Master title style</a:t>
            </a:r>
          </a:p>
        </p:txBody>
      </p:sp>
      <p:grpSp>
        <p:nvGrpSpPr>
          <p:cNvPr id="26" name="Graphic 5">
            <a:extLst>
              <a:ext uri="{FF2B5EF4-FFF2-40B4-BE49-F238E27FC236}">
                <a16:creationId xmlns:a16="http://schemas.microsoft.com/office/drawing/2014/main" id="{F1A637DE-FA28-1BBA-ED19-561BF47FC9AA}"/>
              </a:ext>
            </a:extLst>
          </p:cNvPr>
          <p:cNvGrpSpPr/>
          <p:nvPr userDrawn="1"/>
        </p:nvGrpSpPr>
        <p:grpSpPr>
          <a:xfrm>
            <a:off x="299134" y="288036"/>
            <a:ext cx="1878950" cy="218297"/>
            <a:chOff x="6597650" y="8572457"/>
            <a:chExt cx="11188016" cy="1299659"/>
          </a:xfrm>
          <a:solidFill>
            <a:srgbClr val="000000"/>
          </a:solidFill>
        </p:grpSpPr>
        <p:sp>
          <p:nvSpPr>
            <p:cNvPr id="27" name="Freeform: Shape 26">
              <a:extLst>
                <a:ext uri="{FF2B5EF4-FFF2-40B4-BE49-F238E27FC236}">
                  <a16:creationId xmlns:a16="http://schemas.microsoft.com/office/drawing/2014/main" id="{F5985145-6140-8167-8472-4F70B1B08F56}"/>
                </a:ext>
              </a:extLst>
            </p:cNvPr>
            <p:cNvSpPr/>
            <p:nvPr/>
          </p:nvSpPr>
          <p:spPr>
            <a:xfrm>
              <a:off x="11603037" y="8572457"/>
              <a:ext cx="633888" cy="1010097"/>
            </a:xfrm>
            <a:custGeom>
              <a:avLst/>
              <a:gdLst>
                <a:gd name="connsiteX0" fmla="*/ 95 w 633888"/>
                <a:gd name="connsiteY0" fmla="*/ 42 h 1010097"/>
                <a:gd name="connsiteX1" fmla="*/ 202502 w 633888"/>
                <a:gd name="connsiteY1" fmla="*/ 42 h 1010097"/>
                <a:gd name="connsiteX2" fmla="*/ 204216 w 633888"/>
                <a:gd name="connsiteY2" fmla="*/ 419904 h 1010097"/>
                <a:gd name="connsiteX3" fmla="*/ 276320 w 633888"/>
                <a:gd name="connsiteY3" fmla="*/ 318463 h 1010097"/>
                <a:gd name="connsiteX4" fmla="*/ 591884 w 633888"/>
                <a:gd name="connsiteY4" fmla="*/ 373899 h 1010097"/>
                <a:gd name="connsiteX5" fmla="*/ 633793 w 633888"/>
                <a:gd name="connsiteY5" fmla="*/ 562303 h 1010097"/>
                <a:gd name="connsiteX6" fmla="*/ 633889 w 633888"/>
                <a:gd name="connsiteY6" fmla="*/ 1010073 h 1010097"/>
                <a:gd name="connsiteX7" fmla="*/ 431482 w 633888"/>
                <a:gd name="connsiteY7" fmla="*/ 1010073 h 1010097"/>
                <a:gd name="connsiteX8" fmla="*/ 431102 w 633888"/>
                <a:gd name="connsiteY8" fmla="*/ 561827 h 1010097"/>
                <a:gd name="connsiteX9" fmla="*/ 376333 w 633888"/>
                <a:gd name="connsiteY9" fmla="*/ 448765 h 1010097"/>
                <a:gd name="connsiteX10" fmla="*/ 203454 w 633888"/>
                <a:gd name="connsiteY10" fmla="*/ 533538 h 1010097"/>
                <a:gd name="connsiteX11" fmla="*/ 202502 w 633888"/>
                <a:gd name="connsiteY11" fmla="*/ 1010073 h 1010097"/>
                <a:gd name="connsiteX12" fmla="*/ 0 w 633888"/>
                <a:gd name="connsiteY12" fmla="*/ 1009978 h 1010097"/>
                <a:gd name="connsiteX13" fmla="*/ 95 w 633888"/>
                <a:gd name="connsiteY13" fmla="*/ 42 h 101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3888" h="1010097">
                  <a:moveTo>
                    <a:pt x="95" y="42"/>
                  </a:moveTo>
                  <a:cubicBezTo>
                    <a:pt x="67533" y="-53"/>
                    <a:pt x="134969" y="42"/>
                    <a:pt x="202502" y="42"/>
                  </a:cubicBezTo>
                  <a:cubicBezTo>
                    <a:pt x="203549" y="139965"/>
                    <a:pt x="200311" y="280077"/>
                    <a:pt x="204216" y="419904"/>
                  </a:cubicBezTo>
                  <a:cubicBezTo>
                    <a:pt x="224504" y="383709"/>
                    <a:pt x="241364" y="343419"/>
                    <a:pt x="276320" y="318463"/>
                  </a:cubicBezTo>
                  <a:cubicBezTo>
                    <a:pt x="371284" y="247692"/>
                    <a:pt x="531781" y="265695"/>
                    <a:pt x="591884" y="373899"/>
                  </a:cubicBezTo>
                  <a:cubicBezTo>
                    <a:pt x="624840" y="430668"/>
                    <a:pt x="633413" y="497724"/>
                    <a:pt x="633793" y="562303"/>
                  </a:cubicBezTo>
                  <a:cubicBezTo>
                    <a:pt x="633984" y="711560"/>
                    <a:pt x="633793" y="860817"/>
                    <a:pt x="633889" y="1010073"/>
                  </a:cubicBezTo>
                  <a:lnTo>
                    <a:pt x="431482" y="1010073"/>
                  </a:lnTo>
                  <a:cubicBezTo>
                    <a:pt x="431197" y="860626"/>
                    <a:pt x="432054" y="711179"/>
                    <a:pt x="431102" y="561827"/>
                  </a:cubicBezTo>
                  <a:cubicBezTo>
                    <a:pt x="429959" y="519441"/>
                    <a:pt x="420624" y="466386"/>
                    <a:pt x="376333" y="448765"/>
                  </a:cubicBezTo>
                  <a:cubicBezTo>
                    <a:pt x="310801" y="425334"/>
                    <a:pt x="211836" y="455052"/>
                    <a:pt x="203454" y="533538"/>
                  </a:cubicBezTo>
                  <a:cubicBezTo>
                    <a:pt x="201168" y="692319"/>
                    <a:pt x="203168" y="851196"/>
                    <a:pt x="202502" y="1010073"/>
                  </a:cubicBezTo>
                  <a:cubicBezTo>
                    <a:pt x="134969" y="1010073"/>
                    <a:pt x="67533" y="1010169"/>
                    <a:pt x="0" y="1009978"/>
                  </a:cubicBezTo>
                  <a:cubicBezTo>
                    <a:pt x="191" y="673365"/>
                    <a:pt x="95" y="336656"/>
                    <a:pt x="95" y="42"/>
                  </a:cubicBezTo>
                  <a:close/>
                </a:path>
              </a:pathLst>
            </a:custGeom>
            <a:solidFill>
              <a:srgbClr val="000000"/>
            </a:solidFill>
            <a:ln w="9525" cap="flat">
              <a:noFill/>
              <a:prstDash val="solid"/>
              <a:miter/>
            </a:ln>
          </p:spPr>
          <p:txBody>
            <a:bodyPr rtlCol="0" anchor="ctr"/>
            <a:lstStyle/>
            <a:p>
              <a:endParaRPr lang="en-US" sz="900"/>
            </a:p>
          </p:txBody>
        </p:sp>
        <p:sp>
          <p:nvSpPr>
            <p:cNvPr id="28" name="Freeform: Shape 27">
              <a:extLst>
                <a:ext uri="{FF2B5EF4-FFF2-40B4-BE49-F238E27FC236}">
                  <a16:creationId xmlns:a16="http://schemas.microsoft.com/office/drawing/2014/main" id="{7D933579-F84C-4074-BCE8-A5F3C6A8C115}"/>
                </a:ext>
              </a:extLst>
            </p:cNvPr>
            <p:cNvSpPr/>
            <p:nvPr/>
          </p:nvSpPr>
          <p:spPr>
            <a:xfrm>
              <a:off x="14012576" y="8572457"/>
              <a:ext cx="634202" cy="1010164"/>
            </a:xfrm>
            <a:custGeom>
              <a:avLst/>
              <a:gdLst>
                <a:gd name="connsiteX0" fmla="*/ 381 w 634202"/>
                <a:gd name="connsiteY0" fmla="*/ 42 h 1010164"/>
                <a:gd name="connsiteX1" fmla="*/ 202788 w 634202"/>
                <a:gd name="connsiteY1" fmla="*/ 42 h 1010164"/>
                <a:gd name="connsiteX2" fmla="*/ 204502 w 634202"/>
                <a:gd name="connsiteY2" fmla="*/ 419904 h 1010164"/>
                <a:gd name="connsiteX3" fmla="*/ 271558 w 634202"/>
                <a:gd name="connsiteY3" fmla="*/ 322559 h 1010164"/>
                <a:gd name="connsiteX4" fmla="*/ 596265 w 634202"/>
                <a:gd name="connsiteY4" fmla="*/ 381233 h 1010164"/>
                <a:gd name="connsiteX5" fmla="*/ 634175 w 634202"/>
                <a:gd name="connsiteY5" fmla="*/ 562303 h 1010164"/>
                <a:gd name="connsiteX6" fmla="*/ 634175 w 634202"/>
                <a:gd name="connsiteY6" fmla="*/ 1010073 h 1010164"/>
                <a:gd name="connsiteX7" fmla="*/ 431768 w 634202"/>
                <a:gd name="connsiteY7" fmla="*/ 1010073 h 1010164"/>
                <a:gd name="connsiteX8" fmla="*/ 431388 w 634202"/>
                <a:gd name="connsiteY8" fmla="*/ 562303 h 1010164"/>
                <a:gd name="connsiteX9" fmla="*/ 376333 w 634202"/>
                <a:gd name="connsiteY9" fmla="*/ 448575 h 1010164"/>
                <a:gd name="connsiteX10" fmla="*/ 203835 w 634202"/>
                <a:gd name="connsiteY10" fmla="*/ 533347 h 1010164"/>
                <a:gd name="connsiteX11" fmla="*/ 202788 w 634202"/>
                <a:gd name="connsiteY11" fmla="*/ 1010073 h 1010164"/>
                <a:gd name="connsiteX12" fmla="*/ 0 w 634202"/>
                <a:gd name="connsiteY12" fmla="*/ 1009597 h 1010164"/>
                <a:gd name="connsiteX13" fmla="*/ 381 w 634202"/>
                <a:gd name="connsiteY13" fmla="*/ 42 h 1010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4202" h="1010164">
                  <a:moveTo>
                    <a:pt x="381" y="42"/>
                  </a:moveTo>
                  <a:cubicBezTo>
                    <a:pt x="67819" y="-53"/>
                    <a:pt x="135255" y="42"/>
                    <a:pt x="202788" y="42"/>
                  </a:cubicBezTo>
                  <a:cubicBezTo>
                    <a:pt x="203835" y="139965"/>
                    <a:pt x="200597" y="280077"/>
                    <a:pt x="204502" y="419904"/>
                  </a:cubicBezTo>
                  <a:cubicBezTo>
                    <a:pt x="223933" y="385710"/>
                    <a:pt x="239363" y="347419"/>
                    <a:pt x="271558" y="322559"/>
                  </a:cubicBezTo>
                  <a:cubicBezTo>
                    <a:pt x="367856" y="244644"/>
                    <a:pt x="538544" y="265314"/>
                    <a:pt x="596265" y="381233"/>
                  </a:cubicBezTo>
                  <a:cubicBezTo>
                    <a:pt x="625888" y="436573"/>
                    <a:pt x="633794" y="500391"/>
                    <a:pt x="634175" y="562303"/>
                  </a:cubicBezTo>
                  <a:cubicBezTo>
                    <a:pt x="634270" y="711560"/>
                    <a:pt x="634079" y="860817"/>
                    <a:pt x="634175" y="1010073"/>
                  </a:cubicBezTo>
                  <a:lnTo>
                    <a:pt x="431768" y="1010073"/>
                  </a:lnTo>
                  <a:cubicBezTo>
                    <a:pt x="431483" y="860817"/>
                    <a:pt x="432245" y="711560"/>
                    <a:pt x="431388" y="562303"/>
                  </a:cubicBezTo>
                  <a:cubicBezTo>
                    <a:pt x="430340" y="519822"/>
                    <a:pt x="421005" y="466101"/>
                    <a:pt x="376333" y="448575"/>
                  </a:cubicBezTo>
                  <a:cubicBezTo>
                    <a:pt x="310801" y="425524"/>
                    <a:pt x="212408" y="455147"/>
                    <a:pt x="203835" y="533347"/>
                  </a:cubicBezTo>
                  <a:cubicBezTo>
                    <a:pt x="201359" y="692129"/>
                    <a:pt x="203454" y="851101"/>
                    <a:pt x="202788" y="1010073"/>
                  </a:cubicBezTo>
                  <a:cubicBezTo>
                    <a:pt x="135160" y="1009883"/>
                    <a:pt x="67533" y="1010645"/>
                    <a:pt x="0" y="1009597"/>
                  </a:cubicBezTo>
                  <a:cubicBezTo>
                    <a:pt x="858" y="673079"/>
                    <a:pt x="95" y="336561"/>
                    <a:pt x="381" y="42"/>
                  </a:cubicBezTo>
                  <a:close/>
                </a:path>
              </a:pathLst>
            </a:custGeom>
            <a:solidFill>
              <a:srgbClr val="000000"/>
            </a:solidFill>
            <a:ln w="9525" cap="flat">
              <a:noFill/>
              <a:prstDash val="solid"/>
              <a:miter/>
            </a:ln>
          </p:spPr>
          <p:txBody>
            <a:bodyPr rtlCol="0" anchor="ctr"/>
            <a:lstStyle/>
            <a:p>
              <a:endParaRPr lang="en-US" sz="900"/>
            </a:p>
          </p:txBody>
        </p:sp>
        <p:sp>
          <p:nvSpPr>
            <p:cNvPr id="29" name="Freeform: Shape 28">
              <a:extLst>
                <a:ext uri="{FF2B5EF4-FFF2-40B4-BE49-F238E27FC236}">
                  <a16:creationId xmlns:a16="http://schemas.microsoft.com/office/drawing/2014/main" id="{EB61EFE4-D8E6-B1E2-379D-12B26CE8F152}"/>
                </a:ext>
              </a:extLst>
            </p:cNvPr>
            <p:cNvSpPr/>
            <p:nvPr/>
          </p:nvSpPr>
          <p:spPr>
            <a:xfrm>
              <a:off x="6597650" y="8630030"/>
              <a:ext cx="382566" cy="952500"/>
            </a:xfrm>
            <a:custGeom>
              <a:avLst/>
              <a:gdLst>
                <a:gd name="connsiteX0" fmla="*/ 0 w 382566"/>
                <a:gd name="connsiteY0" fmla="*/ 0 h 952500"/>
                <a:gd name="connsiteX1" fmla="*/ 382524 w 382566"/>
                <a:gd name="connsiteY1" fmla="*/ 0 h 952500"/>
                <a:gd name="connsiteX2" fmla="*/ 382524 w 382566"/>
                <a:gd name="connsiteY2" fmla="*/ 95631 h 952500"/>
                <a:gd name="connsiteX3" fmla="*/ 248793 w 382566"/>
                <a:gd name="connsiteY3" fmla="*/ 95631 h 952500"/>
                <a:gd name="connsiteX4" fmla="*/ 248793 w 382566"/>
                <a:gd name="connsiteY4" fmla="*/ 856869 h 952500"/>
                <a:gd name="connsiteX5" fmla="*/ 382524 w 382566"/>
                <a:gd name="connsiteY5" fmla="*/ 856869 h 952500"/>
                <a:gd name="connsiteX6" fmla="*/ 382524 w 382566"/>
                <a:gd name="connsiteY6" fmla="*/ 952500 h 952500"/>
                <a:gd name="connsiteX7" fmla="*/ 0 w 382566"/>
                <a:gd name="connsiteY7" fmla="*/ 952500 h 952500"/>
                <a:gd name="connsiteX8" fmla="*/ 0 w 382566"/>
                <a:gd name="connsiteY8" fmla="*/ 856869 h 952500"/>
                <a:gd name="connsiteX9" fmla="*/ 133731 w 382566"/>
                <a:gd name="connsiteY9" fmla="*/ 856869 h 952500"/>
                <a:gd name="connsiteX10" fmla="*/ 133731 w 382566"/>
                <a:gd name="connsiteY10" fmla="*/ 95631 h 952500"/>
                <a:gd name="connsiteX11" fmla="*/ 0 w 382566"/>
                <a:gd name="connsiteY11" fmla="*/ 95631 h 952500"/>
                <a:gd name="connsiteX12" fmla="*/ 0 w 382566"/>
                <a:gd name="connsiteY12" fmla="*/ 0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2566" h="952500">
                  <a:moveTo>
                    <a:pt x="0" y="0"/>
                  </a:moveTo>
                  <a:lnTo>
                    <a:pt x="382524" y="0"/>
                  </a:lnTo>
                  <a:lnTo>
                    <a:pt x="382524" y="95631"/>
                  </a:lnTo>
                  <a:lnTo>
                    <a:pt x="248793" y="95631"/>
                  </a:lnTo>
                  <a:lnTo>
                    <a:pt x="248793" y="856869"/>
                  </a:lnTo>
                  <a:cubicBezTo>
                    <a:pt x="293370" y="856869"/>
                    <a:pt x="337947" y="856869"/>
                    <a:pt x="382524" y="856869"/>
                  </a:cubicBezTo>
                  <a:cubicBezTo>
                    <a:pt x="382524" y="888682"/>
                    <a:pt x="382619" y="920591"/>
                    <a:pt x="382524" y="952500"/>
                  </a:cubicBezTo>
                  <a:lnTo>
                    <a:pt x="0" y="952500"/>
                  </a:lnTo>
                  <a:cubicBezTo>
                    <a:pt x="0" y="920591"/>
                    <a:pt x="0" y="888682"/>
                    <a:pt x="0" y="856869"/>
                  </a:cubicBezTo>
                  <a:cubicBezTo>
                    <a:pt x="44577" y="856869"/>
                    <a:pt x="89154" y="856869"/>
                    <a:pt x="133731" y="856869"/>
                  </a:cubicBezTo>
                  <a:lnTo>
                    <a:pt x="133731" y="95631"/>
                  </a:lnTo>
                  <a:lnTo>
                    <a:pt x="0" y="95631"/>
                  </a:lnTo>
                  <a:cubicBezTo>
                    <a:pt x="0" y="63722"/>
                    <a:pt x="0" y="31909"/>
                    <a:pt x="0" y="0"/>
                  </a:cubicBezTo>
                  <a:close/>
                </a:path>
              </a:pathLst>
            </a:custGeom>
            <a:solidFill>
              <a:srgbClr val="000000"/>
            </a:solidFill>
            <a:ln w="9525" cap="flat">
              <a:noFill/>
              <a:prstDash val="solid"/>
              <a:miter/>
            </a:ln>
          </p:spPr>
          <p:txBody>
            <a:bodyPr rtlCol="0" anchor="ctr"/>
            <a:lstStyle/>
            <a:p>
              <a:endParaRPr lang="en-US" sz="900"/>
            </a:p>
          </p:txBody>
        </p:sp>
        <p:sp>
          <p:nvSpPr>
            <p:cNvPr id="30" name="Freeform: Shape 29">
              <a:extLst>
                <a:ext uri="{FF2B5EF4-FFF2-40B4-BE49-F238E27FC236}">
                  <a16:creationId xmlns:a16="http://schemas.microsoft.com/office/drawing/2014/main" id="{EB4E91B9-0A97-3141-A66A-E824B4E354B8}"/>
                </a:ext>
              </a:extLst>
            </p:cNvPr>
            <p:cNvSpPr/>
            <p:nvPr/>
          </p:nvSpPr>
          <p:spPr>
            <a:xfrm>
              <a:off x="7188676" y="8629948"/>
              <a:ext cx="678881" cy="952722"/>
            </a:xfrm>
            <a:custGeom>
              <a:avLst/>
              <a:gdLst>
                <a:gd name="connsiteX0" fmla="*/ 0 w 678881"/>
                <a:gd name="connsiteY0" fmla="*/ 83 h 952722"/>
                <a:gd name="connsiteX1" fmla="*/ 409956 w 678881"/>
                <a:gd name="connsiteY1" fmla="*/ 464 h 952722"/>
                <a:gd name="connsiteX2" fmla="*/ 622554 w 678881"/>
                <a:gd name="connsiteY2" fmla="*/ 130575 h 952722"/>
                <a:gd name="connsiteX3" fmla="*/ 607886 w 678881"/>
                <a:gd name="connsiteY3" fmla="*/ 378130 h 952722"/>
                <a:gd name="connsiteX4" fmla="*/ 486347 w 678881"/>
                <a:gd name="connsiteY4" fmla="*/ 452711 h 952722"/>
                <a:gd name="connsiteX5" fmla="*/ 662940 w 678881"/>
                <a:gd name="connsiteY5" fmla="*/ 585394 h 952722"/>
                <a:gd name="connsiteX6" fmla="*/ 543878 w 678881"/>
                <a:gd name="connsiteY6" fmla="*/ 925246 h 952722"/>
                <a:gd name="connsiteX7" fmla="*/ 428530 w 678881"/>
                <a:gd name="connsiteY7" fmla="*/ 952678 h 952722"/>
                <a:gd name="connsiteX8" fmla="*/ 0 w 678881"/>
                <a:gd name="connsiteY8" fmla="*/ 952583 h 952722"/>
                <a:gd name="connsiteX9" fmla="*/ 0 w 678881"/>
                <a:gd name="connsiteY9" fmla="*/ 83 h 952722"/>
                <a:gd name="connsiteX10" fmla="*/ 115062 w 678881"/>
                <a:gd name="connsiteY10" fmla="*/ 101238 h 952722"/>
                <a:gd name="connsiteX11" fmla="*/ 115062 w 678881"/>
                <a:gd name="connsiteY11" fmla="*/ 412039 h 952722"/>
                <a:gd name="connsiteX12" fmla="*/ 400050 w 678881"/>
                <a:gd name="connsiteY12" fmla="*/ 410896 h 952722"/>
                <a:gd name="connsiteX13" fmla="*/ 519398 w 678881"/>
                <a:gd name="connsiteY13" fmla="*/ 313646 h 952722"/>
                <a:gd name="connsiteX14" fmla="*/ 513969 w 678881"/>
                <a:gd name="connsiteY14" fmla="*/ 180391 h 952722"/>
                <a:gd name="connsiteX15" fmla="*/ 389858 w 678881"/>
                <a:gd name="connsiteY15" fmla="*/ 101715 h 952722"/>
                <a:gd name="connsiteX16" fmla="*/ 115062 w 678881"/>
                <a:gd name="connsiteY16" fmla="*/ 101238 h 952722"/>
                <a:gd name="connsiteX17" fmla="*/ 115062 w 678881"/>
                <a:gd name="connsiteY17" fmla="*/ 510432 h 952722"/>
                <a:gd name="connsiteX18" fmla="*/ 115062 w 678881"/>
                <a:gd name="connsiteY18" fmla="*/ 851427 h 952722"/>
                <a:gd name="connsiteX19" fmla="*/ 400526 w 678881"/>
                <a:gd name="connsiteY19" fmla="*/ 851332 h 952722"/>
                <a:gd name="connsiteX20" fmla="*/ 520637 w 678881"/>
                <a:gd name="connsiteY20" fmla="*/ 805993 h 952722"/>
                <a:gd name="connsiteX21" fmla="*/ 555498 w 678881"/>
                <a:gd name="connsiteY21" fmla="*/ 705314 h 952722"/>
                <a:gd name="connsiteX22" fmla="*/ 529304 w 678881"/>
                <a:gd name="connsiteY22" fmla="*/ 566535 h 952722"/>
                <a:gd name="connsiteX23" fmla="*/ 400241 w 678881"/>
                <a:gd name="connsiteY23" fmla="*/ 510623 h 952722"/>
                <a:gd name="connsiteX24" fmla="*/ 115062 w 678881"/>
                <a:gd name="connsiteY24" fmla="*/ 510432 h 952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8881" h="952722">
                  <a:moveTo>
                    <a:pt x="0" y="83"/>
                  </a:moveTo>
                  <a:cubicBezTo>
                    <a:pt x="136684" y="369"/>
                    <a:pt x="273272" y="-489"/>
                    <a:pt x="409956" y="464"/>
                  </a:cubicBezTo>
                  <a:cubicBezTo>
                    <a:pt x="497015" y="1893"/>
                    <a:pt x="586931" y="48279"/>
                    <a:pt x="622554" y="130575"/>
                  </a:cubicBezTo>
                  <a:cubicBezTo>
                    <a:pt x="655701" y="208490"/>
                    <a:pt x="657416" y="306693"/>
                    <a:pt x="607886" y="378130"/>
                  </a:cubicBezTo>
                  <a:cubicBezTo>
                    <a:pt x="580073" y="419850"/>
                    <a:pt x="532067" y="438328"/>
                    <a:pt x="486347" y="452711"/>
                  </a:cubicBezTo>
                  <a:cubicBezTo>
                    <a:pt x="563213" y="461950"/>
                    <a:pt x="636365" y="510909"/>
                    <a:pt x="662940" y="585394"/>
                  </a:cubicBezTo>
                  <a:cubicBezTo>
                    <a:pt x="705898" y="706743"/>
                    <a:pt x="660654" y="862191"/>
                    <a:pt x="543878" y="925246"/>
                  </a:cubicBezTo>
                  <a:cubicBezTo>
                    <a:pt x="508730" y="944391"/>
                    <a:pt x="468440" y="953440"/>
                    <a:pt x="428530" y="952678"/>
                  </a:cubicBezTo>
                  <a:cubicBezTo>
                    <a:pt x="285655" y="952488"/>
                    <a:pt x="142875" y="952583"/>
                    <a:pt x="0" y="952583"/>
                  </a:cubicBezTo>
                  <a:lnTo>
                    <a:pt x="0" y="83"/>
                  </a:lnTo>
                  <a:moveTo>
                    <a:pt x="115062" y="101238"/>
                  </a:moveTo>
                  <a:lnTo>
                    <a:pt x="115062" y="412039"/>
                  </a:lnTo>
                  <a:cubicBezTo>
                    <a:pt x="210026" y="411277"/>
                    <a:pt x="305086" y="413658"/>
                    <a:pt x="400050" y="410896"/>
                  </a:cubicBezTo>
                  <a:cubicBezTo>
                    <a:pt x="455486" y="408896"/>
                    <a:pt x="510540" y="370605"/>
                    <a:pt x="519398" y="313646"/>
                  </a:cubicBezTo>
                  <a:cubicBezTo>
                    <a:pt x="523875" y="269640"/>
                    <a:pt x="527495" y="223158"/>
                    <a:pt x="513969" y="180391"/>
                  </a:cubicBezTo>
                  <a:cubicBezTo>
                    <a:pt x="496919" y="128956"/>
                    <a:pt x="441293" y="102000"/>
                    <a:pt x="389858" y="101715"/>
                  </a:cubicBezTo>
                  <a:cubicBezTo>
                    <a:pt x="298228" y="100572"/>
                    <a:pt x="206693" y="101715"/>
                    <a:pt x="115062" y="101238"/>
                  </a:cubicBezTo>
                  <a:moveTo>
                    <a:pt x="115062" y="510432"/>
                  </a:moveTo>
                  <a:lnTo>
                    <a:pt x="115062" y="851427"/>
                  </a:lnTo>
                  <a:cubicBezTo>
                    <a:pt x="210217" y="851332"/>
                    <a:pt x="305372" y="851523"/>
                    <a:pt x="400526" y="851332"/>
                  </a:cubicBezTo>
                  <a:cubicBezTo>
                    <a:pt x="443960" y="851046"/>
                    <a:pt x="490538" y="839235"/>
                    <a:pt x="520637" y="805993"/>
                  </a:cubicBezTo>
                  <a:cubicBezTo>
                    <a:pt x="545878" y="779133"/>
                    <a:pt x="555212" y="741318"/>
                    <a:pt x="555498" y="705314"/>
                  </a:cubicBezTo>
                  <a:cubicBezTo>
                    <a:pt x="556355" y="658356"/>
                    <a:pt x="558832" y="606349"/>
                    <a:pt x="529304" y="566535"/>
                  </a:cubicBezTo>
                  <a:cubicBezTo>
                    <a:pt x="500348" y="525768"/>
                    <a:pt x="448056" y="510718"/>
                    <a:pt x="400241" y="510623"/>
                  </a:cubicBezTo>
                  <a:cubicBezTo>
                    <a:pt x="305181" y="510147"/>
                    <a:pt x="210122" y="510623"/>
                    <a:pt x="115062" y="510432"/>
                  </a:cubicBezTo>
                  <a:close/>
                </a:path>
              </a:pathLst>
            </a:custGeom>
            <a:solidFill>
              <a:srgbClr val="000000"/>
            </a:solidFill>
            <a:ln w="9525" cap="flat">
              <a:noFill/>
              <a:prstDash val="solid"/>
              <a:miter/>
            </a:ln>
          </p:spPr>
          <p:txBody>
            <a:bodyPr rtlCol="0" anchor="ctr"/>
            <a:lstStyle/>
            <a:p>
              <a:endParaRPr lang="en-US" sz="900"/>
            </a:p>
          </p:txBody>
        </p:sp>
        <p:sp>
          <p:nvSpPr>
            <p:cNvPr id="31" name="Freeform: Shape 30">
              <a:extLst>
                <a:ext uri="{FF2B5EF4-FFF2-40B4-BE49-F238E27FC236}">
                  <a16:creationId xmlns:a16="http://schemas.microsoft.com/office/drawing/2014/main" id="{DAC6552B-CC29-F330-6668-3C653EA3A00C}"/>
                </a:ext>
              </a:extLst>
            </p:cNvPr>
            <p:cNvSpPr/>
            <p:nvPr/>
          </p:nvSpPr>
          <p:spPr>
            <a:xfrm>
              <a:off x="8079644" y="8629935"/>
              <a:ext cx="854868" cy="952499"/>
            </a:xfrm>
            <a:custGeom>
              <a:avLst/>
              <a:gdLst>
                <a:gd name="connsiteX0" fmla="*/ 0 w 854868"/>
                <a:gd name="connsiteY0" fmla="*/ 95 h 952499"/>
                <a:gd name="connsiteX1" fmla="*/ 153734 w 854868"/>
                <a:gd name="connsiteY1" fmla="*/ 95 h 952499"/>
                <a:gd name="connsiteX2" fmla="*/ 430530 w 854868"/>
                <a:gd name="connsiteY2" fmla="*/ 516827 h 952499"/>
                <a:gd name="connsiteX3" fmla="*/ 706946 w 854868"/>
                <a:gd name="connsiteY3" fmla="*/ 0 h 952499"/>
                <a:gd name="connsiteX4" fmla="*/ 854869 w 854868"/>
                <a:gd name="connsiteY4" fmla="*/ 0 h 952499"/>
                <a:gd name="connsiteX5" fmla="*/ 854869 w 854868"/>
                <a:gd name="connsiteY5" fmla="*/ 952500 h 952499"/>
                <a:gd name="connsiteX6" fmla="*/ 742569 w 854868"/>
                <a:gd name="connsiteY6" fmla="*/ 952500 h 952499"/>
                <a:gd name="connsiteX7" fmla="*/ 741521 w 854868"/>
                <a:gd name="connsiteY7" fmla="*/ 146780 h 952499"/>
                <a:gd name="connsiteX8" fmla="*/ 707422 w 854868"/>
                <a:gd name="connsiteY8" fmla="*/ 207074 h 952499"/>
                <a:gd name="connsiteX9" fmla="*/ 427577 w 854868"/>
                <a:gd name="connsiteY9" fmla="*/ 725138 h 952499"/>
                <a:gd name="connsiteX10" fmla="*/ 193262 w 854868"/>
                <a:gd name="connsiteY10" fmla="*/ 297752 h 952499"/>
                <a:gd name="connsiteX11" fmla="*/ 113348 w 854868"/>
                <a:gd name="connsiteY11" fmla="*/ 146209 h 952499"/>
                <a:gd name="connsiteX12" fmla="*/ 112300 w 854868"/>
                <a:gd name="connsiteY12" fmla="*/ 952500 h 952499"/>
                <a:gd name="connsiteX13" fmla="*/ 0 w 854868"/>
                <a:gd name="connsiteY13" fmla="*/ 952500 h 952499"/>
                <a:gd name="connsiteX14" fmla="*/ 0 w 854868"/>
                <a:gd name="connsiteY14" fmla="*/ 95 h 952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54868" h="952499">
                  <a:moveTo>
                    <a:pt x="0" y="95"/>
                  </a:moveTo>
                  <a:cubicBezTo>
                    <a:pt x="51245" y="95"/>
                    <a:pt x="102489" y="95"/>
                    <a:pt x="153734" y="95"/>
                  </a:cubicBezTo>
                  <a:cubicBezTo>
                    <a:pt x="246221" y="172212"/>
                    <a:pt x="335090" y="346424"/>
                    <a:pt x="430530" y="516827"/>
                  </a:cubicBezTo>
                  <a:cubicBezTo>
                    <a:pt x="522923" y="344615"/>
                    <a:pt x="614744" y="172212"/>
                    <a:pt x="706946" y="0"/>
                  </a:cubicBezTo>
                  <a:lnTo>
                    <a:pt x="854869" y="0"/>
                  </a:lnTo>
                  <a:lnTo>
                    <a:pt x="854869" y="952500"/>
                  </a:lnTo>
                  <a:lnTo>
                    <a:pt x="742569" y="952500"/>
                  </a:lnTo>
                  <a:cubicBezTo>
                    <a:pt x="741902" y="683895"/>
                    <a:pt x="743998" y="415290"/>
                    <a:pt x="741521" y="146780"/>
                  </a:cubicBezTo>
                  <a:cubicBezTo>
                    <a:pt x="726948" y="164973"/>
                    <a:pt x="717613" y="186404"/>
                    <a:pt x="707422" y="207074"/>
                  </a:cubicBezTo>
                  <a:cubicBezTo>
                    <a:pt x="619982" y="382810"/>
                    <a:pt x="520541" y="552260"/>
                    <a:pt x="427577" y="725138"/>
                  </a:cubicBezTo>
                  <a:cubicBezTo>
                    <a:pt x="349472" y="582644"/>
                    <a:pt x="270510" y="440722"/>
                    <a:pt x="193262" y="297752"/>
                  </a:cubicBezTo>
                  <a:cubicBezTo>
                    <a:pt x="165830" y="247650"/>
                    <a:pt x="145161" y="193739"/>
                    <a:pt x="113348" y="146209"/>
                  </a:cubicBezTo>
                  <a:cubicBezTo>
                    <a:pt x="110966" y="415004"/>
                    <a:pt x="112967" y="683705"/>
                    <a:pt x="112300" y="952500"/>
                  </a:cubicBezTo>
                  <a:lnTo>
                    <a:pt x="0" y="952500"/>
                  </a:lnTo>
                  <a:lnTo>
                    <a:pt x="0" y="95"/>
                  </a:lnTo>
                  <a:close/>
                </a:path>
              </a:pathLst>
            </a:custGeom>
            <a:solidFill>
              <a:srgbClr val="000000"/>
            </a:solidFill>
            <a:ln w="9525" cap="flat">
              <a:noFill/>
              <a:prstDash val="solid"/>
              <a:miter/>
            </a:ln>
          </p:spPr>
          <p:txBody>
            <a:bodyPr rtlCol="0" anchor="ctr"/>
            <a:lstStyle/>
            <a:p>
              <a:endParaRPr lang="en-US" sz="900"/>
            </a:p>
          </p:txBody>
        </p:sp>
        <p:sp>
          <p:nvSpPr>
            <p:cNvPr id="32" name="Freeform: Shape 31">
              <a:extLst>
                <a:ext uri="{FF2B5EF4-FFF2-40B4-BE49-F238E27FC236}">
                  <a16:creationId xmlns:a16="http://schemas.microsoft.com/office/drawing/2014/main" id="{19266CF2-A3CF-C8D9-7BB9-06D2E42E9729}"/>
                </a:ext>
              </a:extLst>
            </p:cNvPr>
            <p:cNvSpPr/>
            <p:nvPr/>
          </p:nvSpPr>
          <p:spPr>
            <a:xfrm>
              <a:off x="9365138" y="8630030"/>
              <a:ext cx="723900" cy="952500"/>
            </a:xfrm>
            <a:custGeom>
              <a:avLst/>
              <a:gdLst>
                <a:gd name="connsiteX0" fmla="*/ 0 w 723900"/>
                <a:gd name="connsiteY0" fmla="*/ 0 h 952500"/>
                <a:gd name="connsiteX1" fmla="*/ 723900 w 723900"/>
                <a:gd name="connsiteY1" fmla="*/ 0 h 952500"/>
                <a:gd name="connsiteX2" fmla="*/ 723900 w 723900"/>
                <a:gd name="connsiteY2" fmla="*/ 184595 h 952500"/>
                <a:gd name="connsiteX3" fmla="*/ 465963 w 723900"/>
                <a:gd name="connsiteY3" fmla="*/ 184499 h 952500"/>
                <a:gd name="connsiteX4" fmla="*/ 465963 w 723900"/>
                <a:gd name="connsiteY4" fmla="*/ 952500 h 952500"/>
                <a:gd name="connsiteX5" fmla="*/ 257937 w 723900"/>
                <a:gd name="connsiteY5" fmla="*/ 952500 h 952500"/>
                <a:gd name="connsiteX6" fmla="*/ 257937 w 723900"/>
                <a:gd name="connsiteY6" fmla="*/ 184595 h 952500"/>
                <a:gd name="connsiteX7" fmla="*/ 0 w 723900"/>
                <a:gd name="connsiteY7" fmla="*/ 184595 h 952500"/>
                <a:gd name="connsiteX8" fmla="*/ 0 w 723900"/>
                <a:gd name="connsiteY8" fmla="*/ 0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3900" h="952500">
                  <a:moveTo>
                    <a:pt x="0" y="0"/>
                  </a:moveTo>
                  <a:lnTo>
                    <a:pt x="723900" y="0"/>
                  </a:lnTo>
                  <a:lnTo>
                    <a:pt x="723900" y="184595"/>
                  </a:lnTo>
                  <a:cubicBezTo>
                    <a:pt x="637889" y="184595"/>
                    <a:pt x="551879" y="184595"/>
                    <a:pt x="465963" y="184499"/>
                  </a:cubicBezTo>
                  <a:cubicBezTo>
                    <a:pt x="465868" y="440531"/>
                    <a:pt x="465963" y="696468"/>
                    <a:pt x="465963" y="952500"/>
                  </a:cubicBezTo>
                  <a:lnTo>
                    <a:pt x="257937" y="952500"/>
                  </a:lnTo>
                  <a:lnTo>
                    <a:pt x="257937" y="184595"/>
                  </a:lnTo>
                  <a:cubicBezTo>
                    <a:pt x="172021" y="184499"/>
                    <a:pt x="86011" y="184595"/>
                    <a:pt x="0" y="184595"/>
                  </a:cubicBezTo>
                  <a:lnTo>
                    <a:pt x="0" y="0"/>
                  </a:lnTo>
                  <a:close/>
                </a:path>
              </a:pathLst>
            </a:custGeom>
            <a:solidFill>
              <a:srgbClr val="000000"/>
            </a:solidFill>
            <a:ln w="9525" cap="flat">
              <a:noFill/>
              <a:prstDash val="solid"/>
              <a:miter/>
            </a:ln>
          </p:spPr>
          <p:txBody>
            <a:bodyPr rtlCol="0" anchor="ctr"/>
            <a:lstStyle/>
            <a:p>
              <a:endParaRPr lang="en-US" sz="900"/>
            </a:p>
          </p:txBody>
        </p:sp>
        <p:sp>
          <p:nvSpPr>
            <p:cNvPr id="33" name="Freeform: Shape 32">
              <a:extLst>
                <a:ext uri="{FF2B5EF4-FFF2-40B4-BE49-F238E27FC236}">
                  <a16:creationId xmlns:a16="http://schemas.microsoft.com/office/drawing/2014/main" id="{F944B8FF-4796-89E0-ECF1-D2DAE08721F7}"/>
                </a:ext>
              </a:extLst>
            </p:cNvPr>
            <p:cNvSpPr/>
            <p:nvPr/>
          </p:nvSpPr>
          <p:spPr>
            <a:xfrm>
              <a:off x="12344082" y="8630030"/>
              <a:ext cx="875252" cy="952622"/>
            </a:xfrm>
            <a:custGeom>
              <a:avLst/>
              <a:gdLst>
                <a:gd name="connsiteX0" fmla="*/ 14954 w 875252"/>
                <a:gd name="connsiteY0" fmla="*/ 0 h 952622"/>
                <a:gd name="connsiteX1" fmla="*/ 257080 w 875252"/>
                <a:gd name="connsiteY1" fmla="*/ 0 h 952622"/>
                <a:gd name="connsiteX2" fmla="*/ 444627 w 875252"/>
                <a:gd name="connsiteY2" fmla="*/ 324612 h 952622"/>
                <a:gd name="connsiteX3" fmla="*/ 634555 w 875252"/>
                <a:gd name="connsiteY3" fmla="*/ 95 h 952622"/>
                <a:gd name="connsiteX4" fmla="*/ 858869 w 875252"/>
                <a:gd name="connsiteY4" fmla="*/ 95 h 952622"/>
                <a:gd name="connsiteX5" fmla="*/ 565499 w 875252"/>
                <a:gd name="connsiteY5" fmla="*/ 464058 h 952622"/>
                <a:gd name="connsiteX6" fmla="*/ 875252 w 875252"/>
                <a:gd name="connsiteY6" fmla="*/ 952595 h 952622"/>
                <a:gd name="connsiteX7" fmla="*/ 634555 w 875252"/>
                <a:gd name="connsiteY7" fmla="*/ 952595 h 952622"/>
                <a:gd name="connsiteX8" fmla="*/ 426625 w 875252"/>
                <a:gd name="connsiteY8" fmla="*/ 599504 h 952622"/>
                <a:gd name="connsiteX9" fmla="*/ 224314 w 875252"/>
                <a:gd name="connsiteY9" fmla="*/ 952595 h 952622"/>
                <a:gd name="connsiteX10" fmla="*/ 0 w 875252"/>
                <a:gd name="connsiteY10" fmla="*/ 952595 h 952622"/>
                <a:gd name="connsiteX11" fmla="*/ 305562 w 875252"/>
                <a:gd name="connsiteY11" fmla="*/ 459867 h 952622"/>
                <a:gd name="connsiteX12" fmla="*/ 14954 w 875252"/>
                <a:gd name="connsiteY12" fmla="*/ 95 h 952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75252" h="952622">
                  <a:moveTo>
                    <a:pt x="14954" y="0"/>
                  </a:moveTo>
                  <a:cubicBezTo>
                    <a:pt x="95631" y="0"/>
                    <a:pt x="176308" y="0"/>
                    <a:pt x="257080" y="0"/>
                  </a:cubicBezTo>
                  <a:cubicBezTo>
                    <a:pt x="319754" y="108109"/>
                    <a:pt x="381381" y="216789"/>
                    <a:pt x="444627" y="324612"/>
                  </a:cubicBezTo>
                  <a:cubicBezTo>
                    <a:pt x="508064" y="216503"/>
                    <a:pt x="571119" y="108204"/>
                    <a:pt x="634555" y="95"/>
                  </a:cubicBezTo>
                  <a:lnTo>
                    <a:pt x="858869" y="95"/>
                  </a:lnTo>
                  <a:cubicBezTo>
                    <a:pt x="761143" y="154781"/>
                    <a:pt x="663321" y="309372"/>
                    <a:pt x="565499" y="464058"/>
                  </a:cubicBezTo>
                  <a:cubicBezTo>
                    <a:pt x="668750" y="626840"/>
                    <a:pt x="772001" y="789718"/>
                    <a:pt x="875252" y="952595"/>
                  </a:cubicBezTo>
                  <a:cubicBezTo>
                    <a:pt x="795052" y="952691"/>
                    <a:pt x="714756" y="952500"/>
                    <a:pt x="634555" y="952595"/>
                  </a:cubicBezTo>
                  <a:cubicBezTo>
                    <a:pt x="565118" y="834962"/>
                    <a:pt x="496538" y="716852"/>
                    <a:pt x="426625" y="599504"/>
                  </a:cubicBezTo>
                  <a:cubicBezTo>
                    <a:pt x="358807" y="716947"/>
                    <a:pt x="291846" y="834962"/>
                    <a:pt x="224314" y="952595"/>
                  </a:cubicBezTo>
                  <a:lnTo>
                    <a:pt x="0" y="952595"/>
                  </a:lnTo>
                  <a:cubicBezTo>
                    <a:pt x="101822" y="788289"/>
                    <a:pt x="203740" y="624173"/>
                    <a:pt x="305562" y="459867"/>
                  </a:cubicBezTo>
                  <a:cubicBezTo>
                    <a:pt x="208693" y="306705"/>
                    <a:pt x="111823" y="153353"/>
                    <a:pt x="14954" y="95"/>
                  </a:cubicBezTo>
                  <a:close/>
                </a:path>
              </a:pathLst>
            </a:custGeom>
            <a:solidFill>
              <a:srgbClr val="000000"/>
            </a:solidFill>
            <a:ln w="9525" cap="flat">
              <a:noFill/>
              <a:prstDash val="solid"/>
              <a:miter/>
            </a:ln>
          </p:spPr>
          <p:txBody>
            <a:bodyPr rtlCol="0" anchor="ctr"/>
            <a:lstStyle/>
            <a:p>
              <a:endParaRPr lang="en-US" sz="900"/>
            </a:p>
          </p:txBody>
        </p:sp>
        <p:sp>
          <p:nvSpPr>
            <p:cNvPr id="34" name="Freeform: Shape 33">
              <a:extLst>
                <a:ext uri="{FF2B5EF4-FFF2-40B4-BE49-F238E27FC236}">
                  <a16:creationId xmlns:a16="http://schemas.microsoft.com/office/drawing/2014/main" id="{42DF0011-F527-8047-800F-7E155446FCD6}"/>
                </a:ext>
              </a:extLst>
            </p:cNvPr>
            <p:cNvSpPr/>
            <p:nvPr/>
          </p:nvSpPr>
          <p:spPr>
            <a:xfrm>
              <a:off x="16351421" y="8727139"/>
              <a:ext cx="728351" cy="1144977"/>
            </a:xfrm>
            <a:custGeom>
              <a:avLst/>
              <a:gdLst>
                <a:gd name="connsiteX0" fmla="*/ 509416 w 728351"/>
                <a:gd name="connsiteY0" fmla="*/ 14429 h 1144977"/>
                <a:gd name="connsiteX1" fmla="*/ 685629 w 728351"/>
                <a:gd name="connsiteY1" fmla="*/ 904 h 1144977"/>
                <a:gd name="connsiteX2" fmla="*/ 685724 w 728351"/>
                <a:gd name="connsiteY2" fmla="*/ 151304 h 1144977"/>
                <a:gd name="connsiteX3" fmla="*/ 522275 w 728351"/>
                <a:gd name="connsiteY3" fmla="*/ 152542 h 1144977"/>
                <a:gd name="connsiteX4" fmla="*/ 628097 w 728351"/>
                <a:gd name="connsiteY4" fmla="*/ 257031 h 1144977"/>
                <a:gd name="connsiteX5" fmla="*/ 595141 w 728351"/>
                <a:gd name="connsiteY5" fmla="*/ 517730 h 1144977"/>
                <a:gd name="connsiteX6" fmla="*/ 424834 w 728351"/>
                <a:gd name="connsiteY6" fmla="*/ 596312 h 1144977"/>
                <a:gd name="connsiteX7" fmla="*/ 215093 w 728351"/>
                <a:gd name="connsiteY7" fmla="*/ 586406 h 1144977"/>
                <a:gd name="connsiteX8" fmla="*/ 207664 w 728351"/>
                <a:gd name="connsiteY8" fmla="*/ 685561 h 1144977"/>
                <a:gd name="connsiteX9" fmla="*/ 352254 w 728351"/>
                <a:gd name="connsiteY9" fmla="*/ 698229 h 1144977"/>
                <a:gd name="connsiteX10" fmla="*/ 619430 w 728351"/>
                <a:gd name="connsiteY10" fmla="*/ 722327 h 1144977"/>
                <a:gd name="connsiteX11" fmla="*/ 722490 w 728351"/>
                <a:gd name="connsiteY11" fmla="*/ 848248 h 1144977"/>
                <a:gd name="connsiteX12" fmla="*/ 671818 w 728351"/>
                <a:gd name="connsiteY12" fmla="*/ 1060560 h 1144977"/>
                <a:gd name="connsiteX13" fmla="*/ 458933 w 728351"/>
                <a:gd name="connsiteY13" fmla="*/ 1139237 h 1144977"/>
                <a:gd name="connsiteX14" fmla="*/ 192615 w 728351"/>
                <a:gd name="connsiteY14" fmla="*/ 1135141 h 1144977"/>
                <a:gd name="connsiteX15" fmla="*/ 44406 w 728351"/>
                <a:gd name="connsiteY15" fmla="*/ 1078372 h 1144977"/>
                <a:gd name="connsiteX16" fmla="*/ 53168 w 728351"/>
                <a:gd name="connsiteY16" fmla="*/ 870060 h 1144977"/>
                <a:gd name="connsiteX17" fmla="*/ 132893 w 728351"/>
                <a:gd name="connsiteY17" fmla="*/ 840533 h 1144977"/>
                <a:gd name="connsiteX18" fmla="*/ 133845 w 728351"/>
                <a:gd name="connsiteY18" fmla="*/ 828817 h 1144977"/>
                <a:gd name="connsiteX19" fmla="*/ 74886 w 728351"/>
                <a:gd name="connsiteY19" fmla="*/ 800909 h 1144977"/>
                <a:gd name="connsiteX20" fmla="*/ 62407 w 728351"/>
                <a:gd name="connsiteY20" fmla="*/ 623458 h 1144977"/>
                <a:gd name="connsiteX21" fmla="*/ 167373 w 728351"/>
                <a:gd name="connsiteY21" fmla="*/ 571451 h 1144977"/>
                <a:gd name="connsiteX22" fmla="*/ 48883 w 728351"/>
                <a:gd name="connsiteY22" fmla="*/ 446293 h 1144977"/>
                <a:gd name="connsiteX23" fmla="*/ 89078 w 728351"/>
                <a:gd name="connsiteY23" fmla="*/ 211311 h 1144977"/>
                <a:gd name="connsiteX24" fmla="*/ 259099 w 728351"/>
                <a:gd name="connsiteY24" fmla="*/ 128444 h 1144977"/>
                <a:gd name="connsiteX25" fmla="*/ 463982 w 728351"/>
                <a:gd name="connsiteY25" fmla="*/ 135397 h 1144977"/>
                <a:gd name="connsiteX26" fmla="*/ 509416 w 728351"/>
                <a:gd name="connsiteY26" fmla="*/ 14429 h 1144977"/>
                <a:gd name="connsiteX27" fmla="*/ 299866 w 728351"/>
                <a:gd name="connsiteY27" fmla="*/ 260841 h 1144977"/>
                <a:gd name="connsiteX28" fmla="*/ 226714 w 728351"/>
                <a:gd name="connsiteY28" fmla="*/ 331612 h 1144977"/>
                <a:gd name="connsiteX29" fmla="*/ 251860 w 728351"/>
                <a:gd name="connsiteY29" fmla="*/ 441245 h 1144977"/>
                <a:gd name="connsiteX30" fmla="*/ 381210 w 728351"/>
                <a:gd name="connsiteY30" fmla="*/ 465724 h 1144977"/>
                <a:gd name="connsiteX31" fmla="*/ 458838 w 728351"/>
                <a:gd name="connsiteY31" fmla="*/ 397906 h 1144977"/>
                <a:gd name="connsiteX32" fmla="*/ 431216 w 728351"/>
                <a:gd name="connsiteY32" fmla="*/ 281320 h 1144977"/>
                <a:gd name="connsiteX33" fmla="*/ 299866 w 728351"/>
                <a:gd name="connsiteY33" fmla="*/ 260841 h 1144977"/>
                <a:gd name="connsiteX34" fmla="*/ 182613 w 728351"/>
                <a:gd name="connsiteY34" fmla="*/ 987218 h 1144977"/>
                <a:gd name="connsiteX35" fmla="*/ 343872 w 728351"/>
                <a:gd name="connsiteY35" fmla="*/ 1010554 h 1144977"/>
                <a:gd name="connsiteX36" fmla="*/ 507321 w 728351"/>
                <a:gd name="connsiteY36" fmla="*/ 990170 h 1144977"/>
                <a:gd name="connsiteX37" fmla="*/ 517321 w 728351"/>
                <a:gd name="connsiteY37" fmla="*/ 890158 h 1144977"/>
                <a:gd name="connsiteX38" fmla="*/ 428644 w 728351"/>
                <a:gd name="connsiteY38" fmla="*/ 870536 h 1144977"/>
                <a:gd name="connsiteX39" fmla="*/ 180994 w 728351"/>
                <a:gd name="connsiteY39" fmla="*/ 870155 h 1144977"/>
                <a:gd name="connsiteX40" fmla="*/ 182613 w 728351"/>
                <a:gd name="connsiteY40" fmla="*/ 987218 h 1144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28351" h="1144977">
                  <a:moveTo>
                    <a:pt x="509416" y="14429"/>
                  </a:moveTo>
                  <a:cubicBezTo>
                    <a:pt x="564471" y="-10431"/>
                    <a:pt x="627240" y="5381"/>
                    <a:pt x="685629" y="904"/>
                  </a:cubicBezTo>
                  <a:cubicBezTo>
                    <a:pt x="685629" y="51005"/>
                    <a:pt x="685629" y="101202"/>
                    <a:pt x="685724" y="151304"/>
                  </a:cubicBezTo>
                  <a:cubicBezTo>
                    <a:pt x="631146" y="151875"/>
                    <a:pt x="576663" y="150065"/>
                    <a:pt x="522275" y="152542"/>
                  </a:cubicBezTo>
                  <a:cubicBezTo>
                    <a:pt x="564185" y="179498"/>
                    <a:pt x="607809" y="209311"/>
                    <a:pt x="628097" y="257031"/>
                  </a:cubicBezTo>
                  <a:cubicBezTo>
                    <a:pt x="665245" y="340280"/>
                    <a:pt x="658673" y="448769"/>
                    <a:pt x="595141" y="517730"/>
                  </a:cubicBezTo>
                  <a:cubicBezTo>
                    <a:pt x="551136" y="564879"/>
                    <a:pt x="487223" y="587168"/>
                    <a:pt x="424834" y="596312"/>
                  </a:cubicBezTo>
                  <a:cubicBezTo>
                    <a:pt x="355112" y="605551"/>
                    <a:pt x="283388" y="603932"/>
                    <a:pt x="215093" y="586406"/>
                  </a:cubicBezTo>
                  <a:cubicBezTo>
                    <a:pt x="183757" y="608123"/>
                    <a:pt x="170231" y="663177"/>
                    <a:pt x="207664" y="685561"/>
                  </a:cubicBezTo>
                  <a:cubicBezTo>
                    <a:pt x="252527" y="707087"/>
                    <a:pt x="304247" y="695181"/>
                    <a:pt x="352254" y="698229"/>
                  </a:cubicBezTo>
                  <a:cubicBezTo>
                    <a:pt x="441312" y="701277"/>
                    <a:pt x="534848" y="687085"/>
                    <a:pt x="619430" y="722327"/>
                  </a:cubicBezTo>
                  <a:cubicBezTo>
                    <a:pt x="672484" y="743282"/>
                    <a:pt x="712108" y="792241"/>
                    <a:pt x="722490" y="848248"/>
                  </a:cubicBezTo>
                  <a:cubicBezTo>
                    <a:pt x="736301" y="921019"/>
                    <a:pt x="728110" y="1006744"/>
                    <a:pt x="671818" y="1060560"/>
                  </a:cubicBezTo>
                  <a:cubicBezTo>
                    <a:pt x="614857" y="1114281"/>
                    <a:pt x="534086" y="1130283"/>
                    <a:pt x="458933" y="1139237"/>
                  </a:cubicBezTo>
                  <a:cubicBezTo>
                    <a:pt x="370447" y="1147428"/>
                    <a:pt x="280721" y="1147524"/>
                    <a:pt x="192615" y="1135141"/>
                  </a:cubicBezTo>
                  <a:cubicBezTo>
                    <a:pt x="140322" y="1126473"/>
                    <a:pt x="85744" y="1113233"/>
                    <a:pt x="44406" y="1078372"/>
                  </a:cubicBezTo>
                  <a:cubicBezTo>
                    <a:pt x="-17698" y="1026937"/>
                    <a:pt x="-14554" y="915209"/>
                    <a:pt x="53168" y="870060"/>
                  </a:cubicBezTo>
                  <a:cubicBezTo>
                    <a:pt x="76505" y="852820"/>
                    <a:pt x="105461" y="847867"/>
                    <a:pt x="132893" y="840533"/>
                  </a:cubicBezTo>
                  <a:cubicBezTo>
                    <a:pt x="133179" y="837580"/>
                    <a:pt x="133560" y="831674"/>
                    <a:pt x="133845" y="828817"/>
                  </a:cubicBezTo>
                  <a:cubicBezTo>
                    <a:pt x="113747" y="820149"/>
                    <a:pt x="91459" y="815577"/>
                    <a:pt x="74886" y="800909"/>
                  </a:cubicBezTo>
                  <a:cubicBezTo>
                    <a:pt x="22880" y="759475"/>
                    <a:pt x="13259" y="670702"/>
                    <a:pt x="62407" y="623458"/>
                  </a:cubicBezTo>
                  <a:cubicBezTo>
                    <a:pt x="90411" y="594597"/>
                    <a:pt x="130036" y="582786"/>
                    <a:pt x="167373" y="571451"/>
                  </a:cubicBezTo>
                  <a:cubicBezTo>
                    <a:pt x="114129" y="546401"/>
                    <a:pt x="66980" y="503538"/>
                    <a:pt x="48883" y="446293"/>
                  </a:cubicBezTo>
                  <a:cubicBezTo>
                    <a:pt x="23546" y="368283"/>
                    <a:pt x="33357" y="274271"/>
                    <a:pt x="89078" y="211311"/>
                  </a:cubicBezTo>
                  <a:cubicBezTo>
                    <a:pt x="132036" y="162448"/>
                    <a:pt x="196043" y="138159"/>
                    <a:pt x="259099" y="128444"/>
                  </a:cubicBezTo>
                  <a:cubicBezTo>
                    <a:pt x="327012" y="118728"/>
                    <a:pt x="396925" y="119871"/>
                    <a:pt x="463982" y="135397"/>
                  </a:cubicBezTo>
                  <a:cubicBezTo>
                    <a:pt x="462457" y="91963"/>
                    <a:pt x="465697" y="37289"/>
                    <a:pt x="509416" y="14429"/>
                  </a:cubicBezTo>
                  <a:moveTo>
                    <a:pt x="299866" y="260841"/>
                  </a:moveTo>
                  <a:cubicBezTo>
                    <a:pt x="264243" y="267223"/>
                    <a:pt x="231476" y="294464"/>
                    <a:pt x="226714" y="331612"/>
                  </a:cubicBezTo>
                  <a:cubicBezTo>
                    <a:pt x="221476" y="368855"/>
                    <a:pt x="221571" y="413908"/>
                    <a:pt x="251860" y="441245"/>
                  </a:cubicBezTo>
                  <a:cubicBezTo>
                    <a:pt x="286817" y="471534"/>
                    <a:pt x="337585" y="472201"/>
                    <a:pt x="381210" y="465724"/>
                  </a:cubicBezTo>
                  <a:cubicBezTo>
                    <a:pt x="417214" y="460676"/>
                    <a:pt x="452171" y="435339"/>
                    <a:pt x="458838" y="397906"/>
                  </a:cubicBezTo>
                  <a:cubicBezTo>
                    <a:pt x="465315" y="358282"/>
                    <a:pt x="465315" y="308942"/>
                    <a:pt x="431216" y="281320"/>
                  </a:cubicBezTo>
                  <a:cubicBezTo>
                    <a:pt x="394164" y="253221"/>
                    <a:pt x="343586" y="252935"/>
                    <a:pt x="299866" y="260841"/>
                  </a:cubicBezTo>
                  <a:moveTo>
                    <a:pt x="182613" y="987218"/>
                  </a:moveTo>
                  <a:cubicBezTo>
                    <a:pt x="230810" y="1015888"/>
                    <a:pt x="289960" y="1009411"/>
                    <a:pt x="343872" y="1010554"/>
                  </a:cubicBezTo>
                  <a:cubicBezTo>
                    <a:pt x="398354" y="1009411"/>
                    <a:pt x="457124" y="1016078"/>
                    <a:pt x="507321" y="990170"/>
                  </a:cubicBezTo>
                  <a:cubicBezTo>
                    <a:pt x="543135" y="972073"/>
                    <a:pt x="550183" y="914256"/>
                    <a:pt x="517321" y="890158"/>
                  </a:cubicBezTo>
                  <a:cubicBezTo>
                    <a:pt x="491509" y="872346"/>
                    <a:pt x="458744" y="871394"/>
                    <a:pt x="428644" y="870536"/>
                  </a:cubicBezTo>
                  <a:cubicBezTo>
                    <a:pt x="346062" y="870155"/>
                    <a:pt x="263481" y="871013"/>
                    <a:pt x="180994" y="870155"/>
                  </a:cubicBezTo>
                  <a:cubicBezTo>
                    <a:pt x="153467" y="902064"/>
                    <a:pt x="142608" y="960548"/>
                    <a:pt x="182613" y="987218"/>
                  </a:cubicBezTo>
                  <a:close/>
                </a:path>
              </a:pathLst>
            </a:custGeom>
            <a:solidFill>
              <a:srgbClr val="000000"/>
            </a:solidFill>
            <a:ln w="9525" cap="flat">
              <a:noFill/>
              <a:prstDash val="solid"/>
              <a:miter/>
            </a:ln>
          </p:spPr>
          <p:txBody>
            <a:bodyPr rtlCol="0" anchor="ctr"/>
            <a:lstStyle/>
            <a:p>
              <a:endParaRPr lang="en-US" sz="900"/>
            </a:p>
          </p:txBody>
        </p:sp>
        <p:sp>
          <p:nvSpPr>
            <p:cNvPr id="35" name="Freeform: Shape 34">
              <a:extLst>
                <a:ext uri="{FF2B5EF4-FFF2-40B4-BE49-F238E27FC236}">
                  <a16:creationId xmlns:a16="http://schemas.microsoft.com/office/drawing/2014/main" id="{53871B77-82D8-9E96-7FDF-19E07894D012}"/>
                </a:ext>
              </a:extLst>
            </p:cNvPr>
            <p:cNvSpPr/>
            <p:nvPr/>
          </p:nvSpPr>
          <p:spPr>
            <a:xfrm>
              <a:off x="10085832" y="8849421"/>
              <a:ext cx="669369" cy="749856"/>
            </a:xfrm>
            <a:custGeom>
              <a:avLst/>
              <a:gdLst>
                <a:gd name="connsiteX0" fmla="*/ 260667 w 669369"/>
                <a:gd name="connsiteY0" fmla="*/ 6542 h 749856"/>
                <a:gd name="connsiteX1" fmla="*/ 515461 w 669369"/>
                <a:gd name="connsiteY1" fmla="*/ 44071 h 749856"/>
                <a:gd name="connsiteX2" fmla="*/ 650335 w 669369"/>
                <a:gd name="connsiteY2" fmla="*/ 226855 h 749856"/>
                <a:gd name="connsiteX3" fmla="*/ 669099 w 669369"/>
                <a:gd name="connsiteY3" fmla="*/ 426404 h 749856"/>
                <a:gd name="connsiteX4" fmla="*/ 208470 w 669369"/>
                <a:gd name="connsiteY4" fmla="*/ 426404 h 749856"/>
                <a:gd name="connsiteX5" fmla="*/ 248666 w 669369"/>
                <a:gd name="connsiteY5" fmla="*/ 550039 h 749856"/>
                <a:gd name="connsiteX6" fmla="*/ 408590 w 669369"/>
                <a:gd name="connsiteY6" fmla="*/ 587472 h 749856"/>
                <a:gd name="connsiteX7" fmla="*/ 543464 w 669369"/>
                <a:gd name="connsiteY7" fmla="*/ 505081 h 749856"/>
                <a:gd name="connsiteX8" fmla="*/ 645001 w 669369"/>
                <a:gd name="connsiteY8" fmla="*/ 630239 h 749856"/>
                <a:gd name="connsiteX9" fmla="*/ 370110 w 669369"/>
                <a:gd name="connsiteY9" fmla="*/ 749111 h 749856"/>
                <a:gd name="connsiteX10" fmla="*/ 115697 w 669369"/>
                <a:gd name="connsiteY10" fmla="*/ 673673 h 749856"/>
                <a:gd name="connsiteX11" fmla="*/ 2444 w 669369"/>
                <a:gd name="connsiteY11" fmla="*/ 428785 h 749856"/>
                <a:gd name="connsiteX12" fmla="*/ 63881 w 669369"/>
                <a:gd name="connsiteY12" fmla="*/ 132082 h 749856"/>
                <a:gd name="connsiteX13" fmla="*/ 260667 w 669369"/>
                <a:gd name="connsiteY13" fmla="*/ 6542 h 749856"/>
                <a:gd name="connsiteX14" fmla="*/ 236283 w 669369"/>
                <a:gd name="connsiteY14" fmla="*/ 199900 h 749856"/>
                <a:gd name="connsiteX15" fmla="*/ 208375 w 669369"/>
                <a:gd name="connsiteY15" fmla="*/ 307246 h 749856"/>
                <a:gd name="connsiteX16" fmla="*/ 460216 w 669369"/>
                <a:gd name="connsiteY16" fmla="*/ 307246 h 749856"/>
                <a:gd name="connsiteX17" fmla="*/ 429450 w 669369"/>
                <a:gd name="connsiteY17" fmla="*/ 188851 h 749856"/>
                <a:gd name="connsiteX18" fmla="*/ 236283 w 669369"/>
                <a:gd name="connsiteY18" fmla="*/ 199900 h 74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9369" h="749856">
                  <a:moveTo>
                    <a:pt x="260667" y="6542"/>
                  </a:moveTo>
                  <a:cubicBezTo>
                    <a:pt x="346297" y="-7650"/>
                    <a:pt x="439261" y="-316"/>
                    <a:pt x="515461" y="44071"/>
                  </a:cubicBezTo>
                  <a:cubicBezTo>
                    <a:pt x="583279" y="83123"/>
                    <a:pt x="629285" y="152465"/>
                    <a:pt x="650335" y="226855"/>
                  </a:cubicBezTo>
                  <a:cubicBezTo>
                    <a:pt x="669956" y="291435"/>
                    <a:pt x="669956" y="359539"/>
                    <a:pt x="669099" y="426404"/>
                  </a:cubicBezTo>
                  <a:cubicBezTo>
                    <a:pt x="515556" y="426404"/>
                    <a:pt x="362013" y="426404"/>
                    <a:pt x="208470" y="426404"/>
                  </a:cubicBezTo>
                  <a:cubicBezTo>
                    <a:pt x="208565" y="470124"/>
                    <a:pt x="215900" y="518035"/>
                    <a:pt x="248666" y="550039"/>
                  </a:cubicBezTo>
                  <a:cubicBezTo>
                    <a:pt x="290004" y="590806"/>
                    <a:pt x="353822" y="596140"/>
                    <a:pt x="408590" y="587472"/>
                  </a:cubicBezTo>
                  <a:cubicBezTo>
                    <a:pt x="462693" y="579090"/>
                    <a:pt x="506603" y="543181"/>
                    <a:pt x="543464" y="505081"/>
                  </a:cubicBezTo>
                  <a:cubicBezTo>
                    <a:pt x="577373" y="546705"/>
                    <a:pt x="610235" y="589282"/>
                    <a:pt x="645001" y="630239"/>
                  </a:cubicBezTo>
                  <a:cubicBezTo>
                    <a:pt x="576993" y="708916"/>
                    <a:pt x="471741" y="744920"/>
                    <a:pt x="370110" y="749111"/>
                  </a:cubicBezTo>
                  <a:cubicBezTo>
                    <a:pt x="280384" y="754159"/>
                    <a:pt x="184848" y="734062"/>
                    <a:pt x="115697" y="673673"/>
                  </a:cubicBezTo>
                  <a:cubicBezTo>
                    <a:pt x="44640" y="613094"/>
                    <a:pt x="10255" y="519844"/>
                    <a:pt x="2444" y="428785"/>
                  </a:cubicBezTo>
                  <a:cubicBezTo>
                    <a:pt x="-6128" y="327249"/>
                    <a:pt x="6350" y="218664"/>
                    <a:pt x="63881" y="132082"/>
                  </a:cubicBezTo>
                  <a:cubicBezTo>
                    <a:pt x="107886" y="64645"/>
                    <a:pt x="181800" y="19972"/>
                    <a:pt x="260667" y="6542"/>
                  </a:cubicBezTo>
                  <a:moveTo>
                    <a:pt x="236283" y="199900"/>
                  </a:moveTo>
                  <a:cubicBezTo>
                    <a:pt x="213804" y="230856"/>
                    <a:pt x="209042" y="270004"/>
                    <a:pt x="208375" y="307246"/>
                  </a:cubicBezTo>
                  <a:lnTo>
                    <a:pt x="460216" y="307246"/>
                  </a:lnTo>
                  <a:cubicBezTo>
                    <a:pt x="459835" y="266289"/>
                    <a:pt x="455930" y="222093"/>
                    <a:pt x="429450" y="188851"/>
                  </a:cubicBezTo>
                  <a:cubicBezTo>
                    <a:pt x="382111" y="129700"/>
                    <a:pt x="278003" y="138273"/>
                    <a:pt x="236283" y="199900"/>
                  </a:cubicBezTo>
                  <a:close/>
                </a:path>
              </a:pathLst>
            </a:custGeom>
            <a:solidFill>
              <a:srgbClr val="000000"/>
            </a:solidFill>
            <a:ln w="9525" cap="flat">
              <a:noFill/>
              <a:prstDash val="solid"/>
              <a:miter/>
            </a:ln>
          </p:spPr>
          <p:txBody>
            <a:bodyPr rtlCol="0" anchor="ctr"/>
            <a:lstStyle/>
            <a:p>
              <a:endParaRPr lang="en-US" sz="900"/>
            </a:p>
          </p:txBody>
        </p:sp>
        <p:sp>
          <p:nvSpPr>
            <p:cNvPr id="36" name="Freeform: Shape 35">
              <a:extLst>
                <a:ext uri="{FF2B5EF4-FFF2-40B4-BE49-F238E27FC236}">
                  <a16:creationId xmlns:a16="http://schemas.microsoft.com/office/drawing/2014/main" id="{08EB9A85-89C6-1EC3-5478-A8F89D67749A}"/>
                </a:ext>
              </a:extLst>
            </p:cNvPr>
            <p:cNvSpPr/>
            <p:nvPr/>
          </p:nvSpPr>
          <p:spPr>
            <a:xfrm>
              <a:off x="10852675" y="8849297"/>
              <a:ext cx="625965" cy="749878"/>
            </a:xfrm>
            <a:custGeom>
              <a:avLst/>
              <a:gdLst>
                <a:gd name="connsiteX0" fmla="*/ 115044 w 625965"/>
                <a:gd name="connsiteY0" fmla="*/ 72770 h 749878"/>
                <a:gd name="connsiteX1" fmla="*/ 437561 w 625965"/>
                <a:gd name="connsiteY1" fmla="*/ 13810 h 749878"/>
                <a:gd name="connsiteX2" fmla="*/ 621870 w 625965"/>
                <a:gd name="connsiteY2" fmla="*/ 187165 h 749878"/>
                <a:gd name="connsiteX3" fmla="*/ 458230 w 625965"/>
                <a:gd name="connsiteY3" fmla="*/ 258221 h 749878"/>
                <a:gd name="connsiteX4" fmla="*/ 411843 w 625965"/>
                <a:gd name="connsiteY4" fmla="*/ 184117 h 749878"/>
                <a:gd name="connsiteX5" fmla="*/ 233916 w 625965"/>
                <a:gd name="connsiteY5" fmla="*/ 212120 h 749878"/>
                <a:gd name="connsiteX6" fmla="*/ 210771 w 625965"/>
                <a:gd name="connsiteY6" fmla="*/ 371093 h 749878"/>
                <a:gd name="connsiteX7" fmla="*/ 230868 w 625965"/>
                <a:gd name="connsiteY7" fmla="*/ 533684 h 749878"/>
                <a:gd name="connsiteX8" fmla="*/ 439371 w 625965"/>
                <a:gd name="connsiteY8" fmla="*/ 540352 h 749878"/>
                <a:gd name="connsiteX9" fmla="*/ 468708 w 625965"/>
                <a:gd name="connsiteY9" fmla="*/ 483392 h 749878"/>
                <a:gd name="connsiteX10" fmla="*/ 625965 w 625965"/>
                <a:gd name="connsiteY10" fmla="*/ 551782 h 749878"/>
                <a:gd name="connsiteX11" fmla="*/ 521095 w 625965"/>
                <a:gd name="connsiteY11" fmla="*/ 697800 h 749878"/>
                <a:gd name="connsiteX12" fmla="*/ 271921 w 625965"/>
                <a:gd name="connsiteY12" fmla="*/ 745425 h 749878"/>
                <a:gd name="connsiteX13" fmla="*/ 70086 w 625965"/>
                <a:gd name="connsiteY13" fmla="*/ 627696 h 749878"/>
                <a:gd name="connsiteX14" fmla="*/ 1316 w 625965"/>
                <a:gd name="connsiteY14" fmla="*/ 333183 h 749878"/>
                <a:gd name="connsiteX15" fmla="*/ 115044 w 625965"/>
                <a:gd name="connsiteY15" fmla="*/ 72770 h 749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5965" h="749878">
                  <a:moveTo>
                    <a:pt x="115044" y="72770"/>
                  </a:moveTo>
                  <a:cubicBezTo>
                    <a:pt x="202770" y="-1430"/>
                    <a:pt x="329357" y="-14479"/>
                    <a:pt x="437561" y="13810"/>
                  </a:cubicBezTo>
                  <a:cubicBezTo>
                    <a:pt x="523476" y="36003"/>
                    <a:pt x="592628" y="104202"/>
                    <a:pt x="621870" y="187165"/>
                  </a:cubicBezTo>
                  <a:cubicBezTo>
                    <a:pt x="567387" y="211073"/>
                    <a:pt x="512713" y="234504"/>
                    <a:pt x="458230" y="258221"/>
                  </a:cubicBezTo>
                  <a:cubicBezTo>
                    <a:pt x="449086" y="230313"/>
                    <a:pt x="436418" y="201738"/>
                    <a:pt x="411843" y="184117"/>
                  </a:cubicBezTo>
                  <a:cubicBezTo>
                    <a:pt x="358503" y="144969"/>
                    <a:pt x="269445" y="152494"/>
                    <a:pt x="233916" y="212120"/>
                  </a:cubicBezTo>
                  <a:cubicBezTo>
                    <a:pt x="204294" y="259650"/>
                    <a:pt x="211342" y="317753"/>
                    <a:pt x="210771" y="371093"/>
                  </a:cubicBezTo>
                  <a:cubicBezTo>
                    <a:pt x="212104" y="425385"/>
                    <a:pt x="203055" y="484059"/>
                    <a:pt x="230868" y="533684"/>
                  </a:cubicBezTo>
                  <a:cubicBezTo>
                    <a:pt x="271350" y="608265"/>
                    <a:pt x="392317" y="607884"/>
                    <a:pt x="439371" y="540352"/>
                  </a:cubicBezTo>
                  <a:cubicBezTo>
                    <a:pt x="452134" y="523112"/>
                    <a:pt x="460135" y="502919"/>
                    <a:pt x="468708" y="483392"/>
                  </a:cubicBezTo>
                  <a:cubicBezTo>
                    <a:pt x="521095" y="506252"/>
                    <a:pt x="573578" y="528922"/>
                    <a:pt x="625965" y="551782"/>
                  </a:cubicBezTo>
                  <a:cubicBezTo>
                    <a:pt x="605106" y="608741"/>
                    <a:pt x="571673" y="662939"/>
                    <a:pt x="521095" y="697800"/>
                  </a:cubicBezTo>
                  <a:cubicBezTo>
                    <a:pt x="449372" y="748092"/>
                    <a:pt x="356598" y="756855"/>
                    <a:pt x="271921" y="745425"/>
                  </a:cubicBezTo>
                  <a:cubicBezTo>
                    <a:pt x="192673" y="734757"/>
                    <a:pt x="116473" y="693800"/>
                    <a:pt x="70086" y="627696"/>
                  </a:cubicBezTo>
                  <a:cubicBezTo>
                    <a:pt x="9603" y="543114"/>
                    <a:pt x="-4876" y="434624"/>
                    <a:pt x="1316" y="333183"/>
                  </a:cubicBezTo>
                  <a:cubicBezTo>
                    <a:pt x="7031" y="237171"/>
                    <a:pt x="39702" y="136778"/>
                    <a:pt x="115044" y="72770"/>
                  </a:cubicBezTo>
                  <a:close/>
                </a:path>
              </a:pathLst>
            </a:custGeom>
            <a:solidFill>
              <a:srgbClr val="000000"/>
            </a:solidFill>
            <a:ln w="9525" cap="flat">
              <a:noFill/>
              <a:prstDash val="solid"/>
              <a:miter/>
            </a:ln>
          </p:spPr>
          <p:txBody>
            <a:bodyPr rtlCol="0" anchor="ctr"/>
            <a:lstStyle/>
            <a:p>
              <a:endParaRPr lang="en-US" sz="900"/>
            </a:p>
          </p:txBody>
        </p:sp>
        <p:sp>
          <p:nvSpPr>
            <p:cNvPr id="37" name="Freeform: Shape 36">
              <a:extLst>
                <a:ext uri="{FF2B5EF4-FFF2-40B4-BE49-F238E27FC236}">
                  <a16:creationId xmlns:a16="http://schemas.microsoft.com/office/drawing/2014/main" id="{7D9AA833-AD83-E679-5D6E-186A8D02B00C}"/>
                </a:ext>
              </a:extLst>
            </p:cNvPr>
            <p:cNvSpPr/>
            <p:nvPr/>
          </p:nvSpPr>
          <p:spPr>
            <a:xfrm>
              <a:off x="13262546" y="8849276"/>
              <a:ext cx="625919" cy="749850"/>
            </a:xfrm>
            <a:custGeom>
              <a:avLst/>
              <a:gdLst>
                <a:gd name="connsiteX0" fmla="*/ 114142 w 625919"/>
                <a:gd name="connsiteY0" fmla="*/ 73457 h 749850"/>
                <a:gd name="connsiteX1" fmla="*/ 437897 w 625919"/>
                <a:gd name="connsiteY1" fmla="*/ 13831 h 749850"/>
                <a:gd name="connsiteX2" fmla="*/ 621920 w 625919"/>
                <a:gd name="connsiteY2" fmla="*/ 187281 h 749850"/>
                <a:gd name="connsiteX3" fmla="*/ 458280 w 625919"/>
                <a:gd name="connsiteY3" fmla="*/ 258242 h 749850"/>
                <a:gd name="connsiteX4" fmla="*/ 399225 w 625919"/>
                <a:gd name="connsiteY4" fmla="*/ 175946 h 749850"/>
                <a:gd name="connsiteX5" fmla="*/ 237776 w 625919"/>
                <a:gd name="connsiteY5" fmla="*/ 206426 h 749850"/>
                <a:gd name="connsiteX6" fmla="*/ 210725 w 625919"/>
                <a:gd name="connsiteY6" fmla="*/ 371209 h 749850"/>
                <a:gd name="connsiteX7" fmla="*/ 231013 w 625919"/>
                <a:gd name="connsiteY7" fmla="*/ 534086 h 749850"/>
                <a:gd name="connsiteX8" fmla="*/ 437992 w 625919"/>
                <a:gd name="connsiteY8" fmla="*/ 542278 h 749850"/>
                <a:gd name="connsiteX9" fmla="*/ 468662 w 625919"/>
                <a:gd name="connsiteY9" fmla="*/ 483413 h 749850"/>
                <a:gd name="connsiteX10" fmla="*/ 625920 w 625919"/>
                <a:gd name="connsiteY10" fmla="*/ 551898 h 749850"/>
                <a:gd name="connsiteX11" fmla="*/ 514573 w 625919"/>
                <a:gd name="connsiteY11" fmla="*/ 702203 h 749850"/>
                <a:gd name="connsiteX12" fmla="*/ 265494 w 625919"/>
                <a:gd name="connsiteY12" fmla="*/ 744398 h 749850"/>
                <a:gd name="connsiteX13" fmla="*/ 66422 w 625919"/>
                <a:gd name="connsiteY13" fmla="*/ 622478 h 749850"/>
                <a:gd name="connsiteX14" fmla="*/ 1937 w 625919"/>
                <a:gd name="connsiteY14" fmla="*/ 324441 h 749850"/>
                <a:gd name="connsiteX15" fmla="*/ 114142 w 625919"/>
                <a:gd name="connsiteY15" fmla="*/ 73457 h 749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5919" h="749850">
                  <a:moveTo>
                    <a:pt x="114142" y="73457"/>
                  </a:moveTo>
                  <a:cubicBezTo>
                    <a:pt x="201962" y="-1409"/>
                    <a:pt x="329121" y="-14554"/>
                    <a:pt x="437897" y="13831"/>
                  </a:cubicBezTo>
                  <a:cubicBezTo>
                    <a:pt x="523717" y="36215"/>
                    <a:pt x="592582" y="104318"/>
                    <a:pt x="621920" y="187281"/>
                  </a:cubicBezTo>
                  <a:cubicBezTo>
                    <a:pt x="567341" y="210998"/>
                    <a:pt x="512763" y="234525"/>
                    <a:pt x="458280" y="258242"/>
                  </a:cubicBezTo>
                  <a:cubicBezTo>
                    <a:pt x="448184" y="225476"/>
                    <a:pt x="430753" y="192425"/>
                    <a:pt x="399225" y="175946"/>
                  </a:cubicBezTo>
                  <a:cubicBezTo>
                    <a:pt x="347599" y="148133"/>
                    <a:pt x="272447" y="155658"/>
                    <a:pt x="237776" y="206426"/>
                  </a:cubicBezTo>
                  <a:cubicBezTo>
                    <a:pt x="203772" y="254432"/>
                    <a:pt x="211202" y="315869"/>
                    <a:pt x="210725" y="371209"/>
                  </a:cubicBezTo>
                  <a:cubicBezTo>
                    <a:pt x="212059" y="425692"/>
                    <a:pt x="203105" y="484366"/>
                    <a:pt x="231013" y="534086"/>
                  </a:cubicBezTo>
                  <a:cubicBezTo>
                    <a:pt x="271304" y="607524"/>
                    <a:pt x="390081" y="607905"/>
                    <a:pt x="437992" y="542278"/>
                  </a:cubicBezTo>
                  <a:cubicBezTo>
                    <a:pt x="451422" y="524561"/>
                    <a:pt x="459899" y="503702"/>
                    <a:pt x="468662" y="483413"/>
                  </a:cubicBezTo>
                  <a:cubicBezTo>
                    <a:pt x="521050" y="506178"/>
                    <a:pt x="573532" y="528943"/>
                    <a:pt x="625920" y="551898"/>
                  </a:cubicBezTo>
                  <a:cubicBezTo>
                    <a:pt x="604298" y="611144"/>
                    <a:pt x="568579" y="667532"/>
                    <a:pt x="514573" y="702203"/>
                  </a:cubicBezTo>
                  <a:cubicBezTo>
                    <a:pt x="441706" y="749732"/>
                    <a:pt x="349600" y="756971"/>
                    <a:pt x="265494" y="744398"/>
                  </a:cubicBezTo>
                  <a:cubicBezTo>
                    <a:pt x="186341" y="732492"/>
                    <a:pt x="111189" y="689534"/>
                    <a:pt x="66422" y="622478"/>
                  </a:cubicBezTo>
                  <a:cubicBezTo>
                    <a:pt x="7366" y="535991"/>
                    <a:pt x="-5587" y="426644"/>
                    <a:pt x="1937" y="324441"/>
                  </a:cubicBezTo>
                  <a:cubicBezTo>
                    <a:pt x="8890" y="231668"/>
                    <a:pt x="41656" y="135465"/>
                    <a:pt x="114142" y="73457"/>
                  </a:cubicBezTo>
                  <a:close/>
                </a:path>
              </a:pathLst>
            </a:custGeom>
            <a:solidFill>
              <a:srgbClr val="000000"/>
            </a:solidFill>
            <a:ln w="9525" cap="flat">
              <a:noFill/>
              <a:prstDash val="solid"/>
              <a:miter/>
            </a:ln>
          </p:spPr>
          <p:txBody>
            <a:bodyPr rtlCol="0" anchor="ctr"/>
            <a:lstStyle/>
            <a:p>
              <a:endParaRPr lang="en-US" sz="900"/>
            </a:p>
          </p:txBody>
        </p:sp>
        <p:sp>
          <p:nvSpPr>
            <p:cNvPr id="38" name="Freeform: Shape 37">
              <a:extLst>
                <a:ext uri="{FF2B5EF4-FFF2-40B4-BE49-F238E27FC236}">
                  <a16:creationId xmlns:a16="http://schemas.microsoft.com/office/drawing/2014/main" id="{5BEADA96-1A80-9EB1-DBCA-0EBF9FDAB801}"/>
                </a:ext>
              </a:extLst>
            </p:cNvPr>
            <p:cNvSpPr/>
            <p:nvPr/>
          </p:nvSpPr>
          <p:spPr>
            <a:xfrm>
              <a:off x="14778191" y="8849530"/>
              <a:ext cx="689710" cy="749617"/>
            </a:xfrm>
            <a:custGeom>
              <a:avLst/>
              <a:gdLst>
                <a:gd name="connsiteX0" fmla="*/ 27247 w 689710"/>
                <a:gd name="connsiteY0" fmla="*/ 137021 h 749617"/>
                <a:gd name="connsiteX1" fmla="*/ 239750 w 689710"/>
                <a:gd name="connsiteY1" fmla="*/ 5290 h 749617"/>
                <a:gd name="connsiteX2" fmla="*/ 522070 w 689710"/>
                <a:gd name="connsiteY2" fmla="*/ 49582 h 749617"/>
                <a:gd name="connsiteX3" fmla="*/ 622654 w 689710"/>
                <a:gd name="connsiteY3" fmla="*/ 247606 h 749617"/>
                <a:gd name="connsiteX4" fmla="*/ 623036 w 689710"/>
                <a:gd name="connsiteY4" fmla="*/ 575838 h 749617"/>
                <a:gd name="connsiteX5" fmla="*/ 689711 w 689710"/>
                <a:gd name="connsiteY5" fmla="*/ 575933 h 749617"/>
                <a:gd name="connsiteX6" fmla="*/ 689711 w 689710"/>
                <a:gd name="connsiteY6" fmla="*/ 733000 h 749617"/>
                <a:gd name="connsiteX7" fmla="*/ 506259 w 689710"/>
                <a:gd name="connsiteY7" fmla="*/ 713950 h 749617"/>
                <a:gd name="connsiteX8" fmla="*/ 438441 w 689710"/>
                <a:gd name="connsiteY8" fmla="*/ 603270 h 749617"/>
                <a:gd name="connsiteX9" fmla="*/ 388625 w 689710"/>
                <a:gd name="connsiteY9" fmla="*/ 690805 h 749617"/>
                <a:gd name="connsiteX10" fmla="*/ 169074 w 689710"/>
                <a:gd name="connsiteY10" fmla="*/ 745288 h 749617"/>
                <a:gd name="connsiteX11" fmla="*/ 15341 w 689710"/>
                <a:gd name="connsiteY11" fmla="*/ 626892 h 749617"/>
                <a:gd name="connsiteX12" fmla="*/ 37153 w 689710"/>
                <a:gd name="connsiteY12" fmla="*/ 416008 h 749617"/>
                <a:gd name="connsiteX13" fmla="*/ 191076 w 689710"/>
                <a:gd name="connsiteY13" fmla="*/ 327521 h 749617"/>
                <a:gd name="connsiteX14" fmla="*/ 420629 w 689710"/>
                <a:gd name="connsiteY14" fmla="*/ 316663 h 749617"/>
                <a:gd name="connsiteX15" fmla="*/ 392911 w 689710"/>
                <a:gd name="connsiteY15" fmla="*/ 189028 h 749617"/>
                <a:gd name="connsiteX16" fmla="*/ 258323 w 689710"/>
                <a:gd name="connsiteY16" fmla="*/ 163310 h 749617"/>
                <a:gd name="connsiteX17" fmla="*/ 147452 w 689710"/>
                <a:gd name="connsiteY17" fmla="*/ 243130 h 749617"/>
                <a:gd name="connsiteX18" fmla="*/ 27247 w 689710"/>
                <a:gd name="connsiteY18" fmla="*/ 137021 h 749617"/>
                <a:gd name="connsiteX19" fmla="*/ 252894 w 689710"/>
                <a:gd name="connsiteY19" fmla="*/ 442583 h 749617"/>
                <a:gd name="connsiteX20" fmla="*/ 260038 w 689710"/>
                <a:gd name="connsiteY20" fmla="*/ 604508 h 749617"/>
                <a:gd name="connsiteX21" fmla="*/ 401579 w 689710"/>
                <a:gd name="connsiteY21" fmla="*/ 571552 h 749617"/>
                <a:gd name="connsiteX22" fmla="*/ 420534 w 689710"/>
                <a:gd name="connsiteY22" fmla="*/ 431725 h 749617"/>
                <a:gd name="connsiteX23" fmla="*/ 252894 w 689710"/>
                <a:gd name="connsiteY23" fmla="*/ 442583 h 749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89710" h="749617">
                  <a:moveTo>
                    <a:pt x="27247" y="137021"/>
                  </a:moveTo>
                  <a:cubicBezTo>
                    <a:pt x="73634" y="63583"/>
                    <a:pt x="153834" y="15387"/>
                    <a:pt x="239750" y="5290"/>
                  </a:cubicBezTo>
                  <a:cubicBezTo>
                    <a:pt x="334618" y="-6044"/>
                    <a:pt x="438632" y="-2520"/>
                    <a:pt x="522070" y="49582"/>
                  </a:cubicBezTo>
                  <a:cubicBezTo>
                    <a:pt x="588936" y="91015"/>
                    <a:pt x="621988" y="171025"/>
                    <a:pt x="622654" y="247606"/>
                  </a:cubicBezTo>
                  <a:cubicBezTo>
                    <a:pt x="623512" y="357049"/>
                    <a:pt x="622654" y="466396"/>
                    <a:pt x="623036" y="575838"/>
                  </a:cubicBezTo>
                  <a:cubicBezTo>
                    <a:pt x="645134" y="575838"/>
                    <a:pt x="667422" y="575838"/>
                    <a:pt x="689711" y="575933"/>
                  </a:cubicBezTo>
                  <a:cubicBezTo>
                    <a:pt x="689615" y="628225"/>
                    <a:pt x="689615" y="680613"/>
                    <a:pt x="689711" y="733000"/>
                  </a:cubicBezTo>
                  <a:cubicBezTo>
                    <a:pt x="628750" y="728238"/>
                    <a:pt x="561790" y="746621"/>
                    <a:pt x="506259" y="713950"/>
                  </a:cubicBezTo>
                  <a:cubicBezTo>
                    <a:pt x="466540" y="690614"/>
                    <a:pt x="448442" y="646037"/>
                    <a:pt x="438441" y="603270"/>
                  </a:cubicBezTo>
                  <a:cubicBezTo>
                    <a:pt x="423963" y="633559"/>
                    <a:pt x="413866" y="667278"/>
                    <a:pt x="388625" y="690805"/>
                  </a:cubicBezTo>
                  <a:cubicBezTo>
                    <a:pt x="331952" y="747193"/>
                    <a:pt x="244702" y="756908"/>
                    <a:pt x="169074" y="745288"/>
                  </a:cubicBezTo>
                  <a:cubicBezTo>
                    <a:pt x="102113" y="735477"/>
                    <a:pt x="38676" y="691948"/>
                    <a:pt x="15341" y="626892"/>
                  </a:cubicBezTo>
                  <a:cubicBezTo>
                    <a:pt x="-9234" y="558693"/>
                    <a:pt x="-5900" y="476302"/>
                    <a:pt x="37153" y="416008"/>
                  </a:cubicBezTo>
                  <a:cubicBezTo>
                    <a:pt x="73062" y="366097"/>
                    <a:pt x="132498" y="339808"/>
                    <a:pt x="191076" y="327521"/>
                  </a:cubicBezTo>
                  <a:cubicBezTo>
                    <a:pt x="266515" y="311424"/>
                    <a:pt x="344048" y="317996"/>
                    <a:pt x="420629" y="316663"/>
                  </a:cubicBezTo>
                  <a:cubicBezTo>
                    <a:pt x="420439" y="273419"/>
                    <a:pt x="425963" y="222746"/>
                    <a:pt x="392911" y="189028"/>
                  </a:cubicBezTo>
                  <a:cubicBezTo>
                    <a:pt x="357764" y="155119"/>
                    <a:pt x="303377" y="154547"/>
                    <a:pt x="258323" y="163310"/>
                  </a:cubicBezTo>
                  <a:cubicBezTo>
                    <a:pt x="211460" y="172359"/>
                    <a:pt x="174884" y="205982"/>
                    <a:pt x="147452" y="243130"/>
                  </a:cubicBezTo>
                  <a:cubicBezTo>
                    <a:pt x="107447" y="207697"/>
                    <a:pt x="67728" y="171883"/>
                    <a:pt x="27247" y="137021"/>
                  </a:cubicBezTo>
                  <a:moveTo>
                    <a:pt x="252894" y="442583"/>
                  </a:moveTo>
                  <a:cubicBezTo>
                    <a:pt x="182600" y="464872"/>
                    <a:pt x="184981" y="591078"/>
                    <a:pt x="260038" y="604508"/>
                  </a:cubicBezTo>
                  <a:cubicBezTo>
                    <a:pt x="308044" y="613557"/>
                    <a:pt x="366337" y="609461"/>
                    <a:pt x="401579" y="571552"/>
                  </a:cubicBezTo>
                  <a:cubicBezTo>
                    <a:pt x="433298" y="532213"/>
                    <a:pt x="416438" y="477921"/>
                    <a:pt x="420534" y="431725"/>
                  </a:cubicBezTo>
                  <a:cubicBezTo>
                    <a:pt x="364813" y="434677"/>
                    <a:pt x="306615" y="423724"/>
                    <a:pt x="252894" y="442583"/>
                  </a:cubicBezTo>
                  <a:close/>
                </a:path>
              </a:pathLst>
            </a:custGeom>
            <a:solidFill>
              <a:srgbClr val="000000"/>
            </a:solidFill>
            <a:ln w="9525" cap="flat">
              <a:noFill/>
              <a:prstDash val="solid"/>
              <a:miter/>
            </a:ln>
          </p:spPr>
          <p:txBody>
            <a:bodyPr rtlCol="0" anchor="ctr"/>
            <a:lstStyle/>
            <a:p>
              <a:endParaRPr lang="en-US" sz="900"/>
            </a:p>
          </p:txBody>
        </p:sp>
        <p:sp>
          <p:nvSpPr>
            <p:cNvPr id="39" name="Freeform: Shape 38">
              <a:extLst>
                <a:ext uri="{FF2B5EF4-FFF2-40B4-BE49-F238E27FC236}">
                  <a16:creationId xmlns:a16="http://schemas.microsoft.com/office/drawing/2014/main" id="{E08DAAAF-22D3-8686-027F-301825BDAA00}"/>
                </a:ext>
              </a:extLst>
            </p:cNvPr>
            <p:cNvSpPr/>
            <p:nvPr/>
          </p:nvSpPr>
          <p:spPr>
            <a:xfrm>
              <a:off x="15602775" y="8849035"/>
              <a:ext cx="633507" cy="733518"/>
            </a:xfrm>
            <a:custGeom>
              <a:avLst/>
              <a:gdLst>
                <a:gd name="connsiteX0" fmla="*/ 311944 w 633507"/>
                <a:gd name="connsiteY0" fmla="*/ 20073 h 733518"/>
                <a:gd name="connsiteX1" fmla="*/ 569214 w 633507"/>
                <a:gd name="connsiteY1" fmla="*/ 66078 h 733518"/>
                <a:gd name="connsiteX2" fmla="*/ 633413 w 633507"/>
                <a:gd name="connsiteY2" fmla="*/ 276295 h 733518"/>
                <a:gd name="connsiteX3" fmla="*/ 633508 w 633507"/>
                <a:gd name="connsiteY3" fmla="*/ 733495 h 733518"/>
                <a:gd name="connsiteX4" fmla="*/ 431006 w 633507"/>
                <a:gd name="connsiteY4" fmla="*/ 733495 h 733518"/>
                <a:gd name="connsiteX5" fmla="*/ 430435 w 633507"/>
                <a:gd name="connsiteY5" fmla="*/ 276676 h 733518"/>
                <a:gd name="connsiteX6" fmla="*/ 369951 w 633507"/>
                <a:gd name="connsiteY6" fmla="*/ 169901 h 733518"/>
                <a:gd name="connsiteX7" fmla="*/ 203264 w 633507"/>
                <a:gd name="connsiteY7" fmla="*/ 257245 h 733518"/>
                <a:gd name="connsiteX8" fmla="*/ 202502 w 633507"/>
                <a:gd name="connsiteY8" fmla="*/ 733495 h 733518"/>
                <a:gd name="connsiteX9" fmla="*/ 0 w 633507"/>
                <a:gd name="connsiteY9" fmla="*/ 733400 h 733518"/>
                <a:gd name="connsiteX10" fmla="*/ 95 w 633507"/>
                <a:gd name="connsiteY10" fmla="*/ 16739 h 733518"/>
                <a:gd name="connsiteX11" fmla="*/ 202406 w 633507"/>
                <a:gd name="connsiteY11" fmla="*/ 16739 h 733518"/>
                <a:gd name="connsiteX12" fmla="*/ 204883 w 633507"/>
                <a:gd name="connsiteY12" fmla="*/ 144564 h 733518"/>
                <a:gd name="connsiteX13" fmla="*/ 311944 w 633507"/>
                <a:gd name="connsiteY13" fmla="*/ 20073 h 733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3507" h="733518">
                  <a:moveTo>
                    <a:pt x="311944" y="20073"/>
                  </a:moveTo>
                  <a:cubicBezTo>
                    <a:pt x="395669" y="-15837"/>
                    <a:pt x="506825" y="-5359"/>
                    <a:pt x="569214" y="66078"/>
                  </a:cubicBezTo>
                  <a:cubicBezTo>
                    <a:pt x="618649" y="123609"/>
                    <a:pt x="632365" y="202572"/>
                    <a:pt x="633413" y="276295"/>
                  </a:cubicBezTo>
                  <a:cubicBezTo>
                    <a:pt x="633603" y="428695"/>
                    <a:pt x="633317" y="581095"/>
                    <a:pt x="633508" y="733495"/>
                  </a:cubicBezTo>
                  <a:lnTo>
                    <a:pt x="431006" y="733495"/>
                  </a:lnTo>
                  <a:cubicBezTo>
                    <a:pt x="430625" y="581190"/>
                    <a:pt x="431864" y="428981"/>
                    <a:pt x="430435" y="276676"/>
                  </a:cubicBezTo>
                  <a:cubicBezTo>
                    <a:pt x="429101" y="234861"/>
                    <a:pt x="415290" y="183045"/>
                    <a:pt x="369951" y="169901"/>
                  </a:cubicBezTo>
                  <a:cubicBezTo>
                    <a:pt x="305086" y="150946"/>
                    <a:pt x="210884" y="180759"/>
                    <a:pt x="203264" y="257245"/>
                  </a:cubicBezTo>
                  <a:cubicBezTo>
                    <a:pt x="201263" y="415931"/>
                    <a:pt x="202978" y="574713"/>
                    <a:pt x="202502" y="733495"/>
                  </a:cubicBezTo>
                  <a:cubicBezTo>
                    <a:pt x="134970" y="733495"/>
                    <a:pt x="67437" y="733590"/>
                    <a:pt x="0" y="733400"/>
                  </a:cubicBezTo>
                  <a:cubicBezTo>
                    <a:pt x="191" y="494513"/>
                    <a:pt x="-95" y="255626"/>
                    <a:pt x="95" y="16739"/>
                  </a:cubicBezTo>
                  <a:lnTo>
                    <a:pt x="202406" y="16739"/>
                  </a:lnTo>
                  <a:cubicBezTo>
                    <a:pt x="203264" y="59315"/>
                    <a:pt x="200025" y="102083"/>
                    <a:pt x="204883" y="144564"/>
                  </a:cubicBezTo>
                  <a:cubicBezTo>
                    <a:pt x="226790" y="93606"/>
                    <a:pt x="258604" y="42456"/>
                    <a:pt x="311944" y="20073"/>
                  </a:cubicBezTo>
                  <a:close/>
                </a:path>
              </a:pathLst>
            </a:custGeom>
            <a:solidFill>
              <a:srgbClr val="000000"/>
            </a:solidFill>
            <a:ln w="9525" cap="flat">
              <a:noFill/>
              <a:prstDash val="solid"/>
              <a:miter/>
            </a:ln>
          </p:spPr>
          <p:txBody>
            <a:bodyPr rtlCol="0" anchor="ctr"/>
            <a:lstStyle/>
            <a:p>
              <a:endParaRPr lang="en-US" sz="900"/>
            </a:p>
          </p:txBody>
        </p:sp>
        <p:sp>
          <p:nvSpPr>
            <p:cNvPr id="40" name="Freeform: Shape 39">
              <a:extLst>
                <a:ext uri="{FF2B5EF4-FFF2-40B4-BE49-F238E27FC236}">
                  <a16:creationId xmlns:a16="http://schemas.microsoft.com/office/drawing/2014/main" id="{3BF8AFFD-1B6C-839E-B09F-AF5203BE810E}"/>
                </a:ext>
              </a:extLst>
            </p:cNvPr>
            <p:cNvSpPr/>
            <p:nvPr/>
          </p:nvSpPr>
          <p:spPr>
            <a:xfrm>
              <a:off x="17116014" y="8849344"/>
              <a:ext cx="669651" cy="749917"/>
            </a:xfrm>
            <a:custGeom>
              <a:avLst/>
              <a:gdLst>
                <a:gd name="connsiteX0" fmla="*/ 174305 w 669651"/>
                <a:gd name="connsiteY0" fmla="*/ 34909 h 749917"/>
                <a:gd name="connsiteX1" fmla="*/ 433670 w 669651"/>
                <a:gd name="connsiteY1" fmla="*/ 11287 h 749917"/>
                <a:gd name="connsiteX2" fmla="*/ 624838 w 669651"/>
                <a:gd name="connsiteY2" fmla="*/ 161973 h 749917"/>
                <a:gd name="connsiteX3" fmla="*/ 669129 w 669651"/>
                <a:gd name="connsiteY3" fmla="*/ 426482 h 749917"/>
                <a:gd name="connsiteX4" fmla="*/ 208500 w 669651"/>
                <a:gd name="connsiteY4" fmla="*/ 426482 h 749917"/>
                <a:gd name="connsiteX5" fmla="*/ 248028 w 669651"/>
                <a:gd name="connsiteY5" fmla="*/ 549450 h 749917"/>
                <a:gd name="connsiteX6" fmla="*/ 408049 w 669651"/>
                <a:gd name="connsiteY6" fmla="*/ 587645 h 749917"/>
                <a:gd name="connsiteX7" fmla="*/ 543589 w 669651"/>
                <a:gd name="connsiteY7" fmla="*/ 505063 h 749917"/>
                <a:gd name="connsiteX8" fmla="*/ 645031 w 669651"/>
                <a:gd name="connsiteY8" fmla="*/ 631269 h 749917"/>
                <a:gd name="connsiteX9" fmla="*/ 388617 w 669651"/>
                <a:gd name="connsiteY9" fmla="*/ 747951 h 749917"/>
                <a:gd name="connsiteX10" fmla="*/ 125441 w 669651"/>
                <a:gd name="connsiteY10" fmla="*/ 681752 h 749917"/>
                <a:gd name="connsiteX11" fmla="*/ 5045 w 669651"/>
                <a:gd name="connsiteY11" fmla="*/ 451342 h 749917"/>
                <a:gd name="connsiteX12" fmla="*/ 33526 w 669651"/>
                <a:gd name="connsiteY12" fmla="*/ 189214 h 749917"/>
                <a:gd name="connsiteX13" fmla="*/ 174305 w 669651"/>
                <a:gd name="connsiteY13" fmla="*/ 34909 h 749917"/>
                <a:gd name="connsiteX14" fmla="*/ 232502 w 669651"/>
                <a:gd name="connsiteY14" fmla="*/ 205788 h 749917"/>
                <a:gd name="connsiteX15" fmla="*/ 208500 w 669651"/>
                <a:gd name="connsiteY15" fmla="*/ 307324 h 749917"/>
                <a:gd name="connsiteX16" fmla="*/ 460722 w 669651"/>
                <a:gd name="connsiteY16" fmla="*/ 307324 h 749917"/>
                <a:gd name="connsiteX17" fmla="*/ 423956 w 669651"/>
                <a:gd name="connsiteY17" fmla="*/ 182547 h 749917"/>
                <a:gd name="connsiteX18" fmla="*/ 232502 w 669651"/>
                <a:gd name="connsiteY18" fmla="*/ 205883 h 749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9651" h="749917">
                  <a:moveTo>
                    <a:pt x="174305" y="34909"/>
                  </a:moveTo>
                  <a:cubicBezTo>
                    <a:pt x="254220" y="-3858"/>
                    <a:pt x="347945" y="-8144"/>
                    <a:pt x="433670" y="11287"/>
                  </a:cubicBezTo>
                  <a:cubicBezTo>
                    <a:pt x="515681" y="29956"/>
                    <a:pt x="587690" y="86439"/>
                    <a:pt x="624838" y="161973"/>
                  </a:cubicBezTo>
                  <a:cubicBezTo>
                    <a:pt x="667223" y="243126"/>
                    <a:pt x="671510" y="336852"/>
                    <a:pt x="669129" y="426482"/>
                  </a:cubicBezTo>
                  <a:cubicBezTo>
                    <a:pt x="515586" y="426482"/>
                    <a:pt x="362043" y="426482"/>
                    <a:pt x="208500" y="426482"/>
                  </a:cubicBezTo>
                  <a:cubicBezTo>
                    <a:pt x="208690" y="469916"/>
                    <a:pt x="215834" y="517350"/>
                    <a:pt x="248028" y="549450"/>
                  </a:cubicBezTo>
                  <a:cubicBezTo>
                    <a:pt x="289272" y="590693"/>
                    <a:pt x="353089" y="596217"/>
                    <a:pt x="408049" y="587645"/>
                  </a:cubicBezTo>
                  <a:cubicBezTo>
                    <a:pt x="462341" y="579453"/>
                    <a:pt x="506537" y="543449"/>
                    <a:pt x="543589" y="505063"/>
                  </a:cubicBezTo>
                  <a:cubicBezTo>
                    <a:pt x="577308" y="547259"/>
                    <a:pt x="611216" y="589169"/>
                    <a:pt x="645031" y="631269"/>
                  </a:cubicBezTo>
                  <a:cubicBezTo>
                    <a:pt x="580260" y="703755"/>
                    <a:pt x="484153" y="740997"/>
                    <a:pt x="388617" y="747951"/>
                  </a:cubicBezTo>
                  <a:cubicBezTo>
                    <a:pt x="297273" y="756047"/>
                    <a:pt x="198880" y="740140"/>
                    <a:pt x="125441" y="681752"/>
                  </a:cubicBezTo>
                  <a:cubicBezTo>
                    <a:pt x="54481" y="626602"/>
                    <a:pt x="16381" y="538782"/>
                    <a:pt x="5045" y="451342"/>
                  </a:cubicBezTo>
                  <a:cubicBezTo>
                    <a:pt x="-5812" y="363522"/>
                    <a:pt x="-384" y="271701"/>
                    <a:pt x="33526" y="189214"/>
                  </a:cubicBezTo>
                  <a:cubicBezTo>
                    <a:pt x="60291" y="123301"/>
                    <a:pt x="110011" y="66246"/>
                    <a:pt x="174305" y="34909"/>
                  </a:cubicBezTo>
                  <a:moveTo>
                    <a:pt x="232502" y="205788"/>
                  </a:moveTo>
                  <a:cubicBezTo>
                    <a:pt x="213072" y="235887"/>
                    <a:pt x="209262" y="272367"/>
                    <a:pt x="208500" y="307324"/>
                  </a:cubicBezTo>
                  <a:cubicBezTo>
                    <a:pt x="292510" y="307324"/>
                    <a:pt x="376616" y="307324"/>
                    <a:pt x="460722" y="307324"/>
                  </a:cubicBezTo>
                  <a:cubicBezTo>
                    <a:pt x="459770" y="263890"/>
                    <a:pt x="455292" y="215884"/>
                    <a:pt x="423956" y="182547"/>
                  </a:cubicBezTo>
                  <a:cubicBezTo>
                    <a:pt x="372234" y="128730"/>
                    <a:pt x="270317" y="141780"/>
                    <a:pt x="232502" y="205883"/>
                  </a:cubicBezTo>
                  <a:close/>
                </a:path>
              </a:pathLst>
            </a:custGeom>
            <a:solidFill>
              <a:srgbClr val="000000"/>
            </a:solidFill>
            <a:ln w="9525" cap="flat">
              <a:noFill/>
              <a:prstDash val="solid"/>
              <a:miter/>
            </a:ln>
          </p:spPr>
          <p:txBody>
            <a:bodyPr rtlCol="0" anchor="ctr"/>
            <a:lstStyle/>
            <a:p>
              <a:endParaRPr lang="en-US" sz="900"/>
            </a:p>
          </p:txBody>
        </p:sp>
      </p:grpSp>
      <p:pic>
        <p:nvPicPr>
          <p:cNvPr id="4" name="Picture 3">
            <a:extLst>
              <a:ext uri="{FF2B5EF4-FFF2-40B4-BE49-F238E27FC236}">
                <a16:creationId xmlns:a16="http://schemas.microsoft.com/office/drawing/2014/main" id="{2DE16743-7FE4-7DB0-AE65-92E8AEA8C0B8}"/>
              </a:ext>
            </a:extLst>
          </p:cNvPr>
          <p:cNvPicPr>
            <a:picLocks noChangeAspect="1"/>
          </p:cNvPicPr>
          <p:nvPr userDrawn="1"/>
        </p:nvPicPr>
        <p:blipFill>
          <a:blip r:embed="rId2"/>
          <a:stretch>
            <a:fillRect/>
          </a:stretch>
        </p:blipFill>
        <p:spPr>
          <a:xfrm>
            <a:off x="11081689" y="266700"/>
            <a:ext cx="819043" cy="304800"/>
          </a:xfrm>
          <a:prstGeom prst="rect">
            <a:avLst/>
          </a:prstGeom>
        </p:spPr>
      </p:pic>
      <p:sp>
        <p:nvSpPr>
          <p:cNvPr id="24" name="TextBox 23">
            <a:extLst>
              <a:ext uri="{FF2B5EF4-FFF2-40B4-BE49-F238E27FC236}">
                <a16:creationId xmlns:a16="http://schemas.microsoft.com/office/drawing/2014/main" id="{E731D5B8-4EA5-5E55-4109-62B4448E3095}"/>
              </a:ext>
            </a:extLst>
          </p:cNvPr>
          <p:cNvSpPr txBox="1"/>
          <p:nvPr userDrawn="1"/>
        </p:nvSpPr>
        <p:spPr>
          <a:xfrm>
            <a:off x="270381" y="5966327"/>
            <a:ext cx="2761097" cy="646331"/>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r>
              <a:rPr lang="en-US" sz="1400" kern="0"/>
              <a:t>October 21–24, 2024</a:t>
            </a:r>
          </a:p>
          <a:p>
            <a:r>
              <a:rPr lang="en-US" sz="1400" kern="0"/>
              <a:t>Mandalay Bay Convention Center</a:t>
            </a:r>
            <a:br>
              <a:rPr lang="en-US" sz="1400" kern="0"/>
            </a:br>
            <a:r>
              <a:rPr lang="en-US" sz="1400" kern="0"/>
              <a:t>Las Vegas, Nevada</a:t>
            </a:r>
          </a:p>
        </p:txBody>
      </p:sp>
      <p:pic>
        <p:nvPicPr>
          <p:cNvPr id="2" name="Picture 1">
            <a:extLst>
              <a:ext uri="{FF2B5EF4-FFF2-40B4-BE49-F238E27FC236}">
                <a16:creationId xmlns:a16="http://schemas.microsoft.com/office/drawing/2014/main" id="{C5E7312A-C4B6-8291-0DA7-222B472BD0FE}"/>
              </a:ext>
            </a:extLst>
          </p:cNvPr>
          <p:cNvPicPr>
            <a:picLocks noChangeAspect="1"/>
          </p:cNvPicPr>
          <p:nvPr userDrawn="1"/>
        </p:nvPicPr>
        <p:blipFill rotWithShape="1">
          <a:blip r:embed="rId3"/>
          <a:srcRect r="1270" b="1135"/>
          <a:stretch/>
        </p:blipFill>
        <p:spPr>
          <a:xfrm>
            <a:off x="6268221" y="925392"/>
            <a:ext cx="5923779" cy="5932608"/>
          </a:xfrm>
          <a:prstGeom prst="rect">
            <a:avLst/>
          </a:prstGeom>
        </p:spPr>
      </p:pic>
    </p:spTree>
    <p:extLst>
      <p:ext uri="{BB962C8B-B14F-4D97-AF65-F5344CB8AC3E}">
        <p14:creationId xmlns:p14="http://schemas.microsoft.com/office/powerpoint/2010/main" val="2217227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sp>
        <p:nvSpPr>
          <p:cNvPr id="8" name="Text Placeholder 5">
            <a:extLst>
              <a:ext uri="{FF2B5EF4-FFF2-40B4-BE49-F238E27FC236}">
                <a16:creationId xmlns:a16="http://schemas.microsoft.com/office/drawing/2014/main" id="{03F79CF1-BB23-64AA-9C92-5A1EAE747F93}"/>
              </a:ext>
            </a:extLst>
          </p:cNvPr>
          <p:cNvSpPr>
            <a:spLocks noGrp="1"/>
          </p:cNvSpPr>
          <p:nvPr>
            <p:ph type="body" sz="quarter" idx="13" hasCustomPrompt="1"/>
          </p:nvPr>
        </p:nvSpPr>
        <p:spPr>
          <a:xfrm>
            <a:off x="262697" y="3429000"/>
            <a:ext cx="5050131" cy="1451113"/>
          </a:xfrm>
        </p:spPr>
        <p:txBody>
          <a:bodyPr/>
          <a:lstStyle/>
          <a:p>
            <a:r>
              <a:rPr lang="en-US"/>
              <a:t>Session code (ID number)</a:t>
            </a:r>
            <a:br>
              <a:rPr lang="en-US"/>
            </a:br>
            <a:r>
              <a:rPr lang="en-US"/>
              <a:t>Session Title</a:t>
            </a:r>
            <a:br>
              <a:rPr lang="en-US"/>
            </a:br>
            <a:r>
              <a:rPr lang="en-US" err="1"/>
              <a:t>Firstname</a:t>
            </a:r>
            <a:r>
              <a:rPr lang="en-US"/>
              <a:t> </a:t>
            </a:r>
            <a:r>
              <a:rPr lang="en-US" err="1"/>
              <a:t>Lastname</a:t>
            </a:r>
            <a:br>
              <a:rPr lang="en-US"/>
            </a:br>
            <a:r>
              <a:rPr lang="en-US"/>
              <a:t>Company, Job Title</a:t>
            </a:r>
          </a:p>
        </p:txBody>
      </p:sp>
      <p:sp>
        <p:nvSpPr>
          <p:cNvPr id="10" name="Title 1">
            <a:extLst>
              <a:ext uri="{FF2B5EF4-FFF2-40B4-BE49-F238E27FC236}">
                <a16:creationId xmlns:a16="http://schemas.microsoft.com/office/drawing/2014/main" id="{C20F0B5B-6B52-3139-61A7-7B7287D7127D}"/>
              </a:ext>
            </a:extLst>
          </p:cNvPr>
          <p:cNvSpPr>
            <a:spLocks noGrp="1"/>
          </p:cNvSpPr>
          <p:nvPr>
            <p:ph type="title"/>
          </p:nvPr>
        </p:nvSpPr>
        <p:spPr>
          <a:xfrm>
            <a:off x="262950" y="1093032"/>
            <a:ext cx="5049878" cy="2070856"/>
          </a:xfrm>
        </p:spPr>
        <p:txBody>
          <a:bodyPr/>
          <a:lstStyle>
            <a:lvl1pPr>
              <a:lnSpc>
                <a:spcPct val="100000"/>
              </a:lnSpc>
              <a:defRPr sz="3199">
                <a:solidFill>
                  <a:schemeClr val="tx2"/>
                </a:solidFill>
              </a:defRPr>
            </a:lvl1pPr>
          </a:lstStyle>
          <a:p>
            <a:r>
              <a:rPr lang="en-US"/>
              <a:t>Click to edit Master title style</a:t>
            </a:r>
          </a:p>
        </p:txBody>
      </p:sp>
      <p:grpSp>
        <p:nvGrpSpPr>
          <p:cNvPr id="26" name="Graphic 5">
            <a:extLst>
              <a:ext uri="{FF2B5EF4-FFF2-40B4-BE49-F238E27FC236}">
                <a16:creationId xmlns:a16="http://schemas.microsoft.com/office/drawing/2014/main" id="{F1A637DE-FA28-1BBA-ED19-561BF47FC9AA}"/>
              </a:ext>
            </a:extLst>
          </p:cNvPr>
          <p:cNvGrpSpPr/>
          <p:nvPr userDrawn="1"/>
        </p:nvGrpSpPr>
        <p:grpSpPr>
          <a:xfrm>
            <a:off x="299134" y="288036"/>
            <a:ext cx="1878950" cy="218297"/>
            <a:chOff x="6597650" y="8572457"/>
            <a:chExt cx="11188016" cy="1299659"/>
          </a:xfrm>
          <a:solidFill>
            <a:srgbClr val="000000"/>
          </a:solidFill>
        </p:grpSpPr>
        <p:sp>
          <p:nvSpPr>
            <p:cNvPr id="27" name="Freeform: Shape 26">
              <a:extLst>
                <a:ext uri="{FF2B5EF4-FFF2-40B4-BE49-F238E27FC236}">
                  <a16:creationId xmlns:a16="http://schemas.microsoft.com/office/drawing/2014/main" id="{F5985145-6140-8167-8472-4F70B1B08F56}"/>
                </a:ext>
              </a:extLst>
            </p:cNvPr>
            <p:cNvSpPr/>
            <p:nvPr/>
          </p:nvSpPr>
          <p:spPr>
            <a:xfrm>
              <a:off x="11603037" y="8572457"/>
              <a:ext cx="633888" cy="1010097"/>
            </a:xfrm>
            <a:custGeom>
              <a:avLst/>
              <a:gdLst>
                <a:gd name="connsiteX0" fmla="*/ 95 w 633888"/>
                <a:gd name="connsiteY0" fmla="*/ 42 h 1010097"/>
                <a:gd name="connsiteX1" fmla="*/ 202502 w 633888"/>
                <a:gd name="connsiteY1" fmla="*/ 42 h 1010097"/>
                <a:gd name="connsiteX2" fmla="*/ 204216 w 633888"/>
                <a:gd name="connsiteY2" fmla="*/ 419904 h 1010097"/>
                <a:gd name="connsiteX3" fmla="*/ 276320 w 633888"/>
                <a:gd name="connsiteY3" fmla="*/ 318463 h 1010097"/>
                <a:gd name="connsiteX4" fmla="*/ 591884 w 633888"/>
                <a:gd name="connsiteY4" fmla="*/ 373899 h 1010097"/>
                <a:gd name="connsiteX5" fmla="*/ 633793 w 633888"/>
                <a:gd name="connsiteY5" fmla="*/ 562303 h 1010097"/>
                <a:gd name="connsiteX6" fmla="*/ 633889 w 633888"/>
                <a:gd name="connsiteY6" fmla="*/ 1010073 h 1010097"/>
                <a:gd name="connsiteX7" fmla="*/ 431482 w 633888"/>
                <a:gd name="connsiteY7" fmla="*/ 1010073 h 1010097"/>
                <a:gd name="connsiteX8" fmla="*/ 431102 w 633888"/>
                <a:gd name="connsiteY8" fmla="*/ 561827 h 1010097"/>
                <a:gd name="connsiteX9" fmla="*/ 376333 w 633888"/>
                <a:gd name="connsiteY9" fmla="*/ 448765 h 1010097"/>
                <a:gd name="connsiteX10" fmla="*/ 203454 w 633888"/>
                <a:gd name="connsiteY10" fmla="*/ 533538 h 1010097"/>
                <a:gd name="connsiteX11" fmla="*/ 202502 w 633888"/>
                <a:gd name="connsiteY11" fmla="*/ 1010073 h 1010097"/>
                <a:gd name="connsiteX12" fmla="*/ 0 w 633888"/>
                <a:gd name="connsiteY12" fmla="*/ 1009978 h 1010097"/>
                <a:gd name="connsiteX13" fmla="*/ 95 w 633888"/>
                <a:gd name="connsiteY13" fmla="*/ 42 h 101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3888" h="1010097">
                  <a:moveTo>
                    <a:pt x="95" y="42"/>
                  </a:moveTo>
                  <a:cubicBezTo>
                    <a:pt x="67533" y="-53"/>
                    <a:pt x="134969" y="42"/>
                    <a:pt x="202502" y="42"/>
                  </a:cubicBezTo>
                  <a:cubicBezTo>
                    <a:pt x="203549" y="139965"/>
                    <a:pt x="200311" y="280077"/>
                    <a:pt x="204216" y="419904"/>
                  </a:cubicBezTo>
                  <a:cubicBezTo>
                    <a:pt x="224504" y="383709"/>
                    <a:pt x="241364" y="343419"/>
                    <a:pt x="276320" y="318463"/>
                  </a:cubicBezTo>
                  <a:cubicBezTo>
                    <a:pt x="371284" y="247692"/>
                    <a:pt x="531781" y="265695"/>
                    <a:pt x="591884" y="373899"/>
                  </a:cubicBezTo>
                  <a:cubicBezTo>
                    <a:pt x="624840" y="430668"/>
                    <a:pt x="633413" y="497724"/>
                    <a:pt x="633793" y="562303"/>
                  </a:cubicBezTo>
                  <a:cubicBezTo>
                    <a:pt x="633984" y="711560"/>
                    <a:pt x="633793" y="860817"/>
                    <a:pt x="633889" y="1010073"/>
                  </a:cubicBezTo>
                  <a:lnTo>
                    <a:pt x="431482" y="1010073"/>
                  </a:lnTo>
                  <a:cubicBezTo>
                    <a:pt x="431197" y="860626"/>
                    <a:pt x="432054" y="711179"/>
                    <a:pt x="431102" y="561827"/>
                  </a:cubicBezTo>
                  <a:cubicBezTo>
                    <a:pt x="429959" y="519441"/>
                    <a:pt x="420624" y="466386"/>
                    <a:pt x="376333" y="448765"/>
                  </a:cubicBezTo>
                  <a:cubicBezTo>
                    <a:pt x="310801" y="425334"/>
                    <a:pt x="211836" y="455052"/>
                    <a:pt x="203454" y="533538"/>
                  </a:cubicBezTo>
                  <a:cubicBezTo>
                    <a:pt x="201168" y="692319"/>
                    <a:pt x="203168" y="851196"/>
                    <a:pt x="202502" y="1010073"/>
                  </a:cubicBezTo>
                  <a:cubicBezTo>
                    <a:pt x="134969" y="1010073"/>
                    <a:pt x="67533" y="1010169"/>
                    <a:pt x="0" y="1009978"/>
                  </a:cubicBezTo>
                  <a:cubicBezTo>
                    <a:pt x="191" y="673365"/>
                    <a:pt x="95" y="336656"/>
                    <a:pt x="95" y="42"/>
                  </a:cubicBezTo>
                  <a:close/>
                </a:path>
              </a:pathLst>
            </a:custGeom>
            <a:solidFill>
              <a:srgbClr val="000000"/>
            </a:solidFill>
            <a:ln w="9525" cap="flat">
              <a:noFill/>
              <a:prstDash val="solid"/>
              <a:miter/>
            </a:ln>
          </p:spPr>
          <p:txBody>
            <a:bodyPr rtlCol="0" anchor="ctr"/>
            <a:lstStyle/>
            <a:p>
              <a:endParaRPr lang="en-US" sz="900"/>
            </a:p>
          </p:txBody>
        </p:sp>
        <p:sp>
          <p:nvSpPr>
            <p:cNvPr id="28" name="Freeform: Shape 27">
              <a:extLst>
                <a:ext uri="{FF2B5EF4-FFF2-40B4-BE49-F238E27FC236}">
                  <a16:creationId xmlns:a16="http://schemas.microsoft.com/office/drawing/2014/main" id="{7D933579-F84C-4074-BCE8-A5F3C6A8C115}"/>
                </a:ext>
              </a:extLst>
            </p:cNvPr>
            <p:cNvSpPr/>
            <p:nvPr/>
          </p:nvSpPr>
          <p:spPr>
            <a:xfrm>
              <a:off x="14012576" y="8572457"/>
              <a:ext cx="634202" cy="1010164"/>
            </a:xfrm>
            <a:custGeom>
              <a:avLst/>
              <a:gdLst>
                <a:gd name="connsiteX0" fmla="*/ 381 w 634202"/>
                <a:gd name="connsiteY0" fmla="*/ 42 h 1010164"/>
                <a:gd name="connsiteX1" fmla="*/ 202788 w 634202"/>
                <a:gd name="connsiteY1" fmla="*/ 42 h 1010164"/>
                <a:gd name="connsiteX2" fmla="*/ 204502 w 634202"/>
                <a:gd name="connsiteY2" fmla="*/ 419904 h 1010164"/>
                <a:gd name="connsiteX3" fmla="*/ 271558 w 634202"/>
                <a:gd name="connsiteY3" fmla="*/ 322559 h 1010164"/>
                <a:gd name="connsiteX4" fmla="*/ 596265 w 634202"/>
                <a:gd name="connsiteY4" fmla="*/ 381233 h 1010164"/>
                <a:gd name="connsiteX5" fmla="*/ 634175 w 634202"/>
                <a:gd name="connsiteY5" fmla="*/ 562303 h 1010164"/>
                <a:gd name="connsiteX6" fmla="*/ 634175 w 634202"/>
                <a:gd name="connsiteY6" fmla="*/ 1010073 h 1010164"/>
                <a:gd name="connsiteX7" fmla="*/ 431768 w 634202"/>
                <a:gd name="connsiteY7" fmla="*/ 1010073 h 1010164"/>
                <a:gd name="connsiteX8" fmla="*/ 431388 w 634202"/>
                <a:gd name="connsiteY8" fmla="*/ 562303 h 1010164"/>
                <a:gd name="connsiteX9" fmla="*/ 376333 w 634202"/>
                <a:gd name="connsiteY9" fmla="*/ 448575 h 1010164"/>
                <a:gd name="connsiteX10" fmla="*/ 203835 w 634202"/>
                <a:gd name="connsiteY10" fmla="*/ 533347 h 1010164"/>
                <a:gd name="connsiteX11" fmla="*/ 202788 w 634202"/>
                <a:gd name="connsiteY11" fmla="*/ 1010073 h 1010164"/>
                <a:gd name="connsiteX12" fmla="*/ 0 w 634202"/>
                <a:gd name="connsiteY12" fmla="*/ 1009597 h 1010164"/>
                <a:gd name="connsiteX13" fmla="*/ 381 w 634202"/>
                <a:gd name="connsiteY13" fmla="*/ 42 h 1010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4202" h="1010164">
                  <a:moveTo>
                    <a:pt x="381" y="42"/>
                  </a:moveTo>
                  <a:cubicBezTo>
                    <a:pt x="67819" y="-53"/>
                    <a:pt x="135255" y="42"/>
                    <a:pt x="202788" y="42"/>
                  </a:cubicBezTo>
                  <a:cubicBezTo>
                    <a:pt x="203835" y="139965"/>
                    <a:pt x="200597" y="280077"/>
                    <a:pt x="204502" y="419904"/>
                  </a:cubicBezTo>
                  <a:cubicBezTo>
                    <a:pt x="223933" y="385710"/>
                    <a:pt x="239363" y="347419"/>
                    <a:pt x="271558" y="322559"/>
                  </a:cubicBezTo>
                  <a:cubicBezTo>
                    <a:pt x="367856" y="244644"/>
                    <a:pt x="538544" y="265314"/>
                    <a:pt x="596265" y="381233"/>
                  </a:cubicBezTo>
                  <a:cubicBezTo>
                    <a:pt x="625888" y="436573"/>
                    <a:pt x="633794" y="500391"/>
                    <a:pt x="634175" y="562303"/>
                  </a:cubicBezTo>
                  <a:cubicBezTo>
                    <a:pt x="634270" y="711560"/>
                    <a:pt x="634079" y="860817"/>
                    <a:pt x="634175" y="1010073"/>
                  </a:cubicBezTo>
                  <a:lnTo>
                    <a:pt x="431768" y="1010073"/>
                  </a:lnTo>
                  <a:cubicBezTo>
                    <a:pt x="431483" y="860817"/>
                    <a:pt x="432245" y="711560"/>
                    <a:pt x="431388" y="562303"/>
                  </a:cubicBezTo>
                  <a:cubicBezTo>
                    <a:pt x="430340" y="519822"/>
                    <a:pt x="421005" y="466101"/>
                    <a:pt x="376333" y="448575"/>
                  </a:cubicBezTo>
                  <a:cubicBezTo>
                    <a:pt x="310801" y="425524"/>
                    <a:pt x="212408" y="455147"/>
                    <a:pt x="203835" y="533347"/>
                  </a:cubicBezTo>
                  <a:cubicBezTo>
                    <a:pt x="201359" y="692129"/>
                    <a:pt x="203454" y="851101"/>
                    <a:pt x="202788" y="1010073"/>
                  </a:cubicBezTo>
                  <a:cubicBezTo>
                    <a:pt x="135160" y="1009883"/>
                    <a:pt x="67533" y="1010645"/>
                    <a:pt x="0" y="1009597"/>
                  </a:cubicBezTo>
                  <a:cubicBezTo>
                    <a:pt x="858" y="673079"/>
                    <a:pt x="95" y="336561"/>
                    <a:pt x="381" y="42"/>
                  </a:cubicBezTo>
                  <a:close/>
                </a:path>
              </a:pathLst>
            </a:custGeom>
            <a:solidFill>
              <a:srgbClr val="000000"/>
            </a:solidFill>
            <a:ln w="9525" cap="flat">
              <a:noFill/>
              <a:prstDash val="solid"/>
              <a:miter/>
            </a:ln>
          </p:spPr>
          <p:txBody>
            <a:bodyPr rtlCol="0" anchor="ctr"/>
            <a:lstStyle/>
            <a:p>
              <a:endParaRPr lang="en-US" sz="900"/>
            </a:p>
          </p:txBody>
        </p:sp>
        <p:sp>
          <p:nvSpPr>
            <p:cNvPr id="29" name="Freeform: Shape 28">
              <a:extLst>
                <a:ext uri="{FF2B5EF4-FFF2-40B4-BE49-F238E27FC236}">
                  <a16:creationId xmlns:a16="http://schemas.microsoft.com/office/drawing/2014/main" id="{EB61EFE4-D8E6-B1E2-379D-12B26CE8F152}"/>
                </a:ext>
              </a:extLst>
            </p:cNvPr>
            <p:cNvSpPr/>
            <p:nvPr/>
          </p:nvSpPr>
          <p:spPr>
            <a:xfrm>
              <a:off x="6597650" y="8630030"/>
              <a:ext cx="382566" cy="952500"/>
            </a:xfrm>
            <a:custGeom>
              <a:avLst/>
              <a:gdLst>
                <a:gd name="connsiteX0" fmla="*/ 0 w 382566"/>
                <a:gd name="connsiteY0" fmla="*/ 0 h 952500"/>
                <a:gd name="connsiteX1" fmla="*/ 382524 w 382566"/>
                <a:gd name="connsiteY1" fmla="*/ 0 h 952500"/>
                <a:gd name="connsiteX2" fmla="*/ 382524 w 382566"/>
                <a:gd name="connsiteY2" fmla="*/ 95631 h 952500"/>
                <a:gd name="connsiteX3" fmla="*/ 248793 w 382566"/>
                <a:gd name="connsiteY3" fmla="*/ 95631 h 952500"/>
                <a:gd name="connsiteX4" fmla="*/ 248793 w 382566"/>
                <a:gd name="connsiteY4" fmla="*/ 856869 h 952500"/>
                <a:gd name="connsiteX5" fmla="*/ 382524 w 382566"/>
                <a:gd name="connsiteY5" fmla="*/ 856869 h 952500"/>
                <a:gd name="connsiteX6" fmla="*/ 382524 w 382566"/>
                <a:gd name="connsiteY6" fmla="*/ 952500 h 952500"/>
                <a:gd name="connsiteX7" fmla="*/ 0 w 382566"/>
                <a:gd name="connsiteY7" fmla="*/ 952500 h 952500"/>
                <a:gd name="connsiteX8" fmla="*/ 0 w 382566"/>
                <a:gd name="connsiteY8" fmla="*/ 856869 h 952500"/>
                <a:gd name="connsiteX9" fmla="*/ 133731 w 382566"/>
                <a:gd name="connsiteY9" fmla="*/ 856869 h 952500"/>
                <a:gd name="connsiteX10" fmla="*/ 133731 w 382566"/>
                <a:gd name="connsiteY10" fmla="*/ 95631 h 952500"/>
                <a:gd name="connsiteX11" fmla="*/ 0 w 382566"/>
                <a:gd name="connsiteY11" fmla="*/ 95631 h 952500"/>
                <a:gd name="connsiteX12" fmla="*/ 0 w 382566"/>
                <a:gd name="connsiteY12" fmla="*/ 0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2566" h="952500">
                  <a:moveTo>
                    <a:pt x="0" y="0"/>
                  </a:moveTo>
                  <a:lnTo>
                    <a:pt x="382524" y="0"/>
                  </a:lnTo>
                  <a:lnTo>
                    <a:pt x="382524" y="95631"/>
                  </a:lnTo>
                  <a:lnTo>
                    <a:pt x="248793" y="95631"/>
                  </a:lnTo>
                  <a:lnTo>
                    <a:pt x="248793" y="856869"/>
                  </a:lnTo>
                  <a:cubicBezTo>
                    <a:pt x="293370" y="856869"/>
                    <a:pt x="337947" y="856869"/>
                    <a:pt x="382524" y="856869"/>
                  </a:cubicBezTo>
                  <a:cubicBezTo>
                    <a:pt x="382524" y="888682"/>
                    <a:pt x="382619" y="920591"/>
                    <a:pt x="382524" y="952500"/>
                  </a:cubicBezTo>
                  <a:lnTo>
                    <a:pt x="0" y="952500"/>
                  </a:lnTo>
                  <a:cubicBezTo>
                    <a:pt x="0" y="920591"/>
                    <a:pt x="0" y="888682"/>
                    <a:pt x="0" y="856869"/>
                  </a:cubicBezTo>
                  <a:cubicBezTo>
                    <a:pt x="44577" y="856869"/>
                    <a:pt x="89154" y="856869"/>
                    <a:pt x="133731" y="856869"/>
                  </a:cubicBezTo>
                  <a:lnTo>
                    <a:pt x="133731" y="95631"/>
                  </a:lnTo>
                  <a:lnTo>
                    <a:pt x="0" y="95631"/>
                  </a:lnTo>
                  <a:cubicBezTo>
                    <a:pt x="0" y="63722"/>
                    <a:pt x="0" y="31909"/>
                    <a:pt x="0" y="0"/>
                  </a:cubicBezTo>
                  <a:close/>
                </a:path>
              </a:pathLst>
            </a:custGeom>
            <a:solidFill>
              <a:srgbClr val="000000"/>
            </a:solidFill>
            <a:ln w="9525" cap="flat">
              <a:noFill/>
              <a:prstDash val="solid"/>
              <a:miter/>
            </a:ln>
          </p:spPr>
          <p:txBody>
            <a:bodyPr rtlCol="0" anchor="ctr"/>
            <a:lstStyle/>
            <a:p>
              <a:endParaRPr lang="en-US" sz="900"/>
            </a:p>
          </p:txBody>
        </p:sp>
        <p:sp>
          <p:nvSpPr>
            <p:cNvPr id="30" name="Freeform: Shape 29">
              <a:extLst>
                <a:ext uri="{FF2B5EF4-FFF2-40B4-BE49-F238E27FC236}">
                  <a16:creationId xmlns:a16="http://schemas.microsoft.com/office/drawing/2014/main" id="{EB4E91B9-0A97-3141-A66A-E824B4E354B8}"/>
                </a:ext>
              </a:extLst>
            </p:cNvPr>
            <p:cNvSpPr/>
            <p:nvPr/>
          </p:nvSpPr>
          <p:spPr>
            <a:xfrm>
              <a:off x="7188676" y="8629948"/>
              <a:ext cx="678881" cy="952722"/>
            </a:xfrm>
            <a:custGeom>
              <a:avLst/>
              <a:gdLst>
                <a:gd name="connsiteX0" fmla="*/ 0 w 678881"/>
                <a:gd name="connsiteY0" fmla="*/ 83 h 952722"/>
                <a:gd name="connsiteX1" fmla="*/ 409956 w 678881"/>
                <a:gd name="connsiteY1" fmla="*/ 464 h 952722"/>
                <a:gd name="connsiteX2" fmla="*/ 622554 w 678881"/>
                <a:gd name="connsiteY2" fmla="*/ 130575 h 952722"/>
                <a:gd name="connsiteX3" fmla="*/ 607886 w 678881"/>
                <a:gd name="connsiteY3" fmla="*/ 378130 h 952722"/>
                <a:gd name="connsiteX4" fmla="*/ 486347 w 678881"/>
                <a:gd name="connsiteY4" fmla="*/ 452711 h 952722"/>
                <a:gd name="connsiteX5" fmla="*/ 662940 w 678881"/>
                <a:gd name="connsiteY5" fmla="*/ 585394 h 952722"/>
                <a:gd name="connsiteX6" fmla="*/ 543878 w 678881"/>
                <a:gd name="connsiteY6" fmla="*/ 925246 h 952722"/>
                <a:gd name="connsiteX7" fmla="*/ 428530 w 678881"/>
                <a:gd name="connsiteY7" fmla="*/ 952678 h 952722"/>
                <a:gd name="connsiteX8" fmla="*/ 0 w 678881"/>
                <a:gd name="connsiteY8" fmla="*/ 952583 h 952722"/>
                <a:gd name="connsiteX9" fmla="*/ 0 w 678881"/>
                <a:gd name="connsiteY9" fmla="*/ 83 h 952722"/>
                <a:gd name="connsiteX10" fmla="*/ 115062 w 678881"/>
                <a:gd name="connsiteY10" fmla="*/ 101238 h 952722"/>
                <a:gd name="connsiteX11" fmla="*/ 115062 w 678881"/>
                <a:gd name="connsiteY11" fmla="*/ 412039 h 952722"/>
                <a:gd name="connsiteX12" fmla="*/ 400050 w 678881"/>
                <a:gd name="connsiteY12" fmla="*/ 410896 h 952722"/>
                <a:gd name="connsiteX13" fmla="*/ 519398 w 678881"/>
                <a:gd name="connsiteY13" fmla="*/ 313646 h 952722"/>
                <a:gd name="connsiteX14" fmla="*/ 513969 w 678881"/>
                <a:gd name="connsiteY14" fmla="*/ 180391 h 952722"/>
                <a:gd name="connsiteX15" fmla="*/ 389858 w 678881"/>
                <a:gd name="connsiteY15" fmla="*/ 101715 h 952722"/>
                <a:gd name="connsiteX16" fmla="*/ 115062 w 678881"/>
                <a:gd name="connsiteY16" fmla="*/ 101238 h 952722"/>
                <a:gd name="connsiteX17" fmla="*/ 115062 w 678881"/>
                <a:gd name="connsiteY17" fmla="*/ 510432 h 952722"/>
                <a:gd name="connsiteX18" fmla="*/ 115062 w 678881"/>
                <a:gd name="connsiteY18" fmla="*/ 851427 h 952722"/>
                <a:gd name="connsiteX19" fmla="*/ 400526 w 678881"/>
                <a:gd name="connsiteY19" fmla="*/ 851332 h 952722"/>
                <a:gd name="connsiteX20" fmla="*/ 520637 w 678881"/>
                <a:gd name="connsiteY20" fmla="*/ 805993 h 952722"/>
                <a:gd name="connsiteX21" fmla="*/ 555498 w 678881"/>
                <a:gd name="connsiteY21" fmla="*/ 705314 h 952722"/>
                <a:gd name="connsiteX22" fmla="*/ 529304 w 678881"/>
                <a:gd name="connsiteY22" fmla="*/ 566535 h 952722"/>
                <a:gd name="connsiteX23" fmla="*/ 400241 w 678881"/>
                <a:gd name="connsiteY23" fmla="*/ 510623 h 952722"/>
                <a:gd name="connsiteX24" fmla="*/ 115062 w 678881"/>
                <a:gd name="connsiteY24" fmla="*/ 510432 h 952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8881" h="952722">
                  <a:moveTo>
                    <a:pt x="0" y="83"/>
                  </a:moveTo>
                  <a:cubicBezTo>
                    <a:pt x="136684" y="369"/>
                    <a:pt x="273272" y="-489"/>
                    <a:pt x="409956" y="464"/>
                  </a:cubicBezTo>
                  <a:cubicBezTo>
                    <a:pt x="497015" y="1893"/>
                    <a:pt x="586931" y="48279"/>
                    <a:pt x="622554" y="130575"/>
                  </a:cubicBezTo>
                  <a:cubicBezTo>
                    <a:pt x="655701" y="208490"/>
                    <a:pt x="657416" y="306693"/>
                    <a:pt x="607886" y="378130"/>
                  </a:cubicBezTo>
                  <a:cubicBezTo>
                    <a:pt x="580073" y="419850"/>
                    <a:pt x="532067" y="438328"/>
                    <a:pt x="486347" y="452711"/>
                  </a:cubicBezTo>
                  <a:cubicBezTo>
                    <a:pt x="563213" y="461950"/>
                    <a:pt x="636365" y="510909"/>
                    <a:pt x="662940" y="585394"/>
                  </a:cubicBezTo>
                  <a:cubicBezTo>
                    <a:pt x="705898" y="706743"/>
                    <a:pt x="660654" y="862191"/>
                    <a:pt x="543878" y="925246"/>
                  </a:cubicBezTo>
                  <a:cubicBezTo>
                    <a:pt x="508730" y="944391"/>
                    <a:pt x="468440" y="953440"/>
                    <a:pt x="428530" y="952678"/>
                  </a:cubicBezTo>
                  <a:cubicBezTo>
                    <a:pt x="285655" y="952488"/>
                    <a:pt x="142875" y="952583"/>
                    <a:pt x="0" y="952583"/>
                  </a:cubicBezTo>
                  <a:lnTo>
                    <a:pt x="0" y="83"/>
                  </a:lnTo>
                  <a:moveTo>
                    <a:pt x="115062" y="101238"/>
                  </a:moveTo>
                  <a:lnTo>
                    <a:pt x="115062" y="412039"/>
                  </a:lnTo>
                  <a:cubicBezTo>
                    <a:pt x="210026" y="411277"/>
                    <a:pt x="305086" y="413658"/>
                    <a:pt x="400050" y="410896"/>
                  </a:cubicBezTo>
                  <a:cubicBezTo>
                    <a:pt x="455486" y="408896"/>
                    <a:pt x="510540" y="370605"/>
                    <a:pt x="519398" y="313646"/>
                  </a:cubicBezTo>
                  <a:cubicBezTo>
                    <a:pt x="523875" y="269640"/>
                    <a:pt x="527495" y="223158"/>
                    <a:pt x="513969" y="180391"/>
                  </a:cubicBezTo>
                  <a:cubicBezTo>
                    <a:pt x="496919" y="128956"/>
                    <a:pt x="441293" y="102000"/>
                    <a:pt x="389858" y="101715"/>
                  </a:cubicBezTo>
                  <a:cubicBezTo>
                    <a:pt x="298228" y="100572"/>
                    <a:pt x="206693" y="101715"/>
                    <a:pt x="115062" y="101238"/>
                  </a:cubicBezTo>
                  <a:moveTo>
                    <a:pt x="115062" y="510432"/>
                  </a:moveTo>
                  <a:lnTo>
                    <a:pt x="115062" y="851427"/>
                  </a:lnTo>
                  <a:cubicBezTo>
                    <a:pt x="210217" y="851332"/>
                    <a:pt x="305372" y="851523"/>
                    <a:pt x="400526" y="851332"/>
                  </a:cubicBezTo>
                  <a:cubicBezTo>
                    <a:pt x="443960" y="851046"/>
                    <a:pt x="490538" y="839235"/>
                    <a:pt x="520637" y="805993"/>
                  </a:cubicBezTo>
                  <a:cubicBezTo>
                    <a:pt x="545878" y="779133"/>
                    <a:pt x="555212" y="741318"/>
                    <a:pt x="555498" y="705314"/>
                  </a:cubicBezTo>
                  <a:cubicBezTo>
                    <a:pt x="556355" y="658356"/>
                    <a:pt x="558832" y="606349"/>
                    <a:pt x="529304" y="566535"/>
                  </a:cubicBezTo>
                  <a:cubicBezTo>
                    <a:pt x="500348" y="525768"/>
                    <a:pt x="448056" y="510718"/>
                    <a:pt x="400241" y="510623"/>
                  </a:cubicBezTo>
                  <a:cubicBezTo>
                    <a:pt x="305181" y="510147"/>
                    <a:pt x="210122" y="510623"/>
                    <a:pt x="115062" y="510432"/>
                  </a:cubicBezTo>
                  <a:close/>
                </a:path>
              </a:pathLst>
            </a:custGeom>
            <a:solidFill>
              <a:srgbClr val="000000"/>
            </a:solidFill>
            <a:ln w="9525" cap="flat">
              <a:noFill/>
              <a:prstDash val="solid"/>
              <a:miter/>
            </a:ln>
          </p:spPr>
          <p:txBody>
            <a:bodyPr rtlCol="0" anchor="ctr"/>
            <a:lstStyle/>
            <a:p>
              <a:endParaRPr lang="en-US" sz="900"/>
            </a:p>
          </p:txBody>
        </p:sp>
        <p:sp>
          <p:nvSpPr>
            <p:cNvPr id="31" name="Freeform: Shape 30">
              <a:extLst>
                <a:ext uri="{FF2B5EF4-FFF2-40B4-BE49-F238E27FC236}">
                  <a16:creationId xmlns:a16="http://schemas.microsoft.com/office/drawing/2014/main" id="{DAC6552B-CC29-F330-6668-3C653EA3A00C}"/>
                </a:ext>
              </a:extLst>
            </p:cNvPr>
            <p:cNvSpPr/>
            <p:nvPr/>
          </p:nvSpPr>
          <p:spPr>
            <a:xfrm>
              <a:off x="8079644" y="8629935"/>
              <a:ext cx="854868" cy="952499"/>
            </a:xfrm>
            <a:custGeom>
              <a:avLst/>
              <a:gdLst>
                <a:gd name="connsiteX0" fmla="*/ 0 w 854868"/>
                <a:gd name="connsiteY0" fmla="*/ 95 h 952499"/>
                <a:gd name="connsiteX1" fmla="*/ 153734 w 854868"/>
                <a:gd name="connsiteY1" fmla="*/ 95 h 952499"/>
                <a:gd name="connsiteX2" fmla="*/ 430530 w 854868"/>
                <a:gd name="connsiteY2" fmla="*/ 516827 h 952499"/>
                <a:gd name="connsiteX3" fmla="*/ 706946 w 854868"/>
                <a:gd name="connsiteY3" fmla="*/ 0 h 952499"/>
                <a:gd name="connsiteX4" fmla="*/ 854869 w 854868"/>
                <a:gd name="connsiteY4" fmla="*/ 0 h 952499"/>
                <a:gd name="connsiteX5" fmla="*/ 854869 w 854868"/>
                <a:gd name="connsiteY5" fmla="*/ 952500 h 952499"/>
                <a:gd name="connsiteX6" fmla="*/ 742569 w 854868"/>
                <a:gd name="connsiteY6" fmla="*/ 952500 h 952499"/>
                <a:gd name="connsiteX7" fmla="*/ 741521 w 854868"/>
                <a:gd name="connsiteY7" fmla="*/ 146780 h 952499"/>
                <a:gd name="connsiteX8" fmla="*/ 707422 w 854868"/>
                <a:gd name="connsiteY8" fmla="*/ 207074 h 952499"/>
                <a:gd name="connsiteX9" fmla="*/ 427577 w 854868"/>
                <a:gd name="connsiteY9" fmla="*/ 725138 h 952499"/>
                <a:gd name="connsiteX10" fmla="*/ 193262 w 854868"/>
                <a:gd name="connsiteY10" fmla="*/ 297752 h 952499"/>
                <a:gd name="connsiteX11" fmla="*/ 113348 w 854868"/>
                <a:gd name="connsiteY11" fmla="*/ 146209 h 952499"/>
                <a:gd name="connsiteX12" fmla="*/ 112300 w 854868"/>
                <a:gd name="connsiteY12" fmla="*/ 952500 h 952499"/>
                <a:gd name="connsiteX13" fmla="*/ 0 w 854868"/>
                <a:gd name="connsiteY13" fmla="*/ 952500 h 952499"/>
                <a:gd name="connsiteX14" fmla="*/ 0 w 854868"/>
                <a:gd name="connsiteY14" fmla="*/ 95 h 952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54868" h="952499">
                  <a:moveTo>
                    <a:pt x="0" y="95"/>
                  </a:moveTo>
                  <a:cubicBezTo>
                    <a:pt x="51245" y="95"/>
                    <a:pt x="102489" y="95"/>
                    <a:pt x="153734" y="95"/>
                  </a:cubicBezTo>
                  <a:cubicBezTo>
                    <a:pt x="246221" y="172212"/>
                    <a:pt x="335090" y="346424"/>
                    <a:pt x="430530" y="516827"/>
                  </a:cubicBezTo>
                  <a:cubicBezTo>
                    <a:pt x="522923" y="344615"/>
                    <a:pt x="614744" y="172212"/>
                    <a:pt x="706946" y="0"/>
                  </a:cubicBezTo>
                  <a:lnTo>
                    <a:pt x="854869" y="0"/>
                  </a:lnTo>
                  <a:lnTo>
                    <a:pt x="854869" y="952500"/>
                  </a:lnTo>
                  <a:lnTo>
                    <a:pt x="742569" y="952500"/>
                  </a:lnTo>
                  <a:cubicBezTo>
                    <a:pt x="741902" y="683895"/>
                    <a:pt x="743998" y="415290"/>
                    <a:pt x="741521" y="146780"/>
                  </a:cubicBezTo>
                  <a:cubicBezTo>
                    <a:pt x="726948" y="164973"/>
                    <a:pt x="717613" y="186404"/>
                    <a:pt x="707422" y="207074"/>
                  </a:cubicBezTo>
                  <a:cubicBezTo>
                    <a:pt x="619982" y="382810"/>
                    <a:pt x="520541" y="552260"/>
                    <a:pt x="427577" y="725138"/>
                  </a:cubicBezTo>
                  <a:cubicBezTo>
                    <a:pt x="349472" y="582644"/>
                    <a:pt x="270510" y="440722"/>
                    <a:pt x="193262" y="297752"/>
                  </a:cubicBezTo>
                  <a:cubicBezTo>
                    <a:pt x="165830" y="247650"/>
                    <a:pt x="145161" y="193739"/>
                    <a:pt x="113348" y="146209"/>
                  </a:cubicBezTo>
                  <a:cubicBezTo>
                    <a:pt x="110966" y="415004"/>
                    <a:pt x="112967" y="683705"/>
                    <a:pt x="112300" y="952500"/>
                  </a:cubicBezTo>
                  <a:lnTo>
                    <a:pt x="0" y="952500"/>
                  </a:lnTo>
                  <a:lnTo>
                    <a:pt x="0" y="95"/>
                  </a:lnTo>
                  <a:close/>
                </a:path>
              </a:pathLst>
            </a:custGeom>
            <a:solidFill>
              <a:srgbClr val="000000"/>
            </a:solidFill>
            <a:ln w="9525" cap="flat">
              <a:noFill/>
              <a:prstDash val="solid"/>
              <a:miter/>
            </a:ln>
          </p:spPr>
          <p:txBody>
            <a:bodyPr rtlCol="0" anchor="ctr"/>
            <a:lstStyle/>
            <a:p>
              <a:endParaRPr lang="en-US" sz="900"/>
            </a:p>
          </p:txBody>
        </p:sp>
        <p:sp>
          <p:nvSpPr>
            <p:cNvPr id="32" name="Freeform: Shape 31">
              <a:extLst>
                <a:ext uri="{FF2B5EF4-FFF2-40B4-BE49-F238E27FC236}">
                  <a16:creationId xmlns:a16="http://schemas.microsoft.com/office/drawing/2014/main" id="{19266CF2-A3CF-C8D9-7BB9-06D2E42E9729}"/>
                </a:ext>
              </a:extLst>
            </p:cNvPr>
            <p:cNvSpPr/>
            <p:nvPr/>
          </p:nvSpPr>
          <p:spPr>
            <a:xfrm>
              <a:off x="9365138" y="8630030"/>
              <a:ext cx="723900" cy="952500"/>
            </a:xfrm>
            <a:custGeom>
              <a:avLst/>
              <a:gdLst>
                <a:gd name="connsiteX0" fmla="*/ 0 w 723900"/>
                <a:gd name="connsiteY0" fmla="*/ 0 h 952500"/>
                <a:gd name="connsiteX1" fmla="*/ 723900 w 723900"/>
                <a:gd name="connsiteY1" fmla="*/ 0 h 952500"/>
                <a:gd name="connsiteX2" fmla="*/ 723900 w 723900"/>
                <a:gd name="connsiteY2" fmla="*/ 184595 h 952500"/>
                <a:gd name="connsiteX3" fmla="*/ 465963 w 723900"/>
                <a:gd name="connsiteY3" fmla="*/ 184499 h 952500"/>
                <a:gd name="connsiteX4" fmla="*/ 465963 w 723900"/>
                <a:gd name="connsiteY4" fmla="*/ 952500 h 952500"/>
                <a:gd name="connsiteX5" fmla="*/ 257937 w 723900"/>
                <a:gd name="connsiteY5" fmla="*/ 952500 h 952500"/>
                <a:gd name="connsiteX6" fmla="*/ 257937 w 723900"/>
                <a:gd name="connsiteY6" fmla="*/ 184595 h 952500"/>
                <a:gd name="connsiteX7" fmla="*/ 0 w 723900"/>
                <a:gd name="connsiteY7" fmla="*/ 184595 h 952500"/>
                <a:gd name="connsiteX8" fmla="*/ 0 w 723900"/>
                <a:gd name="connsiteY8" fmla="*/ 0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3900" h="952500">
                  <a:moveTo>
                    <a:pt x="0" y="0"/>
                  </a:moveTo>
                  <a:lnTo>
                    <a:pt x="723900" y="0"/>
                  </a:lnTo>
                  <a:lnTo>
                    <a:pt x="723900" y="184595"/>
                  </a:lnTo>
                  <a:cubicBezTo>
                    <a:pt x="637889" y="184595"/>
                    <a:pt x="551879" y="184595"/>
                    <a:pt x="465963" y="184499"/>
                  </a:cubicBezTo>
                  <a:cubicBezTo>
                    <a:pt x="465868" y="440531"/>
                    <a:pt x="465963" y="696468"/>
                    <a:pt x="465963" y="952500"/>
                  </a:cubicBezTo>
                  <a:lnTo>
                    <a:pt x="257937" y="952500"/>
                  </a:lnTo>
                  <a:lnTo>
                    <a:pt x="257937" y="184595"/>
                  </a:lnTo>
                  <a:cubicBezTo>
                    <a:pt x="172021" y="184499"/>
                    <a:pt x="86011" y="184595"/>
                    <a:pt x="0" y="184595"/>
                  </a:cubicBezTo>
                  <a:lnTo>
                    <a:pt x="0" y="0"/>
                  </a:lnTo>
                  <a:close/>
                </a:path>
              </a:pathLst>
            </a:custGeom>
            <a:solidFill>
              <a:srgbClr val="000000"/>
            </a:solidFill>
            <a:ln w="9525" cap="flat">
              <a:noFill/>
              <a:prstDash val="solid"/>
              <a:miter/>
            </a:ln>
          </p:spPr>
          <p:txBody>
            <a:bodyPr rtlCol="0" anchor="ctr"/>
            <a:lstStyle/>
            <a:p>
              <a:endParaRPr lang="en-US" sz="900"/>
            </a:p>
          </p:txBody>
        </p:sp>
        <p:sp>
          <p:nvSpPr>
            <p:cNvPr id="33" name="Freeform: Shape 32">
              <a:extLst>
                <a:ext uri="{FF2B5EF4-FFF2-40B4-BE49-F238E27FC236}">
                  <a16:creationId xmlns:a16="http://schemas.microsoft.com/office/drawing/2014/main" id="{F944B8FF-4796-89E0-ECF1-D2DAE08721F7}"/>
                </a:ext>
              </a:extLst>
            </p:cNvPr>
            <p:cNvSpPr/>
            <p:nvPr/>
          </p:nvSpPr>
          <p:spPr>
            <a:xfrm>
              <a:off x="12344082" y="8630030"/>
              <a:ext cx="875252" cy="952622"/>
            </a:xfrm>
            <a:custGeom>
              <a:avLst/>
              <a:gdLst>
                <a:gd name="connsiteX0" fmla="*/ 14954 w 875252"/>
                <a:gd name="connsiteY0" fmla="*/ 0 h 952622"/>
                <a:gd name="connsiteX1" fmla="*/ 257080 w 875252"/>
                <a:gd name="connsiteY1" fmla="*/ 0 h 952622"/>
                <a:gd name="connsiteX2" fmla="*/ 444627 w 875252"/>
                <a:gd name="connsiteY2" fmla="*/ 324612 h 952622"/>
                <a:gd name="connsiteX3" fmla="*/ 634555 w 875252"/>
                <a:gd name="connsiteY3" fmla="*/ 95 h 952622"/>
                <a:gd name="connsiteX4" fmla="*/ 858869 w 875252"/>
                <a:gd name="connsiteY4" fmla="*/ 95 h 952622"/>
                <a:gd name="connsiteX5" fmla="*/ 565499 w 875252"/>
                <a:gd name="connsiteY5" fmla="*/ 464058 h 952622"/>
                <a:gd name="connsiteX6" fmla="*/ 875252 w 875252"/>
                <a:gd name="connsiteY6" fmla="*/ 952595 h 952622"/>
                <a:gd name="connsiteX7" fmla="*/ 634555 w 875252"/>
                <a:gd name="connsiteY7" fmla="*/ 952595 h 952622"/>
                <a:gd name="connsiteX8" fmla="*/ 426625 w 875252"/>
                <a:gd name="connsiteY8" fmla="*/ 599504 h 952622"/>
                <a:gd name="connsiteX9" fmla="*/ 224314 w 875252"/>
                <a:gd name="connsiteY9" fmla="*/ 952595 h 952622"/>
                <a:gd name="connsiteX10" fmla="*/ 0 w 875252"/>
                <a:gd name="connsiteY10" fmla="*/ 952595 h 952622"/>
                <a:gd name="connsiteX11" fmla="*/ 305562 w 875252"/>
                <a:gd name="connsiteY11" fmla="*/ 459867 h 952622"/>
                <a:gd name="connsiteX12" fmla="*/ 14954 w 875252"/>
                <a:gd name="connsiteY12" fmla="*/ 95 h 952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75252" h="952622">
                  <a:moveTo>
                    <a:pt x="14954" y="0"/>
                  </a:moveTo>
                  <a:cubicBezTo>
                    <a:pt x="95631" y="0"/>
                    <a:pt x="176308" y="0"/>
                    <a:pt x="257080" y="0"/>
                  </a:cubicBezTo>
                  <a:cubicBezTo>
                    <a:pt x="319754" y="108109"/>
                    <a:pt x="381381" y="216789"/>
                    <a:pt x="444627" y="324612"/>
                  </a:cubicBezTo>
                  <a:cubicBezTo>
                    <a:pt x="508064" y="216503"/>
                    <a:pt x="571119" y="108204"/>
                    <a:pt x="634555" y="95"/>
                  </a:cubicBezTo>
                  <a:lnTo>
                    <a:pt x="858869" y="95"/>
                  </a:lnTo>
                  <a:cubicBezTo>
                    <a:pt x="761143" y="154781"/>
                    <a:pt x="663321" y="309372"/>
                    <a:pt x="565499" y="464058"/>
                  </a:cubicBezTo>
                  <a:cubicBezTo>
                    <a:pt x="668750" y="626840"/>
                    <a:pt x="772001" y="789718"/>
                    <a:pt x="875252" y="952595"/>
                  </a:cubicBezTo>
                  <a:cubicBezTo>
                    <a:pt x="795052" y="952691"/>
                    <a:pt x="714756" y="952500"/>
                    <a:pt x="634555" y="952595"/>
                  </a:cubicBezTo>
                  <a:cubicBezTo>
                    <a:pt x="565118" y="834962"/>
                    <a:pt x="496538" y="716852"/>
                    <a:pt x="426625" y="599504"/>
                  </a:cubicBezTo>
                  <a:cubicBezTo>
                    <a:pt x="358807" y="716947"/>
                    <a:pt x="291846" y="834962"/>
                    <a:pt x="224314" y="952595"/>
                  </a:cubicBezTo>
                  <a:lnTo>
                    <a:pt x="0" y="952595"/>
                  </a:lnTo>
                  <a:cubicBezTo>
                    <a:pt x="101822" y="788289"/>
                    <a:pt x="203740" y="624173"/>
                    <a:pt x="305562" y="459867"/>
                  </a:cubicBezTo>
                  <a:cubicBezTo>
                    <a:pt x="208693" y="306705"/>
                    <a:pt x="111823" y="153353"/>
                    <a:pt x="14954" y="95"/>
                  </a:cubicBezTo>
                  <a:close/>
                </a:path>
              </a:pathLst>
            </a:custGeom>
            <a:solidFill>
              <a:srgbClr val="000000"/>
            </a:solidFill>
            <a:ln w="9525" cap="flat">
              <a:noFill/>
              <a:prstDash val="solid"/>
              <a:miter/>
            </a:ln>
          </p:spPr>
          <p:txBody>
            <a:bodyPr rtlCol="0" anchor="ctr"/>
            <a:lstStyle/>
            <a:p>
              <a:endParaRPr lang="en-US" sz="900"/>
            </a:p>
          </p:txBody>
        </p:sp>
        <p:sp>
          <p:nvSpPr>
            <p:cNvPr id="34" name="Freeform: Shape 33">
              <a:extLst>
                <a:ext uri="{FF2B5EF4-FFF2-40B4-BE49-F238E27FC236}">
                  <a16:creationId xmlns:a16="http://schemas.microsoft.com/office/drawing/2014/main" id="{42DF0011-F527-8047-800F-7E155446FCD6}"/>
                </a:ext>
              </a:extLst>
            </p:cNvPr>
            <p:cNvSpPr/>
            <p:nvPr/>
          </p:nvSpPr>
          <p:spPr>
            <a:xfrm>
              <a:off x="16351421" y="8727139"/>
              <a:ext cx="728351" cy="1144977"/>
            </a:xfrm>
            <a:custGeom>
              <a:avLst/>
              <a:gdLst>
                <a:gd name="connsiteX0" fmla="*/ 509416 w 728351"/>
                <a:gd name="connsiteY0" fmla="*/ 14429 h 1144977"/>
                <a:gd name="connsiteX1" fmla="*/ 685629 w 728351"/>
                <a:gd name="connsiteY1" fmla="*/ 904 h 1144977"/>
                <a:gd name="connsiteX2" fmla="*/ 685724 w 728351"/>
                <a:gd name="connsiteY2" fmla="*/ 151304 h 1144977"/>
                <a:gd name="connsiteX3" fmla="*/ 522275 w 728351"/>
                <a:gd name="connsiteY3" fmla="*/ 152542 h 1144977"/>
                <a:gd name="connsiteX4" fmla="*/ 628097 w 728351"/>
                <a:gd name="connsiteY4" fmla="*/ 257031 h 1144977"/>
                <a:gd name="connsiteX5" fmla="*/ 595141 w 728351"/>
                <a:gd name="connsiteY5" fmla="*/ 517730 h 1144977"/>
                <a:gd name="connsiteX6" fmla="*/ 424834 w 728351"/>
                <a:gd name="connsiteY6" fmla="*/ 596312 h 1144977"/>
                <a:gd name="connsiteX7" fmla="*/ 215093 w 728351"/>
                <a:gd name="connsiteY7" fmla="*/ 586406 h 1144977"/>
                <a:gd name="connsiteX8" fmla="*/ 207664 w 728351"/>
                <a:gd name="connsiteY8" fmla="*/ 685561 h 1144977"/>
                <a:gd name="connsiteX9" fmla="*/ 352254 w 728351"/>
                <a:gd name="connsiteY9" fmla="*/ 698229 h 1144977"/>
                <a:gd name="connsiteX10" fmla="*/ 619430 w 728351"/>
                <a:gd name="connsiteY10" fmla="*/ 722327 h 1144977"/>
                <a:gd name="connsiteX11" fmla="*/ 722490 w 728351"/>
                <a:gd name="connsiteY11" fmla="*/ 848248 h 1144977"/>
                <a:gd name="connsiteX12" fmla="*/ 671818 w 728351"/>
                <a:gd name="connsiteY12" fmla="*/ 1060560 h 1144977"/>
                <a:gd name="connsiteX13" fmla="*/ 458933 w 728351"/>
                <a:gd name="connsiteY13" fmla="*/ 1139237 h 1144977"/>
                <a:gd name="connsiteX14" fmla="*/ 192615 w 728351"/>
                <a:gd name="connsiteY14" fmla="*/ 1135141 h 1144977"/>
                <a:gd name="connsiteX15" fmla="*/ 44406 w 728351"/>
                <a:gd name="connsiteY15" fmla="*/ 1078372 h 1144977"/>
                <a:gd name="connsiteX16" fmla="*/ 53168 w 728351"/>
                <a:gd name="connsiteY16" fmla="*/ 870060 h 1144977"/>
                <a:gd name="connsiteX17" fmla="*/ 132893 w 728351"/>
                <a:gd name="connsiteY17" fmla="*/ 840533 h 1144977"/>
                <a:gd name="connsiteX18" fmla="*/ 133845 w 728351"/>
                <a:gd name="connsiteY18" fmla="*/ 828817 h 1144977"/>
                <a:gd name="connsiteX19" fmla="*/ 74886 w 728351"/>
                <a:gd name="connsiteY19" fmla="*/ 800909 h 1144977"/>
                <a:gd name="connsiteX20" fmla="*/ 62407 w 728351"/>
                <a:gd name="connsiteY20" fmla="*/ 623458 h 1144977"/>
                <a:gd name="connsiteX21" fmla="*/ 167373 w 728351"/>
                <a:gd name="connsiteY21" fmla="*/ 571451 h 1144977"/>
                <a:gd name="connsiteX22" fmla="*/ 48883 w 728351"/>
                <a:gd name="connsiteY22" fmla="*/ 446293 h 1144977"/>
                <a:gd name="connsiteX23" fmla="*/ 89078 w 728351"/>
                <a:gd name="connsiteY23" fmla="*/ 211311 h 1144977"/>
                <a:gd name="connsiteX24" fmla="*/ 259099 w 728351"/>
                <a:gd name="connsiteY24" fmla="*/ 128444 h 1144977"/>
                <a:gd name="connsiteX25" fmla="*/ 463982 w 728351"/>
                <a:gd name="connsiteY25" fmla="*/ 135397 h 1144977"/>
                <a:gd name="connsiteX26" fmla="*/ 509416 w 728351"/>
                <a:gd name="connsiteY26" fmla="*/ 14429 h 1144977"/>
                <a:gd name="connsiteX27" fmla="*/ 299866 w 728351"/>
                <a:gd name="connsiteY27" fmla="*/ 260841 h 1144977"/>
                <a:gd name="connsiteX28" fmla="*/ 226714 w 728351"/>
                <a:gd name="connsiteY28" fmla="*/ 331612 h 1144977"/>
                <a:gd name="connsiteX29" fmla="*/ 251860 w 728351"/>
                <a:gd name="connsiteY29" fmla="*/ 441245 h 1144977"/>
                <a:gd name="connsiteX30" fmla="*/ 381210 w 728351"/>
                <a:gd name="connsiteY30" fmla="*/ 465724 h 1144977"/>
                <a:gd name="connsiteX31" fmla="*/ 458838 w 728351"/>
                <a:gd name="connsiteY31" fmla="*/ 397906 h 1144977"/>
                <a:gd name="connsiteX32" fmla="*/ 431216 w 728351"/>
                <a:gd name="connsiteY32" fmla="*/ 281320 h 1144977"/>
                <a:gd name="connsiteX33" fmla="*/ 299866 w 728351"/>
                <a:gd name="connsiteY33" fmla="*/ 260841 h 1144977"/>
                <a:gd name="connsiteX34" fmla="*/ 182613 w 728351"/>
                <a:gd name="connsiteY34" fmla="*/ 987218 h 1144977"/>
                <a:gd name="connsiteX35" fmla="*/ 343872 w 728351"/>
                <a:gd name="connsiteY35" fmla="*/ 1010554 h 1144977"/>
                <a:gd name="connsiteX36" fmla="*/ 507321 w 728351"/>
                <a:gd name="connsiteY36" fmla="*/ 990170 h 1144977"/>
                <a:gd name="connsiteX37" fmla="*/ 517321 w 728351"/>
                <a:gd name="connsiteY37" fmla="*/ 890158 h 1144977"/>
                <a:gd name="connsiteX38" fmla="*/ 428644 w 728351"/>
                <a:gd name="connsiteY38" fmla="*/ 870536 h 1144977"/>
                <a:gd name="connsiteX39" fmla="*/ 180994 w 728351"/>
                <a:gd name="connsiteY39" fmla="*/ 870155 h 1144977"/>
                <a:gd name="connsiteX40" fmla="*/ 182613 w 728351"/>
                <a:gd name="connsiteY40" fmla="*/ 987218 h 1144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28351" h="1144977">
                  <a:moveTo>
                    <a:pt x="509416" y="14429"/>
                  </a:moveTo>
                  <a:cubicBezTo>
                    <a:pt x="564471" y="-10431"/>
                    <a:pt x="627240" y="5381"/>
                    <a:pt x="685629" y="904"/>
                  </a:cubicBezTo>
                  <a:cubicBezTo>
                    <a:pt x="685629" y="51005"/>
                    <a:pt x="685629" y="101202"/>
                    <a:pt x="685724" y="151304"/>
                  </a:cubicBezTo>
                  <a:cubicBezTo>
                    <a:pt x="631146" y="151875"/>
                    <a:pt x="576663" y="150065"/>
                    <a:pt x="522275" y="152542"/>
                  </a:cubicBezTo>
                  <a:cubicBezTo>
                    <a:pt x="564185" y="179498"/>
                    <a:pt x="607809" y="209311"/>
                    <a:pt x="628097" y="257031"/>
                  </a:cubicBezTo>
                  <a:cubicBezTo>
                    <a:pt x="665245" y="340280"/>
                    <a:pt x="658673" y="448769"/>
                    <a:pt x="595141" y="517730"/>
                  </a:cubicBezTo>
                  <a:cubicBezTo>
                    <a:pt x="551136" y="564879"/>
                    <a:pt x="487223" y="587168"/>
                    <a:pt x="424834" y="596312"/>
                  </a:cubicBezTo>
                  <a:cubicBezTo>
                    <a:pt x="355112" y="605551"/>
                    <a:pt x="283388" y="603932"/>
                    <a:pt x="215093" y="586406"/>
                  </a:cubicBezTo>
                  <a:cubicBezTo>
                    <a:pt x="183757" y="608123"/>
                    <a:pt x="170231" y="663177"/>
                    <a:pt x="207664" y="685561"/>
                  </a:cubicBezTo>
                  <a:cubicBezTo>
                    <a:pt x="252527" y="707087"/>
                    <a:pt x="304247" y="695181"/>
                    <a:pt x="352254" y="698229"/>
                  </a:cubicBezTo>
                  <a:cubicBezTo>
                    <a:pt x="441312" y="701277"/>
                    <a:pt x="534848" y="687085"/>
                    <a:pt x="619430" y="722327"/>
                  </a:cubicBezTo>
                  <a:cubicBezTo>
                    <a:pt x="672484" y="743282"/>
                    <a:pt x="712108" y="792241"/>
                    <a:pt x="722490" y="848248"/>
                  </a:cubicBezTo>
                  <a:cubicBezTo>
                    <a:pt x="736301" y="921019"/>
                    <a:pt x="728110" y="1006744"/>
                    <a:pt x="671818" y="1060560"/>
                  </a:cubicBezTo>
                  <a:cubicBezTo>
                    <a:pt x="614857" y="1114281"/>
                    <a:pt x="534086" y="1130283"/>
                    <a:pt x="458933" y="1139237"/>
                  </a:cubicBezTo>
                  <a:cubicBezTo>
                    <a:pt x="370447" y="1147428"/>
                    <a:pt x="280721" y="1147524"/>
                    <a:pt x="192615" y="1135141"/>
                  </a:cubicBezTo>
                  <a:cubicBezTo>
                    <a:pt x="140322" y="1126473"/>
                    <a:pt x="85744" y="1113233"/>
                    <a:pt x="44406" y="1078372"/>
                  </a:cubicBezTo>
                  <a:cubicBezTo>
                    <a:pt x="-17698" y="1026937"/>
                    <a:pt x="-14554" y="915209"/>
                    <a:pt x="53168" y="870060"/>
                  </a:cubicBezTo>
                  <a:cubicBezTo>
                    <a:pt x="76505" y="852820"/>
                    <a:pt x="105461" y="847867"/>
                    <a:pt x="132893" y="840533"/>
                  </a:cubicBezTo>
                  <a:cubicBezTo>
                    <a:pt x="133179" y="837580"/>
                    <a:pt x="133560" y="831674"/>
                    <a:pt x="133845" y="828817"/>
                  </a:cubicBezTo>
                  <a:cubicBezTo>
                    <a:pt x="113747" y="820149"/>
                    <a:pt x="91459" y="815577"/>
                    <a:pt x="74886" y="800909"/>
                  </a:cubicBezTo>
                  <a:cubicBezTo>
                    <a:pt x="22880" y="759475"/>
                    <a:pt x="13259" y="670702"/>
                    <a:pt x="62407" y="623458"/>
                  </a:cubicBezTo>
                  <a:cubicBezTo>
                    <a:pt x="90411" y="594597"/>
                    <a:pt x="130036" y="582786"/>
                    <a:pt x="167373" y="571451"/>
                  </a:cubicBezTo>
                  <a:cubicBezTo>
                    <a:pt x="114129" y="546401"/>
                    <a:pt x="66980" y="503538"/>
                    <a:pt x="48883" y="446293"/>
                  </a:cubicBezTo>
                  <a:cubicBezTo>
                    <a:pt x="23546" y="368283"/>
                    <a:pt x="33357" y="274271"/>
                    <a:pt x="89078" y="211311"/>
                  </a:cubicBezTo>
                  <a:cubicBezTo>
                    <a:pt x="132036" y="162448"/>
                    <a:pt x="196043" y="138159"/>
                    <a:pt x="259099" y="128444"/>
                  </a:cubicBezTo>
                  <a:cubicBezTo>
                    <a:pt x="327012" y="118728"/>
                    <a:pt x="396925" y="119871"/>
                    <a:pt x="463982" y="135397"/>
                  </a:cubicBezTo>
                  <a:cubicBezTo>
                    <a:pt x="462457" y="91963"/>
                    <a:pt x="465697" y="37289"/>
                    <a:pt x="509416" y="14429"/>
                  </a:cubicBezTo>
                  <a:moveTo>
                    <a:pt x="299866" y="260841"/>
                  </a:moveTo>
                  <a:cubicBezTo>
                    <a:pt x="264243" y="267223"/>
                    <a:pt x="231476" y="294464"/>
                    <a:pt x="226714" y="331612"/>
                  </a:cubicBezTo>
                  <a:cubicBezTo>
                    <a:pt x="221476" y="368855"/>
                    <a:pt x="221571" y="413908"/>
                    <a:pt x="251860" y="441245"/>
                  </a:cubicBezTo>
                  <a:cubicBezTo>
                    <a:pt x="286817" y="471534"/>
                    <a:pt x="337585" y="472201"/>
                    <a:pt x="381210" y="465724"/>
                  </a:cubicBezTo>
                  <a:cubicBezTo>
                    <a:pt x="417214" y="460676"/>
                    <a:pt x="452171" y="435339"/>
                    <a:pt x="458838" y="397906"/>
                  </a:cubicBezTo>
                  <a:cubicBezTo>
                    <a:pt x="465315" y="358282"/>
                    <a:pt x="465315" y="308942"/>
                    <a:pt x="431216" y="281320"/>
                  </a:cubicBezTo>
                  <a:cubicBezTo>
                    <a:pt x="394164" y="253221"/>
                    <a:pt x="343586" y="252935"/>
                    <a:pt x="299866" y="260841"/>
                  </a:cubicBezTo>
                  <a:moveTo>
                    <a:pt x="182613" y="987218"/>
                  </a:moveTo>
                  <a:cubicBezTo>
                    <a:pt x="230810" y="1015888"/>
                    <a:pt x="289960" y="1009411"/>
                    <a:pt x="343872" y="1010554"/>
                  </a:cubicBezTo>
                  <a:cubicBezTo>
                    <a:pt x="398354" y="1009411"/>
                    <a:pt x="457124" y="1016078"/>
                    <a:pt x="507321" y="990170"/>
                  </a:cubicBezTo>
                  <a:cubicBezTo>
                    <a:pt x="543135" y="972073"/>
                    <a:pt x="550183" y="914256"/>
                    <a:pt x="517321" y="890158"/>
                  </a:cubicBezTo>
                  <a:cubicBezTo>
                    <a:pt x="491509" y="872346"/>
                    <a:pt x="458744" y="871394"/>
                    <a:pt x="428644" y="870536"/>
                  </a:cubicBezTo>
                  <a:cubicBezTo>
                    <a:pt x="346062" y="870155"/>
                    <a:pt x="263481" y="871013"/>
                    <a:pt x="180994" y="870155"/>
                  </a:cubicBezTo>
                  <a:cubicBezTo>
                    <a:pt x="153467" y="902064"/>
                    <a:pt x="142608" y="960548"/>
                    <a:pt x="182613" y="987218"/>
                  </a:cubicBezTo>
                  <a:close/>
                </a:path>
              </a:pathLst>
            </a:custGeom>
            <a:solidFill>
              <a:srgbClr val="000000"/>
            </a:solidFill>
            <a:ln w="9525" cap="flat">
              <a:noFill/>
              <a:prstDash val="solid"/>
              <a:miter/>
            </a:ln>
          </p:spPr>
          <p:txBody>
            <a:bodyPr rtlCol="0" anchor="ctr"/>
            <a:lstStyle/>
            <a:p>
              <a:endParaRPr lang="en-US" sz="900"/>
            </a:p>
          </p:txBody>
        </p:sp>
        <p:sp>
          <p:nvSpPr>
            <p:cNvPr id="35" name="Freeform: Shape 34">
              <a:extLst>
                <a:ext uri="{FF2B5EF4-FFF2-40B4-BE49-F238E27FC236}">
                  <a16:creationId xmlns:a16="http://schemas.microsoft.com/office/drawing/2014/main" id="{53871B77-82D8-9E96-7FDF-19E07894D012}"/>
                </a:ext>
              </a:extLst>
            </p:cNvPr>
            <p:cNvSpPr/>
            <p:nvPr/>
          </p:nvSpPr>
          <p:spPr>
            <a:xfrm>
              <a:off x="10085832" y="8849421"/>
              <a:ext cx="669369" cy="749856"/>
            </a:xfrm>
            <a:custGeom>
              <a:avLst/>
              <a:gdLst>
                <a:gd name="connsiteX0" fmla="*/ 260667 w 669369"/>
                <a:gd name="connsiteY0" fmla="*/ 6542 h 749856"/>
                <a:gd name="connsiteX1" fmla="*/ 515461 w 669369"/>
                <a:gd name="connsiteY1" fmla="*/ 44071 h 749856"/>
                <a:gd name="connsiteX2" fmla="*/ 650335 w 669369"/>
                <a:gd name="connsiteY2" fmla="*/ 226855 h 749856"/>
                <a:gd name="connsiteX3" fmla="*/ 669099 w 669369"/>
                <a:gd name="connsiteY3" fmla="*/ 426404 h 749856"/>
                <a:gd name="connsiteX4" fmla="*/ 208470 w 669369"/>
                <a:gd name="connsiteY4" fmla="*/ 426404 h 749856"/>
                <a:gd name="connsiteX5" fmla="*/ 248666 w 669369"/>
                <a:gd name="connsiteY5" fmla="*/ 550039 h 749856"/>
                <a:gd name="connsiteX6" fmla="*/ 408590 w 669369"/>
                <a:gd name="connsiteY6" fmla="*/ 587472 h 749856"/>
                <a:gd name="connsiteX7" fmla="*/ 543464 w 669369"/>
                <a:gd name="connsiteY7" fmla="*/ 505081 h 749856"/>
                <a:gd name="connsiteX8" fmla="*/ 645001 w 669369"/>
                <a:gd name="connsiteY8" fmla="*/ 630239 h 749856"/>
                <a:gd name="connsiteX9" fmla="*/ 370110 w 669369"/>
                <a:gd name="connsiteY9" fmla="*/ 749111 h 749856"/>
                <a:gd name="connsiteX10" fmla="*/ 115697 w 669369"/>
                <a:gd name="connsiteY10" fmla="*/ 673673 h 749856"/>
                <a:gd name="connsiteX11" fmla="*/ 2444 w 669369"/>
                <a:gd name="connsiteY11" fmla="*/ 428785 h 749856"/>
                <a:gd name="connsiteX12" fmla="*/ 63881 w 669369"/>
                <a:gd name="connsiteY12" fmla="*/ 132082 h 749856"/>
                <a:gd name="connsiteX13" fmla="*/ 260667 w 669369"/>
                <a:gd name="connsiteY13" fmla="*/ 6542 h 749856"/>
                <a:gd name="connsiteX14" fmla="*/ 236283 w 669369"/>
                <a:gd name="connsiteY14" fmla="*/ 199900 h 749856"/>
                <a:gd name="connsiteX15" fmla="*/ 208375 w 669369"/>
                <a:gd name="connsiteY15" fmla="*/ 307246 h 749856"/>
                <a:gd name="connsiteX16" fmla="*/ 460216 w 669369"/>
                <a:gd name="connsiteY16" fmla="*/ 307246 h 749856"/>
                <a:gd name="connsiteX17" fmla="*/ 429450 w 669369"/>
                <a:gd name="connsiteY17" fmla="*/ 188851 h 749856"/>
                <a:gd name="connsiteX18" fmla="*/ 236283 w 669369"/>
                <a:gd name="connsiteY18" fmla="*/ 199900 h 74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9369" h="749856">
                  <a:moveTo>
                    <a:pt x="260667" y="6542"/>
                  </a:moveTo>
                  <a:cubicBezTo>
                    <a:pt x="346297" y="-7650"/>
                    <a:pt x="439261" y="-316"/>
                    <a:pt x="515461" y="44071"/>
                  </a:cubicBezTo>
                  <a:cubicBezTo>
                    <a:pt x="583279" y="83123"/>
                    <a:pt x="629285" y="152465"/>
                    <a:pt x="650335" y="226855"/>
                  </a:cubicBezTo>
                  <a:cubicBezTo>
                    <a:pt x="669956" y="291435"/>
                    <a:pt x="669956" y="359539"/>
                    <a:pt x="669099" y="426404"/>
                  </a:cubicBezTo>
                  <a:cubicBezTo>
                    <a:pt x="515556" y="426404"/>
                    <a:pt x="362013" y="426404"/>
                    <a:pt x="208470" y="426404"/>
                  </a:cubicBezTo>
                  <a:cubicBezTo>
                    <a:pt x="208565" y="470124"/>
                    <a:pt x="215900" y="518035"/>
                    <a:pt x="248666" y="550039"/>
                  </a:cubicBezTo>
                  <a:cubicBezTo>
                    <a:pt x="290004" y="590806"/>
                    <a:pt x="353822" y="596140"/>
                    <a:pt x="408590" y="587472"/>
                  </a:cubicBezTo>
                  <a:cubicBezTo>
                    <a:pt x="462693" y="579090"/>
                    <a:pt x="506603" y="543181"/>
                    <a:pt x="543464" y="505081"/>
                  </a:cubicBezTo>
                  <a:cubicBezTo>
                    <a:pt x="577373" y="546705"/>
                    <a:pt x="610235" y="589282"/>
                    <a:pt x="645001" y="630239"/>
                  </a:cubicBezTo>
                  <a:cubicBezTo>
                    <a:pt x="576993" y="708916"/>
                    <a:pt x="471741" y="744920"/>
                    <a:pt x="370110" y="749111"/>
                  </a:cubicBezTo>
                  <a:cubicBezTo>
                    <a:pt x="280384" y="754159"/>
                    <a:pt x="184848" y="734062"/>
                    <a:pt x="115697" y="673673"/>
                  </a:cubicBezTo>
                  <a:cubicBezTo>
                    <a:pt x="44640" y="613094"/>
                    <a:pt x="10255" y="519844"/>
                    <a:pt x="2444" y="428785"/>
                  </a:cubicBezTo>
                  <a:cubicBezTo>
                    <a:pt x="-6128" y="327249"/>
                    <a:pt x="6350" y="218664"/>
                    <a:pt x="63881" y="132082"/>
                  </a:cubicBezTo>
                  <a:cubicBezTo>
                    <a:pt x="107886" y="64645"/>
                    <a:pt x="181800" y="19972"/>
                    <a:pt x="260667" y="6542"/>
                  </a:cubicBezTo>
                  <a:moveTo>
                    <a:pt x="236283" y="199900"/>
                  </a:moveTo>
                  <a:cubicBezTo>
                    <a:pt x="213804" y="230856"/>
                    <a:pt x="209042" y="270004"/>
                    <a:pt x="208375" y="307246"/>
                  </a:cubicBezTo>
                  <a:lnTo>
                    <a:pt x="460216" y="307246"/>
                  </a:lnTo>
                  <a:cubicBezTo>
                    <a:pt x="459835" y="266289"/>
                    <a:pt x="455930" y="222093"/>
                    <a:pt x="429450" y="188851"/>
                  </a:cubicBezTo>
                  <a:cubicBezTo>
                    <a:pt x="382111" y="129700"/>
                    <a:pt x="278003" y="138273"/>
                    <a:pt x="236283" y="199900"/>
                  </a:cubicBezTo>
                  <a:close/>
                </a:path>
              </a:pathLst>
            </a:custGeom>
            <a:solidFill>
              <a:srgbClr val="000000"/>
            </a:solidFill>
            <a:ln w="9525" cap="flat">
              <a:noFill/>
              <a:prstDash val="solid"/>
              <a:miter/>
            </a:ln>
          </p:spPr>
          <p:txBody>
            <a:bodyPr rtlCol="0" anchor="ctr"/>
            <a:lstStyle/>
            <a:p>
              <a:endParaRPr lang="en-US" sz="900"/>
            </a:p>
          </p:txBody>
        </p:sp>
        <p:sp>
          <p:nvSpPr>
            <p:cNvPr id="36" name="Freeform: Shape 35">
              <a:extLst>
                <a:ext uri="{FF2B5EF4-FFF2-40B4-BE49-F238E27FC236}">
                  <a16:creationId xmlns:a16="http://schemas.microsoft.com/office/drawing/2014/main" id="{08EB9A85-89C6-1EC3-5478-A8F89D67749A}"/>
                </a:ext>
              </a:extLst>
            </p:cNvPr>
            <p:cNvSpPr/>
            <p:nvPr/>
          </p:nvSpPr>
          <p:spPr>
            <a:xfrm>
              <a:off x="10852675" y="8849297"/>
              <a:ext cx="625965" cy="749878"/>
            </a:xfrm>
            <a:custGeom>
              <a:avLst/>
              <a:gdLst>
                <a:gd name="connsiteX0" fmla="*/ 115044 w 625965"/>
                <a:gd name="connsiteY0" fmla="*/ 72770 h 749878"/>
                <a:gd name="connsiteX1" fmla="*/ 437561 w 625965"/>
                <a:gd name="connsiteY1" fmla="*/ 13810 h 749878"/>
                <a:gd name="connsiteX2" fmla="*/ 621870 w 625965"/>
                <a:gd name="connsiteY2" fmla="*/ 187165 h 749878"/>
                <a:gd name="connsiteX3" fmla="*/ 458230 w 625965"/>
                <a:gd name="connsiteY3" fmla="*/ 258221 h 749878"/>
                <a:gd name="connsiteX4" fmla="*/ 411843 w 625965"/>
                <a:gd name="connsiteY4" fmla="*/ 184117 h 749878"/>
                <a:gd name="connsiteX5" fmla="*/ 233916 w 625965"/>
                <a:gd name="connsiteY5" fmla="*/ 212120 h 749878"/>
                <a:gd name="connsiteX6" fmla="*/ 210771 w 625965"/>
                <a:gd name="connsiteY6" fmla="*/ 371093 h 749878"/>
                <a:gd name="connsiteX7" fmla="*/ 230868 w 625965"/>
                <a:gd name="connsiteY7" fmla="*/ 533684 h 749878"/>
                <a:gd name="connsiteX8" fmla="*/ 439371 w 625965"/>
                <a:gd name="connsiteY8" fmla="*/ 540352 h 749878"/>
                <a:gd name="connsiteX9" fmla="*/ 468708 w 625965"/>
                <a:gd name="connsiteY9" fmla="*/ 483392 h 749878"/>
                <a:gd name="connsiteX10" fmla="*/ 625965 w 625965"/>
                <a:gd name="connsiteY10" fmla="*/ 551782 h 749878"/>
                <a:gd name="connsiteX11" fmla="*/ 521095 w 625965"/>
                <a:gd name="connsiteY11" fmla="*/ 697800 h 749878"/>
                <a:gd name="connsiteX12" fmla="*/ 271921 w 625965"/>
                <a:gd name="connsiteY12" fmla="*/ 745425 h 749878"/>
                <a:gd name="connsiteX13" fmla="*/ 70086 w 625965"/>
                <a:gd name="connsiteY13" fmla="*/ 627696 h 749878"/>
                <a:gd name="connsiteX14" fmla="*/ 1316 w 625965"/>
                <a:gd name="connsiteY14" fmla="*/ 333183 h 749878"/>
                <a:gd name="connsiteX15" fmla="*/ 115044 w 625965"/>
                <a:gd name="connsiteY15" fmla="*/ 72770 h 749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5965" h="749878">
                  <a:moveTo>
                    <a:pt x="115044" y="72770"/>
                  </a:moveTo>
                  <a:cubicBezTo>
                    <a:pt x="202770" y="-1430"/>
                    <a:pt x="329357" y="-14479"/>
                    <a:pt x="437561" y="13810"/>
                  </a:cubicBezTo>
                  <a:cubicBezTo>
                    <a:pt x="523476" y="36003"/>
                    <a:pt x="592628" y="104202"/>
                    <a:pt x="621870" y="187165"/>
                  </a:cubicBezTo>
                  <a:cubicBezTo>
                    <a:pt x="567387" y="211073"/>
                    <a:pt x="512713" y="234504"/>
                    <a:pt x="458230" y="258221"/>
                  </a:cubicBezTo>
                  <a:cubicBezTo>
                    <a:pt x="449086" y="230313"/>
                    <a:pt x="436418" y="201738"/>
                    <a:pt x="411843" y="184117"/>
                  </a:cubicBezTo>
                  <a:cubicBezTo>
                    <a:pt x="358503" y="144969"/>
                    <a:pt x="269445" y="152494"/>
                    <a:pt x="233916" y="212120"/>
                  </a:cubicBezTo>
                  <a:cubicBezTo>
                    <a:pt x="204294" y="259650"/>
                    <a:pt x="211342" y="317753"/>
                    <a:pt x="210771" y="371093"/>
                  </a:cubicBezTo>
                  <a:cubicBezTo>
                    <a:pt x="212104" y="425385"/>
                    <a:pt x="203055" y="484059"/>
                    <a:pt x="230868" y="533684"/>
                  </a:cubicBezTo>
                  <a:cubicBezTo>
                    <a:pt x="271350" y="608265"/>
                    <a:pt x="392317" y="607884"/>
                    <a:pt x="439371" y="540352"/>
                  </a:cubicBezTo>
                  <a:cubicBezTo>
                    <a:pt x="452134" y="523112"/>
                    <a:pt x="460135" y="502919"/>
                    <a:pt x="468708" y="483392"/>
                  </a:cubicBezTo>
                  <a:cubicBezTo>
                    <a:pt x="521095" y="506252"/>
                    <a:pt x="573578" y="528922"/>
                    <a:pt x="625965" y="551782"/>
                  </a:cubicBezTo>
                  <a:cubicBezTo>
                    <a:pt x="605106" y="608741"/>
                    <a:pt x="571673" y="662939"/>
                    <a:pt x="521095" y="697800"/>
                  </a:cubicBezTo>
                  <a:cubicBezTo>
                    <a:pt x="449372" y="748092"/>
                    <a:pt x="356598" y="756855"/>
                    <a:pt x="271921" y="745425"/>
                  </a:cubicBezTo>
                  <a:cubicBezTo>
                    <a:pt x="192673" y="734757"/>
                    <a:pt x="116473" y="693800"/>
                    <a:pt x="70086" y="627696"/>
                  </a:cubicBezTo>
                  <a:cubicBezTo>
                    <a:pt x="9603" y="543114"/>
                    <a:pt x="-4876" y="434624"/>
                    <a:pt x="1316" y="333183"/>
                  </a:cubicBezTo>
                  <a:cubicBezTo>
                    <a:pt x="7031" y="237171"/>
                    <a:pt x="39702" y="136778"/>
                    <a:pt x="115044" y="72770"/>
                  </a:cubicBezTo>
                  <a:close/>
                </a:path>
              </a:pathLst>
            </a:custGeom>
            <a:solidFill>
              <a:srgbClr val="000000"/>
            </a:solidFill>
            <a:ln w="9525" cap="flat">
              <a:noFill/>
              <a:prstDash val="solid"/>
              <a:miter/>
            </a:ln>
          </p:spPr>
          <p:txBody>
            <a:bodyPr rtlCol="0" anchor="ctr"/>
            <a:lstStyle/>
            <a:p>
              <a:endParaRPr lang="en-US" sz="900"/>
            </a:p>
          </p:txBody>
        </p:sp>
        <p:sp>
          <p:nvSpPr>
            <p:cNvPr id="37" name="Freeform: Shape 36">
              <a:extLst>
                <a:ext uri="{FF2B5EF4-FFF2-40B4-BE49-F238E27FC236}">
                  <a16:creationId xmlns:a16="http://schemas.microsoft.com/office/drawing/2014/main" id="{7D9AA833-AD83-E679-5D6E-186A8D02B00C}"/>
                </a:ext>
              </a:extLst>
            </p:cNvPr>
            <p:cNvSpPr/>
            <p:nvPr/>
          </p:nvSpPr>
          <p:spPr>
            <a:xfrm>
              <a:off x="13262546" y="8849276"/>
              <a:ext cx="625919" cy="749850"/>
            </a:xfrm>
            <a:custGeom>
              <a:avLst/>
              <a:gdLst>
                <a:gd name="connsiteX0" fmla="*/ 114142 w 625919"/>
                <a:gd name="connsiteY0" fmla="*/ 73457 h 749850"/>
                <a:gd name="connsiteX1" fmla="*/ 437897 w 625919"/>
                <a:gd name="connsiteY1" fmla="*/ 13831 h 749850"/>
                <a:gd name="connsiteX2" fmla="*/ 621920 w 625919"/>
                <a:gd name="connsiteY2" fmla="*/ 187281 h 749850"/>
                <a:gd name="connsiteX3" fmla="*/ 458280 w 625919"/>
                <a:gd name="connsiteY3" fmla="*/ 258242 h 749850"/>
                <a:gd name="connsiteX4" fmla="*/ 399225 w 625919"/>
                <a:gd name="connsiteY4" fmla="*/ 175946 h 749850"/>
                <a:gd name="connsiteX5" fmla="*/ 237776 w 625919"/>
                <a:gd name="connsiteY5" fmla="*/ 206426 h 749850"/>
                <a:gd name="connsiteX6" fmla="*/ 210725 w 625919"/>
                <a:gd name="connsiteY6" fmla="*/ 371209 h 749850"/>
                <a:gd name="connsiteX7" fmla="*/ 231013 w 625919"/>
                <a:gd name="connsiteY7" fmla="*/ 534086 h 749850"/>
                <a:gd name="connsiteX8" fmla="*/ 437992 w 625919"/>
                <a:gd name="connsiteY8" fmla="*/ 542278 h 749850"/>
                <a:gd name="connsiteX9" fmla="*/ 468662 w 625919"/>
                <a:gd name="connsiteY9" fmla="*/ 483413 h 749850"/>
                <a:gd name="connsiteX10" fmla="*/ 625920 w 625919"/>
                <a:gd name="connsiteY10" fmla="*/ 551898 h 749850"/>
                <a:gd name="connsiteX11" fmla="*/ 514573 w 625919"/>
                <a:gd name="connsiteY11" fmla="*/ 702203 h 749850"/>
                <a:gd name="connsiteX12" fmla="*/ 265494 w 625919"/>
                <a:gd name="connsiteY12" fmla="*/ 744398 h 749850"/>
                <a:gd name="connsiteX13" fmla="*/ 66422 w 625919"/>
                <a:gd name="connsiteY13" fmla="*/ 622478 h 749850"/>
                <a:gd name="connsiteX14" fmla="*/ 1937 w 625919"/>
                <a:gd name="connsiteY14" fmla="*/ 324441 h 749850"/>
                <a:gd name="connsiteX15" fmla="*/ 114142 w 625919"/>
                <a:gd name="connsiteY15" fmla="*/ 73457 h 749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5919" h="749850">
                  <a:moveTo>
                    <a:pt x="114142" y="73457"/>
                  </a:moveTo>
                  <a:cubicBezTo>
                    <a:pt x="201962" y="-1409"/>
                    <a:pt x="329121" y="-14554"/>
                    <a:pt x="437897" y="13831"/>
                  </a:cubicBezTo>
                  <a:cubicBezTo>
                    <a:pt x="523717" y="36215"/>
                    <a:pt x="592582" y="104318"/>
                    <a:pt x="621920" y="187281"/>
                  </a:cubicBezTo>
                  <a:cubicBezTo>
                    <a:pt x="567341" y="210998"/>
                    <a:pt x="512763" y="234525"/>
                    <a:pt x="458280" y="258242"/>
                  </a:cubicBezTo>
                  <a:cubicBezTo>
                    <a:pt x="448184" y="225476"/>
                    <a:pt x="430753" y="192425"/>
                    <a:pt x="399225" y="175946"/>
                  </a:cubicBezTo>
                  <a:cubicBezTo>
                    <a:pt x="347599" y="148133"/>
                    <a:pt x="272447" y="155658"/>
                    <a:pt x="237776" y="206426"/>
                  </a:cubicBezTo>
                  <a:cubicBezTo>
                    <a:pt x="203772" y="254432"/>
                    <a:pt x="211202" y="315869"/>
                    <a:pt x="210725" y="371209"/>
                  </a:cubicBezTo>
                  <a:cubicBezTo>
                    <a:pt x="212059" y="425692"/>
                    <a:pt x="203105" y="484366"/>
                    <a:pt x="231013" y="534086"/>
                  </a:cubicBezTo>
                  <a:cubicBezTo>
                    <a:pt x="271304" y="607524"/>
                    <a:pt x="390081" y="607905"/>
                    <a:pt x="437992" y="542278"/>
                  </a:cubicBezTo>
                  <a:cubicBezTo>
                    <a:pt x="451422" y="524561"/>
                    <a:pt x="459899" y="503702"/>
                    <a:pt x="468662" y="483413"/>
                  </a:cubicBezTo>
                  <a:cubicBezTo>
                    <a:pt x="521050" y="506178"/>
                    <a:pt x="573532" y="528943"/>
                    <a:pt x="625920" y="551898"/>
                  </a:cubicBezTo>
                  <a:cubicBezTo>
                    <a:pt x="604298" y="611144"/>
                    <a:pt x="568579" y="667532"/>
                    <a:pt x="514573" y="702203"/>
                  </a:cubicBezTo>
                  <a:cubicBezTo>
                    <a:pt x="441706" y="749732"/>
                    <a:pt x="349600" y="756971"/>
                    <a:pt x="265494" y="744398"/>
                  </a:cubicBezTo>
                  <a:cubicBezTo>
                    <a:pt x="186341" y="732492"/>
                    <a:pt x="111189" y="689534"/>
                    <a:pt x="66422" y="622478"/>
                  </a:cubicBezTo>
                  <a:cubicBezTo>
                    <a:pt x="7366" y="535991"/>
                    <a:pt x="-5587" y="426644"/>
                    <a:pt x="1937" y="324441"/>
                  </a:cubicBezTo>
                  <a:cubicBezTo>
                    <a:pt x="8890" y="231668"/>
                    <a:pt x="41656" y="135465"/>
                    <a:pt x="114142" y="73457"/>
                  </a:cubicBezTo>
                  <a:close/>
                </a:path>
              </a:pathLst>
            </a:custGeom>
            <a:solidFill>
              <a:srgbClr val="000000"/>
            </a:solidFill>
            <a:ln w="9525" cap="flat">
              <a:noFill/>
              <a:prstDash val="solid"/>
              <a:miter/>
            </a:ln>
          </p:spPr>
          <p:txBody>
            <a:bodyPr rtlCol="0" anchor="ctr"/>
            <a:lstStyle/>
            <a:p>
              <a:endParaRPr lang="en-US" sz="900"/>
            </a:p>
          </p:txBody>
        </p:sp>
        <p:sp>
          <p:nvSpPr>
            <p:cNvPr id="38" name="Freeform: Shape 37">
              <a:extLst>
                <a:ext uri="{FF2B5EF4-FFF2-40B4-BE49-F238E27FC236}">
                  <a16:creationId xmlns:a16="http://schemas.microsoft.com/office/drawing/2014/main" id="{5BEADA96-1A80-9EB1-DBCA-0EBF9FDAB801}"/>
                </a:ext>
              </a:extLst>
            </p:cNvPr>
            <p:cNvSpPr/>
            <p:nvPr/>
          </p:nvSpPr>
          <p:spPr>
            <a:xfrm>
              <a:off x="14778191" y="8849530"/>
              <a:ext cx="689710" cy="749617"/>
            </a:xfrm>
            <a:custGeom>
              <a:avLst/>
              <a:gdLst>
                <a:gd name="connsiteX0" fmla="*/ 27247 w 689710"/>
                <a:gd name="connsiteY0" fmla="*/ 137021 h 749617"/>
                <a:gd name="connsiteX1" fmla="*/ 239750 w 689710"/>
                <a:gd name="connsiteY1" fmla="*/ 5290 h 749617"/>
                <a:gd name="connsiteX2" fmla="*/ 522070 w 689710"/>
                <a:gd name="connsiteY2" fmla="*/ 49582 h 749617"/>
                <a:gd name="connsiteX3" fmla="*/ 622654 w 689710"/>
                <a:gd name="connsiteY3" fmla="*/ 247606 h 749617"/>
                <a:gd name="connsiteX4" fmla="*/ 623036 w 689710"/>
                <a:gd name="connsiteY4" fmla="*/ 575838 h 749617"/>
                <a:gd name="connsiteX5" fmla="*/ 689711 w 689710"/>
                <a:gd name="connsiteY5" fmla="*/ 575933 h 749617"/>
                <a:gd name="connsiteX6" fmla="*/ 689711 w 689710"/>
                <a:gd name="connsiteY6" fmla="*/ 733000 h 749617"/>
                <a:gd name="connsiteX7" fmla="*/ 506259 w 689710"/>
                <a:gd name="connsiteY7" fmla="*/ 713950 h 749617"/>
                <a:gd name="connsiteX8" fmla="*/ 438441 w 689710"/>
                <a:gd name="connsiteY8" fmla="*/ 603270 h 749617"/>
                <a:gd name="connsiteX9" fmla="*/ 388625 w 689710"/>
                <a:gd name="connsiteY9" fmla="*/ 690805 h 749617"/>
                <a:gd name="connsiteX10" fmla="*/ 169074 w 689710"/>
                <a:gd name="connsiteY10" fmla="*/ 745288 h 749617"/>
                <a:gd name="connsiteX11" fmla="*/ 15341 w 689710"/>
                <a:gd name="connsiteY11" fmla="*/ 626892 h 749617"/>
                <a:gd name="connsiteX12" fmla="*/ 37153 w 689710"/>
                <a:gd name="connsiteY12" fmla="*/ 416008 h 749617"/>
                <a:gd name="connsiteX13" fmla="*/ 191076 w 689710"/>
                <a:gd name="connsiteY13" fmla="*/ 327521 h 749617"/>
                <a:gd name="connsiteX14" fmla="*/ 420629 w 689710"/>
                <a:gd name="connsiteY14" fmla="*/ 316663 h 749617"/>
                <a:gd name="connsiteX15" fmla="*/ 392911 w 689710"/>
                <a:gd name="connsiteY15" fmla="*/ 189028 h 749617"/>
                <a:gd name="connsiteX16" fmla="*/ 258323 w 689710"/>
                <a:gd name="connsiteY16" fmla="*/ 163310 h 749617"/>
                <a:gd name="connsiteX17" fmla="*/ 147452 w 689710"/>
                <a:gd name="connsiteY17" fmla="*/ 243130 h 749617"/>
                <a:gd name="connsiteX18" fmla="*/ 27247 w 689710"/>
                <a:gd name="connsiteY18" fmla="*/ 137021 h 749617"/>
                <a:gd name="connsiteX19" fmla="*/ 252894 w 689710"/>
                <a:gd name="connsiteY19" fmla="*/ 442583 h 749617"/>
                <a:gd name="connsiteX20" fmla="*/ 260038 w 689710"/>
                <a:gd name="connsiteY20" fmla="*/ 604508 h 749617"/>
                <a:gd name="connsiteX21" fmla="*/ 401579 w 689710"/>
                <a:gd name="connsiteY21" fmla="*/ 571552 h 749617"/>
                <a:gd name="connsiteX22" fmla="*/ 420534 w 689710"/>
                <a:gd name="connsiteY22" fmla="*/ 431725 h 749617"/>
                <a:gd name="connsiteX23" fmla="*/ 252894 w 689710"/>
                <a:gd name="connsiteY23" fmla="*/ 442583 h 749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89710" h="749617">
                  <a:moveTo>
                    <a:pt x="27247" y="137021"/>
                  </a:moveTo>
                  <a:cubicBezTo>
                    <a:pt x="73634" y="63583"/>
                    <a:pt x="153834" y="15387"/>
                    <a:pt x="239750" y="5290"/>
                  </a:cubicBezTo>
                  <a:cubicBezTo>
                    <a:pt x="334618" y="-6044"/>
                    <a:pt x="438632" y="-2520"/>
                    <a:pt x="522070" y="49582"/>
                  </a:cubicBezTo>
                  <a:cubicBezTo>
                    <a:pt x="588936" y="91015"/>
                    <a:pt x="621988" y="171025"/>
                    <a:pt x="622654" y="247606"/>
                  </a:cubicBezTo>
                  <a:cubicBezTo>
                    <a:pt x="623512" y="357049"/>
                    <a:pt x="622654" y="466396"/>
                    <a:pt x="623036" y="575838"/>
                  </a:cubicBezTo>
                  <a:cubicBezTo>
                    <a:pt x="645134" y="575838"/>
                    <a:pt x="667422" y="575838"/>
                    <a:pt x="689711" y="575933"/>
                  </a:cubicBezTo>
                  <a:cubicBezTo>
                    <a:pt x="689615" y="628225"/>
                    <a:pt x="689615" y="680613"/>
                    <a:pt x="689711" y="733000"/>
                  </a:cubicBezTo>
                  <a:cubicBezTo>
                    <a:pt x="628750" y="728238"/>
                    <a:pt x="561790" y="746621"/>
                    <a:pt x="506259" y="713950"/>
                  </a:cubicBezTo>
                  <a:cubicBezTo>
                    <a:pt x="466540" y="690614"/>
                    <a:pt x="448442" y="646037"/>
                    <a:pt x="438441" y="603270"/>
                  </a:cubicBezTo>
                  <a:cubicBezTo>
                    <a:pt x="423963" y="633559"/>
                    <a:pt x="413866" y="667278"/>
                    <a:pt x="388625" y="690805"/>
                  </a:cubicBezTo>
                  <a:cubicBezTo>
                    <a:pt x="331952" y="747193"/>
                    <a:pt x="244702" y="756908"/>
                    <a:pt x="169074" y="745288"/>
                  </a:cubicBezTo>
                  <a:cubicBezTo>
                    <a:pt x="102113" y="735477"/>
                    <a:pt x="38676" y="691948"/>
                    <a:pt x="15341" y="626892"/>
                  </a:cubicBezTo>
                  <a:cubicBezTo>
                    <a:pt x="-9234" y="558693"/>
                    <a:pt x="-5900" y="476302"/>
                    <a:pt x="37153" y="416008"/>
                  </a:cubicBezTo>
                  <a:cubicBezTo>
                    <a:pt x="73062" y="366097"/>
                    <a:pt x="132498" y="339808"/>
                    <a:pt x="191076" y="327521"/>
                  </a:cubicBezTo>
                  <a:cubicBezTo>
                    <a:pt x="266515" y="311424"/>
                    <a:pt x="344048" y="317996"/>
                    <a:pt x="420629" y="316663"/>
                  </a:cubicBezTo>
                  <a:cubicBezTo>
                    <a:pt x="420439" y="273419"/>
                    <a:pt x="425963" y="222746"/>
                    <a:pt x="392911" y="189028"/>
                  </a:cubicBezTo>
                  <a:cubicBezTo>
                    <a:pt x="357764" y="155119"/>
                    <a:pt x="303377" y="154547"/>
                    <a:pt x="258323" y="163310"/>
                  </a:cubicBezTo>
                  <a:cubicBezTo>
                    <a:pt x="211460" y="172359"/>
                    <a:pt x="174884" y="205982"/>
                    <a:pt x="147452" y="243130"/>
                  </a:cubicBezTo>
                  <a:cubicBezTo>
                    <a:pt x="107447" y="207697"/>
                    <a:pt x="67728" y="171883"/>
                    <a:pt x="27247" y="137021"/>
                  </a:cubicBezTo>
                  <a:moveTo>
                    <a:pt x="252894" y="442583"/>
                  </a:moveTo>
                  <a:cubicBezTo>
                    <a:pt x="182600" y="464872"/>
                    <a:pt x="184981" y="591078"/>
                    <a:pt x="260038" y="604508"/>
                  </a:cubicBezTo>
                  <a:cubicBezTo>
                    <a:pt x="308044" y="613557"/>
                    <a:pt x="366337" y="609461"/>
                    <a:pt x="401579" y="571552"/>
                  </a:cubicBezTo>
                  <a:cubicBezTo>
                    <a:pt x="433298" y="532213"/>
                    <a:pt x="416438" y="477921"/>
                    <a:pt x="420534" y="431725"/>
                  </a:cubicBezTo>
                  <a:cubicBezTo>
                    <a:pt x="364813" y="434677"/>
                    <a:pt x="306615" y="423724"/>
                    <a:pt x="252894" y="442583"/>
                  </a:cubicBezTo>
                  <a:close/>
                </a:path>
              </a:pathLst>
            </a:custGeom>
            <a:solidFill>
              <a:srgbClr val="000000"/>
            </a:solidFill>
            <a:ln w="9525" cap="flat">
              <a:noFill/>
              <a:prstDash val="solid"/>
              <a:miter/>
            </a:ln>
          </p:spPr>
          <p:txBody>
            <a:bodyPr rtlCol="0" anchor="ctr"/>
            <a:lstStyle/>
            <a:p>
              <a:endParaRPr lang="en-US" sz="900"/>
            </a:p>
          </p:txBody>
        </p:sp>
        <p:sp>
          <p:nvSpPr>
            <p:cNvPr id="39" name="Freeform: Shape 38">
              <a:extLst>
                <a:ext uri="{FF2B5EF4-FFF2-40B4-BE49-F238E27FC236}">
                  <a16:creationId xmlns:a16="http://schemas.microsoft.com/office/drawing/2014/main" id="{E08DAAAF-22D3-8686-027F-301825BDAA00}"/>
                </a:ext>
              </a:extLst>
            </p:cNvPr>
            <p:cNvSpPr/>
            <p:nvPr/>
          </p:nvSpPr>
          <p:spPr>
            <a:xfrm>
              <a:off x="15602775" y="8849035"/>
              <a:ext cx="633507" cy="733518"/>
            </a:xfrm>
            <a:custGeom>
              <a:avLst/>
              <a:gdLst>
                <a:gd name="connsiteX0" fmla="*/ 311944 w 633507"/>
                <a:gd name="connsiteY0" fmla="*/ 20073 h 733518"/>
                <a:gd name="connsiteX1" fmla="*/ 569214 w 633507"/>
                <a:gd name="connsiteY1" fmla="*/ 66078 h 733518"/>
                <a:gd name="connsiteX2" fmla="*/ 633413 w 633507"/>
                <a:gd name="connsiteY2" fmla="*/ 276295 h 733518"/>
                <a:gd name="connsiteX3" fmla="*/ 633508 w 633507"/>
                <a:gd name="connsiteY3" fmla="*/ 733495 h 733518"/>
                <a:gd name="connsiteX4" fmla="*/ 431006 w 633507"/>
                <a:gd name="connsiteY4" fmla="*/ 733495 h 733518"/>
                <a:gd name="connsiteX5" fmla="*/ 430435 w 633507"/>
                <a:gd name="connsiteY5" fmla="*/ 276676 h 733518"/>
                <a:gd name="connsiteX6" fmla="*/ 369951 w 633507"/>
                <a:gd name="connsiteY6" fmla="*/ 169901 h 733518"/>
                <a:gd name="connsiteX7" fmla="*/ 203264 w 633507"/>
                <a:gd name="connsiteY7" fmla="*/ 257245 h 733518"/>
                <a:gd name="connsiteX8" fmla="*/ 202502 w 633507"/>
                <a:gd name="connsiteY8" fmla="*/ 733495 h 733518"/>
                <a:gd name="connsiteX9" fmla="*/ 0 w 633507"/>
                <a:gd name="connsiteY9" fmla="*/ 733400 h 733518"/>
                <a:gd name="connsiteX10" fmla="*/ 95 w 633507"/>
                <a:gd name="connsiteY10" fmla="*/ 16739 h 733518"/>
                <a:gd name="connsiteX11" fmla="*/ 202406 w 633507"/>
                <a:gd name="connsiteY11" fmla="*/ 16739 h 733518"/>
                <a:gd name="connsiteX12" fmla="*/ 204883 w 633507"/>
                <a:gd name="connsiteY12" fmla="*/ 144564 h 733518"/>
                <a:gd name="connsiteX13" fmla="*/ 311944 w 633507"/>
                <a:gd name="connsiteY13" fmla="*/ 20073 h 733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3507" h="733518">
                  <a:moveTo>
                    <a:pt x="311944" y="20073"/>
                  </a:moveTo>
                  <a:cubicBezTo>
                    <a:pt x="395669" y="-15837"/>
                    <a:pt x="506825" y="-5359"/>
                    <a:pt x="569214" y="66078"/>
                  </a:cubicBezTo>
                  <a:cubicBezTo>
                    <a:pt x="618649" y="123609"/>
                    <a:pt x="632365" y="202572"/>
                    <a:pt x="633413" y="276295"/>
                  </a:cubicBezTo>
                  <a:cubicBezTo>
                    <a:pt x="633603" y="428695"/>
                    <a:pt x="633317" y="581095"/>
                    <a:pt x="633508" y="733495"/>
                  </a:cubicBezTo>
                  <a:lnTo>
                    <a:pt x="431006" y="733495"/>
                  </a:lnTo>
                  <a:cubicBezTo>
                    <a:pt x="430625" y="581190"/>
                    <a:pt x="431864" y="428981"/>
                    <a:pt x="430435" y="276676"/>
                  </a:cubicBezTo>
                  <a:cubicBezTo>
                    <a:pt x="429101" y="234861"/>
                    <a:pt x="415290" y="183045"/>
                    <a:pt x="369951" y="169901"/>
                  </a:cubicBezTo>
                  <a:cubicBezTo>
                    <a:pt x="305086" y="150946"/>
                    <a:pt x="210884" y="180759"/>
                    <a:pt x="203264" y="257245"/>
                  </a:cubicBezTo>
                  <a:cubicBezTo>
                    <a:pt x="201263" y="415931"/>
                    <a:pt x="202978" y="574713"/>
                    <a:pt x="202502" y="733495"/>
                  </a:cubicBezTo>
                  <a:cubicBezTo>
                    <a:pt x="134970" y="733495"/>
                    <a:pt x="67437" y="733590"/>
                    <a:pt x="0" y="733400"/>
                  </a:cubicBezTo>
                  <a:cubicBezTo>
                    <a:pt x="191" y="494513"/>
                    <a:pt x="-95" y="255626"/>
                    <a:pt x="95" y="16739"/>
                  </a:cubicBezTo>
                  <a:lnTo>
                    <a:pt x="202406" y="16739"/>
                  </a:lnTo>
                  <a:cubicBezTo>
                    <a:pt x="203264" y="59315"/>
                    <a:pt x="200025" y="102083"/>
                    <a:pt x="204883" y="144564"/>
                  </a:cubicBezTo>
                  <a:cubicBezTo>
                    <a:pt x="226790" y="93606"/>
                    <a:pt x="258604" y="42456"/>
                    <a:pt x="311944" y="20073"/>
                  </a:cubicBezTo>
                  <a:close/>
                </a:path>
              </a:pathLst>
            </a:custGeom>
            <a:solidFill>
              <a:srgbClr val="000000"/>
            </a:solidFill>
            <a:ln w="9525" cap="flat">
              <a:noFill/>
              <a:prstDash val="solid"/>
              <a:miter/>
            </a:ln>
          </p:spPr>
          <p:txBody>
            <a:bodyPr rtlCol="0" anchor="ctr"/>
            <a:lstStyle/>
            <a:p>
              <a:endParaRPr lang="en-US" sz="900"/>
            </a:p>
          </p:txBody>
        </p:sp>
        <p:sp>
          <p:nvSpPr>
            <p:cNvPr id="40" name="Freeform: Shape 39">
              <a:extLst>
                <a:ext uri="{FF2B5EF4-FFF2-40B4-BE49-F238E27FC236}">
                  <a16:creationId xmlns:a16="http://schemas.microsoft.com/office/drawing/2014/main" id="{3BF8AFFD-1B6C-839E-B09F-AF5203BE810E}"/>
                </a:ext>
              </a:extLst>
            </p:cNvPr>
            <p:cNvSpPr/>
            <p:nvPr/>
          </p:nvSpPr>
          <p:spPr>
            <a:xfrm>
              <a:off x="17116014" y="8849344"/>
              <a:ext cx="669651" cy="749917"/>
            </a:xfrm>
            <a:custGeom>
              <a:avLst/>
              <a:gdLst>
                <a:gd name="connsiteX0" fmla="*/ 174305 w 669651"/>
                <a:gd name="connsiteY0" fmla="*/ 34909 h 749917"/>
                <a:gd name="connsiteX1" fmla="*/ 433670 w 669651"/>
                <a:gd name="connsiteY1" fmla="*/ 11287 h 749917"/>
                <a:gd name="connsiteX2" fmla="*/ 624838 w 669651"/>
                <a:gd name="connsiteY2" fmla="*/ 161973 h 749917"/>
                <a:gd name="connsiteX3" fmla="*/ 669129 w 669651"/>
                <a:gd name="connsiteY3" fmla="*/ 426482 h 749917"/>
                <a:gd name="connsiteX4" fmla="*/ 208500 w 669651"/>
                <a:gd name="connsiteY4" fmla="*/ 426482 h 749917"/>
                <a:gd name="connsiteX5" fmla="*/ 248028 w 669651"/>
                <a:gd name="connsiteY5" fmla="*/ 549450 h 749917"/>
                <a:gd name="connsiteX6" fmla="*/ 408049 w 669651"/>
                <a:gd name="connsiteY6" fmla="*/ 587645 h 749917"/>
                <a:gd name="connsiteX7" fmla="*/ 543589 w 669651"/>
                <a:gd name="connsiteY7" fmla="*/ 505063 h 749917"/>
                <a:gd name="connsiteX8" fmla="*/ 645031 w 669651"/>
                <a:gd name="connsiteY8" fmla="*/ 631269 h 749917"/>
                <a:gd name="connsiteX9" fmla="*/ 388617 w 669651"/>
                <a:gd name="connsiteY9" fmla="*/ 747951 h 749917"/>
                <a:gd name="connsiteX10" fmla="*/ 125441 w 669651"/>
                <a:gd name="connsiteY10" fmla="*/ 681752 h 749917"/>
                <a:gd name="connsiteX11" fmla="*/ 5045 w 669651"/>
                <a:gd name="connsiteY11" fmla="*/ 451342 h 749917"/>
                <a:gd name="connsiteX12" fmla="*/ 33526 w 669651"/>
                <a:gd name="connsiteY12" fmla="*/ 189214 h 749917"/>
                <a:gd name="connsiteX13" fmla="*/ 174305 w 669651"/>
                <a:gd name="connsiteY13" fmla="*/ 34909 h 749917"/>
                <a:gd name="connsiteX14" fmla="*/ 232502 w 669651"/>
                <a:gd name="connsiteY14" fmla="*/ 205788 h 749917"/>
                <a:gd name="connsiteX15" fmla="*/ 208500 w 669651"/>
                <a:gd name="connsiteY15" fmla="*/ 307324 h 749917"/>
                <a:gd name="connsiteX16" fmla="*/ 460722 w 669651"/>
                <a:gd name="connsiteY16" fmla="*/ 307324 h 749917"/>
                <a:gd name="connsiteX17" fmla="*/ 423956 w 669651"/>
                <a:gd name="connsiteY17" fmla="*/ 182547 h 749917"/>
                <a:gd name="connsiteX18" fmla="*/ 232502 w 669651"/>
                <a:gd name="connsiteY18" fmla="*/ 205883 h 749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9651" h="749917">
                  <a:moveTo>
                    <a:pt x="174305" y="34909"/>
                  </a:moveTo>
                  <a:cubicBezTo>
                    <a:pt x="254220" y="-3858"/>
                    <a:pt x="347945" y="-8144"/>
                    <a:pt x="433670" y="11287"/>
                  </a:cubicBezTo>
                  <a:cubicBezTo>
                    <a:pt x="515681" y="29956"/>
                    <a:pt x="587690" y="86439"/>
                    <a:pt x="624838" y="161973"/>
                  </a:cubicBezTo>
                  <a:cubicBezTo>
                    <a:pt x="667223" y="243126"/>
                    <a:pt x="671510" y="336852"/>
                    <a:pt x="669129" y="426482"/>
                  </a:cubicBezTo>
                  <a:cubicBezTo>
                    <a:pt x="515586" y="426482"/>
                    <a:pt x="362043" y="426482"/>
                    <a:pt x="208500" y="426482"/>
                  </a:cubicBezTo>
                  <a:cubicBezTo>
                    <a:pt x="208690" y="469916"/>
                    <a:pt x="215834" y="517350"/>
                    <a:pt x="248028" y="549450"/>
                  </a:cubicBezTo>
                  <a:cubicBezTo>
                    <a:pt x="289272" y="590693"/>
                    <a:pt x="353089" y="596217"/>
                    <a:pt x="408049" y="587645"/>
                  </a:cubicBezTo>
                  <a:cubicBezTo>
                    <a:pt x="462341" y="579453"/>
                    <a:pt x="506537" y="543449"/>
                    <a:pt x="543589" y="505063"/>
                  </a:cubicBezTo>
                  <a:cubicBezTo>
                    <a:pt x="577308" y="547259"/>
                    <a:pt x="611216" y="589169"/>
                    <a:pt x="645031" y="631269"/>
                  </a:cubicBezTo>
                  <a:cubicBezTo>
                    <a:pt x="580260" y="703755"/>
                    <a:pt x="484153" y="740997"/>
                    <a:pt x="388617" y="747951"/>
                  </a:cubicBezTo>
                  <a:cubicBezTo>
                    <a:pt x="297273" y="756047"/>
                    <a:pt x="198880" y="740140"/>
                    <a:pt x="125441" y="681752"/>
                  </a:cubicBezTo>
                  <a:cubicBezTo>
                    <a:pt x="54481" y="626602"/>
                    <a:pt x="16381" y="538782"/>
                    <a:pt x="5045" y="451342"/>
                  </a:cubicBezTo>
                  <a:cubicBezTo>
                    <a:pt x="-5812" y="363522"/>
                    <a:pt x="-384" y="271701"/>
                    <a:pt x="33526" y="189214"/>
                  </a:cubicBezTo>
                  <a:cubicBezTo>
                    <a:pt x="60291" y="123301"/>
                    <a:pt x="110011" y="66246"/>
                    <a:pt x="174305" y="34909"/>
                  </a:cubicBezTo>
                  <a:moveTo>
                    <a:pt x="232502" y="205788"/>
                  </a:moveTo>
                  <a:cubicBezTo>
                    <a:pt x="213072" y="235887"/>
                    <a:pt x="209262" y="272367"/>
                    <a:pt x="208500" y="307324"/>
                  </a:cubicBezTo>
                  <a:cubicBezTo>
                    <a:pt x="292510" y="307324"/>
                    <a:pt x="376616" y="307324"/>
                    <a:pt x="460722" y="307324"/>
                  </a:cubicBezTo>
                  <a:cubicBezTo>
                    <a:pt x="459770" y="263890"/>
                    <a:pt x="455292" y="215884"/>
                    <a:pt x="423956" y="182547"/>
                  </a:cubicBezTo>
                  <a:cubicBezTo>
                    <a:pt x="372234" y="128730"/>
                    <a:pt x="270317" y="141780"/>
                    <a:pt x="232502" y="205883"/>
                  </a:cubicBezTo>
                  <a:close/>
                </a:path>
              </a:pathLst>
            </a:custGeom>
            <a:solidFill>
              <a:srgbClr val="000000"/>
            </a:solidFill>
            <a:ln w="9525" cap="flat">
              <a:noFill/>
              <a:prstDash val="solid"/>
              <a:miter/>
            </a:ln>
          </p:spPr>
          <p:txBody>
            <a:bodyPr rtlCol="0" anchor="ctr"/>
            <a:lstStyle/>
            <a:p>
              <a:endParaRPr lang="en-US" sz="900"/>
            </a:p>
          </p:txBody>
        </p:sp>
      </p:grpSp>
      <p:pic>
        <p:nvPicPr>
          <p:cNvPr id="4" name="Picture 3">
            <a:extLst>
              <a:ext uri="{FF2B5EF4-FFF2-40B4-BE49-F238E27FC236}">
                <a16:creationId xmlns:a16="http://schemas.microsoft.com/office/drawing/2014/main" id="{2DE16743-7FE4-7DB0-AE65-92E8AEA8C0B8}"/>
              </a:ext>
            </a:extLst>
          </p:cNvPr>
          <p:cNvPicPr>
            <a:picLocks noChangeAspect="1"/>
          </p:cNvPicPr>
          <p:nvPr userDrawn="1"/>
        </p:nvPicPr>
        <p:blipFill>
          <a:blip r:embed="rId2"/>
          <a:stretch>
            <a:fillRect/>
          </a:stretch>
        </p:blipFill>
        <p:spPr>
          <a:xfrm>
            <a:off x="11081689" y="6292851"/>
            <a:ext cx="819043" cy="304800"/>
          </a:xfrm>
          <a:prstGeom prst="rect">
            <a:avLst/>
          </a:prstGeom>
        </p:spPr>
      </p:pic>
      <p:sp>
        <p:nvSpPr>
          <p:cNvPr id="2" name="TextBox 1">
            <a:extLst>
              <a:ext uri="{FF2B5EF4-FFF2-40B4-BE49-F238E27FC236}">
                <a16:creationId xmlns:a16="http://schemas.microsoft.com/office/drawing/2014/main" id="{688A4206-3233-86A0-3616-8DA2D7758FC1}"/>
              </a:ext>
            </a:extLst>
          </p:cNvPr>
          <p:cNvSpPr txBox="1"/>
          <p:nvPr userDrawn="1"/>
        </p:nvSpPr>
        <p:spPr>
          <a:xfrm>
            <a:off x="270381" y="5966327"/>
            <a:ext cx="2761097" cy="646331"/>
          </a:xfrm>
          <a:prstGeom prst="rect">
            <a:avLst/>
          </a:prstGeom>
          <a:noFill/>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a:spAutoFit/>
          </a:bodyPr>
          <a:lstStyle/>
          <a:p>
            <a:r>
              <a:rPr lang="en-US" sz="1400" kern="0"/>
              <a:t>October 21–24, 2024</a:t>
            </a:r>
          </a:p>
          <a:p>
            <a:r>
              <a:rPr lang="en-US" sz="1400" kern="0"/>
              <a:t>Mandalay Bay Convention Center</a:t>
            </a:r>
            <a:br>
              <a:rPr lang="en-US" sz="1400" kern="0"/>
            </a:br>
            <a:r>
              <a:rPr lang="en-US" sz="1400" kern="0"/>
              <a:t>Las Vegas, Nevada</a:t>
            </a:r>
          </a:p>
        </p:txBody>
      </p:sp>
      <p:sp>
        <p:nvSpPr>
          <p:cNvPr id="3" name="Freeform: Shape 2">
            <a:extLst>
              <a:ext uri="{FF2B5EF4-FFF2-40B4-BE49-F238E27FC236}">
                <a16:creationId xmlns:a16="http://schemas.microsoft.com/office/drawing/2014/main" id="{71530E12-3A47-3E5B-9146-D0C660BB25C9}"/>
              </a:ext>
            </a:extLst>
          </p:cNvPr>
          <p:cNvSpPr>
            <a:spLocks noChangeAspect="1"/>
          </p:cNvSpPr>
          <p:nvPr userDrawn="1"/>
        </p:nvSpPr>
        <p:spPr>
          <a:xfrm>
            <a:off x="7792583" y="4381432"/>
            <a:ext cx="1371421" cy="1371600"/>
          </a:xfrm>
          <a:custGeom>
            <a:avLst/>
            <a:gdLst>
              <a:gd name="connsiteX0" fmla="*/ 1231011 w 2462022"/>
              <a:gd name="connsiteY0" fmla="*/ 2462022 h 2462022"/>
              <a:gd name="connsiteX1" fmla="*/ 0 w 2462022"/>
              <a:gd name="connsiteY1" fmla="*/ 1231011 h 2462022"/>
              <a:gd name="connsiteX2" fmla="*/ 1231011 w 2462022"/>
              <a:gd name="connsiteY2" fmla="*/ 0 h 2462022"/>
              <a:gd name="connsiteX3" fmla="*/ 2462022 w 2462022"/>
              <a:gd name="connsiteY3" fmla="*/ 1231011 h 2462022"/>
              <a:gd name="connsiteX4" fmla="*/ 1231011 w 2462022"/>
              <a:gd name="connsiteY4" fmla="*/ 2462022 h 2462022"/>
              <a:gd name="connsiteX5" fmla="*/ 1183434 w 2462022"/>
              <a:gd name="connsiteY5" fmla="*/ 62665 h 2462022"/>
              <a:gd name="connsiteX6" fmla="*/ 61722 w 2462022"/>
              <a:gd name="connsiteY6" fmla="*/ 1231011 h 2462022"/>
              <a:gd name="connsiteX7" fmla="*/ 1200150 w 2462022"/>
              <a:gd name="connsiteY7" fmla="*/ 2399957 h 2462022"/>
              <a:gd name="connsiteX8" fmla="*/ 1200150 w 2462022"/>
              <a:gd name="connsiteY8" fmla="*/ 1433322 h 2462022"/>
              <a:gd name="connsiteX9" fmla="*/ 630936 w 2462022"/>
              <a:gd name="connsiteY9" fmla="*/ 1433322 h 2462022"/>
              <a:gd name="connsiteX10" fmla="*/ 605133 w 2462022"/>
              <a:gd name="connsiteY10" fmla="*/ 1419349 h 2462022"/>
              <a:gd name="connsiteX11" fmla="*/ 602732 w 2462022"/>
              <a:gd name="connsiteY11" fmla="*/ 1390031 h 2462022"/>
              <a:gd name="connsiteX12" fmla="*/ 1183434 w 2462022"/>
              <a:gd name="connsiteY12" fmla="*/ 62665 h 2462022"/>
              <a:gd name="connsiteX13" fmla="*/ 1261872 w 2462022"/>
              <a:gd name="connsiteY13" fmla="*/ 1028700 h 2462022"/>
              <a:gd name="connsiteX14" fmla="*/ 1831086 w 2462022"/>
              <a:gd name="connsiteY14" fmla="*/ 1028700 h 2462022"/>
              <a:gd name="connsiteX15" fmla="*/ 1856975 w 2462022"/>
              <a:gd name="connsiteY15" fmla="*/ 1042673 h 2462022"/>
              <a:gd name="connsiteX16" fmla="*/ 1859375 w 2462022"/>
              <a:gd name="connsiteY16" fmla="*/ 1071991 h 2462022"/>
              <a:gd name="connsiteX17" fmla="*/ 1278588 w 2462022"/>
              <a:gd name="connsiteY17" fmla="*/ 2399357 h 2462022"/>
              <a:gd name="connsiteX18" fmla="*/ 2400300 w 2462022"/>
              <a:gd name="connsiteY18" fmla="*/ 1231011 h 2462022"/>
              <a:gd name="connsiteX19" fmla="*/ 1261872 w 2462022"/>
              <a:gd name="connsiteY19" fmla="*/ 62151 h 2462022"/>
              <a:gd name="connsiteX20" fmla="*/ 1261872 w 2462022"/>
              <a:gd name="connsiteY20" fmla="*/ 1028700 h 2462022"/>
              <a:gd name="connsiteX21" fmla="*/ 678085 w 2462022"/>
              <a:gd name="connsiteY21" fmla="*/ 1371600 h 2462022"/>
              <a:gd name="connsiteX22" fmla="*/ 1231011 w 2462022"/>
              <a:gd name="connsiteY22" fmla="*/ 1371600 h 2462022"/>
              <a:gd name="connsiteX23" fmla="*/ 1261872 w 2462022"/>
              <a:gd name="connsiteY23" fmla="*/ 1402461 h 2462022"/>
              <a:gd name="connsiteX24" fmla="*/ 1261872 w 2462022"/>
              <a:gd name="connsiteY24" fmla="*/ 2283628 h 2462022"/>
              <a:gd name="connsiteX25" fmla="*/ 1783852 w 2462022"/>
              <a:gd name="connsiteY25" fmla="*/ 1090422 h 2462022"/>
              <a:gd name="connsiteX26" fmla="*/ 1231011 w 2462022"/>
              <a:gd name="connsiteY26" fmla="*/ 1090422 h 2462022"/>
              <a:gd name="connsiteX27" fmla="*/ 1200150 w 2462022"/>
              <a:gd name="connsiteY27" fmla="*/ 1059561 h 2462022"/>
              <a:gd name="connsiteX28" fmla="*/ 1200150 w 2462022"/>
              <a:gd name="connsiteY28" fmla="*/ 178394 h 2462022"/>
              <a:gd name="connsiteX29" fmla="*/ 678085 w 2462022"/>
              <a:gd name="connsiteY29" fmla="*/ 1371600 h 2462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462022" h="2462022">
                <a:moveTo>
                  <a:pt x="1231011" y="2462022"/>
                </a:moveTo>
                <a:cubicBezTo>
                  <a:pt x="552240" y="2462022"/>
                  <a:pt x="0" y="1909782"/>
                  <a:pt x="0" y="1231011"/>
                </a:cubicBezTo>
                <a:cubicBezTo>
                  <a:pt x="0" y="552240"/>
                  <a:pt x="552240" y="0"/>
                  <a:pt x="1231011" y="0"/>
                </a:cubicBezTo>
                <a:cubicBezTo>
                  <a:pt x="1909782" y="0"/>
                  <a:pt x="2462022" y="552240"/>
                  <a:pt x="2462022" y="1231011"/>
                </a:cubicBezTo>
                <a:cubicBezTo>
                  <a:pt x="2462022" y="1909782"/>
                  <a:pt x="1909782" y="2462022"/>
                  <a:pt x="1231011" y="2462022"/>
                </a:cubicBezTo>
                <a:close/>
                <a:moveTo>
                  <a:pt x="1183434" y="62665"/>
                </a:moveTo>
                <a:cubicBezTo>
                  <a:pt x="560642" y="87782"/>
                  <a:pt x="61722" y="602218"/>
                  <a:pt x="61722" y="1231011"/>
                </a:cubicBezTo>
                <a:cubicBezTo>
                  <a:pt x="61722" y="1865376"/>
                  <a:pt x="569643" y="2383498"/>
                  <a:pt x="1200150" y="2399957"/>
                </a:cubicBezTo>
                <a:lnTo>
                  <a:pt x="1200150" y="1433322"/>
                </a:lnTo>
                <a:lnTo>
                  <a:pt x="630936" y="1433322"/>
                </a:lnTo>
                <a:cubicBezTo>
                  <a:pt x="620478" y="1433322"/>
                  <a:pt x="610791" y="1428007"/>
                  <a:pt x="605133" y="1419349"/>
                </a:cubicBezTo>
                <a:cubicBezTo>
                  <a:pt x="599475" y="1410691"/>
                  <a:pt x="598532" y="1399632"/>
                  <a:pt x="602732" y="1390031"/>
                </a:cubicBezTo>
                <a:lnTo>
                  <a:pt x="1183434" y="62665"/>
                </a:lnTo>
                <a:close/>
                <a:moveTo>
                  <a:pt x="1261872" y="1028700"/>
                </a:moveTo>
                <a:lnTo>
                  <a:pt x="1831086" y="1028700"/>
                </a:lnTo>
                <a:cubicBezTo>
                  <a:pt x="1841459" y="1028700"/>
                  <a:pt x="1851146" y="1033929"/>
                  <a:pt x="1856975" y="1042673"/>
                </a:cubicBezTo>
                <a:cubicBezTo>
                  <a:pt x="1862633" y="1051417"/>
                  <a:pt x="1863576" y="1062390"/>
                  <a:pt x="1859375" y="1071991"/>
                </a:cubicBezTo>
                <a:lnTo>
                  <a:pt x="1278588" y="2399357"/>
                </a:lnTo>
                <a:cubicBezTo>
                  <a:pt x="1901381" y="2374325"/>
                  <a:pt x="2400300" y="1859804"/>
                  <a:pt x="2400300" y="1231011"/>
                </a:cubicBezTo>
                <a:cubicBezTo>
                  <a:pt x="2400300" y="596560"/>
                  <a:pt x="1892465" y="78524"/>
                  <a:pt x="1261872" y="62151"/>
                </a:cubicBezTo>
                <a:lnTo>
                  <a:pt x="1261872" y="1028700"/>
                </a:lnTo>
                <a:close/>
                <a:moveTo>
                  <a:pt x="678085" y="1371600"/>
                </a:moveTo>
                <a:lnTo>
                  <a:pt x="1231011" y="1371600"/>
                </a:lnTo>
                <a:cubicBezTo>
                  <a:pt x="1248070" y="1371600"/>
                  <a:pt x="1261872" y="1385402"/>
                  <a:pt x="1261872" y="1402461"/>
                </a:cubicBezTo>
                <a:lnTo>
                  <a:pt x="1261872" y="2283628"/>
                </a:lnTo>
                <a:lnTo>
                  <a:pt x="1783852" y="1090422"/>
                </a:lnTo>
                <a:lnTo>
                  <a:pt x="1231011" y="1090422"/>
                </a:lnTo>
                <a:cubicBezTo>
                  <a:pt x="1213952" y="1090422"/>
                  <a:pt x="1200150" y="1076620"/>
                  <a:pt x="1200150" y="1059561"/>
                </a:cubicBezTo>
                <a:lnTo>
                  <a:pt x="1200150" y="178394"/>
                </a:lnTo>
                <a:lnTo>
                  <a:pt x="678085" y="1371600"/>
                </a:lnTo>
                <a:close/>
              </a:path>
            </a:pathLst>
          </a:custGeom>
          <a:solidFill>
            <a:srgbClr val="000000"/>
          </a:solidFill>
          <a:ln w="85725" cap="flat">
            <a:noFill/>
            <a:prstDash val="solid"/>
            <a:miter/>
          </a:ln>
        </p:spPr>
        <p:txBody>
          <a:bodyPr rtlCol="0" anchor="ctr"/>
          <a:lstStyle/>
          <a:p>
            <a:endParaRPr lang="uk-UA" sz="900"/>
          </a:p>
        </p:txBody>
      </p:sp>
      <p:grpSp>
        <p:nvGrpSpPr>
          <p:cNvPr id="5" name="Graphic 10">
            <a:extLst>
              <a:ext uri="{FF2B5EF4-FFF2-40B4-BE49-F238E27FC236}">
                <a16:creationId xmlns:a16="http://schemas.microsoft.com/office/drawing/2014/main" id="{EEDAC3B8-D4DF-6D70-D8E7-AE978D6C17D1}"/>
              </a:ext>
            </a:extLst>
          </p:cNvPr>
          <p:cNvGrpSpPr/>
          <p:nvPr userDrawn="1"/>
        </p:nvGrpSpPr>
        <p:grpSpPr>
          <a:xfrm>
            <a:off x="10535494" y="3009763"/>
            <a:ext cx="1371490" cy="1371669"/>
            <a:chOff x="-4656138" y="6553200"/>
            <a:chExt cx="2438400" cy="2438400"/>
          </a:xfrm>
        </p:grpSpPr>
        <p:sp>
          <p:nvSpPr>
            <p:cNvPr id="6" name="Freeform: Shape 5">
              <a:extLst>
                <a:ext uri="{FF2B5EF4-FFF2-40B4-BE49-F238E27FC236}">
                  <a16:creationId xmlns:a16="http://schemas.microsoft.com/office/drawing/2014/main" id="{8571E6D8-1AD5-82BD-197F-F7266940C3C2}"/>
                </a:ext>
              </a:extLst>
            </p:cNvPr>
            <p:cNvSpPr/>
            <p:nvPr/>
          </p:nvSpPr>
          <p:spPr>
            <a:xfrm>
              <a:off x="-4605541" y="6705600"/>
              <a:ext cx="2337206" cy="2235403"/>
            </a:xfrm>
            <a:custGeom>
              <a:avLst/>
              <a:gdLst>
                <a:gd name="connsiteX0" fmla="*/ 2312483 w 2337206"/>
                <a:gd name="connsiteY0" fmla="*/ 2236032 h 2235403"/>
                <a:gd name="connsiteX1" fmla="*/ 26483 w 2337206"/>
                <a:gd name="connsiteY1" fmla="*/ 2236032 h 2235403"/>
                <a:gd name="connsiteX2" fmla="*/ 880 w 2337206"/>
                <a:gd name="connsiteY2" fmla="*/ 2210429 h 2235403"/>
                <a:gd name="connsiteX3" fmla="*/ 880 w 2337206"/>
                <a:gd name="connsiteY3" fmla="*/ 1829429 h 2235403"/>
                <a:gd name="connsiteX4" fmla="*/ 52086 w 2337206"/>
                <a:gd name="connsiteY4" fmla="*/ 1829429 h 2235403"/>
                <a:gd name="connsiteX5" fmla="*/ 52086 w 2337206"/>
                <a:gd name="connsiteY5" fmla="*/ 2184826 h 2235403"/>
                <a:gd name="connsiteX6" fmla="*/ 2286880 w 2337206"/>
                <a:gd name="connsiteY6" fmla="*/ 2184826 h 2235403"/>
                <a:gd name="connsiteX7" fmla="*/ 2286880 w 2337206"/>
                <a:gd name="connsiteY7" fmla="*/ 1829429 h 2235403"/>
                <a:gd name="connsiteX8" fmla="*/ 2338087 w 2337206"/>
                <a:gd name="connsiteY8" fmla="*/ 1829429 h 2235403"/>
                <a:gd name="connsiteX9" fmla="*/ 2338087 w 2337206"/>
                <a:gd name="connsiteY9" fmla="*/ 2210429 h 2235403"/>
                <a:gd name="connsiteX10" fmla="*/ 2312483 w 2337206"/>
                <a:gd name="connsiteY10" fmla="*/ 2236032 h 2235403"/>
                <a:gd name="connsiteX11" fmla="*/ 2312483 w 2337206"/>
                <a:gd name="connsiteY11" fmla="*/ 1626432 h 2235403"/>
                <a:gd name="connsiteX12" fmla="*/ 26483 w 2337206"/>
                <a:gd name="connsiteY12" fmla="*/ 1626432 h 2235403"/>
                <a:gd name="connsiteX13" fmla="*/ 880 w 2337206"/>
                <a:gd name="connsiteY13" fmla="*/ 1600829 h 2235403"/>
                <a:gd name="connsiteX14" fmla="*/ 880 w 2337206"/>
                <a:gd name="connsiteY14" fmla="*/ 1219829 h 2235403"/>
                <a:gd name="connsiteX15" fmla="*/ 52086 w 2337206"/>
                <a:gd name="connsiteY15" fmla="*/ 1219829 h 2235403"/>
                <a:gd name="connsiteX16" fmla="*/ 52086 w 2337206"/>
                <a:gd name="connsiteY16" fmla="*/ 1575226 h 2235403"/>
                <a:gd name="connsiteX17" fmla="*/ 2286880 w 2337206"/>
                <a:gd name="connsiteY17" fmla="*/ 1575226 h 2235403"/>
                <a:gd name="connsiteX18" fmla="*/ 2286880 w 2337206"/>
                <a:gd name="connsiteY18" fmla="*/ 1219829 h 2235403"/>
                <a:gd name="connsiteX19" fmla="*/ 2338087 w 2337206"/>
                <a:gd name="connsiteY19" fmla="*/ 1219829 h 2235403"/>
                <a:gd name="connsiteX20" fmla="*/ 2338087 w 2337206"/>
                <a:gd name="connsiteY20" fmla="*/ 1600829 h 2235403"/>
                <a:gd name="connsiteX21" fmla="*/ 2312483 w 2337206"/>
                <a:gd name="connsiteY21" fmla="*/ 1626432 h 2235403"/>
                <a:gd name="connsiteX22" fmla="*/ 2312483 w 2337206"/>
                <a:gd name="connsiteY22" fmla="*/ 1016832 h 2235403"/>
                <a:gd name="connsiteX23" fmla="*/ 26483 w 2337206"/>
                <a:gd name="connsiteY23" fmla="*/ 1016832 h 2235403"/>
                <a:gd name="connsiteX24" fmla="*/ 880 w 2337206"/>
                <a:gd name="connsiteY24" fmla="*/ 991229 h 2235403"/>
                <a:gd name="connsiteX25" fmla="*/ 880 w 2337206"/>
                <a:gd name="connsiteY25" fmla="*/ 610229 h 2235403"/>
                <a:gd name="connsiteX26" fmla="*/ 52086 w 2337206"/>
                <a:gd name="connsiteY26" fmla="*/ 610229 h 2235403"/>
                <a:gd name="connsiteX27" fmla="*/ 52086 w 2337206"/>
                <a:gd name="connsiteY27" fmla="*/ 965625 h 2235403"/>
                <a:gd name="connsiteX28" fmla="*/ 2286880 w 2337206"/>
                <a:gd name="connsiteY28" fmla="*/ 965625 h 2235403"/>
                <a:gd name="connsiteX29" fmla="*/ 2286880 w 2337206"/>
                <a:gd name="connsiteY29" fmla="*/ 610229 h 2235403"/>
                <a:gd name="connsiteX30" fmla="*/ 2338087 w 2337206"/>
                <a:gd name="connsiteY30" fmla="*/ 610229 h 2235403"/>
                <a:gd name="connsiteX31" fmla="*/ 2338087 w 2337206"/>
                <a:gd name="connsiteY31" fmla="*/ 991229 h 2235403"/>
                <a:gd name="connsiteX32" fmla="*/ 2312483 w 2337206"/>
                <a:gd name="connsiteY32" fmla="*/ 1016832 h 2235403"/>
                <a:gd name="connsiteX33" fmla="*/ 2312483 w 2337206"/>
                <a:gd name="connsiteY33" fmla="*/ 407232 h 2235403"/>
                <a:gd name="connsiteX34" fmla="*/ 26483 w 2337206"/>
                <a:gd name="connsiteY34" fmla="*/ 407232 h 2235403"/>
                <a:gd name="connsiteX35" fmla="*/ 880 w 2337206"/>
                <a:gd name="connsiteY35" fmla="*/ 381629 h 2235403"/>
                <a:gd name="connsiteX36" fmla="*/ 880 w 2337206"/>
                <a:gd name="connsiteY36" fmla="*/ 629 h 2235403"/>
                <a:gd name="connsiteX37" fmla="*/ 52086 w 2337206"/>
                <a:gd name="connsiteY37" fmla="*/ 629 h 2235403"/>
                <a:gd name="connsiteX38" fmla="*/ 52086 w 2337206"/>
                <a:gd name="connsiteY38" fmla="*/ 356025 h 2235403"/>
                <a:gd name="connsiteX39" fmla="*/ 2286880 w 2337206"/>
                <a:gd name="connsiteY39" fmla="*/ 356025 h 2235403"/>
                <a:gd name="connsiteX40" fmla="*/ 2286880 w 2337206"/>
                <a:gd name="connsiteY40" fmla="*/ 629 h 2235403"/>
                <a:gd name="connsiteX41" fmla="*/ 2338087 w 2337206"/>
                <a:gd name="connsiteY41" fmla="*/ 629 h 2235403"/>
                <a:gd name="connsiteX42" fmla="*/ 2338087 w 2337206"/>
                <a:gd name="connsiteY42" fmla="*/ 381629 h 2235403"/>
                <a:gd name="connsiteX43" fmla="*/ 2312483 w 2337206"/>
                <a:gd name="connsiteY43" fmla="*/ 407232 h 2235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337206" h="2235403">
                  <a:moveTo>
                    <a:pt x="2312483" y="2236032"/>
                  </a:moveTo>
                  <a:lnTo>
                    <a:pt x="26483" y="2236032"/>
                  </a:lnTo>
                  <a:cubicBezTo>
                    <a:pt x="12310" y="2236032"/>
                    <a:pt x="880" y="2224602"/>
                    <a:pt x="880" y="2210429"/>
                  </a:cubicBezTo>
                  <a:lnTo>
                    <a:pt x="880" y="1829429"/>
                  </a:lnTo>
                  <a:lnTo>
                    <a:pt x="52086" y="1829429"/>
                  </a:lnTo>
                  <a:lnTo>
                    <a:pt x="52086" y="2184826"/>
                  </a:lnTo>
                  <a:lnTo>
                    <a:pt x="2286880" y="2184826"/>
                  </a:lnTo>
                  <a:lnTo>
                    <a:pt x="2286880" y="1829429"/>
                  </a:lnTo>
                  <a:lnTo>
                    <a:pt x="2338087" y="1829429"/>
                  </a:lnTo>
                  <a:lnTo>
                    <a:pt x="2338087" y="2210429"/>
                  </a:lnTo>
                  <a:cubicBezTo>
                    <a:pt x="2338087" y="2224602"/>
                    <a:pt x="2326657" y="2236032"/>
                    <a:pt x="2312483" y="2236032"/>
                  </a:cubicBezTo>
                  <a:close/>
                  <a:moveTo>
                    <a:pt x="2312483" y="1626432"/>
                  </a:moveTo>
                  <a:lnTo>
                    <a:pt x="26483" y="1626432"/>
                  </a:lnTo>
                  <a:cubicBezTo>
                    <a:pt x="12310" y="1626432"/>
                    <a:pt x="880" y="1615002"/>
                    <a:pt x="880" y="1600829"/>
                  </a:cubicBezTo>
                  <a:lnTo>
                    <a:pt x="880" y="1219829"/>
                  </a:lnTo>
                  <a:lnTo>
                    <a:pt x="52086" y="1219829"/>
                  </a:lnTo>
                  <a:lnTo>
                    <a:pt x="52086" y="1575226"/>
                  </a:lnTo>
                  <a:lnTo>
                    <a:pt x="2286880" y="1575226"/>
                  </a:lnTo>
                  <a:lnTo>
                    <a:pt x="2286880" y="1219829"/>
                  </a:lnTo>
                  <a:lnTo>
                    <a:pt x="2338087" y="1219829"/>
                  </a:lnTo>
                  <a:lnTo>
                    <a:pt x="2338087" y="1600829"/>
                  </a:lnTo>
                  <a:cubicBezTo>
                    <a:pt x="2338087" y="1615002"/>
                    <a:pt x="2326657" y="1626432"/>
                    <a:pt x="2312483" y="1626432"/>
                  </a:cubicBezTo>
                  <a:close/>
                  <a:moveTo>
                    <a:pt x="2312483" y="1016832"/>
                  </a:moveTo>
                  <a:lnTo>
                    <a:pt x="26483" y="1016832"/>
                  </a:lnTo>
                  <a:cubicBezTo>
                    <a:pt x="12310" y="1016832"/>
                    <a:pt x="880" y="1005402"/>
                    <a:pt x="880" y="991229"/>
                  </a:cubicBezTo>
                  <a:lnTo>
                    <a:pt x="880" y="610229"/>
                  </a:lnTo>
                  <a:lnTo>
                    <a:pt x="52086" y="610229"/>
                  </a:lnTo>
                  <a:lnTo>
                    <a:pt x="52086" y="965625"/>
                  </a:lnTo>
                  <a:lnTo>
                    <a:pt x="2286880" y="965625"/>
                  </a:lnTo>
                  <a:lnTo>
                    <a:pt x="2286880" y="610229"/>
                  </a:lnTo>
                  <a:lnTo>
                    <a:pt x="2338087" y="610229"/>
                  </a:lnTo>
                  <a:lnTo>
                    <a:pt x="2338087" y="991229"/>
                  </a:lnTo>
                  <a:cubicBezTo>
                    <a:pt x="2338087" y="1005402"/>
                    <a:pt x="2326657" y="1016832"/>
                    <a:pt x="2312483" y="1016832"/>
                  </a:cubicBezTo>
                  <a:close/>
                  <a:moveTo>
                    <a:pt x="2312483" y="407232"/>
                  </a:moveTo>
                  <a:lnTo>
                    <a:pt x="26483" y="407232"/>
                  </a:lnTo>
                  <a:cubicBezTo>
                    <a:pt x="12310" y="407232"/>
                    <a:pt x="880" y="395802"/>
                    <a:pt x="880" y="381629"/>
                  </a:cubicBezTo>
                  <a:lnTo>
                    <a:pt x="880" y="629"/>
                  </a:lnTo>
                  <a:lnTo>
                    <a:pt x="52086" y="629"/>
                  </a:lnTo>
                  <a:lnTo>
                    <a:pt x="52086" y="356025"/>
                  </a:lnTo>
                  <a:lnTo>
                    <a:pt x="2286880" y="356025"/>
                  </a:lnTo>
                  <a:lnTo>
                    <a:pt x="2286880" y="629"/>
                  </a:lnTo>
                  <a:lnTo>
                    <a:pt x="2338087" y="629"/>
                  </a:lnTo>
                  <a:lnTo>
                    <a:pt x="2338087" y="381629"/>
                  </a:lnTo>
                  <a:cubicBezTo>
                    <a:pt x="2338087" y="395802"/>
                    <a:pt x="2326657" y="407232"/>
                    <a:pt x="2312483" y="407232"/>
                  </a:cubicBezTo>
                  <a:close/>
                </a:path>
              </a:pathLst>
            </a:custGeom>
            <a:solidFill>
              <a:srgbClr val="000000"/>
            </a:solidFill>
            <a:ln w="76200" cap="flat">
              <a:noFill/>
              <a:prstDash val="solid"/>
              <a:miter/>
            </a:ln>
          </p:spPr>
          <p:txBody>
            <a:bodyPr rtlCol="0" anchor="ctr"/>
            <a:lstStyle/>
            <a:p>
              <a:endParaRPr lang="en-US" sz="900"/>
            </a:p>
          </p:txBody>
        </p:sp>
        <p:sp>
          <p:nvSpPr>
            <p:cNvPr id="7" name="Freeform: Shape 6">
              <a:extLst>
                <a:ext uri="{FF2B5EF4-FFF2-40B4-BE49-F238E27FC236}">
                  <a16:creationId xmlns:a16="http://schemas.microsoft.com/office/drawing/2014/main" id="{C45C9649-E8C6-8538-64D5-E9974B3C54F8}"/>
                </a:ext>
              </a:extLst>
            </p:cNvPr>
            <p:cNvSpPr/>
            <p:nvPr/>
          </p:nvSpPr>
          <p:spPr>
            <a:xfrm>
              <a:off x="-4656138" y="6553200"/>
              <a:ext cx="2438400" cy="2438400"/>
            </a:xfrm>
            <a:custGeom>
              <a:avLst/>
              <a:gdLst>
                <a:gd name="connsiteX0" fmla="*/ 880 w 2438400"/>
                <a:gd name="connsiteY0" fmla="*/ 624 h 2438400"/>
                <a:gd name="connsiteX1" fmla="*/ 2439280 w 2438400"/>
                <a:gd name="connsiteY1" fmla="*/ 624 h 2438400"/>
                <a:gd name="connsiteX2" fmla="*/ 2439280 w 2438400"/>
                <a:gd name="connsiteY2" fmla="*/ 2439024 h 2438400"/>
                <a:gd name="connsiteX3" fmla="*/ 880 w 2438400"/>
                <a:gd name="connsiteY3" fmla="*/ 2439024 h 2438400"/>
              </a:gdLst>
              <a:ahLst/>
              <a:cxnLst>
                <a:cxn ang="0">
                  <a:pos x="connsiteX0" y="connsiteY0"/>
                </a:cxn>
                <a:cxn ang="0">
                  <a:pos x="connsiteX1" y="connsiteY1"/>
                </a:cxn>
                <a:cxn ang="0">
                  <a:pos x="connsiteX2" y="connsiteY2"/>
                </a:cxn>
                <a:cxn ang="0">
                  <a:pos x="connsiteX3" y="connsiteY3"/>
                </a:cxn>
              </a:cxnLst>
              <a:rect l="l" t="t" r="r" b="b"/>
              <a:pathLst>
                <a:path w="2438400" h="2438400">
                  <a:moveTo>
                    <a:pt x="880" y="624"/>
                  </a:moveTo>
                  <a:lnTo>
                    <a:pt x="2439280" y="624"/>
                  </a:lnTo>
                  <a:lnTo>
                    <a:pt x="2439280" y="2439024"/>
                  </a:lnTo>
                  <a:lnTo>
                    <a:pt x="880" y="2439024"/>
                  </a:lnTo>
                  <a:close/>
                </a:path>
              </a:pathLst>
            </a:custGeom>
            <a:noFill/>
            <a:ln w="76200" cap="flat">
              <a:noFill/>
              <a:prstDash val="solid"/>
              <a:miter/>
            </a:ln>
          </p:spPr>
          <p:txBody>
            <a:bodyPr rtlCol="0" anchor="ctr"/>
            <a:lstStyle/>
            <a:p>
              <a:endParaRPr lang="en-US" sz="900"/>
            </a:p>
          </p:txBody>
        </p:sp>
      </p:grpSp>
      <p:sp>
        <p:nvSpPr>
          <p:cNvPr id="9" name="Freeform: Shape 8">
            <a:extLst>
              <a:ext uri="{FF2B5EF4-FFF2-40B4-BE49-F238E27FC236}">
                <a16:creationId xmlns:a16="http://schemas.microsoft.com/office/drawing/2014/main" id="{C713F7EE-2369-EED6-BFE6-1072CA2BF651}"/>
              </a:ext>
            </a:extLst>
          </p:cNvPr>
          <p:cNvSpPr/>
          <p:nvPr userDrawn="1"/>
        </p:nvSpPr>
        <p:spPr>
          <a:xfrm>
            <a:off x="9165925" y="1803792"/>
            <a:ext cx="1370118" cy="1040273"/>
          </a:xfrm>
          <a:custGeom>
            <a:avLst/>
            <a:gdLst>
              <a:gd name="connsiteX0" fmla="*/ 992531 w 2435961"/>
              <a:gd name="connsiteY0" fmla="*/ 334 h 1849282"/>
              <a:gd name="connsiteX1" fmla="*/ 812334 w 2435961"/>
              <a:gd name="connsiteY1" fmla="*/ 180532 h 1849282"/>
              <a:gd name="connsiteX2" fmla="*/ 992531 w 2435961"/>
              <a:gd name="connsiteY2" fmla="*/ 360730 h 1849282"/>
              <a:gd name="connsiteX3" fmla="*/ 1172729 w 2435961"/>
              <a:gd name="connsiteY3" fmla="*/ 180532 h 1849282"/>
              <a:gd name="connsiteX4" fmla="*/ 992531 w 2435961"/>
              <a:gd name="connsiteY4" fmla="*/ 334 h 1849282"/>
              <a:gd name="connsiteX5" fmla="*/ 1444367 w 2435961"/>
              <a:gd name="connsiteY5" fmla="*/ 334 h 1849282"/>
              <a:gd name="connsiteX6" fmla="*/ 1264169 w 2435961"/>
              <a:gd name="connsiteY6" fmla="*/ 180532 h 1849282"/>
              <a:gd name="connsiteX7" fmla="*/ 1444367 w 2435961"/>
              <a:gd name="connsiteY7" fmla="*/ 360730 h 1849282"/>
              <a:gd name="connsiteX8" fmla="*/ 1624565 w 2435961"/>
              <a:gd name="connsiteY8" fmla="*/ 180532 h 1849282"/>
              <a:gd name="connsiteX9" fmla="*/ 1444367 w 2435961"/>
              <a:gd name="connsiteY9" fmla="*/ 334 h 1849282"/>
              <a:gd name="connsiteX10" fmla="*/ 590 w 2435961"/>
              <a:gd name="connsiteY10" fmla="*/ 1173448 h 1849282"/>
              <a:gd name="connsiteX11" fmla="*/ 316363 w 2435961"/>
              <a:gd name="connsiteY11" fmla="*/ 1488733 h 1849282"/>
              <a:gd name="connsiteX12" fmla="*/ 621163 w 2435961"/>
              <a:gd name="connsiteY12" fmla="*/ 1257329 h 1849282"/>
              <a:gd name="connsiteX13" fmla="*/ 827695 w 2435961"/>
              <a:gd name="connsiteY13" fmla="*/ 601644 h 1849282"/>
              <a:gd name="connsiteX14" fmla="*/ 215169 w 2435961"/>
              <a:gd name="connsiteY14" fmla="*/ 872306 h 1849282"/>
              <a:gd name="connsiteX15" fmla="*/ 590 w 2435961"/>
              <a:gd name="connsiteY15" fmla="*/ 1173448 h 1849282"/>
              <a:gd name="connsiteX16" fmla="*/ 1572627 w 2435961"/>
              <a:gd name="connsiteY16" fmla="*/ 661872 h 1849282"/>
              <a:gd name="connsiteX17" fmla="*/ 1218327 w 2435961"/>
              <a:gd name="connsiteY17" fmla="*/ 436320 h 1849282"/>
              <a:gd name="connsiteX18" fmla="*/ 865003 w 2435961"/>
              <a:gd name="connsiteY18" fmla="*/ 661872 h 1849282"/>
              <a:gd name="connsiteX19" fmla="*/ 1572627 w 2435961"/>
              <a:gd name="connsiteY19" fmla="*/ 661872 h 1849282"/>
              <a:gd name="connsiteX20" fmla="*/ 1609447 w 2435961"/>
              <a:gd name="connsiteY20" fmla="*/ 842314 h 1849282"/>
              <a:gd name="connsiteX21" fmla="*/ 827452 w 2435961"/>
              <a:gd name="connsiteY21" fmla="*/ 842314 h 1849282"/>
              <a:gd name="connsiteX22" fmla="*/ 827452 w 2435961"/>
              <a:gd name="connsiteY22" fmla="*/ 1052748 h 1849282"/>
              <a:gd name="connsiteX23" fmla="*/ 1609203 w 2435961"/>
              <a:gd name="connsiteY23" fmla="*/ 1052748 h 1849282"/>
              <a:gd name="connsiteX24" fmla="*/ 1609203 w 2435961"/>
              <a:gd name="connsiteY24" fmla="*/ 842314 h 1849282"/>
              <a:gd name="connsiteX25" fmla="*/ 1609447 w 2435961"/>
              <a:gd name="connsiteY25" fmla="*/ 1233189 h 1849282"/>
              <a:gd name="connsiteX26" fmla="*/ 827452 w 2435961"/>
              <a:gd name="connsiteY26" fmla="*/ 1233189 h 1849282"/>
              <a:gd name="connsiteX27" fmla="*/ 827452 w 2435961"/>
              <a:gd name="connsiteY27" fmla="*/ 1443623 h 1849282"/>
              <a:gd name="connsiteX28" fmla="*/ 1609203 w 2435961"/>
              <a:gd name="connsiteY28" fmla="*/ 1443623 h 1849282"/>
              <a:gd name="connsiteX29" fmla="*/ 1609203 w 2435961"/>
              <a:gd name="connsiteY29" fmla="*/ 1233189 h 1849282"/>
              <a:gd name="connsiteX30" fmla="*/ 865247 w 2435961"/>
              <a:gd name="connsiteY30" fmla="*/ 1624065 h 1849282"/>
              <a:gd name="connsiteX31" fmla="*/ 1218571 w 2435961"/>
              <a:gd name="connsiteY31" fmla="*/ 1849617 h 1849282"/>
              <a:gd name="connsiteX32" fmla="*/ 1572871 w 2435961"/>
              <a:gd name="connsiteY32" fmla="*/ 1624065 h 1849282"/>
              <a:gd name="connsiteX33" fmla="*/ 865247 w 2435961"/>
              <a:gd name="connsiteY33" fmla="*/ 1624065 h 1849282"/>
              <a:gd name="connsiteX34" fmla="*/ 2221973 w 2435961"/>
              <a:gd name="connsiteY34" fmla="*/ 872306 h 1849282"/>
              <a:gd name="connsiteX35" fmla="*/ 1609447 w 2435961"/>
              <a:gd name="connsiteY35" fmla="*/ 601644 h 1849282"/>
              <a:gd name="connsiteX36" fmla="*/ 1815979 w 2435961"/>
              <a:gd name="connsiteY36" fmla="*/ 1257329 h 1849282"/>
              <a:gd name="connsiteX37" fmla="*/ 2120779 w 2435961"/>
              <a:gd name="connsiteY37" fmla="*/ 1488733 h 1849282"/>
              <a:gd name="connsiteX38" fmla="*/ 2436552 w 2435961"/>
              <a:gd name="connsiteY38" fmla="*/ 1173448 h 1849282"/>
              <a:gd name="connsiteX39" fmla="*/ 2221973 w 2435961"/>
              <a:gd name="connsiteY39" fmla="*/ 872306 h 1849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435961" h="1849282">
                <a:moveTo>
                  <a:pt x="992531" y="334"/>
                </a:moveTo>
                <a:cubicBezTo>
                  <a:pt x="893045" y="334"/>
                  <a:pt x="812334" y="81045"/>
                  <a:pt x="812334" y="180532"/>
                </a:cubicBezTo>
                <a:cubicBezTo>
                  <a:pt x="812334" y="280018"/>
                  <a:pt x="893045" y="360730"/>
                  <a:pt x="992531" y="360730"/>
                </a:cubicBezTo>
                <a:cubicBezTo>
                  <a:pt x="1092018" y="360730"/>
                  <a:pt x="1172729" y="280018"/>
                  <a:pt x="1172729" y="180532"/>
                </a:cubicBezTo>
                <a:cubicBezTo>
                  <a:pt x="1172729" y="81045"/>
                  <a:pt x="1092018" y="334"/>
                  <a:pt x="992531" y="334"/>
                </a:cubicBezTo>
                <a:close/>
                <a:moveTo>
                  <a:pt x="1444367" y="334"/>
                </a:moveTo>
                <a:cubicBezTo>
                  <a:pt x="1344880" y="334"/>
                  <a:pt x="1264169" y="81045"/>
                  <a:pt x="1264169" y="180532"/>
                </a:cubicBezTo>
                <a:cubicBezTo>
                  <a:pt x="1264169" y="280018"/>
                  <a:pt x="1344880" y="360730"/>
                  <a:pt x="1444367" y="360730"/>
                </a:cubicBezTo>
                <a:cubicBezTo>
                  <a:pt x="1543854" y="360730"/>
                  <a:pt x="1624565" y="280018"/>
                  <a:pt x="1624565" y="180532"/>
                </a:cubicBezTo>
                <a:cubicBezTo>
                  <a:pt x="1624565" y="81045"/>
                  <a:pt x="1543854" y="334"/>
                  <a:pt x="1444367" y="334"/>
                </a:cubicBezTo>
                <a:close/>
                <a:moveTo>
                  <a:pt x="590" y="1173448"/>
                </a:moveTo>
                <a:cubicBezTo>
                  <a:pt x="590" y="1347062"/>
                  <a:pt x="142749" y="1488733"/>
                  <a:pt x="316363" y="1488733"/>
                </a:cubicBezTo>
                <a:cubicBezTo>
                  <a:pt x="483150" y="1488733"/>
                  <a:pt x="581905" y="1374129"/>
                  <a:pt x="621163" y="1257329"/>
                </a:cubicBezTo>
                <a:lnTo>
                  <a:pt x="827695" y="601644"/>
                </a:lnTo>
                <a:lnTo>
                  <a:pt x="215169" y="872306"/>
                </a:lnTo>
                <a:cubicBezTo>
                  <a:pt x="91055" y="928145"/>
                  <a:pt x="590" y="1026413"/>
                  <a:pt x="590" y="1173448"/>
                </a:cubicBezTo>
                <a:close/>
                <a:moveTo>
                  <a:pt x="1572627" y="661872"/>
                </a:moveTo>
                <a:cubicBezTo>
                  <a:pt x="1510204" y="528979"/>
                  <a:pt x="1375116" y="436320"/>
                  <a:pt x="1218327" y="436320"/>
                </a:cubicBezTo>
                <a:cubicBezTo>
                  <a:pt x="1061538" y="436320"/>
                  <a:pt x="927426" y="528735"/>
                  <a:pt x="865003" y="661872"/>
                </a:cubicBezTo>
                <a:lnTo>
                  <a:pt x="1572627" y="661872"/>
                </a:lnTo>
                <a:close/>
                <a:moveTo>
                  <a:pt x="1609447" y="842314"/>
                </a:moveTo>
                <a:lnTo>
                  <a:pt x="827452" y="842314"/>
                </a:lnTo>
                <a:lnTo>
                  <a:pt x="827452" y="1052748"/>
                </a:lnTo>
                <a:lnTo>
                  <a:pt x="1609203" y="1052748"/>
                </a:lnTo>
                <a:lnTo>
                  <a:pt x="1609203" y="842314"/>
                </a:lnTo>
                <a:close/>
                <a:moveTo>
                  <a:pt x="1609447" y="1233189"/>
                </a:moveTo>
                <a:lnTo>
                  <a:pt x="827452" y="1233189"/>
                </a:lnTo>
                <a:lnTo>
                  <a:pt x="827452" y="1443623"/>
                </a:lnTo>
                <a:lnTo>
                  <a:pt x="1609203" y="1443623"/>
                </a:lnTo>
                <a:lnTo>
                  <a:pt x="1609203" y="1233189"/>
                </a:lnTo>
                <a:close/>
                <a:moveTo>
                  <a:pt x="865247" y="1624065"/>
                </a:moveTo>
                <a:cubicBezTo>
                  <a:pt x="927670" y="1756957"/>
                  <a:pt x="1062026" y="1849617"/>
                  <a:pt x="1218571" y="1849617"/>
                </a:cubicBezTo>
                <a:cubicBezTo>
                  <a:pt x="1375360" y="1849617"/>
                  <a:pt x="1510448" y="1757201"/>
                  <a:pt x="1572871" y="1624065"/>
                </a:cubicBezTo>
                <a:lnTo>
                  <a:pt x="865247" y="1624065"/>
                </a:lnTo>
                <a:close/>
                <a:moveTo>
                  <a:pt x="2221973" y="872306"/>
                </a:moveTo>
                <a:lnTo>
                  <a:pt x="1609447" y="601644"/>
                </a:lnTo>
                <a:lnTo>
                  <a:pt x="1815979" y="1257329"/>
                </a:lnTo>
                <a:cubicBezTo>
                  <a:pt x="1855237" y="1374129"/>
                  <a:pt x="1953992" y="1488733"/>
                  <a:pt x="2120779" y="1488733"/>
                </a:cubicBezTo>
                <a:cubicBezTo>
                  <a:pt x="2294393" y="1488733"/>
                  <a:pt x="2436552" y="1347062"/>
                  <a:pt x="2436552" y="1173448"/>
                </a:cubicBezTo>
                <a:cubicBezTo>
                  <a:pt x="2436552" y="1026413"/>
                  <a:pt x="2346087" y="928145"/>
                  <a:pt x="2221973" y="872306"/>
                </a:cubicBezTo>
                <a:close/>
              </a:path>
            </a:pathLst>
          </a:custGeom>
          <a:solidFill>
            <a:srgbClr val="6FDC8C"/>
          </a:solidFill>
          <a:ln w="24384" cap="flat">
            <a:noFill/>
            <a:prstDash val="solid"/>
            <a:miter/>
          </a:ln>
        </p:spPr>
        <p:txBody>
          <a:bodyPr rtlCol="0" anchor="ctr"/>
          <a:lstStyle/>
          <a:p>
            <a:endParaRPr lang="en-US" sz="900"/>
          </a:p>
        </p:txBody>
      </p:sp>
      <p:sp>
        <p:nvSpPr>
          <p:cNvPr id="11" name="Freeform: Shape 10">
            <a:extLst>
              <a:ext uri="{FF2B5EF4-FFF2-40B4-BE49-F238E27FC236}">
                <a16:creationId xmlns:a16="http://schemas.microsoft.com/office/drawing/2014/main" id="{774CD570-60FE-DA87-4E19-80D8AA26A41B}"/>
              </a:ext>
            </a:extLst>
          </p:cNvPr>
          <p:cNvSpPr/>
          <p:nvPr userDrawn="1"/>
        </p:nvSpPr>
        <p:spPr>
          <a:xfrm>
            <a:off x="7793886" y="266700"/>
            <a:ext cx="1370118" cy="1370297"/>
          </a:xfrm>
          <a:custGeom>
            <a:avLst/>
            <a:gdLst>
              <a:gd name="connsiteX0" fmla="*/ 1524334 w 2435961"/>
              <a:gd name="connsiteY0" fmla="*/ 1598693 h 2435961"/>
              <a:gd name="connsiteX1" fmla="*/ 1219778 w 2435961"/>
              <a:gd name="connsiteY1" fmla="*/ 1903249 h 2435961"/>
              <a:gd name="connsiteX2" fmla="*/ 915222 w 2435961"/>
              <a:gd name="connsiteY2" fmla="*/ 1598693 h 2435961"/>
              <a:gd name="connsiteX3" fmla="*/ 1219778 w 2435961"/>
              <a:gd name="connsiteY3" fmla="*/ 1294137 h 2435961"/>
              <a:gd name="connsiteX4" fmla="*/ 1524334 w 2435961"/>
              <a:gd name="connsiteY4" fmla="*/ 1598693 h 2435961"/>
              <a:gd name="connsiteX5" fmla="*/ 2436296 w 2435961"/>
              <a:gd name="connsiteY5" fmla="*/ 1598693 h 2435961"/>
              <a:gd name="connsiteX6" fmla="*/ 1218315 w 2435961"/>
              <a:gd name="connsiteY6" fmla="*/ 2436040 h 2435961"/>
              <a:gd name="connsiteX7" fmla="*/ 334 w 2435961"/>
              <a:gd name="connsiteY7" fmla="*/ 1598693 h 2435961"/>
              <a:gd name="connsiteX8" fmla="*/ 1218315 w 2435961"/>
              <a:gd name="connsiteY8" fmla="*/ 761346 h 2435961"/>
              <a:gd name="connsiteX9" fmla="*/ 2436296 w 2435961"/>
              <a:gd name="connsiteY9" fmla="*/ 1598693 h 2435961"/>
              <a:gd name="connsiteX10" fmla="*/ 1903505 w 2435961"/>
              <a:gd name="connsiteY10" fmla="*/ 1598693 h 2435961"/>
              <a:gd name="connsiteX11" fmla="*/ 1218315 w 2435961"/>
              <a:gd name="connsiteY11" fmla="*/ 913503 h 2435961"/>
              <a:gd name="connsiteX12" fmla="*/ 533125 w 2435961"/>
              <a:gd name="connsiteY12" fmla="*/ 1598693 h 2435961"/>
              <a:gd name="connsiteX13" fmla="*/ 1218315 w 2435961"/>
              <a:gd name="connsiteY13" fmla="*/ 2283884 h 2435961"/>
              <a:gd name="connsiteX14" fmla="*/ 1903505 w 2435961"/>
              <a:gd name="connsiteY14" fmla="*/ 1598693 h 2435961"/>
              <a:gd name="connsiteX15" fmla="*/ 1218315 w 2435961"/>
              <a:gd name="connsiteY15" fmla="*/ 78 h 2435961"/>
              <a:gd name="connsiteX16" fmla="*/ 76656 w 2435961"/>
              <a:gd name="connsiteY16" fmla="*/ 685268 h 2435961"/>
              <a:gd name="connsiteX17" fmla="*/ 76656 w 2435961"/>
              <a:gd name="connsiteY17" fmla="*/ 913747 h 2435961"/>
              <a:gd name="connsiteX18" fmla="*/ 1218315 w 2435961"/>
              <a:gd name="connsiteY18" fmla="*/ 380712 h 2435961"/>
              <a:gd name="connsiteX19" fmla="*/ 2360218 w 2435961"/>
              <a:gd name="connsiteY19" fmla="*/ 913503 h 2435961"/>
              <a:gd name="connsiteX20" fmla="*/ 2360218 w 2435961"/>
              <a:gd name="connsiteY20" fmla="*/ 685025 h 2435961"/>
              <a:gd name="connsiteX21" fmla="*/ 1218315 w 2435961"/>
              <a:gd name="connsiteY21" fmla="*/ 78 h 2435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435961" h="2435961">
                <a:moveTo>
                  <a:pt x="1524334" y="1598693"/>
                </a:moveTo>
                <a:cubicBezTo>
                  <a:pt x="1524334" y="1766943"/>
                  <a:pt x="1388028" y="1903249"/>
                  <a:pt x="1219778" y="1903249"/>
                </a:cubicBezTo>
                <a:cubicBezTo>
                  <a:pt x="1051528" y="1903249"/>
                  <a:pt x="915222" y="1766943"/>
                  <a:pt x="915222" y="1598693"/>
                </a:cubicBezTo>
                <a:cubicBezTo>
                  <a:pt x="915222" y="1430443"/>
                  <a:pt x="1051528" y="1294137"/>
                  <a:pt x="1219778" y="1294137"/>
                </a:cubicBezTo>
                <a:cubicBezTo>
                  <a:pt x="1388028" y="1294137"/>
                  <a:pt x="1524334" y="1430443"/>
                  <a:pt x="1524334" y="1598693"/>
                </a:cubicBezTo>
                <a:close/>
                <a:moveTo>
                  <a:pt x="2436296" y="1598693"/>
                </a:moveTo>
                <a:cubicBezTo>
                  <a:pt x="2235859" y="2090762"/>
                  <a:pt x="1765980" y="2436040"/>
                  <a:pt x="1218315" y="2436040"/>
                </a:cubicBezTo>
                <a:cubicBezTo>
                  <a:pt x="670650" y="2436040"/>
                  <a:pt x="201014" y="2090762"/>
                  <a:pt x="334" y="1598693"/>
                </a:cubicBezTo>
                <a:cubicBezTo>
                  <a:pt x="201014" y="1106624"/>
                  <a:pt x="670650" y="761346"/>
                  <a:pt x="1218315" y="761346"/>
                </a:cubicBezTo>
                <a:cubicBezTo>
                  <a:pt x="1765980" y="761346"/>
                  <a:pt x="2235615" y="1106624"/>
                  <a:pt x="2436296" y="1598693"/>
                </a:cubicBezTo>
                <a:close/>
                <a:moveTo>
                  <a:pt x="1903505" y="1598693"/>
                </a:moveTo>
                <a:cubicBezTo>
                  <a:pt x="1903505" y="1220253"/>
                  <a:pt x="1596755" y="913503"/>
                  <a:pt x="1218315" y="913503"/>
                </a:cubicBezTo>
                <a:cubicBezTo>
                  <a:pt x="839875" y="913503"/>
                  <a:pt x="533125" y="1220253"/>
                  <a:pt x="533125" y="1598693"/>
                </a:cubicBezTo>
                <a:cubicBezTo>
                  <a:pt x="533125" y="1977133"/>
                  <a:pt x="839875" y="2283884"/>
                  <a:pt x="1218315" y="2283884"/>
                </a:cubicBezTo>
                <a:cubicBezTo>
                  <a:pt x="1596755" y="2283884"/>
                  <a:pt x="1903505" y="1977133"/>
                  <a:pt x="1903505" y="1598693"/>
                </a:cubicBezTo>
                <a:close/>
                <a:moveTo>
                  <a:pt x="1218315" y="78"/>
                </a:moveTo>
                <a:cubicBezTo>
                  <a:pt x="731123" y="78"/>
                  <a:pt x="305622" y="275373"/>
                  <a:pt x="76656" y="685268"/>
                </a:cubicBezTo>
                <a:lnTo>
                  <a:pt x="76656" y="913747"/>
                </a:lnTo>
                <a:cubicBezTo>
                  <a:pt x="349269" y="587976"/>
                  <a:pt x="759408" y="380712"/>
                  <a:pt x="1218315" y="380712"/>
                </a:cubicBezTo>
                <a:cubicBezTo>
                  <a:pt x="1677222" y="380712"/>
                  <a:pt x="2087361" y="587976"/>
                  <a:pt x="2360218" y="913503"/>
                </a:cubicBezTo>
                <a:lnTo>
                  <a:pt x="2360218" y="685025"/>
                </a:lnTo>
                <a:cubicBezTo>
                  <a:pt x="2131008" y="275373"/>
                  <a:pt x="1705507" y="78"/>
                  <a:pt x="1218315" y="78"/>
                </a:cubicBezTo>
                <a:close/>
              </a:path>
            </a:pathLst>
          </a:custGeom>
          <a:solidFill>
            <a:srgbClr val="A56EFF"/>
          </a:solidFill>
          <a:ln w="24384" cap="flat">
            <a:noFill/>
            <a:prstDash val="solid"/>
            <a:miter/>
          </a:ln>
        </p:spPr>
        <p:txBody>
          <a:bodyPr rtlCol="0" anchor="ctr"/>
          <a:lstStyle/>
          <a:p>
            <a:endParaRPr lang="en-US" sz="900"/>
          </a:p>
        </p:txBody>
      </p:sp>
      <p:sp>
        <p:nvSpPr>
          <p:cNvPr id="12" name="Freeform: Shape 11">
            <a:extLst>
              <a:ext uri="{FF2B5EF4-FFF2-40B4-BE49-F238E27FC236}">
                <a16:creationId xmlns:a16="http://schemas.microsoft.com/office/drawing/2014/main" id="{0B5E8390-A5EA-27D5-D685-1332D91CD727}"/>
              </a:ext>
            </a:extLst>
          </p:cNvPr>
          <p:cNvSpPr/>
          <p:nvPr userDrawn="1"/>
        </p:nvSpPr>
        <p:spPr>
          <a:xfrm>
            <a:off x="10536866" y="337204"/>
            <a:ext cx="1370393" cy="1230112"/>
          </a:xfrm>
          <a:custGeom>
            <a:avLst/>
            <a:gdLst>
              <a:gd name="connsiteX0" fmla="*/ 1218583 w 2436449"/>
              <a:gd name="connsiteY0" fmla="*/ 2186835 h 2186757"/>
              <a:gd name="connsiteX1" fmla="*/ 1271740 w 2436449"/>
              <a:gd name="connsiteY1" fmla="*/ 2034679 h 2186757"/>
              <a:gd name="connsiteX2" fmla="*/ 1165914 w 2436449"/>
              <a:gd name="connsiteY2" fmla="*/ 2034679 h 2186757"/>
              <a:gd name="connsiteX3" fmla="*/ 1218583 w 2436449"/>
              <a:gd name="connsiteY3" fmla="*/ 2186835 h 2186757"/>
              <a:gd name="connsiteX4" fmla="*/ 1117390 w 2436449"/>
              <a:gd name="connsiteY4" fmla="*/ 1896178 h 2186757"/>
              <a:gd name="connsiteX5" fmla="*/ 1320508 w 2436449"/>
              <a:gd name="connsiteY5" fmla="*/ 1896178 h 2186757"/>
              <a:gd name="connsiteX6" fmla="*/ 1373909 w 2436449"/>
              <a:gd name="connsiteY6" fmla="*/ 1744022 h 2186757"/>
              <a:gd name="connsiteX7" fmla="*/ 1063989 w 2436449"/>
              <a:gd name="connsiteY7" fmla="*/ 1744022 h 2186757"/>
              <a:gd name="connsiteX8" fmla="*/ 1117390 w 2436449"/>
              <a:gd name="connsiteY8" fmla="*/ 1896178 h 2186757"/>
              <a:gd name="connsiteX9" fmla="*/ 1015464 w 2436449"/>
              <a:gd name="connsiteY9" fmla="*/ 1605521 h 2186757"/>
              <a:gd name="connsiteX10" fmla="*/ 1422433 w 2436449"/>
              <a:gd name="connsiteY10" fmla="*/ 1605521 h 2186757"/>
              <a:gd name="connsiteX11" fmla="*/ 1475834 w 2436449"/>
              <a:gd name="connsiteY11" fmla="*/ 1453365 h 2186757"/>
              <a:gd name="connsiteX12" fmla="*/ 961820 w 2436449"/>
              <a:gd name="connsiteY12" fmla="*/ 1453365 h 2186757"/>
              <a:gd name="connsiteX13" fmla="*/ 1015221 w 2436449"/>
              <a:gd name="connsiteY13" fmla="*/ 1605521 h 2186757"/>
              <a:gd name="connsiteX14" fmla="*/ 913539 w 2436449"/>
              <a:gd name="connsiteY14" fmla="*/ 1314863 h 2186757"/>
              <a:gd name="connsiteX15" fmla="*/ 1524602 w 2436449"/>
              <a:gd name="connsiteY15" fmla="*/ 1314863 h 2186757"/>
              <a:gd name="connsiteX16" fmla="*/ 1578003 w 2436449"/>
              <a:gd name="connsiteY16" fmla="*/ 1162707 h 2186757"/>
              <a:gd name="connsiteX17" fmla="*/ 859894 w 2436449"/>
              <a:gd name="connsiteY17" fmla="*/ 1162707 h 2186757"/>
              <a:gd name="connsiteX18" fmla="*/ 913295 w 2436449"/>
              <a:gd name="connsiteY18" fmla="*/ 1314863 h 2186757"/>
              <a:gd name="connsiteX19" fmla="*/ 305646 w 2436449"/>
              <a:gd name="connsiteY19" fmla="*/ 733549 h 2186757"/>
              <a:gd name="connsiteX20" fmla="*/ 1128119 w 2436449"/>
              <a:gd name="connsiteY20" fmla="*/ 733549 h 2186757"/>
              <a:gd name="connsiteX21" fmla="*/ 1075205 w 2436449"/>
              <a:gd name="connsiteY21" fmla="*/ 581393 h 2186757"/>
              <a:gd name="connsiteX22" fmla="*/ 305402 w 2436449"/>
              <a:gd name="connsiteY22" fmla="*/ 581393 h 2186757"/>
              <a:gd name="connsiteX23" fmla="*/ 305402 w 2436449"/>
              <a:gd name="connsiteY23" fmla="*/ 733549 h 2186757"/>
              <a:gd name="connsiteX24" fmla="*/ 1411217 w 2436449"/>
              <a:gd name="connsiteY24" fmla="*/ 442891 h 2186757"/>
              <a:gd name="connsiteX25" fmla="*/ 2437052 w 2436449"/>
              <a:gd name="connsiteY25" fmla="*/ 442891 h 2186757"/>
              <a:gd name="connsiteX26" fmla="*/ 2437052 w 2436449"/>
              <a:gd name="connsiteY26" fmla="*/ 290735 h 2186757"/>
              <a:gd name="connsiteX27" fmla="*/ 1464130 w 2436449"/>
              <a:gd name="connsiteY27" fmla="*/ 290735 h 2186757"/>
              <a:gd name="connsiteX28" fmla="*/ 1411217 w 2436449"/>
              <a:gd name="connsiteY28" fmla="*/ 442891 h 2186757"/>
              <a:gd name="connsiteX29" fmla="*/ 1565324 w 2436449"/>
              <a:gd name="connsiteY29" fmla="*/ 78 h 2186757"/>
              <a:gd name="connsiteX30" fmla="*/ 1512410 w 2436449"/>
              <a:gd name="connsiteY30" fmla="*/ 152234 h 2186757"/>
              <a:gd name="connsiteX31" fmla="*/ 2437295 w 2436449"/>
              <a:gd name="connsiteY31" fmla="*/ 152234 h 2186757"/>
              <a:gd name="connsiteX32" fmla="*/ 2437295 w 2436449"/>
              <a:gd name="connsiteY32" fmla="*/ 78 h 2186757"/>
              <a:gd name="connsiteX33" fmla="*/ 1565324 w 2436449"/>
              <a:gd name="connsiteY33" fmla="*/ 78 h 2186757"/>
              <a:gd name="connsiteX34" fmla="*/ 846 w 2436449"/>
              <a:gd name="connsiteY34" fmla="*/ 2186835 h 2186757"/>
              <a:gd name="connsiteX35" fmla="*/ 762115 w 2436449"/>
              <a:gd name="connsiteY35" fmla="*/ 2186835 h 2186757"/>
              <a:gd name="connsiteX36" fmla="*/ 762115 w 2436449"/>
              <a:gd name="connsiteY36" fmla="*/ 2034679 h 2186757"/>
              <a:gd name="connsiteX37" fmla="*/ 846 w 2436449"/>
              <a:gd name="connsiteY37" fmla="*/ 2034679 h 2186757"/>
              <a:gd name="connsiteX38" fmla="*/ 846 w 2436449"/>
              <a:gd name="connsiteY38" fmla="*/ 2186835 h 2186757"/>
              <a:gd name="connsiteX39" fmla="*/ 846 w 2436449"/>
              <a:gd name="connsiteY39" fmla="*/ 1896178 h 2186757"/>
              <a:gd name="connsiteX40" fmla="*/ 762115 w 2436449"/>
              <a:gd name="connsiteY40" fmla="*/ 1896178 h 2186757"/>
              <a:gd name="connsiteX41" fmla="*/ 762115 w 2436449"/>
              <a:gd name="connsiteY41" fmla="*/ 1744022 h 2186757"/>
              <a:gd name="connsiteX42" fmla="*/ 846 w 2436449"/>
              <a:gd name="connsiteY42" fmla="*/ 1744022 h 2186757"/>
              <a:gd name="connsiteX43" fmla="*/ 846 w 2436449"/>
              <a:gd name="connsiteY43" fmla="*/ 1896178 h 2186757"/>
              <a:gd name="connsiteX44" fmla="*/ 305402 w 2436449"/>
              <a:gd name="connsiteY44" fmla="*/ 1605521 h 2186757"/>
              <a:gd name="connsiteX45" fmla="*/ 762115 w 2436449"/>
              <a:gd name="connsiteY45" fmla="*/ 1605521 h 2186757"/>
              <a:gd name="connsiteX46" fmla="*/ 762115 w 2436449"/>
              <a:gd name="connsiteY46" fmla="*/ 1453365 h 2186757"/>
              <a:gd name="connsiteX47" fmla="*/ 305402 w 2436449"/>
              <a:gd name="connsiteY47" fmla="*/ 1453365 h 2186757"/>
              <a:gd name="connsiteX48" fmla="*/ 305402 w 2436449"/>
              <a:gd name="connsiteY48" fmla="*/ 1605521 h 2186757"/>
              <a:gd name="connsiteX49" fmla="*/ 305402 w 2436449"/>
              <a:gd name="connsiteY49" fmla="*/ 1314863 h 2186757"/>
              <a:gd name="connsiteX50" fmla="*/ 762115 w 2436449"/>
              <a:gd name="connsiteY50" fmla="*/ 1314863 h 2186757"/>
              <a:gd name="connsiteX51" fmla="*/ 762115 w 2436449"/>
              <a:gd name="connsiteY51" fmla="*/ 1162707 h 2186757"/>
              <a:gd name="connsiteX52" fmla="*/ 305402 w 2436449"/>
              <a:gd name="connsiteY52" fmla="*/ 1162707 h 2186757"/>
              <a:gd name="connsiteX53" fmla="*/ 305402 w 2436449"/>
              <a:gd name="connsiteY53" fmla="*/ 1314863 h 2186757"/>
              <a:gd name="connsiteX54" fmla="*/ 2132252 w 2436449"/>
              <a:gd name="connsiteY54" fmla="*/ 581393 h 2186757"/>
              <a:gd name="connsiteX55" fmla="*/ 1362693 w 2436449"/>
              <a:gd name="connsiteY55" fmla="*/ 581393 h 2186757"/>
              <a:gd name="connsiteX56" fmla="*/ 1309779 w 2436449"/>
              <a:gd name="connsiteY56" fmla="*/ 733549 h 2186757"/>
              <a:gd name="connsiteX57" fmla="*/ 2132252 w 2436449"/>
              <a:gd name="connsiteY57" fmla="*/ 733549 h 2186757"/>
              <a:gd name="connsiteX58" fmla="*/ 2132252 w 2436449"/>
              <a:gd name="connsiteY58" fmla="*/ 581393 h 2186757"/>
              <a:gd name="connsiteX59" fmla="*/ 1675539 w 2436449"/>
              <a:gd name="connsiteY59" fmla="*/ 1024206 h 2186757"/>
              <a:gd name="connsiteX60" fmla="*/ 2132252 w 2436449"/>
              <a:gd name="connsiteY60" fmla="*/ 1024206 h 2186757"/>
              <a:gd name="connsiteX61" fmla="*/ 2132252 w 2436449"/>
              <a:gd name="connsiteY61" fmla="*/ 872050 h 2186757"/>
              <a:gd name="connsiteX62" fmla="*/ 1261499 w 2436449"/>
              <a:gd name="connsiteY62" fmla="*/ 872050 h 2186757"/>
              <a:gd name="connsiteX63" fmla="*/ 1218827 w 2436449"/>
              <a:gd name="connsiteY63" fmla="*/ 995189 h 2186757"/>
              <a:gd name="connsiteX64" fmla="*/ 1175911 w 2436449"/>
              <a:gd name="connsiteY64" fmla="*/ 872050 h 2186757"/>
              <a:gd name="connsiteX65" fmla="*/ 305402 w 2436449"/>
              <a:gd name="connsiteY65" fmla="*/ 872050 h 2186757"/>
              <a:gd name="connsiteX66" fmla="*/ 305402 w 2436449"/>
              <a:gd name="connsiteY66" fmla="*/ 1024206 h 2186757"/>
              <a:gd name="connsiteX67" fmla="*/ 762115 w 2436449"/>
              <a:gd name="connsiteY67" fmla="*/ 1024206 h 2186757"/>
              <a:gd name="connsiteX68" fmla="*/ 762115 w 2436449"/>
              <a:gd name="connsiteY68" fmla="*/ 884242 h 2186757"/>
              <a:gd name="connsiteX69" fmla="*/ 811126 w 2436449"/>
              <a:gd name="connsiteY69" fmla="*/ 1024206 h 2186757"/>
              <a:gd name="connsiteX70" fmla="*/ 1626284 w 2436449"/>
              <a:gd name="connsiteY70" fmla="*/ 1024206 h 2186757"/>
              <a:gd name="connsiteX71" fmla="*/ 1675295 w 2436449"/>
              <a:gd name="connsiteY71" fmla="*/ 884242 h 2186757"/>
              <a:gd name="connsiteX72" fmla="*/ 1675295 w 2436449"/>
              <a:gd name="connsiteY72" fmla="*/ 1024206 h 2186757"/>
              <a:gd name="connsiteX73" fmla="*/ 2132252 w 2436449"/>
              <a:gd name="connsiteY73" fmla="*/ 1162707 h 2186757"/>
              <a:gd name="connsiteX74" fmla="*/ 1675539 w 2436449"/>
              <a:gd name="connsiteY74" fmla="*/ 1162707 h 2186757"/>
              <a:gd name="connsiteX75" fmla="*/ 1675539 w 2436449"/>
              <a:gd name="connsiteY75" fmla="*/ 1314863 h 2186757"/>
              <a:gd name="connsiteX76" fmla="*/ 2132252 w 2436449"/>
              <a:gd name="connsiteY76" fmla="*/ 1314863 h 2186757"/>
              <a:gd name="connsiteX77" fmla="*/ 2132252 w 2436449"/>
              <a:gd name="connsiteY77" fmla="*/ 1162707 h 2186757"/>
              <a:gd name="connsiteX78" fmla="*/ 1675539 w 2436449"/>
              <a:gd name="connsiteY78" fmla="*/ 1605521 h 2186757"/>
              <a:gd name="connsiteX79" fmla="*/ 2132252 w 2436449"/>
              <a:gd name="connsiteY79" fmla="*/ 1605521 h 2186757"/>
              <a:gd name="connsiteX80" fmla="*/ 2132252 w 2436449"/>
              <a:gd name="connsiteY80" fmla="*/ 1453365 h 2186757"/>
              <a:gd name="connsiteX81" fmla="*/ 1675539 w 2436449"/>
              <a:gd name="connsiteY81" fmla="*/ 1453365 h 2186757"/>
              <a:gd name="connsiteX82" fmla="*/ 1675539 w 2436449"/>
              <a:gd name="connsiteY82" fmla="*/ 1605521 h 2186757"/>
              <a:gd name="connsiteX83" fmla="*/ 1675539 w 2436449"/>
              <a:gd name="connsiteY83" fmla="*/ 1896178 h 2186757"/>
              <a:gd name="connsiteX84" fmla="*/ 2436808 w 2436449"/>
              <a:gd name="connsiteY84" fmla="*/ 1896178 h 2186757"/>
              <a:gd name="connsiteX85" fmla="*/ 2436808 w 2436449"/>
              <a:gd name="connsiteY85" fmla="*/ 1744022 h 2186757"/>
              <a:gd name="connsiteX86" fmla="*/ 1675539 w 2436449"/>
              <a:gd name="connsiteY86" fmla="*/ 1744022 h 2186757"/>
              <a:gd name="connsiteX87" fmla="*/ 1675539 w 2436449"/>
              <a:gd name="connsiteY87" fmla="*/ 1896178 h 2186757"/>
              <a:gd name="connsiteX88" fmla="*/ 1675539 w 2436449"/>
              <a:gd name="connsiteY88" fmla="*/ 2186835 h 2186757"/>
              <a:gd name="connsiteX89" fmla="*/ 2436808 w 2436449"/>
              <a:gd name="connsiteY89" fmla="*/ 2186835 h 2186757"/>
              <a:gd name="connsiteX90" fmla="*/ 2436808 w 2436449"/>
              <a:gd name="connsiteY90" fmla="*/ 2034679 h 2186757"/>
              <a:gd name="connsiteX91" fmla="*/ 1675539 w 2436449"/>
              <a:gd name="connsiteY91" fmla="*/ 2034679 h 2186757"/>
              <a:gd name="connsiteX92" fmla="*/ 1675539 w 2436449"/>
              <a:gd name="connsiteY92" fmla="*/ 2186835 h 2186757"/>
              <a:gd name="connsiteX93" fmla="*/ 1026925 w 2436449"/>
              <a:gd name="connsiteY93" fmla="*/ 442891 h 2186757"/>
              <a:gd name="connsiteX94" fmla="*/ 974012 w 2436449"/>
              <a:gd name="connsiteY94" fmla="*/ 290735 h 2186757"/>
              <a:gd name="connsiteX95" fmla="*/ 846 w 2436449"/>
              <a:gd name="connsiteY95" fmla="*/ 290735 h 2186757"/>
              <a:gd name="connsiteX96" fmla="*/ 846 w 2436449"/>
              <a:gd name="connsiteY96" fmla="*/ 442891 h 2186757"/>
              <a:gd name="connsiteX97" fmla="*/ 1026681 w 2436449"/>
              <a:gd name="connsiteY97" fmla="*/ 442891 h 2186757"/>
              <a:gd name="connsiteX98" fmla="*/ 925975 w 2436449"/>
              <a:gd name="connsiteY98" fmla="*/ 152234 h 2186757"/>
              <a:gd name="connsiteX99" fmla="*/ 873062 w 2436449"/>
              <a:gd name="connsiteY99" fmla="*/ 78 h 2186757"/>
              <a:gd name="connsiteX100" fmla="*/ 846 w 2436449"/>
              <a:gd name="connsiteY100" fmla="*/ 78 h 2186757"/>
              <a:gd name="connsiteX101" fmla="*/ 846 w 2436449"/>
              <a:gd name="connsiteY101" fmla="*/ 152234 h 2186757"/>
              <a:gd name="connsiteX102" fmla="*/ 925731 w 2436449"/>
              <a:gd name="connsiteY102" fmla="*/ 152234 h 2186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2436449" h="2186757">
                <a:moveTo>
                  <a:pt x="1218583" y="2186835"/>
                </a:moveTo>
                <a:lnTo>
                  <a:pt x="1271740" y="2034679"/>
                </a:lnTo>
                <a:lnTo>
                  <a:pt x="1165914" y="2034679"/>
                </a:lnTo>
                <a:lnTo>
                  <a:pt x="1218583" y="2186835"/>
                </a:lnTo>
                <a:close/>
                <a:moveTo>
                  <a:pt x="1117390" y="1896178"/>
                </a:moveTo>
                <a:lnTo>
                  <a:pt x="1320508" y="1896178"/>
                </a:lnTo>
                <a:lnTo>
                  <a:pt x="1373909" y="1744022"/>
                </a:lnTo>
                <a:lnTo>
                  <a:pt x="1063989" y="1744022"/>
                </a:lnTo>
                <a:lnTo>
                  <a:pt x="1117390" y="1896178"/>
                </a:lnTo>
                <a:close/>
                <a:moveTo>
                  <a:pt x="1015464" y="1605521"/>
                </a:moveTo>
                <a:lnTo>
                  <a:pt x="1422433" y="1605521"/>
                </a:lnTo>
                <a:lnTo>
                  <a:pt x="1475834" y="1453365"/>
                </a:lnTo>
                <a:lnTo>
                  <a:pt x="961820" y="1453365"/>
                </a:lnTo>
                <a:lnTo>
                  <a:pt x="1015221" y="1605521"/>
                </a:lnTo>
                <a:close/>
                <a:moveTo>
                  <a:pt x="913539" y="1314863"/>
                </a:moveTo>
                <a:lnTo>
                  <a:pt x="1524602" y="1314863"/>
                </a:lnTo>
                <a:lnTo>
                  <a:pt x="1578003" y="1162707"/>
                </a:lnTo>
                <a:lnTo>
                  <a:pt x="859894" y="1162707"/>
                </a:lnTo>
                <a:lnTo>
                  <a:pt x="913295" y="1314863"/>
                </a:lnTo>
                <a:close/>
                <a:moveTo>
                  <a:pt x="305646" y="733549"/>
                </a:moveTo>
                <a:lnTo>
                  <a:pt x="1128119" y="733549"/>
                </a:lnTo>
                <a:lnTo>
                  <a:pt x="1075205" y="581393"/>
                </a:lnTo>
                <a:lnTo>
                  <a:pt x="305402" y="581393"/>
                </a:lnTo>
                <a:lnTo>
                  <a:pt x="305402" y="733549"/>
                </a:lnTo>
                <a:close/>
                <a:moveTo>
                  <a:pt x="1411217" y="442891"/>
                </a:moveTo>
                <a:lnTo>
                  <a:pt x="2437052" y="442891"/>
                </a:lnTo>
                <a:lnTo>
                  <a:pt x="2437052" y="290735"/>
                </a:lnTo>
                <a:lnTo>
                  <a:pt x="1464130" y="290735"/>
                </a:lnTo>
                <a:lnTo>
                  <a:pt x="1411217" y="442891"/>
                </a:lnTo>
                <a:close/>
                <a:moveTo>
                  <a:pt x="1565324" y="78"/>
                </a:moveTo>
                <a:lnTo>
                  <a:pt x="1512410" y="152234"/>
                </a:lnTo>
                <a:lnTo>
                  <a:pt x="2437295" y="152234"/>
                </a:lnTo>
                <a:lnTo>
                  <a:pt x="2437295" y="78"/>
                </a:lnTo>
                <a:lnTo>
                  <a:pt x="1565324" y="78"/>
                </a:lnTo>
                <a:close/>
                <a:moveTo>
                  <a:pt x="846" y="2186835"/>
                </a:moveTo>
                <a:lnTo>
                  <a:pt x="762115" y="2186835"/>
                </a:lnTo>
                <a:lnTo>
                  <a:pt x="762115" y="2034679"/>
                </a:lnTo>
                <a:lnTo>
                  <a:pt x="846" y="2034679"/>
                </a:lnTo>
                <a:lnTo>
                  <a:pt x="846" y="2186835"/>
                </a:lnTo>
                <a:close/>
                <a:moveTo>
                  <a:pt x="846" y="1896178"/>
                </a:moveTo>
                <a:lnTo>
                  <a:pt x="762115" y="1896178"/>
                </a:lnTo>
                <a:lnTo>
                  <a:pt x="762115" y="1744022"/>
                </a:lnTo>
                <a:lnTo>
                  <a:pt x="846" y="1744022"/>
                </a:lnTo>
                <a:lnTo>
                  <a:pt x="846" y="1896178"/>
                </a:lnTo>
                <a:close/>
                <a:moveTo>
                  <a:pt x="305402" y="1605521"/>
                </a:moveTo>
                <a:lnTo>
                  <a:pt x="762115" y="1605521"/>
                </a:lnTo>
                <a:lnTo>
                  <a:pt x="762115" y="1453365"/>
                </a:lnTo>
                <a:lnTo>
                  <a:pt x="305402" y="1453365"/>
                </a:lnTo>
                <a:lnTo>
                  <a:pt x="305402" y="1605521"/>
                </a:lnTo>
                <a:close/>
                <a:moveTo>
                  <a:pt x="305402" y="1314863"/>
                </a:moveTo>
                <a:lnTo>
                  <a:pt x="762115" y="1314863"/>
                </a:lnTo>
                <a:lnTo>
                  <a:pt x="762115" y="1162707"/>
                </a:lnTo>
                <a:lnTo>
                  <a:pt x="305402" y="1162707"/>
                </a:lnTo>
                <a:lnTo>
                  <a:pt x="305402" y="1314863"/>
                </a:lnTo>
                <a:close/>
                <a:moveTo>
                  <a:pt x="2132252" y="581393"/>
                </a:moveTo>
                <a:lnTo>
                  <a:pt x="1362693" y="581393"/>
                </a:lnTo>
                <a:lnTo>
                  <a:pt x="1309779" y="733549"/>
                </a:lnTo>
                <a:lnTo>
                  <a:pt x="2132252" y="733549"/>
                </a:lnTo>
                <a:lnTo>
                  <a:pt x="2132252" y="581393"/>
                </a:lnTo>
                <a:close/>
                <a:moveTo>
                  <a:pt x="1675539" y="1024206"/>
                </a:moveTo>
                <a:lnTo>
                  <a:pt x="2132252" y="1024206"/>
                </a:lnTo>
                <a:lnTo>
                  <a:pt x="2132252" y="872050"/>
                </a:lnTo>
                <a:lnTo>
                  <a:pt x="1261499" y="872050"/>
                </a:lnTo>
                <a:lnTo>
                  <a:pt x="1218827" y="995189"/>
                </a:lnTo>
                <a:lnTo>
                  <a:pt x="1175911" y="872050"/>
                </a:lnTo>
                <a:lnTo>
                  <a:pt x="305402" y="872050"/>
                </a:lnTo>
                <a:lnTo>
                  <a:pt x="305402" y="1024206"/>
                </a:lnTo>
                <a:lnTo>
                  <a:pt x="762115" y="1024206"/>
                </a:lnTo>
                <a:lnTo>
                  <a:pt x="762115" y="884242"/>
                </a:lnTo>
                <a:lnTo>
                  <a:pt x="811126" y="1024206"/>
                </a:lnTo>
                <a:lnTo>
                  <a:pt x="1626284" y="1024206"/>
                </a:lnTo>
                <a:lnTo>
                  <a:pt x="1675295" y="884242"/>
                </a:lnTo>
                <a:lnTo>
                  <a:pt x="1675295" y="1024206"/>
                </a:lnTo>
                <a:close/>
                <a:moveTo>
                  <a:pt x="2132252" y="1162707"/>
                </a:moveTo>
                <a:lnTo>
                  <a:pt x="1675539" y="1162707"/>
                </a:lnTo>
                <a:lnTo>
                  <a:pt x="1675539" y="1314863"/>
                </a:lnTo>
                <a:lnTo>
                  <a:pt x="2132252" y="1314863"/>
                </a:lnTo>
                <a:lnTo>
                  <a:pt x="2132252" y="1162707"/>
                </a:lnTo>
                <a:close/>
                <a:moveTo>
                  <a:pt x="1675539" y="1605521"/>
                </a:moveTo>
                <a:lnTo>
                  <a:pt x="2132252" y="1605521"/>
                </a:lnTo>
                <a:lnTo>
                  <a:pt x="2132252" y="1453365"/>
                </a:lnTo>
                <a:lnTo>
                  <a:pt x="1675539" y="1453365"/>
                </a:lnTo>
                <a:lnTo>
                  <a:pt x="1675539" y="1605521"/>
                </a:lnTo>
                <a:close/>
                <a:moveTo>
                  <a:pt x="1675539" y="1896178"/>
                </a:moveTo>
                <a:lnTo>
                  <a:pt x="2436808" y="1896178"/>
                </a:lnTo>
                <a:lnTo>
                  <a:pt x="2436808" y="1744022"/>
                </a:lnTo>
                <a:lnTo>
                  <a:pt x="1675539" y="1744022"/>
                </a:lnTo>
                <a:lnTo>
                  <a:pt x="1675539" y="1896178"/>
                </a:lnTo>
                <a:close/>
                <a:moveTo>
                  <a:pt x="1675539" y="2186835"/>
                </a:moveTo>
                <a:lnTo>
                  <a:pt x="2436808" y="2186835"/>
                </a:lnTo>
                <a:lnTo>
                  <a:pt x="2436808" y="2034679"/>
                </a:lnTo>
                <a:lnTo>
                  <a:pt x="1675539" y="2034679"/>
                </a:lnTo>
                <a:lnTo>
                  <a:pt x="1675539" y="2186835"/>
                </a:lnTo>
                <a:close/>
                <a:moveTo>
                  <a:pt x="1026925" y="442891"/>
                </a:moveTo>
                <a:lnTo>
                  <a:pt x="974012" y="290735"/>
                </a:lnTo>
                <a:lnTo>
                  <a:pt x="846" y="290735"/>
                </a:lnTo>
                <a:lnTo>
                  <a:pt x="846" y="442891"/>
                </a:lnTo>
                <a:lnTo>
                  <a:pt x="1026681" y="442891"/>
                </a:lnTo>
                <a:close/>
                <a:moveTo>
                  <a:pt x="925975" y="152234"/>
                </a:moveTo>
                <a:lnTo>
                  <a:pt x="873062" y="78"/>
                </a:lnTo>
                <a:lnTo>
                  <a:pt x="846" y="78"/>
                </a:lnTo>
                <a:lnTo>
                  <a:pt x="846" y="152234"/>
                </a:lnTo>
                <a:lnTo>
                  <a:pt x="925731" y="152234"/>
                </a:lnTo>
                <a:close/>
              </a:path>
            </a:pathLst>
          </a:custGeom>
          <a:solidFill>
            <a:srgbClr val="08BDBA"/>
          </a:solidFill>
          <a:ln w="24384" cap="flat">
            <a:noFill/>
            <a:prstDash val="solid"/>
            <a:miter/>
          </a:ln>
        </p:spPr>
        <p:txBody>
          <a:bodyPr rtlCol="0" anchor="ctr"/>
          <a:lstStyle/>
          <a:p>
            <a:endParaRPr lang="en-US" sz="900"/>
          </a:p>
        </p:txBody>
      </p:sp>
      <p:sp>
        <p:nvSpPr>
          <p:cNvPr id="13" name="Freeform: Shape 12">
            <a:extLst>
              <a:ext uri="{FF2B5EF4-FFF2-40B4-BE49-F238E27FC236}">
                <a16:creationId xmlns:a16="http://schemas.microsoft.com/office/drawing/2014/main" id="{F39BC78B-C2FE-FAA5-A6D1-5690950A4B3F}"/>
              </a:ext>
            </a:extLst>
          </p:cNvPr>
          <p:cNvSpPr/>
          <p:nvPr userDrawn="1"/>
        </p:nvSpPr>
        <p:spPr>
          <a:xfrm>
            <a:off x="6421025" y="1638095"/>
            <a:ext cx="1371490" cy="1371669"/>
          </a:xfrm>
          <a:custGeom>
            <a:avLst/>
            <a:gdLst>
              <a:gd name="connsiteX0" fmla="*/ 2438431 w 2438400"/>
              <a:gd name="connsiteY0" fmla="*/ 2438687 h 2438400"/>
              <a:gd name="connsiteX1" fmla="*/ 2438431 w 2438400"/>
              <a:gd name="connsiteY1" fmla="*/ 287 h 2438400"/>
              <a:gd name="connsiteX2" fmla="*/ 1219231 w 2438400"/>
              <a:gd name="connsiteY2" fmla="*/ 1219487 h 2438400"/>
              <a:gd name="connsiteX3" fmla="*/ 31 w 2438400"/>
              <a:gd name="connsiteY3" fmla="*/ 287 h 2438400"/>
              <a:gd name="connsiteX4" fmla="*/ 31 w 2438400"/>
              <a:gd name="connsiteY4" fmla="*/ 2438687 h 2438400"/>
              <a:gd name="connsiteX5" fmla="*/ 1219231 w 2438400"/>
              <a:gd name="connsiteY5" fmla="*/ 1219487 h 2438400"/>
              <a:gd name="connsiteX6" fmla="*/ 2438431 w 2438400"/>
              <a:gd name="connsiteY6" fmla="*/ 2438687 h 243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38400" h="2438400">
                <a:moveTo>
                  <a:pt x="2438431" y="2438687"/>
                </a:moveTo>
                <a:lnTo>
                  <a:pt x="2438431" y="287"/>
                </a:lnTo>
                <a:lnTo>
                  <a:pt x="1219231" y="1219487"/>
                </a:lnTo>
                <a:lnTo>
                  <a:pt x="31" y="287"/>
                </a:lnTo>
                <a:lnTo>
                  <a:pt x="31" y="2438687"/>
                </a:lnTo>
                <a:lnTo>
                  <a:pt x="1219231" y="1219487"/>
                </a:lnTo>
                <a:lnTo>
                  <a:pt x="2438431" y="2438687"/>
                </a:lnTo>
                <a:close/>
              </a:path>
            </a:pathLst>
          </a:custGeom>
          <a:solidFill>
            <a:srgbClr val="A8A8A8"/>
          </a:solidFill>
          <a:ln w="12505" cap="flat">
            <a:noFill/>
            <a:prstDash val="solid"/>
            <a:miter/>
          </a:ln>
        </p:spPr>
        <p:txBody>
          <a:bodyPr rtlCol="0" anchor="ctr"/>
          <a:lstStyle/>
          <a:p>
            <a:endParaRPr lang="en-US" sz="900"/>
          </a:p>
        </p:txBody>
      </p:sp>
      <p:sp>
        <p:nvSpPr>
          <p:cNvPr id="14" name="Freeform: Shape 13">
            <a:extLst>
              <a:ext uri="{FF2B5EF4-FFF2-40B4-BE49-F238E27FC236}">
                <a16:creationId xmlns:a16="http://schemas.microsoft.com/office/drawing/2014/main" id="{03C1FD5E-FA2F-D865-388F-6EA7ABBDA346}"/>
              </a:ext>
            </a:extLst>
          </p:cNvPr>
          <p:cNvSpPr/>
          <p:nvPr userDrawn="1"/>
        </p:nvSpPr>
        <p:spPr>
          <a:xfrm>
            <a:off x="10535494" y="4381432"/>
            <a:ext cx="1371490" cy="1371669"/>
          </a:xfrm>
          <a:custGeom>
            <a:avLst/>
            <a:gdLst>
              <a:gd name="connsiteX0" fmla="*/ 1219999 w 2438400"/>
              <a:gd name="connsiteY0" fmla="*/ 2439199 h 2438400"/>
              <a:gd name="connsiteX1" fmla="*/ 799 w 2438400"/>
              <a:gd name="connsiteY1" fmla="*/ 1219999 h 2438400"/>
              <a:gd name="connsiteX2" fmla="*/ 799 w 2438400"/>
              <a:gd name="connsiteY2" fmla="*/ 2439199 h 2438400"/>
              <a:gd name="connsiteX3" fmla="*/ 1219999 w 2438400"/>
              <a:gd name="connsiteY3" fmla="*/ 2439199 h 2438400"/>
              <a:gd name="connsiteX4" fmla="*/ 1219999 w 2438400"/>
              <a:gd name="connsiteY4" fmla="*/ 2439199 h 2438400"/>
              <a:gd name="connsiteX5" fmla="*/ 2439199 w 2438400"/>
              <a:gd name="connsiteY5" fmla="*/ 1219999 h 2438400"/>
              <a:gd name="connsiteX6" fmla="*/ 2439199 w 2438400"/>
              <a:gd name="connsiteY6" fmla="*/ 2439199 h 2438400"/>
              <a:gd name="connsiteX7" fmla="*/ 1219999 w 2438400"/>
              <a:gd name="connsiteY7" fmla="*/ 2439199 h 2438400"/>
              <a:gd name="connsiteX8" fmla="*/ 2439199 w 2438400"/>
              <a:gd name="connsiteY8" fmla="*/ 799 h 2438400"/>
              <a:gd name="connsiteX9" fmla="*/ 2439199 w 2438400"/>
              <a:gd name="connsiteY9" fmla="*/ 1219999 h 2438400"/>
              <a:gd name="connsiteX10" fmla="*/ 1219999 w 2438400"/>
              <a:gd name="connsiteY10" fmla="*/ 799 h 2438400"/>
              <a:gd name="connsiteX11" fmla="*/ 799 w 2438400"/>
              <a:gd name="connsiteY11" fmla="*/ 1219999 h 2438400"/>
              <a:gd name="connsiteX12" fmla="*/ 799 w 2438400"/>
              <a:gd name="connsiteY12" fmla="*/ 799 h 2438400"/>
              <a:gd name="connsiteX13" fmla="*/ 1219873 w 2438400"/>
              <a:gd name="connsiteY13" fmla="*/ 799 h 2438400"/>
              <a:gd name="connsiteX14" fmla="*/ 1219873 w 2438400"/>
              <a:gd name="connsiteY14" fmla="*/ 799 h 2438400"/>
              <a:gd name="connsiteX15" fmla="*/ 2439199 w 2438400"/>
              <a:gd name="connsiteY15" fmla="*/ 799 h 243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38400" h="2438400">
                <a:moveTo>
                  <a:pt x="1219999" y="2439199"/>
                </a:moveTo>
                <a:lnTo>
                  <a:pt x="799" y="1219999"/>
                </a:lnTo>
                <a:lnTo>
                  <a:pt x="799" y="2439199"/>
                </a:lnTo>
                <a:cubicBezTo>
                  <a:pt x="799" y="2439199"/>
                  <a:pt x="1219999" y="2439199"/>
                  <a:pt x="1219999" y="2439199"/>
                </a:cubicBezTo>
                <a:close/>
                <a:moveTo>
                  <a:pt x="1219999" y="2439199"/>
                </a:moveTo>
                <a:lnTo>
                  <a:pt x="2439199" y="1219999"/>
                </a:lnTo>
                <a:lnTo>
                  <a:pt x="2439199" y="2439199"/>
                </a:lnTo>
                <a:lnTo>
                  <a:pt x="1219999" y="2439199"/>
                </a:lnTo>
                <a:close/>
                <a:moveTo>
                  <a:pt x="2439199" y="799"/>
                </a:moveTo>
                <a:lnTo>
                  <a:pt x="2439199" y="1219999"/>
                </a:lnTo>
                <a:lnTo>
                  <a:pt x="1219999" y="799"/>
                </a:lnTo>
                <a:lnTo>
                  <a:pt x="799" y="1219999"/>
                </a:lnTo>
                <a:lnTo>
                  <a:pt x="799" y="799"/>
                </a:lnTo>
                <a:lnTo>
                  <a:pt x="1219873" y="799"/>
                </a:lnTo>
                <a:lnTo>
                  <a:pt x="1219873" y="799"/>
                </a:lnTo>
                <a:cubicBezTo>
                  <a:pt x="1219873" y="799"/>
                  <a:pt x="2439199" y="799"/>
                  <a:pt x="2439199" y="799"/>
                </a:cubicBezTo>
                <a:close/>
              </a:path>
            </a:pathLst>
          </a:custGeom>
          <a:solidFill>
            <a:srgbClr val="A56EFF"/>
          </a:solidFill>
          <a:ln w="12505" cap="flat">
            <a:noFill/>
            <a:prstDash val="solid"/>
            <a:miter/>
          </a:ln>
        </p:spPr>
        <p:txBody>
          <a:bodyPr rtlCol="0" anchor="ctr"/>
          <a:lstStyle/>
          <a:p>
            <a:endParaRPr lang="en-US" sz="900"/>
          </a:p>
        </p:txBody>
      </p:sp>
      <p:grpSp>
        <p:nvGrpSpPr>
          <p:cNvPr id="15" name="Graphic 10">
            <a:extLst>
              <a:ext uri="{FF2B5EF4-FFF2-40B4-BE49-F238E27FC236}">
                <a16:creationId xmlns:a16="http://schemas.microsoft.com/office/drawing/2014/main" id="{F71294A1-D561-8274-2745-A0371A91C47C}"/>
              </a:ext>
            </a:extLst>
          </p:cNvPr>
          <p:cNvGrpSpPr/>
          <p:nvPr userDrawn="1"/>
        </p:nvGrpSpPr>
        <p:grpSpPr>
          <a:xfrm>
            <a:off x="6421025" y="3009763"/>
            <a:ext cx="1371490" cy="1371669"/>
            <a:chOff x="-11971338" y="6553200"/>
            <a:chExt cx="2438400" cy="2438400"/>
          </a:xfrm>
          <a:solidFill>
            <a:schemeClr val="accent1"/>
          </a:solidFill>
        </p:grpSpPr>
        <p:sp>
          <p:nvSpPr>
            <p:cNvPr id="16" name="Freeform: Shape 15">
              <a:extLst>
                <a:ext uri="{FF2B5EF4-FFF2-40B4-BE49-F238E27FC236}">
                  <a16:creationId xmlns:a16="http://schemas.microsoft.com/office/drawing/2014/main" id="{9ED1C6BA-968E-45CB-B15E-5823AE503F40}"/>
                </a:ext>
              </a:extLst>
            </p:cNvPr>
            <p:cNvSpPr/>
            <p:nvPr/>
          </p:nvSpPr>
          <p:spPr>
            <a:xfrm>
              <a:off x="-11971338" y="6553200"/>
              <a:ext cx="2438400" cy="2438400"/>
            </a:xfrm>
            <a:custGeom>
              <a:avLst/>
              <a:gdLst>
                <a:gd name="connsiteX0" fmla="*/ 2438431 w 2438400"/>
                <a:gd name="connsiteY0" fmla="*/ 2438943 h 2438400"/>
                <a:gd name="connsiteX1" fmla="*/ 31 w 2438400"/>
                <a:gd name="connsiteY1" fmla="*/ 2438943 h 2438400"/>
                <a:gd name="connsiteX2" fmla="*/ 1219231 w 2438400"/>
                <a:gd name="connsiteY2" fmla="*/ 1219743 h 2438400"/>
                <a:gd name="connsiteX3" fmla="*/ 1219231 w 2438400"/>
                <a:gd name="connsiteY3" fmla="*/ 2438943 h 2438400"/>
                <a:gd name="connsiteX4" fmla="*/ 2438431 w 2438400"/>
                <a:gd name="connsiteY4" fmla="*/ 1219743 h 2438400"/>
                <a:gd name="connsiteX5" fmla="*/ 2438431 w 2438400"/>
                <a:gd name="connsiteY5" fmla="*/ 2438943 h 2438400"/>
                <a:gd name="connsiteX6" fmla="*/ 1219231 w 2438400"/>
                <a:gd name="connsiteY6" fmla="*/ 543 h 2438400"/>
                <a:gd name="connsiteX7" fmla="*/ 31 w 2438400"/>
                <a:gd name="connsiteY7" fmla="*/ 543 h 2438400"/>
                <a:gd name="connsiteX8" fmla="*/ 1219231 w 2438400"/>
                <a:gd name="connsiteY8" fmla="*/ 1219743 h 2438400"/>
                <a:gd name="connsiteX9" fmla="*/ 1219231 w 2438400"/>
                <a:gd name="connsiteY9" fmla="*/ 543 h 2438400"/>
                <a:gd name="connsiteX10" fmla="*/ 2438431 w 2438400"/>
                <a:gd name="connsiteY10" fmla="*/ 1219743 h 2438400"/>
                <a:gd name="connsiteX11" fmla="*/ 2438431 w 2438400"/>
                <a:gd name="connsiteY11" fmla="*/ 543 h 2438400"/>
                <a:gd name="connsiteX12" fmla="*/ 1219231 w 2438400"/>
                <a:gd name="connsiteY12" fmla="*/ 543 h 243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38400" h="2438400">
                  <a:moveTo>
                    <a:pt x="2438431" y="2438943"/>
                  </a:moveTo>
                  <a:lnTo>
                    <a:pt x="31" y="2438943"/>
                  </a:lnTo>
                  <a:lnTo>
                    <a:pt x="1219231" y="1219743"/>
                  </a:lnTo>
                  <a:lnTo>
                    <a:pt x="1219231" y="2438943"/>
                  </a:lnTo>
                  <a:lnTo>
                    <a:pt x="2438431" y="1219743"/>
                  </a:lnTo>
                  <a:lnTo>
                    <a:pt x="2438431" y="2438943"/>
                  </a:lnTo>
                  <a:close/>
                  <a:moveTo>
                    <a:pt x="1219231" y="543"/>
                  </a:moveTo>
                  <a:lnTo>
                    <a:pt x="31" y="543"/>
                  </a:lnTo>
                  <a:lnTo>
                    <a:pt x="1219231" y="1219743"/>
                  </a:lnTo>
                  <a:lnTo>
                    <a:pt x="1219231" y="543"/>
                  </a:lnTo>
                  <a:lnTo>
                    <a:pt x="2438431" y="1219743"/>
                  </a:lnTo>
                  <a:lnTo>
                    <a:pt x="2438431" y="543"/>
                  </a:lnTo>
                  <a:lnTo>
                    <a:pt x="1219231" y="543"/>
                  </a:lnTo>
                  <a:close/>
                </a:path>
              </a:pathLst>
            </a:custGeom>
            <a:grpFill/>
            <a:ln w="12505" cap="flat">
              <a:noFill/>
              <a:prstDash val="solid"/>
              <a:miter/>
            </a:ln>
          </p:spPr>
          <p:txBody>
            <a:bodyPr rtlCol="0" anchor="ctr"/>
            <a:lstStyle/>
            <a:p>
              <a:endParaRPr lang="en-US" sz="900"/>
            </a:p>
          </p:txBody>
        </p:sp>
        <p:sp>
          <p:nvSpPr>
            <p:cNvPr id="17" name="Freeform: Shape 16">
              <a:extLst>
                <a:ext uri="{FF2B5EF4-FFF2-40B4-BE49-F238E27FC236}">
                  <a16:creationId xmlns:a16="http://schemas.microsoft.com/office/drawing/2014/main" id="{7E54A2EC-45AA-16B3-D94A-19E2DD4C27C8}"/>
                </a:ext>
              </a:extLst>
            </p:cNvPr>
            <p:cNvSpPr/>
            <p:nvPr/>
          </p:nvSpPr>
          <p:spPr>
            <a:xfrm>
              <a:off x="-11971338" y="6553200"/>
              <a:ext cx="2438400" cy="2438400"/>
            </a:xfrm>
            <a:custGeom>
              <a:avLst/>
              <a:gdLst>
                <a:gd name="connsiteX0" fmla="*/ 2438431 w 2438400"/>
                <a:gd name="connsiteY0" fmla="*/ 2438943 h 2438400"/>
                <a:gd name="connsiteX1" fmla="*/ 31 w 2438400"/>
                <a:gd name="connsiteY1" fmla="*/ 2438943 h 2438400"/>
                <a:gd name="connsiteX2" fmla="*/ 1219231 w 2438400"/>
                <a:gd name="connsiteY2" fmla="*/ 1219743 h 2438400"/>
                <a:gd name="connsiteX3" fmla="*/ 1219231 w 2438400"/>
                <a:gd name="connsiteY3" fmla="*/ 2438943 h 2438400"/>
                <a:gd name="connsiteX4" fmla="*/ 2438431 w 2438400"/>
                <a:gd name="connsiteY4" fmla="*/ 1219743 h 2438400"/>
                <a:gd name="connsiteX5" fmla="*/ 2438431 w 2438400"/>
                <a:gd name="connsiteY5" fmla="*/ 2438943 h 2438400"/>
                <a:gd name="connsiteX6" fmla="*/ 1219231 w 2438400"/>
                <a:gd name="connsiteY6" fmla="*/ 543 h 2438400"/>
                <a:gd name="connsiteX7" fmla="*/ 31 w 2438400"/>
                <a:gd name="connsiteY7" fmla="*/ 543 h 2438400"/>
                <a:gd name="connsiteX8" fmla="*/ 1219231 w 2438400"/>
                <a:gd name="connsiteY8" fmla="*/ 1219743 h 2438400"/>
                <a:gd name="connsiteX9" fmla="*/ 1219231 w 2438400"/>
                <a:gd name="connsiteY9" fmla="*/ 543 h 2438400"/>
                <a:gd name="connsiteX10" fmla="*/ 2438431 w 2438400"/>
                <a:gd name="connsiteY10" fmla="*/ 1219743 h 2438400"/>
                <a:gd name="connsiteX11" fmla="*/ 2438431 w 2438400"/>
                <a:gd name="connsiteY11" fmla="*/ 543 h 2438400"/>
                <a:gd name="connsiteX12" fmla="*/ 1219231 w 2438400"/>
                <a:gd name="connsiteY12" fmla="*/ 543 h 243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38400" h="2438400">
                  <a:moveTo>
                    <a:pt x="2438431" y="2438943"/>
                  </a:moveTo>
                  <a:lnTo>
                    <a:pt x="31" y="2438943"/>
                  </a:lnTo>
                  <a:lnTo>
                    <a:pt x="1219231" y="1219743"/>
                  </a:lnTo>
                  <a:lnTo>
                    <a:pt x="1219231" y="2438943"/>
                  </a:lnTo>
                  <a:lnTo>
                    <a:pt x="2438431" y="1219743"/>
                  </a:lnTo>
                  <a:lnTo>
                    <a:pt x="2438431" y="2438943"/>
                  </a:lnTo>
                  <a:close/>
                  <a:moveTo>
                    <a:pt x="1219231" y="543"/>
                  </a:moveTo>
                  <a:lnTo>
                    <a:pt x="31" y="543"/>
                  </a:lnTo>
                  <a:lnTo>
                    <a:pt x="1219231" y="1219743"/>
                  </a:lnTo>
                  <a:lnTo>
                    <a:pt x="1219231" y="543"/>
                  </a:lnTo>
                  <a:lnTo>
                    <a:pt x="2438431" y="1219743"/>
                  </a:lnTo>
                  <a:lnTo>
                    <a:pt x="2438431" y="543"/>
                  </a:lnTo>
                  <a:lnTo>
                    <a:pt x="1219231" y="543"/>
                  </a:lnTo>
                  <a:close/>
                </a:path>
              </a:pathLst>
            </a:custGeom>
            <a:grpFill/>
            <a:ln w="12505" cap="flat">
              <a:noFill/>
              <a:prstDash val="solid"/>
              <a:miter/>
            </a:ln>
          </p:spPr>
          <p:txBody>
            <a:bodyPr rtlCol="0" anchor="ctr"/>
            <a:lstStyle/>
            <a:p>
              <a:endParaRPr lang="en-US" sz="900"/>
            </a:p>
          </p:txBody>
        </p:sp>
      </p:grpSp>
      <p:grpSp>
        <p:nvGrpSpPr>
          <p:cNvPr id="18" name="Graphic 10">
            <a:extLst>
              <a:ext uri="{FF2B5EF4-FFF2-40B4-BE49-F238E27FC236}">
                <a16:creationId xmlns:a16="http://schemas.microsoft.com/office/drawing/2014/main" id="{A0E8D683-51E2-5DFD-D924-258CC239F0E4}"/>
              </a:ext>
            </a:extLst>
          </p:cNvPr>
          <p:cNvGrpSpPr/>
          <p:nvPr userDrawn="1"/>
        </p:nvGrpSpPr>
        <p:grpSpPr>
          <a:xfrm>
            <a:off x="6421025" y="4381432"/>
            <a:ext cx="1371490" cy="1371669"/>
            <a:chOff x="-11971338" y="8991600"/>
            <a:chExt cx="2438400" cy="2438400"/>
          </a:xfrm>
          <a:solidFill>
            <a:srgbClr val="82CFFF"/>
          </a:solidFill>
        </p:grpSpPr>
        <p:sp>
          <p:nvSpPr>
            <p:cNvPr id="19" name="Freeform: Shape 18">
              <a:extLst>
                <a:ext uri="{FF2B5EF4-FFF2-40B4-BE49-F238E27FC236}">
                  <a16:creationId xmlns:a16="http://schemas.microsoft.com/office/drawing/2014/main" id="{417895E1-E6A7-3F2D-9D84-47A324CB622E}"/>
                </a:ext>
              </a:extLst>
            </p:cNvPr>
            <p:cNvSpPr/>
            <p:nvPr/>
          </p:nvSpPr>
          <p:spPr>
            <a:xfrm>
              <a:off x="-11971338" y="8991600"/>
              <a:ext cx="2438400" cy="2438400"/>
            </a:xfrm>
            <a:custGeom>
              <a:avLst/>
              <a:gdLst>
                <a:gd name="connsiteX0" fmla="*/ 357162 w 2438400"/>
                <a:gd name="connsiteY0" fmla="*/ 1577130 h 2438400"/>
                <a:gd name="connsiteX1" fmla="*/ 31 w 2438400"/>
                <a:gd name="connsiteY1" fmla="*/ 2439199 h 2438400"/>
                <a:gd name="connsiteX2" fmla="*/ 2438431 w 2438400"/>
                <a:gd name="connsiteY2" fmla="*/ 2439199 h 2438400"/>
                <a:gd name="connsiteX3" fmla="*/ 2081299 w 2438400"/>
                <a:gd name="connsiteY3" fmla="*/ 1577130 h 2438400"/>
                <a:gd name="connsiteX4" fmla="*/ 1219231 w 2438400"/>
                <a:gd name="connsiteY4" fmla="*/ 1219999 h 2438400"/>
                <a:gd name="connsiteX5" fmla="*/ 357162 w 2438400"/>
                <a:gd name="connsiteY5" fmla="*/ 1577130 h 2438400"/>
                <a:gd name="connsiteX6" fmla="*/ 357162 w 2438400"/>
                <a:gd name="connsiteY6" fmla="*/ 862992 h 2438400"/>
                <a:gd name="connsiteX7" fmla="*/ 31 w 2438400"/>
                <a:gd name="connsiteY7" fmla="*/ 799 h 2438400"/>
                <a:gd name="connsiteX8" fmla="*/ 2438431 w 2438400"/>
                <a:gd name="connsiteY8" fmla="*/ 799 h 2438400"/>
                <a:gd name="connsiteX9" fmla="*/ 2081299 w 2438400"/>
                <a:gd name="connsiteY9" fmla="*/ 862867 h 2438400"/>
                <a:gd name="connsiteX10" fmla="*/ 1219231 w 2438400"/>
                <a:gd name="connsiteY10" fmla="*/ 1219999 h 2438400"/>
                <a:gd name="connsiteX11" fmla="*/ 357162 w 2438400"/>
                <a:gd name="connsiteY11" fmla="*/ 862867 h 243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38400" h="2438400">
                  <a:moveTo>
                    <a:pt x="357162" y="1577130"/>
                  </a:moveTo>
                  <a:cubicBezTo>
                    <a:pt x="128453" y="1805715"/>
                    <a:pt x="31" y="2115829"/>
                    <a:pt x="31" y="2439199"/>
                  </a:cubicBezTo>
                  <a:lnTo>
                    <a:pt x="2438431" y="2439199"/>
                  </a:lnTo>
                  <a:cubicBezTo>
                    <a:pt x="2438431" y="2115829"/>
                    <a:pt x="2310008" y="1805715"/>
                    <a:pt x="2081299" y="1577130"/>
                  </a:cubicBezTo>
                  <a:cubicBezTo>
                    <a:pt x="1852714" y="1348546"/>
                    <a:pt x="1542600" y="1219999"/>
                    <a:pt x="1219231" y="1219999"/>
                  </a:cubicBezTo>
                  <a:cubicBezTo>
                    <a:pt x="895861" y="1219999"/>
                    <a:pt x="585747" y="1348421"/>
                    <a:pt x="357162" y="1577130"/>
                  </a:cubicBezTo>
                  <a:close/>
                  <a:moveTo>
                    <a:pt x="357162" y="862992"/>
                  </a:moveTo>
                  <a:cubicBezTo>
                    <a:pt x="128453" y="634282"/>
                    <a:pt x="31" y="324168"/>
                    <a:pt x="31" y="799"/>
                  </a:cubicBezTo>
                  <a:lnTo>
                    <a:pt x="2438431" y="799"/>
                  </a:lnTo>
                  <a:cubicBezTo>
                    <a:pt x="2438431" y="324168"/>
                    <a:pt x="2310008" y="634282"/>
                    <a:pt x="2081299" y="862867"/>
                  </a:cubicBezTo>
                  <a:cubicBezTo>
                    <a:pt x="1852714" y="1091451"/>
                    <a:pt x="1542600" y="1219999"/>
                    <a:pt x="1219231" y="1219999"/>
                  </a:cubicBezTo>
                  <a:cubicBezTo>
                    <a:pt x="895861" y="1219999"/>
                    <a:pt x="585747" y="1091576"/>
                    <a:pt x="357162" y="862867"/>
                  </a:cubicBezTo>
                  <a:close/>
                </a:path>
              </a:pathLst>
            </a:custGeom>
            <a:solidFill>
              <a:srgbClr val="82CFFF"/>
            </a:solidFill>
            <a:ln w="12505" cap="flat">
              <a:noFill/>
              <a:prstDash val="solid"/>
              <a:miter/>
            </a:ln>
          </p:spPr>
          <p:txBody>
            <a:bodyPr rtlCol="0" anchor="ctr"/>
            <a:lstStyle/>
            <a:p>
              <a:endParaRPr lang="en-US" sz="900"/>
            </a:p>
          </p:txBody>
        </p:sp>
        <p:sp>
          <p:nvSpPr>
            <p:cNvPr id="20" name="Freeform: Shape 19">
              <a:extLst>
                <a:ext uri="{FF2B5EF4-FFF2-40B4-BE49-F238E27FC236}">
                  <a16:creationId xmlns:a16="http://schemas.microsoft.com/office/drawing/2014/main" id="{ED6873E8-2C30-9E1F-B8C4-51C2CA7B8DA4}"/>
                </a:ext>
              </a:extLst>
            </p:cNvPr>
            <p:cNvSpPr/>
            <p:nvPr/>
          </p:nvSpPr>
          <p:spPr>
            <a:xfrm>
              <a:off x="-11971338" y="8991600"/>
              <a:ext cx="2438400" cy="2438400"/>
            </a:xfrm>
            <a:custGeom>
              <a:avLst/>
              <a:gdLst>
                <a:gd name="connsiteX0" fmla="*/ 357162 w 2438400"/>
                <a:gd name="connsiteY0" fmla="*/ 1577130 h 2438400"/>
                <a:gd name="connsiteX1" fmla="*/ 31 w 2438400"/>
                <a:gd name="connsiteY1" fmla="*/ 2439199 h 2438400"/>
                <a:gd name="connsiteX2" fmla="*/ 2438431 w 2438400"/>
                <a:gd name="connsiteY2" fmla="*/ 2439199 h 2438400"/>
                <a:gd name="connsiteX3" fmla="*/ 2081299 w 2438400"/>
                <a:gd name="connsiteY3" fmla="*/ 1577130 h 2438400"/>
                <a:gd name="connsiteX4" fmla="*/ 1219231 w 2438400"/>
                <a:gd name="connsiteY4" fmla="*/ 1219999 h 2438400"/>
                <a:gd name="connsiteX5" fmla="*/ 357162 w 2438400"/>
                <a:gd name="connsiteY5" fmla="*/ 1577130 h 2438400"/>
                <a:gd name="connsiteX6" fmla="*/ 357162 w 2438400"/>
                <a:gd name="connsiteY6" fmla="*/ 862992 h 2438400"/>
                <a:gd name="connsiteX7" fmla="*/ 31 w 2438400"/>
                <a:gd name="connsiteY7" fmla="*/ 799 h 2438400"/>
                <a:gd name="connsiteX8" fmla="*/ 2438431 w 2438400"/>
                <a:gd name="connsiteY8" fmla="*/ 799 h 2438400"/>
                <a:gd name="connsiteX9" fmla="*/ 2081299 w 2438400"/>
                <a:gd name="connsiteY9" fmla="*/ 862867 h 2438400"/>
                <a:gd name="connsiteX10" fmla="*/ 1219231 w 2438400"/>
                <a:gd name="connsiteY10" fmla="*/ 1219999 h 2438400"/>
                <a:gd name="connsiteX11" fmla="*/ 357162 w 2438400"/>
                <a:gd name="connsiteY11" fmla="*/ 862867 h 243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38400" h="2438400">
                  <a:moveTo>
                    <a:pt x="357162" y="1577130"/>
                  </a:moveTo>
                  <a:cubicBezTo>
                    <a:pt x="128453" y="1805715"/>
                    <a:pt x="31" y="2115829"/>
                    <a:pt x="31" y="2439199"/>
                  </a:cubicBezTo>
                  <a:lnTo>
                    <a:pt x="2438431" y="2439199"/>
                  </a:lnTo>
                  <a:cubicBezTo>
                    <a:pt x="2438431" y="2115829"/>
                    <a:pt x="2310008" y="1805715"/>
                    <a:pt x="2081299" y="1577130"/>
                  </a:cubicBezTo>
                  <a:cubicBezTo>
                    <a:pt x="1852714" y="1348546"/>
                    <a:pt x="1542600" y="1219999"/>
                    <a:pt x="1219231" y="1219999"/>
                  </a:cubicBezTo>
                  <a:cubicBezTo>
                    <a:pt x="895861" y="1219999"/>
                    <a:pt x="585747" y="1348421"/>
                    <a:pt x="357162" y="1577130"/>
                  </a:cubicBezTo>
                  <a:close/>
                  <a:moveTo>
                    <a:pt x="357162" y="862992"/>
                  </a:moveTo>
                  <a:cubicBezTo>
                    <a:pt x="128453" y="634282"/>
                    <a:pt x="31" y="324168"/>
                    <a:pt x="31" y="799"/>
                  </a:cubicBezTo>
                  <a:lnTo>
                    <a:pt x="2438431" y="799"/>
                  </a:lnTo>
                  <a:cubicBezTo>
                    <a:pt x="2438431" y="324168"/>
                    <a:pt x="2310008" y="634282"/>
                    <a:pt x="2081299" y="862867"/>
                  </a:cubicBezTo>
                  <a:cubicBezTo>
                    <a:pt x="1852714" y="1091451"/>
                    <a:pt x="1542600" y="1219999"/>
                    <a:pt x="1219231" y="1219999"/>
                  </a:cubicBezTo>
                  <a:cubicBezTo>
                    <a:pt x="895861" y="1219999"/>
                    <a:pt x="585747" y="1091576"/>
                    <a:pt x="357162" y="862867"/>
                  </a:cubicBezTo>
                  <a:close/>
                </a:path>
              </a:pathLst>
            </a:custGeom>
            <a:solidFill>
              <a:srgbClr val="82CFFF"/>
            </a:solidFill>
            <a:ln w="12505" cap="flat">
              <a:noFill/>
              <a:prstDash val="solid"/>
              <a:miter/>
            </a:ln>
          </p:spPr>
          <p:txBody>
            <a:bodyPr rtlCol="0" anchor="ctr"/>
            <a:lstStyle/>
            <a:p>
              <a:endParaRPr lang="en-US" sz="900"/>
            </a:p>
          </p:txBody>
        </p:sp>
      </p:grpSp>
      <p:grpSp>
        <p:nvGrpSpPr>
          <p:cNvPr id="21" name="Graphic 10">
            <a:extLst>
              <a:ext uri="{FF2B5EF4-FFF2-40B4-BE49-F238E27FC236}">
                <a16:creationId xmlns:a16="http://schemas.microsoft.com/office/drawing/2014/main" id="{60C5586C-C2A6-5473-EF69-A3706BC6F368}"/>
              </a:ext>
            </a:extLst>
          </p:cNvPr>
          <p:cNvGrpSpPr/>
          <p:nvPr userDrawn="1"/>
        </p:nvGrpSpPr>
        <p:grpSpPr>
          <a:xfrm>
            <a:off x="9164004" y="4381432"/>
            <a:ext cx="1371490" cy="1371669"/>
            <a:chOff x="-7094538" y="8991600"/>
            <a:chExt cx="2438400" cy="2438400"/>
          </a:xfrm>
          <a:solidFill>
            <a:srgbClr val="08BDBA"/>
          </a:solidFill>
        </p:grpSpPr>
        <p:sp>
          <p:nvSpPr>
            <p:cNvPr id="22" name="Freeform: Shape 21">
              <a:extLst>
                <a:ext uri="{FF2B5EF4-FFF2-40B4-BE49-F238E27FC236}">
                  <a16:creationId xmlns:a16="http://schemas.microsoft.com/office/drawing/2014/main" id="{6407E751-2BC6-22BD-425F-D246D0BA0BF2}"/>
                </a:ext>
              </a:extLst>
            </p:cNvPr>
            <p:cNvSpPr/>
            <p:nvPr/>
          </p:nvSpPr>
          <p:spPr>
            <a:xfrm>
              <a:off x="-7094538" y="8991600"/>
              <a:ext cx="2438400" cy="2438400"/>
            </a:xfrm>
            <a:custGeom>
              <a:avLst/>
              <a:gdLst>
                <a:gd name="connsiteX0" fmla="*/ 1219743 w 2438400"/>
                <a:gd name="connsiteY0" fmla="*/ 2439199 h 2438400"/>
                <a:gd name="connsiteX1" fmla="*/ 1219743 w 2438400"/>
                <a:gd name="connsiteY1" fmla="*/ 799 h 2438400"/>
                <a:gd name="connsiteX2" fmla="*/ 2438943 w 2438400"/>
                <a:gd name="connsiteY2" fmla="*/ 1219999 h 2438400"/>
                <a:gd name="connsiteX3" fmla="*/ 1219743 w 2438400"/>
                <a:gd name="connsiteY3" fmla="*/ 2439199 h 2438400"/>
                <a:gd name="connsiteX4" fmla="*/ 543 w 2438400"/>
                <a:gd name="connsiteY4" fmla="*/ 2439199 h 2438400"/>
                <a:gd name="connsiteX5" fmla="*/ 543 w 2438400"/>
                <a:gd name="connsiteY5" fmla="*/ 799 h 2438400"/>
                <a:gd name="connsiteX6" fmla="*/ 1219743 w 2438400"/>
                <a:gd name="connsiteY6" fmla="*/ 1219999 h 2438400"/>
                <a:gd name="connsiteX7" fmla="*/ 543 w 2438400"/>
                <a:gd name="connsiteY7" fmla="*/ 2439199 h 243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 h="2438400">
                  <a:moveTo>
                    <a:pt x="1219743" y="2439199"/>
                  </a:moveTo>
                  <a:lnTo>
                    <a:pt x="1219743" y="799"/>
                  </a:lnTo>
                  <a:lnTo>
                    <a:pt x="2438943" y="1219999"/>
                  </a:lnTo>
                  <a:lnTo>
                    <a:pt x="1219743" y="2439199"/>
                  </a:lnTo>
                  <a:close/>
                  <a:moveTo>
                    <a:pt x="543" y="2439199"/>
                  </a:moveTo>
                  <a:lnTo>
                    <a:pt x="543" y="799"/>
                  </a:lnTo>
                  <a:lnTo>
                    <a:pt x="1219743" y="1219999"/>
                  </a:lnTo>
                  <a:lnTo>
                    <a:pt x="543" y="2439199"/>
                  </a:lnTo>
                  <a:close/>
                </a:path>
              </a:pathLst>
            </a:custGeom>
            <a:solidFill>
              <a:srgbClr val="08BDBA"/>
            </a:solidFill>
            <a:ln w="12505" cap="flat">
              <a:noFill/>
              <a:prstDash val="solid"/>
              <a:miter/>
            </a:ln>
          </p:spPr>
          <p:txBody>
            <a:bodyPr rtlCol="0" anchor="ctr"/>
            <a:lstStyle/>
            <a:p>
              <a:endParaRPr lang="en-US" sz="900"/>
            </a:p>
          </p:txBody>
        </p:sp>
        <p:sp>
          <p:nvSpPr>
            <p:cNvPr id="23" name="Freeform: Shape 22">
              <a:extLst>
                <a:ext uri="{FF2B5EF4-FFF2-40B4-BE49-F238E27FC236}">
                  <a16:creationId xmlns:a16="http://schemas.microsoft.com/office/drawing/2014/main" id="{9CF14A94-CADF-212B-BB95-6D91CFD86EE3}"/>
                </a:ext>
              </a:extLst>
            </p:cNvPr>
            <p:cNvSpPr/>
            <p:nvPr/>
          </p:nvSpPr>
          <p:spPr>
            <a:xfrm>
              <a:off x="-7094538" y="8991600"/>
              <a:ext cx="2438400" cy="2438400"/>
            </a:xfrm>
            <a:custGeom>
              <a:avLst/>
              <a:gdLst>
                <a:gd name="connsiteX0" fmla="*/ 1219743 w 2438400"/>
                <a:gd name="connsiteY0" fmla="*/ 2439199 h 2438400"/>
                <a:gd name="connsiteX1" fmla="*/ 1219743 w 2438400"/>
                <a:gd name="connsiteY1" fmla="*/ 799 h 2438400"/>
                <a:gd name="connsiteX2" fmla="*/ 2438943 w 2438400"/>
                <a:gd name="connsiteY2" fmla="*/ 1219999 h 2438400"/>
                <a:gd name="connsiteX3" fmla="*/ 1219743 w 2438400"/>
                <a:gd name="connsiteY3" fmla="*/ 2439199 h 2438400"/>
                <a:gd name="connsiteX4" fmla="*/ 543 w 2438400"/>
                <a:gd name="connsiteY4" fmla="*/ 2439199 h 2438400"/>
                <a:gd name="connsiteX5" fmla="*/ 543 w 2438400"/>
                <a:gd name="connsiteY5" fmla="*/ 799 h 2438400"/>
                <a:gd name="connsiteX6" fmla="*/ 1219743 w 2438400"/>
                <a:gd name="connsiteY6" fmla="*/ 1219999 h 2438400"/>
                <a:gd name="connsiteX7" fmla="*/ 543 w 2438400"/>
                <a:gd name="connsiteY7" fmla="*/ 2439199 h 243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400" h="2438400">
                  <a:moveTo>
                    <a:pt x="1219743" y="2439199"/>
                  </a:moveTo>
                  <a:lnTo>
                    <a:pt x="1219743" y="799"/>
                  </a:lnTo>
                  <a:lnTo>
                    <a:pt x="2438943" y="1219999"/>
                  </a:lnTo>
                  <a:lnTo>
                    <a:pt x="1219743" y="2439199"/>
                  </a:lnTo>
                  <a:close/>
                  <a:moveTo>
                    <a:pt x="543" y="2439199"/>
                  </a:moveTo>
                  <a:lnTo>
                    <a:pt x="543" y="799"/>
                  </a:lnTo>
                  <a:lnTo>
                    <a:pt x="1219743" y="1219999"/>
                  </a:lnTo>
                  <a:lnTo>
                    <a:pt x="543" y="2439199"/>
                  </a:lnTo>
                  <a:close/>
                </a:path>
              </a:pathLst>
            </a:custGeom>
            <a:solidFill>
              <a:srgbClr val="08BDBA"/>
            </a:solidFill>
            <a:ln w="12505" cap="flat">
              <a:noFill/>
              <a:prstDash val="solid"/>
              <a:miter/>
            </a:ln>
          </p:spPr>
          <p:txBody>
            <a:bodyPr rtlCol="0" anchor="ctr"/>
            <a:lstStyle/>
            <a:p>
              <a:endParaRPr lang="en-US" sz="900"/>
            </a:p>
          </p:txBody>
        </p:sp>
      </p:grpSp>
      <p:grpSp>
        <p:nvGrpSpPr>
          <p:cNvPr id="24" name="Graphic 10">
            <a:extLst>
              <a:ext uri="{FF2B5EF4-FFF2-40B4-BE49-F238E27FC236}">
                <a16:creationId xmlns:a16="http://schemas.microsoft.com/office/drawing/2014/main" id="{130F95F5-FFD5-0D83-A87D-9F4C8C713F79}"/>
              </a:ext>
            </a:extLst>
          </p:cNvPr>
          <p:cNvGrpSpPr/>
          <p:nvPr userDrawn="1"/>
        </p:nvGrpSpPr>
        <p:grpSpPr>
          <a:xfrm>
            <a:off x="10535494" y="1645129"/>
            <a:ext cx="1371490" cy="1357600"/>
            <a:chOff x="-4656138" y="4127304"/>
            <a:chExt cx="2438400" cy="2413390"/>
          </a:xfrm>
          <a:solidFill>
            <a:srgbClr val="0F62FE"/>
          </a:solidFill>
        </p:grpSpPr>
        <p:sp>
          <p:nvSpPr>
            <p:cNvPr id="25" name="Freeform: Shape 24">
              <a:extLst>
                <a:ext uri="{FF2B5EF4-FFF2-40B4-BE49-F238E27FC236}">
                  <a16:creationId xmlns:a16="http://schemas.microsoft.com/office/drawing/2014/main" id="{782B9B40-93AA-FCD3-6B79-266B561BF157}"/>
                </a:ext>
              </a:extLst>
            </p:cNvPr>
            <p:cNvSpPr/>
            <p:nvPr/>
          </p:nvSpPr>
          <p:spPr>
            <a:xfrm>
              <a:off x="-4656138" y="4127304"/>
              <a:ext cx="2438400" cy="2413390"/>
            </a:xfrm>
            <a:custGeom>
              <a:avLst/>
              <a:gdLst>
                <a:gd name="connsiteX0" fmla="*/ 1219999 w 2438400"/>
                <a:gd name="connsiteY0" fmla="*/ 288 h 2413390"/>
                <a:gd name="connsiteX1" fmla="*/ 1219999 w 2438400"/>
                <a:gd name="connsiteY1" fmla="*/ 288 h 2413390"/>
                <a:gd name="connsiteX2" fmla="*/ 799 w 2438400"/>
                <a:gd name="connsiteY2" fmla="*/ 288 h 2413390"/>
                <a:gd name="connsiteX3" fmla="*/ 1219999 w 2438400"/>
                <a:gd name="connsiteY3" fmla="*/ 1206983 h 2413390"/>
                <a:gd name="connsiteX4" fmla="*/ 799 w 2438400"/>
                <a:gd name="connsiteY4" fmla="*/ 2413678 h 2413390"/>
                <a:gd name="connsiteX5" fmla="*/ 1219999 w 2438400"/>
                <a:gd name="connsiteY5" fmla="*/ 2413678 h 2413390"/>
                <a:gd name="connsiteX6" fmla="*/ 1219999 w 2438400"/>
                <a:gd name="connsiteY6" fmla="*/ 2413678 h 2413390"/>
                <a:gd name="connsiteX7" fmla="*/ 2439199 w 2438400"/>
                <a:gd name="connsiteY7" fmla="*/ 1206983 h 2413390"/>
                <a:gd name="connsiteX8" fmla="*/ 1219999 w 2438400"/>
                <a:gd name="connsiteY8" fmla="*/ 1206983 h 2413390"/>
                <a:gd name="connsiteX9" fmla="*/ 1219999 w 2438400"/>
                <a:gd name="connsiteY9" fmla="*/ 1206983 h 2413390"/>
                <a:gd name="connsiteX10" fmla="*/ 2439199 w 2438400"/>
                <a:gd name="connsiteY10" fmla="*/ 1206983 h 2413390"/>
                <a:gd name="connsiteX11" fmla="*/ 1219999 w 2438400"/>
                <a:gd name="connsiteY11" fmla="*/ 288 h 241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38400" h="2413390">
                  <a:moveTo>
                    <a:pt x="1219999" y="288"/>
                  </a:moveTo>
                  <a:lnTo>
                    <a:pt x="1219999" y="288"/>
                  </a:lnTo>
                  <a:lnTo>
                    <a:pt x="799" y="288"/>
                  </a:lnTo>
                  <a:lnTo>
                    <a:pt x="1219999" y="1206983"/>
                  </a:lnTo>
                  <a:lnTo>
                    <a:pt x="799" y="2413678"/>
                  </a:lnTo>
                  <a:lnTo>
                    <a:pt x="1219999" y="2413678"/>
                  </a:lnTo>
                  <a:lnTo>
                    <a:pt x="1219999" y="2413678"/>
                  </a:lnTo>
                  <a:lnTo>
                    <a:pt x="2439199" y="1206983"/>
                  </a:lnTo>
                  <a:lnTo>
                    <a:pt x="1219999" y="1206983"/>
                  </a:lnTo>
                  <a:lnTo>
                    <a:pt x="1219999" y="1206983"/>
                  </a:lnTo>
                  <a:lnTo>
                    <a:pt x="2439199" y="1206983"/>
                  </a:lnTo>
                  <a:lnTo>
                    <a:pt x="1219999" y="288"/>
                  </a:lnTo>
                  <a:close/>
                </a:path>
              </a:pathLst>
            </a:custGeom>
            <a:solidFill>
              <a:srgbClr val="0F62FE"/>
            </a:solidFill>
            <a:ln w="12505" cap="flat">
              <a:noFill/>
              <a:prstDash val="solid"/>
              <a:miter/>
            </a:ln>
          </p:spPr>
          <p:txBody>
            <a:bodyPr rtlCol="0" anchor="ctr"/>
            <a:lstStyle/>
            <a:p>
              <a:endParaRPr lang="en-US" sz="900"/>
            </a:p>
          </p:txBody>
        </p:sp>
        <p:sp>
          <p:nvSpPr>
            <p:cNvPr id="41" name="Freeform: Shape 40">
              <a:extLst>
                <a:ext uri="{FF2B5EF4-FFF2-40B4-BE49-F238E27FC236}">
                  <a16:creationId xmlns:a16="http://schemas.microsoft.com/office/drawing/2014/main" id="{4FA2A501-C4E1-DF66-F56C-9C03E2251EF0}"/>
                </a:ext>
              </a:extLst>
            </p:cNvPr>
            <p:cNvSpPr/>
            <p:nvPr/>
          </p:nvSpPr>
          <p:spPr>
            <a:xfrm>
              <a:off x="-4656138" y="4127304"/>
              <a:ext cx="2438400" cy="2413390"/>
            </a:xfrm>
            <a:custGeom>
              <a:avLst/>
              <a:gdLst>
                <a:gd name="connsiteX0" fmla="*/ 1219999 w 2438400"/>
                <a:gd name="connsiteY0" fmla="*/ 288 h 2413390"/>
                <a:gd name="connsiteX1" fmla="*/ 1219999 w 2438400"/>
                <a:gd name="connsiteY1" fmla="*/ 288 h 2413390"/>
                <a:gd name="connsiteX2" fmla="*/ 799 w 2438400"/>
                <a:gd name="connsiteY2" fmla="*/ 288 h 2413390"/>
                <a:gd name="connsiteX3" fmla="*/ 1219999 w 2438400"/>
                <a:gd name="connsiteY3" fmla="*/ 1206983 h 2413390"/>
                <a:gd name="connsiteX4" fmla="*/ 799 w 2438400"/>
                <a:gd name="connsiteY4" fmla="*/ 2413678 h 2413390"/>
                <a:gd name="connsiteX5" fmla="*/ 1219999 w 2438400"/>
                <a:gd name="connsiteY5" fmla="*/ 2413678 h 2413390"/>
                <a:gd name="connsiteX6" fmla="*/ 1219999 w 2438400"/>
                <a:gd name="connsiteY6" fmla="*/ 2413678 h 2413390"/>
                <a:gd name="connsiteX7" fmla="*/ 2439199 w 2438400"/>
                <a:gd name="connsiteY7" fmla="*/ 1206983 h 2413390"/>
                <a:gd name="connsiteX8" fmla="*/ 1219999 w 2438400"/>
                <a:gd name="connsiteY8" fmla="*/ 1206983 h 2413390"/>
                <a:gd name="connsiteX9" fmla="*/ 1219999 w 2438400"/>
                <a:gd name="connsiteY9" fmla="*/ 1206983 h 2413390"/>
                <a:gd name="connsiteX10" fmla="*/ 2439199 w 2438400"/>
                <a:gd name="connsiteY10" fmla="*/ 1206983 h 2413390"/>
                <a:gd name="connsiteX11" fmla="*/ 1219999 w 2438400"/>
                <a:gd name="connsiteY11" fmla="*/ 288 h 2413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38400" h="2413390">
                  <a:moveTo>
                    <a:pt x="1219999" y="288"/>
                  </a:moveTo>
                  <a:lnTo>
                    <a:pt x="1219999" y="288"/>
                  </a:lnTo>
                  <a:lnTo>
                    <a:pt x="799" y="288"/>
                  </a:lnTo>
                  <a:lnTo>
                    <a:pt x="1219999" y="1206983"/>
                  </a:lnTo>
                  <a:lnTo>
                    <a:pt x="799" y="2413678"/>
                  </a:lnTo>
                  <a:lnTo>
                    <a:pt x="1219999" y="2413678"/>
                  </a:lnTo>
                  <a:lnTo>
                    <a:pt x="1219999" y="2413678"/>
                  </a:lnTo>
                  <a:lnTo>
                    <a:pt x="2439199" y="1206983"/>
                  </a:lnTo>
                  <a:lnTo>
                    <a:pt x="1219999" y="1206983"/>
                  </a:lnTo>
                  <a:lnTo>
                    <a:pt x="1219999" y="1206983"/>
                  </a:lnTo>
                  <a:lnTo>
                    <a:pt x="2439199" y="1206983"/>
                  </a:lnTo>
                  <a:lnTo>
                    <a:pt x="1219999" y="288"/>
                  </a:lnTo>
                  <a:close/>
                </a:path>
              </a:pathLst>
            </a:custGeom>
            <a:solidFill>
              <a:srgbClr val="0F62FE"/>
            </a:solidFill>
            <a:ln w="12505" cap="flat">
              <a:noFill/>
              <a:prstDash val="solid"/>
              <a:miter/>
            </a:ln>
          </p:spPr>
          <p:txBody>
            <a:bodyPr rtlCol="0" anchor="ctr"/>
            <a:lstStyle/>
            <a:p>
              <a:endParaRPr lang="en-US" sz="900"/>
            </a:p>
          </p:txBody>
        </p:sp>
      </p:grpSp>
    </p:spTree>
    <p:extLst>
      <p:ext uri="{BB962C8B-B14F-4D97-AF65-F5344CB8AC3E}">
        <p14:creationId xmlns:p14="http://schemas.microsoft.com/office/powerpoint/2010/main" val="3147851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slide 5">
    <p:bg>
      <p:bgPr>
        <a:solidFill>
          <a:schemeClr val="bg2"/>
        </a:solidFill>
        <a:effectLst/>
      </p:bgPr>
    </p:bg>
    <p:spTree>
      <p:nvGrpSpPr>
        <p:cNvPr id="1" name=""/>
        <p:cNvGrpSpPr/>
        <p:nvPr/>
      </p:nvGrpSpPr>
      <p:grpSpPr>
        <a:xfrm>
          <a:off x="0" y="0"/>
          <a:ext cx="0" cy="0"/>
          <a:chOff x="0" y="0"/>
          <a:chExt cx="0" cy="0"/>
        </a:xfrm>
      </p:grpSpPr>
      <p:sp>
        <p:nvSpPr>
          <p:cNvPr id="8" name="Text Placeholder 5">
            <a:extLst>
              <a:ext uri="{FF2B5EF4-FFF2-40B4-BE49-F238E27FC236}">
                <a16:creationId xmlns:a16="http://schemas.microsoft.com/office/drawing/2014/main" id="{03F79CF1-BB23-64AA-9C92-5A1EAE747F93}"/>
              </a:ext>
            </a:extLst>
          </p:cNvPr>
          <p:cNvSpPr>
            <a:spLocks noGrp="1"/>
          </p:cNvSpPr>
          <p:nvPr>
            <p:ph type="body" sz="quarter" idx="13" hasCustomPrompt="1"/>
          </p:nvPr>
        </p:nvSpPr>
        <p:spPr>
          <a:xfrm>
            <a:off x="262697" y="3429000"/>
            <a:ext cx="5050131" cy="1451113"/>
          </a:xfrm>
        </p:spPr>
        <p:txBody>
          <a:bodyPr/>
          <a:lstStyle/>
          <a:p>
            <a:r>
              <a:rPr lang="en-US"/>
              <a:t>Session code (ID number)</a:t>
            </a:r>
            <a:br>
              <a:rPr lang="en-US"/>
            </a:br>
            <a:r>
              <a:rPr lang="en-US"/>
              <a:t>Session Title</a:t>
            </a:r>
            <a:br>
              <a:rPr lang="en-US"/>
            </a:br>
            <a:r>
              <a:rPr lang="en-US" err="1"/>
              <a:t>Firstname</a:t>
            </a:r>
            <a:r>
              <a:rPr lang="en-US"/>
              <a:t> </a:t>
            </a:r>
            <a:r>
              <a:rPr lang="en-US" err="1"/>
              <a:t>Lastname</a:t>
            </a:r>
            <a:br>
              <a:rPr lang="en-US"/>
            </a:br>
            <a:r>
              <a:rPr lang="en-US"/>
              <a:t>Company, Job Title</a:t>
            </a:r>
          </a:p>
        </p:txBody>
      </p:sp>
      <p:sp>
        <p:nvSpPr>
          <p:cNvPr id="10" name="Title 1">
            <a:extLst>
              <a:ext uri="{FF2B5EF4-FFF2-40B4-BE49-F238E27FC236}">
                <a16:creationId xmlns:a16="http://schemas.microsoft.com/office/drawing/2014/main" id="{C20F0B5B-6B52-3139-61A7-7B7287D7127D}"/>
              </a:ext>
            </a:extLst>
          </p:cNvPr>
          <p:cNvSpPr>
            <a:spLocks noGrp="1"/>
          </p:cNvSpPr>
          <p:nvPr>
            <p:ph type="title"/>
          </p:nvPr>
        </p:nvSpPr>
        <p:spPr>
          <a:xfrm>
            <a:off x="262950" y="1093032"/>
            <a:ext cx="5049878" cy="2070856"/>
          </a:xfrm>
        </p:spPr>
        <p:txBody>
          <a:bodyPr/>
          <a:lstStyle>
            <a:lvl1pPr>
              <a:lnSpc>
                <a:spcPct val="100000"/>
              </a:lnSpc>
              <a:defRPr sz="3199">
                <a:solidFill>
                  <a:schemeClr val="tx2"/>
                </a:solidFill>
              </a:defRPr>
            </a:lvl1pPr>
          </a:lstStyle>
          <a:p>
            <a:r>
              <a:rPr lang="en-US"/>
              <a:t>Click to edit Master title style</a:t>
            </a:r>
          </a:p>
        </p:txBody>
      </p:sp>
      <p:grpSp>
        <p:nvGrpSpPr>
          <p:cNvPr id="26" name="Graphic 5">
            <a:extLst>
              <a:ext uri="{FF2B5EF4-FFF2-40B4-BE49-F238E27FC236}">
                <a16:creationId xmlns:a16="http://schemas.microsoft.com/office/drawing/2014/main" id="{F1A637DE-FA28-1BBA-ED19-561BF47FC9AA}"/>
              </a:ext>
            </a:extLst>
          </p:cNvPr>
          <p:cNvGrpSpPr/>
          <p:nvPr userDrawn="1"/>
        </p:nvGrpSpPr>
        <p:grpSpPr>
          <a:xfrm>
            <a:off x="299134" y="288036"/>
            <a:ext cx="1878950" cy="218297"/>
            <a:chOff x="6597650" y="8572457"/>
            <a:chExt cx="11188016" cy="1299659"/>
          </a:xfrm>
          <a:solidFill>
            <a:srgbClr val="000000"/>
          </a:solidFill>
        </p:grpSpPr>
        <p:sp>
          <p:nvSpPr>
            <p:cNvPr id="27" name="Freeform: Shape 26">
              <a:extLst>
                <a:ext uri="{FF2B5EF4-FFF2-40B4-BE49-F238E27FC236}">
                  <a16:creationId xmlns:a16="http://schemas.microsoft.com/office/drawing/2014/main" id="{F5985145-6140-8167-8472-4F70B1B08F56}"/>
                </a:ext>
              </a:extLst>
            </p:cNvPr>
            <p:cNvSpPr/>
            <p:nvPr/>
          </p:nvSpPr>
          <p:spPr>
            <a:xfrm>
              <a:off x="11603037" y="8572457"/>
              <a:ext cx="633888" cy="1010097"/>
            </a:xfrm>
            <a:custGeom>
              <a:avLst/>
              <a:gdLst>
                <a:gd name="connsiteX0" fmla="*/ 95 w 633888"/>
                <a:gd name="connsiteY0" fmla="*/ 42 h 1010097"/>
                <a:gd name="connsiteX1" fmla="*/ 202502 w 633888"/>
                <a:gd name="connsiteY1" fmla="*/ 42 h 1010097"/>
                <a:gd name="connsiteX2" fmla="*/ 204216 w 633888"/>
                <a:gd name="connsiteY2" fmla="*/ 419904 h 1010097"/>
                <a:gd name="connsiteX3" fmla="*/ 276320 w 633888"/>
                <a:gd name="connsiteY3" fmla="*/ 318463 h 1010097"/>
                <a:gd name="connsiteX4" fmla="*/ 591884 w 633888"/>
                <a:gd name="connsiteY4" fmla="*/ 373899 h 1010097"/>
                <a:gd name="connsiteX5" fmla="*/ 633793 w 633888"/>
                <a:gd name="connsiteY5" fmla="*/ 562303 h 1010097"/>
                <a:gd name="connsiteX6" fmla="*/ 633889 w 633888"/>
                <a:gd name="connsiteY6" fmla="*/ 1010073 h 1010097"/>
                <a:gd name="connsiteX7" fmla="*/ 431482 w 633888"/>
                <a:gd name="connsiteY7" fmla="*/ 1010073 h 1010097"/>
                <a:gd name="connsiteX8" fmla="*/ 431102 w 633888"/>
                <a:gd name="connsiteY8" fmla="*/ 561827 h 1010097"/>
                <a:gd name="connsiteX9" fmla="*/ 376333 w 633888"/>
                <a:gd name="connsiteY9" fmla="*/ 448765 h 1010097"/>
                <a:gd name="connsiteX10" fmla="*/ 203454 w 633888"/>
                <a:gd name="connsiteY10" fmla="*/ 533538 h 1010097"/>
                <a:gd name="connsiteX11" fmla="*/ 202502 w 633888"/>
                <a:gd name="connsiteY11" fmla="*/ 1010073 h 1010097"/>
                <a:gd name="connsiteX12" fmla="*/ 0 w 633888"/>
                <a:gd name="connsiteY12" fmla="*/ 1009978 h 1010097"/>
                <a:gd name="connsiteX13" fmla="*/ 95 w 633888"/>
                <a:gd name="connsiteY13" fmla="*/ 42 h 101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3888" h="1010097">
                  <a:moveTo>
                    <a:pt x="95" y="42"/>
                  </a:moveTo>
                  <a:cubicBezTo>
                    <a:pt x="67533" y="-53"/>
                    <a:pt x="134969" y="42"/>
                    <a:pt x="202502" y="42"/>
                  </a:cubicBezTo>
                  <a:cubicBezTo>
                    <a:pt x="203549" y="139965"/>
                    <a:pt x="200311" y="280077"/>
                    <a:pt x="204216" y="419904"/>
                  </a:cubicBezTo>
                  <a:cubicBezTo>
                    <a:pt x="224504" y="383709"/>
                    <a:pt x="241364" y="343419"/>
                    <a:pt x="276320" y="318463"/>
                  </a:cubicBezTo>
                  <a:cubicBezTo>
                    <a:pt x="371284" y="247692"/>
                    <a:pt x="531781" y="265695"/>
                    <a:pt x="591884" y="373899"/>
                  </a:cubicBezTo>
                  <a:cubicBezTo>
                    <a:pt x="624840" y="430668"/>
                    <a:pt x="633413" y="497724"/>
                    <a:pt x="633793" y="562303"/>
                  </a:cubicBezTo>
                  <a:cubicBezTo>
                    <a:pt x="633984" y="711560"/>
                    <a:pt x="633793" y="860817"/>
                    <a:pt x="633889" y="1010073"/>
                  </a:cubicBezTo>
                  <a:lnTo>
                    <a:pt x="431482" y="1010073"/>
                  </a:lnTo>
                  <a:cubicBezTo>
                    <a:pt x="431197" y="860626"/>
                    <a:pt x="432054" y="711179"/>
                    <a:pt x="431102" y="561827"/>
                  </a:cubicBezTo>
                  <a:cubicBezTo>
                    <a:pt x="429959" y="519441"/>
                    <a:pt x="420624" y="466386"/>
                    <a:pt x="376333" y="448765"/>
                  </a:cubicBezTo>
                  <a:cubicBezTo>
                    <a:pt x="310801" y="425334"/>
                    <a:pt x="211836" y="455052"/>
                    <a:pt x="203454" y="533538"/>
                  </a:cubicBezTo>
                  <a:cubicBezTo>
                    <a:pt x="201168" y="692319"/>
                    <a:pt x="203168" y="851196"/>
                    <a:pt x="202502" y="1010073"/>
                  </a:cubicBezTo>
                  <a:cubicBezTo>
                    <a:pt x="134969" y="1010073"/>
                    <a:pt x="67533" y="1010169"/>
                    <a:pt x="0" y="1009978"/>
                  </a:cubicBezTo>
                  <a:cubicBezTo>
                    <a:pt x="191" y="673365"/>
                    <a:pt x="95" y="336656"/>
                    <a:pt x="95" y="42"/>
                  </a:cubicBezTo>
                  <a:close/>
                </a:path>
              </a:pathLst>
            </a:custGeom>
            <a:solidFill>
              <a:srgbClr val="000000"/>
            </a:solidFill>
            <a:ln w="9525" cap="flat">
              <a:noFill/>
              <a:prstDash val="solid"/>
              <a:miter/>
            </a:ln>
          </p:spPr>
          <p:txBody>
            <a:bodyPr rtlCol="0" anchor="ctr"/>
            <a:lstStyle/>
            <a:p>
              <a:endParaRPr lang="en-US" sz="900"/>
            </a:p>
          </p:txBody>
        </p:sp>
        <p:sp>
          <p:nvSpPr>
            <p:cNvPr id="28" name="Freeform: Shape 27">
              <a:extLst>
                <a:ext uri="{FF2B5EF4-FFF2-40B4-BE49-F238E27FC236}">
                  <a16:creationId xmlns:a16="http://schemas.microsoft.com/office/drawing/2014/main" id="{7D933579-F84C-4074-BCE8-A5F3C6A8C115}"/>
                </a:ext>
              </a:extLst>
            </p:cNvPr>
            <p:cNvSpPr/>
            <p:nvPr/>
          </p:nvSpPr>
          <p:spPr>
            <a:xfrm>
              <a:off x="14012576" y="8572457"/>
              <a:ext cx="634202" cy="1010164"/>
            </a:xfrm>
            <a:custGeom>
              <a:avLst/>
              <a:gdLst>
                <a:gd name="connsiteX0" fmla="*/ 381 w 634202"/>
                <a:gd name="connsiteY0" fmla="*/ 42 h 1010164"/>
                <a:gd name="connsiteX1" fmla="*/ 202788 w 634202"/>
                <a:gd name="connsiteY1" fmla="*/ 42 h 1010164"/>
                <a:gd name="connsiteX2" fmla="*/ 204502 w 634202"/>
                <a:gd name="connsiteY2" fmla="*/ 419904 h 1010164"/>
                <a:gd name="connsiteX3" fmla="*/ 271558 w 634202"/>
                <a:gd name="connsiteY3" fmla="*/ 322559 h 1010164"/>
                <a:gd name="connsiteX4" fmla="*/ 596265 w 634202"/>
                <a:gd name="connsiteY4" fmla="*/ 381233 h 1010164"/>
                <a:gd name="connsiteX5" fmla="*/ 634175 w 634202"/>
                <a:gd name="connsiteY5" fmla="*/ 562303 h 1010164"/>
                <a:gd name="connsiteX6" fmla="*/ 634175 w 634202"/>
                <a:gd name="connsiteY6" fmla="*/ 1010073 h 1010164"/>
                <a:gd name="connsiteX7" fmla="*/ 431768 w 634202"/>
                <a:gd name="connsiteY7" fmla="*/ 1010073 h 1010164"/>
                <a:gd name="connsiteX8" fmla="*/ 431388 w 634202"/>
                <a:gd name="connsiteY8" fmla="*/ 562303 h 1010164"/>
                <a:gd name="connsiteX9" fmla="*/ 376333 w 634202"/>
                <a:gd name="connsiteY9" fmla="*/ 448575 h 1010164"/>
                <a:gd name="connsiteX10" fmla="*/ 203835 w 634202"/>
                <a:gd name="connsiteY10" fmla="*/ 533347 h 1010164"/>
                <a:gd name="connsiteX11" fmla="*/ 202788 w 634202"/>
                <a:gd name="connsiteY11" fmla="*/ 1010073 h 1010164"/>
                <a:gd name="connsiteX12" fmla="*/ 0 w 634202"/>
                <a:gd name="connsiteY12" fmla="*/ 1009597 h 1010164"/>
                <a:gd name="connsiteX13" fmla="*/ 381 w 634202"/>
                <a:gd name="connsiteY13" fmla="*/ 42 h 1010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4202" h="1010164">
                  <a:moveTo>
                    <a:pt x="381" y="42"/>
                  </a:moveTo>
                  <a:cubicBezTo>
                    <a:pt x="67819" y="-53"/>
                    <a:pt x="135255" y="42"/>
                    <a:pt x="202788" y="42"/>
                  </a:cubicBezTo>
                  <a:cubicBezTo>
                    <a:pt x="203835" y="139965"/>
                    <a:pt x="200597" y="280077"/>
                    <a:pt x="204502" y="419904"/>
                  </a:cubicBezTo>
                  <a:cubicBezTo>
                    <a:pt x="223933" y="385710"/>
                    <a:pt x="239363" y="347419"/>
                    <a:pt x="271558" y="322559"/>
                  </a:cubicBezTo>
                  <a:cubicBezTo>
                    <a:pt x="367856" y="244644"/>
                    <a:pt x="538544" y="265314"/>
                    <a:pt x="596265" y="381233"/>
                  </a:cubicBezTo>
                  <a:cubicBezTo>
                    <a:pt x="625888" y="436573"/>
                    <a:pt x="633794" y="500391"/>
                    <a:pt x="634175" y="562303"/>
                  </a:cubicBezTo>
                  <a:cubicBezTo>
                    <a:pt x="634270" y="711560"/>
                    <a:pt x="634079" y="860817"/>
                    <a:pt x="634175" y="1010073"/>
                  </a:cubicBezTo>
                  <a:lnTo>
                    <a:pt x="431768" y="1010073"/>
                  </a:lnTo>
                  <a:cubicBezTo>
                    <a:pt x="431483" y="860817"/>
                    <a:pt x="432245" y="711560"/>
                    <a:pt x="431388" y="562303"/>
                  </a:cubicBezTo>
                  <a:cubicBezTo>
                    <a:pt x="430340" y="519822"/>
                    <a:pt x="421005" y="466101"/>
                    <a:pt x="376333" y="448575"/>
                  </a:cubicBezTo>
                  <a:cubicBezTo>
                    <a:pt x="310801" y="425524"/>
                    <a:pt x="212408" y="455147"/>
                    <a:pt x="203835" y="533347"/>
                  </a:cubicBezTo>
                  <a:cubicBezTo>
                    <a:pt x="201359" y="692129"/>
                    <a:pt x="203454" y="851101"/>
                    <a:pt x="202788" y="1010073"/>
                  </a:cubicBezTo>
                  <a:cubicBezTo>
                    <a:pt x="135160" y="1009883"/>
                    <a:pt x="67533" y="1010645"/>
                    <a:pt x="0" y="1009597"/>
                  </a:cubicBezTo>
                  <a:cubicBezTo>
                    <a:pt x="858" y="673079"/>
                    <a:pt x="95" y="336561"/>
                    <a:pt x="381" y="42"/>
                  </a:cubicBezTo>
                  <a:close/>
                </a:path>
              </a:pathLst>
            </a:custGeom>
            <a:solidFill>
              <a:srgbClr val="000000"/>
            </a:solidFill>
            <a:ln w="9525" cap="flat">
              <a:noFill/>
              <a:prstDash val="solid"/>
              <a:miter/>
            </a:ln>
          </p:spPr>
          <p:txBody>
            <a:bodyPr rtlCol="0" anchor="ctr"/>
            <a:lstStyle/>
            <a:p>
              <a:endParaRPr lang="en-US" sz="900"/>
            </a:p>
          </p:txBody>
        </p:sp>
        <p:sp>
          <p:nvSpPr>
            <p:cNvPr id="29" name="Freeform: Shape 28">
              <a:extLst>
                <a:ext uri="{FF2B5EF4-FFF2-40B4-BE49-F238E27FC236}">
                  <a16:creationId xmlns:a16="http://schemas.microsoft.com/office/drawing/2014/main" id="{EB61EFE4-D8E6-B1E2-379D-12B26CE8F152}"/>
                </a:ext>
              </a:extLst>
            </p:cNvPr>
            <p:cNvSpPr/>
            <p:nvPr/>
          </p:nvSpPr>
          <p:spPr>
            <a:xfrm>
              <a:off x="6597650" y="8630030"/>
              <a:ext cx="382566" cy="952500"/>
            </a:xfrm>
            <a:custGeom>
              <a:avLst/>
              <a:gdLst>
                <a:gd name="connsiteX0" fmla="*/ 0 w 382566"/>
                <a:gd name="connsiteY0" fmla="*/ 0 h 952500"/>
                <a:gd name="connsiteX1" fmla="*/ 382524 w 382566"/>
                <a:gd name="connsiteY1" fmla="*/ 0 h 952500"/>
                <a:gd name="connsiteX2" fmla="*/ 382524 w 382566"/>
                <a:gd name="connsiteY2" fmla="*/ 95631 h 952500"/>
                <a:gd name="connsiteX3" fmla="*/ 248793 w 382566"/>
                <a:gd name="connsiteY3" fmla="*/ 95631 h 952500"/>
                <a:gd name="connsiteX4" fmla="*/ 248793 w 382566"/>
                <a:gd name="connsiteY4" fmla="*/ 856869 h 952500"/>
                <a:gd name="connsiteX5" fmla="*/ 382524 w 382566"/>
                <a:gd name="connsiteY5" fmla="*/ 856869 h 952500"/>
                <a:gd name="connsiteX6" fmla="*/ 382524 w 382566"/>
                <a:gd name="connsiteY6" fmla="*/ 952500 h 952500"/>
                <a:gd name="connsiteX7" fmla="*/ 0 w 382566"/>
                <a:gd name="connsiteY7" fmla="*/ 952500 h 952500"/>
                <a:gd name="connsiteX8" fmla="*/ 0 w 382566"/>
                <a:gd name="connsiteY8" fmla="*/ 856869 h 952500"/>
                <a:gd name="connsiteX9" fmla="*/ 133731 w 382566"/>
                <a:gd name="connsiteY9" fmla="*/ 856869 h 952500"/>
                <a:gd name="connsiteX10" fmla="*/ 133731 w 382566"/>
                <a:gd name="connsiteY10" fmla="*/ 95631 h 952500"/>
                <a:gd name="connsiteX11" fmla="*/ 0 w 382566"/>
                <a:gd name="connsiteY11" fmla="*/ 95631 h 952500"/>
                <a:gd name="connsiteX12" fmla="*/ 0 w 382566"/>
                <a:gd name="connsiteY12" fmla="*/ 0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2566" h="952500">
                  <a:moveTo>
                    <a:pt x="0" y="0"/>
                  </a:moveTo>
                  <a:lnTo>
                    <a:pt x="382524" y="0"/>
                  </a:lnTo>
                  <a:lnTo>
                    <a:pt x="382524" y="95631"/>
                  </a:lnTo>
                  <a:lnTo>
                    <a:pt x="248793" y="95631"/>
                  </a:lnTo>
                  <a:lnTo>
                    <a:pt x="248793" y="856869"/>
                  </a:lnTo>
                  <a:cubicBezTo>
                    <a:pt x="293370" y="856869"/>
                    <a:pt x="337947" y="856869"/>
                    <a:pt x="382524" y="856869"/>
                  </a:cubicBezTo>
                  <a:cubicBezTo>
                    <a:pt x="382524" y="888682"/>
                    <a:pt x="382619" y="920591"/>
                    <a:pt x="382524" y="952500"/>
                  </a:cubicBezTo>
                  <a:lnTo>
                    <a:pt x="0" y="952500"/>
                  </a:lnTo>
                  <a:cubicBezTo>
                    <a:pt x="0" y="920591"/>
                    <a:pt x="0" y="888682"/>
                    <a:pt x="0" y="856869"/>
                  </a:cubicBezTo>
                  <a:cubicBezTo>
                    <a:pt x="44577" y="856869"/>
                    <a:pt x="89154" y="856869"/>
                    <a:pt x="133731" y="856869"/>
                  </a:cubicBezTo>
                  <a:lnTo>
                    <a:pt x="133731" y="95631"/>
                  </a:lnTo>
                  <a:lnTo>
                    <a:pt x="0" y="95631"/>
                  </a:lnTo>
                  <a:cubicBezTo>
                    <a:pt x="0" y="63722"/>
                    <a:pt x="0" y="31909"/>
                    <a:pt x="0" y="0"/>
                  </a:cubicBezTo>
                  <a:close/>
                </a:path>
              </a:pathLst>
            </a:custGeom>
            <a:solidFill>
              <a:srgbClr val="000000"/>
            </a:solidFill>
            <a:ln w="9525" cap="flat">
              <a:noFill/>
              <a:prstDash val="solid"/>
              <a:miter/>
            </a:ln>
          </p:spPr>
          <p:txBody>
            <a:bodyPr rtlCol="0" anchor="ctr"/>
            <a:lstStyle/>
            <a:p>
              <a:endParaRPr lang="en-US" sz="900"/>
            </a:p>
          </p:txBody>
        </p:sp>
        <p:sp>
          <p:nvSpPr>
            <p:cNvPr id="30" name="Freeform: Shape 29">
              <a:extLst>
                <a:ext uri="{FF2B5EF4-FFF2-40B4-BE49-F238E27FC236}">
                  <a16:creationId xmlns:a16="http://schemas.microsoft.com/office/drawing/2014/main" id="{EB4E91B9-0A97-3141-A66A-E824B4E354B8}"/>
                </a:ext>
              </a:extLst>
            </p:cNvPr>
            <p:cNvSpPr/>
            <p:nvPr/>
          </p:nvSpPr>
          <p:spPr>
            <a:xfrm>
              <a:off x="7188676" y="8629948"/>
              <a:ext cx="678881" cy="952722"/>
            </a:xfrm>
            <a:custGeom>
              <a:avLst/>
              <a:gdLst>
                <a:gd name="connsiteX0" fmla="*/ 0 w 678881"/>
                <a:gd name="connsiteY0" fmla="*/ 83 h 952722"/>
                <a:gd name="connsiteX1" fmla="*/ 409956 w 678881"/>
                <a:gd name="connsiteY1" fmla="*/ 464 h 952722"/>
                <a:gd name="connsiteX2" fmla="*/ 622554 w 678881"/>
                <a:gd name="connsiteY2" fmla="*/ 130575 h 952722"/>
                <a:gd name="connsiteX3" fmla="*/ 607886 w 678881"/>
                <a:gd name="connsiteY3" fmla="*/ 378130 h 952722"/>
                <a:gd name="connsiteX4" fmla="*/ 486347 w 678881"/>
                <a:gd name="connsiteY4" fmla="*/ 452711 h 952722"/>
                <a:gd name="connsiteX5" fmla="*/ 662940 w 678881"/>
                <a:gd name="connsiteY5" fmla="*/ 585394 h 952722"/>
                <a:gd name="connsiteX6" fmla="*/ 543878 w 678881"/>
                <a:gd name="connsiteY6" fmla="*/ 925246 h 952722"/>
                <a:gd name="connsiteX7" fmla="*/ 428530 w 678881"/>
                <a:gd name="connsiteY7" fmla="*/ 952678 h 952722"/>
                <a:gd name="connsiteX8" fmla="*/ 0 w 678881"/>
                <a:gd name="connsiteY8" fmla="*/ 952583 h 952722"/>
                <a:gd name="connsiteX9" fmla="*/ 0 w 678881"/>
                <a:gd name="connsiteY9" fmla="*/ 83 h 952722"/>
                <a:gd name="connsiteX10" fmla="*/ 115062 w 678881"/>
                <a:gd name="connsiteY10" fmla="*/ 101238 h 952722"/>
                <a:gd name="connsiteX11" fmla="*/ 115062 w 678881"/>
                <a:gd name="connsiteY11" fmla="*/ 412039 h 952722"/>
                <a:gd name="connsiteX12" fmla="*/ 400050 w 678881"/>
                <a:gd name="connsiteY12" fmla="*/ 410896 h 952722"/>
                <a:gd name="connsiteX13" fmla="*/ 519398 w 678881"/>
                <a:gd name="connsiteY13" fmla="*/ 313646 h 952722"/>
                <a:gd name="connsiteX14" fmla="*/ 513969 w 678881"/>
                <a:gd name="connsiteY14" fmla="*/ 180391 h 952722"/>
                <a:gd name="connsiteX15" fmla="*/ 389858 w 678881"/>
                <a:gd name="connsiteY15" fmla="*/ 101715 h 952722"/>
                <a:gd name="connsiteX16" fmla="*/ 115062 w 678881"/>
                <a:gd name="connsiteY16" fmla="*/ 101238 h 952722"/>
                <a:gd name="connsiteX17" fmla="*/ 115062 w 678881"/>
                <a:gd name="connsiteY17" fmla="*/ 510432 h 952722"/>
                <a:gd name="connsiteX18" fmla="*/ 115062 w 678881"/>
                <a:gd name="connsiteY18" fmla="*/ 851427 h 952722"/>
                <a:gd name="connsiteX19" fmla="*/ 400526 w 678881"/>
                <a:gd name="connsiteY19" fmla="*/ 851332 h 952722"/>
                <a:gd name="connsiteX20" fmla="*/ 520637 w 678881"/>
                <a:gd name="connsiteY20" fmla="*/ 805993 h 952722"/>
                <a:gd name="connsiteX21" fmla="*/ 555498 w 678881"/>
                <a:gd name="connsiteY21" fmla="*/ 705314 h 952722"/>
                <a:gd name="connsiteX22" fmla="*/ 529304 w 678881"/>
                <a:gd name="connsiteY22" fmla="*/ 566535 h 952722"/>
                <a:gd name="connsiteX23" fmla="*/ 400241 w 678881"/>
                <a:gd name="connsiteY23" fmla="*/ 510623 h 952722"/>
                <a:gd name="connsiteX24" fmla="*/ 115062 w 678881"/>
                <a:gd name="connsiteY24" fmla="*/ 510432 h 952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8881" h="952722">
                  <a:moveTo>
                    <a:pt x="0" y="83"/>
                  </a:moveTo>
                  <a:cubicBezTo>
                    <a:pt x="136684" y="369"/>
                    <a:pt x="273272" y="-489"/>
                    <a:pt x="409956" y="464"/>
                  </a:cubicBezTo>
                  <a:cubicBezTo>
                    <a:pt x="497015" y="1893"/>
                    <a:pt x="586931" y="48279"/>
                    <a:pt x="622554" y="130575"/>
                  </a:cubicBezTo>
                  <a:cubicBezTo>
                    <a:pt x="655701" y="208490"/>
                    <a:pt x="657416" y="306693"/>
                    <a:pt x="607886" y="378130"/>
                  </a:cubicBezTo>
                  <a:cubicBezTo>
                    <a:pt x="580073" y="419850"/>
                    <a:pt x="532067" y="438328"/>
                    <a:pt x="486347" y="452711"/>
                  </a:cubicBezTo>
                  <a:cubicBezTo>
                    <a:pt x="563213" y="461950"/>
                    <a:pt x="636365" y="510909"/>
                    <a:pt x="662940" y="585394"/>
                  </a:cubicBezTo>
                  <a:cubicBezTo>
                    <a:pt x="705898" y="706743"/>
                    <a:pt x="660654" y="862191"/>
                    <a:pt x="543878" y="925246"/>
                  </a:cubicBezTo>
                  <a:cubicBezTo>
                    <a:pt x="508730" y="944391"/>
                    <a:pt x="468440" y="953440"/>
                    <a:pt x="428530" y="952678"/>
                  </a:cubicBezTo>
                  <a:cubicBezTo>
                    <a:pt x="285655" y="952488"/>
                    <a:pt x="142875" y="952583"/>
                    <a:pt x="0" y="952583"/>
                  </a:cubicBezTo>
                  <a:lnTo>
                    <a:pt x="0" y="83"/>
                  </a:lnTo>
                  <a:moveTo>
                    <a:pt x="115062" y="101238"/>
                  </a:moveTo>
                  <a:lnTo>
                    <a:pt x="115062" y="412039"/>
                  </a:lnTo>
                  <a:cubicBezTo>
                    <a:pt x="210026" y="411277"/>
                    <a:pt x="305086" y="413658"/>
                    <a:pt x="400050" y="410896"/>
                  </a:cubicBezTo>
                  <a:cubicBezTo>
                    <a:pt x="455486" y="408896"/>
                    <a:pt x="510540" y="370605"/>
                    <a:pt x="519398" y="313646"/>
                  </a:cubicBezTo>
                  <a:cubicBezTo>
                    <a:pt x="523875" y="269640"/>
                    <a:pt x="527495" y="223158"/>
                    <a:pt x="513969" y="180391"/>
                  </a:cubicBezTo>
                  <a:cubicBezTo>
                    <a:pt x="496919" y="128956"/>
                    <a:pt x="441293" y="102000"/>
                    <a:pt x="389858" y="101715"/>
                  </a:cubicBezTo>
                  <a:cubicBezTo>
                    <a:pt x="298228" y="100572"/>
                    <a:pt x="206693" y="101715"/>
                    <a:pt x="115062" y="101238"/>
                  </a:cubicBezTo>
                  <a:moveTo>
                    <a:pt x="115062" y="510432"/>
                  </a:moveTo>
                  <a:lnTo>
                    <a:pt x="115062" y="851427"/>
                  </a:lnTo>
                  <a:cubicBezTo>
                    <a:pt x="210217" y="851332"/>
                    <a:pt x="305372" y="851523"/>
                    <a:pt x="400526" y="851332"/>
                  </a:cubicBezTo>
                  <a:cubicBezTo>
                    <a:pt x="443960" y="851046"/>
                    <a:pt x="490538" y="839235"/>
                    <a:pt x="520637" y="805993"/>
                  </a:cubicBezTo>
                  <a:cubicBezTo>
                    <a:pt x="545878" y="779133"/>
                    <a:pt x="555212" y="741318"/>
                    <a:pt x="555498" y="705314"/>
                  </a:cubicBezTo>
                  <a:cubicBezTo>
                    <a:pt x="556355" y="658356"/>
                    <a:pt x="558832" y="606349"/>
                    <a:pt x="529304" y="566535"/>
                  </a:cubicBezTo>
                  <a:cubicBezTo>
                    <a:pt x="500348" y="525768"/>
                    <a:pt x="448056" y="510718"/>
                    <a:pt x="400241" y="510623"/>
                  </a:cubicBezTo>
                  <a:cubicBezTo>
                    <a:pt x="305181" y="510147"/>
                    <a:pt x="210122" y="510623"/>
                    <a:pt x="115062" y="510432"/>
                  </a:cubicBezTo>
                  <a:close/>
                </a:path>
              </a:pathLst>
            </a:custGeom>
            <a:solidFill>
              <a:srgbClr val="000000"/>
            </a:solidFill>
            <a:ln w="9525" cap="flat">
              <a:noFill/>
              <a:prstDash val="solid"/>
              <a:miter/>
            </a:ln>
          </p:spPr>
          <p:txBody>
            <a:bodyPr rtlCol="0" anchor="ctr"/>
            <a:lstStyle/>
            <a:p>
              <a:endParaRPr lang="en-US" sz="900"/>
            </a:p>
          </p:txBody>
        </p:sp>
        <p:sp>
          <p:nvSpPr>
            <p:cNvPr id="31" name="Freeform: Shape 30">
              <a:extLst>
                <a:ext uri="{FF2B5EF4-FFF2-40B4-BE49-F238E27FC236}">
                  <a16:creationId xmlns:a16="http://schemas.microsoft.com/office/drawing/2014/main" id="{DAC6552B-CC29-F330-6668-3C653EA3A00C}"/>
                </a:ext>
              </a:extLst>
            </p:cNvPr>
            <p:cNvSpPr/>
            <p:nvPr/>
          </p:nvSpPr>
          <p:spPr>
            <a:xfrm>
              <a:off x="8079644" y="8629935"/>
              <a:ext cx="854868" cy="952499"/>
            </a:xfrm>
            <a:custGeom>
              <a:avLst/>
              <a:gdLst>
                <a:gd name="connsiteX0" fmla="*/ 0 w 854868"/>
                <a:gd name="connsiteY0" fmla="*/ 95 h 952499"/>
                <a:gd name="connsiteX1" fmla="*/ 153734 w 854868"/>
                <a:gd name="connsiteY1" fmla="*/ 95 h 952499"/>
                <a:gd name="connsiteX2" fmla="*/ 430530 w 854868"/>
                <a:gd name="connsiteY2" fmla="*/ 516827 h 952499"/>
                <a:gd name="connsiteX3" fmla="*/ 706946 w 854868"/>
                <a:gd name="connsiteY3" fmla="*/ 0 h 952499"/>
                <a:gd name="connsiteX4" fmla="*/ 854869 w 854868"/>
                <a:gd name="connsiteY4" fmla="*/ 0 h 952499"/>
                <a:gd name="connsiteX5" fmla="*/ 854869 w 854868"/>
                <a:gd name="connsiteY5" fmla="*/ 952500 h 952499"/>
                <a:gd name="connsiteX6" fmla="*/ 742569 w 854868"/>
                <a:gd name="connsiteY6" fmla="*/ 952500 h 952499"/>
                <a:gd name="connsiteX7" fmla="*/ 741521 w 854868"/>
                <a:gd name="connsiteY7" fmla="*/ 146780 h 952499"/>
                <a:gd name="connsiteX8" fmla="*/ 707422 w 854868"/>
                <a:gd name="connsiteY8" fmla="*/ 207074 h 952499"/>
                <a:gd name="connsiteX9" fmla="*/ 427577 w 854868"/>
                <a:gd name="connsiteY9" fmla="*/ 725138 h 952499"/>
                <a:gd name="connsiteX10" fmla="*/ 193262 w 854868"/>
                <a:gd name="connsiteY10" fmla="*/ 297752 h 952499"/>
                <a:gd name="connsiteX11" fmla="*/ 113348 w 854868"/>
                <a:gd name="connsiteY11" fmla="*/ 146209 h 952499"/>
                <a:gd name="connsiteX12" fmla="*/ 112300 w 854868"/>
                <a:gd name="connsiteY12" fmla="*/ 952500 h 952499"/>
                <a:gd name="connsiteX13" fmla="*/ 0 w 854868"/>
                <a:gd name="connsiteY13" fmla="*/ 952500 h 952499"/>
                <a:gd name="connsiteX14" fmla="*/ 0 w 854868"/>
                <a:gd name="connsiteY14" fmla="*/ 95 h 952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54868" h="952499">
                  <a:moveTo>
                    <a:pt x="0" y="95"/>
                  </a:moveTo>
                  <a:cubicBezTo>
                    <a:pt x="51245" y="95"/>
                    <a:pt x="102489" y="95"/>
                    <a:pt x="153734" y="95"/>
                  </a:cubicBezTo>
                  <a:cubicBezTo>
                    <a:pt x="246221" y="172212"/>
                    <a:pt x="335090" y="346424"/>
                    <a:pt x="430530" y="516827"/>
                  </a:cubicBezTo>
                  <a:cubicBezTo>
                    <a:pt x="522923" y="344615"/>
                    <a:pt x="614744" y="172212"/>
                    <a:pt x="706946" y="0"/>
                  </a:cubicBezTo>
                  <a:lnTo>
                    <a:pt x="854869" y="0"/>
                  </a:lnTo>
                  <a:lnTo>
                    <a:pt x="854869" y="952500"/>
                  </a:lnTo>
                  <a:lnTo>
                    <a:pt x="742569" y="952500"/>
                  </a:lnTo>
                  <a:cubicBezTo>
                    <a:pt x="741902" y="683895"/>
                    <a:pt x="743998" y="415290"/>
                    <a:pt x="741521" y="146780"/>
                  </a:cubicBezTo>
                  <a:cubicBezTo>
                    <a:pt x="726948" y="164973"/>
                    <a:pt x="717613" y="186404"/>
                    <a:pt x="707422" y="207074"/>
                  </a:cubicBezTo>
                  <a:cubicBezTo>
                    <a:pt x="619982" y="382810"/>
                    <a:pt x="520541" y="552260"/>
                    <a:pt x="427577" y="725138"/>
                  </a:cubicBezTo>
                  <a:cubicBezTo>
                    <a:pt x="349472" y="582644"/>
                    <a:pt x="270510" y="440722"/>
                    <a:pt x="193262" y="297752"/>
                  </a:cubicBezTo>
                  <a:cubicBezTo>
                    <a:pt x="165830" y="247650"/>
                    <a:pt x="145161" y="193739"/>
                    <a:pt x="113348" y="146209"/>
                  </a:cubicBezTo>
                  <a:cubicBezTo>
                    <a:pt x="110966" y="415004"/>
                    <a:pt x="112967" y="683705"/>
                    <a:pt x="112300" y="952500"/>
                  </a:cubicBezTo>
                  <a:lnTo>
                    <a:pt x="0" y="952500"/>
                  </a:lnTo>
                  <a:lnTo>
                    <a:pt x="0" y="95"/>
                  </a:lnTo>
                  <a:close/>
                </a:path>
              </a:pathLst>
            </a:custGeom>
            <a:solidFill>
              <a:srgbClr val="000000"/>
            </a:solidFill>
            <a:ln w="9525" cap="flat">
              <a:noFill/>
              <a:prstDash val="solid"/>
              <a:miter/>
            </a:ln>
          </p:spPr>
          <p:txBody>
            <a:bodyPr rtlCol="0" anchor="ctr"/>
            <a:lstStyle/>
            <a:p>
              <a:endParaRPr lang="en-US" sz="900"/>
            </a:p>
          </p:txBody>
        </p:sp>
        <p:sp>
          <p:nvSpPr>
            <p:cNvPr id="32" name="Freeform: Shape 31">
              <a:extLst>
                <a:ext uri="{FF2B5EF4-FFF2-40B4-BE49-F238E27FC236}">
                  <a16:creationId xmlns:a16="http://schemas.microsoft.com/office/drawing/2014/main" id="{19266CF2-A3CF-C8D9-7BB9-06D2E42E9729}"/>
                </a:ext>
              </a:extLst>
            </p:cNvPr>
            <p:cNvSpPr/>
            <p:nvPr/>
          </p:nvSpPr>
          <p:spPr>
            <a:xfrm>
              <a:off x="9365138" y="8630030"/>
              <a:ext cx="723900" cy="952500"/>
            </a:xfrm>
            <a:custGeom>
              <a:avLst/>
              <a:gdLst>
                <a:gd name="connsiteX0" fmla="*/ 0 w 723900"/>
                <a:gd name="connsiteY0" fmla="*/ 0 h 952500"/>
                <a:gd name="connsiteX1" fmla="*/ 723900 w 723900"/>
                <a:gd name="connsiteY1" fmla="*/ 0 h 952500"/>
                <a:gd name="connsiteX2" fmla="*/ 723900 w 723900"/>
                <a:gd name="connsiteY2" fmla="*/ 184595 h 952500"/>
                <a:gd name="connsiteX3" fmla="*/ 465963 w 723900"/>
                <a:gd name="connsiteY3" fmla="*/ 184499 h 952500"/>
                <a:gd name="connsiteX4" fmla="*/ 465963 w 723900"/>
                <a:gd name="connsiteY4" fmla="*/ 952500 h 952500"/>
                <a:gd name="connsiteX5" fmla="*/ 257937 w 723900"/>
                <a:gd name="connsiteY5" fmla="*/ 952500 h 952500"/>
                <a:gd name="connsiteX6" fmla="*/ 257937 w 723900"/>
                <a:gd name="connsiteY6" fmla="*/ 184595 h 952500"/>
                <a:gd name="connsiteX7" fmla="*/ 0 w 723900"/>
                <a:gd name="connsiteY7" fmla="*/ 184595 h 952500"/>
                <a:gd name="connsiteX8" fmla="*/ 0 w 723900"/>
                <a:gd name="connsiteY8" fmla="*/ 0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3900" h="952500">
                  <a:moveTo>
                    <a:pt x="0" y="0"/>
                  </a:moveTo>
                  <a:lnTo>
                    <a:pt x="723900" y="0"/>
                  </a:lnTo>
                  <a:lnTo>
                    <a:pt x="723900" y="184595"/>
                  </a:lnTo>
                  <a:cubicBezTo>
                    <a:pt x="637889" y="184595"/>
                    <a:pt x="551879" y="184595"/>
                    <a:pt x="465963" y="184499"/>
                  </a:cubicBezTo>
                  <a:cubicBezTo>
                    <a:pt x="465868" y="440531"/>
                    <a:pt x="465963" y="696468"/>
                    <a:pt x="465963" y="952500"/>
                  </a:cubicBezTo>
                  <a:lnTo>
                    <a:pt x="257937" y="952500"/>
                  </a:lnTo>
                  <a:lnTo>
                    <a:pt x="257937" y="184595"/>
                  </a:lnTo>
                  <a:cubicBezTo>
                    <a:pt x="172021" y="184499"/>
                    <a:pt x="86011" y="184595"/>
                    <a:pt x="0" y="184595"/>
                  </a:cubicBezTo>
                  <a:lnTo>
                    <a:pt x="0" y="0"/>
                  </a:lnTo>
                  <a:close/>
                </a:path>
              </a:pathLst>
            </a:custGeom>
            <a:solidFill>
              <a:srgbClr val="000000"/>
            </a:solidFill>
            <a:ln w="9525" cap="flat">
              <a:noFill/>
              <a:prstDash val="solid"/>
              <a:miter/>
            </a:ln>
          </p:spPr>
          <p:txBody>
            <a:bodyPr rtlCol="0" anchor="ctr"/>
            <a:lstStyle/>
            <a:p>
              <a:endParaRPr lang="en-US" sz="900"/>
            </a:p>
          </p:txBody>
        </p:sp>
        <p:sp>
          <p:nvSpPr>
            <p:cNvPr id="33" name="Freeform: Shape 32">
              <a:extLst>
                <a:ext uri="{FF2B5EF4-FFF2-40B4-BE49-F238E27FC236}">
                  <a16:creationId xmlns:a16="http://schemas.microsoft.com/office/drawing/2014/main" id="{F944B8FF-4796-89E0-ECF1-D2DAE08721F7}"/>
                </a:ext>
              </a:extLst>
            </p:cNvPr>
            <p:cNvSpPr/>
            <p:nvPr/>
          </p:nvSpPr>
          <p:spPr>
            <a:xfrm>
              <a:off x="12344082" y="8630030"/>
              <a:ext cx="875252" cy="952622"/>
            </a:xfrm>
            <a:custGeom>
              <a:avLst/>
              <a:gdLst>
                <a:gd name="connsiteX0" fmla="*/ 14954 w 875252"/>
                <a:gd name="connsiteY0" fmla="*/ 0 h 952622"/>
                <a:gd name="connsiteX1" fmla="*/ 257080 w 875252"/>
                <a:gd name="connsiteY1" fmla="*/ 0 h 952622"/>
                <a:gd name="connsiteX2" fmla="*/ 444627 w 875252"/>
                <a:gd name="connsiteY2" fmla="*/ 324612 h 952622"/>
                <a:gd name="connsiteX3" fmla="*/ 634555 w 875252"/>
                <a:gd name="connsiteY3" fmla="*/ 95 h 952622"/>
                <a:gd name="connsiteX4" fmla="*/ 858869 w 875252"/>
                <a:gd name="connsiteY4" fmla="*/ 95 h 952622"/>
                <a:gd name="connsiteX5" fmla="*/ 565499 w 875252"/>
                <a:gd name="connsiteY5" fmla="*/ 464058 h 952622"/>
                <a:gd name="connsiteX6" fmla="*/ 875252 w 875252"/>
                <a:gd name="connsiteY6" fmla="*/ 952595 h 952622"/>
                <a:gd name="connsiteX7" fmla="*/ 634555 w 875252"/>
                <a:gd name="connsiteY7" fmla="*/ 952595 h 952622"/>
                <a:gd name="connsiteX8" fmla="*/ 426625 w 875252"/>
                <a:gd name="connsiteY8" fmla="*/ 599504 h 952622"/>
                <a:gd name="connsiteX9" fmla="*/ 224314 w 875252"/>
                <a:gd name="connsiteY9" fmla="*/ 952595 h 952622"/>
                <a:gd name="connsiteX10" fmla="*/ 0 w 875252"/>
                <a:gd name="connsiteY10" fmla="*/ 952595 h 952622"/>
                <a:gd name="connsiteX11" fmla="*/ 305562 w 875252"/>
                <a:gd name="connsiteY11" fmla="*/ 459867 h 952622"/>
                <a:gd name="connsiteX12" fmla="*/ 14954 w 875252"/>
                <a:gd name="connsiteY12" fmla="*/ 95 h 952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75252" h="952622">
                  <a:moveTo>
                    <a:pt x="14954" y="0"/>
                  </a:moveTo>
                  <a:cubicBezTo>
                    <a:pt x="95631" y="0"/>
                    <a:pt x="176308" y="0"/>
                    <a:pt x="257080" y="0"/>
                  </a:cubicBezTo>
                  <a:cubicBezTo>
                    <a:pt x="319754" y="108109"/>
                    <a:pt x="381381" y="216789"/>
                    <a:pt x="444627" y="324612"/>
                  </a:cubicBezTo>
                  <a:cubicBezTo>
                    <a:pt x="508064" y="216503"/>
                    <a:pt x="571119" y="108204"/>
                    <a:pt x="634555" y="95"/>
                  </a:cubicBezTo>
                  <a:lnTo>
                    <a:pt x="858869" y="95"/>
                  </a:lnTo>
                  <a:cubicBezTo>
                    <a:pt x="761143" y="154781"/>
                    <a:pt x="663321" y="309372"/>
                    <a:pt x="565499" y="464058"/>
                  </a:cubicBezTo>
                  <a:cubicBezTo>
                    <a:pt x="668750" y="626840"/>
                    <a:pt x="772001" y="789718"/>
                    <a:pt x="875252" y="952595"/>
                  </a:cubicBezTo>
                  <a:cubicBezTo>
                    <a:pt x="795052" y="952691"/>
                    <a:pt x="714756" y="952500"/>
                    <a:pt x="634555" y="952595"/>
                  </a:cubicBezTo>
                  <a:cubicBezTo>
                    <a:pt x="565118" y="834962"/>
                    <a:pt x="496538" y="716852"/>
                    <a:pt x="426625" y="599504"/>
                  </a:cubicBezTo>
                  <a:cubicBezTo>
                    <a:pt x="358807" y="716947"/>
                    <a:pt x="291846" y="834962"/>
                    <a:pt x="224314" y="952595"/>
                  </a:cubicBezTo>
                  <a:lnTo>
                    <a:pt x="0" y="952595"/>
                  </a:lnTo>
                  <a:cubicBezTo>
                    <a:pt x="101822" y="788289"/>
                    <a:pt x="203740" y="624173"/>
                    <a:pt x="305562" y="459867"/>
                  </a:cubicBezTo>
                  <a:cubicBezTo>
                    <a:pt x="208693" y="306705"/>
                    <a:pt x="111823" y="153353"/>
                    <a:pt x="14954" y="95"/>
                  </a:cubicBezTo>
                  <a:close/>
                </a:path>
              </a:pathLst>
            </a:custGeom>
            <a:solidFill>
              <a:srgbClr val="000000"/>
            </a:solidFill>
            <a:ln w="9525" cap="flat">
              <a:noFill/>
              <a:prstDash val="solid"/>
              <a:miter/>
            </a:ln>
          </p:spPr>
          <p:txBody>
            <a:bodyPr rtlCol="0" anchor="ctr"/>
            <a:lstStyle/>
            <a:p>
              <a:endParaRPr lang="en-US" sz="900"/>
            </a:p>
          </p:txBody>
        </p:sp>
        <p:sp>
          <p:nvSpPr>
            <p:cNvPr id="34" name="Freeform: Shape 33">
              <a:extLst>
                <a:ext uri="{FF2B5EF4-FFF2-40B4-BE49-F238E27FC236}">
                  <a16:creationId xmlns:a16="http://schemas.microsoft.com/office/drawing/2014/main" id="{42DF0011-F527-8047-800F-7E155446FCD6}"/>
                </a:ext>
              </a:extLst>
            </p:cNvPr>
            <p:cNvSpPr/>
            <p:nvPr/>
          </p:nvSpPr>
          <p:spPr>
            <a:xfrm>
              <a:off x="16351421" y="8727139"/>
              <a:ext cx="728351" cy="1144977"/>
            </a:xfrm>
            <a:custGeom>
              <a:avLst/>
              <a:gdLst>
                <a:gd name="connsiteX0" fmla="*/ 509416 w 728351"/>
                <a:gd name="connsiteY0" fmla="*/ 14429 h 1144977"/>
                <a:gd name="connsiteX1" fmla="*/ 685629 w 728351"/>
                <a:gd name="connsiteY1" fmla="*/ 904 h 1144977"/>
                <a:gd name="connsiteX2" fmla="*/ 685724 w 728351"/>
                <a:gd name="connsiteY2" fmla="*/ 151304 h 1144977"/>
                <a:gd name="connsiteX3" fmla="*/ 522275 w 728351"/>
                <a:gd name="connsiteY3" fmla="*/ 152542 h 1144977"/>
                <a:gd name="connsiteX4" fmla="*/ 628097 w 728351"/>
                <a:gd name="connsiteY4" fmla="*/ 257031 h 1144977"/>
                <a:gd name="connsiteX5" fmla="*/ 595141 w 728351"/>
                <a:gd name="connsiteY5" fmla="*/ 517730 h 1144977"/>
                <a:gd name="connsiteX6" fmla="*/ 424834 w 728351"/>
                <a:gd name="connsiteY6" fmla="*/ 596312 h 1144977"/>
                <a:gd name="connsiteX7" fmla="*/ 215093 w 728351"/>
                <a:gd name="connsiteY7" fmla="*/ 586406 h 1144977"/>
                <a:gd name="connsiteX8" fmla="*/ 207664 w 728351"/>
                <a:gd name="connsiteY8" fmla="*/ 685561 h 1144977"/>
                <a:gd name="connsiteX9" fmla="*/ 352254 w 728351"/>
                <a:gd name="connsiteY9" fmla="*/ 698229 h 1144977"/>
                <a:gd name="connsiteX10" fmla="*/ 619430 w 728351"/>
                <a:gd name="connsiteY10" fmla="*/ 722327 h 1144977"/>
                <a:gd name="connsiteX11" fmla="*/ 722490 w 728351"/>
                <a:gd name="connsiteY11" fmla="*/ 848248 h 1144977"/>
                <a:gd name="connsiteX12" fmla="*/ 671818 w 728351"/>
                <a:gd name="connsiteY12" fmla="*/ 1060560 h 1144977"/>
                <a:gd name="connsiteX13" fmla="*/ 458933 w 728351"/>
                <a:gd name="connsiteY13" fmla="*/ 1139237 h 1144977"/>
                <a:gd name="connsiteX14" fmla="*/ 192615 w 728351"/>
                <a:gd name="connsiteY14" fmla="*/ 1135141 h 1144977"/>
                <a:gd name="connsiteX15" fmla="*/ 44406 w 728351"/>
                <a:gd name="connsiteY15" fmla="*/ 1078372 h 1144977"/>
                <a:gd name="connsiteX16" fmla="*/ 53168 w 728351"/>
                <a:gd name="connsiteY16" fmla="*/ 870060 h 1144977"/>
                <a:gd name="connsiteX17" fmla="*/ 132893 w 728351"/>
                <a:gd name="connsiteY17" fmla="*/ 840533 h 1144977"/>
                <a:gd name="connsiteX18" fmla="*/ 133845 w 728351"/>
                <a:gd name="connsiteY18" fmla="*/ 828817 h 1144977"/>
                <a:gd name="connsiteX19" fmla="*/ 74886 w 728351"/>
                <a:gd name="connsiteY19" fmla="*/ 800909 h 1144977"/>
                <a:gd name="connsiteX20" fmla="*/ 62407 w 728351"/>
                <a:gd name="connsiteY20" fmla="*/ 623458 h 1144977"/>
                <a:gd name="connsiteX21" fmla="*/ 167373 w 728351"/>
                <a:gd name="connsiteY21" fmla="*/ 571451 h 1144977"/>
                <a:gd name="connsiteX22" fmla="*/ 48883 w 728351"/>
                <a:gd name="connsiteY22" fmla="*/ 446293 h 1144977"/>
                <a:gd name="connsiteX23" fmla="*/ 89078 w 728351"/>
                <a:gd name="connsiteY23" fmla="*/ 211311 h 1144977"/>
                <a:gd name="connsiteX24" fmla="*/ 259099 w 728351"/>
                <a:gd name="connsiteY24" fmla="*/ 128444 h 1144977"/>
                <a:gd name="connsiteX25" fmla="*/ 463982 w 728351"/>
                <a:gd name="connsiteY25" fmla="*/ 135397 h 1144977"/>
                <a:gd name="connsiteX26" fmla="*/ 509416 w 728351"/>
                <a:gd name="connsiteY26" fmla="*/ 14429 h 1144977"/>
                <a:gd name="connsiteX27" fmla="*/ 299866 w 728351"/>
                <a:gd name="connsiteY27" fmla="*/ 260841 h 1144977"/>
                <a:gd name="connsiteX28" fmla="*/ 226714 w 728351"/>
                <a:gd name="connsiteY28" fmla="*/ 331612 h 1144977"/>
                <a:gd name="connsiteX29" fmla="*/ 251860 w 728351"/>
                <a:gd name="connsiteY29" fmla="*/ 441245 h 1144977"/>
                <a:gd name="connsiteX30" fmla="*/ 381210 w 728351"/>
                <a:gd name="connsiteY30" fmla="*/ 465724 h 1144977"/>
                <a:gd name="connsiteX31" fmla="*/ 458838 w 728351"/>
                <a:gd name="connsiteY31" fmla="*/ 397906 h 1144977"/>
                <a:gd name="connsiteX32" fmla="*/ 431216 w 728351"/>
                <a:gd name="connsiteY32" fmla="*/ 281320 h 1144977"/>
                <a:gd name="connsiteX33" fmla="*/ 299866 w 728351"/>
                <a:gd name="connsiteY33" fmla="*/ 260841 h 1144977"/>
                <a:gd name="connsiteX34" fmla="*/ 182613 w 728351"/>
                <a:gd name="connsiteY34" fmla="*/ 987218 h 1144977"/>
                <a:gd name="connsiteX35" fmla="*/ 343872 w 728351"/>
                <a:gd name="connsiteY35" fmla="*/ 1010554 h 1144977"/>
                <a:gd name="connsiteX36" fmla="*/ 507321 w 728351"/>
                <a:gd name="connsiteY36" fmla="*/ 990170 h 1144977"/>
                <a:gd name="connsiteX37" fmla="*/ 517321 w 728351"/>
                <a:gd name="connsiteY37" fmla="*/ 890158 h 1144977"/>
                <a:gd name="connsiteX38" fmla="*/ 428644 w 728351"/>
                <a:gd name="connsiteY38" fmla="*/ 870536 h 1144977"/>
                <a:gd name="connsiteX39" fmla="*/ 180994 w 728351"/>
                <a:gd name="connsiteY39" fmla="*/ 870155 h 1144977"/>
                <a:gd name="connsiteX40" fmla="*/ 182613 w 728351"/>
                <a:gd name="connsiteY40" fmla="*/ 987218 h 1144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28351" h="1144977">
                  <a:moveTo>
                    <a:pt x="509416" y="14429"/>
                  </a:moveTo>
                  <a:cubicBezTo>
                    <a:pt x="564471" y="-10431"/>
                    <a:pt x="627240" y="5381"/>
                    <a:pt x="685629" y="904"/>
                  </a:cubicBezTo>
                  <a:cubicBezTo>
                    <a:pt x="685629" y="51005"/>
                    <a:pt x="685629" y="101202"/>
                    <a:pt x="685724" y="151304"/>
                  </a:cubicBezTo>
                  <a:cubicBezTo>
                    <a:pt x="631146" y="151875"/>
                    <a:pt x="576663" y="150065"/>
                    <a:pt x="522275" y="152542"/>
                  </a:cubicBezTo>
                  <a:cubicBezTo>
                    <a:pt x="564185" y="179498"/>
                    <a:pt x="607809" y="209311"/>
                    <a:pt x="628097" y="257031"/>
                  </a:cubicBezTo>
                  <a:cubicBezTo>
                    <a:pt x="665245" y="340280"/>
                    <a:pt x="658673" y="448769"/>
                    <a:pt x="595141" y="517730"/>
                  </a:cubicBezTo>
                  <a:cubicBezTo>
                    <a:pt x="551136" y="564879"/>
                    <a:pt x="487223" y="587168"/>
                    <a:pt x="424834" y="596312"/>
                  </a:cubicBezTo>
                  <a:cubicBezTo>
                    <a:pt x="355112" y="605551"/>
                    <a:pt x="283388" y="603932"/>
                    <a:pt x="215093" y="586406"/>
                  </a:cubicBezTo>
                  <a:cubicBezTo>
                    <a:pt x="183757" y="608123"/>
                    <a:pt x="170231" y="663177"/>
                    <a:pt x="207664" y="685561"/>
                  </a:cubicBezTo>
                  <a:cubicBezTo>
                    <a:pt x="252527" y="707087"/>
                    <a:pt x="304247" y="695181"/>
                    <a:pt x="352254" y="698229"/>
                  </a:cubicBezTo>
                  <a:cubicBezTo>
                    <a:pt x="441312" y="701277"/>
                    <a:pt x="534848" y="687085"/>
                    <a:pt x="619430" y="722327"/>
                  </a:cubicBezTo>
                  <a:cubicBezTo>
                    <a:pt x="672484" y="743282"/>
                    <a:pt x="712108" y="792241"/>
                    <a:pt x="722490" y="848248"/>
                  </a:cubicBezTo>
                  <a:cubicBezTo>
                    <a:pt x="736301" y="921019"/>
                    <a:pt x="728110" y="1006744"/>
                    <a:pt x="671818" y="1060560"/>
                  </a:cubicBezTo>
                  <a:cubicBezTo>
                    <a:pt x="614857" y="1114281"/>
                    <a:pt x="534086" y="1130283"/>
                    <a:pt x="458933" y="1139237"/>
                  </a:cubicBezTo>
                  <a:cubicBezTo>
                    <a:pt x="370447" y="1147428"/>
                    <a:pt x="280721" y="1147524"/>
                    <a:pt x="192615" y="1135141"/>
                  </a:cubicBezTo>
                  <a:cubicBezTo>
                    <a:pt x="140322" y="1126473"/>
                    <a:pt x="85744" y="1113233"/>
                    <a:pt x="44406" y="1078372"/>
                  </a:cubicBezTo>
                  <a:cubicBezTo>
                    <a:pt x="-17698" y="1026937"/>
                    <a:pt x="-14554" y="915209"/>
                    <a:pt x="53168" y="870060"/>
                  </a:cubicBezTo>
                  <a:cubicBezTo>
                    <a:pt x="76505" y="852820"/>
                    <a:pt x="105461" y="847867"/>
                    <a:pt x="132893" y="840533"/>
                  </a:cubicBezTo>
                  <a:cubicBezTo>
                    <a:pt x="133179" y="837580"/>
                    <a:pt x="133560" y="831674"/>
                    <a:pt x="133845" y="828817"/>
                  </a:cubicBezTo>
                  <a:cubicBezTo>
                    <a:pt x="113747" y="820149"/>
                    <a:pt x="91459" y="815577"/>
                    <a:pt x="74886" y="800909"/>
                  </a:cubicBezTo>
                  <a:cubicBezTo>
                    <a:pt x="22880" y="759475"/>
                    <a:pt x="13259" y="670702"/>
                    <a:pt x="62407" y="623458"/>
                  </a:cubicBezTo>
                  <a:cubicBezTo>
                    <a:pt x="90411" y="594597"/>
                    <a:pt x="130036" y="582786"/>
                    <a:pt x="167373" y="571451"/>
                  </a:cubicBezTo>
                  <a:cubicBezTo>
                    <a:pt x="114129" y="546401"/>
                    <a:pt x="66980" y="503538"/>
                    <a:pt x="48883" y="446293"/>
                  </a:cubicBezTo>
                  <a:cubicBezTo>
                    <a:pt x="23546" y="368283"/>
                    <a:pt x="33357" y="274271"/>
                    <a:pt x="89078" y="211311"/>
                  </a:cubicBezTo>
                  <a:cubicBezTo>
                    <a:pt x="132036" y="162448"/>
                    <a:pt x="196043" y="138159"/>
                    <a:pt x="259099" y="128444"/>
                  </a:cubicBezTo>
                  <a:cubicBezTo>
                    <a:pt x="327012" y="118728"/>
                    <a:pt x="396925" y="119871"/>
                    <a:pt x="463982" y="135397"/>
                  </a:cubicBezTo>
                  <a:cubicBezTo>
                    <a:pt x="462457" y="91963"/>
                    <a:pt x="465697" y="37289"/>
                    <a:pt x="509416" y="14429"/>
                  </a:cubicBezTo>
                  <a:moveTo>
                    <a:pt x="299866" y="260841"/>
                  </a:moveTo>
                  <a:cubicBezTo>
                    <a:pt x="264243" y="267223"/>
                    <a:pt x="231476" y="294464"/>
                    <a:pt x="226714" y="331612"/>
                  </a:cubicBezTo>
                  <a:cubicBezTo>
                    <a:pt x="221476" y="368855"/>
                    <a:pt x="221571" y="413908"/>
                    <a:pt x="251860" y="441245"/>
                  </a:cubicBezTo>
                  <a:cubicBezTo>
                    <a:pt x="286817" y="471534"/>
                    <a:pt x="337585" y="472201"/>
                    <a:pt x="381210" y="465724"/>
                  </a:cubicBezTo>
                  <a:cubicBezTo>
                    <a:pt x="417214" y="460676"/>
                    <a:pt x="452171" y="435339"/>
                    <a:pt x="458838" y="397906"/>
                  </a:cubicBezTo>
                  <a:cubicBezTo>
                    <a:pt x="465315" y="358282"/>
                    <a:pt x="465315" y="308942"/>
                    <a:pt x="431216" y="281320"/>
                  </a:cubicBezTo>
                  <a:cubicBezTo>
                    <a:pt x="394164" y="253221"/>
                    <a:pt x="343586" y="252935"/>
                    <a:pt x="299866" y="260841"/>
                  </a:cubicBezTo>
                  <a:moveTo>
                    <a:pt x="182613" y="987218"/>
                  </a:moveTo>
                  <a:cubicBezTo>
                    <a:pt x="230810" y="1015888"/>
                    <a:pt x="289960" y="1009411"/>
                    <a:pt x="343872" y="1010554"/>
                  </a:cubicBezTo>
                  <a:cubicBezTo>
                    <a:pt x="398354" y="1009411"/>
                    <a:pt x="457124" y="1016078"/>
                    <a:pt x="507321" y="990170"/>
                  </a:cubicBezTo>
                  <a:cubicBezTo>
                    <a:pt x="543135" y="972073"/>
                    <a:pt x="550183" y="914256"/>
                    <a:pt x="517321" y="890158"/>
                  </a:cubicBezTo>
                  <a:cubicBezTo>
                    <a:pt x="491509" y="872346"/>
                    <a:pt x="458744" y="871394"/>
                    <a:pt x="428644" y="870536"/>
                  </a:cubicBezTo>
                  <a:cubicBezTo>
                    <a:pt x="346062" y="870155"/>
                    <a:pt x="263481" y="871013"/>
                    <a:pt x="180994" y="870155"/>
                  </a:cubicBezTo>
                  <a:cubicBezTo>
                    <a:pt x="153467" y="902064"/>
                    <a:pt x="142608" y="960548"/>
                    <a:pt x="182613" y="987218"/>
                  </a:cubicBezTo>
                  <a:close/>
                </a:path>
              </a:pathLst>
            </a:custGeom>
            <a:solidFill>
              <a:srgbClr val="000000"/>
            </a:solidFill>
            <a:ln w="9525" cap="flat">
              <a:noFill/>
              <a:prstDash val="solid"/>
              <a:miter/>
            </a:ln>
          </p:spPr>
          <p:txBody>
            <a:bodyPr rtlCol="0" anchor="ctr"/>
            <a:lstStyle/>
            <a:p>
              <a:endParaRPr lang="en-US" sz="900"/>
            </a:p>
          </p:txBody>
        </p:sp>
        <p:sp>
          <p:nvSpPr>
            <p:cNvPr id="35" name="Freeform: Shape 34">
              <a:extLst>
                <a:ext uri="{FF2B5EF4-FFF2-40B4-BE49-F238E27FC236}">
                  <a16:creationId xmlns:a16="http://schemas.microsoft.com/office/drawing/2014/main" id="{53871B77-82D8-9E96-7FDF-19E07894D012}"/>
                </a:ext>
              </a:extLst>
            </p:cNvPr>
            <p:cNvSpPr/>
            <p:nvPr/>
          </p:nvSpPr>
          <p:spPr>
            <a:xfrm>
              <a:off x="10085832" y="8849421"/>
              <a:ext cx="669369" cy="749856"/>
            </a:xfrm>
            <a:custGeom>
              <a:avLst/>
              <a:gdLst>
                <a:gd name="connsiteX0" fmla="*/ 260667 w 669369"/>
                <a:gd name="connsiteY0" fmla="*/ 6542 h 749856"/>
                <a:gd name="connsiteX1" fmla="*/ 515461 w 669369"/>
                <a:gd name="connsiteY1" fmla="*/ 44071 h 749856"/>
                <a:gd name="connsiteX2" fmla="*/ 650335 w 669369"/>
                <a:gd name="connsiteY2" fmla="*/ 226855 h 749856"/>
                <a:gd name="connsiteX3" fmla="*/ 669099 w 669369"/>
                <a:gd name="connsiteY3" fmla="*/ 426404 h 749856"/>
                <a:gd name="connsiteX4" fmla="*/ 208470 w 669369"/>
                <a:gd name="connsiteY4" fmla="*/ 426404 h 749856"/>
                <a:gd name="connsiteX5" fmla="*/ 248666 w 669369"/>
                <a:gd name="connsiteY5" fmla="*/ 550039 h 749856"/>
                <a:gd name="connsiteX6" fmla="*/ 408590 w 669369"/>
                <a:gd name="connsiteY6" fmla="*/ 587472 h 749856"/>
                <a:gd name="connsiteX7" fmla="*/ 543464 w 669369"/>
                <a:gd name="connsiteY7" fmla="*/ 505081 h 749856"/>
                <a:gd name="connsiteX8" fmla="*/ 645001 w 669369"/>
                <a:gd name="connsiteY8" fmla="*/ 630239 h 749856"/>
                <a:gd name="connsiteX9" fmla="*/ 370110 w 669369"/>
                <a:gd name="connsiteY9" fmla="*/ 749111 h 749856"/>
                <a:gd name="connsiteX10" fmla="*/ 115697 w 669369"/>
                <a:gd name="connsiteY10" fmla="*/ 673673 h 749856"/>
                <a:gd name="connsiteX11" fmla="*/ 2444 w 669369"/>
                <a:gd name="connsiteY11" fmla="*/ 428785 h 749856"/>
                <a:gd name="connsiteX12" fmla="*/ 63881 w 669369"/>
                <a:gd name="connsiteY12" fmla="*/ 132082 h 749856"/>
                <a:gd name="connsiteX13" fmla="*/ 260667 w 669369"/>
                <a:gd name="connsiteY13" fmla="*/ 6542 h 749856"/>
                <a:gd name="connsiteX14" fmla="*/ 236283 w 669369"/>
                <a:gd name="connsiteY14" fmla="*/ 199900 h 749856"/>
                <a:gd name="connsiteX15" fmla="*/ 208375 w 669369"/>
                <a:gd name="connsiteY15" fmla="*/ 307246 h 749856"/>
                <a:gd name="connsiteX16" fmla="*/ 460216 w 669369"/>
                <a:gd name="connsiteY16" fmla="*/ 307246 h 749856"/>
                <a:gd name="connsiteX17" fmla="*/ 429450 w 669369"/>
                <a:gd name="connsiteY17" fmla="*/ 188851 h 749856"/>
                <a:gd name="connsiteX18" fmla="*/ 236283 w 669369"/>
                <a:gd name="connsiteY18" fmla="*/ 199900 h 74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9369" h="749856">
                  <a:moveTo>
                    <a:pt x="260667" y="6542"/>
                  </a:moveTo>
                  <a:cubicBezTo>
                    <a:pt x="346297" y="-7650"/>
                    <a:pt x="439261" y="-316"/>
                    <a:pt x="515461" y="44071"/>
                  </a:cubicBezTo>
                  <a:cubicBezTo>
                    <a:pt x="583279" y="83123"/>
                    <a:pt x="629285" y="152465"/>
                    <a:pt x="650335" y="226855"/>
                  </a:cubicBezTo>
                  <a:cubicBezTo>
                    <a:pt x="669956" y="291435"/>
                    <a:pt x="669956" y="359539"/>
                    <a:pt x="669099" y="426404"/>
                  </a:cubicBezTo>
                  <a:cubicBezTo>
                    <a:pt x="515556" y="426404"/>
                    <a:pt x="362013" y="426404"/>
                    <a:pt x="208470" y="426404"/>
                  </a:cubicBezTo>
                  <a:cubicBezTo>
                    <a:pt x="208565" y="470124"/>
                    <a:pt x="215900" y="518035"/>
                    <a:pt x="248666" y="550039"/>
                  </a:cubicBezTo>
                  <a:cubicBezTo>
                    <a:pt x="290004" y="590806"/>
                    <a:pt x="353822" y="596140"/>
                    <a:pt x="408590" y="587472"/>
                  </a:cubicBezTo>
                  <a:cubicBezTo>
                    <a:pt x="462693" y="579090"/>
                    <a:pt x="506603" y="543181"/>
                    <a:pt x="543464" y="505081"/>
                  </a:cubicBezTo>
                  <a:cubicBezTo>
                    <a:pt x="577373" y="546705"/>
                    <a:pt x="610235" y="589282"/>
                    <a:pt x="645001" y="630239"/>
                  </a:cubicBezTo>
                  <a:cubicBezTo>
                    <a:pt x="576993" y="708916"/>
                    <a:pt x="471741" y="744920"/>
                    <a:pt x="370110" y="749111"/>
                  </a:cubicBezTo>
                  <a:cubicBezTo>
                    <a:pt x="280384" y="754159"/>
                    <a:pt x="184848" y="734062"/>
                    <a:pt x="115697" y="673673"/>
                  </a:cubicBezTo>
                  <a:cubicBezTo>
                    <a:pt x="44640" y="613094"/>
                    <a:pt x="10255" y="519844"/>
                    <a:pt x="2444" y="428785"/>
                  </a:cubicBezTo>
                  <a:cubicBezTo>
                    <a:pt x="-6128" y="327249"/>
                    <a:pt x="6350" y="218664"/>
                    <a:pt x="63881" y="132082"/>
                  </a:cubicBezTo>
                  <a:cubicBezTo>
                    <a:pt x="107886" y="64645"/>
                    <a:pt x="181800" y="19972"/>
                    <a:pt x="260667" y="6542"/>
                  </a:cubicBezTo>
                  <a:moveTo>
                    <a:pt x="236283" y="199900"/>
                  </a:moveTo>
                  <a:cubicBezTo>
                    <a:pt x="213804" y="230856"/>
                    <a:pt x="209042" y="270004"/>
                    <a:pt x="208375" y="307246"/>
                  </a:cubicBezTo>
                  <a:lnTo>
                    <a:pt x="460216" y="307246"/>
                  </a:lnTo>
                  <a:cubicBezTo>
                    <a:pt x="459835" y="266289"/>
                    <a:pt x="455930" y="222093"/>
                    <a:pt x="429450" y="188851"/>
                  </a:cubicBezTo>
                  <a:cubicBezTo>
                    <a:pt x="382111" y="129700"/>
                    <a:pt x="278003" y="138273"/>
                    <a:pt x="236283" y="199900"/>
                  </a:cubicBezTo>
                  <a:close/>
                </a:path>
              </a:pathLst>
            </a:custGeom>
            <a:solidFill>
              <a:srgbClr val="000000"/>
            </a:solidFill>
            <a:ln w="9525" cap="flat">
              <a:noFill/>
              <a:prstDash val="solid"/>
              <a:miter/>
            </a:ln>
          </p:spPr>
          <p:txBody>
            <a:bodyPr rtlCol="0" anchor="ctr"/>
            <a:lstStyle/>
            <a:p>
              <a:endParaRPr lang="en-US" sz="900"/>
            </a:p>
          </p:txBody>
        </p:sp>
        <p:sp>
          <p:nvSpPr>
            <p:cNvPr id="36" name="Freeform: Shape 35">
              <a:extLst>
                <a:ext uri="{FF2B5EF4-FFF2-40B4-BE49-F238E27FC236}">
                  <a16:creationId xmlns:a16="http://schemas.microsoft.com/office/drawing/2014/main" id="{08EB9A85-89C6-1EC3-5478-A8F89D67749A}"/>
                </a:ext>
              </a:extLst>
            </p:cNvPr>
            <p:cNvSpPr/>
            <p:nvPr/>
          </p:nvSpPr>
          <p:spPr>
            <a:xfrm>
              <a:off x="10852675" y="8849297"/>
              <a:ext cx="625965" cy="749878"/>
            </a:xfrm>
            <a:custGeom>
              <a:avLst/>
              <a:gdLst>
                <a:gd name="connsiteX0" fmla="*/ 115044 w 625965"/>
                <a:gd name="connsiteY0" fmla="*/ 72770 h 749878"/>
                <a:gd name="connsiteX1" fmla="*/ 437561 w 625965"/>
                <a:gd name="connsiteY1" fmla="*/ 13810 h 749878"/>
                <a:gd name="connsiteX2" fmla="*/ 621870 w 625965"/>
                <a:gd name="connsiteY2" fmla="*/ 187165 h 749878"/>
                <a:gd name="connsiteX3" fmla="*/ 458230 w 625965"/>
                <a:gd name="connsiteY3" fmla="*/ 258221 h 749878"/>
                <a:gd name="connsiteX4" fmla="*/ 411843 w 625965"/>
                <a:gd name="connsiteY4" fmla="*/ 184117 h 749878"/>
                <a:gd name="connsiteX5" fmla="*/ 233916 w 625965"/>
                <a:gd name="connsiteY5" fmla="*/ 212120 h 749878"/>
                <a:gd name="connsiteX6" fmla="*/ 210771 w 625965"/>
                <a:gd name="connsiteY6" fmla="*/ 371093 h 749878"/>
                <a:gd name="connsiteX7" fmla="*/ 230868 w 625965"/>
                <a:gd name="connsiteY7" fmla="*/ 533684 h 749878"/>
                <a:gd name="connsiteX8" fmla="*/ 439371 w 625965"/>
                <a:gd name="connsiteY8" fmla="*/ 540352 h 749878"/>
                <a:gd name="connsiteX9" fmla="*/ 468708 w 625965"/>
                <a:gd name="connsiteY9" fmla="*/ 483392 h 749878"/>
                <a:gd name="connsiteX10" fmla="*/ 625965 w 625965"/>
                <a:gd name="connsiteY10" fmla="*/ 551782 h 749878"/>
                <a:gd name="connsiteX11" fmla="*/ 521095 w 625965"/>
                <a:gd name="connsiteY11" fmla="*/ 697800 h 749878"/>
                <a:gd name="connsiteX12" fmla="*/ 271921 w 625965"/>
                <a:gd name="connsiteY12" fmla="*/ 745425 h 749878"/>
                <a:gd name="connsiteX13" fmla="*/ 70086 w 625965"/>
                <a:gd name="connsiteY13" fmla="*/ 627696 h 749878"/>
                <a:gd name="connsiteX14" fmla="*/ 1316 w 625965"/>
                <a:gd name="connsiteY14" fmla="*/ 333183 h 749878"/>
                <a:gd name="connsiteX15" fmla="*/ 115044 w 625965"/>
                <a:gd name="connsiteY15" fmla="*/ 72770 h 749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5965" h="749878">
                  <a:moveTo>
                    <a:pt x="115044" y="72770"/>
                  </a:moveTo>
                  <a:cubicBezTo>
                    <a:pt x="202770" y="-1430"/>
                    <a:pt x="329357" y="-14479"/>
                    <a:pt x="437561" y="13810"/>
                  </a:cubicBezTo>
                  <a:cubicBezTo>
                    <a:pt x="523476" y="36003"/>
                    <a:pt x="592628" y="104202"/>
                    <a:pt x="621870" y="187165"/>
                  </a:cubicBezTo>
                  <a:cubicBezTo>
                    <a:pt x="567387" y="211073"/>
                    <a:pt x="512713" y="234504"/>
                    <a:pt x="458230" y="258221"/>
                  </a:cubicBezTo>
                  <a:cubicBezTo>
                    <a:pt x="449086" y="230313"/>
                    <a:pt x="436418" y="201738"/>
                    <a:pt x="411843" y="184117"/>
                  </a:cubicBezTo>
                  <a:cubicBezTo>
                    <a:pt x="358503" y="144969"/>
                    <a:pt x="269445" y="152494"/>
                    <a:pt x="233916" y="212120"/>
                  </a:cubicBezTo>
                  <a:cubicBezTo>
                    <a:pt x="204294" y="259650"/>
                    <a:pt x="211342" y="317753"/>
                    <a:pt x="210771" y="371093"/>
                  </a:cubicBezTo>
                  <a:cubicBezTo>
                    <a:pt x="212104" y="425385"/>
                    <a:pt x="203055" y="484059"/>
                    <a:pt x="230868" y="533684"/>
                  </a:cubicBezTo>
                  <a:cubicBezTo>
                    <a:pt x="271350" y="608265"/>
                    <a:pt x="392317" y="607884"/>
                    <a:pt x="439371" y="540352"/>
                  </a:cubicBezTo>
                  <a:cubicBezTo>
                    <a:pt x="452134" y="523112"/>
                    <a:pt x="460135" y="502919"/>
                    <a:pt x="468708" y="483392"/>
                  </a:cubicBezTo>
                  <a:cubicBezTo>
                    <a:pt x="521095" y="506252"/>
                    <a:pt x="573578" y="528922"/>
                    <a:pt x="625965" y="551782"/>
                  </a:cubicBezTo>
                  <a:cubicBezTo>
                    <a:pt x="605106" y="608741"/>
                    <a:pt x="571673" y="662939"/>
                    <a:pt x="521095" y="697800"/>
                  </a:cubicBezTo>
                  <a:cubicBezTo>
                    <a:pt x="449372" y="748092"/>
                    <a:pt x="356598" y="756855"/>
                    <a:pt x="271921" y="745425"/>
                  </a:cubicBezTo>
                  <a:cubicBezTo>
                    <a:pt x="192673" y="734757"/>
                    <a:pt x="116473" y="693800"/>
                    <a:pt x="70086" y="627696"/>
                  </a:cubicBezTo>
                  <a:cubicBezTo>
                    <a:pt x="9603" y="543114"/>
                    <a:pt x="-4876" y="434624"/>
                    <a:pt x="1316" y="333183"/>
                  </a:cubicBezTo>
                  <a:cubicBezTo>
                    <a:pt x="7031" y="237171"/>
                    <a:pt x="39702" y="136778"/>
                    <a:pt x="115044" y="72770"/>
                  </a:cubicBezTo>
                  <a:close/>
                </a:path>
              </a:pathLst>
            </a:custGeom>
            <a:solidFill>
              <a:srgbClr val="000000"/>
            </a:solidFill>
            <a:ln w="9525" cap="flat">
              <a:noFill/>
              <a:prstDash val="solid"/>
              <a:miter/>
            </a:ln>
          </p:spPr>
          <p:txBody>
            <a:bodyPr rtlCol="0" anchor="ctr"/>
            <a:lstStyle/>
            <a:p>
              <a:endParaRPr lang="en-US" sz="900"/>
            </a:p>
          </p:txBody>
        </p:sp>
        <p:sp>
          <p:nvSpPr>
            <p:cNvPr id="37" name="Freeform: Shape 36">
              <a:extLst>
                <a:ext uri="{FF2B5EF4-FFF2-40B4-BE49-F238E27FC236}">
                  <a16:creationId xmlns:a16="http://schemas.microsoft.com/office/drawing/2014/main" id="{7D9AA833-AD83-E679-5D6E-186A8D02B00C}"/>
                </a:ext>
              </a:extLst>
            </p:cNvPr>
            <p:cNvSpPr/>
            <p:nvPr/>
          </p:nvSpPr>
          <p:spPr>
            <a:xfrm>
              <a:off x="13262546" y="8849276"/>
              <a:ext cx="625919" cy="749850"/>
            </a:xfrm>
            <a:custGeom>
              <a:avLst/>
              <a:gdLst>
                <a:gd name="connsiteX0" fmla="*/ 114142 w 625919"/>
                <a:gd name="connsiteY0" fmla="*/ 73457 h 749850"/>
                <a:gd name="connsiteX1" fmla="*/ 437897 w 625919"/>
                <a:gd name="connsiteY1" fmla="*/ 13831 h 749850"/>
                <a:gd name="connsiteX2" fmla="*/ 621920 w 625919"/>
                <a:gd name="connsiteY2" fmla="*/ 187281 h 749850"/>
                <a:gd name="connsiteX3" fmla="*/ 458280 w 625919"/>
                <a:gd name="connsiteY3" fmla="*/ 258242 h 749850"/>
                <a:gd name="connsiteX4" fmla="*/ 399225 w 625919"/>
                <a:gd name="connsiteY4" fmla="*/ 175946 h 749850"/>
                <a:gd name="connsiteX5" fmla="*/ 237776 w 625919"/>
                <a:gd name="connsiteY5" fmla="*/ 206426 h 749850"/>
                <a:gd name="connsiteX6" fmla="*/ 210725 w 625919"/>
                <a:gd name="connsiteY6" fmla="*/ 371209 h 749850"/>
                <a:gd name="connsiteX7" fmla="*/ 231013 w 625919"/>
                <a:gd name="connsiteY7" fmla="*/ 534086 h 749850"/>
                <a:gd name="connsiteX8" fmla="*/ 437992 w 625919"/>
                <a:gd name="connsiteY8" fmla="*/ 542278 h 749850"/>
                <a:gd name="connsiteX9" fmla="*/ 468662 w 625919"/>
                <a:gd name="connsiteY9" fmla="*/ 483413 h 749850"/>
                <a:gd name="connsiteX10" fmla="*/ 625920 w 625919"/>
                <a:gd name="connsiteY10" fmla="*/ 551898 h 749850"/>
                <a:gd name="connsiteX11" fmla="*/ 514573 w 625919"/>
                <a:gd name="connsiteY11" fmla="*/ 702203 h 749850"/>
                <a:gd name="connsiteX12" fmla="*/ 265494 w 625919"/>
                <a:gd name="connsiteY12" fmla="*/ 744398 h 749850"/>
                <a:gd name="connsiteX13" fmla="*/ 66422 w 625919"/>
                <a:gd name="connsiteY13" fmla="*/ 622478 h 749850"/>
                <a:gd name="connsiteX14" fmla="*/ 1937 w 625919"/>
                <a:gd name="connsiteY14" fmla="*/ 324441 h 749850"/>
                <a:gd name="connsiteX15" fmla="*/ 114142 w 625919"/>
                <a:gd name="connsiteY15" fmla="*/ 73457 h 749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5919" h="749850">
                  <a:moveTo>
                    <a:pt x="114142" y="73457"/>
                  </a:moveTo>
                  <a:cubicBezTo>
                    <a:pt x="201962" y="-1409"/>
                    <a:pt x="329121" y="-14554"/>
                    <a:pt x="437897" y="13831"/>
                  </a:cubicBezTo>
                  <a:cubicBezTo>
                    <a:pt x="523717" y="36215"/>
                    <a:pt x="592582" y="104318"/>
                    <a:pt x="621920" y="187281"/>
                  </a:cubicBezTo>
                  <a:cubicBezTo>
                    <a:pt x="567341" y="210998"/>
                    <a:pt x="512763" y="234525"/>
                    <a:pt x="458280" y="258242"/>
                  </a:cubicBezTo>
                  <a:cubicBezTo>
                    <a:pt x="448184" y="225476"/>
                    <a:pt x="430753" y="192425"/>
                    <a:pt x="399225" y="175946"/>
                  </a:cubicBezTo>
                  <a:cubicBezTo>
                    <a:pt x="347599" y="148133"/>
                    <a:pt x="272447" y="155658"/>
                    <a:pt x="237776" y="206426"/>
                  </a:cubicBezTo>
                  <a:cubicBezTo>
                    <a:pt x="203772" y="254432"/>
                    <a:pt x="211202" y="315869"/>
                    <a:pt x="210725" y="371209"/>
                  </a:cubicBezTo>
                  <a:cubicBezTo>
                    <a:pt x="212059" y="425692"/>
                    <a:pt x="203105" y="484366"/>
                    <a:pt x="231013" y="534086"/>
                  </a:cubicBezTo>
                  <a:cubicBezTo>
                    <a:pt x="271304" y="607524"/>
                    <a:pt x="390081" y="607905"/>
                    <a:pt x="437992" y="542278"/>
                  </a:cubicBezTo>
                  <a:cubicBezTo>
                    <a:pt x="451422" y="524561"/>
                    <a:pt x="459899" y="503702"/>
                    <a:pt x="468662" y="483413"/>
                  </a:cubicBezTo>
                  <a:cubicBezTo>
                    <a:pt x="521050" y="506178"/>
                    <a:pt x="573532" y="528943"/>
                    <a:pt x="625920" y="551898"/>
                  </a:cubicBezTo>
                  <a:cubicBezTo>
                    <a:pt x="604298" y="611144"/>
                    <a:pt x="568579" y="667532"/>
                    <a:pt x="514573" y="702203"/>
                  </a:cubicBezTo>
                  <a:cubicBezTo>
                    <a:pt x="441706" y="749732"/>
                    <a:pt x="349600" y="756971"/>
                    <a:pt x="265494" y="744398"/>
                  </a:cubicBezTo>
                  <a:cubicBezTo>
                    <a:pt x="186341" y="732492"/>
                    <a:pt x="111189" y="689534"/>
                    <a:pt x="66422" y="622478"/>
                  </a:cubicBezTo>
                  <a:cubicBezTo>
                    <a:pt x="7366" y="535991"/>
                    <a:pt x="-5587" y="426644"/>
                    <a:pt x="1937" y="324441"/>
                  </a:cubicBezTo>
                  <a:cubicBezTo>
                    <a:pt x="8890" y="231668"/>
                    <a:pt x="41656" y="135465"/>
                    <a:pt x="114142" y="73457"/>
                  </a:cubicBezTo>
                  <a:close/>
                </a:path>
              </a:pathLst>
            </a:custGeom>
            <a:solidFill>
              <a:srgbClr val="000000"/>
            </a:solidFill>
            <a:ln w="9525" cap="flat">
              <a:noFill/>
              <a:prstDash val="solid"/>
              <a:miter/>
            </a:ln>
          </p:spPr>
          <p:txBody>
            <a:bodyPr rtlCol="0" anchor="ctr"/>
            <a:lstStyle/>
            <a:p>
              <a:endParaRPr lang="en-US" sz="900"/>
            </a:p>
          </p:txBody>
        </p:sp>
        <p:sp>
          <p:nvSpPr>
            <p:cNvPr id="38" name="Freeform: Shape 37">
              <a:extLst>
                <a:ext uri="{FF2B5EF4-FFF2-40B4-BE49-F238E27FC236}">
                  <a16:creationId xmlns:a16="http://schemas.microsoft.com/office/drawing/2014/main" id="{5BEADA96-1A80-9EB1-DBCA-0EBF9FDAB801}"/>
                </a:ext>
              </a:extLst>
            </p:cNvPr>
            <p:cNvSpPr/>
            <p:nvPr/>
          </p:nvSpPr>
          <p:spPr>
            <a:xfrm>
              <a:off x="14778191" y="8849530"/>
              <a:ext cx="689710" cy="749617"/>
            </a:xfrm>
            <a:custGeom>
              <a:avLst/>
              <a:gdLst>
                <a:gd name="connsiteX0" fmla="*/ 27247 w 689710"/>
                <a:gd name="connsiteY0" fmla="*/ 137021 h 749617"/>
                <a:gd name="connsiteX1" fmla="*/ 239750 w 689710"/>
                <a:gd name="connsiteY1" fmla="*/ 5290 h 749617"/>
                <a:gd name="connsiteX2" fmla="*/ 522070 w 689710"/>
                <a:gd name="connsiteY2" fmla="*/ 49582 h 749617"/>
                <a:gd name="connsiteX3" fmla="*/ 622654 w 689710"/>
                <a:gd name="connsiteY3" fmla="*/ 247606 h 749617"/>
                <a:gd name="connsiteX4" fmla="*/ 623036 w 689710"/>
                <a:gd name="connsiteY4" fmla="*/ 575838 h 749617"/>
                <a:gd name="connsiteX5" fmla="*/ 689711 w 689710"/>
                <a:gd name="connsiteY5" fmla="*/ 575933 h 749617"/>
                <a:gd name="connsiteX6" fmla="*/ 689711 w 689710"/>
                <a:gd name="connsiteY6" fmla="*/ 733000 h 749617"/>
                <a:gd name="connsiteX7" fmla="*/ 506259 w 689710"/>
                <a:gd name="connsiteY7" fmla="*/ 713950 h 749617"/>
                <a:gd name="connsiteX8" fmla="*/ 438441 w 689710"/>
                <a:gd name="connsiteY8" fmla="*/ 603270 h 749617"/>
                <a:gd name="connsiteX9" fmla="*/ 388625 w 689710"/>
                <a:gd name="connsiteY9" fmla="*/ 690805 h 749617"/>
                <a:gd name="connsiteX10" fmla="*/ 169074 w 689710"/>
                <a:gd name="connsiteY10" fmla="*/ 745288 h 749617"/>
                <a:gd name="connsiteX11" fmla="*/ 15341 w 689710"/>
                <a:gd name="connsiteY11" fmla="*/ 626892 h 749617"/>
                <a:gd name="connsiteX12" fmla="*/ 37153 w 689710"/>
                <a:gd name="connsiteY12" fmla="*/ 416008 h 749617"/>
                <a:gd name="connsiteX13" fmla="*/ 191076 w 689710"/>
                <a:gd name="connsiteY13" fmla="*/ 327521 h 749617"/>
                <a:gd name="connsiteX14" fmla="*/ 420629 w 689710"/>
                <a:gd name="connsiteY14" fmla="*/ 316663 h 749617"/>
                <a:gd name="connsiteX15" fmla="*/ 392911 w 689710"/>
                <a:gd name="connsiteY15" fmla="*/ 189028 h 749617"/>
                <a:gd name="connsiteX16" fmla="*/ 258323 w 689710"/>
                <a:gd name="connsiteY16" fmla="*/ 163310 h 749617"/>
                <a:gd name="connsiteX17" fmla="*/ 147452 w 689710"/>
                <a:gd name="connsiteY17" fmla="*/ 243130 h 749617"/>
                <a:gd name="connsiteX18" fmla="*/ 27247 w 689710"/>
                <a:gd name="connsiteY18" fmla="*/ 137021 h 749617"/>
                <a:gd name="connsiteX19" fmla="*/ 252894 w 689710"/>
                <a:gd name="connsiteY19" fmla="*/ 442583 h 749617"/>
                <a:gd name="connsiteX20" fmla="*/ 260038 w 689710"/>
                <a:gd name="connsiteY20" fmla="*/ 604508 h 749617"/>
                <a:gd name="connsiteX21" fmla="*/ 401579 w 689710"/>
                <a:gd name="connsiteY21" fmla="*/ 571552 h 749617"/>
                <a:gd name="connsiteX22" fmla="*/ 420534 w 689710"/>
                <a:gd name="connsiteY22" fmla="*/ 431725 h 749617"/>
                <a:gd name="connsiteX23" fmla="*/ 252894 w 689710"/>
                <a:gd name="connsiteY23" fmla="*/ 442583 h 749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89710" h="749617">
                  <a:moveTo>
                    <a:pt x="27247" y="137021"/>
                  </a:moveTo>
                  <a:cubicBezTo>
                    <a:pt x="73634" y="63583"/>
                    <a:pt x="153834" y="15387"/>
                    <a:pt x="239750" y="5290"/>
                  </a:cubicBezTo>
                  <a:cubicBezTo>
                    <a:pt x="334618" y="-6044"/>
                    <a:pt x="438632" y="-2520"/>
                    <a:pt x="522070" y="49582"/>
                  </a:cubicBezTo>
                  <a:cubicBezTo>
                    <a:pt x="588936" y="91015"/>
                    <a:pt x="621988" y="171025"/>
                    <a:pt x="622654" y="247606"/>
                  </a:cubicBezTo>
                  <a:cubicBezTo>
                    <a:pt x="623512" y="357049"/>
                    <a:pt x="622654" y="466396"/>
                    <a:pt x="623036" y="575838"/>
                  </a:cubicBezTo>
                  <a:cubicBezTo>
                    <a:pt x="645134" y="575838"/>
                    <a:pt x="667422" y="575838"/>
                    <a:pt x="689711" y="575933"/>
                  </a:cubicBezTo>
                  <a:cubicBezTo>
                    <a:pt x="689615" y="628225"/>
                    <a:pt x="689615" y="680613"/>
                    <a:pt x="689711" y="733000"/>
                  </a:cubicBezTo>
                  <a:cubicBezTo>
                    <a:pt x="628750" y="728238"/>
                    <a:pt x="561790" y="746621"/>
                    <a:pt x="506259" y="713950"/>
                  </a:cubicBezTo>
                  <a:cubicBezTo>
                    <a:pt x="466540" y="690614"/>
                    <a:pt x="448442" y="646037"/>
                    <a:pt x="438441" y="603270"/>
                  </a:cubicBezTo>
                  <a:cubicBezTo>
                    <a:pt x="423963" y="633559"/>
                    <a:pt x="413866" y="667278"/>
                    <a:pt x="388625" y="690805"/>
                  </a:cubicBezTo>
                  <a:cubicBezTo>
                    <a:pt x="331952" y="747193"/>
                    <a:pt x="244702" y="756908"/>
                    <a:pt x="169074" y="745288"/>
                  </a:cubicBezTo>
                  <a:cubicBezTo>
                    <a:pt x="102113" y="735477"/>
                    <a:pt x="38676" y="691948"/>
                    <a:pt x="15341" y="626892"/>
                  </a:cubicBezTo>
                  <a:cubicBezTo>
                    <a:pt x="-9234" y="558693"/>
                    <a:pt x="-5900" y="476302"/>
                    <a:pt x="37153" y="416008"/>
                  </a:cubicBezTo>
                  <a:cubicBezTo>
                    <a:pt x="73062" y="366097"/>
                    <a:pt x="132498" y="339808"/>
                    <a:pt x="191076" y="327521"/>
                  </a:cubicBezTo>
                  <a:cubicBezTo>
                    <a:pt x="266515" y="311424"/>
                    <a:pt x="344048" y="317996"/>
                    <a:pt x="420629" y="316663"/>
                  </a:cubicBezTo>
                  <a:cubicBezTo>
                    <a:pt x="420439" y="273419"/>
                    <a:pt x="425963" y="222746"/>
                    <a:pt x="392911" y="189028"/>
                  </a:cubicBezTo>
                  <a:cubicBezTo>
                    <a:pt x="357764" y="155119"/>
                    <a:pt x="303377" y="154547"/>
                    <a:pt x="258323" y="163310"/>
                  </a:cubicBezTo>
                  <a:cubicBezTo>
                    <a:pt x="211460" y="172359"/>
                    <a:pt x="174884" y="205982"/>
                    <a:pt x="147452" y="243130"/>
                  </a:cubicBezTo>
                  <a:cubicBezTo>
                    <a:pt x="107447" y="207697"/>
                    <a:pt x="67728" y="171883"/>
                    <a:pt x="27247" y="137021"/>
                  </a:cubicBezTo>
                  <a:moveTo>
                    <a:pt x="252894" y="442583"/>
                  </a:moveTo>
                  <a:cubicBezTo>
                    <a:pt x="182600" y="464872"/>
                    <a:pt x="184981" y="591078"/>
                    <a:pt x="260038" y="604508"/>
                  </a:cubicBezTo>
                  <a:cubicBezTo>
                    <a:pt x="308044" y="613557"/>
                    <a:pt x="366337" y="609461"/>
                    <a:pt x="401579" y="571552"/>
                  </a:cubicBezTo>
                  <a:cubicBezTo>
                    <a:pt x="433298" y="532213"/>
                    <a:pt x="416438" y="477921"/>
                    <a:pt x="420534" y="431725"/>
                  </a:cubicBezTo>
                  <a:cubicBezTo>
                    <a:pt x="364813" y="434677"/>
                    <a:pt x="306615" y="423724"/>
                    <a:pt x="252894" y="442583"/>
                  </a:cubicBezTo>
                  <a:close/>
                </a:path>
              </a:pathLst>
            </a:custGeom>
            <a:solidFill>
              <a:srgbClr val="000000"/>
            </a:solidFill>
            <a:ln w="9525" cap="flat">
              <a:noFill/>
              <a:prstDash val="solid"/>
              <a:miter/>
            </a:ln>
          </p:spPr>
          <p:txBody>
            <a:bodyPr rtlCol="0" anchor="ctr"/>
            <a:lstStyle/>
            <a:p>
              <a:endParaRPr lang="en-US" sz="900"/>
            </a:p>
          </p:txBody>
        </p:sp>
        <p:sp>
          <p:nvSpPr>
            <p:cNvPr id="39" name="Freeform: Shape 38">
              <a:extLst>
                <a:ext uri="{FF2B5EF4-FFF2-40B4-BE49-F238E27FC236}">
                  <a16:creationId xmlns:a16="http://schemas.microsoft.com/office/drawing/2014/main" id="{E08DAAAF-22D3-8686-027F-301825BDAA00}"/>
                </a:ext>
              </a:extLst>
            </p:cNvPr>
            <p:cNvSpPr/>
            <p:nvPr/>
          </p:nvSpPr>
          <p:spPr>
            <a:xfrm>
              <a:off x="15602775" y="8849035"/>
              <a:ext cx="633507" cy="733518"/>
            </a:xfrm>
            <a:custGeom>
              <a:avLst/>
              <a:gdLst>
                <a:gd name="connsiteX0" fmla="*/ 311944 w 633507"/>
                <a:gd name="connsiteY0" fmla="*/ 20073 h 733518"/>
                <a:gd name="connsiteX1" fmla="*/ 569214 w 633507"/>
                <a:gd name="connsiteY1" fmla="*/ 66078 h 733518"/>
                <a:gd name="connsiteX2" fmla="*/ 633413 w 633507"/>
                <a:gd name="connsiteY2" fmla="*/ 276295 h 733518"/>
                <a:gd name="connsiteX3" fmla="*/ 633508 w 633507"/>
                <a:gd name="connsiteY3" fmla="*/ 733495 h 733518"/>
                <a:gd name="connsiteX4" fmla="*/ 431006 w 633507"/>
                <a:gd name="connsiteY4" fmla="*/ 733495 h 733518"/>
                <a:gd name="connsiteX5" fmla="*/ 430435 w 633507"/>
                <a:gd name="connsiteY5" fmla="*/ 276676 h 733518"/>
                <a:gd name="connsiteX6" fmla="*/ 369951 w 633507"/>
                <a:gd name="connsiteY6" fmla="*/ 169901 h 733518"/>
                <a:gd name="connsiteX7" fmla="*/ 203264 w 633507"/>
                <a:gd name="connsiteY7" fmla="*/ 257245 h 733518"/>
                <a:gd name="connsiteX8" fmla="*/ 202502 w 633507"/>
                <a:gd name="connsiteY8" fmla="*/ 733495 h 733518"/>
                <a:gd name="connsiteX9" fmla="*/ 0 w 633507"/>
                <a:gd name="connsiteY9" fmla="*/ 733400 h 733518"/>
                <a:gd name="connsiteX10" fmla="*/ 95 w 633507"/>
                <a:gd name="connsiteY10" fmla="*/ 16739 h 733518"/>
                <a:gd name="connsiteX11" fmla="*/ 202406 w 633507"/>
                <a:gd name="connsiteY11" fmla="*/ 16739 h 733518"/>
                <a:gd name="connsiteX12" fmla="*/ 204883 w 633507"/>
                <a:gd name="connsiteY12" fmla="*/ 144564 h 733518"/>
                <a:gd name="connsiteX13" fmla="*/ 311944 w 633507"/>
                <a:gd name="connsiteY13" fmla="*/ 20073 h 733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3507" h="733518">
                  <a:moveTo>
                    <a:pt x="311944" y="20073"/>
                  </a:moveTo>
                  <a:cubicBezTo>
                    <a:pt x="395669" y="-15837"/>
                    <a:pt x="506825" y="-5359"/>
                    <a:pt x="569214" y="66078"/>
                  </a:cubicBezTo>
                  <a:cubicBezTo>
                    <a:pt x="618649" y="123609"/>
                    <a:pt x="632365" y="202572"/>
                    <a:pt x="633413" y="276295"/>
                  </a:cubicBezTo>
                  <a:cubicBezTo>
                    <a:pt x="633603" y="428695"/>
                    <a:pt x="633317" y="581095"/>
                    <a:pt x="633508" y="733495"/>
                  </a:cubicBezTo>
                  <a:lnTo>
                    <a:pt x="431006" y="733495"/>
                  </a:lnTo>
                  <a:cubicBezTo>
                    <a:pt x="430625" y="581190"/>
                    <a:pt x="431864" y="428981"/>
                    <a:pt x="430435" y="276676"/>
                  </a:cubicBezTo>
                  <a:cubicBezTo>
                    <a:pt x="429101" y="234861"/>
                    <a:pt x="415290" y="183045"/>
                    <a:pt x="369951" y="169901"/>
                  </a:cubicBezTo>
                  <a:cubicBezTo>
                    <a:pt x="305086" y="150946"/>
                    <a:pt x="210884" y="180759"/>
                    <a:pt x="203264" y="257245"/>
                  </a:cubicBezTo>
                  <a:cubicBezTo>
                    <a:pt x="201263" y="415931"/>
                    <a:pt x="202978" y="574713"/>
                    <a:pt x="202502" y="733495"/>
                  </a:cubicBezTo>
                  <a:cubicBezTo>
                    <a:pt x="134970" y="733495"/>
                    <a:pt x="67437" y="733590"/>
                    <a:pt x="0" y="733400"/>
                  </a:cubicBezTo>
                  <a:cubicBezTo>
                    <a:pt x="191" y="494513"/>
                    <a:pt x="-95" y="255626"/>
                    <a:pt x="95" y="16739"/>
                  </a:cubicBezTo>
                  <a:lnTo>
                    <a:pt x="202406" y="16739"/>
                  </a:lnTo>
                  <a:cubicBezTo>
                    <a:pt x="203264" y="59315"/>
                    <a:pt x="200025" y="102083"/>
                    <a:pt x="204883" y="144564"/>
                  </a:cubicBezTo>
                  <a:cubicBezTo>
                    <a:pt x="226790" y="93606"/>
                    <a:pt x="258604" y="42456"/>
                    <a:pt x="311944" y="20073"/>
                  </a:cubicBezTo>
                  <a:close/>
                </a:path>
              </a:pathLst>
            </a:custGeom>
            <a:solidFill>
              <a:srgbClr val="000000"/>
            </a:solidFill>
            <a:ln w="9525" cap="flat">
              <a:noFill/>
              <a:prstDash val="solid"/>
              <a:miter/>
            </a:ln>
          </p:spPr>
          <p:txBody>
            <a:bodyPr rtlCol="0" anchor="ctr"/>
            <a:lstStyle/>
            <a:p>
              <a:endParaRPr lang="en-US" sz="900"/>
            </a:p>
          </p:txBody>
        </p:sp>
        <p:sp>
          <p:nvSpPr>
            <p:cNvPr id="40" name="Freeform: Shape 39">
              <a:extLst>
                <a:ext uri="{FF2B5EF4-FFF2-40B4-BE49-F238E27FC236}">
                  <a16:creationId xmlns:a16="http://schemas.microsoft.com/office/drawing/2014/main" id="{3BF8AFFD-1B6C-839E-B09F-AF5203BE810E}"/>
                </a:ext>
              </a:extLst>
            </p:cNvPr>
            <p:cNvSpPr/>
            <p:nvPr/>
          </p:nvSpPr>
          <p:spPr>
            <a:xfrm>
              <a:off x="17116014" y="8849344"/>
              <a:ext cx="669651" cy="749917"/>
            </a:xfrm>
            <a:custGeom>
              <a:avLst/>
              <a:gdLst>
                <a:gd name="connsiteX0" fmla="*/ 174305 w 669651"/>
                <a:gd name="connsiteY0" fmla="*/ 34909 h 749917"/>
                <a:gd name="connsiteX1" fmla="*/ 433670 w 669651"/>
                <a:gd name="connsiteY1" fmla="*/ 11287 h 749917"/>
                <a:gd name="connsiteX2" fmla="*/ 624838 w 669651"/>
                <a:gd name="connsiteY2" fmla="*/ 161973 h 749917"/>
                <a:gd name="connsiteX3" fmla="*/ 669129 w 669651"/>
                <a:gd name="connsiteY3" fmla="*/ 426482 h 749917"/>
                <a:gd name="connsiteX4" fmla="*/ 208500 w 669651"/>
                <a:gd name="connsiteY4" fmla="*/ 426482 h 749917"/>
                <a:gd name="connsiteX5" fmla="*/ 248028 w 669651"/>
                <a:gd name="connsiteY5" fmla="*/ 549450 h 749917"/>
                <a:gd name="connsiteX6" fmla="*/ 408049 w 669651"/>
                <a:gd name="connsiteY6" fmla="*/ 587645 h 749917"/>
                <a:gd name="connsiteX7" fmla="*/ 543589 w 669651"/>
                <a:gd name="connsiteY7" fmla="*/ 505063 h 749917"/>
                <a:gd name="connsiteX8" fmla="*/ 645031 w 669651"/>
                <a:gd name="connsiteY8" fmla="*/ 631269 h 749917"/>
                <a:gd name="connsiteX9" fmla="*/ 388617 w 669651"/>
                <a:gd name="connsiteY9" fmla="*/ 747951 h 749917"/>
                <a:gd name="connsiteX10" fmla="*/ 125441 w 669651"/>
                <a:gd name="connsiteY10" fmla="*/ 681752 h 749917"/>
                <a:gd name="connsiteX11" fmla="*/ 5045 w 669651"/>
                <a:gd name="connsiteY11" fmla="*/ 451342 h 749917"/>
                <a:gd name="connsiteX12" fmla="*/ 33526 w 669651"/>
                <a:gd name="connsiteY12" fmla="*/ 189214 h 749917"/>
                <a:gd name="connsiteX13" fmla="*/ 174305 w 669651"/>
                <a:gd name="connsiteY13" fmla="*/ 34909 h 749917"/>
                <a:gd name="connsiteX14" fmla="*/ 232502 w 669651"/>
                <a:gd name="connsiteY14" fmla="*/ 205788 h 749917"/>
                <a:gd name="connsiteX15" fmla="*/ 208500 w 669651"/>
                <a:gd name="connsiteY15" fmla="*/ 307324 h 749917"/>
                <a:gd name="connsiteX16" fmla="*/ 460722 w 669651"/>
                <a:gd name="connsiteY16" fmla="*/ 307324 h 749917"/>
                <a:gd name="connsiteX17" fmla="*/ 423956 w 669651"/>
                <a:gd name="connsiteY17" fmla="*/ 182547 h 749917"/>
                <a:gd name="connsiteX18" fmla="*/ 232502 w 669651"/>
                <a:gd name="connsiteY18" fmla="*/ 205883 h 749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9651" h="749917">
                  <a:moveTo>
                    <a:pt x="174305" y="34909"/>
                  </a:moveTo>
                  <a:cubicBezTo>
                    <a:pt x="254220" y="-3858"/>
                    <a:pt x="347945" y="-8144"/>
                    <a:pt x="433670" y="11287"/>
                  </a:cubicBezTo>
                  <a:cubicBezTo>
                    <a:pt x="515681" y="29956"/>
                    <a:pt x="587690" y="86439"/>
                    <a:pt x="624838" y="161973"/>
                  </a:cubicBezTo>
                  <a:cubicBezTo>
                    <a:pt x="667223" y="243126"/>
                    <a:pt x="671510" y="336852"/>
                    <a:pt x="669129" y="426482"/>
                  </a:cubicBezTo>
                  <a:cubicBezTo>
                    <a:pt x="515586" y="426482"/>
                    <a:pt x="362043" y="426482"/>
                    <a:pt x="208500" y="426482"/>
                  </a:cubicBezTo>
                  <a:cubicBezTo>
                    <a:pt x="208690" y="469916"/>
                    <a:pt x="215834" y="517350"/>
                    <a:pt x="248028" y="549450"/>
                  </a:cubicBezTo>
                  <a:cubicBezTo>
                    <a:pt x="289272" y="590693"/>
                    <a:pt x="353089" y="596217"/>
                    <a:pt x="408049" y="587645"/>
                  </a:cubicBezTo>
                  <a:cubicBezTo>
                    <a:pt x="462341" y="579453"/>
                    <a:pt x="506537" y="543449"/>
                    <a:pt x="543589" y="505063"/>
                  </a:cubicBezTo>
                  <a:cubicBezTo>
                    <a:pt x="577308" y="547259"/>
                    <a:pt x="611216" y="589169"/>
                    <a:pt x="645031" y="631269"/>
                  </a:cubicBezTo>
                  <a:cubicBezTo>
                    <a:pt x="580260" y="703755"/>
                    <a:pt x="484153" y="740997"/>
                    <a:pt x="388617" y="747951"/>
                  </a:cubicBezTo>
                  <a:cubicBezTo>
                    <a:pt x="297273" y="756047"/>
                    <a:pt x="198880" y="740140"/>
                    <a:pt x="125441" y="681752"/>
                  </a:cubicBezTo>
                  <a:cubicBezTo>
                    <a:pt x="54481" y="626602"/>
                    <a:pt x="16381" y="538782"/>
                    <a:pt x="5045" y="451342"/>
                  </a:cubicBezTo>
                  <a:cubicBezTo>
                    <a:pt x="-5812" y="363522"/>
                    <a:pt x="-384" y="271701"/>
                    <a:pt x="33526" y="189214"/>
                  </a:cubicBezTo>
                  <a:cubicBezTo>
                    <a:pt x="60291" y="123301"/>
                    <a:pt x="110011" y="66246"/>
                    <a:pt x="174305" y="34909"/>
                  </a:cubicBezTo>
                  <a:moveTo>
                    <a:pt x="232502" y="205788"/>
                  </a:moveTo>
                  <a:cubicBezTo>
                    <a:pt x="213072" y="235887"/>
                    <a:pt x="209262" y="272367"/>
                    <a:pt x="208500" y="307324"/>
                  </a:cubicBezTo>
                  <a:cubicBezTo>
                    <a:pt x="292510" y="307324"/>
                    <a:pt x="376616" y="307324"/>
                    <a:pt x="460722" y="307324"/>
                  </a:cubicBezTo>
                  <a:cubicBezTo>
                    <a:pt x="459770" y="263890"/>
                    <a:pt x="455292" y="215884"/>
                    <a:pt x="423956" y="182547"/>
                  </a:cubicBezTo>
                  <a:cubicBezTo>
                    <a:pt x="372234" y="128730"/>
                    <a:pt x="270317" y="141780"/>
                    <a:pt x="232502" y="205883"/>
                  </a:cubicBezTo>
                  <a:close/>
                </a:path>
              </a:pathLst>
            </a:custGeom>
            <a:solidFill>
              <a:srgbClr val="000000"/>
            </a:solidFill>
            <a:ln w="9525" cap="flat">
              <a:noFill/>
              <a:prstDash val="solid"/>
              <a:miter/>
            </a:ln>
          </p:spPr>
          <p:txBody>
            <a:bodyPr rtlCol="0" anchor="ctr"/>
            <a:lstStyle/>
            <a:p>
              <a:endParaRPr lang="en-US" sz="900"/>
            </a:p>
          </p:txBody>
        </p:sp>
      </p:grpSp>
      <p:pic>
        <p:nvPicPr>
          <p:cNvPr id="4" name="Picture 3">
            <a:extLst>
              <a:ext uri="{FF2B5EF4-FFF2-40B4-BE49-F238E27FC236}">
                <a16:creationId xmlns:a16="http://schemas.microsoft.com/office/drawing/2014/main" id="{2DE16743-7FE4-7DB0-AE65-92E8AEA8C0B8}"/>
              </a:ext>
            </a:extLst>
          </p:cNvPr>
          <p:cNvPicPr>
            <a:picLocks noChangeAspect="1"/>
          </p:cNvPicPr>
          <p:nvPr userDrawn="1"/>
        </p:nvPicPr>
        <p:blipFill>
          <a:blip r:embed="rId2"/>
          <a:stretch>
            <a:fillRect/>
          </a:stretch>
        </p:blipFill>
        <p:spPr>
          <a:xfrm>
            <a:off x="11081689" y="6292851"/>
            <a:ext cx="819043" cy="304800"/>
          </a:xfrm>
          <a:prstGeom prst="rect">
            <a:avLst/>
          </a:prstGeom>
        </p:spPr>
      </p:pic>
      <p:sp>
        <p:nvSpPr>
          <p:cNvPr id="2" name="TextBox 1">
            <a:extLst>
              <a:ext uri="{FF2B5EF4-FFF2-40B4-BE49-F238E27FC236}">
                <a16:creationId xmlns:a16="http://schemas.microsoft.com/office/drawing/2014/main" id="{688A4206-3233-86A0-3616-8DA2D7758FC1}"/>
              </a:ext>
            </a:extLst>
          </p:cNvPr>
          <p:cNvSpPr txBox="1"/>
          <p:nvPr userDrawn="1"/>
        </p:nvSpPr>
        <p:spPr>
          <a:xfrm>
            <a:off x="270381" y="5966327"/>
            <a:ext cx="2761097" cy="646331"/>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r>
              <a:rPr lang="en-US" sz="1400" kern="0"/>
              <a:t>October 21–24, 2024</a:t>
            </a:r>
          </a:p>
          <a:p>
            <a:r>
              <a:rPr lang="en-US" sz="1400" kern="0"/>
              <a:t>Mandalay Bay Convention Center</a:t>
            </a:r>
            <a:br>
              <a:rPr lang="en-US" sz="1400" kern="0"/>
            </a:br>
            <a:r>
              <a:rPr lang="en-US" sz="1400" kern="0"/>
              <a:t>Las Vegas, Nevada</a:t>
            </a:r>
          </a:p>
        </p:txBody>
      </p:sp>
      <p:pic>
        <p:nvPicPr>
          <p:cNvPr id="3" name="Picture 2">
            <a:extLst>
              <a:ext uri="{FF2B5EF4-FFF2-40B4-BE49-F238E27FC236}">
                <a16:creationId xmlns:a16="http://schemas.microsoft.com/office/drawing/2014/main" id="{9D2CFBF9-D71D-66A1-0775-4AB7510E6127}"/>
              </a:ext>
            </a:extLst>
          </p:cNvPr>
          <p:cNvPicPr>
            <a:picLocks noChangeAspect="1"/>
          </p:cNvPicPr>
          <p:nvPr userDrawn="1"/>
        </p:nvPicPr>
        <p:blipFill>
          <a:blip r:embed="rId3"/>
          <a:stretch>
            <a:fillRect/>
          </a:stretch>
        </p:blipFill>
        <p:spPr>
          <a:xfrm>
            <a:off x="9157889" y="184107"/>
            <a:ext cx="2742843" cy="2743200"/>
          </a:xfrm>
          <a:prstGeom prst="rect">
            <a:avLst/>
          </a:prstGeom>
        </p:spPr>
      </p:pic>
      <p:sp>
        <p:nvSpPr>
          <p:cNvPr id="5" name="Freeform: Shape 4">
            <a:extLst>
              <a:ext uri="{FF2B5EF4-FFF2-40B4-BE49-F238E27FC236}">
                <a16:creationId xmlns:a16="http://schemas.microsoft.com/office/drawing/2014/main" id="{0CE26799-50EE-2DA3-031C-DE1843EE3A0D}"/>
              </a:ext>
            </a:extLst>
          </p:cNvPr>
          <p:cNvSpPr>
            <a:spLocks noChangeAspect="1"/>
          </p:cNvSpPr>
          <p:nvPr userDrawn="1"/>
        </p:nvSpPr>
        <p:spPr>
          <a:xfrm>
            <a:off x="7786468" y="4309876"/>
            <a:ext cx="1371421" cy="1371634"/>
          </a:xfrm>
          <a:custGeom>
            <a:avLst/>
            <a:gdLst>
              <a:gd name="connsiteX0" fmla="*/ 164333 w 305786"/>
              <a:gd name="connsiteY0" fmla="*/ 305795 h 305794"/>
              <a:gd name="connsiteX1" fmla="*/ 162308 w 305786"/>
              <a:gd name="connsiteY1" fmla="*/ 305257 h 305794"/>
              <a:gd name="connsiteX2" fmla="*/ 160213 w 305786"/>
              <a:gd name="connsiteY2" fmla="*/ 301675 h 305794"/>
              <a:gd name="connsiteX3" fmla="*/ 160213 w 305786"/>
              <a:gd name="connsiteY3" fmla="*/ 225134 h 305794"/>
              <a:gd name="connsiteX4" fmla="*/ 156666 w 305786"/>
              <a:gd name="connsiteY4" fmla="*/ 223669 h 305794"/>
              <a:gd name="connsiteX5" fmla="*/ 98574 w 305786"/>
              <a:gd name="connsiteY5" fmla="*/ 281704 h 305794"/>
              <a:gd name="connsiteX6" fmla="*/ 92749 w 305786"/>
              <a:gd name="connsiteY6" fmla="*/ 275867 h 305794"/>
              <a:gd name="connsiteX7" fmla="*/ 150818 w 305786"/>
              <a:gd name="connsiteY7" fmla="*/ 217844 h 305794"/>
              <a:gd name="connsiteX8" fmla="*/ 148758 w 305786"/>
              <a:gd name="connsiteY8" fmla="*/ 210119 h 305794"/>
              <a:gd name="connsiteX9" fmla="*/ 164322 w 305786"/>
              <a:gd name="connsiteY9" fmla="*/ 194555 h 305794"/>
              <a:gd name="connsiteX10" fmla="*/ 179886 w 305786"/>
              <a:gd name="connsiteY10" fmla="*/ 210119 h 305794"/>
              <a:gd name="connsiteX11" fmla="*/ 168442 w 305786"/>
              <a:gd name="connsiteY11" fmla="*/ 225134 h 305794"/>
              <a:gd name="connsiteX12" fmla="*/ 168442 w 305786"/>
              <a:gd name="connsiteY12" fmla="*/ 294407 h 305794"/>
              <a:gd name="connsiteX13" fmla="*/ 217413 w 305786"/>
              <a:gd name="connsiteY13" fmla="*/ 265018 h 305794"/>
              <a:gd name="connsiteX14" fmla="*/ 217413 w 305786"/>
              <a:gd name="connsiteY14" fmla="*/ 164342 h 305794"/>
              <a:gd name="connsiteX15" fmla="*/ 218614 w 305786"/>
              <a:gd name="connsiteY15" fmla="*/ 161435 h 305794"/>
              <a:gd name="connsiteX16" fmla="*/ 266372 w 305786"/>
              <a:gd name="connsiteY16" fmla="*/ 113700 h 305794"/>
              <a:gd name="connsiteX17" fmla="*/ 297546 w 305786"/>
              <a:gd name="connsiteY17" fmla="*/ 38453 h 305794"/>
              <a:gd name="connsiteX18" fmla="*/ 297546 w 305786"/>
              <a:gd name="connsiteY18" fmla="*/ 8240 h 305794"/>
              <a:gd name="connsiteX19" fmla="*/ 267333 w 305786"/>
              <a:gd name="connsiteY19" fmla="*/ 8240 h 305794"/>
              <a:gd name="connsiteX20" fmla="*/ 192120 w 305786"/>
              <a:gd name="connsiteY20" fmla="*/ 39403 h 305794"/>
              <a:gd name="connsiteX21" fmla="*/ 144363 w 305786"/>
              <a:gd name="connsiteY21" fmla="*/ 87138 h 305794"/>
              <a:gd name="connsiteX22" fmla="*/ 141445 w 305786"/>
              <a:gd name="connsiteY22" fmla="*/ 88351 h 305794"/>
              <a:gd name="connsiteX23" fmla="*/ 40791 w 305786"/>
              <a:gd name="connsiteY23" fmla="*/ 88351 h 305794"/>
              <a:gd name="connsiteX24" fmla="*/ 11390 w 305786"/>
              <a:gd name="connsiteY24" fmla="*/ 137333 h 305794"/>
              <a:gd name="connsiteX25" fmla="*/ 80652 w 305786"/>
              <a:gd name="connsiteY25" fmla="*/ 137333 h 305794"/>
              <a:gd name="connsiteX26" fmla="*/ 95667 w 305786"/>
              <a:gd name="connsiteY26" fmla="*/ 125888 h 305794"/>
              <a:gd name="connsiteX27" fmla="*/ 111231 w 305786"/>
              <a:gd name="connsiteY27" fmla="*/ 141453 h 305794"/>
              <a:gd name="connsiteX28" fmla="*/ 95667 w 305786"/>
              <a:gd name="connsiteY28" fmla="*/ 157017 h 305794"/>
              <a:gd name="connsiteX29" fmla="*/ 87965 w 305786"/>
              <a:gd name="connsiteY29" fmla="*/ 154980 h 305794"/>
              <a:gd name="connsiteX30" fmla="*/ 29907 w 305786"/>
              <a:gd name="connsiteY30" fmla="*/ 213038 h 305794"/>
              <a:gd name="connsiteX31" fmla="*/ 24082 w 305786"/>
              <a:gd name="connsiteY31" fmla="*/ 207201 h 305794"/>
              <a:gd name="connsiteX32" fmla="*/ 82128 w 305786"/>
              <a:gd name="connsiteY32" fmla="*/ 149144 h 305794"/>
              <a:gd name="connsiteX33" fmla="*/ 80652 w 305786"/>
              <a:gd name="connsiteY33" fmla="*/ 145573 h 305794"/>
              <a:gd name="connsiteX34" fmla="*/ 4112 w 305786"/>
              <a:gd name="connsiteY34" fmla="*/ 145573 h 305794"/>
              <a:gd name="connsiteX35" fmla="*/ 530 w 305786"/>
              <a:gd name="connsiteY35" fmla="*/ 143479 h 305794"/>
              <a:gd name="connsiteX36" fmla="*/ 587 w 305786"/>
              <a:gd name="connsiteY36" fmla="*/ 139336 h 305794"/>
              <a:gd name="connsiteX37" fmla="*/ 34931 w 305786"/>
              <a:gd name="connsiteY37" fmla="*/ 82114 h 305794"/>
              <a:gd name="connsiteX38" fmla="*/ 38456 w 305786"/>
              <a:gd name="connsiteY38" fmla="*/ 80111 h 305794"/>
              <a:gd name="connsiteX39" fmla="*/ 139739 w 305786"/>
              <a:gd name="connsiteY39" fmla="*/ 80111 h 305794"/>
              <a:gd name="connsiteX40" fmla="*/ 186284 w 305786"/>
              <a:gd name="connsiteY40" fmla="*/ 33578 h 305794"/>
              <a:gd name="connsiteX41" fmla="*/ 267333 w 305786"/>
              <a:gd name="connsiteY41" fmla="*/ 0 h 305794"/>
              <a:gd name="connsiteX42" fmla="*/ 301666 w 305786"/>
              <a:gd name="connsiteY42" fmla="*/ 0 h 305794"/>
              <a:gd name="connsiteX43" fmla="*/ 305786 w 305786"/>
              <a:gd name="connsiteY43" fmla="*/ 4120 h 305794"/>
              <a:gd name="connsiteX44" fmla="*/ 305786 w 305786"/>
              <a:gd name="connsiteY44" fmla="*/ 38453 h 305794"/>
              <a:gd name="connsiteX45" fmla="*/ 272220 w 305786"/>
              <a:gd name="connsiteY45" fmla="*/ 119514 h 305794"/>
              <a:gd name="connsiteX46" fmla="*/ 225675 w 305786"/>
              <a:gd name="connsiteY46" fmla="*/ 166047 h 305794"/>
              <a:gd name="connsiteX47" fmla="*/ 225675 w 305786"/>
              <a:gd name="connsiteY47" fmla="*/ 267341 h 305794"/>
              <a:gd name="connsiteX48" fmla="*/ 223673 w 305786"/>
              <a:gd name="connsiteY48" fmla="*/ 270878 h 305794"/>
              <a:gd name="connsiteX49" fmla="*/ 166451 w 305786"/>
              <a:gd name="connsiteY49" fmla="*/ 305211 h 305794"/>
              <a:gd name="connsiteX50" fmla="*/ 164333 w 305786"/>
              <a:gd name="connsiteY50" fmla="*/ 305795 h 305794"/>
              <a:gd name="connsiteX51" fmla="*/ 164333 w 305786"/>
              <a:gd name="connsiteY51" fmla="*/ 202795 h 305794"/>
              <a:gd name="connsiteX52" fmla="*/ 157009 w 305786"/>
              <a:gd name="connsiteY52" fmla="*/ 210119 h 305794"/>
              <a:gd name="connsiteX53" fmla="*/ 164333 w 305786"/>
              <a:gd name="connsiteY53" fmla="*/ 217444 h 305794"/>
              <a:gd name="connsiteX54" fmla="*/ 171658 w 305786"/>
              <a:gd name="connsiteY54" fmla="*/ 210119 h 305794"/>
              <a:gd name="connsiteX55" fmla="*/ 164333 w 305786"/>
              <a:gd name="connsiteY55" fmla="*/ 202795 h 305794"/>
              <a:gd name="connsiteX56" fmla="*/ 95667 w 305786"/>
              <a:gd name="connsiteY56" fmla="*/ 134128 h 305794"/>
              <a:gd name="connsiteX57" fmla="*/ 88343 w 305786"/>
              <a:gd name="connsiteY57" fmla="*/ 141453 h 305794"/>
              <a:gd name="connsiteX58" fmla="*/ 95667 w 305786"/>
              <a:gd name="connsiteY58" fmla="*/ 148777 h 305794"/>
              <a:gd name="connsiteX59" fmla="*/ 102991 w 305786"/>
              <a:gd name="connsiteY59" fmla="*/ 141453 h 305794"/>
              <a:gd name="connsiteX60" fmla="*/ 95667 w 305786"/>
              <a:gd name="connsiteY60" fmla="*/ 134128 h 305794"/>
              <a:gd name="connsiteX61" fmla="*/ 7019 w 305786"/>
              <a:gd name="connsiteY61" fmla="*/ 304593 h 305794"/>
              <a:gd name="connsiteX62" fmla="*/ 1193 w 305786"/>
              <a:gd name="connsiteY62" fmla="*/ 298756 h 305794"/>
              <a:gd name="connsiteX63" fmla="*/ 150806 w 305786"/>
              <a:gd name="connsiteY63" fmla="*/ 149155 h 305794"/>
              <a:gd name="connsiteX64" fmla="*/ 148769 w 305786"/>
              <a:gd name="connsiteY64" fmla="*/ 141453 h 305794"/>
              <a:gd name="connsiteX65" fmla="*/ 164333 w 305786"/>
              <a:gd name="connsiteY65" fmla="*/ 125888 h 305794"/>
              <a:gd name="connsiteX66" fmla="*/ 179898 w 305786"/>
              <a:gd name="connsiteY66" fmla="*/ 141453 h 305794"/>
              <a:gd name="connsiteX67" fmla="*/ 164333 w 305786"/>
              <a:gd name="connsiteY67" fmla="*/ 157017 h 305794"/>
              <a:gd name="connsiteX68" fmla="*/ 156631 w 305786"/>
              <a:gd name="connsiteY68" fmla="*/ 154980 h 305794"/>
              <a:gd name="connsiteX69" fmla="*/ 7019 w 305786"/>
              <a:gd name="connsiteY69" fmla="*/ 304593 h 305794"/>
              <a:gd name="connsiteX70" fmla="*/ 164333 w 305786"/>
              <a:gd name="connsiteY70" fmla="*/ 134128 h 305794"/>
              <a:gd name="connsiteX71" fmla="*/ 157009 w 305786"/>
              <a:gd name="connsiteY71" fmla="*/ 141453 h 305794"/>
              <a:gd name="connsiteX72" fmla="*/ 164333 w 305786"/>
              <a:gd name="connsiteY72" fmla="*/ 148777 h 305794"/>
              <a:gd name="connsiteX73" fmla="*/ 171658 w 305786"/>
              <a:gd name="connsiteY73" fmla="*/ 141453 h 305794"/>
              <a:gd name="connsiteX74" fmla="*/ 164333 w 305786"/>
              <a:gd name="connsiteY74" fmla="*/ 134128 h 305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305786" h="305794">
                <a:moveTo>
                  <a:pt x="164333" y="305795"/>
                </a:moveTo>
                <a:cubicBezTo>
                  <a:pt x="163635" y="305795"/>
                  <a:pt x="162937" y="305611"/>
                  <a:pt x="162308" y="305257"/>
                </a:cubicBezTo>
                <a:cubicBezTo>
                  <a:pt x="161015" y="304524"/>
                  <a:pt x="160213" y="303162"/>
                  <a:pt x="160213" y="301675"/>
                </a:cubicBezTo>
                <a:lnTo>
                  <a:pt x="160213" y="225134"/>
                </a:lnTo>
                <a:cubicBezTo>
                  <a:pt x="158966" y="224791"/>
                  <a:pt x="157776" y="224299"/>
                  <a:pt x="156666" y="223669"/>
                </a:cubicBezTo>
                <a:lnTo>
                  <a:pt x="98574" y="281704"/>
                </a:lnTo>
                <a:lnTo>
                  <a:pt x="92749" y="275867"/>
                </a:lnTo>
                <a:lnTo>
                  <a:pt x="150818" y="217844"/>
                </a:lnTo>
                <a:cubicBezTo>
                  <a:pt x="149513" y="215578"/>
                  <a:pt x="148758" y="212935"/>
                  <a:pt x="148758" y="210119"/>
                </a:cubicBezTo>
                <a:cubicBezTo>
                  <a:pt x="148758" y="201536"/>
                  <a:pt x="155739" y="194555"/>
                  <a:pt x="164322" y="194555"/>
                </a:cubicBezTo>
                <a:cubicBezTo>
                  <a:pt x="172905" y="194555"/>
                  <a:pt x="179886" y="201536"/>
                  <a:pt x="179886" y="210119"/>
                </a:cubicBezTo>
                <a:cubicBezTo>
                  <a:pt x="179886" y="217272"/>
                  <a:pt x="175022" y="223315"/>
                  <a:pt x="168442" y="225134"/>
                </a:cubicBezTo>
                <a:lnTo>
                  <a:pt x="168442" y="294407"/>
                </a:lnTo>
                <a:lnTo>
                  <a:pt x="217413" y="265018"/>
                </a:lnTo>
                <a:lnTo>
                  <a:pt x="217413" y="164342"/>
                </a:lnTo>
                <a:cubicBezTo>
                  <a:pt x="217413" y="163243"/>
                  <a:pt x="217847" y="162202"/>
                  <a:pt x="218614" y="161435"/>
                </a:cubicBezTo>
                <a:lnTo>
                  <a:pt x="266372" y="113700"/>
                </a:lnTo>
                <a:cubicBezTo>
                  <a:pt x="286491" y="93592"/>
                  <a:pt x="297546" y="66881"/>
                  <a:pt x="297546" y="38453"/>
                </a:cubicBezTo>
                <a:lnTo>
                  <a:pt x="297546" y="8240"/>
                </a:lnTo>
                <a:lnTo>
                  <a:pt x="267333" y="8240"/>
                </a:lnTo>
                <a:cubicBezTo>
                  <a:pt x="238928" y="8240"/>
                  <a:pt x="212205" y="19307"/>
                  <a:pt x="192120" y="39403"/>
                </a:cubicBezTo>
                <a:lnTo>
                  <a:pt x="144363" y="87138"/>
                </a:lnTo>
                <a:cubicBezTo>
                  <a:pt x="143585" y="87916"/>
                  <a:pt x="142543" y="88351"/>
                  <a:pt x="141445" y="88351"/>
                </a:cubicBezTo>
                <a:lnTo>
                  <a:pt x="40791" y="88351"/>
                </a:lnTo>
                <a:lnTo>
                  <a:pt x="11390" y="137333"/>
                </a:lnTo>
                <a:lnTo>
                  <a:pt x="80652" y="137333"/>
                </a:lnTo>
                <a:cubicBezTo>
                  <a:pt x="82460" y="130741"/>
                  <a:pt x="88503" y="125888"/>
                  <a:pt x="95667" y="125888"/>
                </a:cubicBezTo>
                <a:cubicBezTo>
                  <a:pt x="104250" y="125888"/>
                  <a:pt x="111231" y="132870"/>
                  <a:pt x="111231" y="141453"/>
                </a:cubicBezTo>
                <a:cubicBezTo>
                  <a:pt x="111231" y="150036"/>
                  <a:pt x="104250" y="157017"/>
                  <a:pt x="95667" y="157017"/>
                </a:cubicBezTo>
                <a:cubicBezTo>
                  <a:pt x="92863" y="157017"/>
                  <a:pt x="90242" y="156273"/>
                  <a:pt x="87965" y="154980"/>
                </a:cubicBezTo>
                <a:lnTo>
                  <a:pt x="29907" y="213038"/>
                </a:lnTo>
                <a:lnTo>
                  <a:pt x="24082" y="207201"/>
                </a:lnTo>
                <a:lnTo>
                  <a:pt x="82128" y="149144"/>
                </a:lnTo>
                <a:cubicBezTo>
                  <a:pt x="81499" y="148033"/>
                  <a:pt x="80995" y="146832"/>
                  <a:pt x="80652" y="145573"/>
                </a:cubicBezTo>
                <a:lnTo>
                  <a:pt x="4112" y="145573"/>
                </a:lnTo>
                <a:cubicBezTo>
                  <a:pt x="2624" y="145573"/>
                  <a:pt x="1251" y="144772"/>
                  <a:pt x="530" y="143479"/>
                </a:cubicBezTo>
                <a:cubicBezTo>
                  <a:pt x="-191" y="142185"/>
                  <a:pt x="-180" y="140606"/>
                  <a:pt x="587" y="139336"/>
                </a:cubicBezTo>
                <a:lnTo>
                  <a:pt x="34931" y="82114"/>
                </a:lnTo>
                <a:cubicBezTo>
                  <a:pt x="35675" y="80878"/>
                  <a:pt x="37014" y="80111"/>
                  <a:pt x="38456" y="80111"/>
                </a:cubicBezTo>
                <a:lnTo>
                  <a:pt x="139739" y="80111"/>
                </a:lnTo>
                <a:lnTo>
                  <a:pt x="186284" y="33578"/>
                </a:lnTo>
                <a:cubicBezTo>
                  <a:pt x="207937" y="11925"/>
                  <a:pt x="236719" y="0"/>
                  <a:pt x="267333" y="0"/>
                </a:cubicBezTo>
                <a:lnTo>
                  <a:pt x="301666" y="0"/>
                </a:lnTo>
                <a:cubicBezTo>
                  <a:pt x="303944" y="0"/>
                  <a:pt x="305786" y="1843"/>
                  <a:pt x="305786" y="4120"/>
                </a:cubicBezTo>
                <a:lnTo>
                  <a:pt x="305786" y="38453"/>
                </a:lnTo>
                <a:cubicBezTo>
                  <a:pt x="305786" y="69078"/>
                  <a:pt x="293861" y="97861"/>
                  <a:pt x="272220" y="119514"/>
                </a:cubicBezTo>
                <a:lnTo>
                  <a:pt x="225675" y="166047"/>
                </a:lnTo>
                <a:lnTo>
                  <a:pt x="225675" y="267341"/>
                </a:lnTo>
                <a:cubicBezTo>
                  <a:pt x="225675" y="268783"/>
                  <a:pt x="224920" y="270122"/>
                  <a:pt x="223673" y="270878"/>
                </a:cubicBezTo>
                <a:lnTo>
                  <a:pt x="166451" y="305211"/>
                </a:lnTo>
                <a:cubicBezTo>
                  <a:pt x="165798" y="305600"/>
                  <a:pt x="165066" y="305795"/>
                  <a:pt x="164333" y="305795"/>
                </a:cubicBezTo>
                <a:close/>
                <a:moveTo>
                  <a:pt x="164333" y="202795"/>
                </a:moveTo>
                <a:cubicBezTo>
                  <a:pt x="160294" y="202795"/>
                  <a:pt x="157009" y="206079"/>
                  <a:pt x="157009" y="210119"/>
                </a:cubicBezTo>
                <a:cubicBezTo>
                  <a:pt x="157009" y="214159"/>
                  <a:pt x="160294" y="217444"/>
                  <a:pt x="164333" y="217444"/>
                </a:cubicBezTo>
                <a:cubicBezTo>
                  <a:pt x="168373" y="217444"/>
                  <a:pt x="171658" y="214159"/>
                  <a:pt x="171658" y="210119"/>
                </a:cubicBezTo>
                <a:cubicBezTo>
                  <a:pt x="171658" y="206079"/>
                  <a:pt x="168373" y="202795"/>
                  <a:pt x="164333" y="202795"/>
                </a:cubicBezTo>
                <a:close/>
                <a:moveTo>
                  <a:pt x="95667" y="134128"/>
                </a:moveTo>
                <a:cubicBezTo>
                  <a:pt x="91627" y="134128"/>
                  <a:pt x="88343" y="137413"/>
                  <a:pt x="88343" y="141453"/>
                </a:cubicBezTo>
                <a:cubicBezTo>
                  <a:pt x="88343" y="145493"/>
                  <a:pt x="91627" y="148777"/>
                  <a:pt x="95667" y="148777"/>
                </a:cubicBezTo>
                <a:cubicBezTo>
                  <a:pt x="99707" y="148777"/>
                  <a:pt x="102991" y="145493"/>
                  <a:pt x="102991" y="141453"/>
                </a:cubicBezTo>
                <a:cubicBezTo>
                  <a:pt x="102991" y="137413"/>
                  <a:pt x="99707" y="134128"/>
                  <a:pt x="95667" y="134128"/>
                </a:cubicBezTo>
                <a:close/>
                <a:moveTo>
                  <a:pt x="7019" y="304593"/>
                </a:moveTo>
                <a:lnTo>
                  <a:pt x="1193" y="298756"/>
                </a:lnTo>
                <a:lnTo>
                  <a:pt x="150806" y="149155"/>
                </a:lnTo>
                <a:cubicBezTo>
                  <a:pt x="149513" y="146878"/>
                  <a:pt x="148769" y="144257"/>
                  <a:pt x="148769" y="141453"/>
                </a:cubicBezTo>
                <a:cubicBezTo>
                  <a:pt x="148769" y="132870"/>
                  <a:pt x="155750" y="125888"/>
                  <a:pt x="164333" y="125888"/>
                </a:cubicBezTo>
                <a:cubicBezTo>
                  <a:pt x="172917" y="125888"/>
                  <a:pt x="179898" y="132870"/>
                  <a:pt x="179898" y="141453"/>
                </a:cubicBezTo>
                <a:cubicBezTo>
                  <a:pt x="179898" y="150036"/>
                  <a:pt x="172917" y="157017"/>
                  <a:pt x="164333" y="157017"/>
                </a:cubicBezTo>
                <a:cubicBezTo>
                  <a:pt x="161530" y="157017"/>
                  <a:pt x="158909" y="156273"/>
                  <a:pt x="156631" y="154980"/>
                </a:cubicBezTo>
                <a:lnTo>
                  <a:pt x="7019" y="304593"/>
                </a:lnTo>
                <a:close/>
                <a:moveTo>
                  <a:pt x="164333" y="134128"/>
                </a:moveTo>
                <a:cubicBezTo>
                  <a:pt x="160294" y="134128"/>
                  <a:pt x="157009" y="137413"/>
                  <a:pt x="157009" y="141453"/>
                </a:cubicBezTo>
                <a:cubicBezTo>
                  <a:pt x="157009" y="145493"/>
                  <a:pt x="160294" y="148777"/>
                  <a:pt x="164333" y="148777"/>
                </a:cubicBezTo>
                <a:cubicBezTo>
                  <a:pt x="168373" y="148777"/>
                  <a:pt x="171658" y="145493"/>
                  <a:pt x="171658" y="141453"/>
                </a:cubicBezTo>
                <a:cubicBezTo>
                  <a:pt x="171658" y="137413"/>
                  <a:pt x="168373" y="134128"/>
                  <a:pt x="164333" y="134128"/>
                </a:cubicBezTo>
                <a:close/>
              </a:path>
            </a:pathLst>
          </a:custGeom>
          <a:solidFill>
            <a:srgbClr val="000000"/>
          </a:solidFill>
          <a:ln w="11311" cap="flat">
            <a:noFill/>
            <a:prstDash val="solid"/>
            <a:miter/>
          </a:ln>
        </p:spPr>
        <p:txBody>
          <a:bodyPr rtlCol="0" anchor="ctr"/>
          <a:lstStyle/>
          <a:p>
            <a:endParaRPr lang="en-US" sz="900"/>
          </a:p>
        </p:txBody>
      </p:sp>
      <p:sp>
        <p:nvSpPr>
          <p:cNvPr id="6" name="Freeform: Shape 5">
            <a:extLst>
              <a:ext uri="{FF2B5EF4-FFF2-40B4-BE49-F238E27FC236}">
                <a16:creationId xmlns:a16="http://schemas.microsoft.com/office/drawing/2014/main" id="{34043421-7513-AF54-41BA-7E63D644E874}"/>
              </a:ext>
            </a:extLst>
          </p:cNvPr>
          <p:cNvSpPr>
            <a:spLocks noChangeAspect="1"/>
          </p:cNvSpPr>
          <p:nvPr userDrawn="1"/>
        </p:nvSpPr>
        <p:spPr>
          <a:xfrm rot="10800000">
            <a:off x="7786468" y="186647"/>
            <a:ext cx="1371421" cy="1371600"/>
          </a:xfrm>
          <a:custGeom>
            <a:avLst/>
            <a:gdLst>
              <a:gd name="connsiteX0" fmla="*/ 210111 w 1432576"/>
              <a:gd name="connsiteY0" fmla="*/ 926399 h 1432576"/>
              <a:gd name="connsiteX1" fmla="*/ 0 w 1432576"/>
              <a:gd name="connsiteY1" fmla="*/ 1432576 h 1432576"/>
              <a:gd name="connsiteX2" fmla="*/ 716288 w 1432576"/>
              <a:gd name="connsiteY2" fmla="*/ 1432576 h 1432576"/>
              <a:gd name="connsiteX3" fmla="*/ 1432576 w 1432576"/>
              <a:gd name="connsiteY3" fmla="*/ 1432576 h 1432576"/>
              <a:gd name="connsiteX4" fmla="*/ 1222465 w 1432576"/>
              <a:gd name="connsiteY4" fmla="*/ 926399 h 1432576"/>
              <a:gd name="connsiteX5" fmla="*/ 716288 w 1432576"/>
              <a:gd name="connsiteY5" fmla="*/ 716288 h 1432576"/>
              <a:gd name="connsiteX6" fmla="*/ 210111 w 1432576"/>
              <a:gd name="connsiteY6" fmla="*/ 926399 h 1432576"/>
              <a:gd name="connsiteX7" fmla="*/ 210111 w 1432576"/>
              <a:gd name="connsiteY7" fmla="*/ 506912 h 1432576"/>
              <a:gd name="connsiteX8" fmla="*/ 0 w 1432576"/>
              <a:gd name="connsiteY8" fmla="*/ 0 h 1432576"/>
              <a:gd name="connsiteX9" fmla="*/ 716288 w 1432576"/>
              <a:gd name="connsiteY9" fmla="*/ 0 h 1432576"/>
              <a:gd name="connsiteX10" fmla="*/ 1432576 w 1432576"/>
              <a:gd name="connsiteY10" fmla="*/ 0 h 1432576"/>
              <a:gd name="connsiteX11" fmla="*/ 1222465 w 1432576"/>
              <a:gd name="connsiteY11" fmla="*/ 506177 h 1432576"/>
              <a:gd name="connsiteX12" fmla="*/ 716288 w 1432576"/>
              <a:gd name="connsiteY12" fmla="*/ 716288 h 1432576"/>
              <a:gd name="connsiteX13" fmla="*/ 210111 w 1432576"/>
              <a:gd name="connsiteY13" fmla="*/ 506912 h 143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32576" h="1432576">
                <a:moveTo>
                  <a:pt x="210111" y="926399"/>
                </a:moveTo>
                <a:cubicBezTo>
                  <a:pt x="75669" y="1060841"/>
                  <a:pt x="0" y="1243035"/>
                  <a:pt x="0" y="1432576"/>
                </a:cubicBezTo>
                <a:lnTo>
                  <a:pt x="716288" y="1432576"/>
                </a:lnTo>
                <a:lnTo>
                  <a:pt x="1432576" y="1432576"/>
                </a:lnTo>
                <a:cubicBezTo>
                  <a:pt x="1432576" y="1242301"/>
                  <a:pt x="1356907" y="1060106"/>
                  <a:pt x="1222465" y="926399"/>
                </a:cubicBezTo>
                <a:cubicBezTo>
                  <a:pt x="1088023" y="792692"/>
                  <a:pt x="905829" y="716288"/>
                  <a:pt x="716288" y="716288"/>
                </a:cubicBezTo>
                <a:cubicBezTo>
                  <a:pt x="526747" y="716288"/>
                  <a:pt x="343818" y="791957"/>
                  <a:pt x="210111" y="926399"/>
                </a:cubicBezTo>
                <a:close/>
                <a:moveTo>
                  <a:pt x="210111" y="506912"/>
                </a:moveTo>
                <a:cubicBezTo>
                  <a:pt x="75669" y="372470"/>
                  <a:pt x="0" y="190276"/>
                  <a:pt x="0" y="0"/>
                </a:cubicBezTo>
                <a:lnTo>
                  <a:pt x="716288" y="0"/>
                </a:lnTo>
                <a:lnTo>
                  <a:pt x="1432576" y="0"/>
                </a:lnTo>
                <a:cubicBezTo>
                  <a:pt x="1432576" y="190276"/>
                  <a:pt x="1356907" y="372470"/>
                  <a:pt x="1222465" y="506177"/>
                </a:cubicBezTo>
                <a:cubicBezTo>
                  <a:pt x="1088023" y="639884"/>
                  <a:pt x="905829" y="716288"/>
                  <a:pt x="716288" y="716288"/>
                </a:cubicBezTo>
                <a:cubicBezTo>
                  <a:pt x="526747" y="716288"/>
                  <a:pt x="343818" y="641353"/>
                  <a:pt x="210111" y="506912"/>
                </a:cubicBezTo>
                <a:close/>
              </a:path>
            </a:pathLst>
          </a:custGeom>
          <a:solidFill>
            <a:srgbClr val="D02670"/>
          </a:solidFill>
          <a:ln w="7342" cap="flat">
            <a:noFill/>
            <a:prstDash val="solid"/>
            <a:miter/>
          </a:ln>
        </p:spPr>
        <p:txBody>
          <a:bodyPr rtlCol="0" anchor="ctr"/>
          <a:lstStyle/>
          <a:p>
            <a:endParaRPr lang="uk-UA" sz="900"/>
          </a:p>
        </p:txBody>
      </p:sp>
      <p:sp>
        <p:nvSpPr>
          <p:cNvPr id="7" name="Freeform: Shape 6">
            <a:extLst>
              <a:ext uri="{FF2B5EF4-FFF2-40B4-BE49-F238E27FC236}">
                <a16:creationId xmlns:a16="http://schemas.microsoft.com/office/drawing/2014/main" id="{D62804A0-1E46-C911-3CBF-E0B5427C8AE4}"/>
              </a:ext>
            </a:extLst>
          </p:cNvPr>
          <p:cNvSpPr>
            <a:spLocks noChangeAspect="1"/>
          </p:cNvSpPr>
          <p:nvPr userDrawn="1"/>
        </p:nvSpPr>
        <p:spPr>
          <a:xfrm>
            <a:off x="10526296" y="2932862"/>
            <a:ext cx="1377451" cy="1371600"/>
          </a:xfrm>
          <a:custGeom>
            <a:avLst/>
            <a:gdLst>
              <a:gd name="connsiteX0" fmla="*/ 1002803 w 1998994"/>
              <a:gd name="connsiteY0" fmla="*/ 1581041 h 1990243"/>
              <a:gd name="connsiteX1" fmla="*/ 1247443 w 1998994"/>
              <a:gd name="connsiteY1" fmla="*/ 1338605 h 1990243"/>
              <a:gd name="connsiteX2" fmla="*/ 1002803 w 1998994"/>
              <a:gd name="connsiteY2" fmla="*/ 1096169 h 1990243"/>
              <a:gd name="connsiteX3" fmla="*/ 758163 w 1998994"/>
              <a:gd name="connsiteY3" fmla="*/ 1338605 h 1990243"/>
              <a:gd name="connsiteX4" fmla="*/ 1002803 w 1998994"/>
              <a:gd name="connsiteY4" fmla="*/ 1581041 h 1990243"/>
              <a:gd name="connsiteX5" fmla="*/ 1011619 w 1998994"/>
              <a:gd name="connsiteY5" fmla="*/ 1892534 h 1990243"/>
              <a:gd name="connsiteX6" fmla="*/ 1579507 w 1998994"/>
              <a:gd name="connsiteY6" fmla="*/ 1337870 h 1990243"/>
              <a:gd name="connsiteX7" fmla="*/ 1011619 w 1998994"/>
              <a:gd name="connsiteY7" fmla="*/ 782471 h 1990243"/>
              <a:gd name="connsiteX8" fmla="*/ 443731 w 1998994"/>
              <a:gd name="connsiteY8" fmla="*/ 1337136 h 1990243"/>
              <a:gd name="connsiteX9" fmla="*/ 1011619 w 1998994"/>
              <a:gd name="connsiteY9" fmla="*/ 1892534 h 1990243"/>
              <a:gd name="connsiteX10" fmla="*/ 0 w 1998994"/>
              <a:gd name="connsiteY10" fmla="*/ 1321708 h 1990243"/>
              <a:gd name="connsiteX11" fmla="*/ 999865 w 1998994"/>
              <a:gd name="connsiteY11" fmla="*/ 660519 h 1990243"/>
              <a:gd name="connsiteX12" fmla="*/ 1998260 w 1998994"/>
              <a:gd name="connsiteY12" fmla="*/ 1329055 h 1990243"/>
              <a:gd name="connsiteX13" fmla="*/ 999865 w 1998994"/>
              <a:gd name="connsiteY13" fmla="*/ 1990244 h 1990243"/>
              <a:gd name="connsiteX14" fmla="*/ 0 w 1998994"/>
              <a:gd name="connsiteY14" fmla="*/ 1321708 h 1990243"/>
              <a:gd name="connsiteX15" fmla="*/ 372470 w 1998994"/>
              <a:gd name="connsiteY15" fmla="*/ 197686 h 1990243"/>
              <a:gd name="connsiteX16" fmla="*/ 999865 w 1998994"/>
              <a:gd name="connsiteY16" fmla="*/ 64 h 1990243"/>
              <a:gd name="connsiteX17" fmla="*/ 1627260 w 1998994"/>
              <a:gd name="connsiteY17" fmla="*/ 197686 h 1990243"/>
              <a:gd name="connsiteX18" fmla="*/ 1998995 w 1998994"/>
              <a:gd name="connsiteY18" fmla="*/ 598808 h 1990243"/>
              <a:gd name="connsiteX19" fmla="*/ 1998995 w 1998994"/>
              <a:gd name="connsiteY19" fmla="*/ 796430 h 1990243"/>
              <a:gd name="connsiteX20" fmla="*/ 1550856 w 1998994"/>
              <a:gd name="connsiteY20" fmla="*/ 470978 h 1990243"/>
              <a:gd name="connsiteX21" fmla="*/ 999865 w 1998994"/>
              <a:gd name="connsiteY21" fmla="*/ 346087 h 1990243"/>
              <a:gd name="connsiteX22" fmla="*/ 448874 w 1998994"/>
              <a:gd name="connsiteY22" fmla="*/ 470978 h 1990243"/>
              <a:gd name="connsiteX23" fmla="*/ 734 w 1998994"/>
              <a:gd name="connsiteY23" fmla="*/ 796430 h 1990243"/>
              <a:gd name="connsiteX24" fmla="*/ 734 w 1998994"/>
              <a:gd name="connsiteY24" fmla="*/ 598808 h 1990243"/>
              <a:gd name="connsiteX25" fmla="*/ 372470 w 1998994"/>
              <a:gd name="connsiteY25" fmla="*/ 197686 h 1990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998994" h="1990243">
                <a:moveTo>
                  <a:pt x="1002803" y="1581041"/>
                </a:moveTo>
                <a:cubicBezTo>
                  <a:pt x="1137980" y="1581041"/>
                  <a:pt x="1247443" y="1472312"/>
                  <a:pt x="1247443" y="1338605"/>
                </a:cubicBezTo>
                <a:cubicBezTo>
                  <a:pt x="1247443" y="1204163"/>
                  <a:pt x="1137980" y="1096169"/>
                  <a:pt x="1002803" y="1096169"/>
                </a:cubicBezTo>
                <a:cubicBezTo>
                  <a:pt x="867627" y="1096169"/>
                  <a:pt x="758163" y="1204898"/>
                  <a:pt x="758163" y="1338605"/>
                </a:cubicBezTo>
                <a:cubicBezTo>
                  <a:pt x="757429" y="1472312"/>
                  <a:pt x="867627" y="1581041"/>
                  <a:pt x="1002803" y="1581041"/>
                </a:cubicBezTo>
                <a:close/>
                <a:moveTo>
                  <a:pt x="1011619" y="1892534"/>
                </a:moveTo>
                <a:cubicBezTo>
                  <a:pt x="1325317" y="1892534"/>
                  <a:pt x="1579507" y="1644221"/>
                  <a:pt x="1579507" y="1337870"/>
                </a:cubicBezTo>
                <a:cubicBezTo>
                  <a:pt x="1579507" y="1031520"/>
                  <a:pt x="1325317" y="782471"/>
                  <a:pt x="1011619" y="782471"/>
                </a:cubicBezTo>
                <a:cubicBezTo>
                  <a:pt x="697922" y="782471"/>
                  <a:pt x="443731" y="1030785"/>
                  <a:pt x="443731" y="1337136"/>
                </a:cubicBezTo>
                <a:cubicBezTo>
                  <a:pt x="443731" y="1643487"/>
                  <a:pt x="697187" y="1892534"/>
                  <a:pt x="1011619" y="1892534"/>
                </a:cubicBezTo>
                <a:close/>
                <a:moveTo>
                  <a:pt x="0" y="1321708"/>
                </a:moveTo>
                <a:cubicBezTo>
                  <a:pt x="0" y="1321708"/>
                  <a:pt x="230681" y="660519"/>
                  <a:pt x="999865" y="660519"/>
                </a:cubicBezTo>
                <a:cubicBezTo>
                  <a:pt x="1769048" y="660519"/>
                  <a:pt x="1998260" y="1329055"/>
                  <a:pt x="1998260" y="1329055"/>
                </a:cubicBezTo>
                <a:cubicBezTo>
                  <a:pt x="1998260" y="1329055"/>
                  <a:pt x="1771252" y="1990244"/>
                  <a:pt x="999865" y="1990244"/>
                </a:cubicBezTo>
                <a:cubicBezTo>
                  <a:pt x="228477" y="1990244"/>
                  <a:pt x="0" y="1321708"/>
                  <a:pt x="0" y="1321708"/>
                </a:cubicBezTo>
                <a:close/>
                <a:moveTo>
                  <a:pt x="372470" y="197686"/>
                </a:moveTo>
                <a:cubicBezTo>
                  <a:pt x="634741" y="1534"/>
                  <a:pt x="951378" y="-670"/>
                  <a:pt x="999865" y="64"/>
                </a:cubicBezTo>
                <a:cubicBezTo>
                  <a:pt x="1048352" y="-670"/>
                  <a:pt x="1364988" y="1534"/>
                  <a:pt x="1627260" y="197686"/>
                </a:cubicBezTo>
                <a:cubicBezTo>
                  <a:pt x="1911571" y="410736"/>
                  <a:pt x="1998995" y="598808"/>
                  <a:pt x="1998995" y="598808"/>
                </a:cubicBezTo>
                <a:lnTo>
                  <a:pt x="1998995" y="796430"/>
                </a:lnTo>
                <a:cubicBezTo>
                  <a:pt x="1998995" y="796430"/>
                  <a:pt x="1821208" y="595135"/>
                  <a:pt x="1550856" y="470978"/>
                </a:cubicBezTo>
                <a:cubicBezTo>
                  <a:pt x="1304012" y="357841"/>
                  <a:pt x="1043209" y="346821"/>
                  <a:pt x="999865" y="346087"/>
                </a:cubicBezTo>
                <a:cubicBezTo>
                  <a:pt x="956520" y="346821"/>
                  <a:pt x="695718" y="357841"/>
                  <a:pt x="448874" y="470978"/>
                </a:cubicBezTo>
                <a:cubicBezTo>
                  <a:pt x="178521" y="595135"/>
                  <a:pt x="734" y="796430"/>
                  <a:pt x="734" y="796430"/>
                </a:cubicBezTo>
                <a:lnTo>
                  <a:pt x="734" y="598808"/>
                </a:lnTo>
                <a:cubicBezTo>
                  <a:pt x="0" y="598808"/>
                  <a:pt x="88159" y="410736"/>
                  <a:pt x="372470" y="197686"/>
                </a:cubicBezTo>
                <a:close/>
              </a:path>
            </a:pathLst>
          </a:custGeom>
          <a:solidFill>
            <a:schemeClr val="accent2"/>
          </a:solidFill>
          <a:ln w="7342" cap="flat">
            <a:noFill/>
            <a:prstDash val="solid"/>
            <a:miter/>
          </a:ln>
        </p:spPr>
        <p:txBody>
          <a:bodyPr rtlCol="0" anchor="ctr"/>
          <a:lstStyle/>
          <a:p>
            <a:endParaRPr lang="uk-UA" sz="900"/>
          </a:p>
        </p:txBody>
      </p:sp>
      <p:grpSp>
        <p:nvGrpSpPr>
          <p:cNvPr id="9" name="Graphic 16">
            <a:extLst>
              <a:ext uri="{FF2B5EF4-FFF2-40B4-BE49-F238E27FC236}">
                <a16:creationId xmlns:a16="http://schemas.microsoft.com/office/drawing/2014/main" id="{76EA9890-F9A5-841E-D8C7-FD03C80DD513}"/>
              </a:ext>
            </a:extLst>
          </p:cNvPr>
          <p:cNvGrpSpPr>
            <a:grpSpLocks noChangeAspect="1"/>
          </p:cNvGrpSpPr>
          <p:nvPr userDrawn="1"/>
        </p:nvGrpSpPr>
        <p:grpSpPr>
          <a:xfrm>
            <a:off x="6616428" y="3145309"/>
            <a:ext cx="1371421" cy="952738"/>
            <a:chOff x="36425971" y="7102135"/>
            <a:chExt cx="2006341" cy="1393639"/>
          </a:xfrm>
          <a:solidFill>
            <a:srgbClr val="08BDBA"/>
          </a:solidFill>
        </p:grpSpPr>
        <p:sp>
          <p:nvSpPr>
            <p:cNvPr id="11" name="Freeform: Shape 10">
              <a:extLst>
                <a:ext uri="{FF2B5EF4-FFF2-40B4-BE49-F238E27FC236}">
                  <a16:creationId xmlns:a16="http://schemas.microsoft.com/office/drawing/2014/main" id="{4F7B58BB-7704-BFF8-DC12-D8A6E4E50F1A}"/>
                </a:ext>
              </a:extLst>
            </p:cNvPr>
            <p:cNvSpPr/>
            <p:nvPr/>
          </p:nvSpPr>
          <p:spPr>
            <a:xfrm>
              <a:off x="36425971" y="7517215"/>
              <a:ext cx="694983" cy="753755"/>
            </a:xfrm>
            <a:custGeom>
              <a:avLst/>
              <a:gdLst>
                <a:gd name="connsiteX0" fmla="*/ 508381 w 694983"/>
                <a:gd name="connsiteY0" fmla="*/ 563480 h 753755"/>
                <a:gd name="connsiteX1" fmla="*/ 258598 w 694983"/>
                <a:gd name="connsiteY1" fmla="*/ 753756 h 753755"/>
                <a:gd name="connsiteX2" fmla="*/ 0 w 694983"/>
                <a:gd name="connsiteY2" fmla="*/ 498830 h 753755"/>
                <a:gd name="connsiteX3" fmla="*/ 166766 w 694983"/>
                <a:gd name="connsiteY3" fmla="*/ 260802 h 753755"/>
                <a:gd name="connsiteX4" fmla="*/ 694983 w 694983"/>
                <a:gd name="connsiteY4" fmla="*/ 0 h 753755"/>
                <a:gd name="connsiteX5" fmla="*/ 508381 w 694983"/>
                <a:gd name="connsiteY5" fmla="*/ 563480 h 753755"/>
                <a:gd name="connsiteX6" fmla="*/ 508381 w 694983"/>
                <a:gd name="connsiteY6" fmla="*/ 563480 h 753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4983" h="753755">
                  <a:moveTo>
                    <a:pt x="508381" y="563480"/>
                  </a:moveTo>
                  <a:cubicBezTo>
                    <a:pt x="479729" y="672944"/>
                    <a:pt x="378347" y="753756"/>
                    <a:pt x="258598" y="753756"/>
                  </a:cubicBezTo>
                  <a:cubicBezTo>
                    <a:pt x="116075" y="753756"/>
                    <a:pt x="0" y="639884"/>
                    <a:pt x="0" y="498830"/>
                  </a:cubicBezTo>
                  <a:cubicBezTo>
                    <a:pt x="0" y="390102"/>
                    <a:pt x="69057" y="296800"/>
                    <a:pt x="166766" y="260802"/>
                  </a:cubicBezTo>
                  <a:lnTo>
                    <a:pt x="694983" y="0"/>
                  </a:lnTo>
                  <a:lnTo>
                    <a:pt x="508381" y="563480"/>
                  </a:lnTo>
                  <a:lnTo>
                    <a:pt x="508381" y="563480"/>
                  </a:lnTo>
                  <a:close/>
                </a:path>
              </a:pathLst>
            </a:custGeom>
            <a:grpFill/>
            <a:ln w="7342" cap="flat">
              <a:noFill/>
              <a:prstDash val="solid"/>
              <a:miter/>
            </a:ln>
          </p:spPr>
          <p:txBody>
            <a:bodyPr rtlCol="0" anchor="ctr"/>
            <a:lstStyle/>
            <a:p>
              <a:endParaRPr lang="uk-UA" sz="900"/>
            </a:p>
          </p:txBody>
        </p:sp>
        <p:sp>
          <p:nvSpPr>
            <p:cNvPr id="12" name="Freeform: Shape 11">
              <a:extLst>
                <a:ext uri="{FF2B5EF4-FFF2-40B4-BE49-F238E27FC236}">
                  <a16:creationId xmlns:a16="http://schemas.microsoft.com/office/drawing/2014/main" id="{148505C0-F60C-443B-C4AA-7FBD6F3ECE09}"/>
                </a:ext>
              </a:extLst>
            </p:cNvPr>
            <p:cNvSpPr/>
            <p:nvPr/>
          </p:nvSpPr>
          <p:spPr>
            <a:xfrm>
              <a:off x="37737329" y="7517215"/>
              <a:ext cx="694983" cy="753755"/>
            </a:xfrm>
            <a:custGeom>
              <a:avLst/>
              <a:gdLst>
                <a:gd name="connsiteX0" fmla="*/ 186602 w 694983"/>
                <a:gd name="connsiteY0" fmla="*/ 563480 h 753755"/>
                <a:gd name="connsiteX1" fmla="*/ 436385 w 694983"/>
                <a:gd name="connsiteY1" fmla="*/ 753756 h 753755"/>
                <a:gd name="connsiteX2" fmla="*/ 694983 w 694983"/>
                <a:gd name="connsiteY2" fmla="*/ 498830 h 753755"/>
                <a:gd name="connsiteX3" fmla="*/ 528216 w 694983"/>
                <a:gd name="connsiteY3" fmla="*/ 260802 h 753755"/>
                <a:gd name="connsiteX4" fmla="*/ 0 w 694983"/>
                <a:gd name="connsiteY4" fmla="*/ 0 h 753755"/>
                <a:gd name="connsiteX5" fmla="*/ 186602 w 694983"/>
                <a:gd name="connsiteY5" fmla="*/ 563480 h 753755"/>
                <a:gd name="connsiteX6" fmla="*/ 186602 w 694983"/>
                <a:gd name="connsiteY6" fmla="*/ 563480 h 753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4983" h="753755">
                  <a:moveTo>
                    <a:pt x="186602" y="563480"/>
                  </a:moveTo>
                  <a:cubicBezTo>
                    <a:pt x="215254" y="672944"/>
                    <a:pt x="316636" y="753756"/>
                    <a:pt x="436385" y="753756"/>
                  </a:cubicBezTo>
                  <a:cubicBezTo>
                    <a:pt x="578908" y="753756"/>
                    <a:pt x="694983" y="639884"/>
                    <a:pt x="694983" y="498830"/>
                  </a:cubicBezTo>
                  <a:cubicBezTo>
                    <a:pt x="694983" y="390102"/>
                    <a:pt x="625925" y="296800"/>
                    <a:pt x="528216" y="260802"/>
                  </a:cubicBezTo>
                  <a:lnTo>
                    <a:pt x="0" y="0"/>
                  </a:lnTo>
                  <a:lnTo>
                    <a:pt x="186602" y="563480"/>
                  </a:lnTo>
                  <a:lnTo>
                    <a:pt x="186602" y="563480"/>
                  </a:lnTo>
                  <a:close/>
                </a:path>
              </a:pathLst>
            </a:custGeom>
            <a:grpFill/>
            <a:ln w="7342" cap="flat">
              <a:noFill/>
              <a:prstDash val="solid"/>
              <a:miter/>
            </a:ln>
          </p:spPr>
          <p:txBody>
            <a:bodyPr rtlCol="0" anchor="ctr"/>
            <a:lstStyle/>
            <a:p>
              <a:endParaRPr lang="uk-UA" sz="900"/>
            </a:p>
          </p:txBody>
        </p:sp>
        <p:sp>
          <p:nvSpPr>
            <p:cNvPr id="13" name="Freeform: Shape 12">
              <a:extLst>
                <a:ext uri="{FF2B5EF4-FFF2-40B4-BE49-F238E27FC236}">
                  <a16:creationId xmlns:a16="http://schemas.microsoft.com/office/drawing/2014/main" id="{B6380620-2214-9184-CECD-BFD855484351}"/>
                </a:ext>
              </a:extLst>
            </p:cNvPr>
            <p:cNvSpPr/>
            <p:nvPr/>
          </p:nvSpPr>
          <p:spPr>
            <a:xfrm>
              <a:off x="37109934" y="7401874"/>
              <a:ext cx="638414" cy="1093900"/>
            </a:xfrm>
            <a:custGeom>
              <a:avLst/>
              <a:gdLst>
                <a:gd name="connsiteX0" fmla="*/ 47018 w 638414"/>
                <a:gd name="connsiteY0" fmla="*/ 944031 h 1093900"/>
                <a:gd name="connsiteX1" fmla="*/ 318840 w 638414"/>
                <a:gd name="connsiteY1" fmla="*/ 1093901 h 1093900"/>
                <a:gd name="connsiteX2" fmla="*/ 590662 w 638414"/>
                <a:gd name="connsiteY2" fmla="*/ 944031 h 1093900"/>
                <a:gd name="connsiteX3" fmla="*/ 47018 w 638414"/>
                <a:gd name="connsiteY3" fmla="*/ 944031 h 1093900"/>
                <a:gd name="connsiteX4" fmla="*/ 47018 w 638414"/>
                <a:gd name="connsiteY4" fmla="*/ 944031 h 1093900"/>
                <a:gd name="connsiteX5" fmla="*/ 0 w 638414"/>
                <a:gd name="connsiteY5" fmla="*/ 628864 h 1093900"/>
                <a:gd name="connsiteX6" fmla="*/ 0 w 638414"/>
                <a:gd name="connsiteY6" fmla="*/ 778734 h 1093900"/>
                <a:gd name="connsiteX7" fmla="*/ 0 w 638414"/>
                <a:gd name="connsiteY7" fmla="*/ 793427 h 1093900"/>
                <a:gd name="connsiteX8" fmla="*/ 637680 w 638414"/>
                <a:gd name="connsiteY8" fmla="*/ 793427 h 1093900"/>
                <a:gd name="connsiteX9" fmla="*/ 637680 w 638414"/>
                <a:gd name="connsiteY9" fmla="*/ 778734 h 1093900"/>
                <a:gd name="connsiteX10" fmla="*/ 637680 w 638414"/>
                <a:gd name="connsiteY10" fmla="*/ 628864 h 1093900"/>
                <a:gd name="connsiteX11" fmla="*/ 0 w 638414"/>
                <a:gd name="connsiteY11" fmla="*/ 628864 h 1093900"/>
                <a:gd name="connsiteX12" fmla="*/ 0 w 638414"/>
                <a:gd name="connsiteY12" fmla="*/ 628864 h 1093900"/>
                <a:gd name="connsiteX13" fmla="*/ 38202 w 638414"/>
                <a:gd name="connsiteY13" fmla="*/ 164563 h 1093900"/>
                <a:gd name="connsiteX14" fmla="*/ 318840 w 638414"/>
                <a:gd name="connsiteY14" fmla="*/ 0 h 1093900"/>
                <a:gd name="connsiteX15" fmla="*/ 599478 w 638414"/>
                <a:gd name="connsiteY15" fmla="*/ 164563 h 1093900"/>
                <a:gd name="connsiteX16" fmla="*/ 38202 w 638414"/>
                <a:gd name="connsiteY16" fmla="*/ 164563 h 1093900"/>
                <a:gd name="connsiteX17" fmla="*/ 0 w 638414"/>
                <a:gd name="connsiteY17" fmla="*/ 314432 h 1093900"/>
                <a:gd name="connsiteX18" fmla="*/ 0 w 638414"/>
                <a:gd name="connsiteY18" fmla="*/ 478995 h 1093900"/>
                <a:gd name="connsiteX19" fmla="*/ 638415 w 638414"/>
                <a:gd name="connsiteY19" fmla="*/ 478995 h 1093900"/>
                <a:gd name="connsiteX20" fmla="*/ 638415 w 638414"/>
                <a:gd name="connsiteY20" fmla="*/ 314432 h 1093900"/>
                <a:gd name="connsiteX21" fmla="*/ 0 w 638414"/>
                <a:gd name="connsiteY21" fmla="*/ 314432 h 109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38414" h="1093900">
                  <a:moveTo>
                    <a:pt x="47018" y="944031"/>
                  </a:moveTo>
                  <a:cubicBezTo>
                    <a:pt x="102852" y="1033659"/>
                    <a:pt x="204234" y="1093901"/>
                    <a:pt x="318840" y="1093901"/>
                  </a:cubicBezTo>
                  <a:cubicBezTo>
                    <a:pt x="434181" y="1093901"/>
                    <a:pt x="534828" y="1033659"/>
                    <a:pt x="590662" y="944031"/>
                  </a:cubicBezTo>
                  <a:lnTo>
                    <a:pt x="47018" y="944031"/>
                  </a:lnTo>
                  <a:lnTo>
                    <a:pt x="47018" y="944031"/>
                  </a:lnTo>
                  <a:close/>
                  <a:moveTo>
                    <a:pt x="0" y="628864"/>
                  </a:moveTo>
                  <a:lnTo>
                    <a:pt x="0" y="778734"/>
                  </a:lnTo>
                  <a:cubicBezTo>
                    <a:pt x="0" y="783876"/>
                    <a:pt x="0" y="789019"/>
                    <a:pt x="0" y="793427"/>
                  </a:cubicBezTo>
                  <a:lnTo>
                    <a:pt x="637680" y="793427"/>
                  </a:lnTo>
                  <a:cubicBezTo>
                    <a:pt x="637680" y="788284"/>
                    <a:pt x="637680" y="783876"/>
                    <a:pt x="637680" y="778734"/>
                  </a:cubicBezTo>
                  <a:lnTo>
                    <a:pt x="637680" y="628864"/>
                  </a:lnTo>
                  <a:lnTo>
                    <a:pt x="0" y="628864"/>
                  </a:lnTo>
                  <a:lnTo>
                    <a:pt x="0" y="628864"/>
                  </a:lnTo>
                  <a:close/>
                  <a:moveTo>
                    <a:pt x="38202" y="164563"/>
                  </a:moveTo>
                  <a:cubicBezTo>
                    <a:pt x="92566" y="66119"/>
                    <a:pt x="197622" y="0"/>
                    <a:pt x="318840" y="0"/>
                  </a:cubicBezTo>
                  <a:cubicBezTo>
                    <a:pt x="440058" y="0"/>
                    <a:pt x="545848" y="66853"/>
                    <a:pt x="599478" y="164563"/>
                  </a:cubicBezTo>
                  <a:lnTo>
                    <a:pt x="38202" y="164563"/>
                  </a:lnTo>
                  <a:close/>
                  <a:moveTo>
                    <a:pt x="0" y="314432"/>
                  </a:moveTo>
                  <a:lnTo>
                    <a:pt x="0" y="478995"/>
                  </a:lnTo>
                  <a:lnTo>
                    <a:pt x="638415" y="478995"/>
                  </a:lnTo>
                  <a:lnTo>
                    <a:pt x="638415" y="314432"/>
                  </a:lnTo>
                  <a:lnTo>
                    <a:pt x="0" y="314432"/>
                  </a:lnTo>
                  <a:close/>
                </a:path>
              </a:pathLst>
            </a:custGeom>
            <a:grpFill/>
            <a:ln w="7342" cap="flat">
              <a:noFill/>
              <a:prstDash val="solid"/>
              <a:miter/>
            </a:ln>
          </p:spPr>
          <p:txBody>
            <a:bodyPr rtlCol="0" anchor="ctr"/>
            <a:lstStyle/>
            <a:p>
              <a:endParaRPr lang="uk-UA" sz="900"/>
            </a:p>
          </p:txBody>
        </p:sp>
        <p:sp>
          <p:nvSpPr>
            <p:cNvPr id="14" name="Freeform: Shape 13">
              <a:extLst>
                <a:ext uri="{FF2B5EF4-FFF2-40B4-BE49-F238E27FC236}">
                  <a16:creationId xmlns:a16="http://schemas.microsoft.com/office/drawing/2014/main" id="{7FCB08A7-36FC-3113-3367-4C831C1C600C}"/>
                </a:ext>
              </a:extLst>
            </p:cNvPr>
            <p:cNvSpPr/>
            <p:nvPr/>
          </p:nvSpPr>
          <p:spPr>
            <a:xfrm>
              <a:off x="37125362" y="7102135"/>
              <a:ext cx="304146" cy="299739"/>
            </a:xfrm>
            <a:custGeom>
              <a:avLst/>
              <a:gdLst>
                <a:gd name="connsiteX0" fmla="*/ 304147 w 304146"/>
                <a:gd name="connsiteY0" fmla="*/ 149870 h 299739"/>
                <a:gd name="connsiteX1" fmla="*/ 152073 w 304146"/>
                <a:gd name="connsiteY1" fmla="*/ 299739 h 299739"/>
                <a:gd name="connsiteX2" fmla="*/ 0 w 304146"/>
                <a:gd name="connsiteY2" fmla="*/ 149870 h 299739"/>
                <a:gd name="connsiteX3" fmla="*/ 152073 w 304146"/>
                <a:gd name="connsiteY3" fmla="*/ 0 h 299739"/>
                <a:gd name="connsiteX4" fmla="*/ 304147 w 304146"/>
                <a:gd name="connsiteY4" fmla="*/ 149870 h 299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146" h="299739">
                  <a:moveTo>
                    <a:pt x="304147" y="149870"/>
                  </a:moveTo>
                  <a:cubicBezTo>
                    <a:pt x="304147" y="232640"/>
                    <a:pt x="236061" y="299739"/>
                    <a:pt x="152073" y="299739"/>
                  </a:cubicBezTo>
                  <a:cubicBezTo>
                    <a:pt x="68085" y="299739"/>
                    <a:pt x="0" y="232640"/>
                    <a:pt x="0" y="149870"/>
                  </a:cubicBezTo>
                  <a:cubicBezTo>
                    <a:pt x="0" y="67099"/>
                    <a:pt x="68085" y="0"/>
                    <a:pt x="152073" y="0"/>
                  </a:cubicBezTo>
                  <a:cubicBezTo>
                    <a:pt x="236061" y="0"/>
                    <a:pt x="304147" y="67099"/>
                    <a:pt x="304147" y="149870"/>
                  </a:cubicBezTo>
                  <a:close/>
                </a:path>
              </a:pathLst>
            </a:custGeom>
            <a:grpFill/>
            <a:ln w="7342" cap="flat">
              <a:noFill/>
              <a:prstDash val="solid"/>
              <a:miter/>
            </a:ln>
          </p:spPr>
          <p:txBody>
            <a:bodyPr rtlCol="0" anchor="ctr"/>
            <a:lstStyle/>
            <a:p>
              <a:endParaRPr lang="uk-UA" sz="900"/>
            </a:p>
          </p:txBody>
        </p:sp>
        <p:sp>
          <p:nvSpPr>
            <p:cNvPr id="15" name="Freeform: Shape 14">
              <a:extLst>
                <a:ext uri="{FF2B5EF4-FFF2-40B4-BE49-F238E27FC236}">
                  <a16:creationId xmlns:a16="http://schemas.microsoft.com/office/drawing/2014/main" id="{6A7F1EE5-85FE-E119-2A91-8F82EF6D8F86}"/>
                </a:ext>
              </a:extLst>
            </p:cNvPr>
            <p:cNvSpPr/>
            <p:nvPr/>
          </p:nvSpPr>
          <p:spPr>
            <a:xfrm>
              <a:off x="37444202" y="7102135"/>
              <a:ext cx="304146" cy="299739"/>
            </a:xfrm>
            <a:custGeom>
              <a:avLst/>
              <a:gdLst>
                <a:gd name="connsiteX0" fmla="*/ 304147 w 304146"/>
                <a:gd name="connsiteY0" fmla="*/ 149870 h 299739"/>
                <a:gd name="connsiteX1" fmla="*/ 152074 w 304146"/>
                <a:gd name="connsiteY1" fmla="*/ 299739 h 299739"/>
                <a:gd name="connsiteX2" fmla="*/ 0 w 304146"/>
                <a:gd name="connsiteY2" fmla="*/ 149870 h 299739"/>
                <a:gd name="connsiteX3" fmla="*/ 152074 w 304146"/>
                <a:gd name="connsiteY3" fmla="*/ 0 h 299739"/>
                <a:gd name="connsiteX4" fmla="*/ 304147 w 304146"/>
                <a:gd name="connsiteY4" fmla="*/ 149870 h 299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146" h="299739">
                  <a:moveTo>
                    <a:pt x="304147" y="149870"/>
                  </a:moveTo>
                  <a:cubicBezTo>
                    <a:pt x="304147" y="232640"/>
                    <a:pt x="236062" y="299739"/>
                    <a:pt x="152074" y="299739"/>
                  </a:cubicBezTo>
                  <a:cubicBezTo>
                    <a:pt x="68086" y="299739"/>
                    <a:pt x="0" y="232640"/>
                    <a:pt x="0" y="149870"/>
                  </a:cubicBezTo>
                  <a:cubicBezTo>
                    <a:pt x="0" y="67099"/>
                    <a:pt x="68086" y="0"/>
                    <a:pt x="152074" y="0"/>
                  </a:cubicBezTo>
                  <a:cubicBezTo>
                    <a:pt x="236062" y="0"/>
                    <a:pt x="304147" y="67099"/>
                    <a:pt x="304147" y="149870"/>
                  </a:cubicBezTo>
                  <a:close/>
                </a:path>
              </a:pathLst>
            </a:custGeom>
            <a:grpFill/>
            <a:ln w="7342" cap="flat">
              <a:noFill/>
              <a:prstDash val="solid"/>
              <a:miter/>
            </a:ln>
          </p:spPr>
          <p:txBody>
            <a:bodyPr rtlCol="0" anchor="ctr"/>
            <a:lstStyle/>
            <a:p>
              <a:endParaRPr lang="uk-UA" sz="900"/>
            </a:p>
          </p:txBody>
        </p:sp>
      </p:grpSp>
      <p:grpSp>
        <p:nvGrpSpPr>
          <p:cNvPr id="16" name="Group 9">
            <a:extLst>
              <a:ext uri="{FF2B5EF4-FFF2-40B4-BE49-F238E27FC236}">
                <a16:creationId xmlns:a16="http://schemas.microsoft.com/office/drawing/2014/main" id="{366BB6D5-6803-8266-FAFB-316268B6CE5C}"/>
              </a:ext>
            </a:extLst>
          </p:cNvPr>
          <p:cNvGrpSpPr>
            <a:grpSpLocks noChangeAspect="1"/>
          </p:cNvGrpSpPr>
          <p:nvPr userDrawn="1"/>
        </p:nvGrpSpPr>
        <p:grpSpPr bwMode="auto">
          <a:xfrm>
            <a:off x="6488126" y="267759"/>
            <a:ext cx="1371421" cy="1209376"/>
            <a:chOff x="42" y="4229"/>
            <a:chExt cx="3881" cy="3422"/>
          </a:xfrm>
          <a:solidFill>
            <a:schemeClr val="tx1"/>
          </a:solidFill>
        </p:grpSpPr>
        <p:sp>
          <p:nvSpPr>
            <p:cNvPr id="17" name="Freeform 235">
              <a:extLst>
                <a:ext uri="{FF2B5EF4-FFF2-40B4-BE49-F238E27FC236}">
                  <a16:creationId xmlns:a16="http://schemas.microsoft.com/office/drawing/2014/main" id="{4E0E1CD9-D670-7F98-30F3-43FD0389CF0F}"/>
                </a:ext>
              </a:extLst>
            </p:cNvPr>
            <p:cNvSpPr>
              <a:spLocks noEditPoints="1"/>
            </p:cNvSpPr>
            <p:nvPr/>
          </p:nvSpPr>
          <p:spPr bwMode="auto">
            <a:xfrm>
              <a:off x="2058" y="4229"/>
              <a:ext cx="1865" cy="3422"/>
            </a:xfrm>
            <a:custGeom>
              <a:avLst/>
              <a:gdLst>
                <a:gd name="T0" fmla="*/ 2842 w 3636"/>
                <a:gd name="T1" fmla="*/ 2120 h 6673"/>
                <a:gd name="T2" fmla="*/ 1918 w 3636"/>
                <a:gd name="T3" fmla="*/ 577 h 6673"/>
                <a:gd name="T4" fmla="*/ 892 w 3636"/>
                <a:gd name="T5" fmla="*/ 0 h 6673"/>
                <a:gd name="T6" fmla="*/ 0 w 3636"/>
                <a:gd name="T7" fmla="*/ 5781 h 6673"/>
                <a:gd name="T8" fmla="*/ 1731 w 3636"/>
                <a:gd name="T9" fmla="*/ 6079 h 6673"/>
                <a:gd name="T10" fmla="*/ 2966 w 3636"/>
                <a:gd name="T11" fmla="*/ 5048 h 6673"/>
                <a:gd name="T12" fmla="*/ 3636 w 3636"/>
                <a:gd name="T13" fmla="*/ 3336 h 6673"/>
                <a:gd name="T14" fmla="*/ 1051 w 3636"/>
                <a:gd name="T15" fmla="*/ 2847 h 6673"/>
                <a:gd name="T16" fmla="*/ 738 w 3636"/>
                <a:gd name="T17" fmla="*/ 2847 h 6673"/>
                <a:gd name="T18" fmla="*/ 2684 w 3636"/>
                <a:gd name="T19" fmla="*/ 4426 h 6673"/>
                <a:gd name="T20" fmla="*/ 2640 w 3636"/>
                <a:gd name="T21" fmla="*/ 4559 h 6673"/>
                <a:gd name="T22" fmla="*/ 2121 w 3636"/>
                <a:gd name="T23" fmla="*/ 4715 h 6673"/>
                <a:gd name="T24" fmla="*/ 1467 w 3636"/>
                <a:gd name="T25" fmla="*/ 4803 h 6673"/>
                <a:gd name="T26" fmla="*/ 2121 w 3636"/>
                <a:gd name="T27" fmla="*/ 4891 h 6673"/>
                <a:gd name="T28" fmla="*/ 2790 w 3636"/>
                <a:gd name="T29" fmla="*/ 5048 h 6673"/>
                <a:gd name="T30" fmla="*/ 1693 w 3636"/>
                <a:gd name="T31" fmla="*/ 5890 h 6673"/>
                <a:gd name="T32" fmla="*/ 1585 w 3636"/>
                <a:gd name="T33" fmla="*/ 5954 h 6673"/>
                <a:gd name="T34" fmla="*/ 176 w 3636"/>
                <a:gd name="T35" fmla="*/ 5781 h 6673"/>
                <a:gd name="T36" fmla="*/ 807 w 3636"/>
                <a:gd name="T37" fmla="*/ 3912 h 6673"/>
                <a:gd name="T38" fmla="*/ 562 w 3636"/>
                <a:gd name="T39" fmla="*/ 5781 h 6673"/>
                <a:gd name="T40" fmla="*/ 1227 w 3636"/>
                <a:gd name="T41" fmla="*/ 5781 h 6673"/>
                <a:gd name="T42" fmla="*/ 983 w 3636"/>
                <a:gd name="T43" fmla="*/ 3912 h 6673"/>
                <a:gd name="T44" fmla="*/ 1881 w 3636"/>
                <a:gd name="T45" fmla="*/ 3424 h 6673"/>
                <a:gd name="T46" fmla="*/ 2778 w 3636"/>
                <a:gd name="T47" fmla="*/ 3669 h 6673"/>
                <a:gd name="T48" fmla="*/ 2778 w 3636"/>
                <a:gd name="T49" fmla="*/ 3004 h 6673"/>
                <a:gd name="T50" fmla="*/ 1888 w 3636"/>
                <a:gd name="T51" fmla="*/ 3248 h 6673"/>
                <a:gd name="T52" fmla="*/ 2132 w 3636"/>
                <a:gd name="T53" fmla="*/ 1380 h 6673"/>
                <a:gd name="T54" fmla="*/ 1467 w 3636"/>
                <a:gd name="T55" fmla="*/ 1380 h 6673"/>
                <a:gd name="T56" fmla="*/ 1712 w 3636"/>
                <a:gd name="T57" fmla="*/ 3338 h 6673"/>
                <a:gd name="T58" fmla="*/ 895 w 3636"/>
                <a:gd name="T59" fmla="*/ 3736 h 6673"/>
                <a:gd name="T60" fmla="*/ 176 w 3636"/>
                <a:gd name="T61" fmla="*/ 891 h 6673"/>
                <a:gd name="T62" fmla="*/ 807 w 3636"/>
                <a:gd name="T63" fmla="*/ 2527 h 6673"/>
                <a:gd name="T64" fmla="*/ 895 w 3636"/>
                <a:gd name="T65" fmla="*/ 3180 h 6673"/>
                <a:gd name="T66" fmla="*/ 983 w 3636"/>
                <a:gd name="T67" fmla="*/ 2527 h 6673"/>
                <a:gd name="T68" fmla="*/ 1585 w 3636"/>
                <a:gd name="T69" fmla="*/ 719 h 6673"/>
                <a:gd name="T70" fmla="*/ 1693 w 3636"/>
                <a:gd name="T71" fmla="*/ 783 h 6673"/>
                <a:gd name="T72" fmla="*/ 2790 w 3636"/>
                <a:gd name="T73" fmla="*/ 1625 h 6673"/>
                <a:gd name="T74" fmla="*/ 2629 w 3636"/>
                <a:gd name="T75" fmla="*/ 2191 h 6673"/>
                <a:gd name="T76" fmla="*/ 3460 w 3636"/>
                <a:gd name="T77" fmla="*/ 3336 h 6673"/>
                <a:gd name="T78" fmla="*/ 1956 w 3636"/>
                <a:gd name="T79" fmla="*/ 4803 h 6673"/>
                <a:gd name="T80" fmla="*/ 1643 w 3636"/>
                <a:gd name="T81" fmla="*/ 4803 h 6673"/>
                <a:gd name="T82" fmla="*/ 1956 w 3636"/>
                <a:gd name="T83" fmla="*/ 4803 h 6673"/>
                <a:gd name="T84" fmla="*/ 1051 w 3636"/>
                <a:gd name="T85" fmla="*/ 5781 h 6673"/>
                <a:gd name="T86" fmla="*/ 738 w 3636"/>
                <a:gd name="T87" fmla="*/ 5781 h 6673"/>
                <a:gd name="T88" fmla="*/ 1800 w 3636"/>
                <a:gd name="T89" fmla="*/ 1537 h 6673"/>
                <a:gd name="T90" fmla="*/ 1800 w 3636"/>
                <a:gd name="T91" fmla="*/ 1224 h 6673"/>
                <a:gd name="T92" fmla="*/ 1800 w 3636"/>
                <a:gd name="T93" fmla="*/ 1537 h 6673"/>
                <a:gd name="T94" fmla="*/ 2778 w 3636"/>
                <a:gd name="T95" fmla="*/ 3180 h 6673"/>
                <a:gd name="T96" fmla="*/ 2778 w 3636"/>
                <a:gd name="T97" fmla="*/ 3493 h 6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36" h="6673">
                  <a:moveTo>
                    <a:pt x="3636" y="3336"/>
                  </a:moveTo>
                  <a:cubicBezTo>
                    <a:pt x="3636" y="2807"/>
                    <a:pt x="3321" y="2331"/>
                    <a:pt x="2842" y="2120"/>
                  </a:cubicBezTo>
                  <a:cubicBezTo>
                    <a:pt x="2924" y="1968"/>
                    <a:pt x="2966" y="1799"/>
                    <a:pt x="2966" y="1625"/>
                  </a:cubicBezTo>
                  <a:cubicBezTo>
                    <a:pt x="2966" y="1047"/>
                    <a:pt x="2496" y="577"/>
                    <a:pt x="1918" y="577"/>
                  </a:cubicBezTo>
                  <a:cubicBezTo>
                    <a:pt x="1856" y="577"/>
                    <a:pt x="1794" y="582"/>
                    <a:pt x="1731" y="594"/>
                  </a:cubicBezTo>
                  <a:cubicBezTo>
                    <a:pt x="1607" y="240"/>
                    <a:pt x="1273" y="0"/>
                    <a:pt x="892" y="0"/>
                  </a:cubicBezTo>
                  <a:cubicBezTo>
                    <a:pt x="400" y="0"/>
                    <a:pt x="0" y="400"/>
                    <a:pt x="0" y="891"/>
                  </a:cubicBezTo>
                  <a:cubicBezTo>
                    <a:pt x="0" y="5781"/>
                    <a:pt x="0" y="5781"/>
                    <a:pt x="0" y="5781"/>
                  </a:cubicBezTo>
                  <a:cubicBezTo>
                    <a:pt x="0" y="6273"/>
                    <a:pt x="400" y="6673"/>
                    <a:pt x="892" y="6673"/>
                  </a:cubicBezTo>
                  <a:cubicBezTo>
                    <a:pt x="1273" y="6673"/>
                    <a:pt x="1607" y="6432"/>
                    <a:pt x="1731" y="6079"/>
                  </a:cubicBezTo>
                  <a:cubicBezTo>
                    <a:pt x="1794" y="6090"/>
                    <a:pt x="1856" y="6096"/>
                    <a:pt x="1918" y="6096"/>
                  </a:cubicBezTo>
                  <a:cubicBezTo>
                    <a:pt x="2496" y="6096"/>
                    <a:pt x="2966" y="5626"/>
                    <a:pt x="2966" y="5048"/>
                  </a:cubicBezTo>
                  <a:cubicBezTo>
                    <a:pt x="2966" y="4874"/>
                    <a:pt x="2924" y="4704"/>
                    <a:pt x="2842" y="4553"/>
                  </a:cubicBezTo>
                  <a:cubicBezTo>
                    <a:pt x="3321" y="4342"/>
                    <a:pt x="3636" y="3866"/>
                    <a:pt x="3636" y="3336"/>
                  </a:cubicBezTo>
                  <a:close/>
                  <a:moveTo>
                    <a:pt x="895" y="2691"/>
                  </a:moveTo>
                  <a:cubicBezTo>
                    <a:pt x="981" y="2691"/>
                    <a:pt x="1051" y="2761"/>
                    <a:pt x="1051" y="2847"/>
                  </a:cubicBezTo>
                  <a:cubicBezTo>
                    <a:pt x="1051" y="2934"/>
                    <a:pt x="981" y="3004"/>
                    <a:pt x="895" y="3004"/>
                  </a:cubicBezTo>
                  <a:cubicBezTo>
                    <a:pt x="808" y="3004"/>
                    <a:pt x="738" y="2934"/>
                    <a:pt x="738" y="2847"/>
                  </a:cubicBezTo>
                  <a:cubicBezTo>
                    <a:pt x="738" y="2761"/>
                    <a:pt x="808" y="2691"/>
                    <a:pt x="895" y="2691"/>
                  </a:cubicBezTo>
                  <a:close/>
                  <a:moveTo>
                    <a:pt x="2684" y="4426"/>
                  </a:moveTo>
                  <a:cubicBezTo>
                    <a:pt x="2658" y="4435"/>
                    <a:pt x="2638" y="4456"/>
                    <a:pt x="2629" y="4481"/>
                  </a:cubicBezTo>
                  <a:cubicBezTo>
                    <a:pt x="2621" y="4507"/>
                    <a:pt x="2625" y="4536"/>
                    <a:pt x="2640" y="4559"/>
                  </a:cubicBezTo>
                  <a:cubicBezTo>
                    <a:pt x="2674" y="4608"/>
                    <a:pt x="2702" y="4661"/>
                    <a:pt x="2725" y="4715"/>
                  </a:cubicBezTo>
                  <a:cubicBezTo>
                    <a:pt x="2121" y="4715"/>
                    <a:pt x="2121" y="4715"/>
                    <a:pt x="2121" y="4715"/>
                  </a:cubicBezTo>
                  <a:cubicBezTo>
                    <a:pt x="2082" y="4575"/>
                    <a:pt x="1953" y="4471"/>
                    <a:pt x="1800" y="4471"/>
                  </a:cubicBezTo>
                  <a:cubicBezTo>
                    <a:pt x="1617" y="4471"/>
                    <a:pt x="1467" y="4620"/>
                    <a:pt x="1467" y="4803"/>
                  </a:cubicBezTo>
                  <a:cubicBezTo>
                    <a:pt x="1467" y="4987"/>
                    <a:pt x="1617" y="5136"/>
                    <a:pt x="1800" y="5136"/>
                  </a:cubicBezTo>
                  <a:cubicBezTo>
                    <a:pt x="1953" y="5136"/>
                    <a:pt x="2082" y="5032"/>
                    <a:pt x="2121" y="4891"/>
                  </a:cubicBezTo>
                  <a:cubicBezTo>
                    <a:pt x="2776" y="4891"/>
                    <a:pt x="2776" y="4891"/>
                    <a:pt x="2776" y="4891"/>
                  </a:cubicBezTo>
                  <a:cubicBezTo>
                    <a:pt x="2785" y="4943"/>
                    <a:pt x="2790" y="4995"/>
                    <a:pt x="2790" y="5048"/>
                  </a:cubicBezTo>
                  <a:cubicBezTo>
                    <a:pt x="2790" y="5529"/>
                    <a:pt x="2399" y="5920"/>
                    <a:pt x="1918" y="5920"/>
                  </a:cubicBezTo>
                  <a:cubicBezTo>
                    <a:pt x="1844" y="5920"/>
                    <a:pt x="1769" y="5910"/>
                    <a:pt x="1693" y="5890"/>
                  </a:cubicBezTo>
                  <a:cubicBezTo>
                    <a:pt x="1670" y="5884"/>
                    <a:pt x="1646" y="5887"/>
                    <a:pt x="1626" y="5899"/>
                  </a:cubicBezTo>
                  <a:cubicBezTo>
                    <a:pt x="1605" y="5911"/>
                    <a:pt x="1591" y="5931"/>
                    <a:pt x="1585" y="5954"/>
                  </a:cubicBezTo>
                  <a:cubicBezTo>
                    <a:pt x="1506" y="6273"/>
                    <a:pt x="1221" y="6497"/>
                    <a:pt x="892" y="6497"/>
                  </a:cubicBezTo>
                  <a:cubicBezTo>
                    <a:pt x="497" y="6497"/>
                    <a:pt x="176" y="6176"/>
                    <a:pt x="176" y="5781"/>
                  </a:cubicBezTo>
                  <a:cubicBezTo>
                    <a:pt x="176" y="3912"/>
                    <a:pt x="176" y="3912"/>
                    <a:pt x="176" y="3912"/>
                  </a:cubicBezTo>
                  <a:cubicBezTo>
                    <a:pt x="807" y="3912"/>
                    <a:pt x="807" y="3912"/>
                    <a:pt x="807" y="3912"/>
                  </a:cubicBezTo>
                  <a:cubicBezTo>
                    <a:pt x="807" y="5461"/>
                    <a:pt x="807" y="5461"/>
                    <a:pt x="807" y="5461"/>
                  </a:cubicBezTo>
                  <a:cubicBezTo>
                    <a:pt x="666" y="5499"/>
                    <a:pt x="562" y="5628"/>
                    <a:pt x="562" y="5781"/>
                  </a:cubicBezTo>
                  <a:cubicBezTo>
                    <a:pt x="562" y="5965"/>
                    <a:pt x="711" y="6114"/>
                    <a:pt x="895" y="6114"/>
                  </a:cubicBezTo>
                  <a:cubicBezTo>
                    <a:pt x="1078" y="6114"/>
                    <a:pt x="1227" y="5965"/>
                    <a:pt x="1227" y="5781"/>
                  </a:cubicBezTo>
                  <a:cubicBezTo>
                    <a:pt x="1227" y="5628"/>
                    <a:pt x="1123" y="5499"/>
                    <a:pt x="983" y="5461"/>
                  </a:cubicBezTo>
                  <a:cubicBezTo>
                    <a:pt x="983" y="3912"/>
                    <a:pt x="983" y="3912"/>
                    <a:pt x="983" y="3912"/>
                  </a:cubicBezTo>
                  <a:cubicBezTo>
                    <a:pt x="1314" y="3912"/>
                    <a:pt x="1314" y="3912"/>
                    <a:pt x="1314" y="3912"/>
                  </a:cubicBezTo>
                  <a:cubicBezTo>
                    <a:pt x="1601" y="3912"/>
                    <a:pt x="1840" y="3700"/>
                    <a:pt x="1881" y="3424"/>
                  </a:cubicBezTo>
                  <a:cubicBezTo>
                    <a:pt x="2457" y="3424"/>
                    <a:pt x="2457" y="3424"/>
                    <a:pt x="2457" y="3424"/>
                  </a:cubicBezTo>
                  <a:cubicBezTo>
                    <a:pt x="2496" y="3565"/>
                    <a:pt x="2625" y="3669"/>
                    <a:pt x="2778" y="3669"/>
                  </a:cubicBezTo>
                  <a:cubicBezTo>
                    <a:pt x="2961" y="3669"/>
                    <a:pt x="3110" y="3520"/>
                    <a:pt x="3110" y="3336"/>
                  </a:cubicBezTo>
                  <a:cubicBezTo>
                    <a:pt x="3110" y="3153"/>
                    <a:pt x="2961" y="3004"/>
                    <a:pt x="2778" y="3004"/>
                  </a:cubicBezTo>
                  <a:cubicBezTo>
                    <a:pt x="2625" y="3004"/>
                    <a:pt x="2496" y="3108"/>
                    <a:pt x="2457" y="3248"/>
                  </a:cubicBezTo>
                  <a:cubicBezTo>
                    <a:pt x="1888" y="3248"/>
                    <a:pt x="1888" y="3248"/>
                    <a:pt x="1888" y="3248"/>
                  </a:cubicBezTo>
                  <a:cubicBezTo>
                    <a:pt x="1888" y="1701"/>
                    <a:pt x="1888" y="1701"/>
                    <a:pt x="1888" y="1701"/>
                  </a:cubicBezTo>
                  <a:cubicBezTo>
                    <a:pt x="2029" y="1662"/>
                    <a:pt x="2132" y="1533"/>
                    <a:pt x="2132" y="1380"/>
                  </a:cubicBezTo>
                  <a:cubicBezTo>
                    <a:pt x="2132" y="1197"/>
                    <a:pt x="1983" y="1048"/>
                    <a:pt x="1800" y="1048"/>
                  </a:cubicBezTo>
                  <a:cubicBezTo>
                    <a:pt x="1617" y="1048"/>
                    <a:pt x="1467" y="1197"/>
                    <a:pt x="1467" y="1380"/>
                  </a:cubicBezTo>
                  <a:cubicBezTo>
                    <a:pt x="1467" y="1533"/>
                    <a:pt x="1571" y="1662"/>
                    <a:pt x="1712" y="1701"/>
                  </a:cubicBezTo>
                  <a:cubicBezTo>
                    <a:pt x="1712" y="3338"/>
                    <a:pt x="1712" y="3338"/>
                    <a:pt x="1712" y="3338"/>
                  </a:cubicBezTo>
                  <a:cubicBezTo>
                    <a:pt x="1712" y="3557"/>
                    <a:pt x="1534" y="3736"/>
                    <a:pt x="1314" y="3736"/>
                  </a:cubicBezTo>
                  <a:cubicBezTo>
                    <a:pt x="895" y="3736"/>
                    <a:pt x="895" y="3736"/>
                    <a:pt x="895" y="3736"/>
                  </a:cubicBezTo>
                  <a:cubicBezTo>
                    <a:pt x="176" y="3736"/>
                    <a:pt x="176" y="3736"/>
                    <a:pt x="176" y="3736"/>
                  </a:cubicBezTo>
                  <a:cubicBezTo>
                    <a:pt x="176" y="891"/>
                    <a:pt x="176" y="891"/>
                    <a:pt x="176" y="891"/>
                  </a:cubicBezTo>
                  <a:cubicBezTo>
                    <a:pt x="176" y="526"/>
                    <a:pt x="452" y="224"/>
                    <a:pt x="807" y="181"/>
                  </a:cubicBezTo>
                  <a:cubicBezTo>
                    <a:pt x="807" y="2527"/>
                    <a:pt x="807" y="2527"/>
                    <a:pt x="807" y="2527"/>
                  </a:cubicBezTo>
                  <a:cubicBezTo>
                    <a:pt x="666" y="2565"/>
                    <a:pt x="562" y="2695"/>
                    <a:pt x="562" y="2847"/>
                  </a:cubicBezTo>
                  <a:cubicBezTo>
                    <a:pt x="562" y="3031"/>
                    <a:pt x="711" y="3180"/>
                    <a:pt x="895" y="3180"/>
                  </a:cubicBezTo>
                  <a:cubicBezTo>
                    <a:pt x="1078" y="3180"/>
                    <a:pt x="1227" y="3031"/>
                    <a:pt x="1227" y="2847"/>
                  </a:cubicBezTo>
                  <a:cubicBezTo>
                    <a:pt x="1227" y="2695"/>
                    <a:pt x="1123" y="2565"/>
                    <a:pt x="983" y="2527"/>
                  </a:cubicBezTo>
                  <a:cubicBezTo>
                    <a:pt x="983" y="182"/>
                    <a:pt x="983" y="182"/>
                    <a:pt x="983" y="182"/>
                  </a:cubicBezTo>
                  <a:cubicBezTo>
                    <a:pt x="1272" y="219"/>
                    <a:pt x="1513" y="429"/>
                    <a:pt x="1585" y="719"/>
                  </a:cubicBezTo>
                  <a:cubicBezTo>
                    <a:pt x="1591" y="742"/>
                    <a:pt x="1605" y="762"/>
                    <a:pt x="1626" y="774"/>
                  </a:cubicBezTo>
                  <a:cubicBezTo>
                    <a:pt x="1646" y="786"/>
                    <a:pt x="1670" y="789"/>
                    <a:pt x="1693" y="783"/>
                  </a:cubicBezTo>
                  <a:cubicBezTo>
                    <a:pt x="1769" y="763"/>
                    <a:pt x="1844" y="753"/>
                    <a:pt x="1918" y="753"/>
                  </a:cubicBezTo>
                  <a:cubicBezTo>
                    <a:pt x="2399" y="753"/>
                    <a:pt x="2790" y="1144"/>
                    <a:pt x="2790" y="1625"/>
                  </a:cubicBezTo>
                  <a:cubicBezTo>
                    <a:pt x="2790" y="1800"/>
                    <a:pt x="2738" y="1970"/>
                    <a:pt x="2640" y="2114"/>
                  </a:cubicBezTo>
                  <a:cubicBezTo>
                    <a:pt x="2625" y="2137"/>
                    <a:pt x="2621" y="2165"/>
                    <a:pt x="2629" y="2191"/>
                  </a:cubicBezTo>
                  <a:cubicBezTo>
                    <a:pt x="2638" y="2217"/>
                    <a:pt x="2658" y="2238"/>
                    <a:pt x="2684" y="2247"/>
                  </a:cubicBezTo>
                  <a:cubicBezTo>
                    <a:pt x="3148" y="2408"/>
                    <a:pt x="3460" y="2846"/>
                    <a:pt x="3460" y="3336"/>
                  </a:cubicBezTo>
                  <a:cubicBezTo>
                    <a:pt x="3460" y="3827"/>
                    <a:pt x="3148" y="4265"/>
                    <a:pt x="2684" y="4426"/>
                  </a:cubicBezTo>
                  <a:close/>
                  <a:moveTo>
                    <a:pt x="1956" y="4803"/>
                  </a:moveTo>
                  <a:cubicBezTo>
                    <a:pt x="1956" y="4890"/>
                    <a:pt x="1886" y="4960"/>
                    <a:pt x="1800" y="4960"/>
                  </a:cubicBezTo>
                  <a:cubicBezTo>
                    <a:pt x="1714" y="4960"/>
                    <a:pt x="1643" y="4890"/>
                    <a:pt x="1643" y="4803"/>
                  </a:cubicBezTo>
                  <a:cubicBezTo>
                    <a:pt x="1643" y="4717"/>
                    <a:pt x="1714" y="4647"/>
                    <a:pt x="1800" y="4647"/>
                  </a:cubicBezTo>
                  <a:cubicBezTo>
                    <a:pt x="1886" y="4647"/>
                    <a:pt x="1956" y="4717"/>
                    <a:pt x="1956" y="4803"/>
                  </a:cubicBezTo>
                  <a:close/>
                  <a:moveTo>
                    <a:pt x="895" y="5625"/>
                  </a:moveTo>
                  <a:cubicBezTo>
                    <a:pt x="981" y="5625"/>
                    <a:pt x="1051" y="5695"/>
                    <a:pt x="1051" y="5781"/>
                  </a:cubicBezTo>
                  <a:cubicBezTo>
                    <a:pt x="1051" y="5868"/>
                    <a:pt x="981" y="5938"/>
                    <a:pt x="895" y="5938"/>
                  </a:cubicBezTo>
                  <a:cubicBezTo>
                    <a:pt x="808" y="5938"/>
                    <a:pt x="738" y="5868"/>
                    <a:pt x="738" y="5781"/>
                  </a:cubicBezTo>
                  <a:cubicBezTo>
                    <a:pt x="738" y="5695"/>
                    <a:pt x="808" y="5625"/>
                    <a:pt x="895" y="5625"/>
                  </a:cubicBezTo>
                  <a:close/>
                  <a:moveTo>
                    <a:pt x="1800" y="1537"/>
                  </a:moveTo>
                  <a:cubicBezTo>
                    <a:pt x="1714" y="1537"/>
                    <a:pt x="1643" y="1467"/>
                    <a:pt x="1643" y="1380"/>
                  </a:cubicBezTo>
                  <a:cubicBezTo>
                    <a:pt x="1643" y="1294"/>
                    <a:pt x="1714" y="1224"/>
                    <a:pt x="1800" y="1224"/>
                  </a:cubicBezTo>
                  <a:cubicBezTo>
                    <a:pt x="1886" y="1224"/>
                    <a:pt x="1956" y="1294"/>
                    <a:pt x="1956" y="1380"/>
                  </a:cubicBezTo>
                  <a:cubicBezTo>
                    <a:pt x="1956" y="1467"/>
                    <a:pt x="1886" y="1537"/>
                    <a:pt x="1800" y="1537"/>
                  </a:cubicBezTo>
                  <a:close/>
                  <a:moveTo>
                    <a:pt x="2621" y="3336"/>
                  </a:moveTo>
                  <a:cubicBezTo>
                    <a:pt x="2621" y="3250"/>
                    <a:pt x="2692" y="3180"/>
                    <a:pt x="2778" y="3180"/>
                  </a:cubicBezTo>
                  <a:cubicBezTo>
                    <a:pt x="2864" y="3180"/>
                    <a:pt x="2934" y="3250"/>
                    <a:pt x="2934" y="3336"/>
                  </a:cubicBezTo>
                  <a:cubicBezTo>
                    <a:pt x="2934" y="3423"/>
                    <a:pt x="2864" y="3493"/>
                    <a:pt x="2778" y="3493"/>
                  </a:cubicBezTo>
                  <a:cubicBezTo>
                    <a:pt x="2692" y="3493"/>
                    <a:pt x="2621" y="3423"/>
                    <a:pt x="2621" y="33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uk-UA" sz="900"/>
            </a:p>
          </p:txBody>
        </p:sp>
        <p:sp>
          <p:nvSpPr>
            <p:cNvPr id="18" name="Freeform 11">
              <a:extLst>
                <a:ext uri="{FF2B5EF4-FFF2-40B4-BE49-F238E27FC236}">
                  <a16:creationId xmlns:a16="http://schemas.microsoft.com/office/drawing/2014/main" id="{18A9E4ED-16E5-5AAF-6A2B-D9D83BB02A85}"/>
                </a:ext>
              </a:extLst>
            </p:cNvPr>
            <p:cNvSpPr>
              <a:spLocks noEditPoints="1"/>
            </p:cNvSpPr>
            <p:nvPr/>
          </p:nvSpPr>
          <p:spPr bwMode="auto">
            <a:xfrm>
              <a:off x="42" y="4229"/>
              <a:ext cx="1865" cy="3422"/>
            </a:xfrm>
            <a:custGeom>
              <a:avLst/>
              <a:gdLst>
                <a:gd name="T0" fmla="*/ 1905 w 3636"/>
                <a:gd name="T1" fmla="*/ 594 h 6673"/>
                <a:gd name="T2" fmla="*/ 670 w 3636"/>
                <a:gd name="T3" fmla="*/ 1625 h 6673"/>
                <a:gd name="T4" fmla="*/ 0 w 3636"/>
                <a:gd name="T5" fmla="*/ 3336 h 6673"/>
                <a:gd name="T6" fmla="*/ 670 w 3636"/>
                <a:gd name="T7" fmla="*/ 5048 h 6673"/>
                <a:gd name="T8" fmla="*/ 1905 w 3636"/>
                <a:gd name="T9" fmla="*/ 6079 h 6673"/>
                <a:gd name="T10" fmla="*/ 3636 w 3636"/>
                <a:gd name="T11" fmla="*/ 5781 h 6673"/>
                <a:gd name="T12" fmla="*/ 2745 w 3636"/>
                <a:gd name="T13" fmla="*/ 0 h 6673"/>
                <a:gd name="T14" fmla="*/ 2585 w 3636"/>
                <a:gd name="T15" fmla="*/ 3825 h 6673"/>
                <a:gd name="T16" fmla="*/ 2898 w 3636"/>
                <a:gd name="T17" fmla="*/ 3825 h 6673"/>
                <a:gd name="T18" fmla="*/ 3460 w 3636"/>
                <a:gd name="T19" fmla="*/ 2761 h 6673"/>
                <a:gd name="T20" fmla="*/ 2830 w 3636"/>
                <a:gd name="T21" fmla="*/ 1212 h 6673"/>
                <a:gd name="T22" fmla="*/ 2742 w 3636"/>
                <a:gd name="T23" fmla="*/ 559 h 6673"/>
                <a:gd name="T24" fmla="*/ 2654 w 3636"/>
                <a:gd name="T25" fmla="*/ 1212 h 6673"/>
                <a:gd name="T26" fmla="*/ 2322 w 3636"/>
                <a:gd name="T27" fmla="*/ 2761 h 6673"/>
                <a:gd name="T28" fmla="*/ 1179 w 3636"/>
                <a:gd name="T29" fmla="*/ 3248 h 6673"/>
                <a:gd name="T30" fmla="*/ 526 w 3636"/>
                <a:gd name="T31" fmla="*/ 3336 h 6673"/>
                <a:gd name="T32" fmla="*/ 1179 w 3636"/>
                <a:gd name="T33" fmla="*/ 3424 h 6673"/>
                <a:gd name="T34" fmla="*/ 1748 w 3636"/>
                <a:gd name="T35" fmla="*/ 4972 h 6673"/>
                <a:gd name="T36" fmla="*/ 1836 w 3636"/>
                <a:gd name="T37" fmla="*/ 5625 h 6673"/>
                <a:gd name="T38" fmla="*/ 1924 w 3636"/>
                <a:gd name="T39" fmla="*/ 4972 h 6673"/>
                <a:gd name="T40" fmla="*/ 2322 w 3636"/>
                <a:gd name="T41" fmla="*/ 2937 h 6673"/>
                <a:gd name="T42" fmla="*/ 3460 w 3636"/>
                <a:gd name="T43" fmla="*/ 2937 h 6673"/>
                <a:gd name="T44" fmla="*/ 2830 w 3636"/>
                <a:gd name="T45" fmla="*/ 6491 h 6673"/>
                <a:gd name="T46" fmla="*/ 3074 w 3636"/>
                <a:gd name="T47" fmla="*/ 3825 h 6673"/>
                <a:gd name="T48" fmla="*/ 2409 w 3636"/>
                <a:gd name="T49" fmla="*/ 3825 h 6673"/>
                <a:gd name="T50" fmla="*/ 2654 w 3636"/>
                <a:gd name="T51" fmla="*/ 6491 h 6673"/>
                <a:gd name="T52" fmla="*/ 2011 w 3636"/>
                <a:gd name="T53" fmla="*/ 5899 h 6673"/>
                <a:gd name="T54" fmla="*/ 1943 w 3636"/>
                <a:gd name="T55" fmla="*/ 5890 h 6673"/>
                <a:gd name="T56" fmla="*/ 846 w 3636"/>
                <a:gd name="T57" fmla="*/ 5048 h 6673"/>
                <a:gd name="T58" fmla="*/ 1007 w 3636"/>
                <a:gd name="T59" fmla="*/ 4481 h 6673"/>
                <a:gd name="T60" fmla="*/ 176 w 3636"/>
                <a:gd name="T61" fmla="*/ 3336 h 6673"/>
                <a:gd name="T62" fmla="*/ 1007 w 3636"/>
                <a:gd name="T63" fmla="*/ 2191 h 6673"/>
                <a:gd name="T64" fmla="*/ 912 w 3636"/>
                <a:gd name="T65" fmla="*/ 1957 h 6673"/>
                <a:gd name="T66" fmla="*/ 1836 w 3636"/>
                <a:gd name="T67" fmla="*/ 2202 h 6673"/>
                <a:gd name="T68" fmla="*/ 1836 w 3636"/>
                <a:gd name="T69" fmla="*/ 1537 h 6673"/>
                <a:gd name="T70" fmla="*/ 860 w 3636"/>
                <a:gd name="T71" fmla="*/ 1781 h 6673"/>
                <a:gd name="T72" fmla="*/ 1718 w 3636"/>
                <a:gd name="T73" fmla="*/ 753 h 6673"/>
                <a:gd name="T74" fmla="*/ 2011 w 3636"/>
                <a:gd name="T75" fmla="*/ 774 h 6673"/>
                <a:gd name="T76" fmla="*/ 2745 w 3636"/>
                <a:gd name="T77" fmla="*/ 176 h 6673"/>
                <a:gd name="T78" fmla="*/ 3460 w 3636"/>
                <a:gd name="T79" fmla="*/ 2761 h 6673"/>
                <a:gd name="T80" fmla="*/ 2585 w 3636"/>
                <a:gd name="T81" fmla="*/ 891 h 6673"/>
                <a:gd name="T82" fmla="*/ 2898 w 3636"/>
                <a:gd name="T83" fmla="*/ 891 h 6673"/>
                <a:gd name="T84" fmla="*/ 1836 w 3636"/>
                <a:gd name="T85" fmla="*/ 5136 h 6673"/>
                <a:gd name="T86" fmla="*/ 1836 w 3636"/>
                <a:gd name="T87" fmla="*/ 5449 h 6673"/>
                <a:gd name="T88" fmla="*/ 1836 w 3636"/>
                <a:gd name="T89" fmla="*/ 5136 h 6673"/>
                <a:gd name="T90" fmla="*/ 858 w 3636"/>
                <a:gd name="T91" fmla="*/ 3493 h 6673"/>
                <a:gd name="T92" fmla="*/ 858 w 3636"/>
                <a:gd name="T93" fmla="*/ 3180 h 6673"/>
                <a:gd name="T94" fmla="*/ 1680 w 3636"/>
                <a:gd name="T95" fmla="*/ 1869 h 6673"/>
                <a:gd name="T96" fmla="*/ 1993 w 3636"/>
                <a:gd name="T97" fmla="*/ 1869 h 6673"/>
                <a:gd name="T98" fmla="*/ 1680 w 3636"/>
                <a:gd name="T99" fmla="*/ 1869 h 6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636" h="6673">
                  <a:moveTo>
                    <a:pt x="2745" y="0"/>
                  </a:moveTo>
                  <a:cubicBezTo>
                    <a:pt x="2363" y="0"/>
                    <a:pt x="2030" y="240"/>
                    <a:pt x="1905" y="594"/>
                  </a:cubicBezTo>
                  <a:cubicBezTo>
                    <a:pt x="1842" y="582"/>
                    <a:pt x="1780" y="577"/>
                    <a:pt x="1718" y="577"/>
                  </a:cubicBezTo>
                  <a:cubicBezTo>
                    <a:pt x="1140" y="577"/>
                    <a:pt x="670" y="1047"/>
                    <a:pt x="670" y="1625"/>
                  </a:cubicBezTo>
                  <a:cubicBezTo>
                    <a:pt x="670" y="1799"/>
                    <a:pt x="713" y="1968"/>
                    <a:pt x="794" y="2120"/>
                  </a:cubicBezTo>
                  <a:cubicBezTo>
                    <a:pt x="315" y="2331"/>
                    <a:pt x="0" y="2807"/>
                    <a:pt x="0" y="3336"/>
                  </a:cubicBezTo>
                  <a:cubicBezTo>
                    <a:pt x="0" y="3866"/>
                    <a:pt x="315" y="4342"/>
                    <a:pt x="794" y="4553"/>
                  </a:cubicBezTo>
                  <a:cubicBezTo>
                    <a:pt x="713" y="4704"/>
                    <a:pt x="670" y="4874"/>
                    <a:pt x="670" y="5048"/>
                  </a:cubicBezTo>
                  <a:cubicBezTo>
                    <a:pt x="670" y="5626"/>
                    <a:pt x="1140" y="6096"/>
                    <a:pt x="1718" y="6096"/>
                  </a:cubicBezTo>
                  <a:cubicBezTo>
                    <a:pt x="1780" y="6096"/>
                    <a:pt x="1842" y="6090"/>
                    <a:pt x="1905" y="6079"/>
                  </a:cubicBezTo>
                  <a:cubicBezTo>
                    <a:pt x="2030" y="6432"/>
                    <a:pt x="2363" y="6673"/>
                    <a:pt x="2745" y="6673"/>
                  </a:cubicBezTo>
                  <a:cubicBezTo>
                    <a:pt x="3236" y="6673"/>
                    <a:pt x="3636" y="6273"/>
                    <a:pt x="3636" y="5781"/>
                  </a:cubicBezTo>
                  <a:cubicBezTo>
                    <a:pt x="3636" y="891"/>
                    <a:pt x="3636" y="891"/>
                    <a:pt x="3636" y="891"/>
                  </a:cubicBezTo>
                  <a:cubicBezTo>
                    <a:pt x="3636" y="400"/>
                    <a:pt x="3236" y="0"/>
                    <a:pt x="2745" y="0"/>
                  </a:cubicBezTo>
                  <a:close/>
                  <a:moveTo>
                    <a:pt x="2742" y="3982"/>
                  </a:moveTo>
                  <a:cubicBezTo>
                    <a:pt x="2655" y="3982"/>
                    <a:pt x="2585" y="3912"/>
                    <a:pt x="2585" y="3825"/>
                  </a:cubicBezTo>
                  <a:cubicBezTo>
                    <a:pt x="2585" y="3739"/>
                    <a:pt x="2655" y="3669"/>
                    <a:pt x="2742" y="3669"/>
                  </a:cubicBezTo>
                  <a:cubicBezTo>
                    <a:pt x="2828" y="3669"/>
                    <a:pt x="2898" y="3739"/>
                    <a:pt x="2898" y="3825"/>
                  </a:cubicBezTo>
                  <a:cubicBezTo>
                    <a:pt x="2898" y="3912"/>
                    <a:pt x="2828" y="3982"/>
                    <a:pt x="2742" y="3982"/>
                  </a:cubicBezTo>
                  <a:close/>
                  <a:moveTo>
                    <a:pt x="3460" y="2761"/>
                  </a:moveTo>
                  <a:cubicBezTo>
                    <a:pt x="2830" y="2761"/>
                    <a:pt x="2830" y="2761"/>
                    <a:pt x="2830" y="2761"/>
                  </a:cubicBezTo>
                  <a:cubicBezTo>
                    <a:pt x="2830" y="1212"/>
                    <a:pt x="2830" y="1212"/>
                    <a:pt x="2830" y="1212"/>
                  </a:cubicBezTo>
                  <a:cubicBezTo>
                    <a:pt x="2970" y="1173"/>
                    <a:pt x="3074" y="1044"/>
                    <a:pt x="3074" y="891"/>
                  </a:cubicBezTo>
                  <a:cubicBezTo>
                    <a:pt x="3074" y="708"/>
                    <a:pt x="2925" y="559"/>
                    <a:pt x="2742" y="559"/>
                  </a:cubicBezTo>
                  <a:cubicBezTo>
                    <a:pt x="2558" y="559"/>
                    <a:pt x="2409" y="708"/>
                    <a:pt x="2409" y="891"/>
                  </a:cubicBezTo>
                  <a:cubicBezTo>
                    <a:pt x="2409" y="1044"/>
                    <a:pt x="2513" y="1173"/>
                    <a:pt x="2654" y="1212"/>
                  </a:cubicBezTo>
                  <a:cubicBezTo>
                    <a:pt x="2654" y="2761"/>
                    <a:pt x="2654" y="2761"/>
                    <a:pt x="2654" y="2761"/>
                  </a:cubicBezTo>
                  <a:cubicBezTo>
                    <a:pt x="2322" y="2761"/>
                    <a:pt x="2322" y="2761"/>
                    <a:pt x="2322" y="2761"/>
                  </a:cubicBezTo>
                  <a:cubicBezTo>
                    <a:pt x="2035" y="2761"/>
                    <a:pt x="1797" y="2973"/>
                    <a:pt x="1755" y="3248"/>
                  </a:cubicBezTo>
                  <a:cubicBezTo>
                    <a:pt x="1179" y="3248"/>
                    <a:pt x="1179" y="3248"/>
                    <a:pt x="1179" y="3248"/>
                  </a:cubicBezTo>
                  <a:cubicBezTo>
                    <a:pt x="1140" y="3108"/>
                    <a:pt x="1011" y="3004"/>
                    <a:pt x="858" y="3004"/>
                  </a:cubicBezTo>
                  <a:cubicBezTo>
                    <a:pt x="675" y="3004"/>
                    <a:pt x="526" y="3153"/>
                    <a:pt x="526" y="3336"/>
                  </a:cubicBezTo>
                  <a:cubicBezTo>
                    <a:pt x="526" y="3520"/>
                    <a:pt x="675" y="3669"/>
                    <a:pt x="858" y="3669"/>
                  </a:cubicBezTo>
                  <a:cubicBezTo>
                    <a:pt x="1011" y="3669"/>
                    <a:pt x="1140" y="3565"/>
                    <a:pt x="1179" y="3424"/>
                  </a:cubicBezTo>
                  <a:cubicBezTo>
                    <a:pt x="1748" y="3424"/>
                    <a:pt x="1748" y="3424"/>
                    <a:pt x="1748" y="3424"/>
                  </a:cubicBezTo>
                  <a:cubicBezTo>
                    <a:pt x="1748" y="4972"/>
                    <a:pt x="1748" y="4972"/>
                    <a:pt x="1748" y="4972"/>
                  </a:cubicBezTo>
                  <a:cubicBezTo>
                    <a:pt x="1608" y="5010"/>
                    <a:pt x="1504" y="5139"/>
                    <a:pt x="1504" y="5292"/>
                  </a:cubicBezTo>
                  <a:cubicBezTo>
                    <a:pt x="1504" y="5476"/>
                    <a:pt x="1653" y="5625"/>
                    <a:pt x="1836" y="5625"/>
                  </a:cubicBezTo>
                  <a:cubicBezTo>
                    <a:pt x="2020" y="5625"/>
                    <a:pt x="2169" y="5476"/>
                    <a:pt x="2169" y="5292"/>
                  </a:cubicBezTo>
                  <a:cubicBezTo>
                    <a:pt x="2169" y="5139"/>
                    <a:pt x="2065" y="5010"/>
                    <a:pt x="1924" y="4972"/>
                  </a:cubicBezTo>
                  <a:cubicBezTo>
                    <a:pt x="1924" y="3335"/>
                    <a:pt x="1924" y="3335"/>
                    <a:pt x="1924" y="3335"/>
                  </a:cubicBezTo>
                  <a:cubicBezTo>
                    <a:pt x="1924" y="3116"/>
                    <a:pt x="2103" y="2937"/>
                    <a:pt x="2322" y="2937"/>
                  </a:cubicBezTo>
                  <a:cubicBezTo>
                    <a:pt x="2742" y="2937"/>
                    <a:pt x="2742" y="2937"/>
                    <a:pt x="2742" y="2937"/>
                  </a:cubicBezTo>
                  <a:cubicBezTo>
                    <a:pt x="3460" y="2937"/>
                    <a:pt x="3460" y="2937"/>
                    <a:pt x="3460" y="2937"/>
                  </a:cubicBezTo>
                  <a:cubicBezTo>
                    <a:pt x="3460" y="5781"/>
                    <a:pt x="3460" y="5781"/>
                    <a:pt x="3460" y="5781"/>
                  </a:cubicBezTo>
                  <a:cubicBezTo>
                    <a:pt x="3460" y="6147"/>
                    <a:pt x="3184" y="6449"/>
                    <a:pt x="2830" y="6491"/>
                  </a:cubicBezTo>
                  <a:cubicBezTo>
                    <a:pt x="2830" y="4146"/>
                    <a:pt x="2830" y="4146"/>
                    <a:pt x="2830" y="4146"/>
                  </a:cubicBezTo>
                  <a:cubicBezTo>
                    <a:pt x="2970" y="4107"/>
                    <a:pt x="3074" y="3978"/>
                    <a:pt x="3074" y="3825"/>
                  </a:cubicBezTo>
                  <a:cubicBezTo>
                    <a:pt x="3074" y="3642"/>
                    <a:pt x="2925" y="3493"/>
                    <a:pt x="2742" y="3493"/>
                  </a:cubicBezTo>
                  <a:cubicBezTo>
                    <a:pt x="2558" y="3493"/>
                    <a:pt x="2409" y="3642"/>
                    <a:pt x="2409" y="3825"/>
                  </a:cubicBezTo>
                  <a:cubicBezTo>
                    <a:pt x="2409" y="3978"/>
                    <a:pt x="2513" y="4107"/>
                    <a:pt x="2654" y="4146"/>
                  </a:cubicBezTo>
                  <a:cubicBezTo>
                    <a:pt x="2654" y="6491"/>
                    <a:pt x="2654" y="6491"/>
                    <a:pt x="2654" y="6491"/>
                  </a:cubicBezTo>
                  <a:cubicBezTo>
                    <a:pt x="2364" y="6454"/>
                    <a:pt x="2123" y="6243"/>
                    <a:pt x="2051" y="5954"/>
                  </a:cubicBezTo>
                  <a:cubicBezTo>
                    <a:pt x="2046" y="5931"/>
                    <a:pt x="2031" y="5911"/>
                    <a:pt x="2011" y="5899"/>
                  </a:cubicBezTo>
                  <a:cubicBezTo>
                    <a:pt x="1997" y="5891"/>
                    <a:pt x="1981" y="5887"/>
                    <a:pt x="1966" y="5887"/>
                  </a:cubicBezTo>
                  <a:cubicBezTo>
                    <a:pt x="1958" y="5887"/>
                    <a:pt x="1951" y="5888"/>
                    <a:pt x="1943" y="5890"/>
                  </a:cubicBezTo>
                  <a:cubicBezTo>
                    <a:pt x="1867" y="5910"/>
                    <a:pt x="1792" y="5920"/>
                    <a:pt x="1718" y="5920"/>
                  </a:cubicBezTo>
                  <a:cubicBezTo>
                    <a:pt x="1237" y="5920"/>
                    <a:pt x="846" y="5529"/>
                    <a:pt x="846" y="5048"/>
                  </a:cubicBezTo>
                  <a:cubicBezTo>
                    <a:pt x="846" y="4872"/>
                    <a:pt x="898" y="4703"/>
                    <a:pt x="996" y="4559"/>
                  </a:cubicBezTo>
                  <a:cubicBezTo>
                    <a:pt x="1012" y="4536"/>
                    <a:pt x="1015" y="4507"/>
                    <a:pt x="1007" y="4481"/>
                  </a:cubicBezTo>
                  <a:cubicBezTo>
                    <a:pt x="998" y="4456"/>
                    <a:pt x="978" y="4435"/>
                    <a:pt x="952" y="4426"/>
                  </a:cubicBezTo>
                  <a:cubicBezTo>
                    <a:pt x="488" y="4265"/>
                    <a:pt x="176" y="3827"/>
                    <a:pt x="176" y="3336"/>
                  </a:cubicBezTo>
                  <a:cubicBezTo>
                    <a:pt x="176" y="2846"/>
                    <a:pt x="488" y="2408"/>
                    <a:pt x="952" y="2247"/>
                  </a:cubicBezTo>
                  <a:cubicBezTo>
                    <a:pt x="978" y="2238"/>
                    <a:pt x="998" y="2217"/>
                    <a:pt x="1007" y="2191"/>
                  </a:cubicBezTo>
                  <a:cubicBezTo>
                    <a:pt x="1015" y="2165"/>
                    <a:pt x="1012" y="2137"/>
                    <a:pt x="996" y="2114"/>
                  </a:cubicBezTo>
                  <a:cubicBezTo>
                    <a:pt x="962" y="2065"/>
                    <a:pt x="934" y="2012"/>
                    <a:pt x="912" y="1957"/>
                  </a:cubicBezTo>
                  <a:cubicBezTo>
                    <a:pt x="1516" y="1957"/>
                    <a:pt x="1516" y="1957"/>
                    <a:pt x="1516" y="1957"/>
                  </a:cubicBezTo>
                  <a:cubicBezTo>
                    <a:pt x="1554" y="2098"/>
                    <a:pt x="1683" y="2202"/>
                    <a:pt x="1836" y="2202"/>
                  </a:cubicBezTo>
                  <a:cubicBezTo>
                    <a:pt x="2020" y="2202"/>
                    <a:pt x="2169" y="2053"/>
                    <a:pt x="2169" y="1869"/>
                  </a:cubicBezTo>
                  <a:cubicBezTo>
                    <a:pt x="2169" y="1686"/>
                    <a:pt x="2020" y="1537"/>
                    <a:pt x="1836" y="1537"/>
                  </a:cubicBezTo>
                  <a:cubicBezTo>
                    <a:pt x="1683" y="1537"/>
                    <a:pt x="1554" y="1641"/>
                    <a:pt x="1516" y="1781"/>
                  </a:cubicBezTo>
                  <a:cubicBezTo>
                    <a:pt x="860" y="1781"/>
                    <a:pt x="860" y="1781"/>
                    <a:pt x="860" y="1781"/>
                  </a:cubicBezTo>
                  <a:cubicBezTo>
                    <a:pt x="851" y="1730"/>
                    <a:pt x="846" y="1678"/>
                    <a:pt x="846" y="1625"/>
                  </a:cubicBezTo>
                  <a:cubicBezTo>
                    <a:pt x="846" y="1144"/>
                    <a:pt x="1237" y="753"/>
                    <a:pt x="1718" y="753"/>
                  </a:cubicBezTo>
                  <a:cubicBezTo>
                    <a:pt x="1792" y="753"/>
                    <a:pt x="1867" y="763"/>
                    <a:pt x="1943" y="783"/>
                  </a:cubicBezTo>
                  <a:cubicBezTo>
                    <a:pt x="1966" y="789"/>
                    <a:pt x="1990" y="786"/>
                    <a:pt x="2011" y="774"/>
                  </a:cubicBezTo>
                  <a:cubicBezTo>
                    <a:pt x="2031" y="762"/>
                    <a:pt x="2046" y="742"/>
                    <a:pt x="2051" y="719"/>
                  </a:cubicBezTo>
                  <a:cubicBezTo>
                    <a:pt x="2130" y="400"/>
                    <a:pt x="2416" y="176"/>
                    <a:pt x="2745" y="176"/>
                  </a:cubicBezTo>
                  <a:cubicBezTo>
                    <a:pt x="3139" y="176"/>
                    <a:pt x="3460" y="497"/>
                    <a:pt x="3460" y="891"/>
                  </a:cubicBezTo>
                  <a:lnTo>
                    <a:pt x="3460" y="2761"/>
                  </a:lnTo>
                  <a:close/>
                  <a:moveTo>
                    <a:pt x="2742" y="1048"/>
                  </a:moveTo>
                  <a:cubicBezTo>
                    <a:pt x="2655" y="1048"/>
                    <a:pt x="2585" y="978"/>
                    <a:pt x="2585" y="891"/>
                  </a:cubicBezTo>
                  <a:cubicBezTo>
                    <a:pt x="2585" y="805"/>
                    <a:pt x="2655" y="735"/>
                    <a:pt x="2742" y="735"/>
                  </a:cubicBezTo>
                  <a:cubicBezTo>
                    <a:pt x="2828" y="735"/>
                    <a:pt x="2898" y="805"/>
                    <a:pt x="2898" y="891"/>
                  </a:cubicBezTo>
                  <a:cubicBezTo>
                    <a:pt x="2898" y="978"/>
                    <a:pt x="2828" y="1048"/>
                    <a:pt x="2742" y="1048"/>
                  </a:cubicBezTo>
                  <a:close/>
                  <a:moveTo>
                    <a:pt x="1836" y="5136"/>
                  </a:moveTo>
                  <a:cubicBezTo>
                    <a:pt x="1923" y="5136"/>
                    <a:pt x="1993" y="5206"/>
                    <a:pt x="1993" y="5292"/>
                  </a:cubicBezTo>
                  <a:cubicBezTo>
                    <a:pt x="1993" y="5379"/>
                    <a:pt x="1923" y="5449"/>
                    <a:pt x="1836" y="5449"/>
                  </a:cubicBezTo>
                  <a:cubicBezTo>
                    <a:pt x="1750" y="5449"/>
                    <a:pt x="1680" y="5379"/>
                    <a:pt x="1680" y="5292"/>
                  </a:cubicBezTo>
                  <a:cubicBezTo>
                    <a:pt x="1680" y="5206"/>
                    <a:pt x="1750" y="5136"/>
                    <a:pt x="1836" y="5136"/>
                  </a:cubicBezTo>
                  <a:close/>
                  <a:moveTo>
                    <a:pt x="1015" y="3336"/>
                  </a:moveTo>
                  <a:cubicBezTo>
                    <a:pt x="1015" y="3423"/>
                    <a:pt x="945" y="3493"/>
                    <a:pt x="858" y="3493"/>
                  </a:cubicBezTo>
                  <a:cubicBezTo>
                    <a:pt x="772" y="3493"/>
                    <a:pt x="702" y="3423"/>
                    <a:pt x="702" y="3336"/>
                  </a:cubicBezTo>
                  <a:cubicBezTo>
                    <a:pt x="702" y="3250"/>
                    <a:pt x="772" y="3180"/>
                    <a:pt x="858" y="3180"/>
                  </a:cubicBezTo>
                  <a:cubicBezTo>
                    <a:pt x="945" y="3180"/>
                    <a:pt x="1015" y="3250"/>
                    <a:pt x="1015" y="3336"/>
                  </a:cubicBezTo>
                  <a:close/>
                  <a:moveTo>
                    <a:pt x="1680" y="1869"/>
                  </a:moveTo>
                  <a:cubicBezTo>
                    <a:pt x="1680" y="1783"/>
                    <a:pt x="1750" y="1713"/>
                    <a:pt x="1836" y="1713"/>
                  </a:cubicBezTo>
                  <a:cubicBezTo>
                    <a:pt x="1923" y="1713"/>
                    <a:pt x="1993" y="1783"/>
                    <a:pt x="1993" y="1869"/>
                  </a:cubicBezTo>
                  <a:cubicBezTo>
                    <a:pt x="1993" y="1956"/>
                    <a:pt x="1923" y="2026"/>
                    <a:pt x="1836" y="2026"/>
                  </a:cubicBezTo>
                  <a:cubicBezTo>
                    <a:pt x="1750" y="2026"/>
                    <a:pt x="1680" y="1956"/>
                    <a:pt x="1680" y="18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uk-UA" sz="900"/>
            </a:p>
          </p:txBody>
        </p:sp>
      </p:grpSp>
    </p:spTree>
    <p:extLst>
      <p:ext uri="{BB962C8B-B14F-4D97-AF65-F5344CB8AC3E}">
        <p14:creationId xmlns:p14="http://schemas.microsoft.com/office/powerpoint/2010/main" val="2979180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75474" y="191938"/>
            <a:ext cx="5533226" cy="646263"/>
          </a:xfrm>
        </p:spPr>
        <p:txBody>
          <a:bodyPr/>
          <a:lstStyle>
            <a:lvl1pPr>
              <a:lnSpc>
                <a:spcPct val="100000"/>
              </a:lnSpc>
              <a:defRPr sz="1800">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275474" y="1714500"/>
            <a:ext cx="548569" cy="4283869"/>
          </a:xfrm>
        </p:spPr>
        <p:txBody>
          <a:bodyPr/>
          <a:lstStyle>
            <a:lvl1pPr defTabSz="580528">
              <a:spcBef>
                <a:spcPts val="0"/>
              </a:spcBef>
              <a:spcAft>
                <a:spcPts val="900"/>
              </a:spcAft>
              <a:defRPr sz="3199">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en-US"/>
              <a:t>Click to edit Master text styles</a:t>
            </a:r>
          </a:p>
        </p:txBody>
      </p:sp>
      <p:sp>
        <p:nvSpPr>
          <p:cNvPr id="9" name="Text Placeholder 6">
            <a:extLst>
              <a:ext uri="{FF2B5EF4-FFF2-40B4-BE49-F238E27FC236}">
                <a16:creationId xmlns:a16="http://schemas.microsoft.com/office/drawing/2014/main" id="{79EEE1D6-6B7E-76B8-7CD3-AF36ED0688CE}"/>
              </a:ext>
            </a:extLst>
          </p:cNvPr>
          <p:cNvSpPr>
            <a:spLocks noGrp="1"/>
          </p:cNvSpPr>
          <p:nvPr>
            <p:ph type="body" sz="quarter" idx="11"/>
          </p:nvPr>
        </p:nvSpPr>
        <p:spPr>
          <a:xfrm>
            <a:off x="1020698" y="1714500"/>
            <a:ext cx="4788002" cy="4283869"/>
          </a:xfrm>
        </p:spPr>
        <p:txBody>
          <a:bodyPr/>
          <a:lstStyle>
            <a:lvl1pPr defTabSz="580528">
              <a:spcBef>
                <a:spcPts val="0"/>
              </a:spcBef>
              <a:spcAft>
                <a:spcPts val="900"/>
              </a:spcAft>
              <a:defRPr sz="3199">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en-US"/>
              <a:t>Click to edit Master text styles</a:t>
            </a:r>
          </a:p>
        </p:txBody>
      </p:sp>
      <p:sp>
        <p:nvSpPr>
          <p:cNvPr id="5" name="Footer Placeholder 1">
            <a:extLst>
              <a:ext uri="{FF2B5EF4-FFF2-40B4-BE49-F238E27FC236}">
                <a16:creationId xmlns:a16="http://schemas.microsoft.com/office/drawing/2014/main" id="{3FA6A4E4-9CC1-7010-E902-B213741D098B}"/>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
        <p:nvSpPr>
          <p:cNvPr id="3" name="Freeform: Shape 2">
            <a:extLst>
              <a:ext uri="{FF2B5EF4-FFF2-40B4-BE49-F238E27FC236}">
                <a16:creationId xmlns:a16="http://schemas.microsoft.com/office/drawing/2014/main" id="{67AFA234-9EB2-81ED-6BF3-392ADD6E072B}"/>
              </a:ext>
            </a:extLst>
          </p:cNvPr>
          <p:cNvSpPr>
            <a:spLocks noChangeAspect="1"/>
          </p:cNvSpPr>
          <p:nvPr userDrawn="1"/>
        </p:nvSpPr>
        <p:spPr>
          <a:xfrm rot="10800000">
            <a:off x="9138733" y="2452530"/>
            <a:ext cx="1371421" cy="1371600"/>
          </a:xfrm>
          <a:custGeom>
            <a:avLst/>
            <a:gdLst>
              <a:gd name="connsiteX0" fmla="*/ 716288 w 1432576"/>
              <a:gd name="connsiteY0" fmla="*/ 1432576 h 1432576"/>
              <a:gd name="connsiteX1" fmla="*/ 716288 w 1432576"/>
              <a:gd name="connsiteY1" fmla="*/ 0 h 1432576"/>
              <a:gd name="connsiteX2" fmla="*/ 1432576 w 1432576"/>
              <a:gd name="connsiteY2" fmla="*/ 716288 h 1432576"/>
              <a:gd name="connsiteX3" fmla="*/ 716288 w 1432576"/>
              <a:gd name="connsiteY3" fmla="*/ 1432576 h 1432576"/>
              <a:gd name="connsiteX4" fmla="*/ 0 w 1432576"/>
              <a:gd name="connsiteY4" fmla="*/ 1432576 h 1432576"/>
              <a:gd name="connsiteX5" fmla="*/ 0 w 1432576"/>
              <a:gd name="connsiteY5" fmla="*/ 0 h 1432576"/>
              <a:gd name="connsiteX6" fmla="*/ 716288 w 1432576"/>
              <a:gd name="connsiteY6" fmla="*/ 716288 h 1432576"/>
              <a:gd name="connsiteX7" fmla="*/ 0 w 1432576"/>
              <a:gd name="connsiteY7" fmla="*/ 1432576 h 143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2576" h="1432576">
                <a:moveTo>
                  <a:pt x="716288" y="1432576"/>
                </a:moveTo>
                <a:lnTo>
                  <a:pt x="716288" y="0"/>
                </a:lnTo>
                <a:lnTo>
                  <a:pt x="1432576" y="716288"/>
                </a:lnTo>
                <a:lnTo>
                  <a:pt x="716288" y="1432576"/>
                </a:lnTo>
                <a:close/>
                <a:moveTo>
                  <a:pt x="0" y="1432576"/>
                </a:moveTo>
                <a:lnTo>
                  <a:pt x="0" y="0"/>
                </a:lnTo>
                <a:lnTo>
                  <a:pt x="716288" y="716288"/>
                </a:lnTo>
                <a:lnTo>
                  <a:pt x="0" y="1432576"/>
                </a:lnTo>
                <a:close/>
              </a:path>
            </a:pathLst>
          </a:custGeom>
          <a:solidFill>
            <a:schemeClr val="accent6"/>
          </a:solidFill>
          <a:ln w="7342" cap="flat">
            <a:noFill/>
            <a:prstDash val="solid"/>
            <a:miter/>
          </a:ln>
        </p:spPr>
        <p:txBody>
          <a:bodyPr rtlCol="0" anchor="ctr"/>
          <a:lstStyle/>
          <a:p>
            <a:endParaRPr lang="uk-UA" sz="900"/>
          </a:p>
        </p:txBody>
      </p:sp>
      <p:sp>
        <p:nvSpPr>
          <p:cNvPr id="6" name="Graphic 53">
            <a:extLst>
              <a:ext uri="{FF2B5EF4-FFF2-40B4-BE49-F238E27FC236}">
                <a16:creationId xmlns:a16="http://schemas.microsoft.com/office/drawing/2014/main" id="{AE68EB12-09B4-4390-1746-9E1CAECB3D74}"/>
              </a:ext>
            </a:extLst>
          </p:cNvPr>
          <p:cNvSpPr>
            <a:spLocks noChangeAspect="1"/>
          </p:cNvSpPr>
          <p:nvPr userDrawn="1"/>
        </p:nvSpPr>
        <p:spPr>
          <a:xfrm>
            <a:off x="7093559" y="5883958"/>
            <a:ext cx="685711" cy="685800"/>
          </a:xfrm>
          <a:custGeom>
            <a:avLst/>
            <a:gdLst>
              <a:gd name="connsiteX0" fmla="*/ 928688 w 1857375"/>
              <a:gd name="connsiteY0" fmla="*/ 1857375 h 1857375"/>
              <a:gd name="connsiteX1" fmla="*/ 0 w 1857375"/>
              <a:gd name="connsiteY1" fmla="*/ 928688 h 1857375"/>
              <a:gd name="connsiteX2" fmla="*/ 0 w 1857375"/>
              <a:gd name="connsiteY2" fmla="*/ 1857375 h 1857375"/>
              <a:gd name="connsiteX3" fmla="*/ 928688 w 1857375"/>
              <a:gd name="connsiteY3" fmla="*/ 1857375 h 1857375"/>
              <a:gd name="connsiteX4" fmla="*/ 928688 w 1857375"/>
              <a:gd name="connsiteY4" fmla="*/ 1857375 h 1857375"/>
              <a:gd name="connsiteX5" fmla="*/ 1857375 w 1857375"/>
              <a:gd name="connsiteY5" fmla="*/ 928688 h 1857375"/>
              <a:gd name="connsiteX6" fmla="*/ 1857375 w 1857375"/>
              <a:gd name="connsiteY6" fmla="*/ 1857375 h 1857375"/>
              <a:gd name="connsiteX7" fmla="*/ 928688 w 1857375"/>
              <a:gd name="connsiteY7" fmla="*/ 1857375 h 1857375"/>
              <a:gd name="connsiteX8" fmla="*/ 1857375 w 1857375"/>
              <a:gd name="connsiteY8" fmla="*/ 0 h 1857375"/>
              <a:gd name="connsiteX9" fmla="*/ 1857375 w 1857375"/>
              <a:gd name="connsiteY9" fmla="*/ 928688 h 1857375"/>
              <a:gd name="connsiteX10" fmla="*/ 928688 w 1857375"/>
              <a:gd name="connsiteY10" fmla="*/ 0 h 1857375"/>
              <a:gd name="connsiteX11" fmla="*/ 0 w 1857375"/>
              <a:gd name="connsiteY11" fmla="*/ 928688 h 1857375"/>
              <a:gd name="connsiteX12" fmla="*/ 0 w 1857375"/>
              <a:gd name="connsiteY12" fmla="*/ 0 h 1857375"/>
              <a:gd name="connsiteX13" fmla="*/ 928688 w 1857375"/>
              <a:gd name="connsiteY13" fmla="*/ 0 h 1857375"/>
              <a:gd name="connsiteX14" fmla="*/ 928688 w 1857375"/>
              <a:gd name="connsiteY14" fmla="*/ 0 h 1857375"/>
              <a:gd name="connsiteX15" fmla="*/ 1857375 w 1857375"/>
              <a:gd name="connsiteY15" fmla="*/ 0 h 1857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57375" h="1857375">
                <a:moveTo>
                  <a:pt x="928688" y="1857375"/>
                </a:moveTo>
                <a:lnTo>
                  <a:pt x="0" y="928688"/>
                </a:lnTo>
                <a:lnTo>
                  <a:pt x="0" y="1857375"/>
                </a:lnTo>
                <a:lnTo>
                  <a:pt x="928688" y="1857375"/>
                </a:lnTo>
                <a:close/>
                <a:moveTo>
                  <a:pt x="928688" y="1857375"/>
                </a:moveTo>
                <a:lnTo>
                  <a:pt x="1857375" y="928688"/>
                </a:lnTo>
                <a:lnTo>
                  <a:pt x="1857375" y="1857375"/>
                </a:lnTo>
                <a:lnTo>
                  <a:pt x="928688" y="1857375"/>
                </a:lnTo>
                <a:close/>
                <a:moveTo>
                  <a:pt x="1857375" y="0"/>
                </a:moveTo>
                <a:lnTo>
                  <a:pt x="1857375" y="928688"/>
                </a:lnTo>
                <a:lnTo>
                  <a:pt x="928688" y="0"/>
                </a:lnTo>
                <a:lnTo>
                  <a:pt x="0" y="928688"/>
                </a:lnTo>
                <a:lnTo>
                  <a:pt x="0" y="0"/>
                </a:lnTo>
                <a:lnTo>
                  <a:pt x="928688" y="0"/>
                </a:lnTo>
                <a:lnTo>
                  <a:pt x="928688" y="0"/>
                </a:lnTo>
                <a:lnTo>
                  <a:pt x="1857375" y="0"/>
                </a:lnTo>
                <a:close/>
              </a:path>
            </a:pathLst>
          </a:custGeom>
          <a:solidFill>
            <a:srgbClr val="08BDBA"/>
          </a:solidFill>
          <a:ln w="9525" cap="flat">
            <a:noFill/>
            <a:prstDash val="solid"/>
            <a:miter/>
          </a:ln>
        </p:spPr>
        <p:txBody>
          <a:bodyPr rtlCol="0" anchor="ctr"/>
          <a:lstStyle/>
          <a:p>
            <a:endParaRPr lang="uk-UA" sz="900"/>
          </a:p>
        </p:txBody>
      </p:sp>
      <p:sp>
        <p:nvSpPr>
          <p:cNvPr id="8" name="Freeform: Shape 7">
            <a:extLst>
              <a:ext uri="{FF2B5EF4-FFF2-40B4-BE49-F238E27FC236}">
                <a16:creationId xmlns:a16="http://schemas.microsoft.com/office/drawing/2014/main" id="{4B4C5853-D720-A66C-60C1-74AF8617E53C}"/>
              </a:ext>
            </a:extLst>
          </p:cNvPr>
          <p:cNvSpPr>
            <a:spLocks noChangeAspect="1"/>
          </p:cNvSpPr>
          <p:nvPr userDrawn="1"/>
        </p:nvSpPr>
        <p:spPr>
          <a:xfrm>
            <a:off x="9138733" y="3826558"/>
            <a:ext cx="2742843" cy="2743200"/>
          </a:xfrm>
          <a:custGeom>
            <a:avLst/>
            <a:gdLst>
              <a:gd name="connsiteX0" fmla="*/ 210111 w 1432576"/>
              <a:gd name="connsiteY0" fmla="*/ 926399 h 1432576"/>
              <a:gd name="connsiteX1" fmla="*/ 0 w 1432576"/>
              <a:gd name="connsiteY1" fmla="*/ 1432576 h 1432576"/>
              <a:gd name="connsiteX2" fmla="*/ 716288 w 1432576"/>
              <a:gd name="connsiteY2" fmla="*/ 1432576 h 1432576"/>
              <a:gd name="connsiteX3" fmla="*/ 1432576 w 1432576"/>
              <a:gd name="connsiteY3" fmla="*/ 1432576 h 1432576"/>
              <a:gd name="connsiteX4" fmla="*/ 1222465 w 1432576"/>
              <a:gd name="connsiteY4" fmla="*/ 926399 h 1432576"/>
              <a:gd name="connsiteX5" fmla="*/ 716288 w 1432576"/>
              <a:gd name="connsiteY5" fmla="*/ 716288 h 1432576"/>
              <a:gd name="connsiteX6" fmla="*/ 210111 w 1432576"/>
              <a:gd name="connsiteY6" fmla="*/ 926399 h 1432576"/>
              <a:gd name="connsiteX7" fmla="*/ 210111 w 1432576"/>
              <a:gd name="connsiteY7" fmla="*/ 506912 h 1432576"/>
              <a:gd name="connsiteX8" fmla="*/ 0 w 1432576"/>
              <a:gd name="connsiteY8" fmla="*/ 0 h 1432576"/>
              <a:gd name="connsiteX9" fmla="*/ 716288 w 1432576"/>
              <a:gd name="connsiteY9" fmla="*/ 0 h 1432576"/>
              <a:gd name="connsiteX10" fmla="*/ 1432576 w 1432576"/>
              <a:gd name="connsiteY10" fmla="*/ 0 h 1432576"/>
              <a:gd name="connsiteX11" fmla="*/ 1222465 w 1432576"/>
              <a:gd name="connsiteY11" fmla="*/ 506177 h 1432576"/>
              <a:gd name="connsiteX12" fmla="*/ 716288 w 1432576"/>
              <a:gd name="connsiteY12" fmla="*/ 716288 h 1432576"/>
              <a:gd name="connsiteX13" fmla="*/ 210111 w 1432576"/>
              <a:gd name="connsiteY13" fmla="*/ 506912 h 143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32576" h="1432576">
                <a:moveTo>
                  <a:pt x="210111" y="926399"/>
                </a:moveTo>
                <a:cubicBezTo>
                  <a:pt x="75669" y="1060841"/>
                  <a:pt x="0" y="1243035"/>
                  <a:pt x="0" y="1432576"/>
                </a:cubicBezTo>
                <a:lnTo>
                  <a:pt x="716288" y="1432576"/>
                </a:lnTo>
                <a:lnTo>
                  <a:pt x="1432576" y="1432576"/>
                </a:lnTo>
                <a:cubicBezTo>
                  <a:pt x="1432576" y="1242301"/>
                  <a:pt x="1356907" y="1060106"/>
                  <a:pt x="1222465" y="926399"/>
                </a:cubicBezTo>
                <a:cubicBezTo>
                  <a:pt x="1088023" y="792692"/>
                  <a:pt x="905829" y="716288"/>
                  <a:pt x="716288" y="716288"/>
                </a:cubicBezTo>
                <a:cubicBezTo>
                  <a:pt x="526747" y="716288"/>
                  <a:pt x="343818" y="791957"/>
                  <a:pt x="210111" y="926399"/>
                </a:cubicBezTo>
                <a:close/>
                <a:moveTo>
                  <a:pt x="210111" y="506912"/>
                </a:moveTo>
                <a:cubicBezTo>
                  <a:pt x="75669" y="372470"/>
                  <a:pt x="0" y="190276"/>
                  <a:pt x="0" y="0"/>
                </a:cubicBezTo>
                <a:lnTo>
                  <a:pt x="716288" y="0"/>
                </a:lnTo>
                <a:lnTo>
                  <a:pt x="1432576" y="0"/>
                </a:lnTo>
                <a:cubicBezTo>
                  <a:pt x="1432576" y="190276"/>
                  <a:pt x="1356907" y="372470"/>
                  <a:pt x="1222465" y="506177"/>
                </a:cubicBezTo>
                <a:cubicBezTo>
                  <a:pt x="1088023" y="639884"/>
                  <a:pt x="905829" y="716288"/>
                  <a:pt x="716288" y="716288"/>
                </a:cubicBezTo>
                <a:cubicBezTo>
                  <a:pt x="526747" y="716288"/>
                  <a:pt x="343818" y="641353"/>
                  <a:pt x="210111" y="506912"/>
                </a:cubicBezTo>
                <a:close/>
              </a:path>
            </a:pathLst>
          </a:custGeom>
          <a:solidFill>
            <a:srgbClr val="82CFFF"/>
          </a:solidFill>
          <a:ln w="7342" cap="flat">
            <a:noFill/>
            <a:prstDash val="solid"/>
            <a:miter/>
          </a:ln>
        </p:spPr>
        <p:txBody>
          <a:bodyPr rtlCol="0" anchor="ctr"/>
          <a:lstStyle/>
          <a:p>
            <a:endParaRPr lang="uk-UA" sz="900"/>
          </a:p>
        </p:txBody>
      </p:sp>
      <p:sp>
        <p:nvSpPr>
          <p:cNvPr id="10" name="Freeform: Shape 9">
            <a:extLst>
              <a:ext uri="{FF2B5EF4-FFF2-40B4-BE49-F238E27FC236}">
                <a16:creationId xmlns:a16="http://schemas.microsoft.com/office/drawing/2014/main" id="{DFFD3785-A942-17C5-1BEA-DCC78BF3ED3E}"/>
              </a:ext>
            </a:extLst>
          </p:cNvPr>
          <p:cNvSpPr>
            <a:spLocks noChangeAspect="1"/>
          </p:cNvSpPr>
          <p:nvPr userDrawn="1"/>
        </p:nvSpPr>
        <p:spPr>
          <a:xfrm>
            <a:off x="7781345" y="3814605"/>
            <a:ext cx="1371421" cy="1365596"/>
          </a:xfrm>
          <a:custGeom>
            <a:avLst/>
            <a:gdLst>
              <a:gd name="connsiteX0" fmla="*/ 1002803 w 1998994"/>
              <a:gd name="connsiteY0" fmla="*/ 1581041 h 1990243"/>
              <a:gd name="connsiteX1" fmla="*/ 1247443 w 1998994"/>
              <a:gd name="connsiteY1" fmla="*/ 1338605 h 1990243"/>
              <a:gd name="connsiteX2" fmla="*/ 1002803 w 1998994"/>
              <a:gd name="connsiteY2" fmla="*/ 1096169 h 1990243"/>
              <a:gd name="connsiteX3" fmla="*/ 758163 w 1998994"/>
              <a:gd name="connsiteY3" fmla="*/ 1338605 h 1990243"/>
              <a:gd name="connsiteX4" fmla="*/ 1002803 w 1998994"/>
              <a:gd name="connsiteY4" fmla="*/ 1581041 h 1990243"/>
              <a:gd name="connsiteX5" fmla="*/ 1011619 w 1998994"/>
              <a:gd name="connsiteY5" fmla="*/ 1892534 h 1990243"/>
              <a:gd name="connsiteX6" fmla="*/ 1579507 w 1998994"/>
              <a:gd name="connsiteY6" fmla="*/ 1337870 h 1990243"/>
              <a:gd name="connsiteX7" fmla="*/ 1011619 w 1998994"/>
              <a:gd name="connsiteY7" fmla="*/ 782471 h 1990243"/>
              <a:gd name="connsiteX8" fmla="*/ 443731 w 1998994"/>
              <a:gd name="connsiteY8" fmla="*/ 1337136 h 1990243"/>
              <a:gd name="connsiteX9" fmla="*/ 1011619 w 1998994"/>
              <a:gd name="connsiteY9" fmla="*/ 1892534 h 1990243"/>
              <a:gd name="connsiteX10" fmla="*/ 0 w 1998994"/>
              <a:gd name="connsiteY10" fmla="*/ 1321708 h 1990243"/>
              <a:gd name="connsiteX11" fmla="*/ 999865 w 1998994"/>
              <a:gd name="connsiteY11" fmla="*/ 660519 h 1990243"/>
              <a:gd name="connsiteX12" fmla="*/ 1998260 w 1998994"/>
              <a:gd name="connsiteY12" fmla="*/ 1329055 h 1990243"/>
              <a:gd name="connsiteX13" fmla="*/ 999865 w 1998994"/>
              <a:gd name="connsiteY13" fmla="*/ 1990244 h 1990243"/>
              <a:gd name="connsiteX14" fmla="*/ 0 w 1998994"/>
              <a:gd name="connsiteY14" fmla="*/ 1321708 h 1990243"/>
              <a:gd name="connsiteX15" fmla="*/ 372470 w 1998994"/>
              <a:gd name="connsiteY15" fmla="*/ 197686 h 1990243"/>
              <a:gd name="connsiteX16" fmla="*/ 999865 w 1998994"/>
              <a:gd name="connsiteY16" fmla="*/ 64 h 1990243"/>
              <a:gd name="connsiteX17" fmla="*/ 1627260 w 1998994"/>
              <a:gd name="connsiteY17" fmla="*/ 197686 h 1990243"/>
              <a:gd name="connsiteX18" fmla="*/ 1998995 w 1998994"/>
              <a:gd name="connsiteY18" fmla="*/ 598808 h 1990243"/>
              <a:gd name="connsiteX19" fmla="*/ 1998995 w 1998994"/>
              <a:gd name="connsiteY19" fmla="*/ 796430 h 1990243"/>
              <a:gd name="connsiteX20" fmla="*/ 1550856 w 1998994"/>
              <a:gd name="connsiteY20" fmla="*/ 470978 h 1990243"/>
              <a:gd name="connsiteX21" fmla="*/ 999865 w 1998994"/>
              <a:gd name="connsiteY21" fmla="*/ 346087 h 1990243"/>
              <a:gd name="connsiteX22" fmla="*/ 448874 w 1998994"/>
              <a:gd name="connsiteY22" fmla="*/ 470978 h 1990243"/>
              <a:gd name="connsiteX23" fmla="*/ 734 w 1998994"/>
              <a:gd name="connsiteY23" fmla="*/ 796430 h 1990243"/>
              <a:gd name="connsiteX24" fmla="*/ 734 w 1998994"/>
              <a:gd name="connsiteY24" fmla="*/ 598808 h 1990243"/>
              <a:gd name="connsiteX25" fmla="*/ 372470 w 1998994"/>
              <a:gd name="connsiteY25" fmla="*/ 197686 h 1990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998994" h="1990243">
                <a:moveTo>
                  <a:pt x="1002803" y="1581041"/>
                </a:moveTo>
                <a:cubicBezTo>
                  <a:pt x="1137980" y="1581041"/>
                  <a:pt x="1247443" y="1472312"/>
                  <a:pt x="1247443" y="1338605"/>
                </a:cubicBezTo>
                <a:cubicBezTo>
                  <a:pt x="1247443" y="1204163"/>
                  <a:pt x="1137980" y="1096169"/>
                  <a:pt x="1002803" y="1096169"/>
                </a:cubicBezTo>
                <a:cubicBezTo>
                  <a:pt x="867627" y="1096169"/>
                  <a:pt x="758163" y="1204898"/>
                  <a:pt x="758163" y="1338605"/>
                </a:cubicBezTo>
                <a:cubicBezTo>
                  <a:pt x="757429" y="1472312"/>
                  <a:pt x="867627" y="1581041"/>
                  <a:pt x="1002803" y="1581041"/>
                </a:cubicBezTo>
                <a:close/>
                <a:moveTo>
                  <a:pt x="1011619" y="1892534"/>
                </a:moveTo>
                <a:cubicBezTo>
                  <a:pt x="1325317" y="1892534"/>
                  <a:pt x="1579507" y="1644221"/>
                  <a:pt x="1579507" y="1337870"/>
                </a:cubicBezTo>
                <a:cubicBezTo>
                  <a:pt x="1579507" y="1031520"/>
                  <a:pt x="1325317" y="782471"/>
                  <a:pt x="1011619" y="782471"/>
                </a:cubicBezTo>
                <a:cubicBezTo>
                  <a:pt x="697922" y="782471"/>
                  <a:pt x="443731" y="1030785"/>
                  <a:pt x="443731" y="1337136"/>
                </a:cubicBezTo>
                <a:cubicBezTo>
                  <a:pt x="443731" y="1643487"/>
                  <a:pt x="697187" y="1892534"/>
                  <a:pt x="1011619" y="1892534"/>
                </a:cubicBezTo>
                <a:close/>
                <a:moveTo>
                  <a:pt x="0" y="1321708"/>
                </a:moveTo>
                <a:cubicBezTo>
                  <a:pt x="0" y="1321708"/>
                  <a:pt x="230681" y="660519"/>
                  <a:pt x="999865" y="660519"/>
                </a:cubicBezTo>
                <a:cubicBezTo>
                  <a:pt x="1769048" y="660519"/>
                  <a:pt x="1998260" y="1329055"/>
                  <a:pt x="1998260" y="1329055"/>
                </a:cubicBezTo>
                <a:cubicBezTo>
                  <a:pt x="1998260" y="1329055"/>
                  <a:pt x="1771252" y="1990244"/>
                  <a:pt x="999865" y="1990244"/>
                </a:cubicBezTo>
                <a:cubicBezTo>
                  <a:pt x="228477" y="1990244"/>
                  <a:pt x="0" y="1321708"/>
                  <a:pt x="0" y="1321708"/>
                </a:cubicBezTo>
                <a:close/>
                <a:moveTo>
                  <a:pt x="372470" y="197686"/>
                </a:moveTo>
                <a:cubicBezTo>
                  <a:pt x="634741" y="1534"/>
                  <a:pt x="951378" y="-670"/>
                  <a:pt x="999865" y="64"/>
                </a:cubicBezTo>
                <a:cubicBezTo>
                  <a:pt x="1048352" y="-670"/>
                  <a:pt x="1364988" y="1534"/>
                  <a:pt x="1627260" y="197686"/>
                </a:cubicBezTo>
                <a:cubicBezTo>
                  <a:pt x="1911571" y="410736"/>
                  <a:pt x="1998995" y="598808"/>
                  <a:pt x="1998995" y="598808"/>
                </a:cubicBezTo>
                <a:lnTo>
                  <a:pt x="1998995" y="796430"/>
                </a:lnTo>
                <a:cubicBezTo>
                  <a:pt x="1998995" y="796430"/>
                  <a:pt x="1821208" y="595135"/>
                  <a:pt x="1550856" y="470978"/>
                </a:cubicBezTo>
                <a:cubicBezTo>
                  <a:pt x="1304012" y="357841"/>
                  <a:pt x="1043209" y="346821"/>
                  <a:pt x="999865" y="346087"/>
                </a:cubicBezTo>
                <a:cubicBezTo>
                  <a:pt x="956520" y="346821"/>
                  <a:pt x="695718" y="357841"/>
                  <a:pt x="448874" y="470978"/>
                </a:cubicBezTo>
                <a:cubicBezTo>
                  <a:pt x="178521" y="595135"/>
                  <a:pt x="734" y="796430"/>
                  <a:pt x="734" y="796430"/>
                </a:cubicBezTo>
                <a:lnTo>
                  <a:pt x="734" y="598808"/>
                </a:lnTo>
                <a:cubicBezTo>
                  <a:pt x="0" y="598808"/>
                  <a:pt x="88159" y="410736"/>
                  <a:pt x="372470" y="197686"/>
                </a:cubicBezTo>
                <a:close/>
              </a:path>
            </a:pathLst>
          </a:custGeom>
          <a:solidFill>
            <a:schemeClr val="accent2"/>
          </a:solidFill>
          <a:ln w="7342" cap="flat">
            <a:noFill/>
            <a:prstDash val="solid"/>
            <a:miter/>
          </a:ln>
        </p:spPr>
        <p:txBody>
          <a:bodyPr rtlCol="0" anchor="ctr"/>
          <a:lstStyle/>
          <a:p>
            <a:endParaRPr lang="uk-UA" sz="900"/>
          </a:p>
        </p:txBody>
      </p:sp>
      <p:sp>
        <p:nvSpPr>
          <p:cNvPr id="19" name="Graphic 59">
            <a:extLst>
              <a:ext uri="{FF2B5EF4-FFF2-40B4-BE49-F238E27FC236}">
                <a16:creationId xmlns:a16="http://schemas.microsoft.com/office/drawing/2014/main" id="{7DE7B692-96B2-5293-BEEF-D054C7BC441F}"/>
              </a:ext>
            </a:extLst>
          </p:cNvPr>
          <p:cNvSpPr>
            <a:spLocks noChangeAspect="1"/>
          </p:cNvSpPr>
          <p:nvPr userDrawn="1"/>
        </p:nvSpPr>
        <p:spPr>
          <a:xfrm rot="10800000">
            <a:off x="6407849" y="5205191"/>
            <a:ext cx="685711" cy="678767"/>
          </a:xfrm>
          <a:custGeom>
            <a:avLst/>
            <a:gdLst>
              <a:gd name="connsiteX0" fmla="*/ 928688 w 1857375"/>
              <a:gd name="connsiteY0" fmla="*/ 0 h 1838325"/>
              <a:gd name="connsiteX1" fmla="*/ 928688 w 1857375"/>
              <a:gd name="connsiteY1" fmla="*/ 0 h 1838325"/>
              <a:gd name="connsiteX2" fmla="*/ 0 w 1857375"/>
              <a:gd name="connsiteY2" fmla="*/ 0 h 1838325"/>
              <a:gd name="connsiteX3" fmla="*/ 928688 w 1857375"/>
              <a:gd name="connsiteY3" fmla="*/ 919163 h 1838325"/>
              <a:gd name="connsiteX4" fmla="*/ 0 w 1857375"/>
              <a:gd name="connsiteY4" fmla="*/ 1838325 h 1838325"/>
              <a:gd name="connsiteX5" fmla="*/ 928688 w 1857375"/>
              <a:gd name="connsiteY5" fmla="*/ 1838325 h 1838325"/>
              <a:gd name="connsiteX6" fmla="*/ 928688 w 1857375"/>
              <a:gd name="connsiteY6" fmla="*/ 1838325 h 1838325"/>
              <a:gd name="connsiteX7" fmla="*/ 1857375 w 1857375"/>
              <a:gd name="connsiteY7" fmla="*/ 919163 h 1838325"/>
              <a:gd name="connsiteX8" fmla="*/ 928688 w 1857375"/>
              <a:gd name="connsiteY8" fmla="*/ 919163 h 1838325"/>
              <a:gd name="connsiteX9" fmla="*/ 928688 w 1857375"/>
              <a:gd name="connsiteY9" fmla="*/ 919163 h 1838325"/>
              <a:gd name="connsiteX10" fmla="*/ 1857375 w 1857375"/>
              <a:gd name="connsiteY10" fmla="*/ 919163 h 1838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57375" h="1838325">
                <a:moveTo>
                  <a:pt x="928688" y="0"/>
                </a:moveTo>
                <a:lnTo>
                  <a:pt x="928688" y="0"/>
                </a:lnTo>
                <a:lnTo>
                  <a:pt x="0" y="0"/>
                </a:lnTo>
                <a:lnTo>
                  <a:pt x="928688" y="919163"/>
                </a:lnTo>
                <a:lnTo>
                  <a:pt x="0" y="1838325"/>
                </a:lnTo>
                <a:lnTo>
                  <a:pt x="928688" y="1838325"/>
                </a:lnTo>
                <a:lnTo>
                  <a:pt x="928688" y="1838325"/>
                </a:lnTo>
                <a:lnTo>
                  <a:pt x="1857375" y="919163"/>
                </a:lnTo>
                <a:lnTo>
                  <a:pt x="928688" y="919163"/>
                </a:lnTo>
                <a:lnTo>
                  <a:pt x="928688" y="919163"/>
                </a:lnTo>
                <a:lnTo>
                  <a:pt x="1857375" y="919163"/>
                </a:lnTo>
                <a:close/>
              </a:path>
            </a:pathLst>
          </a:custGeom>
          <a:solidFill>
            <a:srgbClr val="D02670"/>
          </a:solidFill>
          <a:ln w="9525" cap="flat">
            <a:noFill/>
            <a:prstDash val="solid"/>
            <a:miter/>
          </a:ln>
        </p:spPr>
        <p:txBody>
          <a:bodyPr rtlCol="0" anchor="ctr"/>
          <a:lstStyle/>
          <a:p>
            <a:endParaRPr lang="uk-UA" sz="900"/>
          </a:p>
        </p:txBody>
      </p:sp>
      <p:sp>
        <p:nvSpPr>
          <p:cNvPr id="21" name="Freeform: Shape 20">
            <a:extLst>
              <a:ext uri="{FF2B5EF4-FFF2-40B4-BE49-F238E27FC236}">
                <a16:creationId xmlns:a16="http://schemas.microsoft.com/office/drawing/2014/main" id="{280B4A65-2EBB-7BF8-14F1-542EE5DA6A8D}"/>
              </a:ext>
            </a:extLst>
          </p:cNvPr>
          <p:cNvSpPr>
            <a:spLocks noChangeAspect="1"/>
          </p:cNvSpPr>
          <p:nvPr userDrawn="1"/>
        </p:nvSpPr>
        <p:spPr>
          <a:xfrm>
            <a:off x="10510155" y="1082828"/>
            <a:ext cx="1371421" cy="1371600"/>
          </a:xfrm>
          <a:custGeom>
            <a:avLst/>
            <a:gdLst>
              <a:gd name="connsiteX0" fmla="*/ 1231011 w 2462022"/>
              <a:gd name="connsiteY0" fmla="*/ 2462022 h 2462022"/>
              <a:gd name="connsiteX1" fmla="*/ 0 w 2462022"/>
              <a:gd name="connsiteY1" fmla="*/ 1231011 h 2462022"/>
              <a:gd name="connsiteX2" fmla="*/ 1231011 w 2462022"/>
              <a:gd name="connsiteY2" fmla="*/ 0 h 2462022"/>
              <a:gd name="connsiteX3" fmla="*/ 2462022 w 2462022"/>
              <a:gd name="connsiteY3" fmla="*/ 1231011 h 2462022"/>
              <a:gd name="connsiteX4" fmla="*/ 1231011 w 2462022"/>
              <a:gd name="connsiteY4" fmla="*/ 2462022 h 2462022"/>
              <a:gd name="connsiteX5" fmla="*/ 1183434 w 2462022"/>
              <a:gd name="connsiteY5" fmla="*/ 62665 h 2462022"/>
              <a:gd name="connsiteX6" fmla="*/ 61722 w 2462022"/>
              <a:gd name="connsiteY6" fmla="*/ 1231011 h 2462022"/>
              <a:gd name="connsiteX7" fmla="*/ 1200150 w 2462022"/>
              <a:gd name="connsiteY7" fmla="*/ 2399957 h 2462022"/>
              <a:gd name="connsiteX8" fmla="*/ 1200150 w 2462022"/>
              <a:gd name="connsiteY8" fmla="*/ 1433322 h 2462022"/>
              <a:gd name="connsiteX9" fmla="*/ 630936 w 2462022"/>
              <a:gd name="connsiteY9" fmla="*/ 1433322 h 2462022"/>
              <a:gd name="connsiteX10" fmla="*/ 605133 w 2462022"/>
              <a:gd name="connsiteY10" fmla="*/ 1419349 h 2462022"/>
              <a:gd name="connsiteX11" fmla="*/ 602732 w 2462022"/>
              <a:gd name="connsiteY11" fmla="*/ 1390031 h 2462022"/>
              <a:gd name="connsiteX12" fmla="*/ 1183434 w 2462022"/>
              <a:gd name="connsiteY12" fmla="*/ 62665 h 2462022"/>
              <a:gd name="connsiteX13" fmla="*/ 1261872 w 2462022"/>
              <a:gd name="connsiteY13" fmla="*/ 1028700 h 2462022"/>
              <a:gd name="connsiteX14" fmla="*/ 1831086 w 2462022"/>
              <a:gd name="connsiteY14" fmla="*/ 1028700 h 2462022"/>
              <a:gd name="connsiteX15" fmla="*/ 1856975 w 2462022"/>
              <a:gd name="connsiteY15" fmla="*/ 1042673 h 2462022"/>
              <a:gd name="connsiteX16" fmla="*/ 1859375 w 2462022"/>
              <a:gd name="connsiteY16" fmla="*/ 1071991 h 2462022"/>
              <a:gd name="connsiteX17" fmla="*/ 1278588 w 2462022"/>
              <a:gd name="connsiteY17" fmla="*/ 2399357 h 2462022"/>
              <a:gd name="connsiteX18" fmla="*/ 2400300 w 2462022"/>
              <a:gd name="connsiteY18" fmla="*/ 1231011 h 2462022"/>
              <a:gd name="connsiteX19" fmla="*/ 1261872 w 2462022"/>
              <a:gd name="connsiteY19" fmla="*/ 62151 h 2462022"/>
              <a:gd name="connsiteX20" fmla="*/ 1261872 w 2462022"/>
              <a:gd name="connsiteY20" fmla="*/ 1028700 h 2462022"/>
              <a:gd name="connsiteX21" fmla="*/ 678085 w 2462022"/>
              <a:gd name="connsiteY21" fmla="*/ 1371600 h 2462022"/>
              <a:gd name="connsiteX22" fmla="*/ 1231011 w 2462022"/>
              <a:gd name="connsiteY22" fmla="*/ 1371600 h 2462022"/>
              <a:gd name="connsiteX23" fmla="*/ 1261872 w 2462022"/>
              <a:gd name="connsiteY23" fmla="*/ 1402461 h 2462022"/>
              <a:gd name="connsiteX24" fmla="*/ 1261872 w 2462022"/>
              <a:gd name="connsiteY24" fmla="*/ 2283628 h 2462022"/>
              <a:gd name="connsiteX25" fmla="*/ 1783852 w 2462022"/>
              <a:gd name="connsiteY25" fmla="*/ 1090422 h 2462022"/>
              <a:gd name="connsiteX26" fmla="*/ 1231011 w 2462022"/>
              <a:gd name="connsiteY26" fmla="*/ 1090422 h 2462022"/>
              <a:gd name="connsiteX27" fmla="*/ 1200150 w 2462022"/>
              <a:gd name="connsiteY27" fmla="*/ 1059561 h 2462022"/>
              <a:gd name="connsiteX28" fmla="*/ 1200150 w 2462022"/>
              <a:gd name="connsiteY28" fmla="*/ 178394 h 2462022"/>
              <a:gd name="connsiteX29" fmla="*/ 678085 w 2462022"/>
              <a:gd name="connsiteY29" fmla="*/ 1371600 h 2462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462022" h="2462022">
                <a:moveTo>
                  <a:pt x="1231011" y="2462022"/>
                </a:moveTo>
                <a:cubicBezTo>
                  <a:pt x="552240" y="2462022"/>
                  <a:pt x="0" y="1909782"/>
                  <a:pt x="0" y="1231011"/>
                </a:cubicBezTo>
                <a:cubicBezTo>
                  <a:pt x="0" y="552240"/>
                  <a:pt x="552240" y="0"/>
                  <a:pt x="1231011" y="0"/>
                </a:cubicBezTo>
                <a:cubicBezTo>
                  <a:pt x="1909782" y="0"/>
                  <a:pt x="2462022" y="552240"/>
                  <a:pt x="2462022" y="1231011"/>
                </a:cubicBezTo>
                <a:cubicBezTo>
                  <a:pt x="2462022" y="1909782"/>
                  <a:pt x="1909782" y="2462022"/>
                  <a:pt x="1231011" y="2462022"/>
                </a:cubicBezTo>
                <a:close/>
                <a:moveTo>
                  <a:pt x="1183434" y="62665"/>
                </a:moveTo>
                <a:cubicBezTo>
                  <a:pt x="560642" y="87782"/>
                  <a:pt x="61722" y="602218"/>
                  <a:pt x="61722" y="1231011"/>
                </a:cubicBezTo>
                <a:cubicBezTo>
                  <a:pt x="61722" y="1865376"/>
                  <a:pt x="569643" y="2383498"/>
                  <a:pt x="1200150" y="2399957"/>
                </a:cubicBezTo>
                <a:lnTo>
                  <a:pt x="1200150" y="1433322"/>
                </a:lnTo>
                <a:lnTo>
                  <a:pt x="630936" y="1433322"/>
                </a:lnTo>
                <a:cubicBezTo>
                  <a:pt x="620478" y="1433322"/>
                  <a:pt x="610791" y="1428007"/>
                  <a:pt x="605133" y="1419349"/>
                </a:cubicBezTo>
                <a:cubicBezTo>
                  <a:pt x="599475" y="1410691"/>
                  <a:pt x="598532" y="1399632"/>
                  <a:pt x="602732" y="1390031"/>
                </a:cubicBezTo>
                <a:lnTo>
                  <a:pt x="1183434" y="62665"/>
                </a:lnTo>
                <a:close/>
                <a:moveTo>
                  <a:pt x="1261872" y="1028700"/>
                </a:moveTo>
                <a:lnTo>
                  <a:pt x="1831086" y="1028700"/>
                </a:lnTo>
                <a:cubicBezTo>
                  <a:pt x="1841459" y="1028700"/>
                  <a:pt x="1851146" y="1033929"/>
                  <a:pt x="1856975" y="1042673"/>
                </a:cubicBezTo>
                <a:cubicBezTo>
                  <a:pt x="1862633" y="1051417"/>
                  <a:pt x="1863576" y="1062390"/>
                  <a:pt x="1859375" y="1071991"/>
                </a:cubicBezTo>
                <a:lnTo>
                  <a:pt x="1278588" y="2399357"/>
                </a:lnTo>
                <a:cubicBezTo>
                  <a:pt x="1901381" y="2374325"/>
                  <a:pt x="2400300" y="1859804"/>
                  <a:pt x="2400300" y="1231011"/>
                </a:cubicBezTo>
                <a:cubicBezTo>
                  <a:pt x="2400300" y="596560"/>
                  <a:pt x="1892465" y="78524"/>
                  <a:pt x="1261872" y="62151"/>
                </a:cubicBezTo>
                <a:lnTo>
                  <a:pt x="1261872" y="1028700"/>
                </a:lnTo>
                <a:close/>
                <a:moveTo>
                  <a:pt x="678085" y="1371600"/>
                </a:moveTo>
                <a:lnTo>
                  <a:pt x="1231011" y="1371600"/>
                </a:lnTo>
                <a:cubicBezTo>
                  <a:pt x="1248070" y="1371600"/>
                  <a:pt x="1261872" y="1385402"/>
                  <a:pt x="1261872" y="1402461"/>
                </a:cubicBezTo>
                <a:lnTo>
                  <a:pt x="1261872" y="2283628"/>
                </a:lnTo>
                <a:lnTo>
                  <a:pt x="1783852" y="1090422"/>
                </a:lnTo>
                <a:lnTo>
                  <a:pt x="1231011" y="1090422"/>
                </a:lnTo>
                <a:cubicBezTo>
                  <a:pt x="1213952" y="1090422"/>
                  <a:pt x="1200150" y="1076620"/>
                  <a:pt x="1200150" y="1059561"/>
                </a:cubicBezTo>
                <a:lnTo>
                  <a:pt x="1200150" y="178394"/>
                </a:lnTo>
                <a:lnTo>
                  <a:pt x="678085" y="1371600"/>
                </a:lnTo>
                <a:close/>
              </a:path>
            </a:pathLst>
          </a:custGeom>
          <a:solidFill>
            <a:srgbClr val="000000"/>
          </a:solidFill>
          <a:ln w="85725" cap="flat">
            <a:noFill/>
            <a:prstDash val="solid"/>
            <a:miter/>
          </a:ln>
        </p:spPr>
        <p:txBody>
          <a:bodyPr rtlCol="0" anchor="ctr"/>
          <a:lstStyle/>
          <a:p>
            <a:endParaRPr lang="uk-UA" sz="900"/>
          </a:p>
        </p:txBody>
      </p:sp>
    </p:spTree>
    <p:extLst>
      <p:ext uri="{BB962C8B-B14F-4D97-AF65-F5344CB8AC3E}">
        <p14:creationId xmlns:p14="http://schemas.microsoft.com/office/powerpoint/2010/main" val="2909329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What you will learn">
    <p:spTree>
      <p:nvGrpSpPr>
        <p:cNvPr id="1" name=""/>
        <p:cNvGrpSpPr/>
        <p:nvPr/>
      </p:nvGrpSpPr>
      <p:grpSpPr>
        <a:xfrm>
          <a:off x="0" y="0"/>
          <a:ext cx="0" cy="0"/>
          <a:chOff x="0" y="0"/>
          <a:chExt cx="0" cy="0"/>
        </a:xfrm>
      </p:grpSpPr>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Title 1">
            <a:extLst>
              <a:ext uri="{FF2B5EF4-FFF2-40B4-BE49-F238E27FC236}">
                <a16:creationId xmlns:a16="http://schemas.microsoft.com/office/drawing/2014/main" id="{CA175240-12A7-12D7-DC4F-B715F74304DD}"/>
              </a:ext>
            </a:extLst>
          </p:cNvPr>
          <p:cNvSpPr>
            <a:spLocks noGrp="1"/>
          </p:cNvSpPr>
          <p:nvPr>
            <p:ph type="title"/>
          </p:nvPr>
        </p:nvSpPr>
        <p:spPr>
          <a:xfrm>
            <a:off x="269212" y="191937"/>
            <a:ext cx="5539489" cy="1429544"/>
          </a:xfrm>
        </p:spPr>
        <p:txBody>
          <a:bodyPr rIns="457200"/>
          <a:lstStyle>
            <a:lvl1pPr>
              <a:lnSpc>
                <a:spcPct val="100000"/>
              </a:lnSpc>
              <a:defRPr sz="3199">
                <a:solidFill>
                  <a:schemeClr val="tx2"/>
                </a:solidFill>
              </a:defRPr>
            </a:lvl1pPr>
          </a:lstStyle>
          <a:p>
            <a:r>
              <a:rPr lang="en-US"/>
              <a:t>Click to edit Master title style</a:t>
            </a:r>
          </a:p>
        </p:txBody>
      </p:sp>
      <p:sp>
        <p:nvSpPr>
          <p:cNvPr id="3" name="Footer Placeholder 1">
            <a:extLst>
              <a:ext uri="{FF2B5EF4-FFF2-40B4-BE49-F238E27FC236}">
                <a16:creationId xmlns:a16="http://schemas.microsoft.com/office/drawing/2014/main" id="{95C9BB08-694B-5D15-5524-4AF48C832BC6}"/>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
        <p:nvSpPr>
          <p:cNvPr id="2" name="Text Placeholder 6">
            <a:extLst>
              <a:ext uri="{FF2B5EF4-FFF2-40B4-BE49-F238E27FC236}">
                <a16:creationId xmlns:a16="http://schemas.microsoft.com/office/drawing/2014/main" id="{3C249F73-D2D8-35CC-BF86-6F2E5E5B2A13}"/>
              </a:ext>
            </a:extLst>
          </p:cNvPr>
          <p:cNvSpPr>
            <a:spLocks noGrp="1"/>
          </p:cNvSpPr>
          <p:nvPr>
            <p:ph type="body" sz="quarter" idx="10" hasCustomPrompt="1"/>
          </p:nvPr>
        </p:nvSpPr>
        <p:spPr>
          <a:xfrm>
            <a:off x="6380919" y="1714500"/>
            <a:ext cx="548569" cy="4283869"/>
          </a:xfrm>
        </p:spPr>
        <p:txBody>
          <a:bodyPr/>
          <a:lstStyle>
            <a:lvl1pPr defTabSz="580528">
              <a:spcBef>
                <a:spcPts val="0"/>
              </a:spcBef>
              <a:spcAft>
                <a:spcPts val="900"/>
              </a:spcAft>
              <a:defRPr sz="3199">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en-US"/>
              <a:t>01</a:t>
            </a:r>
            <a:br>
              <a:rPr lang="en-US"/>
            </a:br>
            <a:r>
              <a:rPr lang="en-US"/>
              <a:t>02</a:t>
            </a:r>
            <a:br>
              <a:rPr lang="en-US"/>
            </a:br>
            <a:r>
              <a:rPr lang="en-US"/>
              <a:t>03</a:t>
            </a:r>
            <a:br>
              <a:rPr lang="en-US"/>
            </a:br>
            <a:r>
              <a:rPr lang="en-US"/>
              <a:t>04</a:t>
            </a:r>
            <a:br>
              <a:rPr lang="en-US"/>
            </a:br>
            <a:r>
              <a:rPr lang="en-US"/>
              <a:t>05</a:t>
            </a:r>
            <a:br>
              <a:rPr lang="en-US"/>
            </a:br>
            <a:r>
              <a:rPr lang="en-US"/>
              <a:t>06</a:t>
            </a:r>
          </a:p>
        </p:txBody>
      </p:sp>
      <p:sp>
        <p:nvSpPr>
          <p:cNvPr id="7" name="Text Placeholder 6">
            <a:extLst>
              <a:ext uri="{FF2B5EF4-FFF2-40B4-BE49-F238E27FC236}">
                <a16:creationId xmlns:a16="http://schemas.microsoft.com/office/drawing/2014/main" id="{2FA1D6E6-D82A-895F-5243-4160CD24D4BA}"/>
              </a:ext>
            </a:extLst>
          </p:cNvPr>
          <p:cNvSpPr>
            <a:spLocks noGrp="1"/>
          </p:cNvSpPr>
          <p:nvPr>
            <p:ph type="body" sz="quarter" idx="11"/>
          </p:nvPr>
        </p:nvSpPr>
        <p:spPr>
          <a:xfrm>
            <a:off x="7126143" y="1714500"/>
            <a:ext cx="4774589" cy="4283869"/>
          </a:xfrm>
        </p:spPr>
        <p:txBody>
          <a:bodyPr/>
          <a:lstStyle>
            <a:lvl1pPr defTabSz="580528">
              <a:spcBef>
                <a:spcPts val="0"/>
              </a:spcBef>
              <a:spcAft>
                <a:spcPts val="900"/>
              </a:spcAft>
              <a:defRPr sz="3199">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en-US"/>
              <a:t>Click to edit Master text styles</a:t>
            </a:r>
          </a:p>
        </p:txBody>
      </p:sp>
      <p:sp>
        <p:nvSpPr>
          <p:cNvPr id="13" name="Graphic 86">
            <a:extLst>
              <a:ext uri="{FF2B5EF4-FFF2-40B4-BE49-F238E27FC236}">
                <a16:creationId xmlns:a16="http://schemas.microsoft.com/office/drawing/2014/main" id="{B61372B9-A141-64D2-2658-B2541D5747E8}"/>
              </a:ext>
            </a:extLst>
          </p:cNvPr>
          <p:cNvSpPr>
            <a:spLocks noChangeAspect="1"/>
          </p:cNvSpPr>
          <p:nvPr userDrawn="1"/>
        </p:nvSpPr>
        <p:spPr>
          <a:xfrm>
            <a:off x="1503517" y="5392458"/>
            <a:ext cx="605834" cy="605912"/>
          </a:xfrm>
          <a:custGeom>
            <a:avLst/>
            <a:gdLst>
              <a:gd name="connsiteX0" fmla="*/ 828675 w 828675"/>
              <a:gd name="connsiteY0" fmla="*/ 828675 h 828675"/>
              <a:gd name="connsiteX1" fmla="*/ 828675 w 828675"/>
              <a:gd name="connsiteY1" fmla="*/ 414338 h 828675"/>
              <a:gd name="connsiteX2" fmla="*/ 828675 w 828675"/>
              <a:gd name="connsiteY2" fmla="*/ 0 h 828675"/>
              <a:gd name="connsiteX3" fmla="*/ 414338 w 828675"/>
              <a:gd name="connsiteY3" fmla="*/ 0 h 828675"/>
              <a:gd name="connsiteX4" fmla="*/ 828675 w 828675"/>
              <a:gd name="connsiteY4" fmla="*/ 414338 h 828675"/>
              <a:gd name="connsiteX5" fmla="*/ 414338 w 828675"/>
              <a:gd name="connsiteY5" fmla="*/ 828675 h 828675"/>
              <a:gd name="connsiteX6" fmla="*/ 828675 w 828675"/>
              <a:gd name="connsiteY6" fmla="*/ 828675 h 828675"/>
              <a:gd name="connsiteX7" fmla="*/ 0 w 828675"/>
              <a:gd name="connsiteY7" fmla="*/ 828675 h 828675"/>
              <a:gd name="connsiteX8" fmla="*/ 0 w 828675"/>
              <a:gd name="connsiteY8" fmla="*/ 414338 h 828675"/>
              <a:gd name="connsiteX9" fmla="*/ 0 w 828675"/>
              <a:gd name="connsiteY9" fmla="*/ 0 h 828675"/>
              <a:gd name="connsiteX10" fmla="*/ 414338 w 828675"/>
              <a:gd name="connsiteY10" fmla="*/ 414338 h 828675"/>
              <a:gd name="connsiteX11" fmla="*/ 0 w 828675"/>
              <a:gd name="connsiteY11" fmla="*/ 828675 h 828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28675" h="828675">
                <a:moveTo>
                  <a:pt x="828675" y="828675"/>
                </a:moveTo>
                <a:lnTo>
                  <a:pt x="828675" y="414338"/>
                </a:lnTo>
                <a:lnTo>
                  <a:pt x="828675" y="0"/>
                </a:lnTo>
                <a:lnTo>
                  <a:pt x="414338" y="0"/>
                </a:lnTo>
                <a:lnTo>
                  <a:pt x="828675" y="414338"/>
                </a:lnTo>
                <a:lnTo>
                  <a:pt x="414338" y="828675"/>
                </a:lnTo>
                <a:lnTo>
                  <a:pt x="828675" y="828675"/>
                </a:lnTo>
                <a:close/>
                <a:moveTo>
                  <a:pt x="0" y="828675"/>
                </a:moveTo>
                <a:lnTo>
                  <a:pt x="0" y="414338"/>
                </a:lnTo>
                <a:lnTo>
                  <a:pt x="0" y="0"/>
                </a:lnTo>
                <a:lnTo>
                  <a:pt x="414338" y="414338"/>
                </a:lnTo>
                <a:lnTo>
                  <a:pt x="0" y="828675"/>
                </a:lnTo>
                <a:close/>
              </a:path>
            </a:pathLst>
          </a:custGeom>
          <a:solidFill>
            <a:srgbClr val="08BDBA"/>
          </a:solidFill>
          <a:ln w="9525" cap="flat">
            <a:noFill/>
            <a:prstDash val="solid"/>
            <a:miter/>
          </a:ln>
        </p:spPr>
        <p:txBody>
          <a:bodyPr rtlCol="0" anchor="ctr"/>
          <a:lstStyle/>
          <a:p>
            <a:endParaRPr lang="en-US" sz="900"/>
          </a:p>
        </p:txBody>
      </p:sp>
      <p:sp>
        <p:nvSpPr>
          <p:cNvPr id="14" name="Freeform: Shape 82">
            <a:extLst>
              <a:ext uri="{FF2B5EF4-FFF2-40B4-BE49-F238E27FC236}">
                <a16:creationId xmlns:a16="http://schemas.microsoft.com/office/drawing/2014/main" id="{692FDA55-17C2-2BE4-1573-4D1217E38C78}"/>
              </a:ext>
            </a:extLst>
          </p:cNvPr>
          <p:cNvSpPr>
            <a:spLocks noChangeAspect="1"/>
          </p:cNvSpPr>
          <p:nvPr userDrawn="1"/>
        </p:nvSpPr>
        <p:spPr>
          <a:xfrm rot="5400000">
            <a:off x="293458" y="1714579"/>
            <a:ext cx="1206645" cy="1206488"/>
          </a:xfrm>
          <a:custGeom>
            <a:avLst/>
            <a:gdLst>
              <a:gd name="connsiteX0" fmla="*/ 409166 w 818931"/>
              <a:gd name="connsiteY0" fmla="*/ 409166 h 818931"/>
              <a:gd name="connsiteX1" fmla="*/ 289000 w 818931"/>
              <a:gd name="connsiteY1" fmla="*/ 119565 h 818931"/>
              <a:gd name="connsiteX2" fmla="*/ 0 w 818931"/>
              <a:gd name="connsiteY2" fmla="*/ 0 h 818931"/>
              <a:gd name="connsiteX3" fmla="*/ 0 w 818931"/>
              <a:gd name="connsiteY3" fmla="*/ 409166 h 818931"/>
              <a:gd name="connsiteX4" fmla="*/ 0 w 818931"/>
              <a:gd name="connsiteY4" fmla="*/ 818331 h 818931"/>
              <a:gd name="connsiteX5" fmla="*/ 289600 w 818931"/>
              <a:gd name="connsiteY5" fmla="*/ 698165 h 818931"/>
              <a:gd name="connsiteX6" fmla="*/ 409166 w 818931"/>
              <a:gd name="connsiteY6" fmla="*/ 409166 h 818931"/>
              <a:gd name="connsiteX7" fmla="*/ 698766 w 818931"/>
              <a:gd name="connsiteY7" fmla="*/ 698766 h 818931"/>
              <a:gd name="connsiteX8" fmla="*/ 409166 w 818931"/>
              <a:gd name="connsiteY8" fmla="*/ 818932 h 818931"/>
              <a:gd name="connsiteX9" fmla="*/ 409166 w 818931"/>
              <a:gd name="connsiteY9" fmla="*/ 409166 h 818931"/>
              <a:gd name="connsiteX10" fmla="*/ 409166 w 818931"/>
              <a:gd name="connsiteY10" fmla="*/ 0 h 818931"/>
              <a:gd name="connsiteX11" fmla="*/ 698766 w 818931"/>
              <a:gd name="connsiteY11" fmla="*/ 120166 h 818931"/>
              <a:gd name="connsiteX12" fmla="*/ 818932 w 818931"/>
              <a:gd name="connsiteY12" fmla="*/ 409766 h 818931"/>
              <a:gd name="connsiteX13" fmla="*/ 698766 w 818931"/>
              <a:gd name="connsiteY13" fmla="*/ 698766 h 81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18931" h="818931">
                <a:moveTo>
                  <a:pt x="409166" y="409166"/>
                </a:moveTo>
                <a:cubicBezTo>
                  <a:pt x="409166" y="300415"/>
                  <a:pt x="365906" y="196472"/>
                  <a:pt x="289000" y="119565"/>
                </a:cubicBezTo>
                <a:cubicBezTo>
                  <a:pt x="212093" y="42659"/>
                  <a:pt x="108750" y="0"/>
                  <a:pt x="0" y="0"/>
                </a:cubicBezTo>
                <a:lnTo>
                  <a:pt x="0" y="409166"/>
                </a:lnTo>
                <a:lnTo>
                  <a:pt x="0" y="818331"/>
                </a:lnTo>
                <a:cubicBezTo>
                  <a:pt x="108750" y="818331"/>
                  <a:pt x="212694" y="775071"/>
                  <a:pt x="289600" y="698165"/>
                </a:cubicBezTo>
                <a:cubicBezTo>
                  <a:pt x="365906" y="621860"/>
                  <a:pt x="409166" y="517916"/>
                  <a:pt x="409166" y="409166"/>
                </a:cubicBezTo>
                <a:close/>
                <a:moveTo>
                  <a:pt x="698766" y="698766"/>
                </a:moveTo>
                <a:cubicBezTo>
                  <a:pt x="621860" y="775672"/>
                  <a:pt x="517916" y="818932"/>
                  <a:pt x="409166" y="818932"/>
                </a:cubicBezTo>
                <a:lnTo>
                  <a:pt x="409166" y="409166"/>
                </a:lnTo>
                <a:lnTo>
                  <a:pt x="409166" y="0"/>
                </a:lnTo>
                <a:cubicBezTo>
                  <a:pt x="517916" y="0"/>
                  <a:pt x="621860" y="43260"/>
                  <a:pt x="698766" y="120166"/>
                </a:cubicBezTo>
                <a:cubicBezTo>
                  <a:pt x="775672" y="197072"/>
                  <a:pt x="818932" y="301016"/>
                  <a:pt x="818932" y="409766"/>
                </a:cubicBezTo>
                <a:cubicBezTo>
                  <a:pt x="818932" y="518517"/>
                  <a:pt x="775672" y="621860"/>
                  <a:pt x="698766" y="698766"/>
                </a:cubicBezTo>
                <a:close/>
              </a:path>
            </a:pathLst>
          </a:custGeom>
          <a:solidFill>
            <a:srgbClr val="82CFFF"/>
          </a:solidFill>
          <a:ln w="5992" cap="flat">
            <a:noFill/>
            <a:prstDash val="solid"/>
            <a:miter/>
          </a:ln>
        </p:spPr>
        <p:txBody>
          <a:bodyPr rtlCol="0" anchor="ctr"/>
          <a:lstStyle/>
          <a:p>
            <a:endParaRPr lang="en-US" sz="900"/>
          </a:p>
        </p:txBody>
      </p:sp>
      <p:sp>
        <p:nvSpPr>
          <p:cNvPr id="15" name="Graphic 33">
            <a:extLst>
              <a:ext uri="{FF2B5EF4-FFF2-40B4-BE49-F238E27FC236}">
                <a16:creationId xmlns:a16="http://schemas.microsoft.com/office/drawing/2014/main" id="{B7FA59DC-0788-BB1B-E8A4-28BE4D0C9588}"/>
              </a:ext>
            </a:extLst>
          </p:cNvPr>
          <p:cNvSpPr>
            <a:spLocks noChangeAspect="1"/>
          </p:cNvSpPr>
          <p:nvPr userDrawn="1"/>
        </p:nvSpPr>
        <p:spPr>
          <a:xfrm>
            <a:off x="1506106" y="3028977"/>
            <a:ext cx="1206488" cy="1065357"/>
          </a:xfrm>
          <a:custGeom>
            <a:avLst/>
            <a:gdLst>
              <a:gd name="connsiteX0" fmla="*/ 811530 w 1309687"/>
              <a:gd name="connsiteY0" fmla="*/ 80963 h 1156335"/>
              <a:gd name="connsiteX1" fmla="*/ 838200 w 1309687"/>
              <a:gd name="connsiteY1" fmla="*/ 0 h 1156335"/>
              <a:gd name="connsiteX2" fmla="*/ 1309688 w 1309687"/>
              <a:gd name="connsiteY2" fmla="*/ 0 h 1156335"/>
              <a:gd name="connsiteX3" fmla="*/ 1309688 w 1309687"/>
              <a:gd name="connsiteY3" fmla="*/ 80963 h 1156335"/>
              <a:gd name="connsiteX4" fmla="*/ 811530 w 1309687"/>
              <a:gd name="connsiteY4" fmla="*/ 80963 h 1156335"/>
              <a:gd name="connsiteX5" fmla="*/ 0 w 1309687"/>
              <a:gd name="connsiteY5" fmla="*/ 80963 h 1156335"/>
              <a:gd name="connsiteX6" fmla="*/ 0 w 1309687"/>
              <a:gd name="connsiteY6" fmla="*/ 0 h 1156335"/>
              <a:gd name="connsiteX7" fmla="*/ 471488 w 1309687"/>
              <a:gd name="connsiteY7" fmla="*/ 0 h 1156335"/>
              <a:gd name="connsiteX8" fmla="*/ 498158 w 1309687"/>
              <a:gd name="connsiteY8" fmla="*/ 80963 h 1156335"/>
              <a:gd name="connsiteX9" fmla="*/ 0 w 1309687"/>
              <a:gd name="connsiteY9" fmla="*/ 80963 h 1156335"/>
              <a:gd name="connsiteX10" fmla="*/ 1228725 w 1309687"/>
              <a:gd name="connsiteY10" fmla="*/ 231458 h 1156335"/>
              <a:gd name="connsiteX11" fmla="*/ 1309688 w 1309687"/>
              <a:gd name="connsiteY11" fmla="*/ 231458 h 1156335"/>
              <a:gd name="connsiteX12" fmla="*/ 1309688 w 1309687"/>
              <a:gd name="connsiteY12" fmla="*/ 150495 h 1156335"/>
              <a:gd name="connsiteX13" fmla="*/ 788670 w 1309687"/>
              <a:gd name="connsiteY13" fmla="*/ 150495 h 1156335"/>
              <a:gd name="connsiteX14" fmla="*/ 762000 w 1309687"/>
              <a:gd name="connsiteY14" fmla="*/ 231458 h 1156335"/>
              <a:gd name="connsiteX15" fmla="*/ 1228725 w 1309687"/>
              <a:gd name="connsiteY15" fmla="*/ 231458 h 1156335"/>
              <a:gd name="connsiteX16" fmla="*/ 80963 w 1309687"/>
              <a:gd name="connsiteY16" fmla="*/ 231458 h 1156335"/>
              <a:gd name="connsiteX17" fmla="*/ 0 w 1309687"/>
              <a:gd name="connsiteY17" fmla="*/ 231458 h 1156335"/>
              <a:gd name="connsiteX18" fmla="*/ 0 w 1309687"/>
              <a:gd name="connsiteY18" fmla="*/ 150495 h 1156335"/>
              <a:gd name="connsiteX19" fmla="*/ 521018 w 1309687"/>
              <a:gd name="connsiteY19" fmla="*/ 150495 h 1156335"/>
              <a:gd name="connsiteX20" fmla="*/ 547688 w 1309687"/>
              <a:gd name="connsiteY20" fmla="*/ 231458 h 1156335"/>
              <a:gd name="connsiteX21" fmla="*/ 80963 w 1309687"/>
              <a:gd name="connsiteY21" fmla="*/ 231458 h 1156335"/>
              <a:gd name="connsiteX22" fmla="*/ 1147763 w 1309687"/>
              <a:gd name="connsiteY22" fmla="*/ 381953 h 1156335"/>
              <a:gd name="connsiteX23" fmla="*/ 1147763 w 1309687"/>
              <a:gd name="connsiteY23" fmla="*/ 300990 h 1156335"/>
              <a:gd name="connsiteX24" fmla="*/ 739140 w 1309687"/>
              <a:gd name="connsiteY24" fmla="*/ 300990 h 1156335"/>
              <a:gd name="connsiteX25" fmla="*/ 712470 w 1309687"/>
              <a:gd name="connsiteY25" fmla="*/ 381953 h 1156335"/>
              <a:gd name="connsiteX26" fmla="*/ 1147763 w 1309687"/>
              <a:gd name="connsiteY26" fmla="*/ 381953 h 1156335"/>
              <a:gd name="connsiteX27" fmla="*/ 1147763 w 1309687"/>
              <a:gd name="connsiteY27" fmla="*/ 381953 h 1156335"/>
              <a:gd name="connsiteX28" fmla="*/ 161925 w 1309687"/>
              <a:gd name="connsiteY28" fmla="*/ 381953 h 1156335"/>
              <a:gd name="connsiteX29" fmla="*/ 161925 w 1309687"/>
              <a:gd name="connsiteY29" fmla="*/ 300990 h 1156335"/>
              <a:gd name="connsiteX30" fmla="*/ 570548 w 1309687"/>
              <a:gd name="connsiteY30" fmla="*/ 300990 h 1156335"/>
              <a:gd name="connsiteX31" fmla="*/ 597218 w 1309687"/>
              <a:gd name="connsiteY31" fmla="*/ 381953 h 1156335"/>
              <a:gd name="connsiteX32" fmla="*/ 161925 w 1309687"/>
              <a:gd name="connsiteY32" fmla="*/ 381953 h 1156335"/>
              <a:gd name="connsiteX33" fmla="*/ 879158 w 1309687"/>
              <a:gd name="connsiteY33" fmla="*/ 542925 h 1156335"/>
              <a:gd name="connsiteX34" fmla="*/ 898208 w 1309687"/>
              <a:gd name="connsiteY34" fmla="*/ 492443 h 1156335"/>
              <a:gd name="connsiteX35" fmla="*/ 898208 w 1309687"/>
              <a:gd name="connsiteY35" fmla="*/ 542925 h 1156335"/>
              <a:gd name="connsiteX36" fmla="*/ 1147763 w 1309687"/>
              <a:gd name="connsiteY36" fmla="*/ 542925 h 1156335"/>
              <a:gd name="connsiteX37" fmla="*/ 1147763 w 1309687"/>
              <a:gd name="connsiteY37" fmla="*/ 450533 h 1156335"/>
              <a:gd name="connsiteX38" fmla="*/ 689610 w 1309687"/>
              <a:gd name="connsiteY38" fmla="*/ 450533 h 1156335"/>
              <a:gd name="connsiteX39" fmla="*/ 659130 w 1309687"/>
              <a:gd name="connsiteY39" fmla="*/ 542925 h 1156335"/>
              <a:gd name="connsiteX40" fmla="*/ 879158 w 1309687"/>
              <a:gd name="connsiteY40" fmla="*/ 542925 h 1156335"/>
              <a:gd name="connsiteX41" fmla="*/ 879158 w 1309687"/>
              <a:gd name="connsiteY41" fmla="*/ 542925 h 1156335"/>
              <a:gd name="connsiteX42" fmla="*/ 161925 w 1309687"/>
              <a:gd name="connsiteY42" fmla="*/ 542925 h 1156335"/>
              <a:gd name="connsiteX43" fmla="*/ 161925 w 1309687"/>
              <a:gd name="connsiteY43" fmla="*/ 450533 h 1156335"/>
              <a:gd name="connsiteX44" fmla="*/ 620078 w 1309687"/>
              <a:gd name="connsiteY44" fmla="*/ 450533 h 1156335"/>
              <a:gd name="connsiteX45" fmla="*/ 650558 w 1309687"/>
              <a:gd name="connsiteY45" fmla="*/ 542925 h 1156335"/>
              <a:gd name="connsiteX46" fmla="*/ 429578 w 1309687"/>
              <a:gd name="connsiteY46" fmla="*/ 542925 h 1156335"/>
              <a:gd name="connsiteX47" fmla="*/ 411480 w 1309687"/>
              <a:gd name="connsiteY47" fmla="*/ 492443 h 1156335"/>
              <a:gd name="connsiteX48" fmla="*/ 411480 w 1309687"/>
              <a:gd name="connsiteY48" fmla="*/ 542925 h 1156335"/>
              <a:gd name="connsiteX49" fmla="*/ 161925 w 1309687"/>
              <a:gd name="connsiteY49" fmla="*/ 542925 h 1156335"/>
              <a:gd name="connsiteX50" fmla="*/ 898208 w 1309687"/>
              <a:gd name="connsiteY50" fmla="*/ 693420 h 1156335"/>
              <a:gd name="connsiteX51" fmla="*/ 898208 w 1309687"/>
              <a:gd name="connsiteY51" fmla="*/ 612458 h 1156335"/>
              <a:gd name="connsiteX52" fmla="*/ 1147763 w 1309687"/>
              <a:gd name="connsiteY52" fmla="*/ 612458 h 1156335"/>
              <a:gd name="connsiteX53" fmla="*/ 1147763 w 1309687"/>
              <a:gd name="connsiteY53" fmla="*/ 693420 h 1156335"/>
              <a:gd name="connsiteX54" fmla="*/ 898208 w 1309687"/>
              <a:gd name="connsiteY54" fmla="*/ 693420 h 1156335"/>
              <a:gd name="connsiteX55" fmla="*/ 484823 w 1309687"/>
              <a:gd name="connsiteY55" fmla="*/ 693420 h 1156335"/>
              <a:gd name="connsiteX56" fmla="*/ 455295 w 1309687"/>
              <a:gd name="connsiteY56" fmla="*/ 612458 h 1156335"/>
              <a:gd name="connsiteX57" fmla="*/ 853440 w 1309687"/>
              <a:gd name="connsiteY57" fmla="*/ 612458 h 1156335"/>
              <a:gd name="connsiteX58" fmla="*/ 823913 w 1309687"/>
              <a:gd name="connsiteY58" fmla="*/ 693420 h 1156335"/>
              <a:gd name="connsiteX59" fmla="*/ 484823 w 1309687"/>
              <a:gd name="connsiteY59" fmla="*/ 693420 h 1156335"/>
              <a:gd name="connsiteX60" fmla="*/ 484823 w 1309687"/>
              <a:gd name="connsiteY60" fmla="*/ 693420 h 1156335"/>
              <a:gd name="connsiteX61" fmla="*/ 161925 w 1309687"/>
              <a:gd name="connsiteY61" fmla="*/ 693420 h 1156335"/>
              <a:gd name="connsiteX62" fmla="*/ 161925 w 1309687"/>
              <a:gd name="connsiteY62" fmla="*/ 612458 h 1156335"/>
              <a:gd name="connsiteX63" fmla="*/ 411480 w 1309687"/>
              <a:gd name="connsiteY63" fmla="*/ 612458 h 1156335"/>
              <a:gd name="connsiteX64" fmla="*/ 411480 w 1309687"/>
              <a:gd name="connsiteY64" fmla="*/ 693420 h 1156335"/>
              <a:gd name="connsiteX65" fmla="*/ 161925 w 1309687"/>
              <a:gd name="connsiteY65" fmla="*/ 693420 h 1156335"/>
              <a:gd name="connsiteX66" fmla="*/ 898208 w 1309687"/>
              <a:gd name="connsiteY66" fmla="*/ 855345 h 1156335"/>
              <a:gd name="connsiteX67" fmla="*/ 898208 w 1309687"/>
              <a:gd name="connsiteY67" fmla="*/ 762953 h 1156335"/>
              <a:gd name="connsiteX68" fmla="*/ 1147763 w 1309687"/>
              <a:gd name="connsiteY68" fmla="*/ 762953 h 1156335"/>
              <a:gd name="connsiteX69" fmla="*/ 1147763 w 1309687"/>
              <a:gd name="connsiteY69" fmla="*/ 855345 h 1156335"/>
              <a:gd name="connsiteX70" fmla="*/ 898208 w 1309687"/>
              <a:gd name="connsiteY70" fmla="*/ 855345 h 1156335"/>
              <a:gd name="connsiteX71" fmla="*/ 542925 w 1309687"/>
              <a:gd name="connsiteY71" fmla="*/ 855345 h 1156335"/>
              <a:gd name="connsiteX72" fmla="*/ 509588 w 1309687"/>
              <a:gd name="connsiteY72" fmla="*/ 762953 h 1156335"/>
              <a:gd name="connsiteX73" fmla="*/ 798195 w 1309687"/>
              <a:gd name="connsiteY73" fmla="*/ 762953 h 1156335"/>
              <a:gd name="connsiteX74" fmla="*/ 763905 w 1309687"/>
              <a:gd name="connsiteY74" fmla="*/ 855345 h 1156335"/>
              <a:gd name="connsiteX75" fmla="*/ 542925 w 1309687"/>
              <a:gd name="connsiteY75" fmla="*/ 855345 h 1156335"/>
              <a:gd name="connsiteX76" fmla="*/ 542925 w 1309687"/>
              <a:gd name="connsiteY76" fmla="*/ 855345 h 1156335"/>
              <a:gd name="connsiteX77" fmla="*/ 161925 w 1309687"/>
              <a:gd name="connsiteY77" fmla="*/ 855345 h 1156335"/>
              <a:gd name="connsiteX78" fmla="*/ 161925 w 1309687"/>
              <a:gd name="connsiteY78" fmla="*/ 762953 h 1156335"/>
              <a:gd name="connsiteX79" fmla="*/ 411480 w 1309687"/>
              <a:gd name="connsiteY79" fmla="*/ 762953 h 1156335"/>
              <a:gd name="connsiteX80" fmla="*/ 411480 w 1309687"/>
              <a:gd name="connsiteY80" fmla="*/ 855345 h 1156335"/>
              <a:gd name="connsiteX81" fmla="*/ 161925 w 1309687"/>
              <a:gd name="connsiteY81" fmla="*/ 855345 h 1156335"/>
              <a:gd name="connsiteX82" fmla="*/ 898208 w 1309687"/>
              <a:gd name="connsiteY82" fmla="*/ 1075373 h 1156335"/>
              <a:gd name="connsiteX83" fmla="*/ 898208 w 1309687"/>
              <a:gd name="connsiteY83" fmla="*/ 1156335 h 1156335"/>
              <a:gd name="connsiteX84" fmla="*/ 1309688 w 1309687"/>
              <a:gd name="connsiteY84" fmla="*/ 1156335 h 1156335"/>
              <a:gd name="connsiteX85" fmla="*/ 1309688 w 1309687"/>
              <a:gd name="connsiteY85" fmla="*/ 1075373 h 1156335"/>
              <a:gd name="connsiteX86" fmla="*/ 898208 w 1309687"/>
              <a:gd name="connsiteY86" fmla="*/ 1075373 h 1156335"/>
              <a:gd name="connsiteX87" fmla="*/ 622935 w 1309687"/>
              <a:gd name="connsiteY87" fmla="*/ 1075373 h 1156335"/>
              <a:gd name="connsiteX88" fmla="*/ 652463 w 1309687"/>
              <a:gd name="connsiteY88" fmla="*/ 1156335 h 1156335"/>
              <a:gd name="connsiteX89" fmla="*/ 652463 w 1309687"/>
              <a:gd name="connsiteY89" fmla="*/ 1156335 h 1156335"/>
              <a:gd name="connsiteX90" fmla="*/ 653415 w 1309687"/>
              <a:gd name="connsiteY90" fmla="*/ 1156335 h 1156335"/>
              <a:gd name="connsiteX91" fmla="*/ 682943 w 1309687"/>
              <a:gd name="connsiteY91" fmla="*/ 1075373 h 1156335"/>
              <a:gd name="connsiteX92" fmla="*/ 622935 w 1309687"/>
              <a:gd name="connsiteY92" fmla="*/ 1075373 h 1156335"/>
              <a:gd name="connsiteX93" fmla="*/ 597218 w 1309687"/>
              <a:gd name="connsiteY93" fmla="*/ 1005840 h 1156335"/>
              <a:gd name="connsiteX94" fmla="*/ 567690 w 1309687"/>
              <a:gd name="connsiteY94" fmla="*/ 924878 h 1156335"/>
              <a:gd name="connsiteX95" fmla="*/ 738188 w 1309687"/>
              <a:gd name="connsiteY95" fmla="*/ 924878 h 1156335"/>
              <a:gd name="connsiteX96" fmla="*/ 708660 w 1309687"/>
              <a:gd name="connsiteY96" fmla="*/ 1005840 h 1156335"/>
              <a:gd name="connsiteX97" fmla="*/ 597218 w 1309687"/>
              <a:gd name="connsiteY97" fmla="*/ 1005840 h 1156335"/>
              <a:gd name="connsiteX98" fmla="*/ 597218 w 1309687"/>
              <a:gd name="connsiteY98" fmla="*/ 1005840 h 1156335"/>
              <a:gd name="connsiteX99" fmla="*/ 0 w 1309687"/>
              <a:gd name="connsiteY99" fmla="*/ 1075373 h 1156335"/>
              <a:gd name="connsiteX100" fmla="*/ 0 w 1309687"/>
              <a:gd name="connsiteY100" fmla="*/ 1156335 h 1156335"/>
              <a:gd name="connsiteX101" fmla="*/ 411480 w 1309687"/>
              <a:gd name="connsiteY101" fmla="*/ 1156335 h 1156335"/>
              <a:gd name="connsiteX102" fmla="*/ 411480 w 1309687"/>
              <a:gd name="connsiteY102" fmla="*/ 1075373 h 1156335"/>
              <a:gd name="connsiteX103" fmla="*/ 0 w 1309687"/>
              <a:gd name="connsiteY103" fmla="*/ 1075373 h 1156335"/>
              <a:gd name="connsiteX104" fmla="*/ 1112520 w 1309687"/>
              <a:gd name="connsiteY104" fmla="*/ 924878 h 1156335"/>
              <a:gd name="connsiteX105" fmla="*/ 898208 w 1309687"/>
              <a:gd name="connsiteY105" fmla="*/ 924878 h 1156335"/>
              <a:gd name="connsiteX106" fmla="*/ 898208 w 1309687"/>
              <a:gd name="connsiteY106" fmla="*/ 1005840 h 1156335"/>
              <a:gd name="connsiteX107" fmla="*/ 1309688 w 1309687"/>
              <a:gd name="connsiteY107" fmla="*/ 1005840 h 1156335"/>
              <a:gd name="connsiteX108" fmla="*/ 1309688 w 1309687"/>
              <a:gd name="connsiteY108" fmla="*/ 924878 h 1156335"/>
              <a:gd name="connsiteX109" fmla="*/ 1112520 w 1309687"/>
              <a:gd name="connsiteY109" fmla="*/ 924878 h 1156335"/>
              <a:gd name="connsiteX110" fmla="*/ 1112520 w 1309687"/>
              <a:gd name="connsiteY110" fmla="*/ 924878 h 1156335"/>
              <a:gd name="connsiteX111" fmla="*/ 0 w 1309687"/>
              <a:gd name="connsiteY111" fmla="*/ 947738 h 1156335"/>
              <a:gd name="connsiteX112" fmla="*/ 0 w 1309687"/>
              <a:gd name="connsiteY112" fmla="*/ 1005840 h 1156335"/>
              <a:gd name="connsiteX113" fmla="*/ 411480 w 1309687"/>
              <a:gd name="connsiteY113" fmla="*/ 1005840 h 1156335"/>
              <a:gd name="connsiteX114" fmla="*/ 411480 w 1309687"/>
              <a:gd name="connsiteY114" fmla="*/ 924878 h 1156335"/>
              <a:gd name="connsiteX115" fmla="*/ 0 w 1309687"/>
              <a:gd name="connsiteY115" fmla="*/ 924878 h 1156335"/>
              <a:gd name="connsiteX116" fmla="*/ 0 w 1309687"/>
              <a:gd name="connsiteY116" fmla="*/ 947738 h 1156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1309687" h="1156335">
                <a:moveTo>
                  <a:pt x="811530" y="80963"/>
                </a:moveTo>
                <a:lnTo>
                  <a:pt x="838200" y="0"/>
                </a:lnTo>
                <a:lnTo>
                  <a:pt x="1309688" y="0"/>
                </a:lnTo>
                <a:lnTo>
                  <a:pt x="1309688" y="80963"/>
                </a:lnTo>
                <a:lnTo>
                  <a:pt x="811530" y="80963"/>
                </a:lnTo>
                <a:close/>
                <a:moveTo>
                  <a:pt x="0" y="80963"/>
                </a:moveTo>
                <a:lnTo>
                  <a:pt x="0" y="0"/>
                </a:lnTo>
                <a:lnTo>
                  <a:pt x="471488" y="0"/>
                </a:lnTo>
                <a:lnTo>
                  <a:pt x="498158" y="80963"/>
                </a:lnTo>
                <a:lnTo>
                  <a:pt x="0" y="80963"/>
                </a:lnTo>
                <a:close/>
                <a:moveTo>
                  <a:pt x="1228725" y="231458"/>
                </a:moveTo>
                <a:lnTo>
                  <a:pt x="1309688" y="231458"/>
                </a:lnTo>
                <a:lnTo>
                  <a:pt x="1309688" y="150495"/>
                </a:lnTo>
                <a:lnTo>
                  <a:pt x="788670" y="150495"/>
                </a:lnTo>
                <a:lnTo>
                  <a:pt x="762000" y="231458"/>
                </a:lnTo>
                <a:lnTo>
                  <a:pt x="1228725" y="231458"/>
                </a:lnTo>
                <a:close/>
                <a:moveTo>
                  <a:pt x="80963" y="231458"/>
                </a:moveTo>
                <a:lnTo>
                  <a:pt x="0" y="231458"/>
                </a:lnTo>
                <a:lnTo>
                  <a:pt x="0" y="150495"/>
                </a:lnTo>
                <a:lnTo>
                  <a:pt x="521018" y="150495"/>
                </a:lnTo>
                <a:lnTo>
                  <a:pt x="547688" y="231458"/>
                </a:lnTo>
                <a:lnTo>
                  <a:pt x="80963" y="231458"/>
                </a:lnTo>
                <a:close/>
                <a:moveTo>
                  <a:pt x="1147763" y="381953"/>
                </a:moveTo>
                <a:lnTo>
                  <a:pt x="1147763" y="300990"/>
                </a:lnTo>
                <a:lnTo>
                  <a:pt x="739140" y="300990"/>
                </a:lnTo>
                <a:lnTo>
                  <a:pt x="712470" y="381953"/>
                </a:lnTo>
                <a:lnTo>
                  <a:pt x="1147763" y="381953"/>
                </a:lnTo>
                <a:lnTo>
                  <a:pt x="1147763" y="381953"/>
                </a:lnTo>
                <a:close/>
                <a:moveTo>
                  <a:pt x="161925" y="381953"/>
                </a:moveTo>
                <a:lnTo>
                  <a:pt x="161925" y="300990"/>
                </a:lnTo>
                <a:lnTo>
                  <a:pt x="570548" y="300990"/>
                </a:lnTo>
                <a:lnTo>
                  <a:pt x="597218" y="381953"/>
                </a:lnTo>
                <a:lnTo>
                  <a:pt x="161925" y="381953"/>
                </a:lnTo>
                <a:close/>
                <a:moveTo>
                  <a:pt x="879158" y="542925"/>
                </a:moveTo>
                <a:lnTo>
                  <a:pt x="898208" y="492443"/>
                </a:lnTo>
                <a:lnTo>
                  <a:pt x="898208" y="542925"/>
                </a:lnTo>
                <a:lnTo>
                  <a:pt x="1147763" y="542925"/>
                </a:lnTo>
                <a:lnTo>
                  <a:pt x="1147763" y="450533"/>
                </a:lnTo>
                <a:lnTo>
                  <a:pt x="689610" y="450533"/>
                </a:lnTo>
                <a:lnTo>
                  <a:pt x="659130" y="542925"/>
                </a:lnTo>
                <a:lnTo>
                  <a:pt x="879158" y="542925"/>
                </a:lnTo>
                <a:lnTo>
                  <a:pt x="879158" y="542925"/>
                </a:lnTo>
                <a:close/>
                <a:moveTo>
                  <a:pt x="161925" y="542925"/>
                </a:moveTo>
                <a:lnTo>
                  <a:pt x="161925" y="450533"/>
                </a:lnTo>
                <a:lnTo>
                  <a:pt x="620078" y="450533"/>
                </a:lnTo>
                <a:lnTo>
                  <a:pt x="650558" y="542925"/>
                </a:lnTo>
                <a:lnTo>
                  <a:pt x="429578" y="542925"/>
                </a:lnTo>
                <a:lnTo>
                  <a:pt x="411480" y="492443"/>
                </a:lnTo>
                <a:lnTo>
                  <a:pt x="411480" y="542925"/>
                </a:lnTo>
                <a:lnTo>
                  <a:pt x="161925" y="542925"/>
                </a:lnTo>
                <a:close/>
                <a:moveTo>
                  <a:pt x="898208" y="693420"/>
                </a:moveTo>
                <a:lnTo>
                  <a:pt x="898208" y="612458"/>
                </a:lnTo>
                <a:lnTo>
                  <a:pt x="1147763" y="612458"/>
                </a:lnTo>
                <a:lnTo>
                  <a:pt x="1147763" y="693420"/>
                </a:lnTo>
                <a:lnTo>
                  <a:pt x="898208" y="693420"/>
                </a:lnTo>
                <a:close/>
                <a:moveTo>
                  <a:pt x="484823" y="693420"/>
                </a:moveTo>
                <a:lnTo>
                  <a:pt x="455295" y="612458"/>
                </a:lnTo>
                <a:lnTo>
                  <a:pt x="853440" y="612458"/>
                </a:lnTo>
                <a:lnTo>
                  <a:pt x="823913" y="693420"/>
                </a:lnTo>
                <a:lnTo>
                  <a:pt x="484823" y="693420"/>
                </a:lnTo>
                <a:lnTo>
                  <a:pt x="484823" y="693420"/>
                </a:lnTo>
                <a:close/>
                <a:moveTo>
                  <a:pt x="161925" y="693420"/>
                </a:moveTo>
                <a:lnTo>
                  <a:pt x="161925" y="612458"/>
                </a:lnTo>
                <a:lnTo>
                  <a:pt x="411480" y="612458"/>
                </a:lnTo>
                <a:lnTo>
                  <a:pt x="411480" y="693420"/>
                </a:lnTo>
                <a:lnTo>
                  <a:pt x="161925" y="693420"/>
                </a:lnTo>
                <a:close/>
                <a:moveTo>
                  <a:pt x="898208" y="855345"/>
                </a:moveTo>
                <a:lnTo>
                  <a:pt x="898208" y="762953"/>
                </a:lnTo>
                <a:lnTo>
                  <a:pt x="1147763" y="762953"/>
                </a:lnTo>
                <a:lnTo>
                  <a:pt x="1147763" y="855345"/>
                </a:lnTo>
                <a:lnTo>
                  <a:pt x="898208" y="855345"/>
                </a:lnTo>
                <a:close/>
                <a:moveTo>
                  <a:pt x="542925" y="855345"/>
                </a:moveTo>
                <a:lnTo>
                  <a:pt x="509588" y="762953"/>
                </a:lnTo>
                <a:lnTo>
                  <a:pt x="798195" y="762953"/>
                </a:lnTo>
                <a:lnTo>
                  <a:pt x="763905" y="855345"/>
                </a:lnTo>
                <a:lnTo>
                  <a:pt x="542925" y="855345"/>
                </a:lnTo>
                <a:lnTo>
                  <a:pt x="542925" y="855345"/>
                </a:lnTo>
                <a:close/>
                <a:moveTo>
                  <a:pt x="161925" y="855345"/>
                </a:moveTo>
                <a:lnTo>
                  <a:pt x="161925" y="762953"/>
                </a:lnTo>
                <a:lnTo>
                  <a:pt x="411480" y="762953"/>
                </a:lnTo>
                <a:lnTo>
                  <a:pt x="411480" y="855345"/>
                </a:lnTo>
                <a:lnTo>
                  <a:pt x="161925" y="855345"/>
                </a:lnTo>
                <a:close/>
                <a:moveTo>
                  <a:pt x="898208" y="1075373"/>
                </a:moveTo>
                <a:lnTo>
                  <a:pt x="898208" y="1156335"/>
                </a:lnTo>
                <a:lnTo>
                  <a:pt x="1309688" y="1156335"/>
                </a:lnTo>
                <a:lnTo>
                  <a:pt x="1309688" y="1075373"/>
                </a:lnTo>
                <a:lnTo>
                  <a:pt x="898208" y="1075373"/>
                </a:lnTo>
                <a:close/>
                <a:moveTo>
                  <a:pt x="622935" y="1075373"/>
                </a:moveTo>
                <a:lnTo>
                  <a:pt x="652463" y="1156335"/>
                </a:lnTo>
                <a:lnTo>
                  <a:pt x="652463" y="1156335"/>
                </a:lnTo>
                <a:lnTo>
                  <a:pt x="653415" y="1156335"/>
                </a:lnTo>
                <a:lnTo>
                  <a:pt x="682943" y="1075373"/>
                </a:lnTo>
                <a:lnTo>
                  <a:pt x="622935" y="1075373"/>
                </a:lnTo>
                <a:close/>
                <a:moveTo>
                  <a:pt x="597218" y="1005840"/>
                </a:moveTo>
                <a:lnTo>
                  <a:pt x="567690" y="924878"/>
                </a:lnTo>
                <a:lnTo>
                  <a:pt x="738188" y="924878"/>
                </a:lnTo>
                <a:lnTo>
                  <a:pt x="708660" y="1005840"/>
                </a:lnTo>
                <a:lnTo>
                  <a:pt x="597218" y="1005840"/>
                </a:lnTo>
                <a:lnTo>
                  <a:pt x="597218" y="1005840"/>
                </a:lnTo>
                <a:close/>
                <a:moveTo>
                  <a:pt x="0" y="1075373"/>
                </a:moveTo>
                <a:lnTo>
                  <a:pt x="0" y="1156335"/>
                </a:lnTo>
                <a:lnTo>
                  <a:pt x="411480" y="1156335"/>
                </a:lnTo>
                <a:lnTo>
                  <a:pt x="411480" y="1075373"/>
                </a:lnTo>
                <a:lnTo>
                  <a:pt x="0" y="1075373"/>
                </a:lnTo>
                <a:close/>
                <a:moveTo>
                  <a:pt x="1112520" y="924878"/>
                </a:moveTo>
                <a:lnTo>
                  <a:pt x="898208" y="924878"/>
                </a:lnTo>
                <a:lnTo>
                  <a:pt x="898208" y="1005840"/>
                </a:lnTo>
                <a:lnTo>
                  <a:pt x="1309688" y="1005840"/>
                </a:lnTo>
                <a:lnTo>
                  <a:pt x="1309688" y="924878"/>
                </a:lnTo>
                <a:lnTo>
                  <a:pt x="1112520" y="924878"/>
                </a:lnTo>
                <a:lnTo>
                  <a:pt x="1112520" y="924878"/>
                </a:lnTo>
                <a:close/>
                <a:moveTo>
                  <a:pt x="0" y="947738"/>
                </a:moveTo>
                <a:lnTo>
                  <a:pt x="0" y="1005840"/>
                </a:lnTo>
                <a:lnTo>
                  <a:pt x="411480" y="1005840"/>
                </a:lnTo>
                <a:lnTo>
                  <a:pt x="411480" y="924878"/>
                </a:lnTo>
                <a:lnTo>
                  <a:pt x="0" y="924878"/>
                </a:lnTo>
                <a:lnTo>
                  <a:pt x="0" y="947738"/>
                </a:lnTo>
                <a:close/>
              </a:path>
            </a:pathLst>
          </a:custGeom>
          <a:solidFill>
            <a:schemeClr val="accent2"/>
          </a:solidFill>
          <a:ln w="9525" cap="flat">
            <a:noFill/>
            <a:prstDash val="solid"/>
            <a:miter/>
          </a:ln>
        </p:spPr>
        <p:txBody>
          <a:bodyPr rtlCol="0" anchor="ctr"/>
          <a:lstStyle/>
          <a:p>
            <a:endParaRPr lang="en-US" sz="900"/>
          </a:p>
        </p:txBody>
      </p:sp>
      <p:grpSp>
        <p:nvGrpSpPr>
          <p:cNvPr id="16" name="Group 193">
            <a:extLst>
              <a:ext uri="{FF2B5EF4-FFF2-40B4-BE49-F238E27FC236}">
                <a16:creationId xmlns:a16="http://schemas.microsoft.com/office/drawing/2014/main" id="{D25BF402-48E0-C61F-F441-22AED6751297}"/>
              </a:ext>
            </a:extLst>
          </p:cNvPr>
          <p:cNvGrpSpPr>
            <a:grpSpLocks noChangeAspect="1"/>
          </p:cNvGrpSpPr>
          <p:nvPr userDrawn="1"/>
        </p:nvGrpSpPr>
        <p:grpSpPr bwMode="auto">
          <a:xfrm>
            <a:off x="300812" y="4143958"/>
            <a:ext cx="1205294" cy="1198877"/>
            <a:chOff x="3752" y="19838"/>
            <a:chExt cx="3118" cy="3101"/>
          </a:xfrm>
          <a:solidFill>
            <a:schemeClr val="tx1"/>
          </a:solidFill>
        </p:grpSpPr>
        <p:sp>
          <p:nvSpPr>
            <p:cNvPr id="17" name="Freeform 194">
              <a:extLst>
                <a:ext uri="{FF2B5EF4-FFF2-40B4-BE49-F238E27FC236}">
                  <a16:creationId xmlns:a16="http://schemas.microsoft.com/office/drawing/2014/main" id="{867CD5AB-F7BA-27C2-30BF-C88D19B82962}"/>
                </a:ext>
              </a:extLst>
            </p:cNvPr>
            <p:cNvSpPr>
              <a:spLocks noEditPoints="1"/>
            </p:cNvSpPr>
            <p:nvPr/>
          </p:nvSpPr>
          <p:spPr bwMode="auto">
            <a:xfrm>
              <a:off x="4246" y="20381"/>
              <a:ext cx="2283" cy="1320"/>
            </a:xfrm>
            <a:custGeom>
              <a:avLst/>
              <a:gdLst>
                <a:gd name="T0" fmla="*/ 321 w 1206"/>
                <a:gd name="T1" fmla="*/ 643 h 697"/>
                <a:gd name="T2" fmla="*/ 268 w 1206"/>
                <a:gd name="T3" fmla="*/ 697 h 697"/>
                <a:gd name="T4" fmla="*/ 214 w 1206"/>
                <a:gd name="T5" fmla="*/ 643 h 697"/>
                <a:gd name="T6" fmla="*/ 268 w 1206"/>
                <a:gd name="T7" fmla="*/ 590 h 697"/>
                <a:gd name="T8" fmla="*/ 321 w 1206"/>
                <a:gd name="T9" fmla="*/ 643 h 697"/>
                <a:gd name="T10" fmla="*/ 482 w 1206"/>
                <a:gd name="T11" fmla="*/ 590 h 697"/>
                <a:gd name="T12" fmla="*/ 429 w 1206"/>
                <a:gd name="T13" fmla="*/ 643 h 697"/>
                <a:gd name="T14" fmla="*/ 482 w 1206"/>
                <a:gd name="T15" fmla="*/ 697 h 697"/>
                <a:gd name="T16" fmla="*/ 536 w 1206"/>
                <a:gd name="T17" fmla="*/ 643 h 697"/>
                <a:gd name="T18" fmla="*/ 482 w 1206"/>
                <a:gd name="T19" fmla="*/ 590 h 697"/>
                <a:gd name="T20" fmla="*/ 53 w 1206"/>
                <a:gd name="T21" fmla="*/ 590 h 697"/>
                <a:gd name="T22" fmla="*/ 0 w 1206"/>
                <a:gd name="T23" fmla="*/ 643 h 697"/>
                <a:gd name="T24" fmla="*/ 53 w 1206"/>
                <a:gd name="T25" fmla="*/ 697 h 697"/>
                <a:gd name="T26" fmla="*/ 107 w 1206"/>
                <a:gd name="T27" fmla="*/ 643 h 697"/>
                <a:gd name="T28" fmla="*/ 53 w 1206"/>
                <a:gd name="T29" fmla="*/ 590 h 697"/>
                <a:gd name="T30" fmla="*/ 938 w 1206"/>
                <a:gd name="T31" fmla="*/ 0 h 697"/>
                <a:gd name="T32" fmla="*/ 884 w 1206"/>
                <a:gd name="T33" fmla="*/ 54 h 697"/>
                <a:gd name="T34" fmla="*/ 938 w 1206"/>
                <a:gd name="T35" fmla="*/ 107 h 697"/>
                <a:gd name="T36" fmla="*/ 991 w 1206"/>
                <a:gd name="T37" fmla="*/ 54 h 697"/>
                <a:gd name="T38" fmla="*/ 938 w 1206"/>
                <a:gd name="T39" fmla="*/ 0 h 697"/>
                <a:gd name="T40" fmla="*/ 1152 w 1206"/>
                <a:gd name="T41" fmla="*/ 0 h 697"/>
                <a:gd name="T42" fmla="*/ 1098 w 1206"/>
                <a:gd name="T43" fmla="*/ 54 h 697"/>
                <a:gd name="T44" fmla="*/ 1152 w 1206"/>
                <a:gd name="T45" fmla="*/ 107 h 697"/>
                <a:gd name="T46" fmla="*/ 1206 w 1206"/>
                <a:gd name="T47" fmla="*/ 54 h 697"/>
                <a:gd name="T48" fmla="*/ 1152 w 1206"/>
                <a:gd name="T49" fmla="*/ 0 h 697"/>
                <a:gd name="T50" fmla="*/ 723 w 1206"/>
                <a:gd name="T51" fmla="*/ 0 h 697"/>
                <a:gd name="T52" fmla="*/ 670 w 1206"/>
                <a:gd name="T53" fmla="*/ 54 h 697"/>
                <a:gd name="T54" fmla="*/ 723 w 1206"/>
                <a:gd name="T55" fmla="*/ 107 h 697"/>
                <a:gd name="T56" fmla="*/ 777 w 1206"/>
                <a:gd name="T57" fmla="*/ 54 h 697"/>
                <a:gd name="T58" fmla="*/ 723 w 1206"/>
                <a:gd name="T59" fmla="*/ 0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06" h="697">
                  <a:moveTo>
                    <a:pt x="321" y="643"/>
                  </a:moveTo>
                  <a:cubicBezTo>
                    <a:pt x="321" y="673"/>
                    <a:pt x="297" y="697"/>
                    <a:pt x="268" y="697"/>
                  </a:cubicBezTo>
                  <a:cubicBezTo>
                    <a:pt x="238" y="697"/>
                    <a:pt x="214" y="673"/>
                    <a:pt x="214" y="643"/>
                  </a:cubicBezTo>
                  <a:cubicBezTo>
                    <a:pt x="214" y="614"/>
                    <a:pt x="238" y="590"/>
                    <a:pt x="268" y="590"/>
                  </a:cubicBezTo>
                  <a:cubicBezTo>
                    <a:pt x="297" y="590"/>
                    <a:pt x="321" y="614"/>
                    <a:pt x="321" y="643"/>
                  </a:cubicBezTo>
                  <a:close/>
                  <a:moveTo>
                    <a:pt x="482" y="590"/>
                  </a:moveTo>
                  <a:cubicBezTo>
                    <a:pt x="453" y="590"/>
                    <a:pt x="429" y="614"/>
                    <a:pt x="429" y="643"/>
                  </a:cubicBezTo>
                  <a:cubicBezTo>
                    <a:pt x="429" y="673"/>
                    <a:pt x="453" y="697"/>
                    <a:pt x="482" y="697"/>
                  </a:cubicBezTo>
                  <a:cubicBezTo>
                    <a:pt x="512" y="697"/>
                    <a:pt x="536" y="673"/>
                    <a:pt x="536" y="643"/>
                  </a:cubicBezTo>
                  <a:cubicBezTo>
                    <a:pt x="536" y="614"/>
                    <a:pt x="512" y="590"/>
                    <a:pt x="482" y="590"/>
                  </a:cubicBezTo>
                  <a:close/>
                  <a:moveTo>
                    <a:pt x="53" y="590"/>
                  </a:moveTo>
                  <a:cubicBezTo>
                    <a:pt x="24" y="590"/>
                    <a:pt x="0" y="614"/>
                    <a:pt x="0" y="643"/>
                  </a:cubicBezTo>
                  <a:cubicBezTo>
                    <a:pt x="0" y="673"/>
                    <a:pt x="24" y="697"/>
                    <a:pt x="53" y="697"/>
                  </a:cubicBezTo>
                  <a:cubicBezTo>
                    <a:pt x="83" y="697"/>
                    <a:pt x="107" y="673"/>
                    <a:pt x="107" y="643"/>
                  </a:cubicBezTo>
                  <a:cubicBezTo>
                    <a:pt x="107" y="614"/>
                    <a:pt x="83" y="590"/>
                    <a:pt x="53" y="590"/>
                  </a:cubicBezTo>
                  <a:close/>
                  <a:moveTo>
                    <a:pt x="938" y="0"/>
                  </a:moveTo>
                  <a:cubicBezTo>
                    <a:pt x="908" y="0"/>
                    <a:pt x="884" y="24"/>
                    <a:pt x="884" y="54"/>
                  </a:cubicBezTo>
                  <a:cubicBezTo>
                    <a:pt x="884" y="83"/>
                    <a:pt x="908" y="107"/>
                    <a:pt x="938" y="107"/>
                  </a:cubicBezTo>
                  <a:cubicBezTo>
                    <a:pt x="967" y="107"/>
                    <a:pt x="991" y="83"/>
                    <a:pt x="991" y="54"/>
                  </a:cubicBezTo>
                  <a:cubicBezTo>
                    <a:pt x="991" y="24"/>
                    <a:pt x="967" y="0"/>
                    <a:pt x="938" y="0"/>
                  </a:cubicBezTo>
                  <a:close/>
                  <a:moveTo>
                    <a:pt x="1152" y="0"/>
                  </a:moveTo>
                  <a:cubicBezTo>
                    <a:pt x="1122" y="0"/>
                    <a:pt x="1098" y="24"/>
                    <a:pt x="1098" y="54"/>
                  </a:cubicBezTo>
                  <a:cubicBezTo>
                    <a:pt x="1098" y="83"/>
                    <a:pt x="1122" y="107"/>
                    <a:pt x="1152" y="107"/>
                  </a:cubicBezTo>
                  <a:cubicBezTo>
                    <a:pt x="1182" y="107"/>
                    <a:pt x="1206" y="83"/>
                    <a:pt x="1206" y="54"/>
                  </a:cubicBezTo>
                  <a:cubicBezTo>
                    <a:pt x="1206" y="24"/>
                    <a:pt x="1182" y="0"/>
                    <a:pt x="1152" y="0"/>
                  </a:cubicBezTo>
                  <a:close/>
                  <a:moveTo>
                    <a:pt x="723" y="0"/>
                  </a:moveTo>
                  <a:cubicBezTo>
                    <a:pt x="694" y="0"/>
                    <a:pt x="670" y="24"/>
                    <a:pt x="670" y="54"/>
                  </a:cubicBezTo>
                  <a:cubicBezTo>
                    <a:pt x="670" y="83"/>
                    <a:pt x="694" y="107"/>
                    <a:pt x="723" y="107"/>
                  </a:cubicBezTo>
                  <a:cubicBezTo>
                    <a:pt x="753" y="107"/>
                    <a:pt x="777" y="83"/>
                    <a:pt x="777" y="54"/>
                  </a:cubicBezTo>
                  <a:cubicBezTo>
                    <a:pt x="777" y="24"/>
                    <a:pt x="753" y="0"/>
                    <a:pt x="7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uk-UA" sz="900"/>
            </a:p>
          </p:txBody>
        </p:sp>
        <p:sp>
          <p:nvSpPr>
            <p:cNvPr id="18" name="Freeform 195">
              <a:extLst>
                <a:ext uri="{FF2B5EF4-FFF2-40B4-BE49-F238E27FC236}">
                  <a16:creationId xmlns:a16="http://schemas.microsoft.com/office/drawing/2014/main" id="{DD1C62E2-1C29-904F-BEAF-42C113F30978}"/>
                </a:ext>
              </a:extLst>
            </p:cNvPr>
            <p:cNvSpPr>
              <a:spLocks/>
            </p:cNvSpPr>
            <p:nvPr/>
          </p:nvSpPr>
          <p:spPr bwMode="auto">
            <a:xfrm>
              <a:off x="3752" y="19838"/>
              <a:ext cx="3118" cy="3101"/>
            </a:xfrm>
            <a:custGeom>
              <a:avLst/>
              <a:gdLst>
                <a:gd name="T0" fmla="*/ 540 w 1647"/>
                <a:gd name="T1" fmla="*/ 1638 h 1638"/>
                <a:gd name="T2" fmla="*/ 331 w 1647"/>
                <a:gd name="T3" fmla="*/ 1325 h 1638"/>
                <a:gd name="T4" fmla="*/ 127 w 1647"/>
                <a:gd name="T5" fmla="*/ 1325 h 1638"/>
                <a:gd name="T6" fmla="*/ 0 w 1647"/>
                <a:gd name="T7" fmla="*/ 1198 h 1638"/>
                <a:gd name="T8" fmla="*/ 0 w 1647"/>
                <a:gd name="T9" fmla="*/ 662 h 1638"/>
                <a:gd name="T10" fmla="*/ 127 w 1647"/>
                <a:gd name="T11" fmla="*/ 536 h 1638"/>
                <a:gd name="T12" fmla="*/ 751 w 1647"/>
                <a:gd name="T13" fmla="*/ 536 h 1638"/>
                <a:gd name="T14" fmla="*/ 751 w 1647"/>
                <a:gd name="T15" fmla="*/ 127 h 1638"/>
                <a:gd name="T16" fmla="*/ 877 w 1647"/>
                <a:gd name="T17" fmla="*/ 0 h 1638"/>
                <a:gd name="T18" fmla="*/ 1520 w 1647"/>
                <a:gd name="T19" fmla="*/ 0 h 1638"/>
                <a:gd name="T20" fmla="*/ 1647 w 1647"/>
                <a:gd name="T21" fmla="*/ 127 h 1638"/>
                <a:gd name="T22" fmla="*/ 1647 w 1647"/>
                <a:gd name="T23" fmla="*/ 555 h 1638"/>
                <a:gd name="T24" fmla="*/ 1520 w 1647"/>
                <a:gd name="T25" fmla="*/ 682 h 1638"/>
                <a:gd name="T26" fmla="*/ 1371 w 1647"/>
                <a:gd name="T27" fmla="*/ 682 h 1638"/>
                <a:gd name="T28" fmla="*/ 1270 w 1647"/>
                <a:gd name="T29" fmla="*/ 885 h 1638"/>
                <a:gd name="T30" fmla="*/ 1235 w 1647"/>
                <a:gd name="T31" fmla="*/ 868 h 1638"/>
                <a:gd name="T32" fmla="*/ 1342 w 1647"/>
                <a:gd name="T33" fmla="*/ 654 h 1638"/>
                <a:gd name="T34" fmla="*/ 1359 w 1647"/>
                <a:gd name="T35" fmla="*/ 643 h 1638"/>
                <a:gd name="T36" fmla="*/ 1520 w 1647"/>
                <a:gd name="T37" fmla="*/ 643 h 1638"/>
                <a:gd name="T38" fmla="*/ 1608 w 1647"/>
                <a:gd name="T39" fmla="*/ 555 h 1638"/>
                <a:gd name="T40" fmla="*/ 1608 w 1647"/>
                <a:gd name="T41" fmla="*/ 127 h 1638"/>
                <a:gd name="T42" fmla="*/ 1520 w 1647"/>
                <a:gd name="T43" fmla="*/ 39 h 1638"/>
                <a:gd name="T44" fmla="*/ 877 w 1647"/>
                <a:gd name="T45" fmla="*/ 39 h 1638"/>
                <a:gd name="T46" fmla="*/ 789 w 1647"/>
                <a:gd name="T47" fmla="*/ 127 h 1638"/>
                <a:gd name="T48" fmla="*/ 789 w 1647"/>
                <a:gd name="T49" fmla="*/ 536 h 1638"/>
                <a:gd name="T50" fmla="*/ 931 w 1647"/>
                <a:gd name="T51" fmla="*/ 536 h 1638"/>
                <a:gd name="T52" fmla="*/ 1056 w 1647"/>
                <a:gd name="T53" fmla="*/ 643 h 1638"/>
                <a:gd name="T54" fmla="*/ 1199 w 1647"/>
                <a:gd name="T55" fmla="*/ 643 h 1638"/>
                <a:gd name="T56" fmla="*/ 1199 w 1647"/>
                <a:gd name="T57" fmla="*/ 682 h 1638"/>
                <a:gd name="T58" fmla="*/ 1057 w 1647"/>
                <a:gd name="T59" fmla="*/ 682 h 1638"/>
                <a:gd name="T60" fmla="*/ 1057 w 1647"/>
                <a:gd name="T61" fmla="*/ 1198 h 1638"/>
                <a:gd name="T62" fmla="*/ 931 w 1647"/>
                <a:gd name="T63" fmla="*/ 1325 h 1638"/>
                <a:gd name="T64" fmla="*/ 556 w 1647"/>
                <a:gd name="T65" fmla="*/ 1325 h 1638"/>
                <a:gd name="T66" fmla="*/ 556 w 1647"/>
                <a:gd name="T67" fmla="*/ 1286 h 1638"/>
                <a:gd name="T68" fmla="*/ 931 w 1647"/>
                <a:gd name="T69" fmla="*/ 1286 h 1638"/>
                <a:gd name="T70" fmla="*/ 1019 w 1647"/>
                <a:gd name="T71" fmla="*/ 1198 h 1638"/>
                <a:gd name="T72" fmla="*/ 1019 w 1647"/>
                <a:gd name="T73" fmla="*/ 662 h 1638"/>
                <a:gd name="T74" fmla="*/ 931 w 1647"/>
                <a:gd name="T75" fmla="*/ 575 h 1638"/>
                <a:gd name="T76" fmla="*/ 127 w 1647"/>
                <a:gd name="T77" fmla="*/ 575 h 1638"/>
                <a:gd name="T78" fmla="*/ 39 w 1647"/>
                <a:gd name="T79" fmla="*/ 662 h 1638"/>
                <a:gd name="T80" fmla="*/ 39 w 1647"/>
                <a:gd name="T81" fmla="*/ 1198 h 1638"/>
                <a:gd name="T82" fmla="*/ 127 w 1647"/>
                <a:gd name="T83" fmla="*/ 1286 h 1638"/>
                <a:gd name="T84" fmla="*/ 341 w 1647"/>
                <a:gd name="T85" fmla="*/ 1286 h 1638"/>
                <a:gd name="T86" fmla="*/ 357 w 1647"/>
                <a:gd name="T87" fmla="*/ 1295 h 1638"/>
                <a:gd name="T88" fmla="*/ 572 w 1647"/>
                <a:gd name="T89" fmla="*/ 1616 h 1638"/>
                <a:gd name="T90" fmla="*/ 540 w 1647"/>
                <a:gd name="T91" fmla="*/ 1638 h 1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47" h="1638">
                  <a:moveTo>
                    <a:pt x="540" y="1638"/>
                  </a:moveTo>
                  <a:cubicBezTo>
                    <a:pt x="331" y="1325"/>
                    <a:pt x="331" y="1325"/>
                    <a:pt x="331" y="1325"/>
                  </a:cubicBezTo>
                  <a:cubicBezTo>
                    <a:pt x="127" y="1325"/>
                    <a:pt x="127" y="1325"/>
                    <a:pt x="127" y="1325"/>
                  </a:cubicBezTo>
                  <a:cubicBezTo>
                    <a:pt x="57" y="1325"/>
                    <a:pt x="0" y="1268"/>
                    <a:pt x="0" y="1198"/>
                  </a:cubicBezTo>
                  <a:cubicBezTo>
                    <a:pt x="0" y="662"/>
                    <a:pt x="0" y="662"/>
                    <a:pt x="0" y="662"/>
                  </a:cubicBezTo>
                  <a:cubicBezTo>
                    <a:pt x="0" y="593"/>
                    <a:pt x="57" y="536"/>
                    <a:pt x="127" y="536"/>
                  </a:cubicBezTo>
                  <a:cubicBezTo>
                    <a:pt x="751" y="536"/>
                    <a:pt x="751" y="536"/>
                    <a:pt x="751" y="536"/>
                  </a:cubicBezTo>
                  <a:cubicBezTo>
                    <a:pt x="751" y="127"/>
                    <a:pt x="751" y="127"/>
                    <a:pt x="751" y="127"/>
                  </a:cubicBezTo>
                  <a:cubicBezTo>
                    <a:pt x="751" y="57"/>
                    <a:pt x="807" y="0"/>
                    <a:pt x="877" y="0"/>
                  </a:cubicBezTo>
                  <a:cubicBezTo>
                    <a:pt x="1520" y="0"/>
                    <a:pt x="1520" y="0"/>
                    <a:pt x="1520" y="0"/>
                  </a:cubicBezTo>
                  <a:cubicBezTo>
                    <a:pt x="1590" y="0"/>
                    <a:pt x="1647" y="57"/>
                    <a:pt x="1647" y="127"/>
                  </a:cubicBezTo>
                  <a:cubicBezTo>
                    <a:pt x="1647" y="555"/>
                    <a:pt x="1647" y="555"/>
                    <a:pt x="1647" y="555"/>
                  </a:cubicBezTo>
                  <a:cubicBezTo>
                    <a:pt x="1647" y="625"/>
                    <a:pt x="1590" y="682"/>
                    <a:pt x="1520" y="682"/>
                  </a:cubicBezTo>
                  <a:cubicBezTo>
                    <a:pt x="1371" y="682"/>
                    <a:pt x="1371" y="682"/>
                    <a:pt x="1371" y="682"/>
                  </a:cubicBezTo>
                  <a:cubicBezTo>
                    <a:pt x="1270" y="885"/>
                    <a:pt x="1270" y="885"/>
                    <a:pt x="1270" y="885"/>
                  </a:cubicBezTo>
                  <a:cubicBezTo>
                    <a:pt x="1235" y="868"/>
                    <a:pt x="1235" y="868"/>
                    <a:pt x="1235" y="868"/>
                  </a:cubicBezTo>
                  <a:cubicBezTo>
                    <a:pt x="1342" y="654"/>
                    <a:pt x="1342" y="654"/>
                    <a:pt x="1342" y="654"/>
                  </a:cubicBezTo>
                  <a:cubicBezTo>
                    <a:pt x="1345" y="647"/>
                    <a:pt x="1352" y="643"/>
                    <a:pt x="1359" y="643"/>
                  </a:cubicBezTo>
                  <a:cubicBezTo>
                    <a:pt x="1520" y="643"/>
                    <a:pt x="1520" y="643"/>
                    <a:pt x="1520" y="643"/>
                  </a:cubicBezTo>
                  <a:cubicBezTo>
                    <a:pt x="1569" y="643"/>
                    <a:pt x="1608" y="604"/>
                    <a:pt x="1608" y="555"/>
                  </a:cubicBezTo>
                  <a:cubicBezTo>
                    <a:pt x="1608" y="127"/>
                    <a:pt x="1608" y="127"/>
                    <a:pt x="1608" y="127"/>
                  </a:cubicBezTo>
                  <a:cubicBezTo>
                    <a:pt x="1608" y="78"/>
                    <a:pt x="1569" y="39"/>
                    <a:pt x="1520" y="39"/>
                  </a:cubicBezTo>
                  <a:cubicBezTo>
                    <a:pt x="877" y="39"/>
                    <a:pt x="877" y="39"/>
                    <a:pt x="877" y="39"/>
                  </a:cubicBezTo>
                  <a:cubicBezTo>
                    <a:pt x="829" y="39"/>
                    <a:pt x="789" y="78"/>
                    <a:pt x="789" y="127"/>
                  </a:cubicBezTo>
                  <a:cubicBezTo>
                    <a:pt x="789" y="536"/>
                    <a:pt x="789" y="536"/>
                    <a:pt x="789" y="536"/>
                  </a:cubicBezTo>
                  <a:cubicBezTo>
                    <a:pt x="931" y="536"/>
                    <a:pt x="931" y="536"/>
                    <a:pt x="931" y="536"/>
                  </a:cubicBezTo>
                  <a:cubicBezTo>
                    <a:pt x="994" y="536"/>
                    <a:pt x="1046" y="583"/>
                    <a:pt x="1056" y="643"/>
                  </a:cubicBezTo>
                  <a:cubicBezTo>
                    <a:pt x="1199" y="643"/>
                    <a:pt x="1199" y="643"/>
                    <a:pt x="1199" y="643"/>
                  </a:cubicBezTo>
                  <a:cubicBezTo>
                    <a:pt x="1199" y="682"/>
                    <a:pt x="1199" y="682"/>
                    <a:pt x="1199" y="682"/>
                  </a:cubicBezTo>
                  <a:cubicBezTo>
                    <a:pt x="1057" y="682"/>
                    <a:pt x="1057" y="682"/>
                    <a:pt x="1057" y="682"/>
                  </a:cubicBezTo>
                  <a:cubicBezTo>
                    <a:pt x="1057" y="1198"/>
                    <a:pt x="1057" y="1198"/>
                    <a:pt x="1057" y="1198"/>
                  </a:cubicBezTo>
                  <a:cubicBezTo>
                    <a:pt x="1057" y="1268"/>
                    <a:pt x="1000" y="1325"/>
                    <a:pt x="931" y="1325"/>
                  </a:cubicBezTo>
                  <a:cubicBezTo>
                    <a:pt x="556" y="1325"/>
                    <a:pt x="556" y="1325"/>
                    <a:pt x="556" y="1325"/>
                  </a:cubicBezTo>
                  <a:cubicBezTo>
                    <a:pt x="556" y="1286"/>
                    <a:pt x="556" y="1286"/>
                    <a:pt x="556" y="1286"/>
                  </a:cubicBezTo>
                  <a:cubicBezTo>
                    <a:pt x="931" y="1286"/>
                    <a:pt x="931" y="1286"/>
                    <a:pt x="931" y="1286"/>
                  </a:cubicBezTo>
                  <a:cubicBezTo>
                    <a:pt x="979" y="1286"/>
                    <a:pt x="1019" y="1247"/>
                    <a:pt x="1019" y="1198"/>
                  </a:cubicBezTo>
                  <a:cubicBezTo>
                    <a:pt x="1019" y="662"/>
                    <a:pt x="1019" y="662"/>
                    <a:pt x="1019" y="662"/>
                  </a:cubicBezTo>
                  <a:cubicBezTo>
                    <a:pt x="1019" y="614"/>
                    <a:pt x="979" y="575"/>
                    <a:pt x="931" y="575"/>
                  </a:cubicBezTo>
                  <a:cubicBezTo>
                    <a:pt x="127" y="575"/>
                    <a:pt x="127" y="575"/>
                    <a:pt x="127" y="575"/>
                  </a:cubicBezTo>
                  <a:cubicBezTo>
                    <a:pt x="78" y="575"/>
                    <a:pt x="39" y="614"/>
                    <a:pt x="39" y="662"/>
                  </a:cubicBezTo>
                  <a:cubicBezTo>
                    <a:pt x="39" y="1198"/>
                    <a:pt x="39" y="1198"/>
                    <a:pt x="39" y="1198"/>
                  </a:cubicBezTo>
                  <a:cubicBezTo>
                    <a:pt x="39" y="1247"/>
                    <a:pt x="78" y="1286"/>
                    <a:pt x="127" y="1286"/>
                  </a:cubicBezTo>
                  <a:cubicBezTo>
                    <a:pt x="341" y="1286"/>
                    <a:pt x="341" y="1286"/>
                    <a:pt x="341" y="1286"/>
                  </a:cubicBezTo>
                  <a:cubicBezTo>
                    <a:pt x="348" y="1286"/>
                    <a:pt x="354" y="1289"/>
                    <a:pt x="357" y="1295"/>
                  </a:cubicBezTo>
                  <a:cubicBezTo>
                    <a:pt x="572" y="1616"/>
                    <a:pt x="572" y="1616"/>
                    <a:pt x="572" y="1616"/>
                  </a:cubicBezTo>
                  <a:lnTo>
                    <a:pt x="540" y="16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uk-UA" sz="900"/>
            </a:p>
          </p:txBody>
        </p:sp>
      </p:grpSp>
      <p:sp>
        <p:nvSpPr>
          <p:cNvPr id="21" name="Freeform: Shape 11">
            <a:extLst>
              <a:ext uri="{FF2B5EF4-FFF2-40B4-BE49-F238E27FC236}">
                <a16:creationId xmlns:a16="http://schemas.microsoft.com/office/drawing/2014/main" id="{349D5D56-7138-E71B-4394-7AF21445AC56}"/>
              </a:ext>
            </a:extLst>
          </p:cNvPr>
          <p:cNvSpPr>
            <a:spLocks noChangeAspect="1"/>
          </p:cNvSpPr>
          <p:nvPr userDrawn="1"/>
        </p:nvSpPr>
        <p:spPr>
          <a:xfrm>
            <a:off x="1503517" y="1714500"/>
            <a:ext cx="1206851" cy="1192972"/>
          </a:xfrm>
          <a:custGeom>
            <a:avLst/>
            <a:gdLst>
              <a:gd name="connsiteX0" fmla="*/ 216412 w 292581"/>
              <a:gd name="connsiteY0" fmla="*/ 289179 h 289179"/>
              <a:gd name="connsiteX1" fmla="*/ 209554 w 292581"/>
              <a:gd name="connsiteY1" fmla="*/ 289179 h 289179"/>
              <a:gd name="connsiteX2" fmla="*/ 209554 w 292581"/>
              <a:gd name="connsiteY2" fmla="*/ 241554 h 289179"/>
              <a:gd name="connsiteX3" fmla="*/ 212983 w 292581"/>
              <a:gd name="connsiteY3" fmla="*/ 238125 h 289179"/>
              <a:gd name="connsiteX4" fmla="*/ 257179 w 292581"/>
              <a:gd name="connsiteY4" fmla="*/ 193929 h 289179"/>
              <a:gd name="connsiteX5" fmla="*/ 257179 w 292581"/>
              <a:gd name="connsiteY5" fmla="*/ 165354 h 289179"/>
              <a:gd name="connsiteX6" fmla="*/ 260608 w 292581"/>
              <a:gd name="connsiteY6" fmla="*/ 161925 h 289179"/>
              <a:gd name="connsiteX7" fmla="*/ 279658 w 292581"/>
              <a:gd name="connsiteY7" fmla="*/ 161925 h 289179"/>
              <a:gd name="connsiteX8" fmla="*/ 284830 w 292581"/>
              <a:gd name="connsiteY8" fmla="*/ 159039 h 289179"/>
              <a:gd name="connsiteX9" fmla="*/ 285088 w 292581"/>
              <a:gd name="connsiteY9" fmla="*/ 153105 h 289179"/>
              <a:gd name="connsiteX10" fmla="*/ 257713 w 292581"/>
              <a:gd name="connsiteY10" fmla="*/ 110042 h 289179"/>
              <a:gd name="connsiteX11" fmla="*/ 257179 w 292581"/>
              <a:gd name="connsiteY11" fmla="*/ 108204 h 289179"/>
              <a:gd name="connsiteX12" fmla="*/ 257179 w 292581"/>
              <a:gd name="connsiteY12" fmla="*/ 98679 h 289179"/>
              <a:gd name="connsiteX13" fmla="*/ 155833 w 292581"/>
              <a:gd name="connsiteY13" fmla="*/ 6858 h 289179"/>
              <a:gd name="connsiteX14" fmla="*/ 149737 w 292581"/>
              <a:gd name="connsiteY14" fmla="*/ 6858 h 289179"/>
              <a:gd name="connsiteX15" fmla="*/ 149737 w 292581"/>
              <a:gd name="connsiteY15" fmla="*/ 76200 h 289179"/>
              <a:gd name="connsiteX16" fmla="*/ 178008 w 292581"/>
              <a:gd name="connsiteY16" fmla="*/ 76200 h 289179"/>
              <a:gd name="connsiteX17" fmla="*/ 198696 w 292581"/>
              <a:gd name="connsiteY17" fmla="*/ 66675 h 289179"/>
              <a:gd name="connsiteX18" fmla="*/ 225937 w 292581"/>
              <a:gd name="connsiteY18" fmla="*/ 93917 h 289179"/>
              <a:gd name="connsiteX19" fmla="*/ 198696 w 292581"/>
              <a:gd name="connsiteY19" fmla="*/ 121158 h 289179"/>
              <a:gd name="connsiteX20" fmla="*/ 178008 w 292581"/>
              <a:gd name="connsiteY20" fmla="*/ 111633 h 289179"/>
              <a:gd name="connsiteX21" fmla="*/ 149737 w 292581"/>
              <a:gd name="connsiteY21" fmla="*/ 111633 h 289179"/>
              <a:gd name="connsiteX22" fmla="*/ 149737 w 292581"/>
              <a:gd name="connsiteY22" fmla="*/ 165354 h 289179"/>
              <a:gd name="connsiteX23" fmla="*/ 146308 w 292581"/>
              <a:gd name="connsiteY23" fmla="*/ 168783 h 289179"/>
              <a:gd name="connsiteX24" fmla="*/ 112971 w 292581"/>
              <a:gd name="connsiteY24" fmla="*/ 168783 h 289179"/>
              <a:gd name="connsiteX25" fmla="*/ 110237 w 292581"/>
              <a:gd name="connsiteY25" fmla="*/ 167411 h 289179"/>
              <a:gd name="connsiteX26" fmla="*/ 93921 w 292581"/>
              <a:gd name="connsiteY26" fmla="*/ 159258 h 289179"/>
              <a:gd name="connsiteX27" fmla="*/ 73537 w 292581"/>
              <a:gd name="connsiteY27" fmla="*/ 179642 h 289179"/>
              <a:gd name="connsiteX28" fmla="*/ 93921 w 292581"/>
              <a:gd name="connsiteY28" fmla="*/ 200025 h 289179"/>
              <a:gd name="connsiteX29" fmla="*/ 110237 w 292581"/>
              <a:gd name="connsiteY29" fmla="*/ 191872 h 289179"/>
              <a:gd name="connsiteX30" fmla="*/ 112971 w 292581"/>
              <a:gd name="connsiteY30" fmla="*/ 190500 h 289179"/>
              <a:gd name="connsiteX31" fmla="*/ 146308 w 292581"/>
              <a:gd name="connsiteY31" fmla="*/ 190500 h 289179"/>
              <a:gd name="connsiteX32" fmla="*/ 149737 w 292581"/>
              <a:gd name="connsiteY32" fmla="*/ 193929 h 289179"/>
              <a:gd name="connsiteX33" fmla="*/ 149737 w 292581"/>
              <a:gd name="connsiteY33" fmla="*/ 289179 h 289179"/>
              <a:gd name="connsiteX34" fmla="*/ 142879 w 292581"/>
              <a:gd name="connsiteY34" fmla="*/ 289179 h 289179"/>
              <a:gd name="connsiteX35" fmla="*/ 142879 w 292581"/>
              <a:gd name="connsiteY35" fmla="*/ 197358 h 289179"/>
              <a:gd name="connsiteX36" fmla="*/ 114609 w 292581"/>
              <a:gd name="connsiteY36" fmla="*/ 197358 h 289179"/>
              <a:gd name="connsiteX37" fmla="*/ 93921 w 292581"/>
              <a:gd name="connsiteY37" fmla="*/ 206883 h 289179"/>
              <a:gd name="connsiteX38" fmla="*/ 66679 w 292581"/>
              <a:gd name="connsiteY38" fmla="*/ 179642 h 289179"/>
              <a:gd name="connsiteX39" fmla="*/ 93921 w 292581"/>
              <a:gd name="connsiteY39" fmla="*/ 152400 h 289179"/>
              <a:gd name="connsiteX40" fmla="*/ 114609 w 292581"/>
              <a:gd name="connsiteY40" fmla="*/ 161925 h 289179"/>
              <a:gd name="connsiteX41" fmla="*/ 142879 w 292581"/>
              <a:gd name="connsiteY41" fmla="*/ 161925 h 289179"/>
              <a:gd name="connsiteX42" fmla="*/ 142879 w 292581"/>
              <a:gd name="connsiteY42" fmla="*/ 108204 h 289179"/>
              <a:gd name="connsiteX43" fmla="*/ 146308 w 292581"/>
              <a:gd name="connsiteY43" fmla="*/ 104775 h 289179"/>
              <a:gd name="connsiteX44" fmla="*/ 179646 w 292581"/>
              <a:gd name="connsiteY44" fmla="*/ 104775 h 289179"/>
              <a:gd name="connsiteX45" fmla="*/ 182380 w 292581"/>
              <a:gd name="connsiteY45" fmla="*/ 106137 h 289179"/>
              <a:gd name="connsiteX46" fmla="*/ 198696 w 292581"/>
              <a:gd name="connsiteY46" fmla="*/ 114300 h 289179"/>
              <a:gd name="connsiteX47" fmla="*/ 219079 w 292581"/>
              <a:gd name="connsiteY47" fmla="*/ 93917 h 289179"/>
              <a:gd name="connsiteX48" fmla="*/ 198696 w 292581"/>
              <a:gd name="connsiteY48" fmla="*/ 73533 h 289179"/>
              <a:gd name="connsiteX49" fmla="*/ 182380 w 292581"/>
              <a:gd name="connsiteY49" fmla="*/ 81696 h 289179"/>
              <a:gd name="connsiteX50" fmla="*/ 179646 w 292581"/>
              <a:gd name="connsiteY50" fmla="*/ 83058 h 289179"/>
              <a:gd name="connsiteX51" fmla="*/ 146308 w 292581"/>
              <a:gd name="connsiteY51" fmla="*/ 83058 h 289179"/>
              <a:gd name="connsiteX52" fmla="*/ 142879 w 292581"/>
              <a:gd name="connsiteY52" fmla="*/ 79629 h 289179"/>
              <a:gd name="connsiteX53" fmla="*/ 142879 w 292581"/>
              <a:gd name="connsiteY53" fmla="*/ 6858 h 289179"/>
              <a:gd name="connsiteX54" fmla="*/ 136783 w 292581"/>
              <a:gd name="connsiteY54" fmla="*/ 6858 h 289179"/>
              <a:gd name="connsiteX55" fmla="*/ 35437 w 292581"/>
              <a:gd name="connsiteY55" fmla="*/ 98679 h 289179"/>
              <a:gd name="connsiteX56" fmla="*/ 35437 w 292581"/>
              <a:gd name="connsiteY56" fmla="*/ 108204 h 289179"/>
              <a:gd name="connsiteX57" fmla="*/ 34904 w 292581"/>
              <a:gd name="connsiteY57" fmla="*/ 110042 h 289179"/>
              <a:gd name="connsiteX58" fmla="*/ 7348 w 292581"/>
              <a:gd name="connsiteY58" fmla="*/ 153410 h 289179"/>
              <a:gd name="connsiteX59" fmla="*/ 7786 w 292581"/>
              <a:gd name="connsiteY59" fmla="*/ 159039 h 289179"/>
              <a:gd name="connsiteX60" fmla="*/ 12958 w 292581"/>
              <a:gd name="connsiteY60" fmla="*/ 161925 h 289179"/>
              <a:gd name="connsiteX61" fmla="*/ 32008 w 292581"/>
              <a:gd name="connsiteY61" fmla="*/ 161925 h 289179"/>
              <a:gd name="connsiteX62" fmla="*/ 35437 w 292581"/>
              <a:gd name="connsiteY62" fmla="*/ 165354 h 289179"/>
              <a:gd name="connsiteX63" fmla="*/ 35437 w 292581"/>
              <a:gd name="connsiteY63" fmla="*/ 193929 h 289179"/>
              <a:gd name="connsiteX64" fmla="*/ 79633 w 292581"/>
              <a:gd name="connsiteY64" fmla="*/ 238125 h 289179"/>
              <a:gd name="connsiteX65" fmla="*/ 83062 w 292581"/>
              <a:gd name="connsiteY65" fmla="*/ 241554 h 289179"/>
              <a:gd name="connsiteX66" fmla="*/ 83062 w 292581"/>
              <a:gd name="connsiteY66" fmla="*/ 289179 h 289179"/>
              <a:gd name="connsiteX67" fmla="*/ 76204 w 292581"/>
              <a:gd name="connsiteY67" fmla="*/ 289179 h 289179"/>
              <a:gd name="connsiteX68" fmla="*/ 76204 w 292581"/>
              <a:gd name="connsiteY68" fmla="*/ 244869 h 289179"/>
              <a:gd name="connsiteX69" fmla="*/ 28579 w 292581"/>
              <a:gd name="connsiteY69" fmla="*/ 193929 h 289179"/>
              <a:gd name="connsiteX70" fmla="*/ 28579 w 292581"/>
              <a:gd name="connsiteY70" fmla="*/ 168783 h 289179"/>
              <a:gd name="connsiteX71" fmla="*/ 12958 w 292581"/>
              <a:gd name="connsiteY71" fmla="*/ 168783 h 289179"/>
              <a:gd name="connsiteX72" fmla="*/ 1947 w 292581"/>
              <a:gd name="connsiteY72" fmla="*/ 162639 h 289179"/>
              <a:gd name="connsiteX73" fmla="*/ 1385 w 292581"/>
              <a:gd name="connsiteY73" fmla="*/ 150028 h 289179"/>
              <a:gd name="connsiteX74" fmla="*/ 28579 w 292581"/>
              <a:gd name="connsiteY74" fmla="*/ 107204 h 289179"/>
              <a:gd name="connsiteX75" fmla="*/ 28579 w 292581"/>
              <a:gd name="connsiteY75" fmla="*/ 98679 h 289179"/>
              <a:gd name="connsiteX76" fmla="*/ 136783 w 292581"/>
              <a:gd name="connsiteY76" fmla="*/ 0 h 289179"/>
              <a:gd name="connsiteX77" fmla="*/ 155833 w 292581"/>
              <a:gd name="connsiteY77" fmla="*/ 0 h 289179"/>
              <a:gd name="connsiteX78" fmla="*/ 264037 w 292581"/>
              <a:gd name="connsiteY78" fmla="*/ 98679 h 289179"/>
              <a:gd name="connsiteX79" fmla="*/ 264037 w 292581"/>
              <a:gd name="connsiteY79" fmla="*/ 107213 h 289179"/>
              <a:gd name="connsiteX80" fmla="*/ 291050 w 292581"/>
              <a:gd name="connsiteY80" fmla="*/ 149733 h 289179"/>
              <a:gd name="connsiteX81" fmla="*/ 290669 w 292581"/>
              <a:gd name="connsiteY81" fmla="*/ 162649 h 289179"/>
              <a:gd name="connsiteX82" fmla="*/ 279658 w 292581"/>
              <a:gd name="connsiteY82" fmla="*/ 168793 h 289179"/>
              <a:gd name="connsiteX83" fmla="*/ 264037 w 292581"/>
              <a:gd name="connsiteY83" fmla="*/ 168793 h 289179"/>
              <a:gd name="connsiteX84" fmla="*/ 264037 w 292581"/>
              <a:gd name="connsiteY84" fmla="*/ 193929 h 289179"/>
              <a:gd name="connsiteX85" fmla="*/ 216412 w 292581"/>
              <a:gd name="connsiteY85" fmla="*/ 244869 h 289179"/>
              <a:gd name="connsiteX86" fmla="*/ 216412 w 292581"/>
              <a:gd name="connsiteY86" fmla="*/ 289179 h 289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92581" h="289179">
                <a:moveTo>
                  <a:pt x="216412" y="289179"/>
                </a:moveTo>
                <a:lnTo>
                  <a:pt x="209554" y="289179"/>
                </a:lnTo>
                <a:lnTo>
                  <a:pt x="209554" y="241554"/>
                </a:lnTo>
                <a:cubicBezTo>
                  <a:pt x="209554" y="239659"/>
                  <a:pt x="211088" y="238125"/>
                  <a:pt x="212983" y="238125"/>
                </a:cubicBezTo>
                <a:cubicBezTo>
                  <a:pt x="237358" y="238125"/>
                  <a:pt x="257179" y="218303"/>
                  <a:pt x="257179" y="193929"/>
                </a:cubicBezTo>
                <a:lnTo>
                  <a:pt x="257179" y="165354"/>
                </a:lnTo>
                <a:cubicBezTo>
                  <a:pt x="257179" y="163459"/>
                  <a:pt x="258713" y="161925"/>
                  <a:pt x="260608" y="161925"/>
                </a:cubicBezTo>
                <a:lnTo>
                  <a:pt x="279658" y="161925"/>
                </a:lnTo>
                <a:cubicBezTo>
                  <a:pt x="281820" y="161925"/>
                  <a:pt x="283706" y="160877"/>
                  <a:pt x="284830" y="159039"/>
                </a:cubicBezTo>
                <a:cubicBezTo>
                  <a:pt x="285964" y="157210"/>
                  <a:pt x="286069" y="155038"/>
                  <a:pt x="285088" y="153105"/>
                </a:cubicBezTo>
                <a:lnTo>
                  <a:pt x="257713" y="110042"/>
                </a:lnTo>
                <a:cubicBezTo>
                  <a:pt x="257360" y="109490"/>
                  <a:pt x="257179" y="108852"/>
                  <a:pt x="257179" y="108204"/>
                </a:cubicBezTo>
                <a:lnTo>
                  <a:pt x="257179" y="98679"/>
                </a:lnTo>
                <a:cubicBezTo>
                  <a:pt x="257179" y="36890"/>
                  <a:pt x="224032" y="6858"/>
                  <a:pt x="155833" y="6858"/>
                </a:cubicBezTo>
                <a:lnTo>
                  <a:pt x="149737" y="6858"/>
                </a:lnTo>
                <a:lnTo>
                  <a:pt x="149737" y="76200"/>
                </a:lnTo>
                <a:lnTo>
                  <a:pt x="178008" y="76200"/>
                </a:lnTo>
                <a:cubicBezTo>
                  <a:pt x="183170" y="70209"/>
                  <a:pt x="190781" y="66675"/>
                  <a:pt x="198696" y="66675"/>
                </a:cubicBezTo>
                <a:cubicBezTo>
                  <a:pt x="213717" y="66675"/>
                  <a:pt x="225937" y="78896"/>
                  <a:pt x="225937" y="93917"/>
                </a:cubicBezTo>
                <a:cubicBezTo>
                  <a:pt x="225937" y="108937"/>
                  <a:pt x="213717" y="121158"/>
                  <a:pt x="198696" y="121158"/>
                </a:cubicBezTo>
                <a:cubicBezTo>
                  <a:pt x="190781" y="121158"/>
                  <a:pt x="183170" y="117624"/>
                  <a:pt x="178008" y="111633"/>
                </a:cubicBezTo>
                <a:lnTo>
                  <a:pt x="149737" y="111633"/>
                </a:lnTo>
                <a:lnTo>
                  <a:pt x="149737" y="165354"/>
                </a:lnTo>
                <a:cubicBezTo>
                  <a:pt x="149737" y="167249"/>
                  <a:pt x="148204" y="168783"/>
                  <a:pt x="146308" y="168783"/>
                </a:cubicBezTo>
                <a:lnTo>
                  <a:pt x="112971" y="168783"/>
                </a:lnTo>
                <a:cubicBezTo>
                  <a:pt x="111894" y="168783"/>
                  <a:pt x="110885" y="168278"/>
                  <a:pt x="110237" y="167411"/>
                </a:cubicBezTo>
                <a:cubicBezTo>
                  <a:pt x="106370" y="162306"/>
                  <a:pt x="100274" y="159258"/>
                  <a:pt x="93921" y="159258"/>
                </a:cubicBezTo>
                <a:cubicBezTo>
                  <a:pt x="82681" y="159258"/>
                  <a:pt x="73537" y="168402"/>
                  <a:pt x="73537" y="179642"/>
                </a:cubicBezTo>
                <a:cubicBezTo>
                  <a:pt x="73537" y="190881"/>
                  <a:pt x="82681" y="200025"/>
                  <a:pt x="93921" y="200025"/>
                </a:cubicBezTo>
                <a:cubicBezTo>
                  <a:pt x="100274" y="200025"/>
                  <a:pt x="106380" y="196977"/>
                  <a:pt x="110237" y="191872"/>
                </a:cubicBezTo>
                <a:cubicBezTo>
                  <a:pt x="110885" y="191014"/>
                  <a:pt x="111894" y="190500"/>
                  <a:pt x="112971" y="190500"/>
                </a:cubicBezTo>
                <a:lnTo>
                  <a:pt x="146308" y="190500"/>
                </a:lnTo>
                <a:cubicBezTo>
                  <a:pt x="148204" y="190500"/>
                  <a:pt x="149737" y="192034"/>
                  <a:pt x="149737" y="193929"/>
                </a:cubicBezTo>
                <a:lnTo>
                  <a:pt x="149737" y="289179"/>
                </a:lnTo>
                <a:lnTo>
                  <a:pt x="142879" y="289179"/>
                </a:lnTo>
                <a:lnTo>
                  <a:pt x="142879" y="197358"/>
                </a:lnTo>
                <a:lnTo>
                  <a:pt x="114609" y="197358"/>
                </a:lnTo>
                <a:cubicBezTo>
                  <a:pt x="109447" y="203349"/>
                  <a:pt x="101836" y="206883"/>
                  <a:pt x="93921" y="206883"/>
                </a:cubicBezTo>
                <a:cubicBezTo>
                  <a:pt x="78900" y="206883"/>
                  <a:pt x="66679" y="194662"/>
                  <a:pt x="66679" y="179642"/>
                </a:cubicBezTo>
                <a:cubicBezTo>
                  <a:pt x="66679" y="164621"/>
                  <a:pt x="78900" y="152400"/>
                  <a:pt x="93921" y="152400"/>
                </a:cubicBezTo>
                <a:cubicBezTo>
                  <a:pt x="101827" y="152400"/>
                  <a:pt x="109428" y="155934"/>
                  <a:pt x="114609" y="161925"/>
                </a:cubicBezTo>
                <a:lnTo>
                  <a:pt x="142879" y="161925"/>
                </a:lnTo>
                <a:lnTo>
                  <a:pt x="142879" y="108204"/>
                </a:lnTo>
                <a:cubicBezTo>
                  <a:pt x="142879" y="106309"/>
                  <a:pt x="144413" y="104775"/>
                  <a:pt x="146308" y="104775"/>
                </a:cubicBezTo>
                <a:lnTo>
                  <a:pt x="179646" y="104775"/>
                </a:lnTo>
                <a:cubicBezTo>
                  <a:pt x="180722" y="104775"/>
                  <a:pt x="181741" y="105280"/>
                  <a:pt x="182380" y="106137"/>
                </a:cubicBezTo>
                <a:cubicBezTo>
                  <a:pt x="186237" y="111252"/>
                  <a:pt x="192343" y="114300"/>
                  <a:pt x="198696" y="114300"/>
                </a:cubicBezTo>
                <a:cubicBezTo>
                  <a:pt x="209935" y="114300"/>
                  <a:pt x="219079" y="105156"/>
                  <a:pt x="219079" y="93917"/>
                </a:cubicBezTo>
                <a:cubicBezTo>
                  <a:pt x="219079" y="82677"/>
                  <a:pt x="209935" y="73533"/>
                  <a:pt x="198696" y="73533"/>
                </a:cubicBezTo>
                <a:cubicBezTo>
                  <a:pt x="192343" y="73533"/>
                  <a:pt x="186237" y="76581"/>
                  <a:pt x="182380" y="81696"/>
                </a:cubicBezTo>
                <a:cubicBezTo>
                  <a:pt x="181741" y="82553"/>
                  <a:pt x="180722" y="83058"/>
                  <a:pt x="179646" y="83058"/>
                </a:cubicBezTo>
                <a:lnTo>
                  <a:pt x="146308" y="83058"/>
                </a:lnTo>
                <a:cubicBezTo>
                  <a:pt x="144413" y="83058"/>
                  <a:pt x="142879" y="81524"/>
                  <a:pt x="142879" y="79629"/>
                </a:cubicBezTo>
                <a:lnTo>
                  <a:pt x="142879" y="6858"/>
                </a:lnTo>
                <a:lnTo>
                  <a:pt x="136783" y="6858"/>
                </a:lnTo>
                <a:cubicBezTo>
                  <a:pt x="68584" y="6858"/>
                  <a:pt x="35437" y="36890"/>
                  <a:pt x="35437" y="98679"/>
                </a:cubicBezTo>
                <a:lnTo>
                  <a:pt x="35437" y="108204"/>
                </a:lnTo>
                <a:cubicBezTo>
                  <a:pt x="35437" y="108852"/>
                  <a:pt x="35247" y="109490"/>
                  <a:pt x="34904" y="110042"/>
                </a:cubicBezTo>
                <a:lnTo>
                  <a:pt x="7348" y="153410"/>
                </a:lnTo>
                <a:cubicBezTo>
                  <a:pt x="6558" y="155038"/>
                  <a:pt x="6653" y="157210"/>
                  <a:pt x="7786" y="159039"/>
                </a:cubicBezTo>
                <a:cubicBezTo>
                  <a:pt x="8920" y="160868"/>
                  <a:pt x="10806" y="161925"/>
                  <a:pt x="12958" y="161925"/>
                </a:cubicBezTo>
                <a:lnTo>
                  <a:pt x="32008" y="161925"/>
                </a:lnTo>
                <a:cubicBezTo>
                  <a:pt x="33904" y="161925"/>
                  <a:pt x="35437" y="163459"/>
                  <a:pt x="35437" y="165354"/>
                </a:cubicBezTo>
                <a:lnTo>
                  <a:pt x="35437" y="193929"/>
                </a:lnTo>
                <a:cubicBezTo>
                  <a:pt x="35437" y="218303"/>
                  <a:pt x="55268" y="238125"/>
                  <a:pt x="79633" y="238125"/>
                </a:cubicBezTo>
                <a:cubicBezTo>
                  <a:pt x="81529" y="238125"/>
                  <a:pt x="83062" y="239659"/>
                  <a:pt x="83062" y="241554"/>
                </a:cubicBezTo>
                <a:lnTo>
                  <a:pt x="83062" y="289179"/>
                </a:lnTo>
                <a:lnTo>
                  <a:pt x="76204" y="289179"/>
                </a:lnTo>
                <a:lnTo>
                  <a:pt x="76204" y="244869"/>
                </a:lnTo>
                <a:cubicBezTo>
                  <a:pt x="49639" y="243097"/>
                  <a:pt x="28579" y="220923"/>
                  <a:pt x="28579" y="193929"/>
                </a:cubicBezTo>
                <a:lnTo>
                  <a:pt x="28579" y="168783"/>
                </a:lnTo>
                <a:lnTo>
                  <a:pt x="12958" y="168783"/>
                </a:lnTo>
                <a:cubicBezTo>
                  <a:pt x="8443" y="168783"/>
                  <a:pt x="4329" y="166487"/>
                  <a:pt x="1947" y="162639"/>
                </a:cubicBezTo>
                <a:cubicBezTo>
                  <a:pt x="-434" y="158791"/>
                  <a:pt x="-643" y="154076"/>
                  <a:pt x="1385" y="150028"/>
                </a:cubicBezTo>
                <a:lnTo>
                  <a:pt x="28579" y="107204"/>
                </a:lnTo>
                <a:lnTo>
                  <a:pt x="28579" y="98679"/>
                </a:lnTo>
                <a:cubicBezTo>
                  <a:pt x="28579" y="33195"/>
                  <a:pt x="64984" y="0"/>
                  <a:pt x="136783" y="0"/>
                </a:cubicBezTo>
                <a:lnTo>
                  <a:pt x="155833" y="0"/>
                </a:lnTo>
                <a:cubicBezTo>
                  <a:pt x="227633" y="0"/>
                  <a:pt x="264037" y="33195"/>
                  <a:pt x="264037" y="98679"/>
                </a:cubicBezTo>
                <a:lnTo>
                  <a:pt x="264037" y="107213"/>
                </a:lnTo>
                <a:lnTo>
                  <a:pt x="291050" y="149733"/>
                </a:lnTo>
                <a:cubicBezTo>
                  <a:pt x="293251" y="154086"/>
                  <a:pt x="293041" y="158801"/>
                  <a:pt x="290669" y="162649"/>
                </a:cubicBezTo>
                <a:cubicBezTo>
                  <a:pt x="288288" y="166487"/>
                  <a:pt x="284173" y="168793"/>
                  <a:pt x="279658" y="168793"/>
                </a:cubicBezTo>
                <a:lnTo>
                  <a:pt x="264037" y="168793"/>
                </a:lnTo>
                <a:lnTo>
                  <a:pt x="264037" y="193929"/>
                </a:lnTo>
                <a:cubicBezTo>
                  <a:pt x="264037" y="220923"/>
                  <a:pt x="242968" y="243097"/>
                  <a:pt x="216412" y="244869"/>
                </a:cubicBezTo>
                <a:lnTo>
                  <a:pt x="216412" y="289179"/>
                </a:lnTo>
                <a:close/>
              </a:path>
            </a:pathLst>
          </a:custGeom>
          <a:solidFill>
            <a:schemeClr val="tx1"/>
          </a:solidFill>
          <a:ln w="9525" cap="flat">
            <a:noFill/>
            <a:prstDash val="solid"/>
            <a:miter/>
          </a:ln>
        </p:spPr>
        <p:txBody>
          <a:bodyPr rtlCol="0" anchor="ctr"/>
          <a:lstStyle/>
          <a:p>
            <a:endParaRPr lang="en-US" sz="2874">
              <a:solidFill>
                <a:schemeClr val="accent1"/>
              </a:solidFill>
            </a:endParaRPr>
          </a:p>
        </p:txBody>
      </p:sp>
      <p:sp>
        <p:nvSpPr>
          <p:cNvPr id="4" name="TextBox 3">
            <a:extLst>
              <a:ext uri="{FF2B5EF4-FFF2-40B4-BE49-F238E27FC236}">
                <a16:creationId xmlns:a16="http://schemas.microsoft.com/office/drawing/2014/main" id="{8F42D3AE-53CA-3A47-B8DE-A39E00883C44}"/>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rgbClr val="000000"/>
                </a:solidFill>
                <a:latin typeface="IBM Plex Sans" panose="020B0503050203000203" pitchFamily="34" charset="0"/>
                <a:ea typeface="+mj-ea"/>
                <a:cs typeface="+mj-cs"/>
                <a:sym typeface="IBM Plex Sans Light"/>
              </a:rPr>
              <a:t>#IBMTechXchange</a:t>
            </a:r>
          </a:p>
        </p:txBody>
      </p:sp>
    </p:spTree>
    <p:extLst>
      <p:ext uri="{BB962C8B-B14F-4D97-AF65-F5344CB8AC3E}">
        <p14:creationId xmlns:p14="http://schemas.microsoft.com/office/powerpoint/2010/main" val="338152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18416" y="160295"/>
            <a:ext cx="8569797" cy="4095750"/>
          </a:xfrm>
        </p:spPr>
        <p:txBody>
          <a:bodyPr/>
          <a:lstStyle>
            <a:lvl1pPr>
              <a:defRPr sz="8598" b="0" i="0">
                <a:solidFill>
                  <a:schemeClr val="tx1"/>
                </a:solidFill>
                <a:latin typeface="IBM Plex Sans Light" panose="020B0403050203000203" pitchFamily="34" charset="0"/>
              </a:defRPr>
            </a:lvl1pPr>
          </a:lstStyle>
          <a:p>
            <a:r>
              <a:rPr lang="en-US"/>
              <a:t>Click to edit Master title style</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1">
            <a:extLst>
              <a:ext uri="{FF2B5EF4-FFF2-40B4-BE49-F238E27FC236}">
                <a16:creationId xmlns:a16="http://schemas.microsoft.com/office/drawing/2014/main" id="{15E15240-CB4B-3EBC-59A0-A3009A53924C}"/>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
        <p:nvSpPr>
          <p:cNvPr id="3" name="TextBox 2">
            <a:extLst>
              <a:ext uri="{FF2B5EF4-FFF2-40B4-BE49-F238E27FC236}">
                <a16:creationId xmlns:a16="http://schemas.microsoft.com/office/drawing/2014/main" id="{AA91D4B0-B647-CABB-F558-8DE439C16E48}"/>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rgbClr val="000000"/>
                </a:solidFill>
                <a:latin typeface="IBM Plex Sans" panose="020B0503050203000203" pitchFamily="34" charset="0"/>
                <a:ea typeface="+mj-ea"/>
                <a:cs typeface="+mj-cs"/>
                <a:sym typeface="IBM Plex Sans Light"/>
              </a:rPr>
              <a:t>#IBMTechXchange</a:t>
            </a:r>
          </a:p>
        </p:txBody>
      </p:sp>
    </p:spTree>
    <p:extLst>
      <p:ext uri="{BB962C8B-B14F-4D97-AF65-F5344CB8AC3E}">
        <p14:creationId xmlns:p14="http://schemas.microsoft.com/office/powerpoint/2010/main" val="1311247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Large text, pattern">
    <p:bg>
      <p:bgPr>
        <a:solidFill>
          <a:schemeClr val="bg1"/>
        </a:solidFill>
        <a:effectLst/>
      </p:bgPr>
    </p:bg>
    <p:spTree>
      <p:nvGrpSpPr>
        <p:cNvPr id="1" name=""/>
        <p:cNvGrpSpPr/>
        <p:nvPr/>
      </p:nvGrpSpPr>
      <p:grpSpPr>
        <a:xfrm>
          <a:off x="0" y="0"/>
          <a:ext cx="0" cy="0"/>
          <a:chOff x="0" y="0"/>
          <a:chExt cx="0" cy="0"/>
        </a:xfrm>
      </p:grpSpPr>
      <p:grpSp>
        <p:nvGrpSpPr>
          <p:cNvPr id="470" name="Group 469">
            <a:extLst>
              <a:ext uri="{FF2B5EF4-FFF2-40B4-BE49-F238E27FC236}">
                <a16:creationId xmlns:a16="http://schemas.microsoft.com/office/drawing/2014/main" id="{7D045C5A-D5A3-CA8C-C9E9-6B74127339EA}"/>
              </a:ext>
            </a:extLst>
          </p:cNvPr>
          <p:cNvGrpSpPr>
            <a:grpSpLocks noChangeAspect="1"/>
          </p:cNvGrpSpPr>
          <p:nvPr userDrawn="1"/>
        </p:nvGrpSpPr>
        <p:grpSpPr>
          <a:xfrm>
            <a:off x="254136" y="251460"/>
            <a:ext cx="11683728" cy="6355080"/>
            <a:chOff x="-34412" y="228570"/>
            <a:chExt cx="24799683" cy="13487429"/>
          </a:xfrm>
          <a:solidFill>
            <a:srgbClr val="EDF5FF"/>
          </a:solidFill>
        </p:grpSpPr>
        <p:sp>
          <p:nvSpPr>
            <p:cNvPr id="471" name="Freeform: Shape 470">
              <a:extLst>
                <a:ext uri="{FF2B5EF4-FFF2-40B4-BE49-F238E27FC236}">
                  <a16:creationId xmlns:a16="http://schemas.microsoft.com/office/drawing/2014/main" id="{5090741A-E6C7-1B42-4545-4B21EB8FB5CB}"/>
                </a:ext>
              </a:extLst>
            </p:cNvPr>
            <p:cNvSpPr/>
            <p:nvPr/>
          </p:nvSpPr>
          <p:spPr>
            <a:xfrm>
              <a:off x="835769" y="228598"/>
              <a:ext cx="435077" cy="435073"/>
            </a:xfrm>
            <a:custGeom>
              <a:avLst/>
              <a:gdLst>
                <a:gd name="connsiteX0" fmla="*/ 371366 w 435077"/>
                <a:gd name="connsiteY0" fmla="*/ 63716 h 435073"/>
                <a:gd name="connsiteX1" fmla="*/ 435077 w 435077"/>
                <a:gd name="connsiteY1" fmla="*/ 217539 h 435073"/>
                <a:gd name="connsiteX2" fmla="*/ 218925 w 435077"/>
                <a:gd name="connsiteY2" fmla="*/ 217539 h 435073"/>
                <a:gd name="connsiteX3" fmla="*/ 371366 w 435077"/>
                <a:gd name="connsiteY3" fmla="*/ 281249 h 435073"/>
                <a:gd name="connsiteX4" fmla="*/ 435077 w 435077"/>
                <a:gd name="connsiteY4" fmla="*/ 435073 h 435073"/>
                <a:gd name="connsiteX5" fmla="*/ 217539 w 435077"/>
                <a:gd name="connsiteY5" fmla="*/ 435073 h 435073"/>
                <a:gd name="connsiteX6" fmla="*/ 0 w 435077"/>
                <a:gd name="connsiteY6" fmla="*/ 435073 h 435073"/>
                <a:gd name="connsiteX7" fmla="*/ 63711 w 435077"/>
                <a:gd name="connsiteY7" fmla="*/ 281249 h 435073"/>
                <a:gd name="connsiteX8" fmla="*/ 216125 w 435077"/>
                <a:gd name="connsiteY8" fmla="*/ 217539 h 435073"/>
                <a:gd name="connsiteX9" fmla="*/ 0 w 435077"/>
                <a:gd name="connsiteY9" fmla="*/ 217539 h 435073"/>
                <a:gd name="connsiteX10" fmla="*/ 63711 w 435077"/>
                <a:gd name="connsiteY10" fmla="*/ 63716 h 435073"/>
                <a:gd name="connsiteX11" fmla="*/ 217539 w 435077"/>
                <a:gd name="connsiteY11" fmla="*/ 0 h 435073"/>
                <a:gd name="connsiteX12" fmla="*/ 371366 w 435077"/>
                <a:gd name="connsiteY12" fmla="*/ 63716 h 43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3">
                  <a:moveTo>
                    <a:pt x="371366" y="63716"/>
                  </a:moveTo>
                  <a:cubicBezTo>
                    <a:pt x="412154" y="104512"/>
                    <a:pt x="435077" y="159844"/>
                    <a:pt x="435077" y="217539"/>
                  </a:cubicBezTo>
                  <a:lnTo>
                    <a:pt x="218925" y="217539"/>
                  </a:lnTo>
                  <a:cubicBezTo>
                    <a:pt x="276138" y="217907"/>
                    <a:pt x="330903" y="240784"/>
                    <a:pt x="371366" y="281249"/>
                  </a:cubicBezTo>
                  <a:cubicBezTo>
                    <a:pt x="412154" y="322046"/>
                    <a:pt x="435077" y="377379"/>
                    <a:pt x="435077" y="435073"/>
                  </a:cubicBezTo>
                  <a:lnTo>
                    <a:pt x="217539" y="435073"/>
                  </a:lnTo>
                  <a:lnTo>
                    <a:pt x="0" y="435073"/>
                  </a:lnTo>
                  <a:cubicBezTo>
                    <a:pt x="0" y="377379"/>
                    <a:pt x="22923" y="322046"/>
                    <a:pt x="63711" y="281249"/>
                  </a:cubicBezTo>
                  <a:cubicBezTo>
                    <a:pt x="104174" y="240784"/>
                    <a:pt x="158939" y="217907"/>
                    <a:pt x="216125" y="217539"/>
                  </a:cubicBezTo>
                  <a:lnTo>
                    <a:pt x="0" y="217539"/>
                  </a:lnTo>
                  <a:cubicBezTo>
                    <a:pt x="0" y="159844"/>
                    <a:pt x="22923" y="104512"/>
                    <a:pt x="63711" y="63716"/>
                  </a:cubicBezTo>
                  <a:cubicBezTo>
                    <a:pt x="104500" y="22919"/>
                    <a:pt x="159836" y="0"/>
                    <a:pt x="217539" y="0"/>
                  </a:cubicBezTo>
                  <a:cubicBezTo>
                    <a:pt x="275213" y="0"/>
                    <a:pt x="330550" y="22919"/>
                    <a:pt x="371366" y="63716"/>
                  </a:cubicBezTo>
                  <a:close/>
                </a:path>
              </a:pathLst>
            </a:custGeom>
            <a:grpFill/>
            <a:ln w="27192" cap="flat">
              <a:noFill/>
              <a:prstDash val="solid"/>
              <a:miter/>
            </a:ln>
          </p:spPr>
          <p:txBody>
            <a:bodyPr rtlCol="0" anchor="ctr"/>
            <a:lstStyle/>
            <a:p>
              <a:endParaRPr lang="uk-UA" sz="900"/>
            </a:p>
          </p:txBody>
        </p:sp>
        <p:sp>
          <p:nvSpPr>
            <p:cNvPr id="472" name="Freeform: Shape 471">
              <a:extLst>
                <a:ext uri="{FF2B5EF4-FFF2-40B4-BE49-F238E27FC236}">
                  <a16:creationId xmlns:a16="http://schemas.microsoft.com/office/drawing/2014/main" id="{5AFFC501-C9A3-E248-6E9B-299B337D2D8B}"/>
                </a:ext>
              </a:extLst>
            </p:cNvPr>
            <p:cNvSpPr/>
            <p:nvPr/>
          </p:nvSpPr>
          <p:spPr>
            <a:xfrm>
              <a:off x="-34398" y="228598"/>
              <a:ext cx="435090" cy="435078"/>
            </a:xfrm>
            <a:custGeom>
              <a:avLst/>
              <a:gdLst>
                <a:gd name="connsiteX0" fmla="*/ 217525 w 435090"/>
                <a:gd name="connsiteY0" fmla="*/ 0 h 435078"/>
                <a:gd name="connsiteX1" fmla="*/ 0 w 435090"/>
                <a:gd name="connsiteY1" fmla="*/ 0 h 435078"/>
                <a:gd name="connsiteX2" fmla="*/ 0 w 435090"/>
                <a:gd name="connsiteY2" fmla="*/ 217539 h 435078"/>
                <a:gd name="connsiteX3" fmla="*/ 217525 w 435090"/>
                <a:gd name="connsiteY3" fmla="*/ 0 h 435078"/>
                <a:gd name="connsiteX4" fmla="*/ 435091 w 435090"/>
                <a:gd name="connsiteY4" fmla="*/ 0 h 435078"/>
                <a:gd name="connsiteX5" fmla="*/ 435091 w 435090"/>
                <a:gd name="connsiteY5" fmla="*/ 217539 h 435078"/>
                <a:gd name="connsiteX6" fmla="*/ 217552 w 435090"/>
                <a:gd name="connsiteY6" fmla="*/ 0 h 435078"/>
                <a:gd name="connsiteX7" fmla="*/ 435091 w 435090"/>
                <a:gd name="connsiteY7" fmla="*/ 0 h 435078"/>
                <a:gd name="connsiteX8" fmla="*/ 217552 w 435090"/>
                <a:gd name="connsiteY8" fmla="*/ 435079 h 435078"/>
                <a:gd name="connsiteX9" fmla="*/ 435091 w 435090"/>
                <a:gd name="connsiteY9" fmla="*/ 217539 h 435078"/>
                <a:gd name="connsiteX10" fmla="*/ 435091 w 435090"/>
                <a:gd name="connsiteY10" fmla="*/ 435079 h 435078"/>
                <a:gd name="connsiteX11" fmla="*/ 217552 w 435090"/>
                <a:gd name="connsiteY11" fmla="*/ 435079 h 435078"/>
                <a:gd name="connsiteX12" fmla="*/ 217552 w 435090"/>
                <a:gd name="connsiteY12" fmla="*/ 435079 h 435078"/>
                <a:gd name="connsiteX13" fmla="*/ 11 w 435090"/>
                <a:gd name="connsiteY13" fmla="*/ 217539 h 435078"/>
                <a:gd name="connsiteX14" fmla="*/ 11 w 435090"/>
                <a:gd name="connsiteY14" fmla="*/ 435079 h 435078"/>
                <a:gd name="connsiteX15" fmla="*/ 217552 w 435090"/>
                <a:gd name="connsiteY15" fmla="*/ 435079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90" h="435078">
                  <a:moveTo>
                    <a:pt x="217525" y="0"/>
                  </a:moveTo>
                  <a:lnTo>
                    <a:pt x="0" y="0"/>
                  </a:lnTo>
                  <a:lnTo>
                    <a:pt x="0" y="217539"/>
                  </a:lnTo>
                  <a:lnTo>
                    <a:pt x="217525" y="0"/>
                  </a:lnTo>
                  <a:close/>
                  <a:moveTo>
                    <a:pt x="435091" y="0"/>
                  </a:moveTo>
                  <a:lnTo>
                    <a:pt x="435091" y="217539"/>
                  </a:lnTo>
                  <a:lnTo>
                    <a:pt x="217552" y="0"/>
                  </a:lnTo>
                  <a:lnTo>
                    <a:pt x="435091" y="0"/>
                  </a:lnTo>
                  <a:close/>
                  <a:moveTo>
                    <a:pt x="217552" y="435079"/>
                  </a:moveTo>
                  <a:lnTo>
                    <a:pt x="435091" y="217539"/>
                  </a:lnTo>
                  <a:lnTo>
                    <a:pt x="435091" y="435079"/>
                  </a:lnTo>
                  <a:lnTo>
                    <a:pt x="217552" y="435079"/>
                  </a:lnTo>
                  <a:close/>
                  <a:moveTo>
                    <a:pt x="217552" y="435079"/>
                  </a:moveTo>
                  <a:lnTo>
                    <a:pt x="11" y="217539"/>
                  </a:lnTo>
                  <a:lnTo>
                    <a:pt x="11" y="435079"/>
                  </a:lnTo>
                  <a:lnTo>
                    <a:pt x="217552" y="435079"/>
                  </a:lnTo>
                  <a:close/>
                </a:path>
              </a:pathLst>
            </a:custGeom>
            <a:grpFill/>
            <a:ln w="27192" cap="flat">
              <a:noFill/>
              <a:prstDash val="solid"/>
              <a:miter/>
            </a:ln>
          </p:spPr>
          <p:txBody>
            <a:bodyPr rtlCol="0" anchor="ctr"/>
            <a:lstStyle/>
            <a:p>
              <a:endParaRPr lang="uk-UA" sz="900"/>
            </a:p>
          </p:txBody>
        </p:sp>
        <p:sp>
          <p:nvSpPr>
            <p:cNvPr id="473" name="Freeform: Shape 472">
              <a:extLst>
                <a:ext uri="{FF2B5EF4-FFF2-40B4-BE49-F238E27FC236}">
                  <a16:creationId xmlns:a16="http://schemas.microsoft.com/office/drawing/2014/main" id="{FBA5935D-610A-4426-6A98-1DB37FDA9AE2}"/>
                </a:ext>
              </a:extLst>
            </p:cNvPr>
            <p:cNvSpPr/>
            <p:nvPr/>
          </p:nvSpPr>
          <p:spPr>
            <a:xfrm>
              <a:off x="1705924" y="228598"/>
              <a:ext cx="435077" cy="435075"/>
            </a:xfrm>
            <a:custGeom>
              <a:avLst/>
              <a:gdLst>
                <a:gd name="connsiteX0" fmla="*/ 217539 w 435077"/>
                <a:gd name="connsiteY0" fmla="*/ 217533 h 435075"/>
                <a:gd name="connsiteX1" fmla="*/ 217539 w 435077"/>
                <a:gd name="connsiteY1" fmla="*/ 0 h 435075"/>
                <a:gd name="connsiteX2" fmla="*/ 0 w 435077"/>
                <a:gd name="connsiteY2" fmla="*/ 0 h 435075"/>
                <a:gd name="connsiteX3" fmla="*/ 217539 w 435077"/>
                <a:gd name="connsiteY3" fmla="*/ 217538 h 435075"/>
                <a:gd name="connsiteX4" fmla="*/ 0 w 435077"/>
                <a:gd name="connsiteY4" fmla="*/ 435076 h 435075"/>
                <a:gd name="connsiteX5" fmla="*/ 217539 w 435077"/>
                <a:gd name="connsiteY5" fmla="*/ 435076 h 435075"/>
                <a:gd name="connsiteX6" fmla="*/ 217539 w 435077"/>
                <a:gd name="connsiteY6" fmla="*/ 435071 h 435075"/>
                <a:gd name="connsiteX7" fmla="*/ 435077 w 435077"/>
                <a:gd name="connsiteY7" fmla="*/ 217543 h 435075"/>
                <a:gd name="connsiteX8" fmla="*/ 435077 w 435077"/>
                <a:gd name="connsiteY8" fmla="*/ 217543 h 435075"/>
                <a:gd name="connsiteX9" fmla="*/ 435077 w 435077"/>
                <a:gd name="connsiteY9" fmla="*/ 217538 h 435075"/>
                <a:gd name="connsiteX10" fmla="*/ 435077 w 435077"/>
                <a:gd name="connsiteY10" fmla="*/ 217533 h 435075"/>
                <a:gd name="connsiteX11" fmla="*/ 435077 w 435077"/>
                <a:gd name="connsiteY11" fmla="*/ 217533 h 435075"/>
                <a:gd name="connsiteX12" fmla="*/ 217539 w 435077"/>
                <a:gd name="connsiteY12" fmla="*/ 5 h 435075"/>
                <a:gd name="connsiteX13" fmla="*/ 217539 w 435077"/>
                <a:gd name="connsiteY13" fmla="*/ 217533 h 435075"/>
                <a:gd name="connsiteX14" fmla="*/ 217539 w 435077"/>
                <a:gd name="connsiteY14" fmla="*/ 217533 h 43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5">
                  <a:moveTo>
                    <a:pt x="217539" y="217533"/>
                  </a:moveTo>
                  <a:lnTo>
                    <a:pt x="217539" y="0"/>
                  </a:lnTo>
                  <a:lnTo>
                    <a:pt x="0" y="0"/>
                  </a:lnTo>
                  <a:lnTo>
                    <a:pt x="217539" y="217538"/>
                  </a:lnTo>
                  <a:lnTo>
                    <a:pt x="0" y="435076"/>
                  </a:lnTo>
                  <a:lnTo>
                    <a:pt x="217539" y="435076"/>
                  </a:lnTo>
                  <a:lnTo>
                    <a:pt x="217539" y="435071"/>
                  </a:lnTo>
                  <a:lnTo>
                    <a:pt x="435077" y="217543"/>
                  </a:lnTo>
                  <a:lnTo>
                    <a:pt x="435077" y="217543"/>
                  </a:lnTo>
                  <a:lnTo>
                    <a:pt x="435077" y="217538"/>
                  </a:lnTo>
                  <a:lnTo>
                    <a:pt x="435077" y="217533"/>
                  </a:lnTo>
                  <a:lnTo>
                    <a:pt x="435077" y="217533"/>
                  </a:lnTo>
                  <a:lnTo>
                    <a:pt x="217539" y="5"/>
                  </a:lnTo>
                  <a:lnTo>
                    <a:pt x="217539" y="217533"/>
                  </a:lnTo>
                  <a:lnTo>
                    <a:pt x="217539" y="217533"/>
                  </a:lnTo>
                  <a:close/>
                </a:path>
              </a:pathLst>
            </a:custGeom>
            <a:grpFill/>
            <a:ln w="27192" cap="flat">
              <a:noFill/>
              <a:prstDash val="solid"/>
              <a:miter/>
            </a:ln>
          </p:spPr>
          <p:txBody>
            <a:bodyPr rtlCol="0" anchor="ctr"/>
            <a:lstStyle/>
            <a:p>
              <a:endParaRPr lang="uk-UA" sz="900"/>
            </a:p>
          </p:txBody>
        </p:sp>
        <p:sp>
          <p:nvSpPr>
            <p:cNvPr id="474" name="Freeform: Shape 473">
              <a:extLst>
                <a:ext uri="{FF2B5EF4-FFF2-40B4-BE49-F238E27FC236}">
                  <a16:creationId xmlns:a16="http://schemas.microsoft.com/office/drawing/2014/main" id="{AA16928D-A49D-892F-DDBE-296DEAC2DE9E}"/>
                </a:ext>
              </a:extLst>
            </p:cNvPr>
            <p:cNvSpPr/>
            <p:nvPr/>
          </p:nvSpPr>
          <p:spPr>
            <a:xfrm>
              <a:off x="2576106" y="228598"/>
              <a:ext cx="435077" cy="435078"/>
            </a:xfrm>
            <a:custGeom>
              <a:avLst/>
              <a:gdLst>
                <a:gd name="connsiteX0" fmla="*/ 0 w 435077"/>
                <a:gd name="connsiteY0" fmla="*/ 435079 h 435078"/>
                <a:gd name="connsiteX1" fmla="*/ 217512 w 435077"/>
                <a:gd name="connsiteY1" fmla="*/ 435079 h 435078"/>
                <a:gd name="connsiteX2" fmla="*/ 217512 w 435077"/>
                <a:gd name="connsiteY2" fmla="*/ 217546 h 435078"/>
                <a:gd name="connsiteX3" fmla="*/ 0 w 435077"/>
                <a:gd name="connsiteY3" fmla="*/ 435079 h 435078"/>
                <a:gd name="connsiteX4" fmla="*/ 217539 w 435077"/>
                <a:gd name="connsiteY4" fmla="*/ 0 h 435078"/>
                <a:gd name="connsiteX5" fmla="*/ 0 w 435077"/>
                <a:gd name="connsiteY5" fmla="*/ 0 h 435078"/>
                <a:gd name="connsiteX6" fmla="*/ 217539 w 435077"/>
                <a:gd name="connsiteY6" fmla="*/ 217532 h 435078"/>
                <a:gd name="connsiteX7" fmla="*/ 217539 w 435077"/>
                <a:gd name="connsiteY7" fmla="*/ 0 h 435078"/>
                <a:gd name="connsiteX8" fmla="*/ 435077 w 435077"/>
                <a:gd name="connsiteY8" fmla="*/ 435079 h 435078"/>
                <a:gd name="connsiteX9" fmla="*/ 217539 w 435077"/>
                <a:gd name="connsiteY9" fmla="*/ 435079 h 435078"/>
                <a:gd name="connsiteX10" fmla="*/ 435077 w 435077"/>
                <a:gd name="connsiteY10" fmla="*/ 217546 h 435078"/>
                <a:gd name="connsiteX11" fmla="*/ 435077 w 435077"/>
                <a:gd name="connsiteY11" fmla="*/ 435079 h 435078"/>
                <a:gd name="connsiteX12" fmla="*/ 435077 w 435077"/>
                <a:gd name="connsiteY12" fmla="*/ 0 h 435078"/>
                <a:gd name="connsiteX13" fmla="*/ 217539 w 435077"/>
                <a:gd name="connsiteY13" fmla="*/ 0 h 435078"/>
                <a:gd name="connsiteX14" fmla="*/ 435077 w 435077"/>
                <a:gd name="connsiteY14" fmla="*/ 217532 h 435078"/>
                <a:gd name="connsiteX15" fmla="*/ 435077 w 435077"/>
                <a:gd name="connsiteY15"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8">
                  <a:moveTo>
                    <a:pt x="0" y="435079"/>
                  </a:moveTo>
                  <a:lnTo>
                    <a:pt x="217512" y="435079"/>
                  </a:lnTo>
                  <a:lnTo>
                    <a:pt x="217512" y="217546"/>
                  </a:lnTo>
                  <a:lnTo>
                    <a:pt x="0" y="435079"/>
                  </a:lnTo>
                  <a:close/>
                  <a:moveTo>
                    <a:pt x="217539" y="0"/>
                  </a:moveTo>
                  <a:lnTo>
                    <a:pt x="0" y="0"/>
                  </a:lnTo>
                  <a:lnTo>
                    <a:pt x="217539" y="217532"/>
                  </a:lnTo>
                  <a:lnTo>
                    <a:pt x="217539" y="0"/>
                  </a:lnTo>
                  <a:close/>
                  <a:moveTo>
                    <a:pt x="435077" y="435079"/>
                  </a:moveTo>
                  <a:lnTo>
                    <a:pt x="217539" y="435079"/>
                  </a:lnTo>
                  <a:lnTo>
                    <a:pt x="435077" y="217546"/>
                  </a:lnTo>
                  <a:lnTo>
                    <a:pt x="435077" y="435079"/>
                  </a:lnTo>
                  <a:close/>
                  <a:moveTo>
                    <a:pt x="435077" y="0"/>
                  </a:moveTo>
                  <a:lnTo>
                    <a:pt x="217539" y="0"/>
                  </a:lnTo>
                  <a:lnTo>
                    <a:pt x="435077" y="217532"/>
                  </a:lnTo>
                  <a:lnTo>
                    <a:pt x="435077" y="0"/>
                  </a:lnTo>
                  <a:close/>
                </a:path>
              </a:pathLst>
            </a:custGeom>
            <a:grpFill/>
            <a:ln w="27192" cap="flat">
              <a:noFill/>
              <a:prstDash val="solid"/>
              <a:miter/>
            </a:ln>
          </p:spPr>
          <p:txBody>
            <a:bodyPr rtlCol="0" anchor="ctr"/>
            <a:lstStyle/>
            <a:p>
              <a:endParaRPr lang="uk-UA" sz="900"/>
            </a:p>
          </p:txBody>
        </p:sp>
        <p:sp>
          <p:nvSpPr>
            <p:cNvPr id="475" name="Freeform: Shape 474">
              <a:extLst>
                <a:ext uri="{FF2B5EF4-FFF2-40B4-BE49-F238E27FC236}">
                  <a16:creationId xmlns:a16="http://schemas.microsoft.com/office/drawing/2014/main" id="{BEA97A72-B412-EACF-F6BD-6E7894C4DB0A}"/>
                </a:ext>
              </a:extLst>
            </p:cNvPr>
            <p:cNvSpPr/>
            <p:nvPr/>
          </p:nvSpPr>
          <p:spPr>
            <a:xfrm>
              <a:off x="4316416" y="228598"/>
              <a:ext cx="435103" cy="435073"/>
            </a:xfrm>
            <a:custGeom>
              <a:avLst/>
              <a:gdLst>
                <a:gd name="connsiteX0" fmla="*/ 371365 w 435103"/>
                <a:gd name="connsiteY0" fmla="*/ 63716 h 435073"/>
                <a:gd name="connsiteX1" fmla="*/ 435077 w 435103"/>
                <a:gd name="connsiteY1" fmla="*/ 217539 h 435073"/>
                <a:gd name="connsiteX2" fmla="*/ 218952 w 435103"/>
                <a:gd name="connsiteY2" fmla="*/ 217539 h 435073"/>
                <a:gd name="connsiteX3" fmla="*/ 371365 w 435103"/>
                <a:gd name="connsiteY3" fmla="*/ 281249 h 435073"/>
                <a:gd name="connsiteX4" fmla="*/ 435104 w 435103"/>
                <a:gd name="connsiteY4" fmla="*/ 435073 h 435073"/>
                <a:gd name="connsiteX5" fmla="*/ 217565 w 435103"/>
                <a:gd name="connsiteY5" fmla="*/ 435073 h 435073"/>
                <a:gd name="connsiteX6" fmla="*/ 27 w 435103"/>
                <a:gd name="connsiteY6" fmla="*/ 435073 h 435073"/>
                <a:gd name="connsiteX7" fmla="*/ 63739 w 435103"/>
                <a:gd name="connsiteY7" fmla="*/ 281249 h 435073"/>
                <a:gd name="connsiteX8" fmla="*/ 216151 w 435103"/>
                <a:gd name="connsiteY8" fmla="*/ 217539 h 435073"/>
                <a:gd name="connsiteX9" fmla="*/ 0 w 435103"/>
                <a:gd name="connsiteY9" fmla="*/ 217539 h 435073"/>
                <a:gd name="connsiteX10" fmla="*/ 63739 w 435103"/>
                <a:gd name="connsiteY10" fmla="*/ 63716 h 435073"/>
                <a:gd name="connsiteX11" fmla="*/ 217539 w 435103"/>
                <a:gd name="connsiteY11" fmla="*/ 0 h 435073"/>
                <a:gd name="connsiteX12" fmla="*/ 371365 w 435103"/>
                <a:gd name="connsiteY12" fmla="*/ 63716 h 43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3" h="435073">
                  <a:moveTo>
                    <a:pt x="371365" y="63716"/>
                  </a:moveTo>
                  <a:cubicBezTo>
                    <a:pt x="412181" y="104512"/>
                    <a:pt x="435077" y="159844"/>
                    <a:pt x="435077" y="217539"/>
                  </a:cubicBezTo>
                  <a:lnTo>
                    <a:pt x="218952" y="217539"/>
                  </a:lnTo>
                  <a:cubicBezTo>
                    <a:pt x="276138" y="217907"/>
                    <a:pt x="330903" y="240784"/>
                    <a:pt x="371365" y="281249"/>
                  </a:cubicBezTo>
                  <a:cubicBezTo>
                    <a:pt x="412181" y="322046"/>
                    <a:pt x="435104" y="377379"/>
                    <a:pt x="435104" y="435073"/>
                  </a:cubicBezTo>
                  <a:lnTo>
                    <a:pt x="217565" y="435073"/>
                  </a:lnTo>
                  <a:lnTo>
                    <a:pt x="27" y="435073"/>
                  </a:lnTo>
                  <a:cubicBezTo>
                    <a:pt x="27" y="377379"/>
                    <a:pt x="22923" y="322046"/>
                    <a:pt x="63739" y="281249"/>
                  </a:cubicBezTo>
                  <a:cubicBezTo>
                    <a:pt x="104201" y="240784"/>
                    <a:pt x="158966" y="217907"/>
                    <a:pt x="216151" y="217539"/>
                  </a:cubicBezTo>
                  <a:lnTo>
                    <a:pt x="0" y="217539"/>
                  </a:lnTo>
                  <a:cubicBezTo>
                    <a:pt x="0" y="159844"/>
                    <a:pt x="22923" y="104512"/>
                    <a:pt x="63739" y="63716"/>
                  </a:cubicBezTo>
                  <a:cubicBezTo>
                    <a:pt x="104527" y="22919"/>
                    <a:pt x="159864" y="0"/>
                    <a:pt x="217539" y="0"/>
                  </a:cubicBezTo>
                  <a:cubicBezTo>
                    <a:pt x="275240" y="0"/>
                    <a:pt x="330577" y="22919"/>
                    <a:pt x="371365" y="63716"/>
                  </a:cubicBezTo>
                  <a:close/>
                </a:path>
              </a:pathLst>
            </a:custGeom>
            <a:grpFill/>
            <a:ln w="27192" cap="flat">
              <a:noFill/>
              <a:prstDash val="solid"/>
              <a:miter/>
            </a:ln>
          </p:spPr>
          <p:txBody>
            <a:bodyPr rtlCol="0" anchor="ctr"/>
            <a:lstStyle/>
            <a:p>
              <a:endParaRPr lang="uk-UA" sz="900"/>
            </a:p>
          </p:txBody>
        </p:sp>
        <p:sp>
          <p:nvSpPr>
            <p:cNvPr id="476" name="Freeform: Shape 475">
              <a:extLst>
                <a:ext uri="{FF2B5EF4-FFF2-40B4-BE49-F238E27FC236}">
                  <a16:creationId xmlns:a16="http://schemas.microsoft.com/office/drawing/2014/main" id="{CCEC01ED-BAD1-D0AA-E9D4-407E01E5FA3E}"/>
                </a:ext>
              </a:extLst>
            </p:cNvPr>
            <p:cNvSpPr/>
            <p:nvPr/>
          </p:nvSpPr>
          <p:spPr>
            <a:xfrm>
              <a:off x="3446261" y="228598"/>
              <a:ext cx="435077" cy="435078"/>
            </a:xfrm>
            <a:custGeom>
              <a:avLst/>
              <a:gdLst>
                <a:gd name="connsiteX0" fmla="*/ 217566 w 435077"/>
                <a:gd name="connsiteY0" fmla="*/ 0 h 435078"/>
                <a:gd name="connsiteX1" fmla="*/ 217539 w 435077"/>
                <a:gd name="connsiteY1" fmla="*/ 0 h 435078"/>
                <a:gd name="connsiteX2" fmla="*/ 27 w 435077"/>
                <a:gd name="connsiteY2" fmla="*/ 0 h 435078"/>
                <a:gd name="connsiteX3" fmla="*/ 27 w 435077"/>
                <a:gd name="connsiteY3" fmla="*/ 217539 h 435078"/>
                <a:gd name="connsiteX4" fmla="*/ 217539 w 435077"/>
                <a:gd name="connsiteY4" fmla="*/ 7 h 435078"/>
                <a:gd name="connsiteX5" fmla="*/ 435077 w 435077"/>
                <a:gd name="connsiteY5" fmla="*/ 217539 h 435078"/>
                <a:gd name="connsiteX6" fmla="*/ 217539 w 435077"/>
                <a:gd name="connsiteY6" fmla="*/ 435079 h 435078"/>
                <a:gd name="connsiteX7" fmla="*/ 0 w 435077"/>
                <a:gd name="connsiteY7" fmla="*/ 217539 h 435078"/>
                <a:gd name="connsiteX8" fmla="*/ 0 w 435077"/>
                <a:gd name="connsiteY8" fmla="*/ 435079 h 435078"/>
                <a:gd name="connsiteX9" fmla="*/ 217539 w 435077"/>
                <a:gd name="connsiteY9" fmla="*/ 435079 h 435078"/>
                <a:gd name="connsiteX10" fmla="*/ 435077 w 435077"/>
                <a:gd name="connsiteY10" fmla="*/ 435079 h 435078"/>
                <a:gd name="connsiteX11" fmla="*/ 435077 w 435077"/>
                <a:gd name="connsiteY11" fmla="*/ 217539 h 435078"/>
                <a:gd name="connsiteX12" fmla="*/ 435077 w 435077"/>
                <a:gd name="connsiteY12" fmla="*/ 0 h 435078"/>
                <a:gd name="connsiteX13" fmla="*/ 217566 w 435077"/>
                <a:gd name="connsiteY13"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8">
                  <a:moveTo>
                    <a:pt x="217566" y="0"/>
                  </a:moveTo>
                  <a:lnTo>
                    <a:pt x="217539" y="0"/>
                  </a:lnTo>
                  <a:lnTo>
                    <a:pt x="27" y="0"/>
                  </a:lnTo>
                  <a:lnTo>
                    <a:pt x="27" y="217539"/>
                  </a:lnTo>
                  <a:lnTo>
                    <a:pt x="217539" y="7"/>
                  </a:lnTo>
                  <a:lnTo>
                    <a:pt x="435077" y="217539"/>
                  </a:lnTo>
                  <a:lnTo>
                    <a:pt x="217539" y="435079"/>
                  </a:lnTo>
                  <a:lnTo>
                    <a:pt x="0" y="217539"/>
                  </a:lnTo>
                  <a:lnTo>
                    <a:pt x="0" y="435079"/>
                  </a:lnTo>
                  <a:lnTo>
                    <a:pt x="217539" y="435079"/>
                  </a:lnTo>
                  <a:lnTo>
                    <a:pt x="435077" y="435079"/>
                  </a:lnTo>
                  <a:lnTo>
                    <a:pt x="435077" y="217539"/>
                  </a:lnTo>
                  <a:lnTo>
                    <a:pt x="435077" y="0"/>
                  </a:lnTo>
                  <a:lnTo>
                    <a:pt x="217566" y="0"/>
                  </a:lnTo>
                  <a:close/>
                </a:path>
              </a:pathLst>
            </a:custGeom>
            <a:grpFill/>
            <a:ln w="27192" cap="flat">
              <a:noFill/>
              <a:prstDash val="solid"/>
              <a:miter/>
            </a:ln>
          </p:spPr>
          <p:txBody>
            <a:bodyPr rtlCol="0" anchor="ctr"/>
            <a:lstStyle/>
            <a:p>
              <a:endParaRPr lang="uk-UA" sz="900"/>
            </a:p>
          </p:txBody>
        </p:sp>
        <p:sp>
          <p:nvSpPr>
            <p:cNvPr id="477" name="Freeform: Shape 476">
              <a:extLst>
                <a:ext uri="{FF2B5EF4-FFF2-40B4-BE49-F238E27FC236}">
                  <a16:creationId xmlns:a16="http://schemas.microsoft.com/office/drawing/2014/main" id="{32EB5285-DD7E-F606-9D36-C95E194FD2BF}"/>
                </a:ext>
              </a:extLst>
            </p:cNvPr>
            <p:cNvSpPr/>
            <p:nvPr/>
          </p:nvSpPr>
          <p:spPr>
            <a:xfrm>
              <a:off x="5186597" y="228598"/>
              <a:ext cx="435077" cy="435075"/>
            </a:xfrm>
            <a:custGeom>
              <a:avLst/>
              <a:gdLst>
                <a:gd name="connsiteX0" fmla="*/ 217539 w 435077"/>
                <a:gd name="connsiteY0" fmla="*/ 217540 h 435075"/>
                <a:gd name="connsiteX1" fmla="*/ 217539 w 435077"/>
                <a:gd name="connsiteY1" fmla="*/ 217537 h 435075"/>
                <a:gd name="connsiteX2" fmla="*/ 0 w 435077"/>
                <a:gd name="connsiteY2" fmla="*/ 0 h 435075"/>
                <a:gd name="connsiteX3" fmla="*/ 217539 w 435077"/>
                <a:gd name="connsiteY3" fmla="*/ 0 h 435075"/>
                <a:gd name="connsiteX4" fmla="*/ 217539 w 435077"/>
                <a:gd name="connsiteY4" fmla="*/ 5 h 435075"/>
                <a:gd name="connsiteX5" fmla="*/ 435077 w 435077"/>
                <a:gd name="connsiteY5" fmla="*/ 217533 h 435075"/>
                <a:gd name="connsiteX6" fmla="*/ 435077 w 435077"/>
                <a:gd name="connsiteY6" fmla="*/ 217533 h 435075"/>
                <a:gd name="connsiteX7" fmla="*/ 435077 w 435077"/>
                <a:gd name="connsiteY7" fmla="*/ 217538 h 435075"/>
                <a:gd name="connsiteX8" fmla="*/ 435077 w 435077"/>
                <a:gd name="connsiteY8" fmla="*/ 217542 h 435075"/>
                <a:gd name="connsiteX9" fmla="*/ 435077 w 435077"/>
                <a:gd name="connsiteY9" fmla="*/ 217542 h 435075"/>
                <a:gd name="connsiteX10" fmla="*/ 217539 w 435077"/>
                <a:gd name="connsiteY10" fmla="*/ 435071 h 435075"/>
                <a:gd name="connsiteX11" fmla="*/ 217539 w 435077"/>
                <a:gd name="connsiteY11" fmla="*/ 435076 h 435075"/>
                <a:gd name="connsiteX12" fmla="*/ 0 w 435077"/>
                <a:gd name="connsiteY12" fmla="*/ 435076 h 435075"/>
                <a:gd name="connsiteX13" fmla="*/ 217539 w 435077"/>
                <a:gd name="connsiteY13" fmla="*/ 217540 h 43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5">
                  <a:moveTo>
                    <a:pt x="217539" y="217540"/>
                  </a:moveTo>
                  <a:lnTo>
                    <a:pt x="217539" y="217537"/>
                  </a:lnTo>
                  <a:lnTo>
                    <a:pt x="0" y="0"/>
                  </a:lnTo>
                  <a:lnTo>
                    <a:pt x="217539" y="0"/>
                  </a:lnTo>
                  <a:lnTo>
                    <a:pt x="217539" y="5"/>
                  </a:lnTo>
                  <a:lnTo>
                    <a:pt x="435077" y="217533"/>
                  </a:lnTo>
                  <a:lnTo>
                    <a:pt x="435077" y="217533"/>
                  </a:lnTo>
                  <a:lnTo>
                    <a:pt x="435077" y="217538"/>
                  </a:lnTo>
                  <a:lnTo>
                    <a:pt x="435077" y="217542"/>
                  </a:lnTo>
                  <a:lnTo>
                    <a:pt x="435077" y="217542"/>
                  </a:lnTo>
                  <a:lnTo>
                    <a:pt x="217539" y="435071"/>
                  </a:lnTo>
                  <a:lnTo>
                    <a:pt x="217539" y="435076"/>
                  </a:lnTo>
                  <a:lnTo>
                    <a:pt x="0" y="435076"/>
                  </a:lnTo>
                  <a:lnTo>
                    <a:pt x="217539" y="217540"/>
                  </a:lnTo>
                  <a:close/>
                </a:path>
              </a:pathLst>
            </a:custGeom>
            <a:grpFill/>
            <a:ln w="27192" cap="flat">
              <a:noFill/>
              <a:prstDash val="solid"/>
              <a:miter/>
            </a:ln>
          </p:spPr>
          <p:txBody>
            <a:bodyPr rtlCol="0" anchor="ctr"/>
            <a:lstStyle/>
            <a:p>
              <a:endParaRPr lang="uk-UA" sz="900"/>
            </a:p>
          </p:txBody>
        </p:sp>
        <p:sp>
          <p:nvSpPr>
            <p:cNvPr id="478" name="Freeform: Shape 477">
              <a:extLst>
                <a:ext uri="{FF2B5EF4-FFF2-40B4-BE49-F238E27FC236}">
                  <a16:creationId xmlns:a16="http://schemas.microsoft.com/office/drawing/2014/main" id="{7E283894-741C-582A-7ED8-FE80F0717969}"/>
                </a:ext>
              </a:extLst>
            </p:cNvPr>
            <p:cNvSpPr/>
            <p:nvPr/>
          </p:nvSpPr>
          <p:spPr>
            <a:xfrm>
              <a:off x="6056752" y="228598"/>
              <a:ext cx="435077" cy="435078"/>
            </a:xfrm>
            <a:custGeom>
              <a:avLst/>
              <a:gdLst>
                <a:gd name="connsiteX0" fmla="*/ 0 w 435077"/>
                <a:gd name="connsiteY0" fmla="*/ 435079 h 435078"/>
                <a:gd name="connsiteX1" fmla="*/ 217539 w 435077"/>
                <a:gd name="connsiteY1" fmla="*/ 435079 h 435078"/>
                <a:gd name="connsiteX2" fmla="*/ 217539 w 435077"/>
                <a:gd name="connsiteY2" fmla="*/ 217546 h 435078"/>
                <a:gd name="connsiteX3" fmla="*/ 0 w 435077"/>
                <a:gd name="connsiteY3" fmla="*/ 435079 h 435078"/>
                <a:gd name="connsiteX4" fmla="*/ 217539 w 435077"/>
                <a:gd name="connsiteY4" fmla="*/ 0 h 435078"/>
                <a:gd name="connsiteX5" fmla="*/ 0 w 435077"/>
                <a:gd name="connsiteY5" fmla="*/ 0 h 435078"/>
                <a:gd name="connsiteX6" fmla="*/ 217539 w 435077"/>
                <a:gd name="connsiteY6" fmla="*/ 217532 h 435078"/>
                <a:gd name="connsiteX7" fmla="*/ 217539 w 435077"/>
                <a:gd name="connsiteY7" fmla="*/ 0 h 435078"/>
                <a:gd name="connsiteX8" fmla="*/ 435077 w 435077"/>
                <a:gd name="connsiteY8" fmla="*/ 435079 h 435078"/>
                <a:gd name="connsiteX9" fmla="*/ 217539 w 435077"/>
                <a:gd name="connsiteY9" fmla="*/ 435079 h 435078"/>
                <a:gd name="connsiteX10" fmla="*/ 435077 w 435077"/>
                <a:gd name="connsiteY10" fmla="*/ 217546 h 435078"/>
                <a:gd name="connsiteX11" fmla="*/ 435077 w 435077"/>
                <a:gd name="connsiteY11" fmla="*/ 435079 h 435078"/>
                <a:gd name="connsiteX12" fmla="*/ 435077 w 435077"/>
                <a:gd name="connsiteY12" fmla="*/ 0 h 435078"/>
                <a:gd name="connsiteX13" fmla="*/ 217539 w 435077"/>
                <a:gd name="connsiteY13" fmla="*/ 0 h 435078"/>
                <a:gd name="connsiteX14" fmla="*/ 435077 w 435077"/>
                <a:gd name="connsiteY14" fmla="*/ 217532 h 435078"/>
                <a:gd name="connsiteX15" fmla="*/ 435077 w 435077"/>
                <a:gd name="connsiteY15"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8">
                  <a:moveTo>
                    <a:pt x="0" y="435079"/>
                  </a:moveTo>
                  <a:lnTo>
                    <a:pt x="217539" y="435079"/>
                  </a:lnTo>
                  <a:lnTo>
                    <a:pt x="217539" y="217546"/>
                  </a:lnTo>
                  <a:lnTo>
                    <a:pt x="0" y="435079"/>
                  </a:lnTo>
                  <a:close/>
                  <a:moveTo>
                    <a:pt x="217539" y="0"/>
                  </a:moveTo>
                  <a:lnTo>
                    <a:pt x="0" y="0"/>
                  </a:lnTo>
                  <a:lnTo>
                    <a:pt x="217539" y="217532"/>
                  </a:lnTo>
                  <a:lnTo>
                    <a:pt x="217539" y="0"/>
                  </a:lnTo>
                  <a:close/>
                  <a:moveTo>
                    <a:pt x="435077" y="435079"/>
                  </a:moveTo>
                  <a:lnTo>
                    <a:pt x="217539" y="435079"/>
                  </a:lnTo>
                  <a:lnTo>
                    <a:pt x="435077" y="217546"/>
                  </a:lnTo>
                  <a:lnTo>
                    <a:pt x="435077" y="435079"/>
                  </a:lnTo>
                  <a:close/>
                  <a:moveTo>
                    <a:pt x="435077" y="0"/>
                  </a:moveTo>
                  <a:lnTo>
                    <a:pt x="217539" y="0"/>
                  </a:lnTo>
                  <a:lnTo>
                    <a:pt x="435077" y="217532"/>
                  </a:lnTo>
                  <a:lnTo>
                    <a:pt x="435077" y="0"/>
                  </a:lnTo>
                  <a:close/>
                </a:path>
              </a:pathLst>
            </a:custGeom>
            <a:grpFill/>
            <a:ln w="27192" cap="flat">
              <a:noFill/>
              <a:prstDash val="solid"/>
              <a:miter/>
            </a:ln>
          </p:spPr>
          <p:txBody>
            <a:bodyPr rtlCol="0" anchor="ctr"/>
            <a:lstStyle/>
            <a:p>
              <a:endParaRPr lang="uk-UA" sz="900"/>
            </a:p>
          </p:txBody>
        </p:sp>
        <p:sp>
          <p:nvSpPr>
            <p:cNvPr id="479" name="Freeform: Shape 478">
              <a:extLst>
                <a:ext uri="{FF2B5EF4-FFF2-40B4-BE49-F238E27FC236}">
                  <a16:creationId xmlns:a16="http://schemas.microsoft.com/office/drawing/2014/main" id="{716A901D-C546-01BB-B00F-861D5688CF61}"/>
                </a:ext>
              </a:extLst>
            </p:cNvPr>
            <p:cNvSpPr/>
            <p:nvPr/>
          </p:nvSpPr>
          <p:spPr>
            <a:xfrm>
              <a:off x="7797062" y="228598"/>
              <a:ext cx="435104" cy="435073"/>
            </a:xfrm>
            <a:custGeom>
              <a:avLst/>
              <a:gdLst>
                <a:gd name="connsiteX0" fmla="*/ 371366 w 435104"/>
                <a:gd name="connsiteY0" fmla="*/ 63716 h 435073"/>
                <a:gd name="connsiteX1" fmla="*/ 435077 w 435104"/>
                <a:gd name="connsiteY1" fmla="*/ 217539 h 435073"/>
                <a:gd name="connsiteX2" fmla="*/ 218953 w 435104"/>
                <a:gd name="connsiteY2" fmla="*/ 217539 h 435073"/>
                <a:gd name="connsiteX3" fmla="*/ 371366 w 435104"/>
                <a:gd name="connsiteY3" fmla="*/ 281249 h 435073"/>
                <a:gd name="connsiteX4" fmla="*/ 435105 w 435104"/>
                <a:gd name="connsiteY4" fmla="*/ 435073 h 435073"/>
                <a:gd name="connsiteX5" fmla="*/ 217566 w 435104"/>
                <a:gd name="connsiteY5" fmla="*/ 435073 h 435073"/>
                <a:gd name="connsiteX6" fmla="*/ 27 w 435104"/>
                <a:gd name="connsiteY6" fmla="*/ 435073 h 435073"/>
                <a:gd name="connsiteX7" fmla="*/ 63739 w 435104"/>
                <a:gd name="connsiteY7" fmla="*/ 281249 h 435073"/>
                <a:gd name="connsiteX8" fmla="*/ 216152 w 435104"/>
                <a:gd name="connsiteY8" fmla="*/ 217539 h 435073"/>
                <a:gd name="connsiteX9" fmla="*/ 0 w 435104"/>
                <a:gd name="connsiteY9" fmla="*/ 217539 h 435073"/>
                <a:gd name="connsiteX10" fmla="*/ 63739 w 435104"/>
                <a:gd name="connsiteY10" fmla="*/ 63716 h 435073"/>
                <a:gd name="connsiteX11" fmla="*/ 217539 w 435104"/>
                <a:gd name="connsiteY11" fmla="*/ 0 h 435073"/>
                <a:gd name="connsiteX12" fmla="*/ 371366 w 435104"/>
                <a:gd name="connsiteY12" fmla="*/ 63716 h 43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4" h="435073">
                  <a:moveTo>
                    <a:pt x="371366" y="63716"/>
                  </a:moveTo>
                  <a:cubicBezTo>
                    <a:pt x="412182" y="104512"/>
                    <a:pt x="435077" y="159844"/>
                    <a:pt x="435077" y="217539"/>
                  </a:cubicBezTo>
                  <a:lnTo>
                    <a:pt x="218953" y="217539"/>
                  </a:lnTo>
                  <a:cubicBezTo>
                    <a:pt x="276138" y="217907"/>
                    <a:pt x="330904" y="240784"/>
                    <a:pt x="371366" y="281249"/>
                  </a:cubicBezTo>
                  <a:cubicBezTo>
                    <a:pt x="412182" y="322046"/>
                    <a:pt x="435105" y="377379"/>
                    <a:pt x="435105" y="435073"/>
                  </a:cubicBezTo>
                  <a:lnTo>
                    <a:pt x="217566" y="435073"/>
                  </a:lnTo>
                  <a:lnTo>
                    <a:pt x="27" y="435073"/>
                  </a:lnTo>
                  <a:cubicBezTo>
                    <a:pt x="27" y="377379"/>
                    <a:pt x="22924" y="322046"/>
                    <a:pt x="63739" y="281249"/>
                  </a:cubicBezTo>
                  <a:cubicBezTo>
                    <a:pt x="104201" y="240784"/>
                    <a:pt x="158967" y="217907"/>
                    <a:pt x="216152" y="217539"/>
                  </a:cubicBezTo>
                  <a:lnTo>
                    <a:pt x="0" y="217539"/>
                  </a:lnTo>
                  <a:cubicBezTo>
                    <a:pt x="0" y="159844"/>
                    <a:pt x="22924" y="104512"/>
                    <a:pt x="63739" y="63716"/>
                  </a:cubicBezTo>
                  <a:cubicBezTo>
                    <a:pt x="104527" y="22919"/>
                    <a:pt x="159864" y="0"/>
                    <a:pt x="217539" y="0"/>
                  </a:cubicBezTo>
                  <a:cubicBezTo>
                    <a:pt x="275241" y="0"/>
                    <a:pt x="330578" y="22919"/>
                    <a:pt x="371366" y="63716"/>
                  </a:cubicBezTo>
                  <a:close/>
                </a:path>
              </a:pathLst>
            </a:custGeom>
            <a:grpFill/>
            <a:ln w="27192" cap="flat">
              <a:noFill/>
              <a:prstDash val="solid"/>
              <a:miter/>
            </a:ln>
          </p:spPr>
          <p:txBody>
            <a:bodyPr rtlCol="0" anchor="ctr"/>
            <a:lstStyle/>
            <a:p>
              <a:endParaRPr lang="uk-UA" sz="900"/>
            </a:p>
          </p:txBody>
        </p:sp>
        <p:sp>
          <p:nvSpPr>
            <p:cNvPr id="480" name="Freeform: Shape 479">
              <a:extLst>
                <a:ext uri="{FF2B5EF4-FFF2-40B4-BE49-F238E27FC236}">
                  <a16:creationId xmlns:a16="http://schemas.microsoft.com/office/drawing/2014/main" id="{A063ACEC-45A9-3CE4-8737-DCD8E4F3B2F0}"/>
                </a:ext>
              </a:extLst>
            </p:cNvPr>
            <p:cNvSpPr/>
            <p:nvPr/>
          </p:nvSpPr>
          <p:spPr>
            <a:xfrm>
              <a:off x="6926907" y="228598"/>
              <a:ext cx="435077" cy="435078"/>
            </a:xfrm>
            <a:custGeom>
              <a:avLst/>
              <a:gdLst>
                <a:gd name="connsiteX0" fmla="*/ 217539 w 435077"/>
                <a:gd name="connsiteY0" fmla="*/ 0 h 435078"/>
                <a:gd name="connsiteX1" fmla="*/ 0 w 435077"/>
                <a:gd name="connsiteY1" fmla="*/ 0 h 435078"/>
                <a:gd name="connsiteX2" fmla="*/ 0 w 435077"/>
                <a:gd name="connsiteY2" fmla="*/ 217539 h 435078"/>
                <a:gd name="connsiteX3" fmla="*/ 0 w 435077"/>
                <a:gd name="connsiteY3" fmla="*/ 435079 h 435078"/>
                <a:gd name="connsiteX4" fmla="*/ 217539 w 435077"/>
                <a:gd name="connsiteY4" fmla="*/ 435079 h 435078"/>
                <a:gd name="connsiteX5" fmla="*/ 435077 w 435077"/>
                <a:gd name="connsiteY5" fmla="*/ 435079 h 435078"/>
                <a:gd name="connsiteX6" fmla="*/ 435077 w 435077"/>
                <a:gd name="connsiteY6" fmla="*/ 217539 h 435078"/>
                <a:gd name="connsiteX7" fmla="*/ 435077 w 435077"/>
                <a:gd name="connsiteY7" fmla="*/ 0 h 435078"/>
                <a:gd name="connsiteX8" fmla="*/ 217539 w 435077"/>
                <a:gd name="connsiteY8" fmla="*/ 0 h 435078"/>
                <a:gd name="connsiteX9" fmla="*/ 217539 w 435077"/>
                <a:gd name="connsiteY9" fmla="*/ 0 h 435078"/>
                <a:gd name="connsiteX10" fmla="*/ 435077 w 435077"/>
                <a:gd name="connsiteY10" fmla="*/ 217539 h 435078"/>
                <a:gd name="connsiteX11" fmla="*/ 217539 w 435077"/>
                <a:gd name="connsiteY11" fmla="*/ 435079 h 435078"/>
                <a:gd name="connsiteX12" fmla="*/ 0 w 435077"/>
                <a:gd name="connsiteY12" fmla="*/ 217539 h 435078"/>
                <a:gd name="connsiteX13" fmla="*/ 217539 w 435077"/>
                <a:gd name="connsiteY13"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8">
                  <a:moveTo>
                    <a:pt x="217539" y="0"/>
                  </a:moveTo>
                  <a:lnTo>
                    <a:pt x="0" y="0"/>
                  </a:lnTo>
                  <a:lnTo>
                    <a:pt x="0" y="217539"/>
                  </a:lnTo>
                  <a:lnTo>
                    <a:pt x="0" y="435079"/>
                  </a:lnTo>
                  <a:lnTo>
                    <a:pt x="217539" y="435079"/>
                  </a:lnTo>
                  <a:lnTo>
                    <a:pt x="435077" y="435079"/>
                  </a:lnTo>
                  <a:lnTo>
                    <a:pt x="435077" y="217539"/>
                  </a:lnTo>
                  <a:lnTo>
                    <a:pt x="435077" y="0"/>
                  </a:lnTo>
                  <a:lnTo>
                    <a:pt x="217539" y="0"/>
                  </a:lnTo>
                  <a:close/>
                  <a:moveTo>
                    <a:pt x="217539" y="0"/>
                  </a:moveTo>
                  <a:lnTo>
                    <a:pt x="435077" y="217539"/>
                  </a:lnTo>
                  <a:lnTo>
                    <a:pt x="217539" y="435079"/>
                  </a:lnTo>
                  <a:lnTo>
                    <a:pt x="0" y="217539"/>
                  </a:lnTo>
                  <a:lnTo>
                    <a:pt x="217539" y="0"/>
                  </a:lnTo>
                  <a:close/>
                </a:path>
              </a:pathLst>
            </a:custGeom>
            <a:grpFill/>
            <a:ln w="27192" cap="flat">
              <a:noFill/>
              <a:prstDash val="solid"/>
              <a:miter/>
            </a:ln>
          </p:spPr>
          <p:txBody>
            <a:bodyPr rtlCol="0" anchor="ctr"/>
            <a:lstStyle/>
            <a:p>
              <a:endParaRPr lang="uk-UA" sz="900"/>
            </a:p>
          </p:txBody>
        </p:sp>
        <p:sp>
          <p:nvSpPr>
            <p:cNvPr id="481" name="Freeform: Shape 480">
              <a:extLst>
                <a:ext uri="{FF2B5EF4-FFF2-40B4-BE49-F238E27FC236}">
                  <a16:creationId xmlns:a16="http://schemas.microsoft.com/office/drawing/2014/main" id="{2B6AB022-5D0E-977D-75F9-62740A31384C}"/>
                </a:ext>
              </a:extLst>
            </p:cNvPr>
            <p:cNvSpPr/>
            <p:nvPr/>
          </p:nvSpPr>
          <p:spPr>
            <a:xfrm>
              <a:off x="8667217" y="228598"/>
              <a:ext cx="435077" cy="435075"/>
            </a:xfrm>
            <a:custGeom>
              <a:avLst/>
              <a:gdLst>
                <a:gd name="connsiteX0" fmla="*/ 217539 w 435077"/>
                <a:gd name="connsiteY0" fmla="*/ 217540 h 435075"/>
                <a:gd name="connsiteX1" fmla="*/ 217539 w 435077"/>
                <a:gd name="connsiteY1" fmla="*/ 217537 h 435075"/>
                <a:gd name="connsiteX2" fmla="*/ 0 w 435077"/>
                <a:gd name="connsiteY2" fmla="*/ 0 h 435075"/>
                <a:gd name="connsiteX3" fmla="*/ 217539 w 435077"/>
                <a:gd name="connsiteY3" fmla="*/ 0 h 435075"/>
                <a:gd name="connsiteX4" fmla="*/ 217539 w 435077"/>
                <a:gd name="connsiteY4" fmla="*/ 5 h 435075"/>
                <a:gd name="connsiteX5" fmla="*/ 435077 w 435077"/>
                <a:gd name="connsiteY5" fmla="*/ 217533 h 435075"/>
                <a:gd name="connsiteX6" fmla="*/ 435077 w 435077"/>
                <a:gd name="connsiteY6" fmla="*/ 217533 h 435075"/>
                <a:gd name="connsiteX7" fmla="*/ 435077 w 435077"/>
                <a:gd name="connsiteY7" fmla="*/ 217538 h 435075"/>
                <a:gd name="connsiteX8" fmla="*/ 435077 w 435077"/>
                <a:gd name="connsiteY8" fmla="*/ 217542 h 435075"/>
                <a:gd name="connsiteX9" fmla="*/ 435077 w 435077"/>
                <a:gd name="connsiteY9" fmla="*/ 217542 h 435075"/>
                <a:gd name="connsiteX10" fmla="*/ 217539 w 435077"/>
                <a:gd name="connsiteY10" fmla="*/ 435071 h 435075"/>
                <a:gd name="connsiteX11" fmla="*/ 217539 w 435077"/>
                <a:gd name="connsiteY11" fmla="*/ 435076 h 435075"/>
                <a:gd name="connsiteX12" fmla="*/ 0 w 435077"/>
                <a:gd name="connsiteY12" fmla="*/ 435076 h 435075"/>
                <a:gd name="connsiteX13" fmla="*/ 217539 w 435077"/>
                <a:gd name="connsiteY13" fmla="*/ 217540 h 43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5">
                  <a:moveTo>
                    <a:pt x="217539" y="217540"/>
                  </a:moveTo>
                  <a:lnTo>
                    <a:pt x="217539" y="217537"/>
                  </a:lnTo>
                  <a:lnTo>
                    <a:pt x="0" y="0"/>
                  </a:lnTo>
                  <a:lnTo>
                    <a:pt x="217539" y="0"/>
                  </a:lnTo>
                  <a:lnTo>
                    <a:pt x="217539" y="5"/>
                  </a:lnTo>
                  <a:lnTo>
                    <a:pt x="435077" y="217533"/>
                  </a:lnTo>
                  <a:lnTo>
                    <a:pt x="435077" y="217533"/>
                  </a:lnTo>
                  <a:lnTo>
                    <a:pt x="435077" y="217538"/>
                  </a:lnTo>
                  <a:lnTo>
                    <a:pt x="435077" y="217542"/>
                  </a:lnTo>
                  <a:lnTo>
                    <a:pt x="435077" y="217542"/>
                  </a:lnTo>
                  <a:lnTo>
                    <a:pt x="217539" y="435071"/>
                  </a:lnTo>
                  <a:lnTo>
                    <a:pt x="217539" y="435076"/>
                  </a:lnTo>
                  <a:lnTo>
                    <a:pt x="0" y="435076"/>
                  </a:lnTo>
                  <a:lnTo>
                    <a:pt x="217539" y="217540"/>
                  </a:lnTo>
                  <a:close/>
                </a:path>
              </a:pathLst>
            </a:custGeom>
            <a:grpFill/>
            <a:ln w="27192" cap="flat">
              <a:noFill/>
              <a:prstDash val="solid"/>
              <a:miter/>
            </a:ln>
          </p:spPr>
          <p:txBody>
            <a:bodyPr rtlCol="0" anchor="ctr"/>
            <a:lstStyle/>
            <a:p>
              <a:endParaRPr lang="uk-UA" sz="900"/>
            </a:p>
          </p:txBody>
        </p:sp>
        <p:sp>
          <p:nvSpPr>
            <p:cNvPr id="482" name="Freeform: Shape 481">
              <a:extLst>
                <a:ext uri="{FF2B5EF4-FFF2-40B4-BE49-F238E27FC236}">
                  <a16:creationId xmlns:a16="http://schemas.microsoft.com/office/drawing/2014/main" id="{1672EB08-C639-7513-3FC3-388D42642FF8}"/>
                </a:ext>
              </a:extLst>
            </p:cNvPr>
            <p:cNvSpPr/>
            <p:nvPr/>
          </p:nvSpPr>
          <p:spPr>
            <a:xfrm>
              <a:off x="9537399" y="228598"/>
              <a:ext cx="435077" cy="435078"/>
            </a:xfrm>
            <a:custGeom>
              <a:avLst/>
              <a:gdLst>
                <a:gd name="connsiteX0" fmla="*/ 0 w 435077"/>
                <a:gd name="connsiteY0" fmla="*/ 435079 h 435078"/>
                <a:gd name="connsiteX1" fmla="*/ 217511 w 435077"/>
                <a:gd name="connsiteY1" fmla="*/ 435079 h 435078"/>
                <a:gd name="connsiteX2" fmla="*/ 217511 w 435077"/>
                <a:gd name="connsiteY2" fmla="*/ 217546 h 435078"/>
                <a:gd name="connsiteX3" fmla="*/ 0 w 435077"/>
                <a:gd name="connsiteY3" fmla="*/ 435079 h 435078"/>
                <a:gd name="connsiteX4" fmla="*/ 217511 w 435077"/>
                <a:gd name="connsiteY4" fmla="*/ 0 h 435078"/>
                <a:gd name="connsiteX5" fmla="*/ 0 w 435077"/>
                <a:gd name="connsiteY5" fmla="*/ 0 h 435078"/>
                <a:gd name="connsiteX6" fmla="*/ 217511 w 435077"/>
                <a:gd name="connsiteY6" fmla="*/ 217532 h 435078"/>
                <a:gd name="connsiteX7" fmla="*/ 217511 w 435077"/>
                <a:gd name="connsiteY7" fmla="*/ 0 h 435078"/>
                <a:gd name="connsiteX8" fmla="*/ 435077 w 435077"/>
                <a:gd name="connsiteY8" fmla="*/ 435079 h 435078"/>
                <a:gd name="connsiteX9" fmla="*/ 217539 w 435077"/>
                <a:gd name="connsiteY9" fmla="*/ 435079 h 435078"/>
                <a:gd name="connsiteX10" fmla="*/ 435077 w 435077"/>
                <a:gd name="connsiteY10" fmla="*/ 217546 h 435078"/>
                <a:gd name="connsiteX11" fmla="*/ 435077 w 435077"/>
                <a:gd name="connsiteY11" fmla="*/ 435079 h 435078"/>
                <a:gd name="connsiteX12" fmla="*/ 435077 w 435077"/>
                <a:gd name="connsiteY12" fmla="*/ 0 h 435078"/>
                <a:gd name="connsiteX13" fmla="*/ 217539 w 435077"/>
                <a:gd name="connsiteY13" fmla="*/ 0 h 435078"/>
                <a:gd name="connsiteX14" fmla="*/ 435077 w 435077"/>
                <a:gd name="connsiteY14" fmla="*/ 217532 h 435078"/>
                <a:gd name="connsiteX15" fmla="*/ 435077 w 435077"/>
                <a:gd name="connsiteY15"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8">
                  <a:moveTo>
                    <a:pt x="0" y="435079"/>
                  </a:moveTo>
                  <a:lnTo>
                    <a:pt x="217511" y="435079"/>
                  </a:lnTo>
                  <a:lnTo>
                    <a:pt x="217511" y="217546"/>
                  </a:lnTo>
                  <a:lnTo>
                    <a:pt x="0" y="435079"/>
                  </a:lnTo>
                  <a:close/>
                  <a:moveTo>
                    <a:pt x="217511" y="0"/>
                  </a:moveTo>
                  <a:lnTo>
                    <a:pt x="0" y="0"/>
                  </a:lnTo>
                  <a:lnTo>
                    <a:pt x="217511" y="217532"/>
                  </a:lnTo>
                  <a:lnTo>
                    <a:pt x="217511" y="0"/>
                  </a:lnTo>
                  <a:close/>
                  <a:moveTo>
                    <a:pt x="435077" y="435079"/>
                  </a:moveTo>
                  <a:lnTo>
                    <a:pt x="217539" y="435079"/>
                  </a:lnTo>
                  <a:lnTo>
                    <a:pt x="435077" y="217546"/>
                  </a:lnTo>
                  <a:lnTo>
                    <a:pt x="435077" y="435079"/>
                  </a:lnTo>
                  <a:close/>
                  <a:moveTo>
                    <a:pt x="435077" y="0"/>
                  </a:moveTo>
                  <a:lnTo>
                    <a:pt x="217539" y="0"/>
                  </a:lnTo>
                  <a:lnTo>
                    <a:pt x="435077" y="217532"/>
                  </a:lnTo>
                  <a:lnTo>
                    <a:pt x="435077" y="0"/>
                  </a:lnTo>
                  <a:close/>
                </a:path>
              </a:pathLst>
            </a:custGeom>
            <a:grpFill/>
            <a:ln w="27192" cap="flat">
              <a:noFill/>
              <a:prstDash val="solid"/>
              <a:miter/>
            </a:ln>
          </p:spPr>
          <p:txBody>
            <a:bodyPr rtlCol="0" anchor="ctr"/>
            <a:lstStyle/>
            <a:p>
              <a:endParaRPr lang="uk-UA" sz="900"/>
            </a:p>
          </p:txBody>
        </p:sp>
        <p:sp>
          <p:nvSpPr>
            <p:cNvPr id="483" name="Freeform: Shape 482">
              <a:extLst>
                <a:ext uri="{FF2B5EF4-FFF2-40B4-BE49-F238E27FC236}">
                  <a16:creationId xmlns:a16="http://schemas.microsoft.com/office/drawing/2014/main" id="{DB23C99E-A8C1-7329-881A-66B04598EC6E}"/>
                </a:ext>
              </a:extLst>
            </p:cNvPr>
            <p:cNvSpPr/>
            <p:nvPr/>
          </p:nvSpPr>
          <p:spPr>
            <a:xfrm>
              <a:off x="11277709" y="228598"/>
              <a:ext cx="435077" cy="435073"/>
            </a:xfrm>
            <a:custGeom>
              <a:avLst/>
              <a:gdLst>
                <a:gd name="connsiteX0" fmla="*/ 371365 w 435077"/>
                <a:gd name="connsiteY0" fmla="*/ 63716 h 435073"/>
                <a:gd name="connsiteX1" fmla="*/ 435077 w 435077"/>
                <a:gd name="connsiteY1" fmla="*/ 217539 h 435073"/>
                <a:gd name="connsiteX2" fmla="*/ 218953 w 435077"/>
                <a:gd name="connsiteY2" fmla="*/ 217539 h 435073"/>
                <a:gd name="connsiteX3" fmla="*/ 371365 w 435077"/>
                <a:gd name="connsiteY3" fmla="*/ 281249 h 435073"/>
                <a:gd name="connsiteX4" fmla="*/ 435077 w 435077"/>
                <a:gd name="connsiteY4" fmla="*/ 435073 h 435073"/>
                <a:gd name="connsiteX5" fmla="*/ 217539 w 435077"/>
                <a:gd name="connsiteY5" fmla="*/ 435073 h 435073"/>
                <a:gd name="connsiteX6" fmla="*/ 0 w 435077"/>
                <a:gd name="connsiteY6" fmla="*/ 435073 h 435073"/>
                <a:gd name="connsiteX7" fmla="*/ 63710 w 435077"/>
                <a:gd name="connsiteY7" fmla="*/ 281249 h 435073"/>
                <a:gd name="connsiteX8" fmla="*/ 216151 w 435077"/>
                <a:gd name="connsiteY8" fmla="*/ 217539 h 435073"/>
                <a:gd name="connsiteX9" fmla="*/ 0 w 435077"/>
                <a:gd name="connsiteY9" fmla="*/ 217539 h 435073"/>
                <a:gd name="connsiteX10" fmla="*/ 63710 w 435077"/>
                <a:gd name="connsiteY10" fmla="*/ 63716 h 435073"/>
                <a:gd name="connsiteX11" fmla="*/ 217539 w 435077"/>
                <a:gd name="connsiteY11" fmla="*/ 0 h 435073"/>
                <a:gd name="connsiteX12" fmla="*/ 371365 w 435077"/>
                <a:gd name="connsiteY12" fmla="*/ 63716 h 43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3">
                  <a:moveTo>
                    <a:pt x="371365" y="63716"/>
                  </a:moveTo>
                  <a:cubicBezTo>
                    <a:pt x="412154" y="104512"/>
                    <a:pt x="435077" y="159844"/>
                    <a:pt x="435077" y="217539"/>
                  </a:cubicBezTo>
                  <a:lnTo>
                    <a:pt x="218953" y="217539"/>
                  </a:lnTo>
                  <a:cubicBezTo>
                    <a:pt x="276137" y="217907"/>
                    <a:pt x="330902" y="240784"/>
                    <a:pt x="371365" y="281249"/>
                  </a:cubicBezTo>
                  <a:cubicBezTo>
                    <a:pt x="412154" y="322046"/>
                    <a:pt x="435077" y="377379"/>
                    <a:pt x="435077" y="435073"/>
                  </a:cubicBezTo>
                  <a:lnTo>
                    <a:pt x="217539" y="435073"/>
                  </a:lnTo>
                  <a:lnTo>
                    <a:pt x="0" y="435073"/>
                  </a:lnTo>
                  <a:cubicBezTo>
                    <a:pt x="0" y="377379"/>
                    <a:pt x="22922" y="322046"/>
                    <a:pt x="63710" y="281249"/>
                  </a:cubicBezTo>
                  <a:cubicBezTo>
                    <a:pt x="104174" y="240784"/>
                    <a:pt x="158938" y="217907"/>
                    <a:pt x="216151" y="217539"/>
                  </a:cubicBezTo>
                  <a:lnTo>
                    <a:pt x="0" y="217539"/>
                  </a:lnTo>
                  <a:cubicBezTo>
                    <a:pt x="0" y="159844"/>
                    <a:pt x="22922" y="104512"/>
                    <a:pt x="63710" y="63716"/>
                  </a:cubicBezTo>
                  <a:cubicBezTo>
                    <a:pt x="104499" y="22919"/>
                    <a:pt x="159836" y="0"/>
                    <a:pt x="217539" y="0"/>
                  </a:cubicBezTo>
                  <a:cubicBezTo>
                    <a:pt x="275239" y="0"/>
                    <a:pt x="330549" y="22919"/>
                    <a:pt x="371365" y="63716"/>
                  </a:cubicBezTo>
                  <a:close/>
                </a:path>
              </a:pathLst>
            </a:custGeom>
            <a:grpFill/>
            <a:ln w="27192" cap="flat">
              <a:noFill/>
              <a:prstDash val="solid"/>
              <a:miter/>
            </a:ln>
          </p:spPr>
          <p:txBody>
            <a:bodyPr rtlCol="0" anchor="ctr"/>
            <a:lstStyle/>
            <a:p>
              <a:endParaRPr lang="uk-UA" sz="900"/>
            </a:p>
          </p:txBody>
        </p:sp>
        <p:sp>
          <p:nvSpPr>
            <p:cNvPr id="484" name="Freeform: Shape 483">
              <a:extLst>
                <a:ext uri="{FF2B5EF4-FFF2-40B4-BE49-F238E27FC236}">
                  <a16:creationId xmlns:a16="http://schemas.microsoft.com/office/drawing/2014/main" id="{C891B117-E183-552B-5B8C-1ACF1479FAE3}"/>
                </a:ext>
              </a:extLst>
            </p:cNvPr>
            <p:cNvSpPr/>
            <p:nvPr/>
          </p:nvSpPr>
          <p:spPr>
            <a:xfrm>
              <a:off x="10407554" y="228598"/>
              <a:ext cx="435077" cy="435078"/>
            </a:xfrm>
            <a:custGeom>
              <a:avLst/>
              <a:gdLst>
                <a:gd name="connsiteX0" fmla="*/ 217539 w 435077"/>
                <a:gd name="connsiteY0" fmla="*/ 0 h 435078"/>
                <a:gd name="connsiteX1" fmla="*/ 0 w 435077"/>
                <a:gd name="connsiteY1" fmla="*/ 0 h 435078"/>
                <a:gd name="connsiteX2" fmla="*/ 0 w 435077"/>
                <a:gd name="connsiteY2" fmla="*/ 217539 h 435078"/>
                <a:gd name="connsiteX3" fmla="*/ 217539 w 435077"/>
                <a:gd name="connsiteY3" fmla="*/ 0 h 435078"/>
                <a:gd name="connsiteX4" fmla="*/ 435077 w 435077"/>
                <a:gd name="connsiteY4" fmla="*/ 0 h 435078"/>
                <a:gd name="connsiteX5" fmla="*/ 435077 w 435077"/>
                <a:gd name="connsiteY5" fmla="*/ 217539 h 435078"/>
                <a:gd name="connsiteX6" fmla="*/ 217539 w 435077"/>
                <a:gd name="connsiteY6" fmla="*/ 0 h 435078"/>
                <a:gd name="connsiteX7" fmla="*/ 435077 w 435077"/>
                <a:gd name="connsiteY7" fmla="*/ 0 h 435078"/>
                <a:gd name="connsiteX8" fmla="*/ 217539 w 435077"/>
                <a:gd name="connsiteY8" fmla="*/ 435079 h 435078"/>
                <a:gd name="connsiteX9" fmla="*/ 435077 w 435077"/>
                <a:gd name="connsiteY9" fmla="*/ 217539 h 435078"/>
                <a:gd name="connsiteX10" fmla="*/ 435077 w 435077"/>
                <a:gd name="connsiteY10" fmla="*/ 435079 h 435078"/>
                <a:gd name="connsiteX11" fmla="*/ 217539 w 435077"/>
                <a:gd name="connsiteY11" fmla="*/ 435079 h 435078"/>
                <a:gd name="connsiteX12" fmla="*/ 217539 w 435077"/>
                <a:gd name="connsiteY12" fmla="*/ 435079 h 435078"/>
                <a:gd name="connsiteX13" fmla="*/ 0 w 435077"/>
                <a:gd name="connsiteY13" fmla="*/ 217539 h 435078"/>
                <a:gd name="connsiteX14" fmla="*/ 0 w 435077"/>
                <a:gd name="connsiteY14" fmla="*/ 435079 h 435078"/>
                <a:gd name="connsiteX15" fmla="*/ 217539 w 435077"/>
                <a:gd name="connsiteY15" fmla="*/ 435079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8">
                  <a:moveTo>
                    <a:pt x="217539" y="0"/>
                  </a:moveTo>
                  <a:lnTo>
                    <a:pt x="0" y="0"/>
                  </a:lnTo>
                  <a:lnTo>
                    <a:pt x="0" y="217539"/>
                  </a:lnTo>
                  <a:lnTo>
                    <a:pt x="217539" y="0"/>
                  </a:lnTo>
                  <a:close/>
                  <a:moveTo>
                    <a:pt x="435077" y="0"/>
                  </a:moveTo>
                  <a:lnTo>
                    <a:pt x="435077" y="217539"/>
                  </a:lnTo>
                  <a:lnTo>
                    <a:pt x="217539" y="0"/>
                  </a:lnTo>
                  <a:lnTo>
                    <a:pt x="435077" y="0"/>
                  </a:lnTo>
                  <a:close/>
                  <a:moveTo>
                    <a:pt x="217539" y="435079"/>
                  </a:moveTo>
                  <a:lnTo>
                    <a:pt x="435077" y="217539"/>
                  </a:lnTo>
                  <a:lnTo>
                    <a:pt x="435077" y="435079"/>
                  </a:lnTo>
                  <a:lnTo>
                    <a:pt x="217539" y="435079"/>
                  </a:lnTo>
                  <a:close/>
                  <a:moveTo>
                    <a:pt x="217539" y="435079"/>
                  </a:moveTo>
                  <a:lnTo>
                    <a:pt x="0" y="217539"/>
                  </a:lnTo>
                  <a:lnTo>
                    <a:pt x="0" y="435079"/>
                  </a:lnTo>
                  <a:lnTo>
                    <a:pt x="217539" y="435079"/>
                  </a:lnTo>
                  <a:close/>
                </a:path>
              </a:pathLst>
            </a:custGeom>
            <a:grpFill/>
            <a:ln w="27192" cap="flat">
              <a:noFill/>
              <a:prstDash val="solid"/>
              <a:miter/>
            </a:ln>
          </p:spPr>
          <p:txBody>
            <a:bodyPr rtlCol="0" anchor="ctr"/>
            <a:lstStyle/>
            <a:p>
              <a:endParaRPr lang="uk-UA" sz="900"/>
            </a:p>
          </p:txBody>
        </p:sp>
        <p:sp>
          <p:nvSpPr>
            <p:cNvPr id="485" name="Freeform: Shape 484">
              <a:extLst>
                <a:ext uri="{FF2B5EF4-FFF2-40B4-BE49-F238E27FC236}">
                  <a16:creationId xmlns:a16="http://schemas.microsoft.com/office/drawing/2014/main" id="{DC84AB28-3539-005E-9DC2-C7BE5447525B}"/>
                </a:ext>
              </a:extLst>
            </p:cNvPr>
            <p:cNvSpPr/>
            <p:nvPr/>
          </p:nvSpPr>
          <p:spPr>
            <a:xfrm>
              <a:off x="12147836" y="228570"/>
              <a:ext cx="435077" cy="435076"/>
            </a:xfrm>
            <a:custGeom>
              <a:avLst/>
              <a:gdLst>
                <a:gd name="connsiteX0" fmla="*/ 217539 w 435077"/>
                <a:gd name="connsiteY0" fmla="*/ 217534 h 435076"/>
                <a:gd name="connsiteX1" fmla="*/ 217539 w 435077"/>
                <a:gd name="connsiteY1" fmla="*/ 0 h 435076"/>
                <a:gd name="connsiteX2" fmla="*/ 0 w 435077"/>
                <a:gd name="connsiteY2" fmla="*/ 0 h 435076"/>
                <a:gd name="connsiteX3" fmla="*/ 217539 w 435077"/>
                <a:gd name="connsiteY3" fmla="*/ 217538 h 435076"/>
                <a:gd name="connsiteX4" fmla="*/ 0 w 435077"/>
                <a:gd name="connsiteY4" fmla="*/ 435077 h 435076"/>
                <a:gd name="connsiteX5" fmla="*/ 217539 w 435077"/>
                <a:gd name="connsiteY5" fmla="*/ 435077 h 435076"/>
                <a:gd name="connsiteX6" fmla="*/ 217539 w 435077"/>
                <a:gd name="connsiteY6" fmla="*/ 435071 h 435076"/>
                <a:gd name="connsiteX7" fmla="*/ 435077 w 435077"/>
                <a:gd name="connsiteY7" fmla="*/ 217543 h 435076"/>
                <a:gd name="connsiteX8" fmla="*/ 435077 w 435077"/>
                <a:gd name="connsiteY8" fmla="*/ 217543 h 435076"/>
                <a:gd name="connsiteX9" fmla="*/ 435077 w 435077"/>
                <a:gd name="connsiteY9" fmla="*/ 217538 h 435076"/>
                <a:gd name="connsiteX10" fmla="*/ 435077 w 435077"/>
                <a:gd name="connsiteY10" fmla="*/ 217534 h 435076"/>
                <a:gd name="connsiteX11" fmla="*/ 435077 w 435077"/>
                <a:gd name="connsiteY11" fmla="*/ 217534 h 435076"/>
                <a:gd name="connsiteX12" fmla="*/ 217539 w 435077"/>
                <a:gd name="connsiteY12" fmla="*/ 5 h 435076"/>
                <a:gd name="connsiteX13" fmla="*/ 217539 w 435077"/>
                <a:gd name="connsiteY13" fmla="*/ 217534 h 435076"/>
                <a:gd name="connsiteX14" fmla="*/ 217539 w 435077"/>
                <a:gd name="connsiteY14" fmla="*/ 217534 h 435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6">
                  <a:moveTo>
                    <a:pt x="217539" y="217534"/>
                  </a:moveTo>
                  <a:lnTo>
                    <a:pt x="217539" y="0"/>
                  </a:lnTo>
                  <a:lnTo>
                    <a:pt x="0" y="0"/>
                  </a:lnTo>
                  <a:lnTo>
                    <a:pt x="217539" y="217538"/>
                  </a:lnTo>
                  <a:lnTo>
                    <a:pt x="0" y="435077"/>
                  </a:lnTo>
                  <a:lnTo>
                    <a:pt x="217539" y="435077"/>
                  </a:lnTo>
                  <a:lnTo>
                    <a:pt x="217539" y="435071"/>
                  </a:lnTo>
                  <a:lnTo>
                    <a:pt x="435077" y="217543"/>
                  </a:lnTo>
                  <a:lnTo>
                    <a:pt x="435077" y="217543"/>
                  </a:lnTo>
                  <a:lnTo>
                    <a:pt x="435077" y="217538"/>
                  </a:lnTo>
                  <a:lnTo>
                    <a:pt x="435077" y="217534"/>
                  </a:lnTo>
                  <a:lnTo>
                    <a:pt x="435077" y="217534"/>
                  </a:lnTo>
                  <a:lnTo>
                    <a:pt x="217539" y="5"/>
                  </a:lnTo>
                  <a:lnTo>
                    <a:pt x="217539" y="217534"/>
                  </a:lnTo>
                  <a:lnTo>
                    <a:pt x="217539" y="217534"/>
                  </a:lnTo>
                  <a:close/>
                </a:path>
              </a:pathLst>
            </a:custGeom>
            <a:grpFill/>
            <a:ln w="27192" cap="flat">
              <a:noFill/>
              <a:prstDash val="solid"/>
              <a:miter/>
            </a:ln>
          </p:spPr>
          <p:txBody>
            <a:bodyPr rtlCol="0" anchor="ctr"/>
            <a:lstStyle/>
            <a:p>
              <a:endParaRPr lang="uk-UA" sz="900"/>
            </a:p>
          </p:txBody>
        </p:sp>
        <p:sp>
          <p:nvSpPr>
            <p:cNvPr id="486" name="Freeform: Shape 485">
              <a:extLst>
                <a:ext uri="{FF2B5EF4-FFF2-40B4-BE49-F238E27FC236}">
                  <a16:creationId xmlns:a16="http://schemas.microsoft.com/office/drawing/2014/main" id="{86D90B4E-6DEE-CA1E-136B-E394C2CD9AF1}"/>
                </a:ext>
              </a:extLst>
            </p:cNvPr>
            <p:cNvSpPr/>
            <p:nvPr/>
          </p:nvSpPr>
          <p:spPr>
            <a:xfrm>
              <a:off x="13018045" y="228598"/>
              <a:ext cx="435077" cy="435078"/>
            </a:xfrm>
            <a:custGeom>
              <a:avLst/>
              <a:gdLst>
                <a:gd name="connsiteX0" fmla="*/ 0 w 435077"/>
                <a:gd name="connsiteY0" fmla="*/ 435079 h 435078"/>
                <a:gd name="connsiteX1" fmla="*/ 217539 w 435077"/>
                <a:gd name="connsiteY1" fmla="*/ 435079 h 435078"/>
                <a:gd name="connsiteX2" fmla="*/ 217539 w 435077"/>
                <a:gd name="connsiteY2" fmla="*/ 217546 h 435078"/>
                <a:gd name="connsiteX3" fmla="*/ 0 w 435077"/>
                <a:gd name="connsiteY3" fmla="*/ 435079 h 435078"/>
                <a:gd name="connsiteX4" fmla="*/ 217539 w 435077"/>
                <a:gd name="connsiteY4" fmla="*/ 0 h 435078"/>
                <a:gd name="connsiteX5" fmla="*/ 0 w 435077"/>
                <a:gd name="connsiteY5" fmla="*/ 0 h 435078"/>
                <a:gd name="connsiteX6" fmla="*/ 217539 w 435077"/>
                <a:gd name="connsiteY6" fmla="*/ 217532 h 435078"/>
                <a:gd name="connsiteX7" fmla="*/ 217539 w 435077"/>
                <a:gd name="connsiteY7" fmla="*/ 0 h 435078"/>
                <a:gd name="connsiteX8" fmla="*/ 435077 w 435077"/>
                <a:gd name="connsiteY8" fmla="*/ 435079 h 435078"/>
                <a:gd name="connsiteX9" fmla="*/ 217539 w 435077"/>
                <a:gd name="connsiteY9" fmla="*/ 435079 h 435078"/>
                <a:gd name="connsiteX10" fmla="*/ 435077 w 435077"/>
                <a:gd name="connsiteY10" fmla="*/ 217546 h 435078"/>
                <a:gd name="connsiteX11" fmla="*/ 435077 w 435077"/>
                <a:gd name="connsiteY11" fmla="*/ 435079 h 435078"/>
                <a:gd name="connsiteX12" fmla="*/ 435077 w 435077"/>
                <a:gd name="connsiteY12" fmla="*/ 0 h 435078"/>
                <a:gd name="connsiteX13" fmla="*/ 217539 w 435077"/>
                <a:gd name="connsiteY13" fmla="*/ 0 h 435078"/>
                <a:gd name="connsiteX14" fmla="*/ 435077 w 435077"/>
                <a:gd name="connsiteY14" fmla="*/ 217532 h 435078"/>
                <a:gd name="connsiteX15" fmla="*/ 435077 w 435077"/>
                <a:gd name="connsiteY15"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8">
                  <a:moveTo>
                    <a:pt x="0" y="435079"/>
                  </a:moveTo>
                  <a:lnTo>
                    <a:pt x="217539" y="435079"/>
                  </a:lnTo>
                  <a:lnTo>
                    <a:pt x="217539" y="217546"/>
                  </a:lnTo>
                  <a:lnTo>
                    <a:pt x="0" y="435079"/>
                  </a:lnTo>
                  <a:close/>
                  <a:moveTo>
                    <a:pt x="217539" y="0"/>
                  </a:moveTo>
                  <a:lnTo>
                    <a:pt x="0" y="0"/>
                  </a:lnTo>
                  <a:lnTo>
                    <a:pt x="217539" y="217532"/>
                  </a:lnTo>
                  <a:lnTo>
                    <a:pt x="217539" y="0"/>
                  </a:lnTo>
                  <a:close/>
                  <a:moveTo>
                    <a:pt x="435077" y="435079"/>
                  </a:moveTo>
                  <a:lnTo>
                    <a:pt x="217539" y="435079"/>
                  </a:lnTo>
                  <a:lnTo>
                    <a:pt x="435077" y="217546"/>
                  </a:lnTo>
                  <a:lnTo>
                    <a:pt x="435077" y="435079"/>
                  </a:lnTo>
                  <a:close/>
                  <a:moveTo>
                    <a:pt x="435077" y="0"/>
                  </a:moveTo>
                  <a:lnTo>
                    <a:pt x="217539" y="0"/>
                  </a:lnTo>
                  <a:lnTo>
                    <a:pt x="435077" y="217532"/>
                  </a:lnTo>
                  <a:lnTo>
                    <a:pt x="435077" y="0"/>
                  </a:lnTo>
                  <a:close/>
                </a:path>
              </a:pathLst>
            </a:custGeom>
            <a:grpFill/>
            <a:ln w="27192" cap="flat">
              <a:noFill/>
              <a:prstDash val="solid"/>
              <a:miter/>
            </a:ln>
          </p:spPr>
          <p:txBody>
            <a:bodyPr rtlCol="0" anchor="ctr"/>
            <a:lstStyle/>
            <a:p>
              <a:endParaRPr lang="uk-UA" sz="900"/>
            </a:p>
          </p:txBody>
        </p:sp>
        <p:sp>
          <p:nvSpPr>
            <p:cNvPr id="487" name="Freeform: Shape 486">
              <a:extLst>
                <a:ext uri="{FF2B5EF4-FFF2-40B4-BE49-F238E27FC236}">
                  <a16:creationId xmlns:a16="http://schemas.microsoft.com/office/drawing/2014/main" id="{E46F1A34-EB43-1500-24B7-7ECECB658909}"/>
                </a:ext>
              </a:extLst>
            </p:cNvPr>
            <p:cNvSpPr/>
            <p:nvPr/>
          </p:nvSpPr>
          <p:spPr>
            <a:xfrm>
              <a:off x="14758382" y="228598"/>
              <a:ext cx="435077" cy="435073"/>
            </a:xfrm>
            <a:custGeom>
              <a:avLst/>
              <a:gdLst>
                <a:gd name="connsiteX0" fmla="*/ 371367 w 435077"/>
                <a:gd name="connsiteY0" fmla="*/ 63716 h 435073"/>
                <a:gd name="connsiteX1" fmla="*/ 435077 w 435077"/>
                <a:gd name="connsiteY1" fmla="*/ 217539 h 435073"/>
                <a:gd name="connsiteX2" fmla="*/ 218953 w 435077"/>
                <a:gd name="connsiteY2" fmla="*/ 217539 h 435073"/>
                <a:gd name="connsiteX3" fmla="*/ 371367 w 435077"/>
                <a:gd name="connsiteY3" fmla="*/ 281249 h 435073"/>
                <a:gd name="connsiteX4" fmla="*/ 435077 w 435077"/>
                <a:gd name="connsiteY4" fmla="*/ 435073 h 435073"/>
                <a:gd name="connsiteX5" fmla="*/ 217539 w 435077"/>
                <a:gd name="connsiteY5" fmla="*/ 435073 h 435073"/>
                <a:gd name="connsiteX6" fmla="*/ 0 w 435077"/>
                <a:gd name="connsiteY6" fmla="*/ 435073 h 435073"/>
                <a:gd name="connsiteX7" fmla="*/ 63712 w 435077"/>
                <a:gd name="connsiteY7" fmla="*/ 281249 h 435073"/>
                <a:gd name="connsiteX8" fmla="*/ 216125 w 435077"/>
                <a:gd name="connsiteY8" fmla="*/ 217539 h 435073"/>
                <a:gd name="connsiteX9" fmla="*/ 0 w 435077"/>
                <a:gd name="connsiteY9" fmla="*/ 217539 h 435073"/>
                <a:gd name="connsiteX10" fmla="*/ 63712 w 435077"/>
                <a:gd name="connsiteY10" fmla="*/ 63716 h 435073"/>
                <a:gd name="connsiteX11" fmla="*/ 217539 w 435077"/>
                <a:gd name="connsiteY11" fmla="*/ 0 h 435073"/>
                <a:gd name="connsiteX12" fmla="*/ 371367 w 435077"/>
                <a:gd name="connsiteY12" fmla="*/ 63716 h 43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3">
                  <a:moveTo>
                    <a:pt x="371367" y="63716"/>
                  </a:moveTo>
                  <a:cubicBezTo>
                    <a:pt x="412155" y="104512"/>
                    <a:pt x="435077" y="159844"/>
                    <a:pt x="435077" y="217539"/>
                  </a:cubicBezTo>
                  <a:lnTo>
                    <a:pt x="218953" y="217539"/>
                  </a:lnTo>
                  <a:cubicBezTo>
                    <a:pt x="276139" y="217907"/>
                    <a:pt x="330904" y="240784"/>
                    <a:pt x="371367" y="281249"/>
                  </a:cubicBezTo>
                  <a:cubicBezTo>
                    <a:pt x="412155" y="322046"/>
                    <a:pt x="435077" y="377379"/>
                    <a:pt x="435077" y="435073"/>
                  </a:cubicBezTo>
                  <a:lnTo>
                    <a:pt x="217539" y="435073"/>
                  </a:lnTo>
                  <a:lnTo>
                    <a:pt x="0" y="435073"/>
                  </a:lnTo>
                  <a:cubicBezTo>
                    <a:pt x="0" y="377379"/>
                    <a:pt x="22924" y="322046"/>
                    <a:pt x="63712" y="281249"/>
                  </a:cubicBezTo>
                  <a:cubicBezTo>
                    <a:pt x="104174" y="240784"/>
                    <a:pt x="158940" y="217907"/>
                    <a:pt x="216125" y="217539"/>
                  </a:cubicBezTo>
                  <a:lnTo>
                    <a:pt x="0" y="217539"/>
                  </a:lnTo>
                  <a:cubicBezTo>
                    <a:pt x="0" y="159844"/>
                    <a:pt x="22924" y="104512"/>
                    <a:pt x="63712" y="63716"/>
                  </a:cubicBezTo>
                  <a:cubicBezTo>
                    <a:pt x="104501" y="22919"/>
                    <a:pt x="159836" y="0"/>
                    <a:pt x="217539" y="0"/>
                  </a:cubicBezTo>
                  <a:cubicBezTo>
                    <a:pt x="275241" y="0"/>
                    <a:pt x="330550" y="22919"/>
                    <a:pt x="371367" y="63716"/>
                  </a:cubicBezTo>
                  <a:close/>
                </a:path>
              </a:pathLst>
            </a:custGeom>
            <a:grpFill/>
            <a:ln w="27192" cap="flat">
              <a:noFill/>
              <a:prstDash val="solid"/>
              <a:miter/>
            </a:ln>
          </p:spPr>
          <p:txBody>
            <a:bodyPr rtlCol="0" anchor="ctr"/>
            <a:lstStyle/>
            <a:p>
              <a:endParaRPr lang="uk-UA" sz="900"/>
            </a:p>
          </p:txBody>
        </p:sp>
        <p:sp>
          <p:nvSpPr>
            <p:cNvPr id="488" name="Freeform: Shape 487">
              <a:extLst>
                <a:ext uri="{FF2B5EF4-FFF2-40B4-BE49-F238E27FC236}">
                  <a16:creationId xmlns:a16="http://schemas.microsoft.com/office/drawing/2014/main" id="{92C0726B-1B99-BB1A-4688-10F31BFB2E8A}"/>
                </a:ext>
              </a:extLst>
            </p:cNvPr>
            <p:cNvSpPr/>
            <p:nvPr/>
          </p:nvSpPr>
          <p:spPr>
            <a:xfrm>
              <a:off x="13888200" y="228598"/>
              <a:ext cx="435077" cy="435078"/>
            </a:xfrm>
            <a:custGeom>
              <a:avLst/>
              <a:gdLst>
                <a:gd name="connsiteX0" fmla="*/ 217565 w 435077"/>
                <a:gd name="connsiteY0" fmla="*/ 0 h 435078"/>
                <a:gd name="connsiteX1" fmla="*/ 217539 w 435077"/>
                <a:gd name="connsiteY1" fmla="*/ 0 h 435078"/>
                <a:gd name="connsiteX2" fmla="*/ 27 w 435077"/>
                <a:gd name="connsiteY2" fmla="*/ 0 h 435078"/>
                <a:gd name="connsiteX3" fmla="*/ 27 w 435077"/>
                <a:gd name="connsiteY3" fmla="*/ 217539 h 435078"/>
                <a:gd name="connsiteX4" fmla="*/ 217565 w 435077"/>
                <a:gd name="connsiteY4" fmla="*/ 7 h 435078"/>
                <a:gd name="connsiteX5" fmla="*/ 435077 w 435077"/>
                <a:gd name="connsiteY5" fmla="*/ 217539 h 435078"/>
                <a:gd name="connsiteX6" fmla="*/ 217539 w 435077"/>
                <a:gd name="connsiteY6" fmla="*/ 435079 h 435078"/>
                <a:gd name="connsiteX7" fmla="*/ 0 w 435077"/>
                <a:gd name="connsiteY7" fmla="*/ 217539 h 435078"/>
                <a:gd name="connsiteX8" fmla="*/ 0 w 435077"/>
                <a:gd name="connsiteY8" fmla="*/ 435079 h 435078"/>
                <a:gd name="connsiteX9" fmla="*/ 217539 w 435077"/>
                <a:gd name="connsiteY9" fmla="*/ 435079 h 435078"/>
                <a:gd name="connsiteX10" fmla="*/ 435077 w 435077"/>
                <a:gd name="connsiteY10" fmla="*/ 435079 h 435078"/>
                <a:gd name="connsiteX11" fmla="*/ 435077 w 435077"/>
                <a:gd name="connsiteY11" fmla="*/ 217539 h 435078"/>
                <a:gd name="connsiteX12" fmla="*/ 435077 w 435077"/>
                <a:gd name="connsiteY12" fmla="*/ 0 h 435078"/>
                <a:gd name="connsiteX13" fmla="*/ 217565 w 435077"/>
                <a:gd name="connsiteY13"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8">
                  <a:moveTo>
                    <a:pt x="217565" y="0"/>
                  </a:moveTo>
                  <a:lnTo>
                    <a:pt x="217539" y="0"/>
                  </a:lnTo>
                  <a:lnTo>
                    <a:pt x="27" y="0"/>
                  </a:lnTo>
                  <a:lnTo>
                    <a:pt x="27" y="217539"/>
                  </a:lnTo>
                  <a:lnTo>
                    <a:pt x="217565" y="7"/>
                  </a:lnTo>
                  <a:lnTo>
                    <a:pt x="435077" y="217539"/>
                  </a:lnTo>
                  <a:lnTo>
                    <a:pt x="217539" y="435079"/>
                  </a:lnTo>
                  <a:lnTo>
                    <a:pt x="0" y="217539"/>
                  </a:lnTo>
                  <a:lnTo>
                    <a:pt x="0" y="435079"/>
                  </a:lnTo>
                  <a:lnTo>
                    <a:pt x="217539" y="435079"/>
                  </a:lnTo>
                  <a:lnTo>
                    <a:pt x="435077" y="435079"/>
                  </a:lnTo>
                  <a:lnTo>
                    <a:pt x="435077" y="217539"/>
                  </a:lnTo>
                  <a:lnTo>
                    <a:pt x="435077" y="0"/>
                  </a:lnTo>
                  <a:lnTo>
                    <a:pt x="217565" y="0"/>
                  </a:lnTo>
                  <a:close/>
                </a:path>
              </a:pathLst>
            </a:custGeom>
            <a:grpFill/>
            <a:ln w="27192" cap="flat">
              <a:noFill/>
              <a:prstDash val="solid"/>
              <a:miter/>
            </a:ln>
          </p:spPr>
          <p:txBody>
            <a:bodyPr rtlCol="0" anchor="ctr"/>
            <a:lstStyle/>
            <a:p>
              <a:endParaRPr lang="uk-UA" sz="900"/>
            </a:p>
          </p:txBody>
        </p:sp>
        <p:sp>
          <p:nvSpPr>
            <p:cNvPr id="489" name="Freeform: Shape 488">
              <a:extLst>
                <a:ext uri="{FF2B5EF4-FFF2-40B4-BE49-F238E27FC236}">
                  <a16:creationId xmlns:a16="http://schemas.microsoft.com/office/drawing/2014/main" id="{209C3DAC-39E3-5C3C-37B7-6FF10DC19D62}"/>
                </a:ext>
              </a:extLst>
            </p:cNvPr>
            <p:cNvSpPr/>
            <p:nvPr/>
          </p:nvSpPr>
          <p:spPr>
            <a:xfrm>
              <a:off x="15628536" y="228598"/>
              <a:ext cx="435077" cy="435075"/>
            </a:xfrm>
            <a:custGeom>
              <a:avLst/>
              <a:gdLst>
                <a:gd name="connsiteX0" fmla="*/ 217539 w 435077"/>
                <a:gd name="connsiteY0" fmla="*/ 217540 h 435075"/>
                <a:gd name="connsiteX1" fmla="*/ 217539 w 435077"/>
                <a:gd name="connsiteY1" fmla="*/ 217537 h 435075"/>
                <a:gd name="connsiteX2" fmla="*/ 0 w 435077"/>
                <a:gd name="connsiteY2" fmla="*/ 0 h 435075"/>
                <a:gd name="connsiteX3" fmla="*/ 217539 w 435077"/>
                <a:gd name="connsiteY3" fmla="*/ 0 h 435075"/>
                <a:gd name="connsiteX4" fmla="*/ 217539 w 435077"/>
                <a:gd name="connsiteY4" fmla="*/ 5 h 435075"/>
                <a:gd name="connsiteX5" fmla="*/ 435077 w 435077"/>
                <a:gd name="connsiteY5" fmla="*/ 217533 h 435075"/>
                <a:gd name="connsiteX6" fmla="*/ 435077 w 435077"/>
                <a:gd name="connsiteY6" fmla="*/ 217533 h 435075"/>
                <a:gd name="connsiteX7" fmla="*/ 435077 w 435077"/>
                <a:gd name="connsiteY7" fmla="*/ 217538 h 435075"/>
                <a:gd name="connsiteX8" fmla="*/ 435077 w 435077"/>
                <a:gd name="connsiteY8" fmla="*/ 217542 h 435075"/>
                <a:gd name="connsiteX9" fmla="*/ 435077 w 435077"/>
                <a:gd name="connsiteY9" fmla="*/ 217542 h 435075"/>
                <a:gd name="connsiteX10" fmla="*/ 217539 w 435077"/>
                <a:gd name="connsiteY10" fmla="*/ 435071 h 435075"/>
                <a:gd name="connsiteX11" fmla="*/ 217539 w 435077"/>
                <a:gd name="connsiteY11" fmla="*/ 435076 h 435075"/>
                <a:gd name="connsiteX12" fmla="*/ 0 w 435077"/>
                <a:gd name="connsiteY12" fmla="*/ 435076 h 435075"/>
                <a:gd name="connsiteX13" fmla="*/ 217539 w 435077"/>
                <a:gd name="connsiteY13" fmla="*/ 217540 h 43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5">
                  <a:moveTo>
                    <a:pt x="217539" y="217540"/>
                  </a:moveTo>
                  <a:lnTo>
                    <a:pt x="217539" y="217537"/>
                  </a:lnTo>
                  <a:lnTo>
                    <a:pt x="0" y="0"/>
                  </a:lnTo>
                  <a:lnTo>
                    <a:pt x="217539" y="0"/>
                  </a:lnTo>
                  <a:lnTo>
                    <a:pt x="217539" y="5"/>
                  </a:lnTo>
                  <a:lnTo>
                    <a:pt x="435077" y="217533"/>
                  </a:lnTo>
                  <a:lnTo>
                    <a:pt x="435077" y="217533"/>
                  </a:lnTo>
                  <a:lnTo>
                    <a:pt x="435077" y="217538"/>
                  </a:lnTo>
                  <a:lnTo>
                    <a:pt x="435077" y="217542"/>
                  </a:lnTo>
                  <a:lnTo>
                    <a:pt x="435077" y="217542"/>
                  </a:lnTo>
                  <a:lnTo>
                    <a:pt x="217539" y="435071"/>
                  </a:lnTo>
                  <a:lnTo>
                    <a:pt x="217539" y="435076"/>
                  </a:lnTo>
                  <a:lnTo>
                    <a:pt x="0" y="435076"/>
                  </a:lnTo>
                  <a:lnTo>
                    <a:pt x="217539" y="217540"/>
                  </a:lnTo>
                  <a:close/>
                </a:path>
              </a:pathLst>
            </a:custGeom>
            <a:grpFill/>
            <a:ln w="27192" cap="flat">
              <a:noFill/>
              <a:prstDash val="solid"/>
              <a:miter/>
            </a:ln>
          </p:spPr>
          <p:txBody>
            <a:bodyPr rtlCol="0" anchor="ctr"/>
            <a:lstStyle/>
            <a:p>
              <a:endParaRPr lang="uk-UA" sz="900"/>
            </a:p>
          </p:txBody>
        </p:sp>
        <p:sp>
          <p:nvSpPr>
            <p:cNvPr id="490" name="Freeform: Shape 489">
              <a:extLst>
                <a:ext uri="{FF2B5EF4-FFF2-40B4-BE49-F238E27FC236}">
                  <a16:creationId xmlns:a16="http://schemas.microsoft.com/office/drawing/2014/main" id="{83CEA7E7-BEF6-FB8B-79D6-074E18FA7757}"/>
                </a:ext>
              </a:extLst>
            </p:cNvPr>
            <p:cNvSpPr/>
            <p:nvPr/>
          </p:nvSpPr>
          <p:spPr>
            <a:xfrm>
              <a:off x="16498719" y="228598"/>
              <a:ext cx="435077" cy="435078"/>
            </a:xfrm>
            <a:custGeom>
              <a:avLst/>
              <a:gdLst>
                <a:gd name="connsiteX0" fmla="*/ 0 w 435077"/>
                <a:gd name="connsiteY0" fmla="*/ 435079 h 435078"/>
                <a:gd name="connsiteX1" fmla="*/ 217510 w 435077"/>
                <a:gd name="connsiteY1" fmla="*/ 435079 h 435078"/>
                <a:gd name="connsiteX2" fmla="*/ 217510 w 435077"/>
                <a:gd name="connsiteY2" fmla="*/ 217546 h 435078"/>
                <a:gd name="connsiteX3" fmla="*/ 0 w 435077"/>
                <a:gd name="connsiteY3" fmla="*/ 435079 h 435078"/>
                <a:gd name="connsiteX4" fmla="*/ 217510 w 435077"/>
                <a:gd name="connsiteY4" fmla="*/ 0 h 435078"/>
                <a:gd name="connsiteX5" fmla="*/ 0 w 435077"/>
                <a:gd name="connsiteY5" fmla="*/ 0 h 435078"/>
                <a:gd name="connsiteX6" fmla="*/ 217510 w 435077"/>
                <a:gd name="connsiteY6" fmla="*/ 217532 h 435078"/>
                <a:gd name="connsiteX7" fmla="*/ 217510 w 435077"/>
                <a:gd name="connsiteY7" fmla="*/ 0 h 435078"/>
                <a:gd name="connsiteX8" fmla="*/ 435077 w 435077"/>
                <a:gd name="connsiteY8" fmla="*/ 435079 h 435078"/>
                <a:gd name="connsiteX9" fmla="*/ 217539 w 435077"/>
                <a:gd name="connsiteY9" fmla="*/ 435079 h 435078"/>
                <a:gd name="connsiteX10" fmla="*/ 435077 w 435077"/>
                <a:gd name="connsiteY10" fmla="*/ 217546 h 435078"/>
                <a:gd name="connsiteX11" fmla="*/ 435077 w 435077"/>
                <a:gd name="connsiteY11" fmla="*/ 435079 h 435078"/>
                <a:gd name="connsiteX12" fmla="*/ 435077 w 435077"/>
                <a:gd name="connsiteY12" fmla="*/ 0 h 435078"/>
                <a:gd name="connsiteX13" fmla="*/ 217539 w 435077"/>
                <a:gd name="connsiteY13" fmla="*/ 0 h 435078"/>
                <a:gd name="connsiteX14" fmla="*/ 435077 w 435077"/>
                <a:gd name="connsiteY14" fmla="*/ 217532 h 435078"/>
                <a:gd name="connsiteX15" fmla="*/ 435077 w 435077"/>
                <a:gd name="connsiteY15"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8">
                  <a:moveTo>
                    <a:pt x="0" y="435079"/>
                  </a:moveTo>
                  <a:lnTo>
                    <a:pt x="217510" y="435079"/>
                  </a:lnTo>
                  <a:lnTo>
                    <a:pt x="217510" y="217546"/>
                  </a:lnTo>
                  <a:lnTo>
                    <a:pt x="0" y="435079"/>
                  </a:lnTo>
                  <a:close/>
                  <a:moveTo>
                    <a:pt x="217510" y="0"/>
                  </a:moveTo>
                  <a:lnTo>
                    <a:pt x="0" y="0"/>
                  </a:lnTo>
                  <a:lnTo>
                    <a:pt x="217510" y="217532"/>
                  </a:lnTo>
                  <a:lnTo>
                    <a:pt x="217510" y="0"/>
                  </a:lnTo>
                  <a:close/>
                  <a:moveTo>
                    <a:pt x="435077" y="435079"/>
                  </a:moveTo>
                  <a:lnTo>
                    <a:pt x="217539" y="435079"/>
                  </a:lnTo>
                  <a:lnTo>
                    <a:pt x="435077" y="217546"/>
                  </a:lnTo>
                  <a:lnTo>
                    <a:pt x="435077" y="435079"/>
                  </a:lnTo>
                  <a:close/>
                  <a:moveTo>
                    <a:pt x="435077" y="0"/>
                  </a:moveTo>
                  <a:lnTo>
                    <a:pt x="217539" y="0"/>
                  </a:lnTo>
                  <a:lnTo>
                    <a:pt x="435077" y="217532"/>
                  </a:lnTo>
                  <a:lnTo>
                    <a:pt x="435077" y="0"/>
                  </a:lnTo>
                  <a:close/>
                </a:path>
              </a:pathLst>
            </a:custGeom>
            <a:grpFill/>
            <a:ln w="27192" cap="flat">
              <a:noFill/>
              <a:prstDash val="solid"/>
              <a:miter/>
            </a:ln>
          </p:spPr>
          <p:txBody>
            <a:bodyPr rtlCol="0" anchor="ctr"/>
            <a:lstStyle/>
            <a:p>
              <a:endParaRPr lang="uk-UA" sz="900"/>
            </a:p>
          </p:txBody>
        </p:sp>
        <p:sp>
          <p:nvSpPr>
            <p:cNvPr id="491" name="Freeform: Shape 490">
              <a:extLst>
                <a:ext uri="{FF2B5EF4-FFF2-40B4-BE49-F238E27FC236}">
                  <a16:creationId xmlns:a16="http://schemas.microsoft.com/office/drawing/2014/main" id="{B6C15501-A2DD-D6FD-594D-2993D0898DC7}"/>
                </a:ext>
              </a:extLst>
            </p:cNvPr>
            <p:cNvSpPr/>
            <p:nvPr/>
          </p:nvSpPr>
          <p:spPr>
            <a:xfrm>
              <a:off x="18239029" y="228598"/>
              <a:ext cx="435077" cy="435073"/>
            </a:xfrm>
            <a:custGeom>
              <a:avLst/>
              <a:gdLst>
                <a:gd name="connsiteX0" fmla="*/ 371365 w 435077"/>
                <a:gd name="connsiteY0" fmla="*/ 63716 h 435073"/>
                <a:gd name="connsiteX1" fmla="*/ 435077 w 435077"/>
                <a:gd name="connsiteY1" fmla="*/ 217539 h 435073"/>
                <a:gd name="connsiteX2" fmla="*/ 218953 w 435077"/>
                <a:gd name="connsiteY2" fmla="*/ 217539 h 435073"/>
                <a:gd name="connsiteX3" fmla="*/ 371365 w 435077"/>
                <a:gd name="connsiteY3" fmla="*/ 281249 h 435073"/>
                <a:gd name="connsiteX4" fmla="*/ 435077 w 435077"/>
                <a:gd name="connsiteY4" fmla="*/ 435073 h 435073"/>
                <a:gd name="connsiteX5" fmla="*/ 217539 w 435077"/>
                <a:gd name="connsiteY5" fmla="*/ 435073 h 435073"/>
                <a:gd name="connsiteX6" fmla="*/ 0 w 435077"/>
                <a:gd name="connsiteY6" fmla="*/ 435073 h 435073"/>
                <a:gd name="connsiteX7" fmla="*/ 63710 w 435077"/>
                <a:gd name="connsiteY7" fmla="*/ 281249 h 435073"/>
                <a:gd name="connsiteX8" fmla="*/ 216151 w 435077"/>
                <a:gd name="connsiteY8" fmla="*/ 217539 h 435073"/>
                <a:gd name="connsiteX9" fmla="*/ 0 w 435077"/>
                <a:gd name="connsiteY9" fmla="*/ 217539 h 435073"/>
                <a:gd name="connsiteX10" fmla="*/ 63710 w 435077"/>
                <a:gd name="connsiteY10" fmla="*/ 63716 h 435073"/>
                <a:gd name="connsiteX11" fmla="*/ 217539 w 435077"/>
                <a:gd name="connsiteY11" fmla="*/ 0 h 435073"/>
                <a:gd name="connsiteX12" fmla="*/ 371365 w 435077"/>
                <a:gd name="connsiteY12" fmla="*/ 63716 h 43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3">
                  <a:moveTo>
                    <a:pt x="371365" y="63716"/>
                  </a:moveTo>
                  <a:cubicBezTo>
                    <a:pt x="412154" y="104512"/>
                    <a:pt x="435077" y="159844"/>
                    <a:pt x="435077" y="217539"/>
                  </a:cubicBezTo>
                  <a:lnTo>
                    <a:pt x="218953" y="217539"/>
                  </a:lnTo>
                  <a:cubicBezTo>
                    <a:pt x="276137" y="217907"/>
                    <a:pt x="330904" y="240784"/>
                    <a:pt x="371365" y="281249"/>
                  </a:cubicBezTo>
                  <a:cubicBezTo>
                    <a:pt x="412154" y="322046"/>
                    <a:pt x="435077" y="377379"/>
                    <a:pt x="435077" y="435073"/>
                  </a:cubicBezTo>
                  <a:lnTo>
                    <a:pt x="217539" y="435073"/>
                  </a:lnTo>
                  <a:lnTo>
                    <a:pt x="0" y="435073"/>
                  </a:lnTo>
                  <a:cubicBezTo>
                    <a:pt x="0" y="377379"/>
                    <a:pt x="22922" y="322046"/>
                    <a:pt x="63710" y="281249"/>
                  </a:cubicBezTo>
                  <a:cubicBezTo>
                    <a:pt x="104200" y="240784"/>
                    <a:pt x="158967" y="217907"/>
                    <a:pt x="216151" y="217539"/>
                  </a:cubicBezTo>
                  <a:lnTo>
                    <a:pt x="0" y="217539"/>
                  </a:lnTo>
                  <a:cubicBezTo>
                    <a:pt x="0" y="159844"/>
                    <a:pt x="22922" y="104512"/>
                    <a:pt x="63710" y="63716"/>
                  </a:cubicBezTo>
                  <a:cubicBezTo>
                    <a:pt x="104527" y="22919"/>
                    <a:pt x="159836" y="0"/>
                    <a:pt x="217539" y="0"/>
                  </a:cubicBezTo>
                  <a:cubicBezTo>
                    <a:pt x="275241" y="0"/>
                    <a:pt x="330577" y="22919"/>
                    <a:pt x="371365" y="63716"/>
                  </a:cubicBezTo>
                  <a:close/>
                </a:path>
              </a:pathLst>
            </a:custGeom>
            <a:grpFill/>
            <a:ln w="27192" cap="flat">
              <a:noFill/>
              <a:prstDash val="solid"/>
              <a:miter/>
            </a:ln>
          </p:spPr>
          <p:txBody>
            <a:bodyPr rtlCol="0" anchor="ctr"/>
            <a:lstStyle/>
            <a:p>
              <a:endParaRPr lang="uk-UA" sz="900"/>
            </a:p>
          </p:txBody>
        </p:sp>
        <p:sp>
          <p:nvSpPr>
            <p:cNvPr id="492" name="Freeform: Shape 491">
              <a:extLst>
                <a:ext uri="{FF2B5EF4-FFF2-40B4-BE49-F238E27FC236}">
                  <a16:creationId xmlns:a16="http://schemas.microsoft.com/office/drawing/2014/main" id="{F7742D2C-9D4D-1949-EC2D-E20F85B98E08}"/>
                </a:ext>
              </a:extLst>
            </p:cNvPr>
            <p:cNvSpPr/>
            <p:nvPr/>
          </p:nvSpPr>
          <p:spPr>
            <a:xfrm>
              <a:off x="17368874" y="228598"/>
              <a:ext cx="435077" cy="435078"/>
            </a:xfrm>
            <a:custGeom>
              <a:avLst/>
              <a:gdLst>
                <a:gd name="connsiteX0" fmla="*/ 217539 w 435077"/>
                <a:gd name="connsiteY0" fmla="*/ 0 h 435078"/>
                <a:gd name="connsiteX1" fmla="*/ 0 w 435077"/>
                <a:gd name="connsiteY1" fmla="*/ 0 h 435078"/>
                <a:gd name="connsiteX2" fmla="*/ 0 w 435077"/>
                <a:gd name="connsiteY2" fmla="*/ 217539 h 435078"/>
                <a:gd name="connsiteX3" fmla="*/ 217539 w 435077"/>
                <a:gd name="connsiteY3" fmla="*/ 0 h 435078"/>
                <a:gd name="connsiteX4" fmla="*/ 435077 w 435077"/>
                <a:gd name="connsiteY4" fmla="*/ 0 h 435078"/>
                <a:gd name="connsiteX5" fmla="*/ 435077 w 435077"/>
                <a:gd name="connsiteY5" fmla="*/ 217539 h 435078"/>
                <a:gd name="connsiteX6" fmla="*/ 217539 w 435077"/>
                <a:gd name="connsiteY6" fmla="*/ 0 h 435078"/>
                <a:gd name="connsiteX7" fmla="*/ 435077 w 435077"/>
                <a:gd name="connsiteY7" fmla="*/ 0 h 435078"/>
                <a:gd name="connsiteX8" fmla="*/ 217539 w 435077"/>
                <a:gd name="connsiteY8" fmla="*/ 435079 h 435078"/>
                <a:gd name="connsiteX9" fmla="*/ 435077 w 435077"/>
                <a:gd name="connsiteY9" fmla="*/ 217539 h 435078"/>
                <a:gd name="connsiteX10" fmla="*/ 435077 w 435077"/>
                <a:gd name="connsiteY10" fmla="*/ 435079 h 435078"/>
                <a:gd name="connsiteX11" fmla="*/ 217539 w 435077"/>
                <a:gd name="connsiteY11" fmla="*/ 435079 h 435078"/>
                <a:gd name="connsiteX12" fmla="*/ 217539 w 435077"/>
                <a:gd name="connsiteY12" fmla="*/ 435079 h 435078"/>
                <a:gd name="connsiteX13" fmla="*/ 0 w 435077"/>
                <a:gd name="connsiteY13" fmla="*/ 217539 h 435078"/>
                <a:gd name="connsiteX14" fmla="*/ 0 w 435077"/>
                <a:gd name="connsiteY14" fmla="*/ 435079 h 435078"/>
                <a:gd name="connsiteX15" fmla="*/ 217539 w 435077"/>
                <a:gd name="connsiteY15" fmla="*/ 435079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8">
                  <a:moveTo>
                    <a:pt x="217539" y="0"/>
                  </a:moveTo>
                  <a:lnTo>
                    <a:pt x="0" y="0"/>
                  </a:lnTo>
                  <a:lnTo>
                    <a:pt x="0" y="217539"/>
                  </a:lnTo>
                  <a:lnTo>
                    <a:pt x="217539" y="0"/>
                  </a:lnTo>
                  <a:close/>
                  <a:moveTo>
                    <a:pt x="435077" y="0"/>
                  </a:moveTo>
                  <a:lnTo>
                    <a:pt x="435077" y="217539"/>
                  </a:lnTo>
                  <a:lnTo>
                    <a:pt x="217539" y="0"/>
                  </a:lnTo>
                  <a:lnTo>
                    <a:pt x="435077" y="0"/>
                  </a:lnTo>
                  <a:close/>
                  <a:moveTo>
                    <a:pt x="217539" y="435079"/>
                  </a:moveTo>
                  <a:lnTo>
                    <a:pt x="435077" y="217539"/>
                  </a:lnTo>
                  <a:lnTo>
                    <a:pt x="435077" y="435079"/>
                  </a:lnTo>
                  <a:lnTo>
                    <a:pt x="217539" y="435079"/>
                  </a:lnTo>
                  <a:close/>
                  <a:moveTo>
                    <a:pt x="217539" y="435079"/>
                  </a:moveTo>
                  <a:lnTo>
                    <a:pt x="0" y="217539"/>
                  </a:lnTo>
                  <a:lnTo>
                    <a:pt x="0" y="435079"/>
                  </a:lnTo>
                  <a:lnTo>
                    <a:pt x="217539" y="435079"/>
                  </a:lnTo>
                  <a:close/>
                </a:path>
              </a:pathLst>
            </a:custGeom>
            <a:grpFill/>
            <a:ln w="27192" cap="flat">
              <a:noFill/>
              <a:prstDash val="solid"/>
              <a:miter/>
            </a:ln>
          </p:spPr>
          <p:txBody>
            <a:bodyPr rtlCol="0" anchor="ctr"/>
            <a:lstStyle/>
            <a:p>
              <a:endParaRPr lang="uk-UA" sz="900"/>
            </a:p>
          </p:txBody>
        </p:sp>
        <p:sp>
          <p:nvSpPr>
            <p:cNvPr id="493" name="Freeform: Shape 492">
              <a:extLst>
                <a:ext uri="{FF2B5EF4-FFF2-40B4-BE49-F238E27FC236}">
                  <a16:creationId xmlns:a16="http://schemas.microsoft.com/office/drawing/2014/main" id="{03D3A3F3-C335-2A06-37E9-01E138883CB6}"/>
                </a:ext>
              </a:extLst>
            </p:cNvPr>
            <p:cNvSpPr/>
            <p:nvPr/>
          </p:nvSpPr>
          <p:spPr>
            <a:xfrm>
              <a:off x="19109210" y="228598"/>
              <a:ext cx="435077" cy="435075"/>
            </a:xfrm>
            <a:custGeom>
              <a:avLst/>
              <a:gdLst>
                <a:gd name="connsiteX0" fmla="*/ 217539 w 435077"/>
                <a:gd name="connsiteY0" fmla="*/ 217533 h 435075"/>
                <a:gd name="connsiteX1" fmla="*/ 217539 w 435077"/>
                <a:gd name="connsiteY1" fmla="*/ 0 h 435075"/>
                <a:gd name="connsiteX2" fmla="*/ 0 w 435077"/>
                <a:gd name="connsiteY2" fmla="*/ 0 h 435075"/>
                <a:gd name="connsiteX3" fmla="*/ 217539 w 435077"/>
                <a:gd name="connsiteY3" fmla="*/ 217538 h 435075"/>
                <a:gd name="connsiteX4" fmla="*/ 0 w 435077"/>
                <a:gd name="connsiteY4" fmla="*/ 435076 h 435075"/>
                <a:gd name="connsiteX5" fmla="*/ 217539 w 435077"/>
                <a:gd name="connsiteY5" fmla="*/ 435076 h 435075"/>
                <a:gd name="connsiteX6" fmla="*/ 217539 w 435077"/>
                <a:gd name="connsiteY6" fmla="*/ 435071 h 435075"/>
                <a:gd name="connsiteX7" fmla="*/ 435051 w 435077"/>
                <a:gd name="connsiteY7" fmla="*/ 217542 h 435075"/>
                <a:gd name="connsiteX8" fmla="*/ 435077 w 435077"/>
                <a:gd name="connsiteY8" fmla="*/ 217542 h 435075"/>
                <a:gd name="connsiteX9" fmla="*/ 435051 w 435077"/>
                <a:gd name="connsiteY9" fmla="*/ 217537 h 435075"/>
                <a:gd name="connsiteX10" fmla="*/ 435077 w 435077"/>
                <a:gd name="connsiteY10" fmla="*/ 217533 h 435075"/>
                <a:gd name="connsiteX11" fmla="*/ 435051 w 435077"/>
                <a:gd name="connsiteY11" fmla="*/ 217533 h 435075"/>
                <a:gd name="connsiteX12" fmla="*/ 217539 w 435077"/>
                <a:gd name="connsiteY12" fmla="*/ 4 h 435075"/>
                <a:gd name="connsiteX13" fmla="*/ 217539 w 435077"/>
                <a:gd name="connsiteY13" fmla="*/ 217533 h 435075"/>
                <a:gd name="connsiteX14" fmla="*/ 217539 w 435077"/>
                <a:gd name="connsiteY14" fmla="*/ 217533 h 43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5">
                  <a:moveTo>
                    <a:pt x="217539" y="217533"/>
                  </a:moveTo>
                  <a:lnTo>
                    <a:pt x="217539" y="0"/>
                  </a:lnTo>
                  <a:lnTo>
                    <a:pt x="0" y="0"/>
                  </a:lnTo>
                  <a:lnTo>
                    <a:pt x="217539" y="217538"/>
                  </a:lnTo>
                  <a:lnTo>
                    <a:pt x="0" y="435076"/>
                  </a:lnTo>
                  <a:lnTo>
                    <a:pt x="217539" y="435076"/>
                  </a:lnTo>
                  <a:lnTo>
                    <a:pt x="217539" y="435071"/>
                  </a:lnTo>
                  <a:lnTo>
                    <a:pt x="435051" y="217542"/>
                  </a:lnTo>
                  <a:lnTo>
                    <a:pt x="435077" y="217542"/>
                  </a:lnTo>
                  <a:lnTo>
                    <a:pt x="435051" y="217537"/>
                  </a:lnTo>
                  <a:lnTo>
                    <a:pt x="435077" y="217533"/>
                  </a:lnTo>
                  <a:lnTo>
                    <a:pt x="435051" y="217533"/>
                  </a:lnTo>
                  <a:lnTo>
                    <a:pt x="217539" y="4"/>
                  </a:lnTo>
                  <a:lnTo>
                    <a:pt x="217539" y="217533"/>
                  </a:lnTo>
                  <a:lnTo>
                    <a:pt x="217539" y="217533"/>
                  </a:lnTo>
                  <a:close/>
                </a:path>
              </a:pathLst>
            </a:custGeom>
            <a:grpFill/>
            <a:ln w="27192" cap="flat">
              <a:noFill/>
              <a:prstDash val="solid"/>
              <a:miter/>
            </a:ln>
          </p:spPr>
          <p:txBody>
            <a:bodyPr rtlCol="0" anchor="ctr"/>
            <a:lstStyle/>
            <a:p>
              <a:endParaRPr lang="uk-UA" sz="900"/>
            </a:p>
          </p:txBody>
        </p:sp>
        <p:sp>
          <p:nvSpPr>
            <p:cNvPr id="494" name="Freeform: Shape 493">
              <a:extLst>
                <a:ext uri="{FF2B5EF4-FFF2-40B4-BE49-F238E27FC236}">
                  <a16:creationId xmlns:a16="http://schemas.microsoft.com/office/drawing/2014/main" id="{BC9CD344-5E2D-89E7-C768-C36BC0B5116F}"/>
                </a:ext>
              </a:extLst>
            </p:cNvPr>
            <p:cNvSpPr/>
            <p:nvPr/>
          </p:nvSpPr>
          <p:spPr>
            <a:xfrm>
              <a:off x="19979365" y="228598"/>
              <a:ext cx="435077" cy="435067"/>
            </a:xfrm>
            <a:custGeom>
              <a:avLst/>
              <a:gdLst>
                <a:gd name="connsiteX0" fmla="*/ 0 w 435077"/>
                <a:gd name="connsiteY0" fmla="*/ 435068 h 435067"/>
                <a:gd name="connsiteX1" fmla="*/ 217539 w 435077"/>
                <a:gd name="connsiteY1" fmla="*/ 435068 h 435067"/>
                <a:gd name="connsiteX2" fmla="*/ 217539 w 435077"/>
                <a:gd name="connsiteY2" fmla="*/ 217535 h 435067"/>
                <a:gd name="connsiteX3" fmla="*/ 0 w 435077"/>
                <a:gd name="connsiteY3" fmla="*/ 435068 h 435067"/>
                <a:gd name="connsiteX4" fmla="*/ 217539 w 435077"/>
                <a:gd name="connsiteY4" fmla="*/ 0 h 435067"/>
                <a:gd name="connsiteX5" fmla="*/ 0 w 435077"/>
                <a:gd name="connsiteY5" fmla="*/ 0 h 435067"/>
                <a:gd name="connsiteX6" fmla="*/ 217539 w 435077"/>
                <a:gd name="connsiteY6" fmla="*/ 217532 h 435067"/>
                <a:gd name="connsiteX7" fmla="*/ 217539 w 435077"/>
                <a:gd name="connsiteY7" fmla="*/ 0 h 435067"/>
                <a:gd name="connsiteX8" fmla="*/ 435077 w 435077"/>
                <a:gd name="connsiteY8" fmla="*/ 435068 h 435067"/>
                <a:gd name="connsiteX9" fmla="*/ 217539 w 435077"/>
                <a:gd name="connsiteY9" fmla="*/ 435068 h 435067"/>
                <a:gd name="connsiteX10" fmla="*/ 435077 w 435077"/>
                <a:gd name="connsiteY10" fmla="*/ 217535 h 435067"/>
                <a:gd name="connsiteX11" fmla="*/ 435077 w 435077"/>
                <a:gd name="connsiteY11" fmla="*/ 435068 h 435067"/>
                <a:gd name="connsiteX12" fmla="*/ 435077 w 435077"/>
                <a:gd name="connsiteY12" fmla="*/ 0 h 435067"/>
                <a:gd name="connsiteX13" fmla="*/ 217539 w 435077"/>
                <a:gd name="connsiteY13" fmla="*/ 0 h 435067"/>
                <a:gd name="connsiteX14" fmla="*/ 435077 w 435077"/>
                <a:gd name="connsiteY14" fmla="*/ 217532 h 435067"/>
                <a:gd name="connsiteX15" fmla="*/ 435077 w 435077"/>
                <a:gd name="connsiteY15" fmla="*/ 0 h 435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67">
                  <a:moveTo>
                    <a:pt x="0" y="435068"/>
                  </a:moveTo>
                  <a:lnTo>
                    <a:pt x="217539" y="435068"/>
                  </a:lnTo>
                  <a:lnTo>
                    <a:pt x="217539" y="217535"/>
                  </a:lnTo>
                  <a:lnTo>
                    <a:pt x="0" y="435068"/>
                  </a:lnTo>
                  <a:close/>
                  <a:moveTo>
                    <a:pt x="217539" y="0"/>
                  </a:moveTo>
                  <a:lnTo>
                    <a:pt x="0" y="0"/>
                  </a:lnTo>
                  <a:lnTo>
                    <a:pt x="217539" y="217532"/>
                  </a:lnTo>
                  <a:lnTo>
                    <a:pt x="217539" y="0"/>
                  </a:lnTo>
                  <a:close/>
                  <a:moveTo>
                    <a:pt x="435077" y="435068"/>
                  </a:moveTo>
                  <a:lnTo>
                    <a:pt x="217539" y="435068"/>
                  </a:lnTo>
                  <a:lnTo>
                    <a:pt x="435077" y="217535"/>
                  </a:lnTo>
                  <a:lnTo>
                    <a:pt x="435077" y="435068"/>
                  </a:lnTo>
                  <a:close/>
                  <a:moveTo>
                    <a:pt x="435077" y="0"/>
                  </a:moveTo>
                  <a:lnTo>
                    <a:pt x="217539" y="0"/>
                  </a:lnTo>
                  <a:lnTo>
                    <a:pt x="435077" y="217532"/>
                  </a:lnTo>
                  <a:lnTo>
                    <a:pt x="435077" y="0"/>
                  </a:lnTo>
                  <a:close/>
                </a:path>
              </a:pathLst>
            </a:custGeom>
            <a:grpFill/>
            <a:ln w="27192" cap="flat">
              <a:noFill/>
              <a:prstDash val="solid"/>
              <a:miter/>
            </a:ln>
          </p:spPr>
          <p:txBody>
            <a:bodyPr rtlCol="0" anchor="ctr"/>
            <a:lstStyle/>
            <a:p>
              <a:endParaRPr lang="uk-UA" sz="900"/>
            </a:p>
          </p:txBody>
        </p:sp>
        <p:sp>
          <p:nvSpPr>
            <p:cNvPr id="495" name="Freeform: Shape 494">
              <a:extLst>
                <a:ext uri="{FF2B5EF4-FFF2-40B4-BE49-F238E27FC236}">
                  <a16:creationId xmlns:a16="http://schemas.microsoft.com/office/drawing/2014/main" id="{DD51F0E1-5267-ADC4-D404-5A4CF2BBFE42}"/>
                </a:ext>
              </a:extLst>
            </p:cNvPr>
            <p:cNvSpPr/>
            <p:nvPr/>
          </p:nvSpPr>
          <p:spPr>
            <a:xfrm>
              <a:off x="21719702" y="228598"/>
              <a:ext cx="435077" cy="435073"/>
            </a:xfrm>
            <a:custGeom>
              <a:avLst/>
              <a:gdLst>
                <a:gd name="connsiteX0" fmla="*/ 371339 w 435077"/>
                <a:gd name="connsiteY0" fmla="*/ 63716 h 435073"/>
                <a:gd name="connsiteX1" fmla="*/ 435077 w 435077"/>
                <a:gd name="connsiteY1" fmla="*/ 217539 h 435073"/>
                <a:gd name="connsiteX2" fmla="*/ 218926 w 435077"/>
                <a:gd name="connsiteY2" fmla="*/ 217539 h 435073"/>
                <a:gd name="connsiteX3" fmla="*/ 371367 w 435077"/>
                <a:gd name="connsiteY3" fmla="*/ 281249 h 435073"/>
                <a:gd name="connsiteX4" fmla="*/ 435077 w 435077"/>
                <a:gd name="connsiteY4" fmla="*/ 435073 h 435073"/>
                <a:gd name="connsiteX5" fmla="*/ 217539 w 435077"/>
                <a:gd name="connsiteY5" fmla="*/ 435073 h 435073"/>
                <a:gd name="connsiteX6" fmla="*/ 0 w 435077"/>
                <a:gd name="connsiteY6" fmla="*/ 435073 h 435073"/>
                <a:gd name="connsiteX7" fmla="*/ 63712 w 435077"/>
                <a:gd name="connsiteY7" fmla="*/ 281249 h 435073"/>
                <a:gd name="connsiteX8" fmla="*/ 216125 w 435077"/>
                <a:gd name="connsiteY8" fmla="*/ 217539 h 435073"/>
                <a:gd name="connsiteX9" fmla="*/ 0 w 435077"/>
                <a:gd name="connsiteY9" fmla="*/ 217539 h 435073"/>
                <a:gd name="connsiteX10" fmla="*/ 63712 w 435077"/>
                <a:gd name="connsiteY10" fmla="*/ 63716 h 435073"/>
                <a:gd name="connsiteX11" fmla="*/ 217539 w 435077"/>
                <a:gd name="connsiteY11" fmla="*/ 0 h 435073"/>
                <a:gd name="connsiteX12" fmla="*/ 371339 w 435077"/>
                <a:gd name="connsiteY12" fmla="*/ 63716 h 43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3">
                  <a:moveTo>
                    <a:pt x="371339" y="63716"/>
                  </a:moveTo>
                  <a:cubicBezTo>
                    <a:pt x="412155" y="104512"/>
                    <a:pt x="435077" y="159844"/>
                    <a:pt x="435077" y="217539"/>
                  </a:cubicBezTo>
                  <a:lnTo>
                    <a:pt x="218926" y="217539"/>
                  </a:lnTo>
                  <a:cubicBezTo>
                    <a:pt x="276112" y="217907"/>
                    <a:pt x="330877" y="240784"/>
                    <a:pt x="371367" y="281249"/>
                  </a:cubicBezTo>
                  <a:cubicBezTo>
                    <a:pt x="412155" y="322046"/>
                    <a:pt x="435077" y="377379"/>
                    <a:pt x="435077" y="435073"/>
                  </a:cubicBezTo>
                  <a:lnTo>
                    <a:pt x="217539" y="435073"/>
                  </a:lnTo>
                  <a:lnTo>
                    <a:pt x="0" y="435073"/>
                  </a:lnTo>
                  <a:cubicBezTo>
                    <a:pt x="0" y="377379"/>
                    <a:pt x="22924" y="322046"/>
                    <a:pt x="63712" y="281249"/>
                  </a:cubicBezTo>
                  <a:cubicBezTo>
                    <a:pt x="104175" y="240784"/>
                    <a:pt x="158940" y="217907"/>
                    <a:pt x="216125" y="217539"/>
                  </a:cubicBezTo>
                  <a:lnTo>
                    <a:pt x="0" y="217539"/>
                  </a:lnTo>
                  <a:cubicBezTo>
                    <a:pt x="0" y="159844"/>
                    <a:pt x="22897" y="104512"/>
                    <a:pt x="63712" y="63716"/>
                  </a:cubicBezTo>
                  <a:cubicBezTo>
                    <a:pt x="104501" y="22919"/>
                    <a:pt x="159838" y="0"/>
                    <a:pt x="217539" y="0"/>
                  </a:cubicBezTo>
                  <a:cubicBezTo>
                    <a:pt x="275215" y="0"/>
                    <a:pt x="330550" y="22919"/>
                    <a:pt x="371339" y="63716"/>
                  </a:cubicBezTo>
                  <a:close/>
                </a:path>
              </a:pathLst>
            </a:custGeom>
            <a:grpFill/>
            <a:ln w="27192" cap="flat">
              <a:noFill/>
              <a:prstDash val="solid"/>
              <a:miter/>
            </a:ln>
          </p:spPr>
          <p:txBody>
            <a:bodyPr rtlCol="0" anchor="ctr"/>
            <a:lstStyle/>
            <a:p>
              <a:endParaRPr lang="uk-UA" sz="900"/>
            </a:p>
          </p:txBody>
        </p:sp>
        <p:sp>
          <p:nvSpPr>
            <p:cNvPr id="496" name="Freeform: Shape 495">
              <a:extLst>
                <a:ext uri="{FF2B5EF4-FFF2-40B4-BE49-F238E27FC236}">
                  <a16:creationId xmlns:a16="http://schemas.microsoft.com/office/drawing/2014/main" id="{B3D8B661-04DC-44F6-C38F-309611F3BABB}"/>
                </a:ext>
              </a:extLst>
            </p:cNvPr>
            <p:cNvSpPr/>
            <p:nvPr/>
          </p:nvSpPr>
          <p:spPr>
            <a:xfrm>
              <a:off x="20849520" y="228598"/>
              <a:ext cx="435103" cy="435078"/>
            </a:xfrm>
            <a:custGeom>
              <a:avLst/>
              <a:gdLst>
                <a:gd name="connsiteX0" fmla="*/ 217539 w 435103"/>
                <a:gd name="connsiteY0" fmla="*/ 0 h 435078"/>
                <a:gd name="connsiteX1" fmla="*/ 0 w 435103"/>
                <a:gd name="connsiteY1" fmla="*/ 0 h 435078"/>
                <a:gd name="connsiteX2" fmla="*/ 0 w 435103"/>
                <a:gd name="connsiteY2" fmla="*/ 217539 h 435078"/>
                <a:gd name="connsiteX3" fmla="*/ 217539 w 435103"/>
                <a:gd name="connsiteY3" fmla="*/ 0 h 435078"/>
                <a:gd name="connsiteX4" fmla="*/ 435104 w 435103"/>
                <a:gd name="connsiteY4" fmla="*/ 0 h 435078"/>
                <a:gd name="connsiteX5" fmla="*/ 435104 w 435103"/>
                <a:gd name="connsiteY5" fmla="*/ 217539 h 435078"/>
                <a:gd name="connsiteX6" fmla="*/ 217565 w 435103"/>
                <a:gd name="connsiteY6" fmla="*/ 0 h 435078"/>
                <a:gd name="connsiteX7" fmla="*/ 435104 w 435103"/>
                <a:gd name="connsiteY7" fmla="*/ 0 h 435078"/>
                <a:gd name="connsiteX8" fmla="*/ 217565 w 435103"/>
                <a:gd name="connsiteY8" fmla="*/ 435079 h 435078"/>
                <a:gd name="connsiteX9" fmla="*/ 435104 w 435103"/>
                <a:gd name="connsiteY9" fmla="*/ 217539 h 435078"/>
                <a:gd name="connsiteX10" fmla="*/ 435104 w 435103"/>
                <a:gd name="connsiteY10" fmla="*/ 435079 h 435078"/>
                <a:gd name="connsiteX11" fmla="*/ 217565 w 435103"/>
                <a:gd name="connsiteY11" fmla="*/ 435079 h 435078"/>
                <a:gd name="connsiteX12" fmla="*/ 217565 w 435103"/>
                <a:gd name="connsiteY12" fmla="*/ 435079 h 435078"/>
                <a:gd name="connsiteX13" fmla="*/ 27 w 435103"/>
                <a:gd name="connsiteY13" fmla="*/ 217539 h 435078"/>
                <a:gd name="connsiteX14" fmla="*/ 27 w 435103"/>
                <a:gd name="connsiteY14" fmla="*/ 435079 h 435078"/>
                <a:gd name="connsiteX15" fmla="*/ 217565 w 435103"/>
                <a:gd name="connsiteY15" fmla="*/ 435079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3" h="435078">
                  <a:moveTo>
                    <a:pt x="217539" y="0"/>
                  </a:moveTo>
                  <a:lnTo>
                    <a:pt x="0" y="0"/>
                  </a:lnTo>
                  <a:lnTo>
                    <a:pt x="0" y="217539"/>
                  </a:lnTo>
                  <a:lnTo>
                    <a:pt x="217539" y="0"/>
                  </a:lnTo>
                  <a:close/>
                  <a:moveTo>
                    <a:pt x="435104" y="0"/>
                  </a:moveTo>
                  <a:lnTo>
                    <a:pt x="435104" y="217539"/>
                  </a:lnTo>
                  <a:lnTo>
                    <a:pt x="217565" y="0"/>
                  </a:lnTo>
                  <a:lnTo>
                    <a:pt x="435104" y="0"/>
                  </a:lnTo>
                  <a:close/>
                  <a:moveTo>
                    <a:pt x="217565" y="435079"/>
                  </a:moveTo>
                  <a:lnTo>
                    <a:pt x="435104" y="217539"/>
                  </a:lnTo>
                  <a:lnTo>
                    <a:pt x="435104" y="435079"/>
                  </a:lnTo>
                  <a:lnTo>
                    <a:pt x="217565" y="435079"/>
                  </a:lnTo>
                  <a:close/>
                  <a:moveTo>
                    <a:pt x="217565" y="435079"/>
                  </a:moveTo>
                  <a:lnTo>
                    <a:pt x="27" y="217539"/>
                  </a:lnTo>
                  <a:lnTo>
                    <a:pt x="27" y="435079"/>
                  </a:lnTo>
                  <a:lnTo>
                    <a:pt x="217565" y="435079"/>
                  </a:lnTo>
                  <a:close/>
                </a:path>
              </a:pathLst>
            </a:custGeom>
            <a:grpFill/>
            <a:ln w="27192" cap="flat">
              <a:noFill/>
              <a:prstDash val="solid"/>
              <a:miter/>
            </a:ln>
          </p:spPr>
          <p:txBody>
            <a:bodyPr rtlCol="0" anchor="ctr"/>
            <a:lstStyle/>
            <a:p>
              <a:endParaRPr lang="uk-UA" sz="900"/>
            </a:p>
          </p:txBody>
        </p:sp>
        <p:sp>
          <p:nvSpPr>
            <p:cNvPr id="497" name="Freeform: Shape 496">
              <a:extLst>
                <a:ext uri="{FF2B5EF4-FFF2-40B4-BE49-F238E27FC236}">
                  <a16:creationId xmlns:a16="http://schemas.microsoft.com/office/drawing/2014/main" id="{1E5CAA48-3A93-F987-7247-84A433689DB4}"/>
                </a:ext>
              </a:extLst>
            </p:cNvPr>
            <p:cNvSpPr/>
            <p:nvPr/>
          </p:nvSpPr>
          <p:spPr>
            <a:xfrm>
              <a:off x="22589856" y="228598"/>
              <a:ext cx="435077" cy="435075"/>
            </a:xfrm>
            <a:custGeom>
              <a:avLst/>
              <a:gdLst>
                <a:gd name="connsiteX0" fmla="*/ 217539 w 435077"/>
                <a:gd name="connsiteY0" fmla="*/ 217533 h 435075"/>
                <a:gd name="connsiteX1" fmla="*/ 217539 w 435077"/>
                <a:gd name="connsiteY1" fmla="*/ 0 h 435075"/>
                <a:gd name="connsiteX2" fmla="*/ 0 w 435077"/>
                <a:gd name="connsiteY2" fmla="*/ 0 h 435075"/>
                <a:gd name="connsiteX3" fmla="*/ 217539 w 435077"/>
                <a:gd name="connsiteY3" fmla="*/ 217538 h 435075"/>
                <a:gd name="connsiteX4" fmla="*/ 0 w 435077"/>
                <a:gd name="connsiteY4" fmla="*/ 435076 h 435075"/>
                <a:gd name="connsiteX5" fmla="*/ 217539 w 435077"/>
                <a:gd name="connsiteY5" fmla="*/ 435076 h 435075"/>
                <a:gd name="connsiteX6" fmla="*/ 217539 w 435077"/>
                <a:gd name="connsiteY6" fmla="*/ 435071 h 435075"/>
                <a:gd name="connsiteX7" fmla="*/ 435077 w 435077"/>
                <a:gd name="connsiteY7" fmla="*/ 217542 h 435075"/>
                <a:gd name="connsiteX8" fmla="*/ 435077 w 435077"/>
                <a:gd name="connsiteY8" fmla="*/ 217542 h 435075"/>
                <a:gd name="connsiteX9" fmla="*/ 435077 w 435077"/>
                <a:gd name="connsiteY9" fmla="*/ 217537 h 435075"/>
                <a:gd name="connsiteX10" fmla="*/ 435077 w 435077"/>
                <a:gd name="connsiteY10" fmla="*/ 217533 h 435075"/>
                <a:gd name="connsiteX11" fmla="*/ 435077 w 435077"/>
                <a:gd name="connsiteY11" fmla="*/ 217533 h 435075"/>
                <a:gd name="connsiteX12" fmla="*/ 217539 w 435077"/>
                <a:gd name="connsiteY12" fmla="*/ 4 h 435075"/>
                <a:gd name="connsiteX13" fmla="*/ 217539 w 435077"/>
                <a:gd name="connsiteY13" fmla="*/ 217533 h 435075"/>
                <a:gd name="connsiteX14" fmla="*/ 217539 w 435077"/>
                <a:gd name="connsiteY14" fmla="*/ 217533 h 43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5">
                  <a:moveTo>
                    <a:pt x="217539" y="217533"/>
                  </a:moveTo>
                  <a:lnTo>
                    <a:pt x="217539" y="0"/>
                  </a:lnTo>
                  <a:lnTo>
                    <a:pt x="0" y="0"/>
                  </a:lnTo>
                  <a:lnTo>
                    <a:pt x="217539" y="217538"/>
                  </a:lnTo>
                  <a:lnTo>
                    <a:pt x="0" y="435076"/>
                  </a:lnTo>
                  <a:lnTo>
                    <a:pt x="217539" y="435076"/>
                  </a:lnTo>
                  <a:lnTo>
                    <a:pt x="217539" y="435071"/>
                  </a:lnTo>
                  <a:lnTo>
                    <a:pt x="435077" y="217542"/>
                  </a:lnTo>
                  <a:lnTo>
                    <a:pt x="435077" y="217542"/>
                  </a:lnTo>
                  <a:lnTo>
                    <a:pt x="435077" y="217537"/>
                  </a:lnTo>
                  <a:lnTo>
                    <a:pt x="435077" y="217533"/>
                  </a:lnTo>
                  <a:lnTo>
                    <a:pt x="435077" y="217533"/>
                  </a:lnTo>
                  <a:lnTo>
                    <a:pt x="217539" y="4"/>
                  </a:lnTo>
                  <a:lnTo>
                    <a:pt x="217539" y="217533"/>
                  </a:lnTo>
                  <a:lnTo>
                    <a:pt x="217539" y="217533"/>
                  </a:lnTo>
                  <a:close/>
                </a:path>
              </a:pathLst>
            </a:custGeom>
            <a:grpFill/>
            <a:ln w="27192" cap="flat">
              <a:noFill/>
              <a:prstDash val="solid"/>
              <a:miter/>
            </a:ln>
          </p:spPr>
          <p:txBody>
            <a:bodyPr rtlCol="0" anchor="ctr"/>
            <a:lstStyle/>
            <a:p>
              <a:endParaRPr lang="uk-UA" sz="900"/>
            </a:p>
          </p:txBody>
        </p:sp>
        <p:sp>
          <p:nvSpPr>
            <p:cNvPr id="498" name="Freeform: Shape 497">
              <a:extLst>
                <a:ext uri="{FF2B5EF4-FFF2-40B4-BE49-F238E27FC236}">
                  <a16:creationId xmlns:a16="http://schemas.microsoft.com/office/drawing/2014/main" id="{9FDC5016-73AB-9AE1-3401-39A8381621DD}"/>
                </a:ext>
              </a:extLst>
            </p:cNvPr>
            <p:cNvSpPr/>
            <p:nvPr/>
          </p:nvSpPr>
          <p:spPr>
            <a:xfrm>
              <a:off x="23460039" y="228598"/>
              <a:ext cx="435077" cy="435067"/>
            </a:xfrm>
            <a:custGeom>
              <a:avLst/>
              <a:gdLst>
                <a:gd name="connsiteX0" fmla="*/ 0 w 435077"/>
                <a:gd name="connsiteY0" fmla="*/ 435065 h 435067"/>
                <a:gd name="connsiteX1" fmla="*/ 217510 w 435077"/>
                <a:gd name="connsiteY1" fmla="*/ 435068 h 435067"/>
                <a:gd name="connsiteX2" fmla="*/ 217510 w 435077"/>
                <a:gd name="connsiteY2" fmla="*/ 217535 h 435067"/>
                <a:gd name="connsiteX3" fmla="*/ 0 w 435077"/>
                <a:gd name="connsiteY3" fmla="*/ 435065 h 435067"/>
                <a:gd name="connsiteX4" fmla="*/ 217539 w 435077"/>
                <a:gd name="connsiteY4" fmla="*/ 0 h 435067"/>
                <a:gd name="connsiteX5" fmla="*/ 0 w 435077"/>
                <a:gd name="connsiteY5" fmla="*/ 0 h 435067"/>
                <a:gd name="connsiteX6" fmla="*/ 217539 w 435077"/>
                <a:gd name="connsiteY6" fmla="*/ 217532 h 435067"/>
                <a:gd name="connsiteX7" fmla="*/ 217539 w 435077"/>
                <a:gd name="connsiteY7" fmla="*/ 0 h 435067"/>
                <a:gd name="connsiteX8" fmla="*/ 435077 w 435077"/>
                <a:gd name="connsiteY8" fmla="*/ 435068 h 435067"/>
                <a:gd name="connsiteX9" fmla="*/ 217539 w 435077"/>
                <a:gd name="connsiteY9" fmla="*/ 435068 h 435067"/>
                <a:gd name="connsiteX10" fmla="*/ 435077 w 435077"/>
                <a:gd name="connsiteY10" fmla="*/ 217535 h 435067"/>
                <a:gd name="connsiteX11" fmla="*/ 435077 w 435077"/>
                <a:gd name="connsiteY11" fmla="*/ 435068 h 435067"/>
                <a:gd name="connsiteX12" fmla="*/ 435077 w 435077"/>
                <a:gd name="connsiteY12" fmla="*/ 0 h 435067"/>
                <a:gd name="connsiteX13" fmla="*/ 217539 w 435077"/>
                <a:gd name="connsiteY13" fmla="*/ 0 h 435067"/>
                <a:gd name="connsiteX14" fmla="*/ 435077 w 435077"/>
                <a:gd name="connsiteY14" fmla="*/ 217532 h 435067"/>
                <a:gd name="connsiteX15" fmla="*/ 435077 w 435077"/>
                <a:gd name="connsiteY15" fmla="*/ 0 h 435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67">
                  <a:moveTo>
                    <a:pt x="0" y="435065"/>
                  </a:moveTo>
                  <a:lnTo>
                    <a:pt x="217510" y="435068"/>
                  </a:lnTo>
                  <a:lnTo>
                    <a:pt x="217510" y="217535"/>
                  </a:lnTo>
                  <a:lnTo>
                    <a:pt x="0" y="435065"/>
                  </a:lnTo>
                  <a:close/>
                  <a:moveTo>
                    <a:pt x="217539" y="0"/>
                  </a:moveTo>
                  <a:lnTo>
                    <a:pt x="0" y="0"/>
                  </a:lnTo>
                  <a:lnTo>
                    <a:pt x="217539" y="217532"/>
                  </a:lnTo>
                  <a:lnTo>
                    <a:pt x="217539" y="0"/>
                  </a:lnTo>
                  <a:close/>
                  <a:moveTo>
                    <a:pt x="435077" y="435068"/>
                  </a:moveTo>
                  <a:lnTo>
                    <a:pt x="217539" y="435068"/>
                  </a:lnTo>
                  <a:lnTo>
                    <a:pt x="435077" y="217535"/>
                  </a:lnTo>
                  <a:lnTo>
                    <a:pt x="435077" y="435068"/>
                  </a:lnTo>
                  <a:close/>
                  <a:moveTo>
                    <a:pt x="435077" y="0"/>
                  </a:moveTo>
                  <a:lnTo>
                    <a:pt x="217539" y="0"/>
                  </a:lnTo>
                  <a:lnTo>
                    <a:pt x="435077" y="217532"/>
                  </a:lnTo>
                  <a:lnTo>
                    <a:pt x="435077" y="0"/>
                  </a:lnTo>
                  <a:close/>
                </a:path>
              </a:pathLst>
            </a:custGeom>
            <a:grpFill/>
            <a:ln w="27192" cap="flat">
              <a:noFill/>
              <a:prstDash val="solid"/>
              <a:miter/>
            </a:ln>
          </p:spPr>
          <p:txBody>
            <a:bodyPr rtlCol="0" anchor="ctr"/>
            <a:lstStyle/>
            <a:p>
              <a:endParaRPr lang="uk-UA" sz="900"/>
            </a:p>
          </p:txBody>
        </p:sp>
        <p:sp>
          <p:nvSpPr>
            <p:cNvPr id="499" name="Freeform: Shape 498">
              <a:extLst>
                <a:ext uri="{FF2B5EF4-FFF2-40B4-BE49-F238E27FC236}">
                  <a16:creationId xmlns:a16="http://schemas.microsoft.com/office/drawing/2014/main" id="{3E69F44C-FEE2-BB63-F7F6-FA8D5EA30886}"/>
                </a:ext>
              </a:extLst>
            </p:cNvPr>
            <p:cNvSpPr/>
            <p:nvPr/>
          </p:nvSpPr>
          <p:spPr>
            <a:xfrm>
              <a:off x="24330194" y="228598"/>
              <a:ext cx="435077" cy="435078"/>
            </a:xfrm>
            <a:custGeom>
              <a:avLst/>
              <a:gdLst>
                <a:gd name="connsiteX0" fmla="*/ 217539 w 435077"/>
                <a:gd name="connsiteY0" fmla="*/ 0 h 435078"/>
                <a:gd name="connsiteX1" fmla="*/ 0 w 435077"/>
                <a:gd name="connsiteY1" fmla="*/ 0 h 435078"/>
                <a:gd name="connsiteX2" fmla="*/ 0 w 435077"/>
                <a:gd name="connsiteY2" fmla="*/ 217539 h 435078"/>
                <a:gd name="connsiteX3" fmla="*/ 0 w 435077"/>
                <a:gd name="connsiteY3" fmla="*/ 435079 h 435078"/>
                <a:gd name="connsiteX4" fmla="*/ 217539 w 435077"/>
                <a:gd name="connsiteY4" fmla="*/ 435079 h 435078"/>
                <a:gd name="connsiteX5" fmla="*/ 435077 w 435077"/>
                <a:gd name="connsiteY5" fmla="*/ 435079 h 435078"/>
                <a:gd name="connsiteX6" fmla="*/ 435077 w 435077"/>
                <a:gd name="connsiteY6" fmla="*/ 217539 h 435078"/>
                <a:gd name="connsiteX7" fmla="*/ 435077 w 435077"/>
                <a:gd name="connsiteY7" fmla="*/ 0 h 435078"/>
                <a:gd name="connsiteX8" fmla="*/ 217539 w 435077"/>
                <a:gd name="connsiteY8" fmla="*/ 0 h 435078"/>
                <a:gd name="connsiteX9" fmla="*/ 217539 w 435077"/>
                <a:gd name="connsiteY9" fmla="*/ 0 h 435078"/>
                <a:gd name="connsiteX10" fmla="*/ 435077 w 435077"/>
                <a:gd name="connsiteY10" fmla="*/ 217539 h 435078"/>
                <a:gd name="connsiteX11" fmla="*/ 217539 w 435077"/>
                <a:gd name="connsiteY11" fmla="*/ 435079 h 435078"/>
                <a:gd name="connsiteX12" fmla="*/ 0 w 435077"/>
                <a:gd name="connsiteY12" fmla="*/ 217539 h 435078"/>
                <a:gd name="connsiteX13" fmla="*/ 217539 w 435077"/>
                <a:gd name="connsiteY13"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8">
                  <a:moveTo>
                    <a:pt x="217539" y="0"/>
                  </a:moveTo>
                  <a:lnTo>
                    <a:pt x="0" y="0"/>
                  </a:lnTo>
                  <a:lnTo>
                    <a:pt x="0" y="217539"/>
                  </a:lnTo>
                  <a:lnTo>
                    <a:pt x="0" y="435079"/>
                  </a:lnTo>
                  <a:lnTo>
                    <a:pt x="217539" y="435079"/>
                  </a:lnTo>
                  <a:lnTo>
                    <a:pt x="435077" y="435079"/>
                  </a:lnTo>
                  <a:lnTo>
                    <a:pt x="435077" y="217539"/>
                  </a:lnTo>
                  <a:lnTo>
                    <a:pt x="435077" y="0"/>
                  </a:lnTo>
                  <a:lnTo>
                    <a:pt x="217539" y="0"/>
                  </a:lnTo>
                  <a:close/>
                  <a:moveTo>
                    <a:pt x="217539" y="0"/>
                  </a:moveTo>
                  <a:lnTo>
                    <a:pt x="435077" y="217539"/>
                  </a:lnTo>
                  <a:lnTo>
                    <a:pt x="217539" y="435079"/>
                  </a:lnTo>
                  <a:lnTo>
                    <a:pt x="0" y="217539"/>
                  </a:lnTo>
                  <a:lnTo>
                    <a:pt x="217539" y="0"/>
                  </a:lnTo>
                  <a:close/>
                </a:path>
              </a:pathLst>
            </a:custGeom>
            <a:grpFill/>
            <a:ln w="27192" cap="flat">
              <a:noFill/>
              <a:prstDash val="solid"/>
              <a:miter/>
            </a:ln>
          </p:spPr>
          <p:txBody>
            <a:bodyPr rtlCol="0" anchor="ctr"/>
            <a:lstStyle/>
            <a:p>
              <a:endParaRPr lang="uk-UA" sz="900"/>
            </a:p>
          </p:txBody>
        </p:sp>
        <p:sp>
          <p:nvSpPr>
            <p:cNvPr id="500" name="Freeform: Shape 499">
              <a:extLst>
                <a:ext uri="{FF2B5EF4-FFF2-40B4-BE49-F238E27FC236}">
                  <a16:creationId xmlns:a16="http://schemas.microsoft.com/office/drawing/2014/main" id="{EB5E416E-EC8C-B047-4137-AD1AD0B19FEF}"/>
                </a:ext>
              </a:extLst>
            </p:cNvPr>
            <p:cNvSpPr/>
            <p:nvPr/>
          </p:nvSpPr>
          <p:spPr>
            <a:xfrm>
              <a:off x="835769" y="1098754"/>
              <a:ext cx="435077" cy="435077"/>
            </a:xfrm>
            <a:custGeom>
              <a:avLst/>
              <a:gdLst>
                <a:gd name="connsiteX0" fmla="*/ 63711 w 435077"/>
                <a:gd name="connsiteY0" fmla="*/ 153824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4 h 435077"/>
                <a:gd name="connsiteX5" fmla="*/ 217539 w 435077"/>
                <a:gd name="connsiteY5" fmla="*/ 217539 h 435077"/>
                <a:gd name="connsiteX6" fmla="*/ 63711 w 435077"/>
                <a:gd name="connsiteY6" fmla="*/ 153824 h 435077"/>
                <a:gd name="connsiteX7" fmla="*/ 63711 w 435077"/>
                <a:gd name="connsiteY7" fmla="*/ 281256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6 h 435077"/>
                <a:gd name="connsiteX12" fmla="*/ 217539 w 435077"/>
                <a:gd name="connsiteY12" fmla="*/ 217539 h 435077"/>
                <a:gd name="connsiteX13" fmla="*/ 63711 w 435077"/>
                <a:gd name="connsiteY13" fmla="*/ 281256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1" y="153824"/>
                  </a:moveTo>
                  <a:cubicBezTo>
                    <a:pt x="22923" y="113028"/>
                    <a:pt x="0" y="57697"/>
                    <a:pt x="0" y="0"/>
                  </a:cubicBezTo>
                  <a:lnTo>
                    <a:pt x="217539" y="0"/>
                  </a:lnTo>
                  <a:lnTo>
                    <a:pt x="435077" y="0"/>
                  </a:lnTo>
                  <a:cubicBezTo>
                    <a:pt x="435077" y="57697"/>
                    <a:pt x="412154" y="113028"/>
                    <a:pt x="371366" y="153824"/>
                  </a:cubicBezTo>
                  <a:cubicBezTo>
                    <a:pt x="330550" y="194621"/>
                    <a:pt x="275213" y="217539"/>
                    <a:pt x="217539" y="217539"/>
                  </a:cubicBezTo>
                  <a:cubicBezTo>
                    <a:pt x="159836" y="217539"/>
                    <a:pt x="104500" y="194621"/>
                    <a:pt x="63711" y="153824"/>
                  </a:cubicBezTo>
                  <a:close/>
                  <a:moveTo>
                    <a:pt x="63711" y="281256"/>
                  </a:moveTo>
                  <a:cubicBezTo>
                    <a:pt x="22923" y="322052"/>
                    <a:pt x="0" y="377383"/>
                    <a:pt x="0" y="435077"/>
                  </a:cubicBezTo>
                  <a:lnTo>
                    <a:pt x="217539" y="435077"/>
                  </a:lnTo>
                  <a:lnTo>
                    <a:pt x="435077" y="435077"/>
                  </a:lnTo>
                  <a:cubicBezTo>
                    <a:pt x="435077" y="377383"/>
                    <a:pt x="412154" y="322052"/>
                    <a:pt x="371366" y="281256"/>
                  </a:cubicBezTo>
                  <a:cubicBezTo>
                    <a:pt x="330550" y="240459"/>
                    <a:pt x="275213" y="217539"/>
                    <a:pt x="217539" y="217539"/>
                  </a:cubicBezTo>
                  <a:cubicBezTo>
                    <a:pt x="159836" y="217539"/>
                    <a:pt x="104500" y="240459"/>
                    <a:pt x="63711" y="281256"/>
                  </a:cubicBezTo>
                  <a:close/>
                </a:path>
              </a:pathLst>
            </a:custGeom>
            <a:grpFill/>
            <a:ln w="27192" cap="flat">
              <a:noFill/>
              <a:prstDash val="solid"/>
              <a:miter/>
            </a:ln>
          </p:spPr>
          <p:txBody>
            <a:bodyPr rtlCol="0" anchor="ctr"/>
            <a:lstStyle/>
            <a:p>
              <a:endParaRPr lang="uk-UA" sz="900"/>
            </a:p>
          </p:txBody>
        </p:sp>
        <p:sp>
          <p:nvSpPr>
            <p:cNvPr id="501" name="Freeform: Shape 500">
              <a:extLst>
                <a:ext uri="{FF2B5EF4-FFF2-40B4-BE49-F238E27FC236}">
                  <a16:creationId xmlns:a16="http://schemas.microsoft.com/office/drawing/2014/main" id="{0E16334E-E103-4800-8FEB-A4402044DCD0}"/>
                </a:ext>
              </a:extLst>
            </p:cNvPr>
            <p:cNvSpPr/>
            <p:nvPr/>
          </p:nvSpPr>
          <p:spPr>
            <a:xfrm>
              <a:off x="-34398" y="1098754"/>
              <a:ext cx="435063" cy="435077"/>
            </a:xfrm>
            <a:custGeom>
              <a:avLst/>
              <a:gdLst>
                <a:gd name="connsiteX0" fmla="*/ 435064 w 435063"/>
                <a:gd name="connsiteY0" fmla="*/ 435077 h 435077"/>
                <a:gd name="connsiteX1" fmla="*/ 435064 w 435063"/>
                <a:gd name="connsiteY1" fmla="*/ 0 h 435077"/>
                <a:gd name="connsiteX2" fmla="*/ 217552 w 435063"/>
                <a:gd name="connsiteY2" fmla="*/ 217544 h 435077"/>
                <a:gd name="connsiteX3" fmla="*/ 435064 w 435063"/>
                <a:gd name="connsiteY3" fmla="*/ 435077 h 435077"/>
                <a:gd name="connsiteX4" fmla="*/ 0 w 435063"/>
                <a:gd name="connsiteY4" fmla="*/ 435077 h 435077"/>
                <a:gd name="connsiteX5" fmla="*/ 0 w 435063"/>
                <a:gd name="connsiteY5" fmla="*/ 3 h 435077"/>
                <a:gd name="connsiteX6" fmla="*/ 217525 w 435063"/>
                <a:gd name="connsiteY6" fmla="*/ 217544 h 435077"/>
                <a:gd name="connsiteX7" fmla="*/ 0 w 435063"/>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63" h="435077">
                  <a:moveTo>
                    <a:pt x="435064" y="435077"/>
                  </a:moveTo>
                  <a:lnTo>
                    <a:pt x="435064" y="0"/>
                  </a:lnTo>
                  <a:lnTo>
                    <a:pt x="217552" y="217544"/>
                  </a:lnTo>
                  <a:lnTo>
                    <a:pt x="435064" y="435077"/>
                  </a:lnTo>
                  <a:close/>
                  <a:moveTo>
                    <a:pt x="0" y="435077"/>
                  </a:moveTo>
                  <a:lnTo>
                    <a:pt x="0" y="3"/>
                  </a:lnTo>
                  <a:lnTo>
                    <a:pt x="217525" y="217544"/>
                  </a:lnTo>
                  <a:lnTo>
                    <a:pt x="0" y="435077"/>
                  </a:lnTo>
                  <a:close/>
                </a:path>
              </a:pathLst>
            </a:custGeom>
            <a:grpFill/>
            <a:ln w="27192" cap="flat">
              <a:noFill/>
              <a:prstDash val="solid"/>
              <a:miter/>
            </a:ln>
          </p:spPr>
          <p:txBody>
            <a:bodyPr rtlCol="0" anchor="ctr"/>
            <a:lstStyle/>
            <a:p>
              <a:endParaRPr lang="uk-UA" sz="900"/>
            </a:p>
          </p:txBody>
        </p:sp>
        <p:sp>
          <p:nvSpPr>
            <p:cNvPr id="502" name="Freeform: Shape 501">
              <a:extLst>
                <a:ext uri="{FF2B5EF4-FFF2-40B4-BE49-F238E27FC236}">
                  <a16:creationId xmlns:a16="http://schemas.microsoft.com/office/drawing/2014/main" id="{A1BD153B-AF39-33CD-6AE5-A85D411C4354}"/>
                </a:ext>
              </a:extLst>
            </p:cNvPr>
            <p:cNvSpPr/>
            <p:nvPr/>
          </p:nvSpPr>
          <p:spPr>
            <a:xfrm>
              <a:off x="1705924" y="1098754"/>
              <a:ext cx="435077" cy="435077"/>
            </a:xfrm>
            <a:custGeom>
              <a:avLst/>
              <a:gdLst>
                <a:gd name="connsiteX0" fmla="*/ 435077 w 435077"/>
                <a:gd name="connsiteY0" fmla="*/ 435077 h 435077"/>
                <a:gd name="connsiteX1" fmla="*/ 435077 w 435077"/>
                <a:gd name="connsiteY1" fmla="*/ 217547 h 435077"/>
                <a:gd name="connsiteX2" fmla="*/ 435077 w 435077"/>
                <a:gd name="connsiteY2" fmla="*/ 16 h 435077"/>
                <a:gd name="connsiteX3" fmla="*/ 217566 w 435077"/>
                <a:gd name="connsiteY3" fmla="*/ 16 h 435077"/>
                <a:gd name="connsiteX4" fmla="*/ 435077 w 435077"/>
                <a:gd name="connsiteY4" fmla="*/ 217547 h 435077"/>
                <a:gd name="connsiteX5" fmla="*/ 217566 w 435077"/>
                <a:gd name="connsiteY5" fmla="*/ 435077 h 435077"/>
                <a:gd name="connsiteX6" fmla="*/ 435077 w 435077"/>
                <a:gd name="connsiteY6" fmla="*/ 435077 h 435077"/>
                <a:gd name="connsiteX7" fmla="*/ 0 w 435077"/>
                <a:gd name="connsiteY7" fmla="*/ 217531 h 435077"/>
                <a:gd name="connsiteX8" fmla="*/ 0 w 435077"/>
                <a:gd name="connsiteY8" fmla="*/ 0 h 435077"/>
                <a:gd name="connsiteX9" fmla="*/ 217539 w 435077"/>
                <a:gd name="connsiteY9" fmla="*/ 217531 h 435077"/>
                <a:gd name="connsiteX10" fmla="*/ 0 w 435077"/>
                <a:gd name="connsiteY10" fmla="*/ 217531 h 435077"/>
                <a:gd name="connsiteX11" fmla="*/ 0 w 435077"/>
                <a:gd name="connsiteY11" fmla="*/ 435072 h 435077"/>
                <a:gd name="connsiteX12" fmla="*/ 0 w 435077"/>
                <a:gd name="connsiteY12" fmla="*/ 217541 h 435077"/>
                <a:gd name="connsiteX13" fmla="*/ 217539 w 435077"/>
                <a:gd name="connsiteY13" fmla="*/ 217541 h 435077"/>
                <a:gd name="connsiteX14" fmla="*/ 0 w 435077"/>
                <a:gd name="connsiteY14" fmla="*/ 43507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47"/>
                  </a:lnTo>
                  <a:lnTo>
                    <a:pt x="435077" y="16"/>
                  </a:lnTo>
                  <a:lnTo>
                    <a:pt x="217566" y="16"/>
                  </a:lnTo>
                  <a:lnTo>
                    <a:pt x="435077" y="217547"/>
                  </a:lnTo>
                  <a:lnTo>
                    <a:pt x="217566" y="435077"/>
                  </a:lnTo>
                  <a:lnTo>
                    <a:pt x="435077" y="435077"/>
                  </a:lnTo>
                  <a:close/>
                  <a:moveTo>
                    <a:pt x="0" y="217531"/>
                  </a:moveTo>
                  <a:lnTo>
                    <a:pt x="0" y="0"/>
                  </a:lnTo>
                  <a:lnTo>
                    <a:pt x="217539" y="217531"/>
                  </a:lnTo>
                  <a:lnTo>
                    <a:pt x="0" y="217531"/>
                  </a:lnTo>
                  <a:close/>
                  <a:moveTo>
                    <a:pt x="0" y="435072"/>
                  </a:moveTo>
                  <a:lnTo>
                    <a:pt x="0" y="217541"/>
                  </a:lnTo>
                  <a:lnTo>
                    <a:pt x="217539" y="217541"/>
                  </a:lnTo>
                  <a:lnTo>
                    <a:pt x="0" y="435072"/>
                  </a:lnTo>
                  <a:close/>
                </a:path>
              </a:pathLst>
            </a:custGeom>
            <a:grpFill/>
            <a:ln w="27192" cap="flat">
              <a:noFill/>
              <a:prstDash val="solid"/>
              <a:miter/>
            </a:ln>
          </p:spPr>
          <p:txBody>
            <a:bodyPr rtlCol="0" anchor="ctr"/>
            <a:lstStyle/>
            <a:p>
              <a:endParaRPr lang="uk-UA" sz="900"/>
            </a:p>
          </p:txBody>
        </p:sp>
        <p:sp>
          <p:nvSpPr>
            <p:cNvPr id="503" name="Freeform: Shape 502">
              <a:extLst>
                <a:ext uri="{FF2B5EF4-FFF2-40B4-BE49-F238E27FC236}">
                  <a16:creationId xmlns:a16="http://schemas.microsoft.com/office/drawing/2014/main" id="{67CC1FB2-9598-B2D8-012F-CB27A74D0AF6}"/>
                </a:ext>
              </a:extLst>
            </p:cNvPr>
            <p:cNvSpPr/>
            <p:nvPr/>
          </p:nvSpPr>
          <p:spPr>
            <a:xfrm>
              <a:off x="2576106" y="1098754"/>
              <a:ext cx="435077" cy="435077"/>
            </a:xfrm>
            <a:custGeom>
              <a:avLst/>
              <a:gdLst>
                <a:gd name="connsiteX0" fmla="*/ 217539 w 435077"/>
                <a:gd name="connsiteY0" fmla="*/ 435069 h 435077"/>
                <a:gd name="connsiteX1" fmla="*/ 217539 w 435077"/>
                <a:gd name="connsiteY1" fmla="*/ 0 h 435077"/>
                <a:gd name="connsiteX2" fmla="*/ 435077 w 435077"/>
                <a:gd name="connsiteY2" fmla="*/ 217541 h 435077"/>
                <a:gd name="connsiteX3" fmla="*/ 217539 w 435077"/>
                <a:gd name="connsiteY3" fmla="*/ 435069 h 435077"/>
                <a:gd name="connsiteX4" fmla="*/ 0 w 435077"/>
                <a:gd name="connsiteY4" fmla="*/ 435077 h 435077"/>
                <a:gd name="connsiteX5" fmla="*/ 0 w 435077"/>
                <a:gd name="connsiteY5" fmla="*/ 8 h 435077"/>
                <a:gd name="connsiteX6" fmla="*/ 217512 w 435077"/>
                <a:gd name="connsiteY6" fmla="*/ 217547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69"/>
                  </a:moveTo>
                  <a:lnTo>
                    <a:pt x="217539" y="0"/>
                  </a:lnTo>
                  <a:lnTo>
                    <a:pt x="435077" y="217541"/>
                  </a:lnTo>
                  <a:lnTo>
                    <a:pt x="217539" y="435069"/>
                  </a:lnTo>
                  <a:close/>
                  <a:moveTo>
                    <a:pt x="0" y="435077"/>
                  </a:moveTo>
                  <a:lnTo>
                    <a:pt x="0" y="8"/>
                  </a:lnTo>
                  <a:lnTo>
                    <a:pt x="217512" y="217547"/>
                  </a:lnTo>
                  <a:lnTo>
                    <a:pt x="0" y="435077"/>
                  </a:lnTo>
                  <a:close/>
                </a:path>
              </a:pathLst>
            </a:custGeom>
            <a:grpFill/>
            <a:ln w="27192" cap="flat">
              <a:noFill/>
              <a:prstDash val="solid"/>
              <a:miter/>
            </a:ln>
          </p:spPr>
          <p:txBody>
            <a:bodyPr rtlCol="0" anchor="ctr"/>
            <a:lstStyle/>
            <a:p>
              <a:endParaRPr lang="uk-UA" sz="900"/>
            </a:p>
          </p:txBody>
        </p:sp>
        <p:sp>
          <p:nvSpPr>
            <p:cNvPr id="504" name="Freeform: Shape 503">
              <a:extLst>
                <a:ext uri="{FF2B5EF4-FFF2-40B4-BE49-F238E27FC236}">
                  <a16:creationId xmlns:a16="http://schemas.microsoft.com/office/drawing/2014/main" id="{261203A5-9A78-46AF-1766-358548BCBD46}"/>
                </a:ext>
              </a:extLst>
            </p:cNvPr>
            <p:cNvSpPr/>
            <p:nvPr/>
          </p:nvSpPr>
          <p:spPr>
            <a:xfrm>
              <a:off x="4316416" y="1098754"/>
              <a:ext cx="435077" cy="435077"/>
            </a:xfrm>
            <a:custGeom>
              <a:avLst/>
              <a:gdLst>
                <a:gd name="connsiteX0" fmla="*/ 63739 w 435077"/>
                <a:gd name="connsiteY0" fmla="*/ 153824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4 h 435077"/>
                <a:gd name="connsiteX5" fmla="*/ 217539 w 435077"/>
                <a:gd name="connsiteY5" fmla="*/ 217539 h 435077"/>
                <a:gd name="connsiteX6" fmla="*/ 63739 w 435077"/>
                <a:gd name="connsiteY6" fmla="*/ 153824 h 435077"/>
                <a:gd name="connsiteX7" fmla="*/ 63739 w 435077"/>
                <a:gd name="connsiteY7" fmla="*/ 281256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6 h 435077"/>
                <a:gd name="connsiteX12" fmla="*/ 217539 w 435077"/>
                <a:gd name="connsiteY12" fmla="*/ 217539 h 435077"/>
                <a:gd name="connsiteX13" fmla="*/ 63739 w 435077"/>
                <a:gd name="connsiteY13" fmla="*/ 281256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4"/>
                  </a:moveTo>
                  <a:cubicBezTo>
                    <a:pt x="22923" y="113028"/>
                    <a:pt x="0" y="57697"/>
                    <a:pt x="0" y="0"/>
                  </a:cubicBezTo>
                  <a:lnTo>
                    <a:pt x="217539" y="0"/>
                  </a:lnTo>
                  <a:lnTo>
                    <a:pt x="435077" y="0"/>
                  </a:lnTo>
                  <a:cubicBezTo>
                    <a:pt x="435077" y="57697"/>
                    <a:pt x="412181" y="113028"/>
                    <a:pt x="371365" y="153824"/>
                  </a:cubicBezTo>
                  <a:cubicBezTo>
                    <a:pt x="330577" y="194621"/>
                    <a:pt x="275240" y="217539"/>
                    <a:pt x="217539" y="217539"/>
                  </a:cubicBezTo>
                  <a:cubicBezTo>
                    <a:pt x="159864" y="217539"/>
                    <a:pt x="104527" y="194621"/>
                    <a:pt x="63739" y="153824"/>
                  </a:cubicBezTo>
                  <a:close/>
                  <a:moveTo>
                    <a:pt x="63739" y="281256"/>
                  </a:moveTo>
                  <a:cubicBezTo>
                    <a:pt x="22923" y="322052"/>
                    <a:pt x="0" y="377383"/>
                    <a:pt x="0" y="435077"/>
                  </a:cubicBezTo>
                  <a:lnTo>
                    <a:pt x="217539" y="435077"/>
                  </a:lnTo>
                  <a:lnTo>
                    <a:pt x="435077" y="435077"/>
                  </a:lnTo>
                  <a:cubicBezTo>
                    <a:pt x="435077" y="377383"/>
                    <a:pt x="412181" y="322052"/>
                    <a:pt x="371365" y="281256"/>
                  </a:cubicBezTo>
                  <a:cubicBezTo>
                    <a:pt x="330577" y="240459"/>
                    <a:pt x="275240" y="217539"/>
                    <a:pt x="217539" y="217539"/>
                  </a:cubicBezTo>
                  <a:cubicBezTo>
                    <a:pt x="159864" y="217539"/>
                    <a:pt x="104527" y="240459"/>
                    <a:pt x="63739" y="281256"/>
                  </a:cubicBezTo>
                  <a:close/>
                </a:path>
              </a:pathLst>
            </a:custGeom>
            <a:grpFill/>
            <a:ln w="27192" cap="flat">
              <a:noFill/>
              <a:prstDash val="solid"/>
              <a:miter/>
            </a:ln>
          </p:spPr>
          <p:txBody>
            <a:bodyPr rtlCol="0" anchor="ctr"/>
            <a:lstStyle/>
            <a:p>
              <a:endParaRPr lang="uk-UA" sz="900"/>
            </a:p>
          </p:txBody>
        </p:sp>
        <p:sp>
          <p:nvSpPr>
            <p:cNvPr id="505" name="Freeform: Shape 504">
              <a:extLst>
                <a:ext uri="{FF2B5EF4-FFF2-40B4-BE49-F238E27FC236}">
                  <a16:creationId xmlns:a16="http://schemas.microsoft.com/office/drawing/2014/main" id="{D95F8299-C7E8-E6EF-7CF8-6A598D0262B1}"/>
                </a:ext>
              </a:extLst>
            </p:cNvPr>
            <p:cNvSpPr/>
            <p:nvPr/>
          </p:nvSpPr>
          <p:spPr>
            <a:xfrm>
              <a:off x="3446261" y="1098754"/>
              <a:ext cx="435077" cy="435077"/>
            </a:xfrm>
            <a:custGeom>
              <a:avLst/>
              <a:gdLst>
                <a:gd name="connsiteX0" fmla="*/ 435077 w 435077"/>
                <a:gd name="connsiteY0" fmla="*/ 435077 h 435077"/>
                <a:gd name="connsiteX1" fmla="*/ 435077 w 435077"/>
                <a:gd name="connsiteY1" fmla="*/ 0 h 435077"/>
                <a:gd name="connsiteX2" fmla="*/ 217566 w 435077"/>
                <a:gd name="connsiteY2" fmla="*/ 217544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44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6" y="217544"/>
                  </a:lnTo>
                  <a:lnTo>
                    <a:pt x="435077" y="435077"/>
                  </a:lnTo>
                  <a:close/>
                  <a:moveTo>
                    <a:pt x="0" y="435077"/>
                  </a:moveTo>
                  <a:lnTo>
                    <a:pt x="0" y="3"/>
                  </a:lnTo>
                  <a:lnTo>
                    <a:pt x="217539" y="217544"/>
                  </a:lnTo>
                  <a:lnTo>
                    <a:pt x="0" y="435077"/>
                  </a:lnTo>
                  <a:close/>
                </a:path>
              </a:pathLst>
            </a:custGeom>
            <a:grpFill/>
            <a:ln w="27192" cap="flat">
              <a:noFill/>
              <a:prstDash val="solid"/>
              <a:miter/>
            </a:ln>
          </p:spPr>
          <p:txBody>
            <a:bodyPr rtlCol="0" anchor="ctr"/>
            <a:lstStyle/>
            <a:p>
              <a:endParaRPr lang="uk-UA" sz="900"/>
            </a:p>
          </p:txBody>
        </p:sp>
        <p:sp>
          <p:nvSpPr>
            <p:cNvPr id="506" name="Freeform: Shape 505">
              <a:extLst>
                <a:ext uri="{FF2B5EF4-FFF2-40B4-BE49-F238E27FC236}">
                  <a16:creationId xmlns:a16="http://schemas.microsoft.com/office/drawing/2014/main" id="{C39F323B-2923-58D0-B9B6-534633326738}"/>
                </a:ext>
              </a:extLst>
            </p:cNvPr>
            <p:cNvSpPr/>
            <p:nvPr/>
          </p:nvSpPr>
          <p:spPr>
            <a:xfrm>
              <a:off x="5186597" y="1098754"/>
              <a:ext cx="435077" cy="435077"/>
            </a:xfrm>
            <a:custGeom>
              <a:avLst/>
              <a:gdLst>
                <a:gd name="connsiteX0" fmla="*/ 435077 w 435077"/>
                <a:gd name="connsiteY0" fmla="*/ 435077 h 435077"/>
                <a:gd name="connsiteX1" fmla="*/ 435077 w 435077"/>
                <a:gd name="connsiteY1" fmla="*/ 217547 h 435077"/>
                <a:gd name="connsiteX2" fmla="*/ 435077 w 435077"/>
                <a:gd name="connsiteY2" fmla="*/ 16 h 435077"/>
                <a:gd name="connsiteX3" fmla="*/ 217539 w 435077"/>
                <a:gd name="connsiteY3" fmla="*/ 16 h 435077"/>
                <a:gd name="connsiteX4" fmla="*/ 435077 w 435077"/>
                <a:gd name="connsiteY4" fmla="*/ 217547 h 435077"/>
                <a:gd name="connsiteX5" fmla="*/ 217539 w 435077"/>
                <a:gd name="connsiteY5" fmla="*/ 435077 h 435077"/>
                <a:gd name="connsiteX6" fmla="*/ 435077 w 435077"/>
                <a:gd name="connsiteY6" fmla="*/ 435077 h 435077"/>
                <a:gd name="connsiteX7" fmla="*/ 0 w 435077"/>
                <a:gd name="connsiteY7" fmla="*/ 217531 h 435077"/>
                <a:gd name="connsiteX8" fmla="*/ 0 w 435077"/>
                <a:gd name="connsiteY8" fmla="*/ 0 h 435077"/>
                <a:gd name="connsiteX9" fmla="*/ 217512 w 435077"/>
                <a:gd name="connsiteY9" fmla="*/ 217531 h 435077"/>
                <a:gd name="connsiteX10" fmla="*/ 0 w 435077"/>
                <a:gd name="connsiteY10" fmla="*/ 217531 h 435077"/>
                <a:gd name="connsiteX11" fmla="*/ 0 w 435077"/>
                <a:gd name="connsiteY11" fmla="*/ 435072 h 435077"/>
                <a:gd name="connsiteX12" fmla="*/ 0 w 435077"/>
                <a:gd name="connsiteY12" fmla="*/ 217541 h 435077"/>
                <a:gd name="connsiteX13" fmla="*/ 217512 w 435077"/>
                <a:gd name="connsiteY13" fmla="*/ 217541 h 435077"/>
                <a:gd name="connsiteX14" fmla="*/ 0 w 435077"/>
                <a:gd name="connsiteY14" fmla="*/ 43507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47"/>
                  </a:lnTo>
                  <a:lnTo>
                    <a:pt x="435077" y="16"/>
                  </a:lnTo>
                  <a:lnTo>
                    <a:pt x="217539" y="16"/>
                  </a:lnTo>
                  <a:lnTo>
                    <a:pt x="435077" y="217547"/>
                  </a:lnTo>
                  <a:lnTo>
                    <a:pt x="217539" y="435077"/>
                  </a:lnTo>
                  <a:lnTo>
                    <a:pt x="435077" y="435077"/>
                  </a:lnTo>
                  <a:close/>
                  <a:moveTo>
                    <a:pt x="0" y="217531"/>
                  </a:moveTo>
                  <a:lnTo>
                    <a:pt x="0" y="0"/>
                  </a:lnTo>
                  <a:lnTo>
                    <a:pt x="217512" y="217531"/>
                  </a:lnTo>
                  <a:lnTo>
                    <a:pt x="0" y="217531"/>
                  </a:lnTo>
                  <a:close/>
                  <a:moveTo>
                    <a:pt x="0" y="435072"/>
                  </a:moveTo>
                  <a:lnTo>
                    <a:pt x="0" y="217541"/>
                  </a:lnTo>
                  <a:lnTo>
                    <a:pt x="217512" y="217541"/>
                  </a:lnTo>
                  <a:lnTo>
                    <a:pt x="0" y="435072"/>
                  </a:lnTo>
                  <a:close/>
                </a:path>
              </a:pathLst>
            </a:custGeom>
            <a:grpFill/>
            <a:ln w="27192" cap="flat">
              <a:noFill/>
              <a:prstDash val="solid"/>
              <a:miter/>
            </a:ln>
          </p:spPr>
          <p:txBody>
            <a:bodyPr rtlCol="0" anchor="ctr"/>
            <a:lstStyle/>
            <a:p>
              <a:endParaRPr lang="uk-UA" sz="900"/>
            </a:p>
          </p:txBody>
        </p:sp>
        <p:sp>
          <p:nvSpPr>
            <p:cNvPr id="507" name="Freeform: Shape 506">
              <a:extLst>
                <a:ext uri="{FF2B5EF4-FFF2-40B4-BE49-F238E27FC236}">
                  <a16:creationId xmlns:a16="http://schemas.microsoft.com/office/drawing/2014/main" id="{DF74C273-5A93-FBFA-2D2F-EF8F7D3A2C2F}"/>
                </a:ext>
              </a:extLst>
            </p:cNvPr>
            <p:cNvSpPr/>
            <p:nvPr/>
          </p:nvSpPr>
          <p:spPr>
            <a:xfrm>
              <a:off x="6056752" y="1098754"/>
              <a:ext cx="435077" cy="435077"/>
            </a:xfrm>
            <a:custGeom>
              <a:avLst/>
              <a:gdLst>
                <a:gd name="connsiteX0" fmla="*/ 217539 w 435077"/>
                <a:gd name="connsiteY0" fmla="*/ 435069 h 435077"/>
                <a:gd name="connsiteX1" fmla="*/ 217539 w 435077"/>
                <a:gd name="connsiteY1" fmla="*/ 0 h 435077"/>
                <a:gd name="connsiteX2" fmla="*/ 435077 w 435077"/>
                <a:gd name="connsiteY2" fmla="*/ 217541 h 435077"/>
                <a:gd name="connsiteX3" fmla="*/ 217539 w 435077"/>
                <a:gd name="connsiteY3" fmla="*/ 435069 h 435077"/>
                <a:gd name="connsiteX4" fmla="*/ 0 w 435077"/>
                <a:gd name="connsiteY4" fmla="*/ 435077 h 435077"/>
                <a:gd name="connsiteX5" fmla="*/ 0 w 435077"/>
                <a:gd name="connsiteY5" fmla="*/ 8 h 435077"/>
                <a:gd name="connsiteX6" fmla="*/ 217539 w 435077"/>
                <a:gd name="connsiteY6" fmla="*/ 217547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69"/>
                  </a:moveTo>
                  <a:lnTo>
                    <a:pt x="217539" y="0"/>
                  </a:lnTo>
                  <a:lnTo>
                    <a:pt x="435077" y="217541"/>
                  </a:lnTo>
                  <a:lnTo>
                    <a:pt x="217539" y="435069"/>
                  </a:lnTo>
                  <a:close/>
                  <a:moveTo>
                    <a:pt x="0" y="435077"/>
                  </a:moveTo>
                  <a:lnTo>
                    <a:pt x="0" y="8"/>
                  </a:lnTo>
                  <a:lnTo>
                    <a:pt x="217539" y="217547"/>
                  </a:lnTo>
                  <a:lnTo>
                    <a:pt x="0" y="435077"/>
                  </a:lnTo>
                  <a:close/>
                </a:path>
              </a:pathLst>
            </a:custGeom>
            <a:grpFill/>
            <a:ln w="27192" cap="flat">
              <a:noFill/>
              <a:prstDash val="solid"/>
              <a:miter/>
            </a:ln>
          </p:spPr>
          <p:txBody>
            <a:bodyPr rtlCol="0" anchor="ctr"/>
            <a:lstStyle/>
            <a:p>
              <a:endParaRPr lang="uk-UA" sz="900"/>
            </a:p>
          </p:txBody>
        </p:sp>
        <p:sp>
          <p:nvSpPr>
            <p:cNvPr id="508" name="Freeform: Shape 507">
              <a:extLst>
                <a:ext uri="{FF2B5EF4-FFF2-40B4-BE49-F238E27FC236}">
                  <a16:creationId xmlns:a16="http://schemas.microsoft.com/office/drawing/2014/main" id="{D2A740CE-AC57-92E3-6BD5-2CA355739CF1}"/>
                </a:ext>
              </a:extLst>
            </p:cNvPr>
            <p:cNvSpPr/>
            <p:nvPr/>
          </p:nvSpPr>
          <p:spPr>
            <a:xfrm>
              <a:off x="7797062" y="1098754"/>
              <a:ext cx="435077" cy="435077"/>
            </a:xfrm>
            <a:custGeom>
              <a:avLst/>
              <a:gdLst>
                <a:gd name="connsiteX0" fmla="*/ 63739 w 435077"/>
                <a:gd name="connsiteY0" fmla="*/ 153824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4 h 435077"/>
                <a:gd name="connsiteX5" fmla="*/ 217539 w 435077"/>
                <a:gd name="connsiteY5" fmla="*/ 217539 h 435077"/>
                <a:gd name="connsiteX6" fmla="*/ 63739 w 435077"/>
                <a:gd name="connsiteY6" fmla="*/ 153824 h 435077"/>
                <a:gd name="connsiteX7" fmla="*/ 63739 w 435077"/>
                <a:gd name="connsiteY7" fmla="*/ 281256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6 h 435077"/>
                <a:gd name="connsiteX12" fmla="*/ 217539 w 435077"/>
                <a:gd name="connsiteY12" fmla="*/ 217539 h 435077"/>
                <a:gd name="connsiteX13" fmla="*/ 63739 w 435077"/>
                <a:gd name="connsiteY13" fmla="*/ 281256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4"/>
                  </a:moveTo>
                  <a:cubicBezTo>
                    <a:pt x="22924" y="113028"/>
                    <a:pt x="0" y="57697"/>
                    <a:pt x="0" y="0"/>
                  </a:cubicBezTo>
                  <a:lnTo>
                    <a:pt x="217539" y="0"/>
                  </a:lnTo>
                  <a:lnTo>
                    <a:pt x="435077" y="0"/>
                  </a:lnTo>
                  <a:cubicBezTo>
                    <a:pt x="435077" y="57697"/>
                    <a:pt x="412182" y="113028"/>
                    <a:pt x="371366" y="153824"/>
                  </a:cubicBezTo>
                  <a:cubicBezTo>
                    <a:pt x="330578" y="194621"/>
                    <a:pt x="275241" y="217539"/>
                    <a:pt x="217539" y="217539"/>
                  </a:cubicBezTo>
                  <a:cubicBezTo>
                    <a:pt x="159864" y="217539"/>
                    <a:pt x="104527" y="194621"/>
                    <a:pt x="63739" y="153824"/>
                  </a:cubicBezTo>
                  <a:close/>
                  <a:moveTo>
                    <a:pt x="63739" y="281256"/>
                  </a:moveTo>
                  <a:cubicBezTo>
                    <a:pt x="22924" y="322052"/>
                    <a:pt x="0" y="377383"/>
                    <a:pt x="0" y="435077"/>
                  </a:cubicBezTo>
                  <a:lnTo>
                    <a:pt x="217539" y="435077"/>
                  </a:lnTo>
                  <a:lnTo>
                    <a:pt x="435077" y="435077"/>
                  </a:lnTo>
                  <a:cubicBezTo>
                    <a:pt x="435077" y="377383"/>
                    <a:pt x="412182" y="322052"/>
                    <a:pt x="371366" y="281256"/>
                  </a:cubicBezTo>
                  <a:cubicBezTo>
                    <a:pt x="330578" y="240459"/>
                    <a:pt x="275241" y="217539"/>
                    <a:pt x="217539" y="217539"/>
                  </a:cubicBezTo>
                  <a:cubicBezTo>
                    <a:pt x="159864" y="217539"/>
                    <a:pt x="104527" y="240459"/>
                    <a:pt x="63739" y="281256"/>
                  </a:cubicBezTo>
                  <a:close/>
                </a:path>
              </a:pathLst>
            </a:custGeom>
            <a:grpFill/>
            <a:ln w="27192" cap="flat">
              <a:noFill/>
              <a:prstDash val="solid"/>
              <a:miter/>
            </a:ln>
          </p:spPr>
          <p:txBody>
            <a:bodyPr rtlCol="0" anchor="ctr"/>
            <a:lstStyle/>
            <a:p>
              <a:endParaRPr lang="uk-UA" sz="900"/>
            </a:p>
          </p:txBody>
        </p:sp>
        <p:sp>
          <p:nvSpPr>
            <p:cNvPr id="509" name="Freeform: Shape 508">
              <a:extLst>
                <a:ext uri="{FF2B5EF4-FFF2-40B4-BE49-F238E27FC236}">
                  <a16:creationId xmlns:a16="http://schemas.microsoft.com/office/drawing/2014/main" id="{07D62913-B011-4A06-436F-698E3A6D3076}"/>
                </a:ext>
              </a:extLst>
            </p:cNvPr>
            <p:cNvSpPr/>
            <p:nvPr/>
          </p:nvSpPr>
          <p:spPr>
            <a:xfrm>
              <a:off x="6926907" y="1098754"/>
              <a:ext cx="435077" cy="435077"/>
            </a:xfrm>
            <a:custGeom>
              <a:avLst/>
              <a:gdLst>
                <a:gd name="connsiteX0" fmla="*/ 435077 w 435077"/>
                <a:gd name="connsiteY0" fmla="*/ 435077 h 435077"/>
                <a:gd name="connsiteX1" fmla="*/ 435077 w 435077"/>
                <a:gd name="connsiteY1" fmla="*/ 0 h 435077"/>
                <a:gd name="connsiteX2" fmla="*/ 217566 w 435077"/>
                <a:gd name="connsiteY2" fmla="*/ 217544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44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6" y="217544"/>
                  </a:lnTo>
                  <a:lnTo>
                    <a:pt x="435077" y="435077"/>
                  </a:lnTo>
                  <a:close/>
                  <a:moveTo>
                    <a:pt x="0" y="435077"/>
                  </a:moveTo>
                  <a:lnTo>
                    <a:pt x="0" y="3"/>
                  </a:lnTo>
                  <a:lnTo>
                    <a:pt x="217539" y="217544"/>
                  </a:lnTo>
                  <a:lnTo>
                    <a:pt x="0" y="435077"/>
                  </a:lnTo>
                  <a:close/>
                </a:path>
              </a:pathLst>
            </a:custGeom>
            <a:grpFill/>
            <a:ln w="27192" cap="flat">
              <a:noFill/>
              <a:prstDash val="solid"/>
              <a:miter/>
            </a:ln>
          </p:spPr>
          <p:txBody>
            <a:bodyPr rtlCol="0" anchor="ctr"/>
            <a:lstStyle/>
            <a:p>
              <a:endParaRPr lang="uk-UA" sz="900"/>
            </a:p>
          </p:txBody>
        </p:sp>
        <p:sp>
          <p:nvSpPr>
            <p:cNvPr id="510" name="Freeform: Shape 509">
              <a:extLst>
                <a:ext uri="{FF2B5EF4-FFF2-40B4-BE49-F238E27FC236}">
                  <a16:creationId xmlns:a16="http://schemas.microsoft.com/office/drawing/2014/main" id="{017D64C4-49B4-27FD-50BC-A375E3FC8EA6}"/>
                </a:ext>
              </a:extLst>
            </p:cNvPr>
            <p:cNvSpPr/>
            <p:nvPr/>
          </p:nvSpPr>
          <p:spPr>
            <a:xfrm>
              <a:off x="8667217" y="1098754"/>
              <a:ext cx="435077" cy="435077"/>
            </a:xfrm>
            <a:custGeom>
              <a:avLst/>
              <a:gdLst>
                <a:gd name="connsiteX0" fmla="*/ 435077 w 435077"/>
                <a:gd name="connsiteY0" fmla="*/ 435077 h 435077"/>
                <a:gd name="connsiteX1" fmla="*/ 435077 w 435077"/>
                <a:gd name="connsiteY1" fmla="*/ 217547 h 435077"/>
                <a:gd name="connsiteX2" fmla="*/ 435077 w 435077"/>
                <a:gd name="connsiteY2" fmla="*/ 16 h 435077"/>
                <a:gd name="connsiteX3" fmla="*/ 217566 w 435077"/>
                <a:gd name="connsiteY3" fmla="*/ 16 h 435077"/>
                <a:gd name="connsiteX4" fmla="*/ 435077 w 435077"/>
                <a:gd name="connsiteY4" fmla="*/ 217547 h 435077"/>
                <a:gd name="connsiteX5" fmla="*/ 217566 w 435077"/>
                <a:gd name="connsiteY5" fmla="*/ 435077 h 435077"/>
                <a:gd name="connsiteX6" fmla="*/ 435077 w 435077"/>
                <a:gd name="connsiteY6" fmla="*/ 435077 h 435077"/>
                <a:gd name="connsiteX7" fmla="*/ 0 w 435077"/>
                <a:gd name="connsiteY7" fmla="*/ 217531 h 435077"/>
                <a:gd name="connsiteX8" fmla="*/ 0 w 435077"/>
                <a:gd name="connsiteY8" fmla="*/ 0 h 435077"/>
                <a:gd name="connsiteX9" fmla="*/ 217539 w 435077"/>
                <a:gd name="connsiteY9" fmla="*/ 217531 h 435077"/>
                <a:gd name="connsiteX10" fmla="*/ 0 w 435077"/>
                <a:gd name="connsiteY10" fmla="*/ 217531 h 435077"/>
                <a:gd name="connsiteX11" fmla="*/ 0 w 435077"/>
                <a:gd name="connsiteY11" fmla="*/ 435072 h 435077"/>
                <a:gd name="connsiteX12" fmla="*/ 0 w 435077"/>
                <a:gd name="connsiteY12" fmla="*/ 217541 h 435077"/>
                <a:gd name="connsiteX13" fmla="*/ 217539 w 435077"/>
                <a:gd name="connsiteY13" fmla="*/ 217541 h 435077"/>
                <a:gd name="connsiteX14" fmla="*/ 0 w 435077"/>
                <a:gd name="connsiteY14" fmla="*/ 43507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47"/>
                  </a:lnTo>
                  <a:lnTo>
                    <a:pt x="435077" y="16"/>
                  </a:lnTo>
                  <a:lnTo>
                    <a:pt x="217566" y="16"/>
                  </a:lnTo>
                  <a:lnTo>
                    <a:pt x="435077" y="217547"/>
                  </a:lnTo>
                  <a:lnTo>
                    <a:pt x="217566" y="435077"/>
                  </a:lnTo>
                  <a:lnTo>
                    <a:pt x="435077" y="435077"/>
                  </a:lnTo>
                  <a:close/>
                  <a:moveTo>
                    <a:pt x="0" y="217531"/>
                  </a:moveTo>
                  <a:lnTo>
                    <a:pt x="0" y="0"/>
                  </a:lnTo>
                  <a:lnTo>
                    <a:pt x="217539" y="217531"/>
                  </a:lnTo>
                  <a:lnTo>
                    <a:pt x="0" y="217531"/>
                  </a:lnTo>
                  <a:close/>
                  <a:moveTo>
                    <a:pt x="0" y="435072"/>
                  </a:moveTo>
                  <a:lnTo>
                    <a:pt x="0" y="217541"/>
                  </a:lnTo>
                  <a:lnTo>
                    <a:pt x="217539" y="217541"/>
                  </a:lnTo>
                  <a:lnTo>
                    <a:pt x="0" y="435072"/>
                  </a:lnTo>
                  <a:close/>
                </a:path>
              </a:pathLst>
            </a:custGeom>
            <a:grpFill/>
            <a:ln w="27192" cap="flat">
              <a:noFill/>
              <a:prstDash val="solid"/>
              <a:miter/>
            </a:ln>
          </p:spPr>
          <p:txBody>
            <a:bodyPr rtlCol="0" anchor="ctr"/>
            <a:lstStyle/>
            <a:p>
              <a:endParaRPr lang="uk-UA" sz="900"/>
            </a:p>
          </p:txBody>
        </p:sp>
        <p:sp>
          <p:nvSpPr>
            <p:cNvPr id="511" name="Freeform: Shape 510">
              <a:extLst>
                <a:ext uri="{FF2B5EF4-FFF2-40B4-BE49-F238E27FC236}">
                  <a16:creationId xmlns:a16="http://schemas.microsoft.com/office/drawing/2014/main" id="{A9E47EE9-11DC-63D4-5B11-DC832CCCF9D1}"/>
                </a:ext>
              </a:extLst>
            </p:cNvPr>
            <p:cNvSpPr/>
            <p:nvPr/>
          </p:nvSpPr>
          <p:spPr>
            <a:xfrm>
              <a:off x="9537399" y="1098754"/>
              <a:ext cx="435077" cy="435077"/>
            </a:xfrm>
            <a:custGeom>
              <a:avLst/>
              <a:gdLst>
                <a:gd name="connsiteX0" fmla="*/ 217539 w 435077"/>
                <a:gd name="connsiteY0" fmla="*/ 435069 h 435077"/>
                <a:gd name="connsiteX1" fmla="*/ 217539 w 435077"/>
                <a:gd name="connsiteY1" fmla="*/ 0 h 435077"/>
                <a:gd name="connsiteX2" fmla="*/ 435077 w 435077"/>
                <a:gd name="connsiteY2" fmla="*/ 217541 h 435077"/>
                <a:gd name="connsiteX3" fmla="*/ 217539 w 435077"/>
                <a:gd name="connsiteY3" fmla="*/ 435069 h 435077"/>
                <a:gd name="connsiteX4" fmla="*/ 0 w 435077"/>
                <a:gd name="connsiteY4" fmla="*/ 435077 h 435077"/>
                <a:gd name="connsiteX5" fmla="*/ 0 w 435077"/>
                <a:gd name="connsiteY5" fmla="*/ 8 h 435077"/>
                <a:gd name="connsiteX6" fmla="*/ 217539 w 435077"/>
                <a:gd name="connsiteY6" fmla="*/ 217547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69"/>
                  </a:moveTo>
                  <a:lnTo>
                    <a:pt x="217539" y="0"/>
                  </a:lnTo>
                  <a:lnTo>
                    <a:pt x="435077" y="217541"/>
                  </a:lnTo>
                  <a:lnTo>
                    <a:pt x="217539" y="435069"/>
                  </a:lnTo>
                  <a:close/>
                  <a:moveTo>
                    <a:pt x="0" y="435077"/>
                  </a:moveTo>
                  <a:lnTo>
                    <a:pt x="0" y="8"/>
                  </a:lnTo>
                  <a:lnTo>
                    <a:pt x="217539" y="217547"/>
                  </a:lnTo>
                  <a:lnTo>
                    <a:pt x="0" y="435077"/>
                  </a:lnTo>
                  <a:close/>
                </a:path>
              </a:pathLst>
            </a:custGeom>
            <a:grpFill/>
            <a:ln w="27192" cap="flat">
              <a:noFill/>
              <a:prstDash val="solid"/>
              <a:miter/>
            </a:ln>
          </p:spPr>
          <p:txBody>
            <a:bodyPr rtlCol="0" anchor="ctr"/>
            <a:lstStyle/>
            <a:p>
              <a:endParaRPr lang="uk-UA" sz="900"/>
            </a:p>
          </p:txBody>
        </p:sp>
        <p:sp>
          <p:nvSpPr>
            <p:cNvPr id="512" name="Freeform: Shape 511">
              <a:extLst>
                <a:ext uri="{FF2B5EF4-FFF2-40B4-BE49-F238E27FC236}">
                  <a16:creationId xmlns:a16="http://schemas.microsoft.com/office/drawing/2014/main" id="{B4C0A413-6DF4-3C6E-326C-95420F9B1B5C}"/>
                </a:ext>
              </a:extLst>
            </p:cNvPr>
            <p:cNvSpPr/>
            <p:nvPr/>
          </p:nvSpPr>
          <p:spPr>
            <a:xfrm>
              <a:off x="11277709" y="1098754"/>
              <a:ext cx="435077" cy="435077"/>
            </a:xfrm>
            <a:custGeom>
              <a:avLst/>
              <a:gdLst>
                <a:gd name="connsiteX0" fmla="*/ 63710 w 435077"/>
                <a:gd name="connsiteY0" fmla="*/ 153824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4 h 435077"/>
                <a:gd name="connsiteX5" fmla="*/ 217539 w 435077"/>
                <a:gd name="connsiteY5" fmla="*/ 217539 h 435077"/>
                <a:gd name="connsiteX6" fmla="*/ 63710 w 435077"/>
                <a:gd name="connsiteY6" fmla="*/ 153824 h 435077"/>
                <a:gd name="connsiteX7" fmla="*/ 63710 w 435077"/>
                <a:gd name="connsiteY7" fmla="*/ 281256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6 h 435077"/>
                <a:gd name="connsiteX12" fmla="*/ 217539 w 435077"/>
                <a:gd name="connsiteY12" fmla="*/ 217539 h 435077"/>
                <a:gd name="connsiteX13" fmla="*/ 63710 w 435077"/>
                <a:gd name="connsiteY13" fmla="*/ 281256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4"/>
                  </a:moveTo>
                  <a:cubicBezTo>
                    <a:pt x="22922" y="113028"/>
                    <a:pt x="0" y="57697"/>
                    <a:pt x="0" y="0"/>
                  </a:cubicBezTo>
                  <a:lnTo>
                    <a:pt x="217539" y="0"/>
                  </a:lnTo>
                  <a:lnTo>
                    <a:pt x="435077" y="0"/>
                  </a:lnTo>
                  <a:cubicBezTo>
                    <a:pt x="435077" y="57697"/>
                    <a:pt x="412154" y="113028"/>
                    <a:pt x="371365" y="153824"/>
                  </a:cubicBezTo>
                  <a:cubicBezTo>
                    <a:pt x="330549" y="194621"/>
                    <a:pt x="275239" y="217539"/>
                    <a:pt x="217539" y="217539"/>
                  </a:cubicBezTo>
                  <a:cubicBezTo>
                    <a:pt x="159836" y="217539"/>
                    <a:pt x="104499" y="194621"/>
                    <a:pt x="63710" y="153824"/>
                  </a:cubicBezTo>
                  <a:close/>
                  <a:moveTo>
                    <a:pt x="63710" y="281256"/>
                  </a:moveTo>
                  <a:cubicBezTo>
                    <a:pt x="22922" y="322052"/>
                    <a:pt x="0" y="377383"/>
                    <a:pt x="0" y="435077"/>
                  </a:cubicBezTo>
                  <a:lnTo>
                    <a:pt x="217539" y="435077"/>
                  </a:lnTo>
                  <a:lnTo>
                    <a:pt x="435077" y="435077"/>
                  </a:lnTo>
                  <a:cubicBezTo>
                    <a:pt x="435077" y="377383"/>
                    <a:pt x="412154" y="322052"/>
                    <a:pt x="371365" y="281256"/>
                  </a:cubicBezTo>
                  <a:cubicBezTo>
                    <a:pt x="330549" y="240459"/>
                    <a:pt x="275239" y="217539"/>
                    <a:pt x="217539" y="217539"/>
                  </a:cubicBezTo>
                  <a:cubicBezTo>
                    <a:pt x="159836" y="217539"/>
                    <a:pt x="104499" y="240459"/>
                    <a:pt x="63710" y="281256"/>
                  </a:cubicBezTo>
                  <a:close/>
                </a:path>
              </a:pathLst>
            </a:custGeom>
            <a:grpFill/>
            <a:ln w="27192" cap="flat">
              <a:noFill/>
              <a:prstDash val="solid"/>
              <a:miter/>
            </a:ln>
          </p:spPr>
          <p:txBody>
            <a:bodyPr rtlCol="0" anchor="ctr"/>
            <a:lstStyle/>
            <a:p>
              <a:endParaRPr lang="uk-UA" sz="900"/>
            </a:p>
          </p:txBody>
        </p:sp>
        <p:sp>
          <p:nvSpPr>
            <p:cNvPr id="513" name="Freeform: Shape 512">
              <a:extLst>
                <a:ext uri="{FF2B5EF4-FFF2-40B4-BE49-F238E27FC236}">
                  <a16:creationId xmlns:a16="http://schemas.microsoft.com/office/drawing/2014/main" id="{1578C613-DF92-39C3-B2BE-9F7DED971CBD}"/>
                </a:ext>
              </a:extLst>
            </p:cNvPr>
            <p:cNvSpPr/>
            <p:nvPr/>
          </p:nvSpPr>
          <p:spPr>
            <a:xfrm>
              <a:off x="10407554" y="1098754"/>
              <a:ext cx="435077" cy="435077"/>
            </a:xfrm>
            <a:custGeom>
              <a:avLst/>
              <a:gdLst>
                <a:gd name="connsiteX0" fmla="*/ 435077 w 435077"/>
                <a:gd name="connsiteY0" fmla="*/ 435077 h 435077"/>
                <a:gd name="connsiteX1" fmla="*/ 435077 w 435077"/>
                <a:gd name="connsiteY1" fmla="*/ 0 h 435077"/>
                <a:gd name="connsiteX2" fmla="*/ 217539 w 435077"/>
                <a:gd name="connsiteY2" fmla="*/ 217544 h 435077"/>
                <a:gd name="connsiteX3" fmla="*/ 435077 w 435077"/>
                <a:gd name="connsiteY3" fmla="*/ 435077 h 435077"/>
                <a:gd name="connsiteX4" fmla="*/ 0 w 435077"/>
                <a:gd name="connsiteY4" fmla="*/ 435077 h 435077"/>
                <a:gd name="connsiteX5" fmla="*/ 0 w 435077"/>
                <a:gd name="connsiteY5" fmla="*/ 3 h 435077"/>
                <a:gd name="connsiteX6" fmla="*/ 217511 w 435077"/>
                <a:gd name="connsiteY6" fmla="*/ 217544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44"/>
                  </a:lnTo>
                  <a:lnTo>
                    <a:pt x="435077" y="435077"/>
                  </a:lnTo>
                  <a:close/>
                  <a:moveTo>
                    <a:pt x="0" y="435077"/>
                  </a:moveTo>
                  <a:lnTo>
                    <a:pt x="0" y="3"/>
                  </a:lnTo>
                  <a:lnTo>
                    <a:pt x="217511" y="217544"/>
                  </a:lnTo>
                  <a:lnTo>
                    <a:pt x="0" y="435077"/>
                  </a:lnTo>
                  <a:close/>
                </a:path>
              </a:pathLst>
            </a:custGeom>
            <a:grpFill/>
            <a:ln w="27192" cap="flat">
              <a:noFill/>
              <a:prstDash val="solid"/>
              <a:miter/>
            </a:ln>
          </p:spPr>
          <p:txBody>
            <a:bodyPr rtlCol="0" anchor="ctr"/>
            <a:lstStyle/>
            <a:p>
              <a:endParaRPr lang="uk-UA" sz="900"/>
            </a:p>
          </p:txBody>
        </p:sp>
        <p:sp>
          <p:nvSpPr>
            <p:cNvPr id="514" name="Freeform: Shape 513">
              <a:extLst>
                <a:ext uri="{FF2B5EF4-FFF2-40B4-BE49-F238E27FC236}">
                  <a16:creationId xmlns:a16="http://schemas.microsoft.com/office/drawing/2014/main" id="{63D25B03-3D1A-161A-97B5-7E94079FB94D}"/>
                </a:ext>
              </a:extLst>
            </p:cNvPr>
            <p:cNvSpPr/>
            <p:nvPr/>
          </p:nvSpPr>
          <p:spPr>
            <a:xfrm>
              <a:off x="12147864" y="1098754"/>
              <a:ext cx="435077" cy="435077"/>
            </a:xfrm>
            <a:custGeom>
              <a:avLst/>
              <a:gdLst>
                <a:gd name="connsiteX0" fmla="*/ 435077 w 435077"/>
                <a:gd name="connsiteY0" fmla="*/ 435077 h 435077"/>
                <a:gd name="connsiteX1" fmla="*/ 435077 w 435077"/>
                <a:gd name="connsiteY1" fmla="*/ 217547 h 435077"/>
                <a:gd name="connsiteX2" fmla="*/ 435077 w 435077"/>
                <a:gd name="connsiteY2" fmla="*/ 16 h 435077"/>
                <a:gd name="connsiteX3" fmla="*/ 217565 w 435077"/>
                <a:gd name="connsiteY3" fmla="*/ 16 h 435077"/>
                <a:gd name="connsiteX4" fmla="*/ 435077 w 435077"/>
                <a:gd name="connsiteY4" fmla="*/ 217547 h 435077"/>
                <a:gd name="connsiteX5" fmla="*/ 217565 w 435077"/>
                <a:gd name="connsiteY5" fmla="*/ 435077 h 435077"/>
                <a:gd name="connsiteX6" fmla="*/ 435077 w 435077"/>
                <a:gd name="connsiteY6" fmla="*/ 435077 h 435077"/>
                <a:gd name="connsiteX7" fmla="*/ 0 w 435077"/>
                <a:gd name="connsiteY7" fmla="*/ 217531 h 435077"/>
                <a:gd name="connsiteX8" fmla="*/ 0 w 435077"/>
                <a:gd name="connsiteY8" fmla="*/ 0 h 435077"/>
                <a:gd name="connsiteX9" fmla="*/ 217539 w 435077"/>
                <a:gd name="connsiteY9" fmla="*/ 217531 h 435077"/>
                <a:gd name="connsiteX10" fmla="*/ 0 w 435077"/>
                <a:gd name="connsiteY10" fmla="*/ 217531 h 435077"/>
                <a:gd name="connsiteX11" fmla="*/ 0 w 435077"/>
                <a:gd name="connsiteY11" fmla="*/ 435072 h 435077"/>
                <a:gd name="connsiteX12" fmla="*/ 0 w 435077"/>
                <a:gd name="connsiteY12" fmla="*/ 217541 h 435077"/>
                <a:gd name="connsiteX13" fmla="*/ 217539 w 435077"/>
                <a:gd name="connsiteY13" fmla="*/ 217541 h 435077"/>
                <a:gd name="connsiteX14" fmla="*/ 0 w 435077"/>
                <a:gd name="connsiteY14" fmla="*/ 43507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47"/>
                  </a:lnTo>
                  <a:lnTo>
                    <a:pt x="435077" y="16"/>
                  </a:lnTo>
                  <a:lnTo>
                    <a:pt x="217565" y="16"/>
                  </a:lnTo>
                  <a:lnTo>
                    <a:pt x="435077" y="217547"/>
                  </a:lnTo>
                  <a:lnTo>
                    <a:pt x="217565" y="435077"/>
                  </a:lnTo>
                  <a:lnTo>
                    <a:pt x="435077" y="435077"/>
                  </a:lnTo>
                  <a:close/>
                  <a:moveTo>
                    <a:pt x="0" y="217531"/>
                  </a:moveTo>
                  <a:lnTo>
                    <a:pt x="0" y="0"/>
                  </a:lnTo>
                  <a:lnTo>
                    <a:pt x="217539" y="217531"/>
                  </a:lnTo>
                  <a:lnTo>
                    <a:pt x="0" y="217531"/>
                  </a:lnTo>
                  <a:close/>
                  <a:moveTo>
                    <a:pt x="0" y="435072"/>
                  </a:moveTo>
                  <a:lnTo>
                    <a:pt x="0" y="217541"/>
                  </a:lnTo>
                  <a:lnTo>
                    <a:pt x="217539" y="217541"/>
                  </a:lnTo>
                  <a:lnTo>
                    <a:pt x="0" y="435072"/>
                  </a:lnTo>
                  <a:close/>
                </a:path>
              </a:pathLst>
            </a:custGeom>
            <a:grpFill/>
            <a:ln w="27192" cap="flat">
              <a:noFill/>
              <a:prstDash val="solid"/>
              <a:miter/>
            </a:ln>
          </p:spPr>
          <p:txBody>
            <a:bodyPr rtlCol="0" anchor="ctr"/>
            <a:lstStyle/>
            <a:p>
              <a:endParaRPr lang="uk-UA" sz="900"/>
            </a:p>
          </p:txBody>
        </p:sp>
        <p:sp>
          <p:nvSpPr>
            <p:cNvPr id="515" name="Freeform: Shape 514">
              <a:extLst>
                <a:ext uri="{FF2B5EF4-FFF2-40B4-BE49-F238E27FC236}">
                  <a16:creationId xmlns:a16="http://schemas.microsoft.com/office/drawing/2014/main" id="{522CF534-588A-8D22-7179-C2EE720CAAE6}"/>
                </a:ext>
              </a:extLst>
            </p:cNvPr>
            <p:cNvSpPr/>
            <p:nvPr/>
          </p:nvSpPr>
          <p:spPr>
            <a:xfrm>
              <a:off x="13018045" y="1098754"/>
              <a:ext cx="435077" cy="435077"/>
            </a:xfrm>
            <a:custGeom>
              <a:avLst/>
              <a:gdLst>
                <a:gd name="connsiteX0" fmla="*/ 217539 w 435077"/>
                <a:gd name="connsiteY0" fmla="*/ 435069 h 435077"/>
                <a:gd name="connsiteX1" fmla="*/ 217539 w 435077"/>
                <a:gd name="connsiteY1" fmla="*/ 0 h 435077"/>
                <a:gd name="connsiteX2" fmla="*/ 435077 w 435077"/>
                <a:gd name="connsiteY2" fmla="*/ 217541 h 435077"/>
                <a:gd name="connsiteX3" fmla="*/ 217539 w 435077"/>
                <a:gd name="connsiteY3" fmla="*/ 435069 h 435077"/>
                <a:gd name="connsiteX4" fmla="*/ 0 w 435077"/>
                <a:gd name="connsiteY4" fmla="*/ 435077 h 435077"/>
                <a:gd name="connsiteX5" fmla="*/ 0 w 435077"/>
                <a:gd name="connsiteY5" fmla="*/ 8 h 435077"/>
                <a:gd name="connsiteX6" fmla="*/ 217539 w 435077"/>
                <a:gd name="connsiteY6" fmla="*/ 217547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69"/>
                  </a:moveTo>
                  <a:lnTo>
                    <a:pt x="217539" y="0"/>
                  </a:lnTo>
                  <a:lnTo>
                    <a:pt x="435077" y="217541"/>
                  </a:lnTo>
                  <a:lnTo>
                    <a:pt x="217539" y="435069"/>
                  </a:lnTo>
                  <a:close/>
                  <a:moveTo>
                    <a:pt x="0" y="435077"/>
                  </a:moveTo>
                  <a:lnTo>
                    <a:pt x="0" y="8"/>
                  </a:lnTo>
                  <a:lnTo>
                    <a:pt x="217539" y="217547"/>
                  </a:lnTo>
                  <a:lnTo>
                    <a:pt x="0" y="435077"/>
                  </a:lnTo>
                  <a:close/>
                </a:path>
              </a:pathLst>
            </a:custGeom>
            <a:grpFill/>
            <a:ln w="27192" cap="flat">
              <a:noFill/>
              <a:prstDash val="solid"/>
              <a:miter/>
            </a:ln>
          </p:spPr>
          <p:txBody>
            <a:bodyPr rtlCol="0" anchor="ctr"/>
            <a:lstStyle/>
            <a:p>
              <a:endParaRPr lang="uk-UA" sz="900"/>
            </a:p>
          </p:txBody>
        </p:sp>
        <p:sp>
          <p:nvSpPr>
            <p:cNvPr id="516" name="Freeform: Shape 515">
              <a:extLst>
                <a:ext uri="{FF2B5EF4-FFF2-40B4-BE49-F238E27FC236}">
                  <a16:creationId xmlns:a16="http://schemas.microsoft.com/office/drawing/2014/main" id="{AA54DE48-FAF1-EB5C-AD75-6CB5512AA541}"/>
                </a:ext>
              </a:extLst>
            </p:cNvPr>
            <p:cNvSpPr/>
            <p:nvPr/>
          </p:nvSpPr>
          <p:spPr>
            <a:xfrm>
              <a:off x="14758382" y="1098754"/>
              <a:ext cx="435077" cy="435077"/>
            </a:xfrm>
            <a:custGeom>
              <a:avLst/>
              <a:gdLst>
                <a:gd name="connsiteX0" fmla="*/ 63712 w 435077"/>
                <a:gd name="connsiteY0" fmla="*/ 153824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4 h 435077"/>
                <a:gd name="connsiteX5" fmla="*/ 217539 w 435077"/>
                <a:gd name="connsiteY5" fmla="*/ 217539 h 435077"/>
                <a:gd name="connsiteX6" fmla="*/ 63712 w 435077"/>
                <a:gd name="connsiteY6" fmla="*/ 153824 h 435077"/>
                <a:gd name="connsiteX7" fmla="*/ 63712 w 435077"/>
                <a:gd name="connsiteY7" fmla="*/ 281256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56 h 435077"/>
                <a:gd name="connsiteX12" fmla="*/ 217539 w 435077"/>
                <a:gd name="connsiteY12" fmla="*/ 217539 h 435077"/>
                <a:gd name="connsiteX13" fmla="*/ 63712 w 435077"/>
                <a:gd name="connsiteY13" fmla="*/ 281256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4"/>
                  </a:moveTo>
                  <a:cubicBezTo>
                    <a:pt x="22924" y="113028"/>
                    <a:pt x="0" y="57697"/>
                    <a:pt x="0" y="0"/>
                  </a:cubicBezTo>
                  <a:lnTo>
                    <a:pt x="217539" y="0"/>
                  </a:lnTo>
                  <a:lnTo>
                    <a:pt x="435077" y="0"/>
                  </a:lnTo>
                  <a:cubicBezTo>
                    <a:pt x="435077" y="57697"/>
                    <a:pt x="412155" y="113028"/>
                    <a:pt x="371367" y="153824"/>
                  </a:cubicBezTo>
                  <a:cubicBezTo>
                    <a:pt x="330550" y="194621"/>
                    <a:pt x="275241" y="217539"/>
                    <a:pt x="217539" y="217539"/>
                  </a:cubicBezTo>
                  <a:cubicBezTo>
                    <a:pt x="159836" y="217539"/>
                    <a:pt x="104501" y="194621"/>
                    <a:pt x="63712" y="153824"/>
                  </a:cubicBezTo>
                  <a:close/>
                  <a:moveTo>
                    <a:pt x="63712" y="281256"/>
                  </a:moveTo>
                  <a:cubicBezTo>
                    <a:pt x="22924" y="322052"/>
                    <a:pt x="0" y="377383"/>
                    <a:pt x="0" y="435077"/>
                  </a:cubicBezTo>
                  <a:lnTo>
                    <a:pt x="217539" y="435077"/>
                  </a:lnTo>
                  <a:lnTo>
                    <a:pt x="435077" y="435077"/>
                  </a:lnTo>
                  <a:cubicBezTo>
                    <a:pt x="435077" y="377383"/>
                    <a:pt x="412155" y="322052"/>
                    <a:pt x="371367" y="281256"/>
                  </a:cubicBezTo>
                  <a:cubicBezTo>
                    <a:pt x="330550" y="240459"/>
                    <a:pt x="275241" y="217539"/>
                    <a:pt x="217539" y="217539"/>
                  </a:cubicBezTo>
                  <a:cubicBezTo>
                    <a:pt x="159836" y="217539"/>
                    <a:pt x="104501" y="240459"/>
                    <a:pt x="63712" y="281256"/>
                  </a:cubicBezTo>
                  <a:close/>
                </a:path>
              </a:pathLst>
            </a:custGeom>
            <a:grpFill/>
            <a:ln w="27192" cap="flat">
              <a:noFill/>
              <a:prstDash val="solid"/>
              <a:miter/>
            </a:ln>
          </p:spPr>
          <p:txBody>
            <a:bodyPr rtlCol="0" anchor="ctr"/>
            <a:lstStyle/>
            <a:p>
              <a:endParaRPr lang="uk-UA" sz="900"/>
            </a:p>
          </p:txBody>
        </p:sp>
        <p:sp>
          <p:nvSpPr>
            <p:cNvPr id="517" name="Freeform: Shape 516">
              <a:extLst>
                <a:ext uri="{FF2B5EF4-FFF2-40B4-BE49-F238E27FC236}">
                  <a16:creationId xmlns:a16="http://schemas.microsoft.com/office/drawing/2014/main" id="{06D1108D-9DCB-4D85-7F86-5210B092AF87}"/>
                </a:ext>
              </a:extLst>
            </p:cNvPr>
            <p:cNvSpPr/>
            <p:nvPr/>
          </p:nvSpPr>
          <p:spPr>
            <a:xfrm>
              <a:off x="13888200" y="1098754"/>
              <a:ext cx="435077" cy="435077"/>
            </a:xfrm>
            <a:custGeom>
              <a:avLst/>
              <a:gdLst>
                <a:gd name="connsiteX0" fmla="*/ 435077 w 435077"/>
                <a:gd name="connsiteY0" fmla="*/ 435077 h 435077"/>
                <a:gd name="connsiteX1" fmla="*/ 435077 w 435077"/>
                <a:gd name="connsiteY1" fmla="*/ 0 h 435077"/>
                <a:gd name="connsiteX2" fmla="*/ 217565 w 435077"/>
                <a:gd name="connsiteY2" fmla="*/ 217544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44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44"/>
                  </a:lnTo>
                  <a:lnTo>
                    <a:pt x="435077" y="435077"/>
                  </a:lnTo>
                  <a:close/>
                  <a:moveTo>
                    <a:pt x="0" y="435077"/>
                  </a:moveTo>
                  <a:lnTo>
                    <a:pt x="0" y="3"/>
                  </a:lnTo>
                  <a:lnTo>
                    <a:pt x="217539" y="217544"/>
                  </a:lnTo>
                  <a:lnTo>
                    <a:pt x="0" y="435077"/>
                  </a:lnTo>
                  <a:close/>
                </a:path>
              </a:pathLst>
            </a:custGeom>
            <a:grpFill/>
            <a:ln w="27192" cap="flat">
              <a:noFill/>
              <a:prstDash val="solid"/>
              <a:miter/>
            </a:ln>
          </p:spPr>
          <p:txBody>
            <a:bodyPr rtlCol="0" anchor="ctr"/>
            <a:lstStyle/>
            <a:p>
              <a:endParaRPr lang="uk-UA" sz="900"/>
            </a:p>
          </p:txBody>
        </p:sp>
        <p:sp>
          <p:nvSpPr>
            <p:cNvPr id="518" name="Freeform: Shape 517">
              <a:extLst>
                <a:ext uri="{FF2B5EF4-FFF2-40B4-BE49-F238E27FC236}">
                  <a16:creationId xmlns:a16="http://schemas.microsoft.com/office/drawing/2014/main" id="{A06C25BB-3F5E-3D42-40CA-533827F90C71}"/>
                </a:ext>
              </a:extLst>
            </p:cNvPr>
            <p:cNvSpPr/>
            <p:nvPr/>
          </p:nvSpPr>
          <p:spPr>
            <a:xfrm>
              <a:off x="15628536" y="1098754"/>
              <a:ext cx="435077" cy="435077"/>
            </a:xfrm>
            <a:custGeom>
              <a:avLst/>
              <a:gdLst>
                <a:gd name="connsiteX0" fmla="*/ 435077 w 435077"/>
                <a:gd name="connsiteY0" fmla="*/ 435077 h 435077"/>
                <a:gd name="connsiteX1" fmla="*/ 435077 w 435077"/>
                <a:gd name="connsiteY1" fmla="*/ 217547 h 435077"/>
                <a:gd name="connsiteX2" fmla="*/ 435077 w 435077"/>
                <a:gd name="connsiteY2" fmla="*/ 16 h 435077"/>
                <a:gd name="connsiteX3" fmla="*/ 217567 w 435077"/>
                <a:gd name="connsiteY3" fmla="*/ 16 h 435077"/>
                <a:gd name="connsiteX4" fmla="*/ 435077 w 435077"/>
                <a:gd name="connsiteY4" fmla="*/ 217547 h 435077"/>
                <a:gd name="connsiteX5" fmla="*/ 217567 w 435077"/>
                <a:gd name="connsiteY5" fmla="*/ 435077 h 435077"/>
                <a:gd name="connsiteX6" fmla="*/ 435077 w 435077"/>
                <a:gd name="connsiteY6" fmla="*/ 435077 h 435077"/>
                <a:gd name="connsiteX7" fmla="*/ 0 w 435077"/>
                <a:gd name="connsiteY7" fmla="*/ 217531 h 435077"/>
                <a:gd name="connsiteX8" fmla="*/ 0 w 435077"/>
                <a:gd name="connsiteY8" fmla="*/ 0 h 435077"/>
                <a:gd name="connsiteX9" fmla="*/ 217539 w 435077"/>
                <a:gd name="connsiteY9" fmla="*/ 217531 h 435077"/>
                <a:gd name="connsiteX10" fmla="*/ 0 w 435077"/>
                <a:gd name="connsiteY10" fmla="*/ 217531 h 435077"/>
                <a:gd name="connsiteX11" fmla="*/ 0 w 435077"/>
                <a:gd name="connsiteY11" fmla="*/ 435072 h 435077"/>
                <a:gd name="connsiteX12" fmla="*/ 0 w 435077"/>
                <a:gd name="connsiteY12" fmla="*/ 217541 h 435077"/>
                <a:gd name="connsiteX13" fmla="*/ 217539 w 435077"/>
                <a:gd name="connsiteY13" fmla="*/ 217541 h 435077"/>
                <a:gd name="connsiteX14" fmla="*/ 0 w 435077"/>
                <a:gd name="connsiteY14" fmla="*/ 43507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47"/>
                  </a:lnTo>
                  <a:lnTo>
                    <a:pt x="435077" y="16"/>
                  </a:lnTo>
                  <a:lnTo>
                    <a:pt x="217567" y="16"/>
                  </a:lnTo>
                  <a:lnTo>
                    <a:pt x="435077" y="217547"/>
                  </a:lnTo>
                  <a:lnTo>
                    <a:pt x="217567" y="435077"/>
                  </a:lnTo>
                  <a:lnTo>
                    <a:pt x="435077" y="435077"/>
                  </a:lnTo>
                  <a:close/>
                  <a:moveTo>
                    <a:pt x="0" y="217531"/>
                  </a:moveTo>
                  <a:lnTo>
                    <a:pt x="0" y="0"/>
                  </a:lnTo>
                  <a:lnTo>
                    <a:pt x="217539" y="217531"/>
                  </a:lnTo>
                  <a:lnTo>
                    <a:pt x="0" y="217531"/>
                  </a:lnTo>
                  <a:close/>
                  <a:moveTo>
                    <a:pt x="0" y="435072"/>
                  </a:moveTo>
                  <a:lnTo>
                    <a:pt x="0" y="217541"/>
                  </a:lnTo>
                  <a:lnTo>
                    <a:pt x="217539" y="217541"/>
                  </a:lnTo>
                  <a:lnTo>
                    <a:pt x="0" y="435072"/>
                  </a:lnTo>
                  <a:close/>
                </a:path>
              </a:pathLst>
            </a:custGeom>
            <a:grpFill/>
            <a:ln w="27192" cap="flat">
              <a:noFill/>
              <a:prstDash val="solid"/>
              <a:miter/>
            </a:ln>
          </p:spPr>
          <p:txBody>
            <a:bodyPr rtlCol="0" anchor="ctr"/>
            <a:lstStyle/>
            <a:p>
              <a:endParaRPr lang="uk-UA" sz="900"/>
            </a:p>
          </p:txBody>
        </p:sp>
        <p:sp>
          <p:nvSpPr>
            <p:cNvPr id="519" name="Freeform: Shape 518">
              <a:extLst>
                <a:ext uri="{FF2B5EF4-FFF2-40B4-BE49-F238E27FC236}">
                  <a16:creationId xmlns:a16="http://schemas.microsoft.com/office/drawing/2014/main" id="{4E1B15F9-E97A-20E6-2150-6EF23F273C67}"/>
                </a:ext>
              </a:extLst>
            </p:cNvPr>
            <p:cNvSpPr/>
            <p:nvPr/>
          </p:nvSpPr>
          <p:spPr>
            <a:xfrm>
              <a:off x="16498719" y="1098754"/>
              <a:ext cx="435077" cy="435077"/>
            </a:xfrm>
            <a:custGeom>
              <a:avLst/>
              <a:gdLst>
                <a:gd name="connsiteX0" fmla="*/ 217539 w 435077"/>
                <a:gd name="connsiteY0" fmla="*/ 435069 h 435077"/>
                <a:gd name="connsiteX1" fmla="*/ 217539 w 435077"/>
                <a:gd name="connsiteY1" fmla="*/ 0 h 435077"/>
                <a:gd name="connsiteX2" fmla="*/ 435077 w 435077"/>
                <a:gd name="connsiteY2" fmla="*/ 217541 h 435077"/>
                <a:gd name="connsiteX3" fmla="*/ 217539 w 435077"/>
                <a:gd name="connsiteY3" fmla="*/ 435069 h 435077"/>
                <a:gd name="connsiteX4" fmla="*/ 0 w 435077"/>
                <a:gd name="connsiteY4" fmla="*/ 435077 h 435077"/>
                <a:gd name="connsiteX5" fmla="*/ 0 w 435077"/>
                <a:gd name="connsiteY5" fmla="*/ 8 h 435077"/>
                <a:gd name="connsiteX6" fmla="*/ 217539 w 435077"/>
                <a:gd name="connsiteY6" fmla="*/ 217547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69"/>
                  </a:moveTo>
                  <a:lnTo>
                    <a:pt x="217539" y="0"/>
                  </a:lnTo>
                  <a:lnTo>
                    <a:pt x="435077" y="217541"/>
                  </a:lnTo>
                  <a:lnTo>
                    <a:pt x="217539" y="435069"/>
                  </a:lnTo>
                  <a:close/>
                  <a:moveTo>
                    <a:pt x="0" y="435077"/>
                  </a:moveTo>
                  <a:lnTo>
                    <a:pt x="0" y="8"/>
                  </a:lnTo>
                  <a:lnTo>
                    <a:pt x="217539" y="217547"/>
                  </a:lnTo>
                  <a:lnTo>
                    <a:pt x="0" y="435077"/>
                  </a:lnTo>
                  <a:close/>
                </a:path>
              </a:pathLst>
            </a:custGeom>
            <a:grpFill/>
            <a:ln w="27192" cap="flat">
              <a:noFill/>
              <a:prstDash val="solid"/>
              <a:miter/>
            </a:ln>
          </p:spPr>
          <p:txBody>
            <a:bodyPr rtlCol="0" anchor="ctr"/>
            <a:lstStyle/>
            <a:p>
              <a:endParaRPr lang="uk-UA" sz="900"/>
            </a:p>
          </p:txBody>
        </p:sp>
        <p:sp>
          <p:nvSpPr>
            <p:cNvPr id="520" name="Freeform: Shape 519">
              <a:extLst>
                <a:ext uri="{FF2B5EF4-FFF2-40B4-BE49-F238E27FC236}">
                  <a16:creationId xmlns:a16="http://schemas.microsoft.com/office/drawing/2014/main" id="{B60E7F1D-43D1-FE2C-1F22-203121B1D81B}"/>
                </a:ext>
              </a:extLst>
            </p:cNvPr>
            <p:cNvSpPr/>
            <p:nvPr/>
          </p:nvSpPr>
          <p:spPr>
            <a:xfrm>
              <a:off x="18239029" y="1098754"/>
              <a:ext cx="435077" cy="435077"/>
            </a:xfrm>
            <a:custGeom>
              <a:avLst/>
              <a:gdLst>
                <a:gd name="connsiteX0" fmla="*/ 63710 w 435077"/>
                <a:gd name="connsiteY0" fmla="*/ 153824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4 h 435077"/>
                <a:gd name="connsiteX5" fmla="*/ 217539 w 435077"/>
                <a:gd name="connsiteY5" fmla="*/ 217539 h 435077"/>
                <a:gd name="connsiteX6" fmla="*/ 63710 w 435077"/>
                <a:gd name="connsiteY6" fmla="*/ 153824 h 435077"/>
                <a:gd name="connsiteX7" fmla="*/ 63710 w 435077"/>
                <a:gd name="connsiteY7" fmla="*/ 281256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6 h 435077"/>
                <a:gd name="connsiteX12" fmla="*/ 217539 w 435077"/>
                <a:gd name="connsiteY12" fmla="*/ 217539 h 435077"/>
                <a:gd name="connsiteX13" fmla="*/ 63710 w 435077"/>
                <a:gd name="connsiteY13" fmla="*/ 281256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4"/>
                  </a:moveTo>
                  <a:cubicBezTo>
                    <a:pt x="22922" y="113028"/>
                    <a:pt x="0" y="57697"/>
                    <a:pt x="0" y="0"/>
                  </a:cubicBezTo>
                  <a:lnTo>
                    <a:pt x="217539" y="0"/>
                  </a:lnTo>
                  <a:lnTo>
                    <a:pt x="435077" y="0"/>
                  </a:lnTo>
                  <a:cubicBezTo>
                    <a:pt x="435077" y="57697"/>
                    <a:pt x="412154" y="113028"/>
                    <a:pt x="371365" y="153824"/>
                  </a:cubicBezTo>
                  <a:cubicBezTo>
                    <a:pt x="330577" y="194621"/>
                    <a:pt x="275241" y="217539"/>
                    <a:pt x="217539" y="217539"/>
                  </a:cubicBezTo>
                  <a:cubicBezTo>
                    <a:pt x="159836" y="217539"/>
                    <a:pt x="104527" y="194621"/>
                    <a:pt x="63710" y="153824"/>
                  </a:cubicBezTo>
                  <a:close/>
                  <a:moveTo>
                    <a:pt x="63710" y="281256"/>
                  </a:moveTo>
                  <a:cubicBezTo>
                    <a:pt x="22922" y="322052"/>
                    <a:pt x="0" y="377383"/>
                    <a:pt x="0" y="435077"/>
                  </a:cubicBezTo>
                  <a:lnTo>
                    <a:pt x="217539" y="435077"/>
                  </a:lnTo>
                  <a:lnTo>
                    <a:pt x="435077" y="435077"/>
                  </a:lnTo>
                  <a:cubicBezTo>
                    <a:pt x="435077" y="377383"/>
                    <a:pt x="412154" y="322052"/>
                    <a:pt x="371365" y="281256"/>
                  </a:cubicBezTo>
                  <a:cubicBezTo>
                    <a:pt x="330577" y="240459"/>
                    <a:pt x="275241" y="217539"/>
                    <a:pt x="217539" y="217539"/>
                  </a:cubicBezTo>
                  <a:cubicBezTo>
                    <a:pt x="159836" y="217539"/>
                    <a:pt x="104527" y="240459"/>
                    <a:pt x="63710" y="281256"/>
                  </a:cubicBezTo>
                  <a:close/>
                </a:path>
              </a:pathLst>
            </a:custGeom>
            <a:grpFill/>
            <a:ln w="27192" cap="flat">
              <a:noFill/>
              <a:prstDash val="solid"/>
              <a:miter/>
            </a:ln>
          </p:spPr>
          <p:txBody>
            <a:bodyPr rtlCol="0" anchor="ctr"/>
            <a:lstStyle/>
            <a:p>
              <a:endParaRPr lang="uk-UA" sz="900"/>
            </a:p>
          </p:txBody>
        </p:sp>
        <p:sp>
          <p:nvSpPr>
            <p:cNvPr id="521" name="Freeform: Shape 520">
              <a:extLst>
                <a:ext uri="{FF2B5EF4-FFF2-40B4-BE49-F238E27FC236}">
                  <a16:creationId xmlns:a16="http://schemas.microsoft.com/office/drawing/2014/main" id="{3D873586-51B3-2C95-84F5-41B3D1F4DA48}"/>
                </a:ext>
              </a:extLst>
            </p:cNvPr>
            <p:cNvSpPr/>
            <p:nvPr/>
          </p:nvSpPr>
          <p:spPr>
            <a:xfrm>
              <a:off x="17368874" y="1098754"/>
              <a:ext cx="435077" cy="435077"/>
            </a:xfrm>
            <a:custGeom>
              <a:avLst/>
              <a:gdLst>
                <a:gd name="connsiteX0" fmla="*/ 435077 w 435077"/>
                <a:gd name="connsiteY0" fmla="*/ 435077 h 435077"/>
                <a:gd name="connsiteX1" fmla="*/ 435077 w 435077"/>
                <a:gd name="connsiteY1" fmla="*/ 0 h 435077"/>
                <a:gd name="connsiteX2" fmla="*/ 217539 w 435077"/>
                <a:gd name="connsiteY2" fmla="*/ 217544 h 435077"/>
                <a:gd name="connsiteX3" fmla="*/ 435077 w 435077"/>
                <a:gd name="connsiteY3" fmla="*/ 435077 h 435077"/>
                <a:gd name="connsiteX4" fmla="*/ 0 w 435077"/>
                <a:gd name="connsiteY4" fmla="*/ 435077 h 435077"/>
                <a:gd name="connsiteX5" fmla="*/ 0 w 435077"/>
                <a:gd name="connsiteY5" fmla="*/ 3 h 435077"/>
                <a:gd name="connsiteX6" fmla="*/ 217510 w 435077"/>
                <a:gd name="connsiteY6" fmla="*/ 217544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44"/>
                  </a:lnTo>
                  <a:lnTo>
                    <a:pt x="435077" y="435077"/>
                  </a:lnTo>
                  <a:close/>
                  <a:moveTo>
                    <a:pt x="0" y="435077"/>
                  </a:moveTo>
                  <a:lnTo>
                    <a:pt x="0" y="3"/>
                  </a:lnTo>
                  <a:lnTo>
                    <a:pt x="217510" y="217544"/>
                  </a:lnTo>
                  <a:lnTo>
                    <a:pt x="0" y="435077"/>
                  </a:lnTo>
                  <a:close/>
                </a:path>
              </a:pathLst>
            </a:custGeom>
            <a:grpFill/>
            <a:ln w="27192" cap="flat">
              <a:noFill/>
              <a:prstDash val="solid"/>
              <a:miter/>
            </a:ln>
          </p:spPr>
          <p:txBody>
            <a:bodyPr rtlCol="0" anchor="ctr"/>
            <a:lstStyle/>
            <a:p>
              <a:endParaRPr lang="uk-UA" sz="900"/>
            </a:p>
          </p:txBody>
        </p:sp>
        <p:sp>
          <p:nvSpPr>
            <p:cNvPr id="522" name="Freeform: Shape 521">
              <a:extLst>
                <a:ext uri="{FF2B5EF4-FFF2-40B4-BE49-F238E27FC236}">
                  <a16:creationId xmlns:a16="http://schemas.microsoft.com/office/drawing/2014/main" id="{95417B23-A58C-764C-B85F-A273AA9BCFD5}"/>
                </a:ext>
              </a:extLst>
            </p:cNvPr>
            <p:cNvSpPr/>
            <p:nvPr/>
          </p:nvSpPr>
          <p:spPr>
            <a:xfrm>
              <a:off x="19109210" y="1098754"/>
              <a:ext cx="435077" cy="435077"/>
            </a:xfrm>
            <a:custGeom>
              <a:avLst/>
              <a:gdLst>
                <a:gd name="connsiteX0" fmla="*/ 435077 w 435077"/>
                <a:gd name="connsiteY0" fmla="*/ 435077 h 435077"/>
                <a:gd name="connsiteX1" fmla="*/ 435077 w 435077"/>
                <a:gd name="connsiteY1" fmla="*/ 217547 h 435077"/>
                <a:gd name="connsiteX2" fmla="*/ 435077 w 435077"/>
                <a:gd name="connsiteY2" fmla="*/ 16 h 435077"/>
                <a:gd name="connsiteX3" fmla="*/ 217539 w 435077"/>
                <a:gd name="connsiteY3" fmla="*/ 16 h 435077"/>
                <a:gd name="connsiteX4" fmla="*/ 435077 w 435077"/>
                <a:gd name="connsiteY4" fmla="*/ 217547 h 435077"/>
                <a:gd name="connsiteX5" fmla="*/ 217539 w 435077"/>
                <a:gd name="connsiteY5" fmla="*/ 435077 h 435077"/>
                <a:gd name="connsiteX6" fmla="*/ 435077 w 435077"/>
                <a:gd name="connsiteY6" fmla="*/ 435077 h 435077"/>
                <a:gd name="connsiteX7" fmla="*/ 0 w 435077"/>
                <a:gd name="connsiteY7" fmla="*/ 217531 h 435077"/>
                <a:gd name="connsiteX8" fmla="*/ 0 w 435077"/>
                <a:gd name="connsiteY8" fmla="*/ 0 h 435077"/>
                <a:gd name="connsiteX9" fmla="*/ 217512 w 435077"/>
                <a:gd name="connsiteY9" fmla="*/ 217531 h 435077"/>
                <a:gd name="connsiteX10" fmla="*/ 0 w 435077"/>
                <a:gd name="connsiteY10" fmla="*/ 217531 h 435077"/>
                <a:gd name="connsiteX11" fmla="*/ 0 w 435077"/>
                <a:gd name="connsiteY11" fmla="*/ 435072 h 435077"/>
                <a:gd name="connsiteX12" fmla="*/ 0 w 435077"/>
                <a:gd name="connsiteY12" fmla="*/ 217541 h 435077"/>
                <a:gd name="connsiteX13" fmla="*/ 217512 w 435077"/>
                <a:gd name="connsiteY13" fmla="*/ 217541 h 435077"/>
                <a:gd name="connsiteX14" fmla="*/ 0 w 435077"/>
                <a:gd name="connsiteY14" fmla="*/ 43507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47"/>
                  </a:lnTo>
                  <a:lnTo>
                    <a:pt x="435077" y="16"/>
                  </a:lnTo>
                  <a:lnTo>
                    <a:pt x="217539" y="16"/>
                  </a:lnTo>
                  <a:lnTo>
                    <a:pt x="435077" y="217547"/>
                  </a:lnTo>
                  <a:lnTo>
                    <a:pt x="217539" y="435077"/>
                  </a:lnTo>
                  <a:lnTo>
                    <a:pt x="435077" y="435077"/>
                  </a:lnTo>
                  <a:close/>
                  <a:moveTo>
                    <a:pt x="0" y="217531"/>
                  </a:moveTo>
                  <a:lnTo>
                    <a:pt x="0" y="0"/>
                  </a:lnTo>
                  <a:lnTo>
                    <a:pt x="217512" y="217531"/>
                  </a:lnTo>
                  <a:lnTo>
                    <a:pt x="0" y="217531"/>
                  </a:lnTo>
                  <a:close/>
                  <a:moveTo>
                    <a:pt x="0" y="435072"/>
                  </a:moveTo>
                  <a:lnTo>
                    <a:pt x="0" y="217541"/>
                  </a:lnTo>
                  <a:lnTo>
                    <a:pt x="217512" y="217541"/>
                  </a:lnTo>
                  <a:lnTo>
                    <a:pt x="0" y="435072"/>
                  </a:lnTo>
                  <a:close/>
                </a:path>
              </a:pathLst>
            </a:custGeom>
            <a:grpFill/>
            <a:ln w="27192" cap="flat">
              <a:noFill/>
              <a:prstDash val="solid"/>
              <a:miter/>
            </a:ln>
          </p:spPr>
          <p:txBody>
            <a:bodyPr rtlCol="0" anchor="ctr"/>
            <a:lstStyle/>
            <a:p>
              <a:endParaRPr lang="uk-UA" sz="900"/>
            </a:p>
          </p:txBody>
        </p:sp>
        <p:sp>
          <p:nvSpPr>
            <p:cNvPr id="523" name="Freeform: Shape 522">
              <a:extLst>
                <a:ext uri="{FF2B5EF4-FFF2-40B4-BE49-F238E27FC236}">
                  <a16:creationId xmlns:a16="http://schemas.microsoft.com/office/drawing/2014/main" id="{FC506718-A23C-BB33-CA7D-370FBD13F058}"/>
                </a:ext>
              </a:extLst>
            </p:cNvPr>
            <p:cNvSpPr/>
            <p:nvPr/>
          </p:nvSpPr>
          <p:spPr>
            <a:xfrm>
              <a:off x="19979365" y="1098754"/>
              <a:ext cx="435077" cy="435077"/>
            </a:xfrm>
            <a:custGeom>
              <a:avLst/>
              <a:gdLst>
                <a:gd name="connsiteX0" fmla="*/ 217539 w 435077"/>
                <a:gd name="connsiteY0" fmla="*/ 435069 h 435077"/>
                <a:gd name="connsiteX1" fmla="*/ 217539 w 435077"/>
                <a:gd name="connsiteY1" fmla="*/ 0 h 435077"/>
                <a:gd name="connsiteX2" fmla="*/ 435077 w 435077"/>
                <a:gd name="connsiteY2" fmla="*/ 217541 h 435077"/>
                <a:gd name="connsiteX3" fmla="*/ 217539 w 435077"/>
                <a:gd name="connsiteY3" fmla="*/ 435069 h 435077"/>
                <a:gd name="connsiteX4" fmla="*/ 0 w 435077"/>
                <a:gd name="connsiteY4" fmla="*/ 435077 h 435077"/>
                <a:gd name="connsiteX5" fmla="*/ 0 w 435077"/>
                <a:gd name="connsiteY5" fmla="*/ 8 h 435077"/>
                <a:gd name="connsiteX6" fmla="*/ 217539 w 435077"/>
                <a:gd name="connsiteY6" fmla="*/ 217547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69"/>
                  </a:moveTo>
                  <a:lnTo>
                    <a:pt x="217539" y="0"/>
                  </a:lnTo>
                  <a:lnTo>
                    <a:pt x="435077" y="217541"/>
                  </a:lnTo>
                  <a:lnTo>
                    <a:pt x="217539" y="435069"/>
                  </a:lnTo>
                  <a:close/>
                  <a:moveTo>
                    <a:pt x="0" y="435077"/>
                  </a:moveTo>
                  <a:lnTo>
                    <a:pt x="0" y="8"/>
                  </a:lnTo>
                  <a:lnTo>
                    <a:pt x="217539" y="217547"/>
                  </a:lnTo>
                  <a:lnTo>
                    <a:pt x="0" y="435077"/>
                  </a:lnTo>
                  <a:close/>
                </a:path>
              </a:pathLst>
            </a:custGeom>
            <a:grpFill/>
            <a:ln w="27192" cap="flat">
              <a:noFill/>
              <a:prstDash val="solid"/>
              <a:miter/>
            </a:ln>
          </p:spPr>
          <p:txBody>
            <a:bodyPr rtlCol="0" anchor="ctr"/>
            <a:lstStyle/>
            <a:p>
              <a:endParaRPr lang="uk-UA" sz="900"/>
            </a:p>
          </p:txBody>
        </p:sp>
        <p:sp>
          <p:nvSpPr>
            <p:cNvPr id="524" name="Freeform: Shape 523">
              <a:extLst>
                <a:ext uri="{FF2B5EF4-FFF2-40B4-BE49-F238E27FC236}">
                  <a16:creationId xmlns:a16="http://schemas.microsoft.com/office/drawing/2014/main" id="{D14C327B-94C9-FEA8-236A-1CD0866ABA06}"/>
                </a:ext>
              </a:extLst>
            </p:cNvPr>
            <p:cNvSpPr/>
            <p:nvPr/>
          </p:nvSpPr>
          <p:spPr>
            <a:xfrm>
              <a:off x="21719702" y="1098754"/>
              <a:ext cx="435077" cy="435077"/>
            </a:xfrm>
            <a:custGeom>
              <a:avLst/>
              <a:gdLst>
                <a:gd name="connsiteX0" fmla="*/ 63712 w 435077"/>
                <a:gd name="connsiteY0" fmla="*/ 153824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4 h 435077"/>
                <a:gd name="connsiteX5" fmla="*/ 217539 w 435077"/>
                <a:gd name="connsiteY5" fmla="*/ 217539 h 435077"/>
                <a:gd name="connsiteX6" fmla="*/ 63712 w 435077"/>
                <a:gd name="connsiteY6" fmla="*/ 153824 h 435077"/>
                <a:gd name="connsiteX7" fmla="*/ 63712 w 435077"/>
                <a:gd name="connsiteY7" fmla="*/ 281256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56 h 435077"/>
                <a:gd name="connsiteX12" fmla="*/ 217539 w 435077"/>
                <a:gd name="connsiteY12" fmla="*/ 217539 h 435077"/>
                <a:gd name="connsiteX13" fmla="*/ 63712 w 435077"/>
                <a:gd name="connsiteY13" fmla="*/ 281256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4"/>
                  </a:moveTo>
                  <a:cubicBezTo>
                    <a:pt x="22897" y="113028"/>
                    <a:pt x="0" y="57697"/>
                    <a:pt x="0" y="0"/>
                  </a:cubicBezTo>
                  <a:lnTo>
                    <a:pt x="217539" y="0"/>
                  </a:lnTo>
                  <a:lnTo>
                    <a:pt x="435077" y="0"/>
                  </a:lnTo>
                  <a:cubicBezTo>
                    <a:pt x="435077" y="57697"/>
                    <a:pt x="412155" y="113028"/>
                    <a:pt x="371339" y="153824"/>
                  </a:cubicBezTo>
                  <a:cubicBezTo>
                    <a:pt x="330550" y="194621"/>
                    <a:pt x="275215" y="217539"/>
                    <a:pt x="217539" y="217539"/>
                  </a:cubicBezTo>
                  <a:cubicBezTo>
                    <a:pt x="159838" y="217539"/>
                    <a:pt x="104501" y="194621"/>
                    <a:pt x="63712" y="153824"/>
                  </a:cubicBezTo>
                  <a:close/>
                  <a:moveTo>
                    <a:pt x="63712" y="281256"/>
                  </a:moveTo>
                  <a:cubicBezTo>
                    <a:pt x="22897" y="322052"/>
                    <a:pt x="0" y="377383"/>
                    <a:pt x="0" y="435077"/>
                  </a:cubicBezTo>
                  <a:lnTo>
                    <a:pt x="217539" y="435077"/>
                  </a:lnTo>
                  <a:lnTo>
                    <a:pt x="435077" y="435077"/>
                  </a:lnTo>
                  <a:cubicBezTo>
                    <a:pt x="435077" y="377383"/>
                    <a:pt x="412155" y="322052"/>
                    <a:pt x="371339" y="281256"/>
                  </a:cubicBezTo>
                  <a:cubicBezTo>
                    <a:pt x="330550" y="240459"/>
                    <a:pt x="275215" y="217539"/>
                    <a:pt x="217539" y="217539"/>
                  </a:cubicBezTo>
                  <a:cubicBezTo>
                    <a:pt x="159838" y="217539"/>
                    <a:pt x="104501" y="240459"/>
                    <a:pt x="63712" y="281256"/>
                  </a:cubicBezTo>
                  <a:close/>
                </a:path>
              </a:pathLst>
            </a:custGeom>
            <a:grpFill/>
            <a:ln w="27192" cap="flat">
              <a:noFill/>
              <a:prstDash val="solid"/>
              <a:miter/>
            </a:ln>
          </p:spPr>
          <p:txBody>
            <a:bodyPr rtlCol="0" anchor="ctr"/>
            <a:lstStyle/>
            <a:p>
              <a:endParaRPr lang="uk-UA" sz="900"/>
            </a:p>
          </p:txBody>
        </p:sp>
        <p:sp>
          <p:nvSpPr>
            <p:cNvPr id="525" name="Freeform: Shape 524">
              <a:extLst>
                <a:ext uri="{FF2B5EF4-FFF2-40B4-BE49-F238E27FC236}">
                  <a16:creationId xmlns:a16="http://schemas.microsoft.com/office/drawing/2014/main" id="{56910BFD-FD30-6086-C732-36DF7C3A5786}"/>
                </a:ext>
              </a:extLst>
            </p:cNvPr>
            <p:cNvSpPr/>
            <p:nvPr/>
          </p:nvSpPr>
          <p:spPr>
            <a:xfrm>
              <a:off x="20849520" y="1098754"/>
              <a:ext cx="435077" cy="435077"/>
            </a:xfrm>
            <a:custGeom>
              <a:avLst/>
              <a:gdLst>
                <a:gd name="connsiteX0" fmla="*/ 435077 w 435077"/>
                <a:gd name="connsiteY0" fmla="*/ 435077 h 435077"/>
                <a:gd name="connsiteX1" fmla="*/ 435077 w 435077"/>
                <a:gd name="connsiteY1" fmla="*/ 0 h 435077"/>
                <a:gd name="connsiteX2" fmla="*/ 217565 w 435077"/>
                <a:gd name="connsiteY2" fmla="*/ 217544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44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44"/>
                  </a:lnTo>
                  <a:lnTo>
                    <a:pt x="435077" y="435077"/>
                  </a:lnTo>
                  <a:close/>
                  <a:moveTo>
                    <a:pt x="0" y="435077"/>
                  </a:moveTo>
                  <a:lnTo>
                    <a:pt x="0" y="3"/>
                  </a:lnTo>
                  <a:lnTo>
                    <a:pt x="217539" y="217544"/>
                  </a:lnTo>
                  <a:lnTo>
                    <a:pt x="0" y="435077"/>
                  </a:lnTo>
                  <a:close/>
                </a:path>
              </a:pathLst>
            </a:custGeom>
            <a:grpFill/>
            <a:ln w="27192" cap="flat">
              <a:noFill/>
              <a:prstDash val="solid"/>
              <a:miter/>
            </a:ln>
          </p:spPr>
          <p:txBody>
            <a:bodyPr rtlCol="0" anchor="ctr"/>
            <a:lstStyle/>
            <a:p>
              <a:endParaRPr lang="uk-UA" sz="900"/>
            </a:p>
          </p:txBody>
        </p:sp>
        <p:sp>
          <p:nvSpPr>
            <p:cNvPr id="526" name="Freeform: Shape 525">
              <a:extLst>
                <a:ext uri="{FF2B5EF4-FFF2-40B4-BE49-F238E27FC236}">
                  <a16:creationId xmlns:a16="http://schemas.microsoft.com/office/drawing/2014/main" id="{1F784630-6259-2BF6-48D5-F20163430E93}"/>
                </a:ext>
              </a:extLst>
            </p:cNvPr>
            <p:cNvSpPr/>
            <p:nvPr/>
          </p:nvSpPr>
          <p:spPr>
            <a:xfrm>
              <a:off x="22589856" y="1098754"/>
              <a:ext cx="435077" cy="435077"/>
            </a:xfrm>
            <a:custGeom>
              <a:avLst/>
              <a:gdLst>
                <a:gd name="connsiteX0" fmla="*/ 435077 w 435077"/>
                <a:gd name="connsiteY0" fmla="*/ 435077 h 435077"/>
                <a:gd name="connsiteX1" fmla="*/ 435077 w 435077"/>
                <a:gd name="connsiteY1" fmla="*/ 217547 h 435077"/>
                <a:gd name="connsiteX2" fmla="*/ 435077 w 435077"/>
                <a:gd name="connsiteY2" fmla="*/ 16 h 435077"/>
                <a:gd name="connsiteX3" fmla="*/ 217567 w 435077"/>
                <a:gd name="connsiteY3" fmla="*/ 16 h 435077"/>
                <a:gd name="connsiteX4" fmla="*/ 435077 w 435077"/>
                <a:gd name="connsiteY4" fmla="*/ 217547 h 435077"/>
                <a:gd name="connsiteX5" fmla="*/ 217567 w 435077"/>
                <a:gd name="connsiteY5" fmla="*/ 435077 h 435077"/>
                <a:gd name="connsiteX6" fmla="*/ 435077 w 435077"/>
                <a:gd name="connsiteY6" fmla="*/ 435077 h 435077"/>
                <a:gd name="connsiteX7" fmla="*/ 0 w 435077"/>
                <a:gd name="connsiteY7" fmla="*/ 217531 h 435077"/>
                <a:gd name="connsiteX8" fmla="*/ 0 w 435077"/>
                <a:gd name="connsiteY8" fmla="*/ 0 h 435077"/>
                <a:gd name="connsiteX9" fmla="*/ 217539 w 435077"/>
                <a:gd name="connsiteY9" fmla="*/ 217531 h 435077"/>
                <a:gd name="connsiteX10" fmla="*/ 0 w 435077"/>
                <a:gd name="connsiteY10" fmla="*/ 217531 h 435077"/>
                <a:gd name="connsiteX11" fmla="*/ 0 w 435077"/>
                <a:gd name="connsiteY11" fmla="*/ 435072 h 435077"/>
                <a:gd name="connsiteX12" fmla="*/ 0 w 435077"/>
                <a:gd name="connsiteY12" fmla="*/ 217541 h 435077"/>
                <a:gd name="connsiteX13" fmla="*/ 217539 w 435077"/>
                <a:gd name="connsiteY13" fmla="*/ 217541 h 435077"/>
                <a:gd name="connsiteX14" fmla="*/ 0 w 435077"/>
                <a:gd name="connsiteY14" fmla="*/ 43507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47"/>
                  </a:lnTo>
                  <a:lnTo>
                    <a:pt x="435077" y="16"/>
                  </a:lnTo>
                  <a:lnTo>
                    <a:pt x="217567" y="16"/>
                  </a:lnTo>
                  <a:lnTo>
                    <a:pt x="435077" y="217547"/>
                  </a:lnTo>
                  <a:lnTo>
                    <a:pt x="217567" y="435077"/>
                  </a:lnTo>
                  <a:lnTo>
                    <a:pt x="435077" y="435077"/>
                  </a:lnTo>
                  <a:close/>
                  <a:moveTo>
                    <a:pt x="0" y="217531"/>
                  </a:moveTo>
                  <a:lnTo>
                    <a:pt x="0" y="0"/>
                  </a:lnTo>
                  <a:lnTo>
                    <a:pt x="217539" y="217531"/>
                  </a:lnTo>
                  <a:lnTo>
                    <a:pt x="0" y="217531"/>
                  </a:lnTo>
                  <a:close/>
                  <a:moveTo>
                    <a:pt x="0" y="435072"/>
                  </a:moveTo>
                  <a:lnTo>
                    <a:pt x="0" y="217541"/>
                  </a:lnTo>
                  <a:lnTo>
                    <a:pt x="217539" y="217541"/>
                  </a:lnTo>
                  <a:lnTo>
                    <a:pt x="0" y="435072"/>
                  </a:lnTo>
                  <a:close/>
                </a:path>
              </a:pathLst>
            </a:custGeom>
            <a:grpFill/>
            <a:ln w="27192" cap="flat">
              <a:noFill/>
              <a:prstDash val="solid"/>
              <a:miter/>
            </a:ln>
          </p:spPr>
          <p:txBody>
            <a:bodyPr rtlCol="0" anchor="ctr"/>
            <a:lstStyle/>
            <a:p>
              <a:endParaRPr lang="uk-UA" sz="900"/>
            </a:p>
          </p:txBody>
        </p:sp>
        <p:sp>
          <p:nvSpPr>
            <p:cNvPr id="527" name="Freeform: Shape 526">
              <a:extLst>
                <a:ext uri="{FF2B5EF4-FFF2-40B4-BE49-F238E27FC236}">
                  <a16:creationId xmlns:a16="http://schemas.microsoft.com/office/drawing/2014/main" id="{1A24BBAA-0FC4-6D17-E2B9-3F947CA123A7}"/>
                </a:ext>
              </a:extLst>
            </p:cNvPr>
            <p:cNvSpPr/>
            <p:nvPr/>
          </p:nvSpPr>
          <p:spPr>
            <a:xfrm>
              <a:off x="23460039" y="1098754"/>
              <a:ext cx="435077" cy="435077"/>
            </a:xfrm>
            <a:custGeom>
              <a:avLst/>
              <a:gdLst>
                <a:gd name="connsiteX0" fmla="*/ 217539 w 435077"/>
                <a:gd name="connsiteY0" fmla="*/ 435069 h 435077"/>
                <a:gd name="connsiteX1" fmla="*/ 217539 w 435077"/>
                <a:gd name="connsiteY1" fmla="*/ 0 h 435077"/>
                <a:gd name="connsiteX2" fmla="*/ 435077 w 435077"/>
                <a:gd name="connsiteY2" fmla="*/ 217541 h 435077"/>
                <a:gd name="connsiteX3" fmla="*/ 217539 w 435077"/>
                <a:gd name="connsiteY3" fmla="*/ 435069 h 435077"/>
                <a:gd name="connsiteX4" fmla="*/ 0 w 435077"/>
                <a:gd name="connsiteY4" fmla="*/ 435077 h 435077"/>
                <a:gd name="connsiteX5" fmla="*/ 0 w 435077"/>
                <a:gd name="connsiteY5" fmla="*/ 8 h 435077"/>
                <a:gd name="connsiteX6" fmla="*/ 217539 w 435077"/>
                <a:gd name="connsiteY6" fmla="*/ 217547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69"/>
                  </a:moveTo>
                  <a:lnTo>
                    <a:pt x="217539" y="0"/>
                  </a:lnTo>
                  <a:lnTo>
                    <a:pt x="435077" y="217541"/>
                  </a:lnTo>
                  <a:lnTo>
                    <a:pt x="217539" y="435069"/>
                  </a:lnTo>
                  <a:close/>
                  <a:moveTo>
                    <a:pt x="0" y="435077"/>
                  </a:moveTo>
                  <a:lnTo>
                    <a:pt x="0" y="8"/>
                  </a:lnTo>
                  <a:lnTo>
                    <a:pt x="217539" y="217547"/>
                  </a:lnTo>
                  <a:lnTo>
                    <a:pt x="0" y="435077"/>
                  </a:lnTo>
                  <a:close/>
                </a:path>
              </a:pathLst>
            </a:custGeom>
            <a:grpFill/>
            <a:ln w="27192" cap="flat">
              <a:noFill/>
              <a:prstDash val="solid"/>
              <a:miter/>
            </a:ln>
          </p:spPr>
          <p:txBody>
            <a:bodyPr rtlCol="0" anchor="ctr"/>
            <a:lstStyle/>
            <a:p>
              <a:endParaRPr lang="uk-UA" sz="900"/>
            </a:p>
          </p:txBody>
        </p:sp>
        <p:sp>
          <p:nvSpPr>
            <p:cNvPr id="528" name="Freeform: Shape 527">
              <a:extLst>
                <a:ext uri="{FF2B5EF4-FFF2-40B4-BE49-F238E27FC236}">
                  <a16:creationId xmlns:a16="http://schemas.microsoft.com/office/drawing/2014/main" id="{03BE9659-270F-A6D1-BF75-678F8794D63A}"/>
                </a:ext>
              </a:extLst>
            </p:cNvPr>
            <p:cNvSpPr/>
            <p:nvPr/>
          </p:nvSpPr>
          <p:spPr>
            <a:xfrm>
              <a:off x="24330194" y="1098754"/>
              <a:ext cx="435077" cy="435077"/>
            </a:xfrm>
            <a:custGeom>
              <a:avLst/>
              <a:gdLst>
                <a:gd name="connsiteX0" fmla="*/ 435077 w 435077"/>
                <a:gd name="connsiteY0" fmla="*/ 435077 h 435077"/>
                <a:gd name="connsiteX1" fmla="*/ 435077 w 435077"/>
                <a:gd name="connsiteY1" fmla="*/ 0 h 435077"/>
                <a:gd name="connsiteX2" fmla="*/ 217539 w 435077"/>
                <a:gd name="connsiteY2" fmla="*/ 217544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44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44"/>
                  </a:lnTo>
                  <a:lnTo>
                    <a:pt x="435077" y="435077"/>
                  </a:lnTo>
                  <a:close/>
                  <a:moveTo>
                    <a:pt x="0" y="435077"/>
                  </a:moveTo>
                  <a:lnTo>
                    <a:pt x="0" y="3"/>
                  </a:lnTo>
                  <a:lnTo>
                    <a:pt x="217539" y="217544"/>
                  </a:lnTo>
                  <a:lnTo>
                    <a:pt x="0" y="435077"/>
                  </a:lnTo>
                  <a:close/>
                </a:path>
              </a:pathLst>
            </a:custGeom>
            <a:grpFill/>
            <a:ln w="27192" cap="flat">
              <a:noFill/>
              <a:prstDash val="solid"/>
              <a:miter/>
            </a:ln>
          </p:spPr>
          <p:txBody>
            <a:bodyPr rtlCol="0" anchor="ctr"/>
            <a:lstStyle/>
            <a:p>
              <a:endParaRPr lang="uk-UA" sz="900"/>
            </a:p>
          </p:txBody>
        </p:sp>
        <p:sp>
          <p:nvSpPr>
            <p:cNvPr id="529" name="Freeform: Shape 528">
              <a:extLst>
                <a:ext uri="{FF2B5EF4-FFF2-40B4-BE49-F238E27FC236}">
                  <a16:creationId xmlns:a16="http://schemas.microsoft.com/office/drawing/2014/main" id="{1A0C5BC8-3743-AD73-0485-BF3B12AA0E27}"/>
                </a:ext>
              </a:extLst>
            </p:cNvPr>
            <p:cNvSpPr/>
            <p:nvPr/>
          </p:nvSpPr>
          <p:spPr>
            <a:xfrm>
              <a:off x="835769" y="5449529"/>
              <a:ext cx="435077" cy="435077"/>
            </a:xfrm>
            <a:custGeom>
              <a:avLst/>
              <a:gdLst>
                <a:gd name="connsiteX0" fmla="*/ 371366 w 435077"/>
                <a:gd name="connsiteY0" fmla="*/ 63712 h 435077"/>
                <a:gd name="connsiteX1" fmla="*/ 435077 w 435077"/>
                <a:gd name="connsiteY1" fmla="*/ 217539 h 435077"/>
                <a:gd name="connsiteX2" fmla="*/ 217702 w 435077"/>
                <a:gd name="connsiteY2" fmla="*/ 217539 h 435077"/>
                <a:gd name="connsiteX3" fmla="*/ 371366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1 w 435077"/>
                <a:gd name="connsiteY7" fmla="*/ 281250 h 435077"/>
                <a:gd name="connsiteX8" fmla="*/ 217375 w 435077"/>
                <a:gd name="connsiteY8" fmla="*/ 217539 h 435077"/>
                <a:gd name="connsiteX9" fmla="*/ 0 w 435077"/>
                <a:gd name="connsiteY9" fmla="*/ 217539 h 435077"/>
                <a:gd name="connsiteX10" fmla="*/ 63711 w 435077"/>
                <a:gd name="connsiteY10" fmla="*/ 63712 h 435077"/>
                <a:gd name="connsiteX11" fmla="*/ 217539 w 435077"/>
                <a:gd name="connsiteY11" fmla="*/ 0 h 435077"/>
                <a:gd name="connsiteX12" fmla="*/ 371366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2"/>
                  </a:moveTo>
                  <a:cubicBezTo>
                    <a:pt x="412154" y="104527"/>
                    <a:pt x="435077" y="159837"/>
                    <a:pt x="435077" y="217539"/>
                  </a:cubicBezTo>
                  <a:lnTo>
                    <a:pt x="217702" y="217539"/>
                  </a:lnTo>
                  <a:cubicBezTo>
                    <a:pt x="275349" y="217593"/>
                    <a:pt x="330604" y="240489"/>
                    <a:pt x="371366" y="281250"/>
                  </a:cubicBezTo>
                  <a:cubicBezTo>
                    <a:pt x="412154" y="322066"/>
                    <a:pt x="435077" y="377375"/>
                    <a:pt x="435077" y="435077"/>
                  </a:cubicBezTo>
                  <a:lnTo>
                    <a:pt x="217539" y="435077"/>
                  </a:lnTo>
                  <a:lnTo>
                    <a:pt x="0" y="435077"/>
                  </a:lnTo>
                  <a:cubicBezTo>
                    <a:pt x="0" y="377375"/>
                    <a:pt x="22923" y="322066"/>
                    <a:pt x="63711" y="281250"/>
                  </a:cubicBezTo>
                  <a:cubicBezTo>
                    <a:pt x="104473" y="240489"/>
                    <a:pt x="159728" y="217593"/>
                    <a:pt x="217375" y="217539"/>
                  </a:cubicBezTo>
                  <a:lnTo>
                    <a:pt x="0" y="217539"/>
                  </a:lnTo>
                  <a:cubicBezTo>
                    <a:pt x="0" y="159837"/>
                    <a:pt x="22923" y="104527"/>
                    <a:pt x="63711" y="63712"/>
                  </a:cubicBezTo>
                  <a:cubicBezTo>
                    <a:pt x="104500" y="22923"/>
                    <a:pt x="159836" y="0"/>
                    <a:pt x="217539" y="0"/>
                  </a:cubicBezTo>
                  <a:cubicBezTo>
                    <a:pt x="275213" y="0"/>
                    <a:pt x="330550" y="22923"/>
                    <a:pt x="371366" y="63712"/>
                  </a:cubicBezTo>
                  <a:close/>
                </a:path>
              </a:pathLst>
            </a:custGeom>
            <a:grpFill/>
            <a:ln w="27192" cap="flat">
              <a:noFill/>
              <a:prstDash val="solid"/>
              <a:miter/>
            </a:ln>
          </p:spPr>
          <p:txBody>
            <a:bodyPr rtlCol="0" anchor="ctr"/>
            <a:lstStyle/>
            <a:p>
              <a:endParaRPr lang="uk-UA" sz="900"/>
            </a:p>
          </p:txBody>
        </p:sp>
        <p:sp>
          <p:nvSpPr>
            <p:cNvPr id="530" name="Freeform: Shape 529">
              <a:extLst>
                <a:ext uri="{FF2B5EF4-FFF2-40B4-BE49-F238E27FC236}">
                  <a16:creationId xmlns:a16="http://schemas.microsoft.com/office/drawing/2014/main" id="{16FCED13-A54D-8138-A70D-CA5A09435C2E}"/>
                </a:ext>
              </a:extLst>
            </p:cNvPr>
            <p:cNvSpPr/>
            <p:nvPr/>
          </p:nvSpPr>
          <p:spPr>
            <a:xfrm>
              <a:off x="-34398" y="5449529"/>
              <a:ext cx="435090" cy="435077"/>
            </a:xfrm>
            <a:custGeom>
              <a:avLst/>
              <a:gdLst>
                <a:gd name="connsiteX0" fmla="*/ 217525 w 435090"/>
                <a:gd name="connsiteY0" fmla="*/ 0 h 435077"/>
                <a:gd name="connsiteX1" fmla="*/ 0 w 435090"/>
                <a:gd name="connsiteY1" fmla="*/ 0 h 435077"/>
                <a:gd name="connsiteX2" fmla="*/ 0 w 435090"/>
                <a:gd name="connsiteY2" fmla="*/ 217539 h 435077"/>
                <a:gd name="connsiteX3" fmla="*/ 217525 w 435090"/>
                <a:gd name="connsiteY3" fmla="*/ 0 h 435077"/>
                <a:gd name="connsiteX4" fmla="*/ 435091 w 435090"/>
                <a:gd name="connsiteY4" fmla="*/ 0 h 435077"/>
                <a:gd name="connsiteX5" fmla="*/ 435091 w 435090"/>
                <a:gd name="connsiteY5" fmla="*/ 217539 h 435077"/>
                <a:gd name="connsiteX6" fmla="*/ 217552 w 435090"/>
                <a:gd name="connsiteY6" fmla="*/ 0 h 435077"/>
                <a:gd name="connsiteX7" fmla="*/ 435091 w 435090"/>
                <a:gd name="connsiteY7" fmla="*/ 0 h 435077"/>
                <a:gd name="connsiteX8" fmla="*/ 217552 w 435090"/>
                <a:gd name="connsiteY8" fmla="*/ 435077 h 435077"/>
                <a:gd name="connsiteX9" fmla="*/ 435091 w 435090"/>
                <a:gd name="connsiteY9" fmla="*/ 217539 h 435077"/>
                <a:gd name="connsiteX10" fmla="*/ 435091 w 435090"/>
                <a:gd name="connsiteY10" fmla="*/ 435077 h 435077"/>
                <a:gd name="connsiteX11" fmla="*/ 217552 w 435090"/>
                <a:gd name="connsiteY11" fmla="*/ 435077 h 435077"/>
                <a:gd name="connsiteX12" fmla="*/ 217552 w 435090"/>
                <a:gd name="connsiteY12" fmla="*/ 435077 h 435077"/>
                <a:gd name="connsiteX13" fmla="*/ 11 w 435090"/>
                <a:gd name="connsiteY13" fmla="*/ 217539 h 435077"/>
                <a:gd name="connsiteX14" fmla="*/ 11 w 435090"/>
                <a:gd name="connsiteY14" fmla="*/ 435077 h 435077"/>
                <a:gd name="connsiteX15" fmla="*/ 217552 w 435090"/>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90" h="435077">
                  <a:moveTo>
                    <a:pt x="217525" y="0"/>
                  </a:moveTo>
                  <a:lnTo>
                    <a:pt x="0" y="0"/>
                  </a:lnTo>
                  <a:lnTo>
                    <a:pt x="0" y="217539"/>
                  </a:lnTo>
                  <a:lnTo>
                    <a:pt x="217525" y="0"/>
                  </a:lnTo>
                  <a:close/>
                  <a:moveTo>
                    <a:pt x="435091" y="0"/>
                  </a:moveTo>
                  <a:lnTo>
                    <a:pt x="435091" y="217539"/>
                  </a:lnTo>
                  <a:lnTo>
                    <a:pt x="217552" y="0"/>
                  </a:lnTo>
                  <a:lnTo>
                    <a:pt x="435091" y="0"/>
                  </a:lnTo>
                  <a:close/>
                  <a:moveTo>
                    <a:pt x="217552" y="435077"/>
                  </a:moveTo>
                  <a:lnTo>
                    <a:pt x="435091" y="217539"/>
                  </a:lnTo>
                  <a:lnTo>
                    <a:pt x="435091" y="435077"/>
                  </a:lnTo>
                  <a:lnTo>
                    <a:pt x="217552" y="435077"/>
                  </a:lnTo>
                  <a:close/>
                  <a:moveTo>
                    <a:pt x="217552" y="435077"/>
                  </a:moveTo>
                  <a:lnTo>
                    <a:pt x="11" y="217539"/>
                  </a:lnTo>
                  <a:lnTo>
                    <a:pt x="11" y="435077"/>
                  </a:lnTo>
                  <a:lnTo>
                    <a:pt x="217552" y="435077"/>
                  </a:lnTo>
                  <a:close/>
                </a:path>
              </a:pathLst>
            </a:custGeom>
            <a:grpFill/>
            <a:ln w="27192" cap="flat">
              <a:noFill/>
              <a:prstDash val="solid"/>
              <a:miter/>
            </a:ln>
          </p:spPr>
          <p:txBody>
            <a:bodyPr rtlCol="0" anchor="ctr"/>
            <a:lstStyle/>
            <a:p>
              <a:endParaRPr lang="uk-UA" sz="900"/>
            </a:p>
          </p:txBody>
        </p:sp>
        <p:sp>
          <p:nvSpPr>
            <p:cNvPr id="531" name="Freeform: Shape 530">
              <a:extLst>
                <a:ext uri="{FF2B5EF4-FFF2-40B4-BE49-F238E27FC236}">
                  <a16:creationId xmlns:a16="http://schemas.microsoft.com/office/drawing/2014/main" id="{9FC35F60-D800-891E-C9D0-6FAE09C3C014}"/>
                </a:ext>
              </a:extLst>
            </p:cNvPr>
            <p:cNvSpPr/>
            <p:nvPr/>
          </p:nvSpPr>
          <p:spPr>
            <a:xfrm>
              <a:off x="1705924" y="544952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532" name="Freeform: Shape 531">
              <a:extLst>
                <a:ext uri="{FF2B5EF4-FFF2-40B4-BE49-F238E27FC236}">
                  <a16:creationId xmlns:a16="http://schemas.microsoft.com/office/drawing/2014/main" id="{621B3299-1DB3-C590-5602-CACBD0256334}"/>
                </a:ext>
              </a:extLst>
            </p:cNvPr>
            <p:cNvSpPr/>
            <p:nvPr/>
          </p:nvSpPr>
          <p:spPr>
            <a:xfrm>
              <a:off x="2576106" y="5449529"/>
              <a:ext cx="435077" cy="435077"/>
            </a:xfrm>
            <a:custGeom>
              <a:avLst/>
              <a:gdLst>
                <a:gd name="connsiteX0" fmla="*/ 0 w 435077"/>
                <a:gd name="connsiteY0" fmla="*/ 435077 h 435077"/>
                <a:gd name="connsiteX1" fmla="*/ 217512 w 435077"/>
                <a:gd name="connsiteY1" fmla="*/ 435077 h 435077"/>
                <a:gd name="connsiteX2" fmla="*/ 217512 w 435077"/>
                <a:gd name="connsiteY2" fmla="*/ 217566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66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12" y="435077"/>
                  </a:lnTo>
                  <a:lnTo>
                    <a:pt x="217512" y="217566"/>
                  </a:lnTo>
                  <a:lnTo>
                    <a:pt x="0" y="435077"/>
                  </a:lnTo>
                  <a:close/>
                  <a:moveTo>
                    <a:pt x="217539" y="0"/>
                  </a:moveTo>
                  <a:lnTo>
                    <a:pt x="0" y="0"/>
                  </a:lnTo>
                  <a:lnTo>
                    <a:pt x="217539" y="217539"/>
                  </a:lnTo>
                  <a:lnTo>
                    <a:pt x="217539" y="0"/>
                  </a:lnTo>
                  <a:close/>
                  <a:moveTo>
                    <a:pt x="435077" y="435077"/>
                  </a:moveTo>
                  <a:lnTo>
                    <a:pt x="217539" y="435077"/>
                  </a:lnTo>
                  <a:lnTo>
                    <a:pt x="435077" y="217566"/>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533" name="Freeform: Shape 532">
              <a:extLst>
                <a:ext uri="{FF2B5EF4-FFF2-40B4-BE49-F238E27FC236}">
                  <a16:creationId xmlns:a16="http://schemas.microsoft.com/office/drawing/2014/main" id="{735A62E1-4F1E-0C35-5CCC-D91E83092B5A}"/>
                </a:ext>
              </a:extLst>
            </p:cNvPr>
            <p:cNvSpPr/>
            <p:nvPr/>
          </p:nvSpPr>
          <p:spPr>
            <a:xfrm>
              <a:off x="4316416" y="5449529"/>
              <a:ext cx="435103" cy="435077"/>
            </a:xfrm>
            <a:custGeom>
              <a:avLst/>
              <a:gdLst>
                <a:gd name="connsiteX0" fmla="*/ 371365 w 435103"/>
                <a:gd name="connsiteY0" fmla="*/ 63712 h 435077"/>
                <a:gd name="connsiteX1" fmla="*/ 435077 w 435103"/>
                <a:gd name="connsiteY1" fmla="*/ 217539 h 435077"/>
                <a:gd name="connsiteX2" fmla="*/ 217729 w 435103"/>
                <a:gd name="connsiteY2" fmla="*/ 217539 h 435077"/>
                <a:gd name="connsiteX3" fmla="*/ 371365 w 435103"/>
                <a:gd name="connsiteY3" fmla="*/ 281250 h 435077"/>
                <a:gd name="connsiteX4" fmla="*/ 435104 w 435103"/>
                <a:gd name="connsiteY4" fmla="*/ 435077 h 435077"/>
                <a:gd name="connsiteX5" fmla="*/ 217565 w 435103"/>
                <a:gd name="connsiteY5" fmla="*/ 435077 h 435077"/>
                <a:gd name="connsiteX6" fmla="*/ 27 w 435103"/>
                <a:gd name="connsiteY6" fmla="*/ 435077 h 435077"/>
                <a:gd name="connsiteX7" fmla="*/ 63739 w 435103"/>
                <a:gd name="connsiteY7" fmla="*/ 281250 h 435077"/>
                <a:gd name="connsiteX8" fmla="*/ 217375 w 435103"/>
                <a:gd name="connsiteY8" fmla="*/ 217539 h 435077"/>
                <a:gd name="connsiteX9" fmla="*/ 0 w 435103"/>
                <a:gd name="connsiteY9" fmla="*/ 217539 h 435077"/>
                <a:gd name="connsiteX10" fmla="*/ 63739 w 435103"/>
                <a:gd name="connsiteY10" fmla="*/ 63712 h 435077"/>
                <a:gd name="connsiteX11" fmla="*/ 217539 w 435103"/>
                <a:gd name="connsiteY11" fmla="*/ 0 h 435077"/>
                <a:gd name="connsiteX12" fmla="*/ 371365 w 435103"/>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3" h="435077">
                  <a:moveTo>
                    <a:pt x="371365" y="63712"/>
                  </a:moveTo>
                  <a:cubicBezTo>
                    <a:pt x="412181" y="104527"/>
                    <a:pt x="435077" y="159837"/>
                    <a:pt x="435077" y="217539"/>
                  </a:cubicBezTo>
                  <a:lnTo>
                    <a:pt x="217729" y="217539"/>
                  </a:lnTo>
                  <a:cubicBezTo>
                    <a:pt x="275349" y="217593"/>
                    <a:pt x="330632" y="240489"/>
                    <a:pt x="371365" y="281250"/>
                  </a:cubicBezTo>
                  <a:cubicBezTo>
                    <a:pt x="412181" y="322066"/>
                    <a:pt x="435104" y="377375"/>
                    <a:pt x="435104" y="435077"/>
                  </a:cubicBezTo>
                  <a:lnTo>
                    <a:pt x="217565" y="435077"/>
                  </a:lnTo>
                  <a:lnTo>
                    <a:pt x="27" y="435077"/>
                  </a:lnTo>
                  <a:cubicBezTo>
                    <a:pt x="27" y="377375"/>
                    <a:pt x="22923" y="322066"/>
                    <a:pt x="63739" y="281250"/>
                  </a:cubicBezTo>
                  <a:cubicBezTo>
                    <a:pt x="104500" y="240489"/>
                    <a:pt x="159755" y="217593"/>
                    <a:pt x="217375" y="217539"/>
                  </a:cubicBezTo>
                  <a:lnTo>
                    <a:pt x="0" y="217539"/>
                  </a:lnTo>
                  <a:cubicBezTo>
                    <a:pt x="0" y="159837"/>
                    <a:pt x="22923" y="104527"/>
                    <a:pt x="63739" y="63712"/>
                  </a:cubicBezTo>
                  <a:cubicBezTo>
                    <a:pt x="104527" y="22923"/>
                    <a:pt x="159864" y="0"/>
                    <a:pt x="217539" y="0"/>
                  </a:cubicBezTo>
                  <a:cubicBezTo>
                    <a:pt x="275240" y="0"/>
                    <a:pt x="330577" y="22923"/>
                    <a:pt x="371365" y="63712"/>
                  </a:cubicBezTo>
                  <a:close/>
                </a:path>
              </a:pathLst>
            </a:custGeom>
            <a:grpFill/>
            <a:ln w="27192" cap="flat">
              <a:noFill/>
              <a:prstDash val="solid"/>
              <a:miter/>
            </a:ln>
          </p:spPr>
          <p:txBody>
            <a:bodyPr rtlCol="0" anchor="ctr"/>
            <a:lstStyle/>
            <a:p>
              <a:endParaRPr lang="uk-UA" sz="900"/>
            </a:p>
          </p:txBody>
        </p:sp>
        <p:sp>
          <p:nvSpPr>
            <p:cNvPr id="534" name="Freeform: Shape 533">
              <a:extLst>
                <a:ext uri="{FF2B5EF4-FFF2-40B4-BE49-F238E27FC236}">
                  <a16:creationId xmlns:a16="http://schemas.microsoft.com/office/drawing/2014/main" id="{BF3E0F49-7CE0-2B05-1C39-C8D5728F07F4}"/>
                </a:ext>
              </a:extLst>
            </p:cNvPr>
            <p:cNvSpPr/>
            <p:nvPr/>
          </p:nvSpPr>
          <p:spPr>
            <a:xfrm>
              <a:off x="3446261" y="5449529"/>
              <a:ext cx="435077" cy="435077"/>
            </a:xfrm>
            <a:custGeom>
              <a:avLst/>
              <a:gdLst>
                <a:gd name="connsiteX0" fmla="*/ 217566 w 435077"/>
                <a:gd name="connsiteY0" fmla="*/ 0 h 435077"/>
                <a:gd name="connsiteX1" fmla="*/ 217539 w 435077"/>
                <a:gd name="connsiteY1" fmla="*/ 0 h 435077"/>
                <a:gd name="connsiteX2" fmla="*/ 27 w 435077"/>
                <a:gd name="connsiteY2" fmla="*/ 0 h 435077"/>
                <a:gd name="connsiteX3" fmla="*/ 27 w 435077"/>
                <a:gd name="connsiteY3" fmla="*/ 217539 h 435077"/>
                <a:gd name="connsiteX4" fmla="*/ 217539 w 435077"/>
                <a:gd name="connsiteY4" fmla="*/ 0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66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66" y="0"/>
                  </a:moveTo>
                  <a:lnTo>
                    <a:pt x="217539" y="0"/>
                  </a:lnTo>
                  <a:lnTo>
                    <a:pt x="27" y="0"/>
                  </a:lnTo>
                  <a:lnTo>
                    <a:pt x="27" y="217539"/>
                  </a:lnTo>
                  <a:lnTo>
                    <a:pt x="217539" y="0"/>
                  </a:lnTo>
                  <a:lnTo>
                    <a:pt x="435077" y="217539"/>
                  </a:lnTo>
                  <a:lnTo>
                    <a:pt x="217539" y="435077"/>
                  </a:lnTo>
                  <a:lnTo>
                    <a:pt x="0" y="217539"/>
                  </a:lnTo>
                  <a:lnTo>
                    <a:pt x="0" y="435077"/>
                  </a:lnTo>
                  <a:lnTo>
                    <a:pt x="217539" y="435077"/>
                  </a:lnTo>
                  <a:lnTo>
                    <a:pt x="435077" y="435077"/>
                  </a:lnTo>
                  <a:lnTo>
                    <a:pt x="435077" y="217539"/>
                  </a:lnTo>
                  <a:lnTo>
                    <a:pt x="435077" y="0"/>
                  </a:lnTo>
                  <a:lnTo>
                    <a:pt x="217566" y="0"/>
                  </a:lnTo>
                  <a:close/>
                </a:path>
              </a:pathLst>
            </a:custGeom>
            <a:grpFill/>
            <a:ln w="27192" cap="flat">
              <a:noFill/>
              <a:prstDash val="solid"/>
              <a:miter/>
            </a:ln>
          </p:spPr>
          <p:txBody>
            <a:bodyPr rtlCol="0" anchor="ctr"/>
            <a:lstStyle/>
            <a:p>
              <a:endParaRPr lang="uk-UA" sz="900"/>
            </a:p>
          </p:txBody>
        </p:sp>
        <p:sp>
          <p:nvSpPr>
            <p:cNvPr id="535" name="Freeform: Shape 534">
              <a:extLst>
                <a:ext uri="{FF2B5EF4-FFF2-40B4-BE49-F238E27FC236}">
                  <a16:creationId xmlns:a16="http://schemas.microsoft.com/office/drawing/2014/main" id="{756D8E05-2411-D892-CB06-F9430FCD0042}"/>
                </a:ext>
              </a:extLst>
            </p:cNvPr>
            <p:cNvSpPr/>
            <p:nvPr/>
          </p:nvSpPr>
          <p:spPr>
            <a:xfrm>
              <a:off x="5186597" y="5449529"/>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0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39 h 435077"/>
                <a:gd name="connsiteX9" fmla="*/ 435077 w 435077"/>
                <a:gd name="connsiteY9" fmla="*/ 217539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0"/>
                  </a:lnTo>
                  <a:lnTo>
                    <a:pt x="435077" y="217539"/>
                  </a:lnTo>
                  <a:lnTo>
                    <a:pt x="435077" y="217539"/>
                  </a:lnTo>
                  <a:lnTo>
                    <a:pt x="435077" y="217539"/>
                  </a:lnTo>
                  <a:lnTo>
                    <a:pt x="435077" y="217539"/>
                  </a:lnTo>
                  <a:lnTo>
                    <a:pt x="435077" y="217539"/>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536" name="Freeform: Shape 535">
              <a:extLst>
                <a:ext uri="{FF2B5EF4-FFF2-40B4-BE49-F238E27FC236}">
                  <a16:creationId xmlns:a16="http://schemas.microsoft.com/office/drawing/2014/main" id="{A80A16FA-F525-95B6-42FC-BBB52E268BCD}"/>
                </a:ext>
              </a:extLst>
            </p:cNvPr>
            <p:cNvSpPr/>
            <p:nvPr/>
          </p:nvSpPr>
          <p:spPr>
            <a:xfrm>
              <a:off x="6056752" y="5449529"/>
              <a:ext cx="435077" cy="435077"/>
            </a:xfrm>
            <a:custGeom>
              <a:avLst/>
              <a:gdLst>
                <a:gd name="connsiteX0" fmla="*/ 0 w 435077"/>
                <a:gd name="connsiteY0" fmla="*/ 435077 h 435077"/>
                <a:gd name="connsiteX1" fmla="*/ 217539 w 435077"/>
                <a:gd name="connsiteY1" fmla="*/ 435077 h 435077"/>
                <a:gd name="connsiteX2" fmla="*/ 217539 w 435077"/>
                <a:gd name="connsiteY2" fmla="*/ 217566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66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66"/>
                  </a:lnTo>
                  <a:lnTo>
                    <a:pt x="0" y="435077"/>
                  </a:lnTo>
                  <a:close/>
                  <a:moveTo>
                    <a:pt x="217539" y="0"/>
                  </a:moveTo>
                  <a:lnTo>
                    <a:pt x="0" y="0"/>
                  </a:lnTo>
                  <a:lnTo>
                    <a:pt x="217539" y="217539"/>
                  </a:lnTo>
                  <a:lnTo>
                    <a:pt x="217539" y="0"/>
                  </a:lnTo>
                  <a:close/>
                  <a:moveTo>
                    <a:pt x="435077" y="435077"/>
                  </a:moveTo>
                  <a:lnTo>
                    <a:pt x="217539" y="435077"/>
                  </a:lnTo>
                  <a:lnTo>
                    <a:pt x="435077" y="217566"/>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537" name="Freeform: Shape 536">
              <a:extLst>
                <a:ext uri="{FF2B5EF4-FFF2-40B4-BE49-F238E27FC236}">
                  <a16:creationId xmlns:a16="http://schemas.microsoft.com/office/drawing/2014/main" id="{97E657CE-76E1-6C1B-92AE-16A7D2F75082}"/>
                </a:ext>
              </a:extLst>
            </p:cNvPr>
            <p:cNvSpPr/>
            <p:nvPr/>
          </p:nvSpPr>
          <p:spPr>
            <a:xfrm>
              <a:off x="7797062" y="5449529"/>
              <a:ext cx="435104" cy="435077"/>
            </a:xfrm>
            <a:custGeom>
              <a:avLst/>
              <a:gdLst>
                <a:gd name="connsiteX0" fmla="*/ 371366 w 435104"/>
                <a:gd name="connsiteY0" fmla="*/ 63712 h 435077"/>
                <a:gd name="connsiteX1" fmla="*/ 435077 w 435104"/>
                <a:gd name="connsiteY1" fmla="*/ 217539 h 435077"/>
                <a:gd name="connsiteX2" fmla="*/ 217730 w 435104"/>
                <a:gd name="connsiteY2" fmla="*/ 217539 h 435077"/>
                <a:gd name="connsiteX3" fmla="*/ 371366 w 435104"/>
                <a:gd name="connsiteY3" fmla="*/ 281250 h 435077"/>
                <a:gd name="connsiteX4" fmla="*/ 435105 w 435104"/>
                <a:gd name="connsiteY4" fmla="*/ 435077 h 435077"/>
                <a:gd name="connsiteX5" fmla="*/ 217566 w 435104"/>
                <a:gd name="connsiteY5" fmla="*/ 435077 h 435077"/>
                <a:gd name="connsiteX6" fmla="*/ 27 w 435104"/>
                <a:gd name="connsiteY6" fmla="*/ 435077 h 435077"/>
                <a:gd name="connsiteX7" fmla="*/ 63739 w 435104"/>
                <a:gd name="connsiteY7" fmla="*/ 281250 h 435077"/>
                <a:gd name="connsiteX8" fmla="*/ 217376 w 435104"/>
                <a:gd name="connsiteY8" fmla="*/ 217539 h 435077"/>
                <a:gd name="connsiteX9" fmla="*/ 0 w 435104"/>
                <a:gd name="connsiteY9" fmla="*/ 217539 h 435077"/>
                <a:gd name="connsiteX10" fmla="*/ 63739 w 435104"/>
                <a:gd name="connsiteY10" fmla="*/ 63712 h 435077"/>
                <a:gd name="connsiteX11" fmla="*/ 217539 w 435104"/>
                <a:gd name="connsiteY11" fmla="*/ 0 h 435077"/>
                <a:gd name="connsiteX12" fmla="*/ 371366 w 435104"/>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4" h="435077">
                  <a:moveTo>
                    <a:pt x="371366" y="63712"/>
                  </a:moveTo>
                  <a:cubicBezTo>
                    <a:pt x="412182" y="104527"/>
                    <a:pt x="435077" y="159837"/>
                    <a:pt x="435077" y="217539"/>
                  </a:cubicBezTo>
                  <a:lnTo>
                    <a:pt x="217730" y="217539"/>
                  </a:lnTo>
                  <a:cubicBezTo>
                    <a:pt x="275350" y="217593"/>
                    <a:pt x="330632" y="240489"/>
                    <a:pt x="371366" y="281250"/>
                  </a:cubicBezTo>
                  <a:cubicBezTo>
                    <a:pt x="412182" y="322066"/>
                    <a:pt x="435105" y="377375"/>
                    <a:pt x="435105" y="435077"/>
                  </a:cubicBezTo>
                  <a:lnTo>
                    <a:pt x="217566" y="435077"/>
                  </a:lnTo>
                  <a:lnTo>
                    <a:pt x="27" y="435077"/>
                  </a:lnTo>
                  <a:cubicBezTo>
                    <a:pt x="27" y="377375"/>
                    <a:pt x="22924" y="322066"/>
                    <a:pt x="63739" y="281250"/>
                  </a:cubicBezTo>
                  <a:cubicBezTo>
                    <a:pt x="104501" y="240489"/>
                    <a:pt x="159755" y="217593"/>
                    <a:pt x="217376" y="217539"/>
                  </a:cubicBezTo>
                  <a:lnTo>
                    <a:pt x="0" y="217539"/>
                  </a:lnTo>
                  <a:cubicBezTo>
                    <a:pt x="0" y="159837"/>
                    <a:pt x="22924" y="104527"/>
                    <a:pt x="63739" y="63712"/>
                  </a:cubicBezTo>
                  <a:cubicBezTo>
                    <a:pt x="104527" y="22923"/>
                    <a:pt x="159864" y="0"/>
                    <a:pt x="217539" y="0"/>
                  </a:cubicBezTo>
                  <a:cubicBezTo>
                    <a:pt x="275241" y="0"/>
                    <a:pt x="330578" y="22923"/>
                    <a:pt x="371366" y="63712"/>
                  </a:cubicBezTo>
                  <a:close/>
                </a:path>
              </a:pathLst>
            </a:custGeom>
            <a:grpFill/>
            <a:ln w="27192" cap="flat">
              <a:noFill/>
              <a:prstDash val="solid"/>
              <a:miter/>
            </a:ln>
          </p:spPr>
          <p:txBody>
            <a:bodyPr rtlCol="0" anchor="ctr"/>
            <a:lstStyle/>
            <a:p>
              <a:endParaRPr lang="uk-UA" sz="900"/>
            </a:p>
          </p:txBody>
        </p:sp>
        <p:sp>
          <p:nvSpPr>
            <p:cNvPr id="538" name="Freeform: Shape 537">
              <a:extLst>
                <a:ext uri="{FF2B5EF4-FFF2-40B4-BE49-F238E27FC236}">
                  <a16:creationId xmlns:a16="http://schemas.microsoft.com/office/drawing/2014/main" id="{B960BC0C-A758-36A4-5E14-A26FB5BED052}"/>
                </a:ext>
              </a:extLst>
            </p:cNvPr>
            <p:cNvSpPr/>
            <p:nvPr/>
          </p:nvSpPr>
          <p:spPr>
            <a:xfrm>
              <a:off x="6926907" y="544952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p>
          </p:txBody>
        </p:sp>
        <p:sp>
          <p:nvSpPr>
            <p:cNvPr id="539" name="Freeform: Shape 538">
              <a:extLst>
                <a:ext uri="{FF2B5EF4-FFF2-40B4-BE49-F238E27FC236}">
                  <a16:creationId xmlns:a16="http://schemas.microsoft.com/office/drawing/2014/main" id="{FA16D04C-3191-BCE5-F131-075BFCC649EA}"/>
                </a:ext>
              </a:extLst>
            </p:cNvPr>
            <p:cNvSpPr/>
            <p:nvPr/>
          </p:nvSpPr>
          <p:spPr>
            <a:xfrm>
              <a:off x="8667217" y="5449529"/>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0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39 h 435077"/>
                <a:gd name="connsiteX9" fmla="*/ 435077 w 435077"/>
                <a:gd name="connsiteY9" fmla="*/ 217539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0"/>
                  </a:lnTo>
                  <a:lnTo>
                    <a:pt x="435077" y="217539"/>
                  </a:lnTo>
                  <a:lnTo>
                    <a:pt x="435077" y="217539"/>
                  </a:lnTo>
                  <a:lnTo>
                    <a:pt x="435077" y="217539"/>
                  </a:lnTo>
                  <a:lnTo>
                    <a:pt x="435077" y="217539"/>
                  </a:lnTo>
                  <a:lnTo>
                    <a:pt x="435077" y="217539"/>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540" name="Freeform: Shape 539">
              <a:extLst>
                <a:ext uri="{FF2B5EF4-FFF2-40B4-BE49-F238E27FC236}">
                  <a16:creationId xmlns:a16="http://schemas.microsoft.com/office/drawing/2014/main" id="{408218D5-0862-2707-5CAC-22E05D13EC80}"/>
                </a:ext>
              </a:extLst>
            </p:cNvPr>
            <p:cNvSpPr/>
            <p:nvPr/>
          </p:nvSpPr>
          <p:spPr>
            <a:xfrm>
              <a:off x="9537399" y="5449529"/>
              <a:ext cx="435077" cy="435077"/>
            </a:xfrm>
            <a:custGeom>
              <a:avLst/>
              <a:gdLst>
                <a:gd name="connsiteX0" fmla="*/ 0 w 435077"/>
                <a:gd name="connsiteY0" fmla="*/ 435077 h 435077"/>
                <a:gd name="connsiteX1" fmla="*/ 217511 w 435077"/>
                <a:gd name="connsiteY1" fmla="*/ 435077 h 435077"/>
                <a:gd name="connsiteX2" fmla="*/ 217511 w 435077"/>
                <a:gd name="connsiteY2" fmla="*/ 217539 h 435077"/>
                <a:gd name="connsiteX3" fmla="*/ 0 w 435077"/>
                <a:gd name="connsiteY3" fmla="*/ 435077 h 435077"/>
                <a:gd name="connsiteX4" fmla="*/ 217511 w 435077"/>
                <a:gd name="connsiteY4" fmla="*/ 0 h 435077"/>
                <a:gd name="connsiteX5" fmla="*/ 0 w 435077"/>
                <a:gd name="connsiteY5" fmla="*/ 0 h 435077"/>
                <a:gd name="connsiteX6" fmla="*/ 217511 w 435077"/>
                <a:gd name="connsiteY6" fmla="*/ 217539 h 435077"/>
                <a:gd name="connsiteX7" fmla="*/ 217511 w 435077"/>
                <a:gd name="connsiteY7" fmla="*/ 0 h 435077"/>
                <a:gd name="connsiteX8" fmla="*/ 435077 w 435077"/>
                <a:gd name="connsiteY8" fmla="*/ 435077 h 435077"/>
                <a:gd name="connsiteX9" fmla="*/ 217539 w 435077"/>
                <a:gd name="connsiteY9" fmla="*/ 435077 h 435077"/>
                <a:gd name="connsiteX10" fmla="*/ 435077 w 435077"/>
                <a:gd name="connsiteY10" fmla="*/ 217566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11" y="435077"/>
                  </a:lnTo>
                  <a:lnTo>
                    <a:pt x="217511" y="217539"/>
                  </a:lnTo>
                  <a:lnTo>
                    <a:pt x="0" y="435077"/>
                  </a:lnTo>
                  <a:close/>
                  <a:moveTo>
                    <a:pt x="217511" y="0"/>
                  </a:moveTo>
                  <a:lnTo>
                    <a:pt x="0" y="0"/>
                  </a:lnTo>
                  <a:lnTo>
                    <a:pt x="217511" y="217539"/>
                  </a:lnTo>
                  <a:lnTo>
                    <a:pt x="217511" y="0"/>
                  </a:lnTo>
                  <a:close/>
                  <a:moveTo>
                    <a:pt x="435077" y="435077"/>
                  </a:moveTo>
                  <a:lnTo>
                    <a:pt x="217539" y="435077"/>
                  </a:lnTo>
                  <a:lnTo>
                    <a:pt x="435077" y="217566"/>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541" name="Freeform: Shape 540">
              <a:extLst>
                <a:ext uri="{FF2B5EF4-FFF2-40B4-BE49-F238E27FC236}">
                  <a16:creationId xmlns:a16="http://schemas.microsoft.com/office/drawing/2014/main" id="{6DD4460D-4C9B-5573-F184-EF0EFEBAED59}"/>
                </a:ext>
              </a:extLst>
            </p:cNvPr>
            <p:cNvSpPr/>
            <p:nvPr/>
          </p:nvSpPr>
          <p:spPr>
            <a:xfrm>
              <a:off x="11277709" y="5449529"/>
              <a:ext cx="435077" cy="435077"/>
            </a:xfrm>
            <a:custGeom>
              <a:avLst/>
              <a:gdLst>
                <a:gd name="connsiteX0" fmla="*/ 371365 w 435077"/>
                <a:gd name="connsiteY0" fmla="*/ 63712 h 435077"/>
                <a:gd name="connsiteX1" fmla="*/ 435077 w 435077"/>
                <a:gd name="connsiteY1" fmla="*/ 217539 h 435077"/>
                <a:gd name="connsiteX2" fmla="*/ 217701 w 435077"/>
                <a:gd name="connsiteY2" fmla="*/ 217539 h 435077"/>
                <a:gd name="connsiteX3" fmla="*/ 371365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0 w 435077"/>
                <a:gd name="connsiteY7" fmla="*/ 281250 h 435077"/>
                <a:gd name="connsiteX8" fmla="*/ 217374 w 435077"/>
                <a:gd name="connsiteY8" fmla="*/ 217539 h 435077"/>
                <a:gd name="connsiteX9" fmla="*/ 0 w 435077"/>
                <a:gd name="connsiteY9" fmla="*/ 217539 h 435077"/>
                <a:gd name="connsiteX10" fmla="*/ 63710 w 435077"/>
                <a:gd name="connsiteY10" fmla="*/ 63712 h 435077"/>
                <a:gd name="connsiteX11" fmla="*/ 217539 w 435077"/>
                <a:gd name="connsiteY11" fmla="*/ 0 h 435077"/>
                <a:gd name="connsiteX12" fmla="*/ 371365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12"/>
                  </a:moveTo>
                  <a:cubicBezTo>
                    <a:pt x="412154" y="104527"/>
                    <a:pt x="435077" y="159837"/>
                    <a:pt x="435077" y="217539"/>
                  </a:cubicBezTo>
                  <a:lnTo>
                    <a:pt x="217701" y="217539"/>
                  </a:lnTo>
                  <a:cubicBezTo>
                    <a:pt x="275349" y="217593"/>
                    <a:pt x="330603" y="240489"/>
                    <a:pt x="371365" y="281250"/>
                  </a:cubicBezTo>
                  <a:cubicBezTo>
                    <a:pt x="412154" y="322066"/>
                    <a:pt x="435077" y="377375"/>
                    <a:pt x="435077" y="435077"/>
                  </a:cubicBezTo>
                  <a:lnTo>
                    <a:pt x="217539" y="435077"/>
                  </a:lnTo>
                  <a:lnTo>
                    <a:pt x="0" y="435077"/>
                  </a:lnTo>
                  <a:cubicBezTo>
                    <a:pt x="0" y="377375"/>
                    <a:pt x="22922" y="322066"/>
                    <a:pt x="63710" y="281250"/>
                  </a:cubicBezTo>
                  <a:cubicBezTo>
                    <a:pt x="104472" y="240489"/>
                    <a:pt x="159727" y="217593"/>
                    <a:pt x="217374" y="217539"/>
                  </a:cubicBezTo>
                  <a:lnTo>
                    <a:pt x="0" y="217539"/>
                  </a:lnTo>
                  <a:cubicBezTo>
                    <a:pt x="0" y="159837"/>
                    <a:pt x="22922" y="104527"/>
                    <a:pt x="63710" y="63712"/>
                  </a:cubicBezTo>
                  <a:cubicBezTo>
                    <a:pt x="104499" y="22923"/>
                    <a:pt x="159836" y="0"/>
                    <a:pt x="217539" y="0"/>
                  </a:cubicBezTo>
                  <a:cubicBezTo>
                    <a:pt x="275239" y="0"/>
                    <a:pt x="330549" y="22923"/>
                    <a:pt x="371365" y="63712"/>
                  </a:cubicBezTo>
                  <a:close/>
                </a:path>
              </a:pathLst>
            </a:custGeom>
            <a:grpFill/>
            <a:ln w="27192" cap="flat">
              <a:noFill/>
              <a:prstDash val="solid"/>
              <a:miter/>
            </a:ln>
          </p:spPr>
          <p:txBody>
            <a:bodyPr rtlCol="0" anchor="ctr"/>
            <a:lstStyle/>
            <a:p>
              <a:endParaRPr lang="uk-UA" sz="900"/>
            </a:p>
          </p:txBody>
        </p:sp>
        <p:sp>
          <p:nvSpPr>
            <p:cNvPr id="542" name="Freeform: Shape 541">
              <a:extLst>
                <a:ext uri="{FF2B5EF4-FFF2-40B4-BE49-F238E27FC236}">
                  <a16:creationId xmlns:a16="http://schemas.microsoft.com/office/drawing/2014/main" id="{32886169-662D-51DB-CF86-4DDB8B18889E}"/>
                </a:ext>
              </a:extLst>
            </p:cNvPr>
            <p:cNvSpPr/>
            <p:nvPr/>
          </p:nvSpPr>
          <p:spPr>
            <a:xfrm>
              <a:off x="10407554" y="544952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543" name="Freeform: Shape 542">
              <a:extLst>
                <a:ext uri="{FF2B5EF4-FFF2-40B4-BE49-F238E27FC236}">
                  <a16:creationId xmlns:a16="http://schemas.microsoft.com/office/drawing/2014/main" id="{B96E6C34-0B1D-0592-66BE-FA6C79B642B2}"/>
                </a:ext>
              </a:extLst>
            </p:cNvPr>
            <p:cNvSpPr/>
            <p:nvPr/>
          </p:nvSpPr>
          <p:spPr>
            <a:xfrm>
              <a:off x="12147836" y="544952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544" name="Freeform: Shape 543">
              <a:extLst>
                <a:ext uri="{FF2B5EF4-FFF2-40B4-BE49-F238E27FC236}">
                  <a16:creationId xmlns:a16="http://schemas.microsoft.com/office/drawing/2014/main" id="{1C7D337C-EC46-B2DF-8082-C9A2883D9B9F}"/>
                </a:ext>
              </a:extLst>
            </p:cNvPr>
            <p:cNvSpPr/>
            <p:nvPr/>
          </p:nvSpPr>
          <p:spPr>
            <a:xfrm>
              <a:off x="13018045" y="5449529"/>
              <a:ext cx="435077" cy="435077"/>
            </a:xfrm>
            <a:custGeom>
              <a:avLst/>
              <a:gdLst>
                <a:gd name="connsiteX0" fmla="*/ 0 w 435077"/>
                <a:gd name="connsiteY0" fmla="*/ 435077 h 435077"/>
                <a:gd name="connsiteX1" fmla="*/ 217539 w 435077"/>
                <a:gd name="connsiteY1" fmla="*/ 435077 h 435077"/>
                <a:gd name="connsiteX2" fmla="*/ 217539 w 435077"/>
                <a:gd name="connsiteY2" fmla="*/ 217566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66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66"/>
                  </a:lnTo>
                  <a:lnTo>
                    <a:pt x="0" y="435077"/>
                  </a:lnTo>
                  <a:close/>
                  <a:moveTo>
                    <a:pt x="217539" y="0"/>
                  </a:moveTo>
                  <a:lnTo>
                    <a:pt x="0" y="0"/>
                  </a:lnTo>
                  <a:lnTo>
                    <a:pt x="217539" y="217539"/>
                  </a:lnTo>
                  <a:lnTo>
                    <a:pt x="217539" y="0"/>
                  </a:lnTo>
                  <a:close/>
                  <a:moveTo>
                    <a:pt x="435077" y="435077"/>
                  </a:moveTo>
                  <a:lnTo>
                    <a:pt x="217539" y="435077"/>
                  </a:lnTo>
                  <a:lnTo>
                    <a:pt x="435077" y="217566"/>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545" name="Freeform: Shape 544">
              <a:extLst>
                <a:ext uri="{FF2B5EF4-FFF2-40B4-BE49-F238E27FC236}">
                  <a16:creationId xmlns:a16="http://schemas.microsoft.com/office/drawing/2014/main" id="{FDEC55D7-CD34-2726-D13D-4A3DD92A1FE2}"/>
                </a:ext>
              </a:extLst>
            </p:cNvPr>
            <p:cNvSpPr/>
            <p:nvPr/>
          </p:nvSpPr>
          <p:spPr>
            <a:xfrm>
              <a:off x="14758382" y="5449529"/>
              <a:ext cx="435077" cy="435077"/>
            </a:xfrm>
            <a:custGeom>
              <a:avLst/>
              <a:gdLst>
                <a:gd name="connsiteX0" fmla="*/ 371367 w 435077"/>
                <a:gd name="connsiteY0" fmla="*/ 63712 h 435077"/>
                <a:gd name="connsiteX1" fmla="*/ 435077 w 435077"/>
                <a:gd name="connsiteY1" fmla="*/ 217539 h 435077"/>
                <a:gd name="connsiteX2" fmla="*/ 217703 w 435077"/>
                <a:gd name="connsiteY2" fmla="*/ 217539 h 435077"/>
                <a:gd name="connsiteX3" fmla="*/ 371367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7376 w 435077"/>
                <a:gd name="connsiteY8" fmla="*/ 217539 h 435077"/>
                <a:gd name="connsiteX9" fmla="*/ 0 w 435077"/>
                <a:gd name="connsiteY9" fmla="*/ 217539 h 435077"/>
                <a:gd name="connsiteX10" fmla="*/ 63712 w 435077"/>
                <a:gd name="connsiteY10" fmla="*/ 63712 h 435077"/>
                <a:gd name="connsiteX11" fmla="*/ 217539 w 435077"/>
                <a:gd name="connsiteY11" fmla="*/ 0 h 435077"/>
                <a:gd name="connsiteX12" fmla="*/ 371367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7" y="63712"/>
                  </a:moveTo>
                  <a:cubicBezTo>
                    <a:pt x="412155" y="104527"/>
                    <a:pt x="435077" y="159837"/>
                    <a:pt x="435077" y="217539"/>
                  </a:cubicBezTo>
                  <a:lnTo>
                    <a:pt x="217703" y="217539"/>
                  </a:lnTo>
                  <a:cubicBezTo>
                    <a:pt x="275351" y="217593"/>
                    <a:pt x="330605" y="240489"/>
                    <a:pt x="371367" y="281250"/>
                  </a:cubicBezTo>
                  <a:cubicBezTo>
                    <a:pt x="412155" y="322066"/>
                    <a:pt x="435077" y="377375"/>
                    <a:pt x="435077" y="435077"/>
                  </a:cubicBezTo>
                  <a:lnTo>
                    <a:pt x="217539" y="435077"/>
                  </a:lnTo>
                  <a:lnTo>
                    <a:pt x="0" y="435077"/>
                  </a:lnTo>
                  <a:cubicBezTo>
                    <a:pt x="0" y="377375"/>
                    <a:pt x="22924" y="322066"/>
                    <a:pt x="63712" y="281250"/>
                  </a:cubicBezTo>
                  <a:cubicBezTo>
                    <a:pt x="104474" y="240489"/>
                    <a:pt x="159728" y="217593"/>
                    <a:pt x="217376" y="217539"/>
                  </a:cubicBezTo>
                  <a:lnTo>
                    <a:pt x="0" y="217539"/>
                  </a:lnTo>
                  <a:cubicBezTo>
                    <a:pt x="0" y="159837"/>
                    <a:pt x="22924" y="104527"/>
                    <a:pt x="63712" y="63712"/>
                  </a:cubicBezTo>
                  <a:cubicBezTo>
                    <a:pt x="104501" y="22923"/>
                    <a:pt x="159836" y="0"/>
                    <a:pt x="217539" y="0"/>
                  </a:cubicBezTo>
                  <a:cubicBezTo>
                    <a:pt x="275241" y="0"/>
                    <a:pt x="330550" y="22923"/>
                    <a:pt x="371367" y="63712"/>
                  </a:cubicBezTo>
                  <a:close/>
                </a:path>
              </a:pathLst>
            </a:custGeom>
            <a:grpFill/>
            <a:ln w="27192" cap="flat">
              <a:noFill/>
              <a:prstDash val="solid"/>
              <a:miter/>
            </a:ln>
          </p:spPr>
          <p:txBody>
            <a:bodyPr rtlCol="0" anchor="ctr"/>
            <a:lstStyle/>
            <a:p>
              <a:endParaRPr lang="uk-UA" sz="900"/>
            </a:p>
          </p:txBody>
        </p:sp>
        <p:sp>
          <p:nvSpPr>
            <p:cNvPr id="546" name="Freeform: Shape 545">
              <a:extLst>
                <a:ext uri="{FF2B5EF4-FFF2-40B4-BE49-F238E27FC236}">
                  <a16:creationId xmlns:a16="http://schemas.microsoft.com/office/drawing/2014/main" id="{DCC1B709-294A-01DD-6667-9E92963C5EA1}"/>
                </a:ext>
              </a:extLst>
            </p:cNvPr>
            <p:cNvSpPr/>
            <p:nvPr/>
          </p:nvSpPr>
          <p:spPr>
            <a:xfrm>
              <a:off x="13888200" y="5449529"/>
              <a:ext cx="435077" cy="435077"/>
            </a:xfrm>
            <a:custGeom>
              <a:avLst/>
              <a:gdLst>
                <a:gd name="connsiteX0" fmla="*/ 217565 w 435077"/>
                <a:gd name="connsiteY0" fmla="*/ 0 h 435077"/>
                <a:gd name="connsiteX1" fmla="*/ 217539 w 435077"/>
                <a:gd name="connsiteY1" fmla="*/ 0 h 435077"/>
                <a:gd name="connsiteX2" fmla="*/ 27 w 435077"/>
                <a:gd name="connsiteY2" fmla="*/ 0 h 435077"/>
                <a:gd name="connsiteX3" fmla="*/ 27 w 435077"/>
                <a:gd name="connsiteY3" fmla="*/ 217539 h 435077"/>
                <a:gd name="connsiteX4" fmla="*/ 217565 w 435077"/>
                <a:gd name="connsiteY4" fmla="*/ 0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65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65" y="0"/>
                  </a:moveTo>
                  <a:lnTo>
                    <a:pt x="217539" y="0"/>
                  </a:lnTo>
                  <a:lnTo>
                    <a:pt x="27" y="0"/>
                  </a:lnTo>
                  <a:lnTo>
                    <a:pt x="27" y="217539"/>
                  </a:lnTo>
                  <a:lnTo>
                    <a:pt x="217565" y="0"/>
                  </a:lnTo>
                  <a:lnTo>
                    <a:pt x="435077" y="217539"/>
                  </a:lnTo>
                  <a:lnTo>
                    <a:pt x="217539" y="435077"/>
                  </a:lnTo>
                  <a:lnTo>
                    <a:pt x="0" y="217539"/>
                  </a:lnTo>
                  <a:lnTo>
                    <a:pt x="0" y="435077"/>
                  </a:lnTo>
                  <a:lnTo>
                    <a:pt x="217539" y="435077"/>
                  </a:lnTo>
                  <a:lnTo>
                    <a:pt x="435077" y="435077"/>
                  </a:lnTo>
                  <a:lnTo>
                    <a:pt x="435077" y="217539"/>
                  </a:lnTo>
                  <a:lnTo>
                    <a:pt x="435077" y="0"/>
                  </a:lnTo>
                  <a:lnTo>
                    <a:pt x="217565" y="0"/>
                  </a:lnTo>
                  <a:close/>
                </a:path>
              </a:pathLst>
            </a:custGeom>
            <a:grpFill/>
            <a:ln w="27192" cap="flat">
              <a:noFill/>
              <a:prstDash val="solid"/>
              <a:miter/>
            </a:ln>
          </p:spPr>
          <p:txBody>
            <a:bodyPr rtlCol="0" anchor="ctr"/>
            <a:lstStyle/>
            <a:p>
              <a:endParaRPr lang="uk-UA" sz="900"/>
            </a:p>
          </p:txBody>
        </p:sp>
        <p:sp>
          <p:nvSpPr>
            <p:cNvPr id="547" name="Freeform: Shape 546">
              <a:extLst>
                <a:ext uri="{FF2B5EF4-FFF2-40B4-BE49-F238E27FC236}">
                  <a16:creationId xmlns:a16="http://schemas.microsoft.com/office/drawing/2014/main" id="{8875E503-D9F5-096B-3E8A-61E8B47AAC77}"/>
                </a:ext>
              </a:extLst>
            </p:cNvPr>
            <p:cNvSpPr/>
            <p:nvPr/>
          </p:nvSpPr>
          <p:spPr>
            <a:xfrm>
              <a:off x="15628536" y="5449529"/>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0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39 h 435077"/>
                <a:gd name="connsiteX9" fmla="*/ 435077 w 435077"/>
                <a:gd name="connsiteY9" fmla="*/ 217539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0"/>
                  </a:lnTo>
                  <a:lnTo>
                    <a:pt x="435077" y="217539"/>
                  </a:lnTo>
                  <a:lnTo>
                    <a:pt x="435077" y="217539"/>
                  </a:lnTo>
                  <a:lnTo>
                    <a:pt x="435077" y="217539"/>
                  </a:lnTo>
                  <a:lnTo>
                    <a:pt x="435077" y="217539"/>
                  </a:lnTo>
                  <a:lnTo>
                    <a:pt x="435077" y="217539"/>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548" name="Freeform: Shape 547">
              <a:extLst>
                <a:ext uri="{FF2B5EF4-FFF2-40B4-BE49-F238E27FC236}">
                  <a16:creationId xmlns:a16="http://schemas.microsoft.com/office/drawing/2014/main" id="{078747FC-123A-04F9-A9C7-325137629010}"/>
                </a:ext>
              </a:extLst>
            </p:cNvPr>
            <p:cNvSpPr/>
            <p:nvPr/>
          </p:nvSpPr>
          <p:spPr>
            <a:xfrm>
              <a:off x="16498719" y="5449529"/>
              <a:ext cx="435077" cy="435077"/>
            </a:xfrm>
            <a:custGeom>
              <a:avLst/>
              <a:gdLst>
                <a:gd name="connsiteX0" fmla="*/ 0 w 435077"/>
                <a:gd name="connsiteY0" fmla="*/ 435077 h 435077"/>
                <a:gd name="connsiteX1" fmla="*/ 217510 w 435077"/>
                <a:gd name="connsiteY1" fmla="*/ 435077 h 435077"/>
                <a:gd name="connsiteX2" fmla="*/ 217510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66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10" y="435077"/>
                  </a:lnTo>
                  <a:lnTo>
                    <a:pt x="217510" y="217539"/>
                  </a:lnTo>
                  <a:lnTo>
                    <a:pt x="0" y="435077"/>
                  </a:lnTo>
                  <a:close/>
                  <a:moveTo>
                    <a:pt x="217539" y="0"/>
                  </a:moveTo>
                  <a:lnTo>
                    <a:pt x="0" y="0"/>
                  </a:lnTo>
                  <a:lnTo>
                    <a:pt x="217539" y="217539"/>
                  </a:lnTo>
                  <a:lnTo>
                    <a:pt x="217539" y="0"/>
                  </a:lnTo>
                  <a:close/>
                  <a:moveTo>
                    <a:pt x="435077" y="435077"/>
                  </a:moveTo>
                  <a:lnTo>
                    <a:pt x="217539" y="435077"/>
                  </a:lnTo>
                  <a:lnTo>
                    <a:pt x="435077" y="217566"/>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549" name="Freeform: Shape 548">
              <a:extLst>
                <a:ext uri="{FF2B5EF4-FFF2-40B4-BE49-F238E27FC236}">
                  <a16:creationId xmlns:a16="http://schemas.microsoft.com/office/drawing/2014/main" id="{FA4A0CB4-4913-E278-C282-77015DA68845}"/>
                </a:ext>
              </a:extLst>
            </p:cNvPr>
            <p:cNvSpPr/>
            <p:nvPr/>
          </p:nvSpPr>
          <p:spPr>
            <a:xfrm>
              <a:off x="18239029" y="5449529"/>
              <a:ext cx="435077" cy="435077"/>
            </a:xfrm>
            <a:custGeom>
              <a:avLst/>
              <a:gdLst>
                <a:gd name="connsiteX0" fmla="*/ 371365 w 435077"/>
                <a:gd name="connsiteY0" fmla="*/ 63712 h 435077"/>
                <a:gd name="connsiteX1" fmla="*/ 435077 w 435077"/>
                <a:gd name="connsiteY1" fmla="*/ 217539 h 435077"/>
                <a:gd name="connsiteX2" fmla="*/ 217701 w 435077"/>
                <a:gd name="connsiteY2" fmla="*/ 217539 h 435077"/>
                <a:gd name="connsiteX3" fmla="*/ 371365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0 w 435077"/>
                <a:gd name="connsiteY7" fmla="*/ 281250 h 435077"/>
                <a:gd name="connsiteX8" fmla="*/ 217374 w 435077"/>
                <a:gd name="connsiteY8" fmla="*/ 217539 h 435077"/>
                <a:gd name="connsiteX9" fmla="*/ 0 w 435077"/>
                <a:gd name="connsiteY9" fmla="*/ 217539 h 435077"/>
                <a:gd name="connsiteX10" fmla="*/ 63710 w 435077"/>
                <a:gd name="connsiteY10" fmla="*/ 63712 h 435077"/>
                <a:gd name="connsiteX11" fmla="*/ 217539 w 435077"/>
                <a:gd name="connsiteY11" fmla="*/ 0 h 435077"/>
                <a:gd name="connsiteX12" fmla="*/ 371365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12"/>
                  </a:moveTo>
                  <a:cubicBezTo>
                    <a:pt x="412154" y="104527"/>
                    <a:pt x="435077" y="159837"/>
                    <a:pt x="435077" y="217539"/>
                  </a:cubicBezTo>
                  <a:lnTo>
                    <a:pt x="217701" y="217539"/>
                  </a:lnTo>
                  <a:cubicBezTo>
                    <a:pt x="275349" y="217593"/>
                    <a:pt x="330603" y="240489"/>
                    <a:pt x="371365" y="281250"/>
                  </a:cubicBezTo>
                  <a:cubicBezTo>
                    <a:pt x="412154" y="322066"/>
                    <a:pt x="435077" y="377375"/>
                    <a:pt x="435077" y="435077"/>
                  </a:cubicBezTo>
                  <a:lnTo>
                    <a:pt x="217539" y="435077"/>
                  </a:lnTo>
                  <a:lnTo>
                    <a:pt x="0" y="435077"/>
                  </a:lnTo>
                  <a:cubicBezTo>
                    <a:pt x="0" y="377375"/>
                    <a:pt x="22922" y="322066"/>
                    <a:pt x="63710" y="281250"/>
                  </a:cubicBezTo>
                  <a:cubicBezTo>
                    <a:pt x="104472" y="240489"/>
                    <a:pt x="159755" y="217593"/>
                    <a:pt x="217374" y="217539"/>
                  </a:cubicBezTo>
                  <a:lnTo>
                    <a:pt x="0" y="217539"/>
                  </a:lnTo>
                  <a:cubicBezTo>
                    <a:pt x="0" y="159837"/>
                    <a:pt x="22922" y="104527"/>
                    <a:pt x="63710" y="63712"/>
                  </a:cubicBezTo>
                  <a:cubicBezTo>
                    <a:pt x="104527" y="22923"/>
                    <a:pt x="159836" y="0"/>
                    <a:pt x="217539" y="0"/>
                  </a:cubicBezTo>
                  <a:cubicBezTo>
                    <a:pt x="275241" y="0"/>
                    <a:pt x="330577" y="22923"/>
                    <a:pt x="371365" y="63712"/>
                  </a:cubicBezTo>
                  <a:close/>
                </a:path>
              </a:pathLst>
            </a:custGeom>
            <a:grpFill/>
            <a:ln w="27192" cap="flat">
              <a:noFill/>
              <a:prstDash val="solid"/>
              <a:miter/>
            </a:ln>
          </p:spPr>
          <p:txBody>
            <a:bodyPr rtlCol="0" anchor="ctr"/>
            <a:lstStyle/>
            <a:p>
              <a:endParaRPr lang="uk-UA" sz="900"/>
            </a:p>
          </p:txBody>
        </p:sp>
        <p:sp>
          <p:nvSpPr>
            <p:cNvPr id="550" name="Freeform: Shape 549">
              <a:extLst>
                <a:ext uri="{FF2B5EF4-FFF2-40B4-BE49-F238E27FC236}">
                  <a16:creationId xmlns:a16="http://schemas.microsoft.com/office/drawing/2014/main" id="{DBA1F04D-CCA3-0AE1-5FDA-871D3A13C633}"/>
                </a:ext>
              </a:extLst>
            </p:cNvPr>
            <p:cNvSpPr/>
            <p:nvPr/>
          </p:nvSpPr>
          <p:spPr>
            <a:xfrm>
              <a:off x="17368874" y="544952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551" name="Freeform: Shape 550">
              <a:extLst>
                <a:ext uri="{FF2B5EF4-FFF2-40B4-BE49-F238E27FC236}">
                  <a16:creationId xmlns:a16="http://schemas.microsoft.com/office/drawing/2014/main" id="{4D1E4E31-0BAC-A718-AB65-C0BF3A646084}"/>
                </a:ext>
              </a:extLst>
            </p:cNvPr>
            <p:cNvSpPr/>
            <p:nvPr/>
          </p:nvSpPr>
          <p:spPr>
            <a:xfrm>
              <a:off x="19109210" y="544952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51 w 435077"/>
                <a:gd name="connsiteY7" fmla="*/ 217539 h 435077"/>
                <a:gd name="connsiteX8" fmla="*/ 435077 w 435077"/>
                <a:gd name="connsiteY8" fmla="*/ 217539 h 435077"/>
                <a:gd name="connsiteX9" fmla="*/ 435051 w 435077"/>
                <a:gd name="connsiteY9" fmla="*/ 217539 h 435077"/>
                <a:gd name="connsiteX10" fmla="*/ 435077 w 435077"/>
                <a:gd name="connsiteY10" fmla="*/ 217539 h 435077"/>
                <a:gd name="connsiteX11" fmla="*/ 435051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51" y="217539"/>
                  </a:lnTo>
                  <a:lnTo>
                    <a:pt x="435077" y="217539"/>
                  </a:lnTo>
                  <a:lnTo>
                    <a:pt x="435051" y="217539"/>
                  </a:lnTo>
                  <a:lnTo>
                    <a:pt x="435077" y="217539"/>
                  </a:lnTo>
                  <a:lnTo>
                    <a:pt x="435051"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552" name="Freeform: Shape 551">
              <a:extLst>
                <a:ext uri="{FF2B5EF4-FFF2-40B4-BE49-F238E27FC236}">
                  <a16:creationId xmlns:a16="http://schemas.microsoft.com/office/drawing/2014/main" id="{3AF12688-C9C1-05D9-8756-217608CD3AE1}"/>
                </a:ext>
              </a:extLst>
            </p:cNvPr>
            <p:cNvSpPr/>
            <p:nvPr/>
          </p:nvSpPr>
          <p:spPr>
            <a:xfrm>
              <a:off x="19979365" y="5449529"/>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66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39" y="435077"/>
                  </a:lnTo>
                  <a:lnTo>
                    <a:pt x="435077" y="217566"/>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553" name="Freeform: Shape 552">
              <a:extLst>
                <a:ext uri="{FF2B5EF4-FFF2-40B4-BE49-F238E27FC236}">
                  <a16:creationId xmlns:a16="http://schemas.microsoft.com/office/drawing/2014/main" id="{9769292A-557C-EF03-3338-227DB1437D8F}"/>
                </a:ext>
              </a:extLst>
            </p:cNvPr>
            <p:cNvSpPr/>
            <p:nvPr/>
          </p:nvSpPr>
          <p:spPr>
            <a:xfrm>
              <a:off x="21719702" y="5449529"/>
              <a:ext cx="435077" cy="435077"/>
            </a:xfrm>
            <a:custGeom>
              <a:avLst/>
              <a:gdLst>
                <a:gd name="connsiteX0" fmla="*/ 371339 w 435077"/>
                <a:gd name="connsiteY0" fmla="*/ 63712 h 435077"/>
                <a:gd name="connsiteX1" fmla="*/ 435077 w 435077"/>
                <a:gd name="connsiteY1" fmla="*/ 217539 h 435077"/>
                <a:gd name="connsiteX2" fmla="*/ 217703 w 435077"/>
                <a:gd name="connsiteY2" fmla="*/ 217539 h 435077"/>
                <a:gd name="connsiteX3" fmla="*/ 371367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7350 w 435077"/>
                <a:gd name="connsiteY8" fmla="*/ 217539 h 435077"/>
                <a:gd name="connsiteX9" fmla="*/ 0 w 435077"/>
                <a:gd name="connsiteY9" fmla="*/ 217539 h 435077"/>
                <a:gd name="connsiteX10" fmla="*/ 63712 w 435077"/>
                <a:gd name="connsiteY10" fmla="*/ 63712 h 435077"/>
                <a:gd name="connsiteX11" fmla="*/ 217539 w 435077"/>
                <a:gd name="connsiteY11" fmla="*/ 0 h 435077"/>
                <a:gd name="connsiteX12" fmla="*/ 371339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12"/>
                  </a:moveTo>
                  <a:cubicBezTo>
                    <a:pt x="412155" y="104527"/>
                    <a:pt x="435077" y="159837"/>
                    <a:pt x="435077" y="217539"/>
                  </a:cubicBezTo>
                  <a:lnTo>
                    <a:pt x="217703" y="217539"/>
                  </a:lnTo>
                  <a:cubicBezTo>
                    <a:pt x="275322" y="217593"/>
                    <a:pt x="330605" y="240489"/>
                    <a:pt x="371367" y="281250"/>
                  </a:cubicBezTo>
                  <a:cubicBezTo>
                    <a:pt x="412155" y="322066"/>
                    <a:pt x="435077" y="377375"/>
                    <a:pt x="435077" y="435077"/>
                  </a:cubicBezTo>
                  <a:lnTo>
                    <a:pt x="217539" y="435077"/>
                  </a:lnTo>
                  <a:lnTo>
                    <a:pt x="0" y="435077"/>
                  </a:lnTo>
                  <a:cubicBezTo>
                    <a:pt x="0" y="377375"/>
                    <a:pt x="22924" y="322066"/>
                    <a:pt x="63712" y="281250"/>
                  </a:cubicBezTo>
                  <a:cubicBezTo>
                    <a:pt x="104474" y="240489"/>
                    <a:pt x="159728" y="217593"/>
                    <a:pt x="217350" y="217539"/>
                  </a:cubicBezTo>
                  <a:lnTo>
                    <a:pt x="0" y="217539"/>
                  </a:lnTo>
                  <a:cubicBezTo>
                    <a:pt x="0" y="159837"/>
                    <a:pt x="22897" y="104527"/>
                    <a:pt x="63712" y="63712"/>
                  </a:cubicBezTo>
                  <a:cubicBezTo>
                    <a:pt x="104501" y="22923"/>
                    <a:pt x="159838" y="0"/>
                    <a:pt x="217539" y="0"/>
                  </a:cubicBezTo>
                  <a:cubicBezTo>
                    <a:pt x="275215" y="0"/>
                    <a:pt x="330550" y="22923"/>
                    <a:pt x="371339" y="63712"/>
                  </a:cubicBezTo>
                  <a:close/>
                </a:path>
              </a:pathLst>
            </a:custGeom>
            <a:grpFill/>
            <a:ln w="27192" cap="flat">
              <a:noFill/>
              <a:prstDash val="solid"/>
              <a:miter/>
            </a:ln>
          </p:spPr>
          <p:txBody>
            <a:bodyPr rtlCol="0" anchor="ctr"/>
            <a:lstStyle/>
            <a:p>
              <a:endParaRPr lang="uk-UA" sz="900"/>
            </a:p>
          </p:txBody>
        </p:sp>
        <p:sp>
          <p:nvSpPr>
            <p:cNvPr id="554" name="Freeform: Shape 553">
              <a:extLst>
                <a:ext uri="{FF2B5EF4-FFF2-40B4-BE49-F238E27FC236}">
                  <a16:creationId xmlns:a16="http://schemas.microsoft.com/office/drawing/2014/main" id="{A057F449-459A-0004-4483-22E12F81B4E9}"/>
                </a:ext>
              </a:extLst>
            </p:cNvPr>
            <p:cNvSpPr/>
            <p:nvPr/>
          </p:nvSpPr>
          <p:spPr>
            <a:xfrm>
              <a:off x="20849520" y="5449529"/>
              <a:ext cx="435103" cy="435077"/>
            </a:xfrm>
            <a:custGeom>
              <a:avLst/>
              <a:gdLst>
                <a:gd name="connsiteX0" fmla="*/ 217539 w 435103"/>
                <a:gd name="connsiteY0" fmla="*/ 0 h 435077"/>
                <a:gd name="connsiteX1" fmla="*/ 0 w 435103"/>
                <a:gd name="connsiteY1" fmla="*/ 0 h 435077"/>
                <a:gd name="connsiteX2" fmla="*/ 0 w 435103"/>
                <a:gd name="connsiteY2" fmla="*/ 217539 h 435077"/>
                <a:gd name="connsiteX3" fmla="*/ 217539 w 435103"/>
                <a:gd name="connsiteY3" fmla="*/ 0 h 435077"/>
                <a:gd name="connsiteX4" fmla="*/ 435104 w 435103"/>
                <a:gd name="connsiteY4" fmla="*/ 0 h 435077"/>
                <a:gd name="connsiteX5" fmla="*/ 435104 w 435103"/>
                <a:gd name="connsiteY5" fmla="*/ 217539 h 435077"/>
                <a:gd name="connsiteX6" fmla="*/ 217565 w 435103"/>
                <a:gd name="connsiteY6" fmla="*/ 0 h 435077"/>
                <a:gd name="connsiteX7" fmla="*/ 435104 w 435103"/>
                <a:gd name="connsiteY7" fmla="*/ 0 h 435077"/>
                <a:gd name="connsiteX8" fmla="*/ 217565 w 435103"/>
                <a:gd name="connsiteY8" fmla="*/ 435077 h 435077"/>
                <a:gd name="connsiteX9" fmla="*/ 435104 w 435103"/>
                <a:gd name="connsiteY9" fmla="*/ 217539 h 435077"/>
                <a:gd name="connsiteX10" fmla="*/ 435104 w 435103"/>
                <a:gd name="connsiteY10" fmla="*/ 435077 h 435077"/>
                <a:gd name="connsiteX11" fmla="*/ 217565 w 435103"/>
                <a:gd name="connsiteY11" fmla="*/ 435077 h 435077"/>
                <a:gd name="connsiteX12" fmla="*/ 217565 w 435103"/>
                <a:gd name="connsiteY12" fmla="*/ 435077 h 435077"/>
                <a:gd name="connsiteX13" fmla="*/ 27 w 435103"/>
                <a:gd name="connsiteY13" fmla="*/ 217539 h 435077"/>
                <a:gd name="connsiteX14" fmla="*/ 27 w 435103"/>
                <a:gd name="connsiteY14" fmla="*/ 435077 h 435077"/>
                <a:gd name="connsiteX15" fmla="*/ 217565 w 435103"/>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3" h="435077">
                  <a:moveTo>
                    <a:pt x="217539" y="0"/>
                  </a:moveTo>
                  <a:lnTo>
                    <a:pt x="0" y="0"/>
                  </a:lnTo>
                  <a:lnTo>
                    <a:pt x="0" y="217539"/>
                  </a:lnTo>
                  <a:lnTo>
                    <a:pt x="217539" y="0"/>
                  </a:lnTo>
                  <a:close/>
                  <a:moveTo>
                    <a:pt x="435104" y="0"/>
                  </a:moveTo>
                  <a:lnTo>
                    <a:pt x="435104" y="217539"/>
                  </a:lnTo>
                  <a:lnTo>
                    <a:pt x="217565" y="0"/>
                  </a:lnTo>
                  <a:lnTo>
                    <a:pt x="435104" y="0"/>
                  </a:lnTo>
                  <a:close/>
                  <a:moveTo>
                    <a:pt x="217565" y="435077"/>
                  </a:moveTo>
                  <a:lnTo>
                    <a:pt x="435104" y="217539"/>
                  </a:lnTo>
                  <a:lnTo>
                    <a:pt x="435104" y="435077"/>
                  </a:lnTo>
                  <a:lnTo>
                    <a:pt x="217565" y="435077"/>
                  </a:lnTo>
                  <a:close/>
                  <a:moveTo>
                    <a:pt x="217565" y="435077"/>
                  </a:moveTo>
                  <a:lnTo>
                    <a:pt x="27" y="217539"/>
                  </a:lnTo>
                  <a:lnTo>
                    <a:pt x="27" y="435077"/>
                  </a:lnTo>
                  <a:lnTo>
                    <a:pt x="217565" y="435077"/>
                  </a:lnTo>
                  <a:close/>
                </a:path>
              </a:pathLst>
            </a:custGeom>
            <a:grpFill/>
            <a:ln w="27192" cap="flat">
              <a:noFill/>
              <a:prstDash val="solid"/>
              <a:miter/>
            </a:ln>
          </p:spPr>
          <p:txBody>
            <a:bodyPr rtlCol="0" anchor="ctr"/>
            <a:lstStyle/>
            <a:p>
              <a:endParaRPr lang="uk-UA" sz="900"/>
            </a:p>
          </p:txBody>
        </p:sp>
        <p:sp>
          <p:nvSpPr>
            <p:cNvPr id="555" name="Freeform: Shape 554">
              <a:extLst>
                <a:ext uri="{FF2B5EF4-FFF2-40B4-BE49-F238E27FC236}">
                  <a16:creationId xmlns:a16="http://schemas.microsoft.com/office/drawing/2014/main" id="{62AFC1A1-B76F-E19E-494B-74E6FAE8FEA7}"/>
                </a:ext>
              </a:extLst>
            </p:cNvPr>
            <p:cNvSpPr/>
            <p:nvPr/>
          </p:nvSpPr>
          <p:spPr>
            <a:xfrm>
              <a:off x="22589856" y="544952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556" name="Freeform: Shape 555">
              <a:extLst>
                <a:ext uri="{FF2B5EF4-FFF2-40B4-BE49-F238E27FC236}">
                  <a16:creationId xmlns:a16="http://schemas.microsoft.com/office/drawing/2014/main" id="{EBB0BCF8-58B8-DE3B-B6E9-2B7BF5538EA6}"/>
                </a:ext>
              </a:extLst>
            </p:cNvPr>
            <p:cNvSpPr/>
            <p:nvPr/>
          </p:nvSpPr>
          <p:spPr>
            <a:xfrm>
              <a:off x="23460039" y="5449529"/>
              <a:ext cx="435077" cy="435077"/>
            </a:xfrm>
            <a:custGeom>
              <a:avLst/>
              <a:gdLst>
                <a:gd name="connsiteX0" fmla="*/ 0 w 435077"/>
                <a:gd name="connsiteY0" fmla="*/ 435077 h 435077"/>
                <a:gd name="connsiteX1" fmla="*/ 217510 w 435077"/>
                <a:gd name="connsiteY1" fmla="*/ 435077 h 435077"/>
                <a:gd name="connsiteX2" fmla="*/ 217510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66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10" y="435077"/>
                  </a:lnTo>
                  <a:lnTo>
                    <a:pt x="217510" y="217539"/>
                  </a:lnTo>
                  <a:lnTo>
                    <a:pt x="0" y="435077"/>
                  </a:lnTo>
                  <a:close/>
                  <a:moveTo>
                    <a:pt x="217539" y="0"/>
                  </a:moveTo>
                  <a:lnTo>
                    <a:pt x="0" y="0"/>
                  </a:lnTo>
                  <a:lnTo>
                    <a:pt x="217539" y="217539"/>
                  </a:lnTo>
                  <a:lnTo>
                    <a:pt x="217539" y="0"/>
                  </a:lnTo>
                  <a:close/>
                  <a:moveTo>
                    <a:pt x="435077" y="435077"/>
                  </a:moveTo>
                  <a:lnTo>
                    <a:pt x="217539" y="435077"/>
                  </a:lnTo>
                  <a:lnTo>
                    <a:pt x="435077" y="217566"/>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557" name="Freeform: Shape 556">
              <a:extLst>
                <a:ext uri="{FF2B5EF4-FFF2-40B4-BE49-F238E27FC236}">
                  <a16:creationId xmlns:a16="http://schemas.microsoft.com/office/drawing/2014/main" id="{6CB34D5F-A449-10B3-5809-CAD199B7E4E0}"/>
                </a:ext>
              </a:extLst>
            </p:cNvPr>
            <p:cNvSpPr/>
            <p:nvPr/>
          </p:nvSpPr>
          <p:spPr>
            <a:xfrm>
              <a:off x="24330194" y="544952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p>
          </p:txBody>
        </p:sp>
        <p:sp>
          <p:nvSpPr>
            <p:cNvPr id="558" name="Freeform: Shape 557">
              <a:extLst>
                <a:ext uri="{FF2B5EF4-FFF2-40B4-BE49-F238E27FC236}">
                  <a16:creationId xmlns:a16="http://schemas.microsoft.com/office/drawing/2014/main" id="{56B088AE-77B0-0621-9051-E10B2BB24B81}"/>
                </a:ext>
              </a:extLst>
            </p:cNvPr>
            <p:cNvSpPr/>
            <p:nvPr/>
          </p:nvSpPr>
          <p:spPr>
            <a:xfrm>
              <a:off x="835769" y="6319683"/>
              <a:ext cx="435077" cy="435077"/>
            </a:xfrm>
            <a:custGeom>
              <a:avLst/>
              <a:gdLst>
                <a:gd name="connsiteX0" fmla="*/ 63711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1 w 435077"/>
                <a:gd name="connsiteY6" fmla="*/ 153827 h 435077"/>
                <a:gd name="connsiteX7" fmla="*/ 63711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1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1" y="153827"/>
                  </a:moveTo>
                  <a:cubicBezTo>
                    <a:pt x="22923" y="113038"/>
                    <a:pt x="0" y="57702"/>
                    <a:pt x="0" y="0"/>
                  </a:cubicBezTo>
                  <a:lnTo>
                    <a:pt x="217539" y="0"/>
                  </a:lnTo>
                  <a:lnTo>
                    <a:pt x="435077" y="0"/>
                  </a:lnTo>
                  <a:cubicBezTo>
                    <a:pt x="435077" y="57702"/>
                    <a:pt x="412154" y="113038"/>
                    <a:pt x="371366" y="153827"/>
                  </a:cubicBezTo>
                  <a:cubicBezTo>
                    <a:pt x="330550" y="194616"/>
                    <a:pt x="275213" y="217539"/>
                    <a:pt x="217539" y="217539"/>
                  </a:cubicBezTo>
                  <a:cubicBezTo>
                    <a:pt x="159836" y="217539"/>
                    <a:pt x="104500" y="194616"/>
                    <a:pt x="63711" y="153827"/>
                  </a:cubicBezTo>
                  <a:close/>
                  <a:moveTo>
                    <a:pt x="63711" y="281250"/>
                  </a:moveTo>
                  <a:cubicBezTo>
                    <a:pt x="22923" y="322066"/>
                    <a:pt x="0" y="377375"/>
                    <a:pt x="0" y="435077"/>
                  </a:cubicBezTo>
                  <a:lnTo>
                    <a:pt x="217539" y="435077"/>
                  </a:lnTo>
                  <a:lnTo>
                    <a:pt x="435077" y="435077"/>
                  </a:lnTo>
                  <a:cubicBezTo>
                    <a:pt x="435077" y="377375"/>
                    <a:pt x="412154" y="322066"/>
                    <a:pt x="371366" y="281250"/>
                  </a:cubicBezTo>
                  <a:cubicBezTo>
                    <a:pt x="330550" y="240462"/>
                    <a:pt x="275213" y="217539"/>
                    <a:pt x="217539" y="217539"/>
                  </a:cubicBezTo>
                  <a:cubicBezTo>
                    <a:pt x="159836" y="217539"/>
                    <a:pt x="104500" y="240462"/>
                    <a:pt x="63711" y="281250"/>
                  </a:cubicBezTo>
                  <a:close/>
                </a:path>
              </a:pathLst>
            </a:custGeom>
            <a:grpFill/>
            <a:ln w="27192" cap="flat">
              <a:noFill/>
              <a:prstDash val="solid"/>
              <a:miter/>
            </a:ln>
          </p:spPr>
          <p:txBody>
            <a:bodyPr rtlCol="0" anchor="ctr"/>
            <a:lstStyle/>
            <a:p>
              <a:endParaRPr lang="uk-UA" sz="900"/>
            </a:p>
          </p:txBody>
        </p:sp>
        <p:sp>
          <p:nvSpPr>
            <p:cNvPr id="559" name="Freeform: Shape 558">
              <a:extLst>
                <a:ext uri="{FF2B5EF4-FFF2-40B4-BE49-F238E27FC236}">
                  <a16:creationId xmlns:a16="http://schemas.microsoft.com/office/drawing/2014/main" id="{D6C8424A-7D8C-C9B9-F261-0A565B9C778C}"/>
                </a:ext>
              </a:extLst>
            </p:cNvPr>
            <p:cNvSpPr/>
            <p:nvPr/>
          </p:nvSpPr>
          <p:spPr>
            <a:xfrm>
              <a:off x="-34393" y="6319683"/>
              <a:ext cx="435085" cy="435077"/>
            </a:xfrm>
            <a:custGeom>
              <a:avLst/>
              <a:gdLst>
                <a:gd name="connsiteX0" fmla="*/ 435086 w 435085"/>
                <a:gd name="connsiteY0" fmla="*/ 435077 h 435077"/>
                <a:gd name="connsiteX1" fmla="*/ 435086 w 435085"/>
                <a:gd name="connsiteY1" fmla="*/ 0 h 435077"/>
                <a:gd name="connsiteX2" fmla="*/ 217547 w 435085"/>
                <a:gd name="connsiteY2" fmla="*/ 217539 h 435077"/>
                <a:gd name="connsiteX3" fmla="*/ 435086 w 435085"/>
                <a:gd name="connsiteY3" fmla="*/ 435077 h 435077"/>
                <a:gd name="connsiteX4" fmla="*/ 0 w 435085"/>
                <a:gd name="connsiteY4" fmla="*/ 435077 h 435077"/>
                <a:gd name="connsiteX5" fmla="*/ 0 w 435085"/>
                <a:gd name="connsiteY5" fmla="*/ 0 h 435077"/>
                <a:gd name="connsiteX6" fmla="*/ 217520 w 435085"/>
                <a:gd name="connsiteY6" fmla="*/ 217539 h 435077"/>
                <a:gd name="connsiteX7" fmla="*/ 0 w 435085"/>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85" h="435077">
                  <a:moveTo>
                    <a:pt x="435086" y="435077"/>
                  </a:moveTo>
                  <a:lnTo>
                    <a:pt x="435086" y="0"/>
                  </a:lnTo>
                  <a:lnTo>
                    <a:pt x="217547" y="217539"/>
                  </a:lnTo>
                  <a:lnTo>
                    <a:pt x="435086" y="435077"/>
                  </a:lnTo>
                  <a:close/>
                  <a:moveTo>
                    <a:pt x="0" y="435077"/>
                  </a:moveTo>
                  <a:lnTo>
                    <a:pt x="0" y="0"/>
                  </a:lnTo>
                  <a:lnTo>
                    <a:pt x="217520" y="217539"/>
                  </a:lnTo>
                  <a:lnTo>
                    <a:pt x="0" y="435077"/>
                  </a:lnTo>
                  <a:close/>
                </a:path>
              </a:pathLst>
            </a:custGeom>
            <a:grpFill/>
            <a:ln w="27192" cap="flat">
              <a:noFill/>
              <a:prstDash val="solid"/>
              <a:miter/>
            </a:ln>
          </p:spPr>
          <p:txBody>
            <a:bodyPr rtlCol="0" anchor="ctr"/>
            <a:lstStyle/>
            <a:p>
              <a:endParaRPr lang="uk-UA" sz="900"/>
            </a:p>
          </p:txBody>
        </p:sp>
        <p:sp>
          <p:nvSpPr>
            <p:cNvPr id="560" name="Freeform: Shape 559">
              <a:extLst>
                <a:ext uri="{FF2B5EF4-FFF2-40B4-BE49-F238E27FC236}">
                  <a16:creationId xmlns:a16="http://schemas.microsoft.com/office/drawing/2014/main" id="{DE780D16-CAF9-1296-E2C0-3830480B1CD7}"/>
                </a:ext>
              </a:extLst>
            </p:cNvPr>
            <p:cNvSpPr/>
            <p:nvPr/>
          </p:nvSpPr>
          <p:spPr>
            <a:xfrm>
              <a:off x="1705924" y="6319683"/>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6 w 435077"/>
                <a:gd name="connsiteY3" fmla="*/ 27 h 435077"/>
                <a:gd name="connsiteX4" fmla="*/ 435077 w 435077"/>
                <a:gd name="connsiteY4" fmla="*/ 217539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6" y="27"/>
                  </a:lnTo>
                  <a:lnTo>
                    <a:pt x="435077" y="217539"/>
                  </a:lnTo>
                  <a:lnTo>
                    <a:pt x="217566"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561" name="Freeform: Shape 560">
              <a:extLst>
                <a:ext uri="{FF2B5EF4-FFF2-40B4-BE49-F238E27FC236}">
                  <a16:creationId xmlns:a16="http://schemas.microsoft.com/office/drawing/2014/main" id="{D4E1894D-29EF-4A07-6A1C-A80F070DB9F2}"/>
                </a:ext>
              </a:extLst>
            </p:cNvPr>
            <p:cNvSpPr/>
            <p:nvPr/>
          </p:nvSpPr>
          <p:spPr>
            <a:xfrm>
              <a:off x="2576106" y="6319683"/>
              <a:ext cx="435077" cy="435077"/>
            </a:xfrm>
            <a:custGeom>
              <a:avLst/>
              <a:gdLst>
                <a:gd name="connsiteX0" fmla="*/ 0 w 435077"/>
                <a:gd name="connsiteY0" fmla="*/ 435077 h 435077"/>
                <a:gd name="connsiteX1" fmla="*/ 0 w 435077"/>
                <a:gd name="connsiteY1" fmla="*/ 0 h 435077"/>
                <a:gd name="connsiteX2" fmla="*/ 217512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12"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562" name="Freeform: Shape 561">
              <a:extLst>
                <a:ext uri="{FF2B5EF4-FFF2-40B4-BE49-F238E27FC236}">
                  <a16:creationId xmlns:a16="http://schemas.microsoft.com/office/drawing/2014/main" id="{E8872A5E-5753-D743-8AA4-7954907D93F4}"/>
                </a:ext>
              </a:extLst>
            </p:cNvPr>
            <p:cNvSpPr/>
            <p:nvPr/>
          </p:nvSpPr>
          <p:spPr>
            <a:xfrm>
              <a:off x="4316416" y="6319683"/>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39 w 435077"/>
                <a:gd name="connsiteY6" fmla="*/ 153827 h 435077"/>
                <a:gd name="connsiteX7" fmla="*/ 63739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0 h 435077"/>
                <a:gd name="connsiteX12" fmla="*/ 217539 w 435077"/>
                <a:gd name="connsiteY12" fmla="*/ 217539 h 435077"/>
                <a:gd name="connsiteX13" fmla="*/ 63739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3" y="113038"/>
                    <a:pt x="0" y="57702"/>
                    <a:pt x="0" y="0"/>
                  </a:cubicBezTo>
                  <a:lnTo>
                    <a:pt x="217539" y="0"/>
                  </a:lnTo>
                  <a:lnTo>
                    <a:pt x="435077" y="0"/>
                  </a:lnTo>
                  <a:cubicBezTo>
                    <a:pt x="435077" y="57702"/>
                    <a:pt x="412181" y="113038"/>
                    <a:pt x="371365" y="153827"/>
                  </a:cubicBezTo>
                  <a:cubicBezTo>
                    <a:pt x="330577" y="194616"/>
                    <a:pt x="275240" y="217539"/>
                    <a:pt x="217539" y="217539"/>
                  </a:cubicBezTo>
                  <a:cubicBezTo>
                    <a:pt x="159864" y="217539"/>
                    <a:pt x="104527" y="194616"/>
                    <a:pt x="63739" y="153827"/>
                  </a:cubicBezTo>
                  <a:close/>
                  <a:moveTo>
                    <a:pt x="63739" y="281250"/>
                  </a:moveTo>
                  <a:cubicBezTo>
                    <a:pt x="22923" y="322066"/>
                    <a:pt x="0" y="377375"/>
                    <a:pt x="0" y="435077"/>
                  </a:cubicBezTo>
                  <a:lnTo>
                    <a:pt x="217539" y="435077"/>
                  </a:lnTo>
                  <a:lnTo>
                    <a:pt x="435077" y="435077"/>
                  </a:lnTo>
                  <a:cubicBezTo>
                    <a:pt x="435077" y="377375"/>
                    <a:pt x="412181" y="322066"/>
                    <a:pt x="371365" y="281250"/>
                  </a:cubicBezTo>
                  <a:cubicBezTo>
                    <a:pt x="330577" y="240462"/>
                    <a:pt x="275240" y="217539"/>
                    <a:pt x="217539" y="217539"/>
                  </a:cubicBezTo>
                  <a:cubicBezTo>
                    <a:pt x="159864" y="217539"/>
                    <a:pt x="104527" y="240462"/>
                    <a:pt x="63739" y="281250"/>
                  </a:cubicBezTo>
                  <a:close/>
                </a:path>
              </a:pathLst>
            </a:custGeom>
            <a:grpFill/>
            <a:ln w="27192" cap="flat">
              <a:noFill/>
              <a:prstDash val="solid"/>
              <a:miter/>
            </a:ln>
          </p:spPr>
          <p:txBody>
            <a:bodyPr rtlCol="0" anchor="ctr"/>
            <a:lstStyle/>
            <a:p>
              <a:endParaRPr lang="uk-UA" sz="900"/>
            </a:p>
          </p:txBody>
        </p:sp>
        <p:sp>
          <p:nvSpPr>
            <p:cNvPr id="563" name="Freeform: Shape 562">
              <a:extLst>
                <a:ext uri="{FF2B5EF4-FFF2-40B4-BE49-F238E27FC236}">
                  <a16:creationId xmlns:a16="http://schemas.microsoft.com/office/drawing/2014/main" id="{EA548D06-ACBC-A503-A5D4-7665A55C9F16}"/>
                </a:ext>
              </a:extLst>
            </p:cNvPr>
            <p:cNvSpPr/>
            <p:nvPr/>
          </p:nvSpPr>
          <p:spPr>
            <a:xfrm>
              <a:off x="3446261" y="6319683"/>
              <a:ext cx="435077" cy="435077"/>
            </a:xfrm>
            <a:custGeom>
              <a:avLst/>
              <a:gdLst>
                <a:gd name="connsiteX0" fmla="*/ 435077 w 435077"/>
                <a:gd name="connsiteY0" fmla="*/ 435077 h 435077"/>
                <a:gd name="connsiteX1" fmla="*/ 435077 w 435077"/>
                <a:gd name="connsiteY1" fmla="*/ 0 h 435077"/>
                <a:gd name="connsiteX2" fmla="*/ 217566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6"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564" name="Freeform: Shape 563">
              <a:extLst>
                <a:ext uri="{FF2B5EF4-FFF2-40B4-BE49-F238E27FC236}">
                  <a16:creationId xmlns:a16="http://schemas.microsoft.com/office/drawing/2014/main" id="{BA97D7B3-467E-CC85-975C-53880808BC50}"/>
                </a:ext>
              </a:extLst>
            </p:cNvPr>
            <p:cNvSpPr/>
            <p:nvPr/>
          </p:nvSpPr>
          <p:spPr>
            <a:xfrm>
              <a:off x="5186597" y="6319683"/>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39 w 435077"/>
                <a:gd name="connsiteY3" fmla="*/ 27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39" y="27"/>
                  </a:lnTo>
                  <a:lnTo>
                    <a:pt x="435077" y="217539"/>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565" name="Freeform: Shape 564">
              <a:extLst>
                <a:ext uri="{FF2B5EF4-FFF2-40B4-BE49-F238E27FC236}">
                  <a16:creationId xmlns:a16="http://schemas.microsoft.com/office/drawing/2014/main" id="{BA64E9A5-A689-84FE-9248-93868904829D}"/>
                </a:ext>
              </a:extLst>
            </p:cNvPr>
            <p:cNvSpPr/>
            <p:nvPr/>
          </p:nvSpPr>
          <p:spPr>
            <a:xfrm>
              <a:off x="6056752" y="6319683"/>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566" name="Freeform: Shape 565">
              <a:extLst>
                <a:ext uri="{FF2B5EF4-FFF2-40B4-BE49-F238E27FC236}">
                  <a16:creationId xmlns:a16="http://schemas.microsoft.com/office/drawing/2014/main" id="{8C3EA9C0-B172-59C9-C93B-56B25FF2B7C7}"/>
                </a:ext>
              </a:extLst>
            </p:cNvPr>
            <p:cNvSpPr/>
            <p:nvPr/>
          </p:nvSpPr>
          <p:spPr>
            <a:xfrm>
              <a:off x="7797062" y="6319683"/>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39 w 435077"/>
                <a:gd name="connsiteY6" fmla="*/ 153827 h 435077"/>
                <a:gd name="connsiteX7" fmla="*/ 63739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39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4" y="113038"/>
                    <a:pt x="0" y="57702"/>
                    <a:pt x="0" y="0"/>
                  </a:cubicBezTo>
                  <a:lnTo>
                    <a:pt x="217539" y="0"/>
                  </a:lnTo>
                  <a:lnTo>
                    <a:pt x="435077" y="0"/>
                  </a:lnTo>
                  <a:cubicBezTo>
                    <a:pt x="435077" y="57702"/>
                    <a:pt x="412182" y="113038"/>
                    <a:pt x="371366" y="153827"/>
                  </a:cubicBezTo>
                  <a:cubicBezTo>
                    <a:pt x="330578" y="194616"/>
                    <a:pt x="275241" y="217539"/>
                    <a:pt x="217539" y="217539"/>
                  </a:cubicBezTo>
                  <a:cubicBezTo>
                    <a:pt x="159864" y="217539"/>
                    <a:pt x="104527" y="194616"/>
                    <a:pt x="63739" y="153827"/>
                  </a:cubicBezTo>
                  <a:close/>
                  <a:moveTo>
                    <a:pt x="63739" y="281250"/>
                  </a:moveTo>
                  <a:cubicBezTo>
                    <a:pt x="22924" y="322066"/>
                    <a:pt x="0" y="377375"/>
                    <a:pt x="0" y="435077"/>
                  </a:cubicBezTo>
                  <a:lnTo>
                    <a:pt x="217539" y="435077"/>
                  </a:lnTo>
                  <a:lnTo>
                    <a:pt x="435077" y="435077"/>
                  </a:lnTo>
                  <a:cubicBezTo>
                    <a:pt x="435077" y="377375"/>
                    <a:pt x="412182" y="322066"/>
                    <a:pt x="371366" y="281250"/>
                  </a:cubicBezTo>
                  <a:cubicBezTo>
                    <a:pt x="330578" y="240462"/>
                    <a:pt x="275241" y="217539"/>
                    <a:pt x="217539" y="217539"/>
                  </a:cubicBezTo>
                  <a:cubicBezTo>
                    <a:pt x="159864" y="217539"/>
                    <a:pt x="104527" y="240462"/>
                    <a:pt x="63739" y="281250"/>
                  </a:cubicBezTo>
                  <a:close/>
                </a:path>
              </a:pathLst>
            </a:custGeom>
            <a:grpFill/>
            <a:ln w="27192" cap="flat">
              <a:noFill/>
              <a:prstDash val="solid"/>
              <a:miter/>
            </a:ln>
          </p:spPr>
          <p:txBody>
            <a:bodyPr rtlCol="0" anchor="ctr"/>
            <a:lstStyle/>
            <a:p>
              <a:endParaRPr lang="uk-UA" sz="900"/>
            </a:p>
          </p:txBody>
        </p:sp>
        <p:sp>
          <p:nvSpPr>
            <p:cNvPr id="567" name="Freeform: Shape 566">
              <a:extLst>
                <a:ext uri="{FF2B5EF4-FFF2-40B4-BE49-F238E27FC236}">
                  <a16:creationId xmlns:a16="http://schemas.microsoft.com/office/drawing/2014/main" id="{CE098EE0-02C9-B443-3761-DFAEC72DEAA5}"/>
                </a:ext>
              </a:extLst>
            </p:cNvPr>
            <p:cNvSpPr/>
            <p:nvPr/>
          </p:nvSpPr>
          <p:spPr>
            <a:xfrm>
              <a:off x="6926907" y="6319683"/>
              <a:ext cx="435077" cy="435077"/>
            </a:xfrm>
            <a:custGeom>
              <a:avLst/>
              <a:gdLst>
                <a:gd name="connsiteX0" fmla="*/ 435077 w 435077"/>
                <a:gd name="connsiteY0" fmla="*/ 435077 h 435077"/>
                <a:gd name="connsiteX1" fmla="*/ 435077 w 435077"/>
                <a:gd name="connsiteY1" fmla="*/ 0 h 435077"/>
                <a:gd name="connsiteX2" fmla="*/ 217566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6"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568" name="Freeform: Shape 567">
              <a:extLst>
                <a:ext uri="{FF2B5EF4-FFF2-40B4-BE49-F238E27FC236}">
                  <a16:creationId xmlns:a16="http://schemas.microsoft.com/office/drawing/2014/main" id="{66D2C5F9-4EB4-1C51-B64D-0C613728C0D7}"/>
                </a:ext>
              </a:extLst>
            </p:cNvPr>
            <p:cNvSpPr/>
            <p:nvPr/>
          </p:nvSpPr>
          <p:spPr>
            <a:xfrm>
              <a:off x="8667217" y="6319683"/>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6 w 435077"/>
                <a:gd name="connsiteY3" fmla="*/ 27 h 435077"/>
                <a:gd name="connsiteX4" fmla="*/ 435077 w 435077"/>
                <a:gd name="connsiteY4" fmla="*/ 217539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6" y="27"/>
                  </a:lnTo>
                  <a:lnTo>
                    <a:pt x="435077" y="217539"/>
                  </a:lnTo>
                  <a:lnTo>
                    <a:pt x="217566"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569" name="Freeform: Shape 568">
              <a:extLst>
                <a:ext uri="{FF2B5EF4-FFF2-40B4-BE49-F238E27FC236}">
                  <a16:creationId xmlns:a16="http://schemas.microsoft.com/office/drawing/2014/main" id="{224B0A5F-BBA7-E9DD-5539-870A48558E98}"/>
                </a:ext>
              </a:extLst>
            </p:cNvPr>
            <p:cNvSpPr/>
            <p:nvPr/>
          </p:nvSpPr>
          <p:spPr>
            <a:xfrm>
              <a:off x="9537399" y="6319683"/>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570" name="Freeform: Shape 569">
              <a:extLst>
                <a:ext uri="{FF2B5EF4-FFF2-40B4-BE49-F238E27FC236}">
                  <a16:creationId xmlns:a16="http://schemas.microsoft.com/office/drawing/2014/main" id="{DA5B768F-795C-BB69-C2DD-014CFA0DAB3E}"/>
                </a:ext>
              </a:extLst>
            </p:cNvPr>
            <p:cNvSpPr/>
            <p:nvPr/>
          </p:nvSpPr>
          <p:spPr>
            <a:xfrm>
              <a:off x="11277709" y="6319683"/>
              <a:ext cx="435077" cy="435077"/>
            </a:xfrm>
            <a:custGeom>
              <a:avLst/>
              <a:gdLst>
                <a:gd name="connsiteX0" fmla="*/ 63710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0 w 435077"/>
                <a:gd name="connsiteY6" fmla="*/ 153827 h 435077"/>
                <a:gd name="connsiteX7" fmla="*/ 63710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0 h 435077"/>
                <a:gd name="connsiteX12" fmla="*/ 217539 w 435077"/>
                <a:gd name="connsiteY12" fmla="*/ 217539 h 435077"/>
                <a:gd name="connsiteX13" fmla="*/ 63710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7"/>
                  </a:moveTo>
                  <a:cubicBezTo>
                    <a:pt x="22922" y="113038"/>
                    <a:pt x="0" y="57702"/>
                    <a:pt x="0" y="0"/>
                  </a:cubicBezTo>
                  <a:lnTo>
                    <a:pt x="217539" y="0"/>
                  </a:lnTo>
                  <a:lnTo>
                    <a:pt x="435077" y="0"/>
                  </a:lnTo>
                  <a:cubicBezTo>
                    <a:pt x="435077" y="57702"/>
                    <a:pt x="412154" y="113038"/>
                    <a:pt x="371365" y="153827"/>
                  </a:cubicBezTo>
                  <a:cubicBezTo>
                    <a:pt x="330549" y="194616"/>
                    <a:pt x="275239" y="217539"/>
                    <a:pt x="217539" y="217539"/>
                  </a:cubicBezTo>
                  <a:cubicBezTo>
                    <a:pt x="159836" y="217539"/>
                    <a:pt x="104499" y="194616"/>
                    <a:pt x="63710" y="153827"/>
                  </a:cubicBezTo>
                  <a:close/>
                  <a:moveTo>
                    <a:pt x="63710" y="281250"/>
                  </a:moveTo>
                  <a:cubicBezTo>
                    <a:pt x="22922" y="322066"/>
                    <a:pt x="0" y="377375"/>
                    <a:pt x="0" y="435077"/>
                  </a:cubicBezTo>
                  <a:lnTo>
                    <a:pt x="217539" y="435077"/>
                  </a:lnTo>
                  <a:lnTo>
                    <a:pt x="435077" y="435077"/>
                  </a:lnTo>
                  <a:cubicBezTo>
                    <a:pt x="435077" y="377375"/>
                    <a:pt x="412154" y="322066"/>
                    <a:pt x="371365" y="281250"/>
                  </a:cubicBezTo>
                  <a:cubicBezTo>
                    <a:pt x="330549" y="240462"/>
                    <a:pt x="275239" y="217539"/>
                    <a:pt x="217539" y="217539"/>
                  </a:cubicBezTo>
                  <a:cubicBezTo>
                    <a:pt x="159836" y="217539"/>
                    <a:pt x="104499" y="240462"/>
                    <a:pt x="63710" y="281250"/>
                  </a:cubicBezTo>
                  <a:close/>
                </a:path>
              </a:pathLst>
            </a:custGeom>
            <a:grpFill/>
            <a:ln w="27192" cap="flat">
              <a:noFill/>
              <a:prstDash val="solid"/>
              <a:miter/>
            </a:ln>
          </p:spPr>
          <p:txBody>
            <a:bodyPr rtlCol="0" anchor="ctr"/>
            <a:lstStyle/>
            <a:p>
              <a:endParaRPr lang="uk-UA" sz="900"/>
            </a:p>
          </p:txBody>
        </p:sp>
        <p:sp>
          <p:nvSpPr>
            <p:cNvPr id="571" name="Freeform: Shape 570">
              <a:extLst>
                <a:ext uri="{FF2B5EF4-FFF2-40B4-BE49-F238E27FC236}">
                  <a16:creationId xmlns:a16="http://schemas.microsoft.com/office/drawing/2014/main" id="{DE13E892-8D6E-936F-6370-85ED71FB0A66}"/>
                </a:ext>
              </a:extLst>
            </p:cNvPr>
            <p:cNvSpPr/>
            <p:nvPr/>
          </p:nvSpPr>
          <p:spPr>
            <a:xfrm>
              <a:off x="10407554" y="631968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1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1" y="217539"/>
                  </a:lnTo>
                  <a:lnTo>
                    <a:pt x="0" y="435077"/>
                  </a:lnTo>
                  <a:close/>
                </a:path>
              </a:pathLst>
            </a:custGeom>
            <a:grpFill/>
            <a:ln w="27192" cap="flat">
              <a:noFill/>
              <a:prstDash val="solid"/>
              <a:miter/>
            </a:ln>
          </p:spPr>
          <p:txBody>
            <a:bodyPr rtlCol="0" anchor="ctr"/>
            <a:lstStyle/>
            <a:p>
              <a:endParaRPr lang="uk-UA" sz="900"/>
            </a:p>
          </p:txBody>
        </p:sp>
        <p:sp>
          <p:nvSpPr>
            <p:cNvPr id="572" name="Freeform: Shape 571">
              <a:extLst>
                <a:ext uri="{FF2B5EF4-FFF2-40B4-BE49-F238E27FC236}">
                  <a16:creationId xmlns:a16="http://schemas.microsoft.com/office/drawing/2014/main" id="{A9337616-36F8-37D7-AB71-8C8A72A8B83A}"/>
                </a:ext>
              </a:extLst>
            </p:cNvPr>
            <p:cNvSpPr/>
            <p:nvPr/>
          </p:nvSpPr>
          <p:spPr>
            <a:xfrm>
              <a:off x="12147864" y="6319683"/>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5 w 435077"/>
                <a:gd name="connsiteY3" fmla="*/ 27 h 435077"/>
                <a:gd name="connsiteX4" fmla="*/ 435077 w 435077"/>
                <a:gd name="connsiteY4" fmla="*/ 217539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5" y="27"/>
                  </a:lnTo>
                  <a:lnTo>
                    <a:pt x="435077" y="217539"/>
                  </a:lnTo>
                  <a:lnTo>
                    <a:pt x="217565"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573" name="Freeform: Shape 572">
              <a:extLst>
                <a:ext uri="{FF2B5EF4-FFF2-40B4-BE49-F238E27FC236}">
                  <a16:creationId xmlns:a16="http://schemas.microsoft.com/office/drawing/2014/main" id="{DC3BB092-BAC0-3346-22C0-8A8719C961AE}"/>
                </a:ext>
              </a:extLst>
            </p:cNvPr>
            <p:cNvSpPr/>
            <p:nvPr/>
          </p:nvSpPr>
          <p:spPr>
            <a:xfrm>
              <a:off x="13018045" y="6319683"/>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574" name="Freeform: Shape 573">
              <a:extLst>
                <a:ext uri="{FF2B5EF4-FFF2-40B4-BE49-F238E27FC236}">
                  <a16:creationId xmlns:a16="http://schemas.microsoft.com/office/drawing/2014/main" id="{F5A2398A-F772-000F-8CA2-5780578E24B9}"/>
                </a:ext>
              </a:extLst>
            </p:cNvPr>
            <p:cNvSpPr/>
            <p:nvPr/>
          </p:nvSpPr>
          <p:spPr>
            <a:xfrm>
              <a:off x="14758382" y="631968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8"/>
                    <a:pt x="0" y="57702"/>
                    <a:pt x="0" y="0"/>
                  </a:cubicBezTo>
                  <a:lnTo>
                    <a:pt x="217539" y="0"/>
                  </a:lnTo>
                  <a:lnTo>
                    <a:pt x="435077" y="0"/>
                  </a:lnTo>
                  <a:cubicBezTo>
                    <a:pt x="435077" y="57702"/>
                    <a:pt x="412155" y="113038"/>
                    <a:pt x="371367" y="153827"/>
                  </a:cubicBezTo>
                  <a:cubicBezTo>
                    <a:pt x="330550" y="194616"/>
                    <a:pt x="275241" y="217539"/>
                    <a:pt x="217539" y="217539"/>
                  </a:cubicBezTo>
                  <a:cubicBezTo>
                    <a:pt x="159836" y="217539"/>
                    <a:pt x="104501" y="194616"/>
                    <a:pt x="63712" y="153827"/>
                  </a:cubicBezTo>
                  <a:close/>
                  <a:moveTo>
                    <a:pt x="63712" y="281250"/>
                  </a:moveTo>
                  <a:cubicBezTo>
                    <a:pt x="22924" y="322066"/>
                    <a:pt x="0" y="377375"/>
                    <a:pt x="0" y="435077"/>
                  </a:cubicBezTo>
                  <a:lnTo>
                    <a:pt x="217539" y="435077"/>
                  </a:lnTo>
                  <a:lnTo>
                    <a:pt x="435077" y="435077"/>
                  </a:lnTo>
                  <a:cubicBezTo>
                    <a:pt x="435077" y="377375"/>
                    <a:pt x="412155" y="322066"/>
                    <a:pt x="371367" y="281250"/>
                  </a:cubicBezTo>
                  <a:cubicBezTo>
                    <a:pt x="330550" y="240462"/>
                    <a:pt x="275241" y="217539"/>
                    <a:pt x="217539" y="217539"/>
                  </a:cubicBezTo>
                  <a:cubicBezTo>
                    <a:pt x="159836" y="217539"/>
                    <a:pt x="104501" y="240462"/>
                    <a:pt x="63712" y="281250"/>
                  </a:cubicBezTo>
                  <a:close/>
                </a:path>
              </a:pathLst>
            </a:custGeom>
            <a:grpFill/>
            <a:ln w="27192" cap="flat">
              <a:noFill/>
              <a:prstDash val="solid"/>
              <a:miter/>
            </a:ln>
          </p:spPr>
          <p:txBody>
            <a:bodyPr rtlCol="0" anchor="ctr"/>
            <a:lstStyle/>
            <a:p>
              <a:endParaRPr lang="uk-UA" sz="900"/>
            </a:p>
          </p:txBody>
        </p:sp>
        <p:sp>
          <p:nvSpPr>
            <p:cNvPr id="575" name="Freeform: Shape 574">
              <a:extLst>
                <a:ext uri="{FF2B5EF4-FFF2-40B4-BE49-F238E27FC236}">
                  <a16:creationId xmlns:a16="http://schemas.microsoft.com/office/drawing/2014/main" id="{0AFFE39F-0F28-31FE-61A8-61EAB9731CC8}"/>
                </a:ext>
              </a:extLst>
            </p:cNvPr>
            <p:cNvSpPr/>
            <p:nvPr/>
          </p:nvSpPr>
          <p:spPr>
            <a:xfrm>
              <a:off x="13888227" y="631968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576" name="Freeform: Shape 575">
              <a:extLst>
                <a:ext uri="{FF2B5EF4-FFF2-40B4-BE49-F238E27FC236}">
                  <a16:creationId xmlns:a16="http://schemas.microsoft.com/office/drawing/2014/main" id="{EA1A7DE6-41B0-7027-E9EE-1E2F5E2F8F9A}"/>
                </a:ext>
              </a:extLst>
            </p:cNvPr>
            <p:cNvSpPr/>
            <p:nvPr/>
          </p:nvSpPr>
          <p:spPr>
            <a:xfrm>
              <a:off x="15628536" y="6319683"/>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7 w 435077"/>
                <a:gd name="connsiteY3" fmla="*/ 27 h 435077"/>
                <a:gd name="connsiteX4" fmla="*/ 435077 w 435077"/>
                <a:gd name="connsiteY4" fmla="*/ 217539 h 435077"/>
                <a:gd name="connsiteX5" fmla="*/ 217567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7" y="27"/>
                  </a:lnTo>
                  <a:lnTo>
                    <a:pt x="435077" y="217539"/>
                  </a:lnTo>
                  <a:lnTo>
                    <a:pt x="217567"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577" name="Freeform: Shape 576">
              <a:extLst>
                <a:ext uri="{FF2B5EF4-FFF2-40B4-BE49-F238E27FC236}">
                  <a16:creationId xmlns:a16="http://schemas.microsoft.com/office/drawing/2014/main" id="{B37BCFE3-B095-5573-C481-2580E4B5B124}"/>
                </a:ext>
              </a:extLst>
            </p:cNvPr>
            <p:cNvSpPr/>
            <p:nvPr/>
          </p:nvSpPr>
          <p:spPr>
            <a:xfrm>
              <a:off x="16498719" y="6319683"/>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578" name="Freeform: Shape 577">
              <a:extLst>
                <a:ext uri="{FF2B5EF4-FFF2-40B4-BE49-F238E27FC236}">
                  <a16:creationId xmlns:a16="http://schemas.microsoft.com/office/drawing/2014/main" id="{84B4ABEE-4B22-CA90-10D0-99708CD681AA}"/>
                </a:ext>
              </a:extLst>
            </p:cNvPr>
            <p:cNvSpPr/>
            <p:nvPr/>
          </p:nvSpPr>
          <p:spPr>
            <a:xfrm>
              <a:off x="18239029" y="6319683"/>
              <a:ext cx="435077" cy="435077"/>
            </a:xfrm>
            <a:custGeom>
              <a:avLst/>
              <a:gdLst>
                <a:gd name="connsiteX0" fmla="*/ 63710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0 w 435077"/>
                <a:gd name="connsiteY6" fmla="*/ 153827 h 435077"/>
                <a:gd name="connsiteX7" fmla="*/ 63710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0 h 435077"/>
                <a:gd name="connsiteX12" fmla="*/ 217539 w 435077"/>
                <a:gd name="connsiteY12" fmla="*/ 217539 h 435077"/>
                <a:gd name="connsiteX13" fmla="*/ 63710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7"/>
                  </a:moveTo>
                  <a:cubicBezTo>
                    <a:pt x="22922" y="113038"/>
                    <a:pt x="0" y="57702"/>
                    <a:pt x="0" y="0"/>
                  </a:cubicBezTo>
                  <a:lnTo>
                    <a:pt x="217539" y="0"/>
                  </a:lnTo>
                  <a:lnTo>
                    <a:pt x="435077" y="0"/>
                  </a:lnTo>
                  <a:cubicBezTo>
                    <a:pt x="435077" y="57702"/>
                    <a:pt x="412154" y="113038"/>
                    <a:pt x="371365" y="153827"/>
                  </a:cubicBezTo>
                  <a:cubicBezTo>
                    <a:pt x="330577" y="194616"/>
                    <a:pt x="275241" y="217539"/>
                    <a:pt x="217539" y="217539"/>
                  </a:cubicBezTo>
                  <a:cubicBezTo>
                    <a:pt x="159836" y="217539"/>
                    <a:pt x="104527" y="194616"/>
                    <a:pt x="63710" y="153827"/>
                  </a:cubicBezTo>
                  <a:close/>
                  <a:moveTo>
                    <a:pt x="63710" y="281250"/>
                  </a:moveTo>
                  <a:cubicBezTo>
                    <a:pt x="22922" y="322066"/>
                    <a:pt x="0" y="377375"/>
                    <a:pt x="0" y="435077"/>
                  </a:cubicBezTo>
                  <a:lnTo>
                    <a:pt x="217539" y="435077"/>
                  </a:lnTo>
                  <a:lnTo>
                    <a:pt x="435077" y="435077"/>
                  </a:lnTo>
                  <a:cubicBezTo>
                    <a:pt x="435077" y="377375"/>
                    <a:pt x="412154" y="322066"/>
                    <a:pt x="371365" y="281250"/>
                  </a:cubicBezTo>
                  <a:cubicBezTo>
                    <a:pt x="330577" y="240462"/>
                    <a:pt x="275241" y="217539"/>
                    <a:pt x="217539" y="217539"/>
                  </a:cubicBezTo>
                  <a:cubicBezTo>
                    <a:pt x="159836" y="217539"/>
                    <a:pt x="104527" y="240462"/>
                    <a:pt x="63710" y="281250"/>
                  </a:cubicBezTo>
                  <a:close/>
                </a:path>
              </a:pathLst>
            </a:custGeom>
            <a:grpFill/>
            <a:ln w="27192" cap="flat">
              <a:noFill/>
              <a:prstDash val="solid"/>
              <a:miter/>
            </a:ln>
          </p:spPr>
          <p:txBody>
            <a:bodyPr rtlCol="0" anchor="ctr"/>
            <a:lstStyle/>
            <a:p>
              <a:endParaRPr lang="uk-UA" sz="900"/>
            </a:p>
          </p:txBody>
        </p:sp>
        <p:sp>
          <p:nvSpPr>
            <p:cNvPr id="579" name="Freeform: Shape 578">
              <a:extLst>
                <a:ext uri="{FF2B5EF4-FFF2-40B4-BE49-F238E27FC236}">
                  <a16:creationId xmlns:a16="http://schemas.microsoft.com/office/drawing/2014/main" id="{3B05F35B-5359-0A39-24D9-47CAE1950704}"/>
                </a:ext>
              </a:extLst>
            </p:cNvPr>
            <p:cNvSpPr/>
            <p:nvPr/>
          </p:nvSpPr>
          <p:spPr>
            <a:xfrm>
              <a:off x="17368874" y="631968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0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0" y="217539"/>
                  </a:lnTo>
                  <a:lnTo>
                    <a:pt x="0" y="435077"/>
                  </a:lnTo>
                  <a:close/>
                </a:path>
              </a:pathLst>
            </a:custGeom>
            <a:grpFill/>
            <a:ln w="27192" cap="flat">
              <a:noFill/>
              <a:prstDash val="solid"/>
              <a:miter/>
            </a:ln>
          </p:spPr>
          <p:txBody>
            <a:bodyPr rtlCol="0" anchor="ctr"/>
            <a:lstStyle/>
            <a:p>
              <a:endParaRPr lang="uk-UA" sz="900"/>
            </a:p>
          </p:txBody>
        </p:sp>
        <p:sp>
          <p:nvSpPr>
            <p:cNvPr id="580" name="Freeform: Shape 579">
              <a:extLst>
                <a:ext uri="{FF2B5EF4-FFF2-40B4-BE49-F238E27FC236}">
                  <a16:creationId xmlns:a16="http://schemas.microsoft.com/office/drawing/2014/main" id="{62469147-94C7-1DB8-302E-C5717ABF9947}"/>
                </a:ext>
              </a:extLst>
            </p:cNvPr>
            <p:cNvSpPr/>
            <p:nvPr/>
          </p:nvSpPr>
          <p:spPr>
            <a:xfrm>
              <a:off x="19109210" y="6319683"/>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39 w 435077"/>
                <a:gd name="connsiteY3" fmla="*/ 27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39" y="27"/>
                  </a:lnTo>
                  <a:lnTo>
                    <a:pt x="435077" y="217539"/>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581" name="Freeform: Shape 580">
              <a:extLst>
                <a:ext uri="{FF2B5EF4-FFF2-40B4-BE49-F238E27FC236}">
                  <a16:creationId xmlns:a16="http://schemas.microsoft.com/office/drawing/2014/main" id="{747C1BF2-24AB-D88D-1A26-B9BAB517F2FD}"/>
                </a:ext>
              </a:extLst>
            </p:cNvPr>
            <p:cNvSpPr/>
            <p:nvPr/>
          </p:nvSpPr>
          <p:spPr>
            <a:xfrm>
              <a:off x="19979365" y="6319683"/>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582" name="Freeform: Shape 581">
              <a:extLst>
                <a:ext uri="{FF2B5EF4-FFF2-40B4-BE49-F238E27FC236}">
                  <a16:creationId xmlns:a16="http://schemas.microsoft.com/office/drawing/2014/main" id="{EC23B9DF-3FE4-94A3-81E9-B574516FA62D}"/>
                </a:ext>
              </a:extLst>
            </p:cNvPr>
            <p:cNvSpPr/>
            <p:nvPr/>
          </p:nvSpPr>
          <p:spPr>
            <a:xfrm>
              <a:off x="21719702" y="631968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897" y="113038"/>
                    <a:pt x="0" y="57702"/>
                    <a:pt x="0" y="0"/>
                  </a:cubicBezTo>
                  <a:lnTo>
                    <a:pt x="217539" y="0"/>
                  </a:lnTo>
                  <a:lnTo>
                    <a:pt x="435077" y="0"/>
                  </a:lnTo>
                  <a:cubicBezTo>
                    <a:pt x="435077" y="57702"/>
                    <a:pt x="412155" y="113038"/>
                    <a:pt x="371339" y="153827"/>
                  </a:cubicBezTo>
                  <a:cubicBezTo>
                    <a:pt x="330550" y="194616"/>
                    <a:pt x="275215" y="217539"/>
                    <a:pt x="217539" y="217539"/>
                  </a:cubicBezTo>
                  <a:cubicBezTo>
                    <a:pt x="159838" y="217539"/>
                    <a:pt x="104501" y="194616"/>
                    <a:pt x="63712" y="153827"/>
                  </a:cubicBezTo>
                  <a:close/>
                  <a:moveTo>
                    <a:pt x="63712" y="281250"/>
                  </a:moveTo>
                  <a:cubicBezTo>
                    <a:pt x="22897" y="322066"/>
                    <a:pt x="0" y="377375"/>
                    <a:pt x="0" y="435077"/>
                  </a:cubicBezTo>
                  <a:lnTo>
                    <a:pt x="217539" y="435077"/>
                  </a:lnTo>
                  <a:lnTo>
                    <a:pt x="435077" y="435077"/>
                  </a:lnTo>
                  <a:cubicBezTo>
                    <a:pt x="435077" y="377375"/>
                    <a:pt x="412155" y="322066"/>
                    <a:pt x="371339" y="281250"/>
                  </a:cubicBezTo>
                  <a:cubicBezTo>
                    <a:pt x="330550" y="240462"/>
                    <a:pt x="275215" y="217539"/>
                    <a:pt x="217539" y="217539"/>
                  </a:cubicBezTo>
                  <a:cubicBezTo>
                    <a:pt x="159838" y="217539"/>
                    <a:pt x="104501" y="240462"/>
                    <a:pt x="63712" y="281250"/>
                  </a:cubicBezTo>
                  <a:close/>
                </a:path>
              </a:pathLst>
            </a:custGeom>
            <a:grpFill/>
            <a:ln w="27192" cap="flat">
              <a:noFill/>
              <a:prstDash val="solid"/>
              <a:miter/>
            </a:ln>
          </p:spPr>
          <p:txBody>
            <a:bodyPr rtlCol="0" anchor="ctr"/>
            <a:lstStyle/>
            <a:p>
              <a:endParaRPr lang="uk-UA" sz="900"/>
            </a:p>
          </p:txBody>
        </p:sp>
        <p:sp>
          <p:nvSpPr>
            <p:cNvPr id="583" name="Freeform: Shape 582">
              <a:extLst>
                <a:ext uri="{FF2B5EF4-FFF2-40B4-BE49-F238E27FC236}">
                  <a16:creationId xmlns:a16="http://schemas.microsoft.com/office/drawing/2014/main" id="{EF5C5589-EBE1-4D83-3F73-A08A9076BFEC}"/>
                </a:ext>
              </a:extLst>
            </p:cNvPr>
            <p:cNvSpPr/>
            <p:nvPr/>
          </p:nvSpPr>
          <p:spPr>
            <a:xfrm>
              <a:off x="20849520" y="6319683"/>
              <a:ext cx="435077" cy="435077"/>
            </a:xfrm>
            <a:custGeom>
              <a:avLst/>
              <a:gdLst>
                <a:gd name="connsiteX0" fmla="*/ 435077 w 435077"/>
                <a:gd name="connsiteY0" fmla="*/ 435077 h 435077"/>
                <a:gd name="connsiteX1" fmla="*/ 435077 w 435077"/>
                <a:gd name="connsiteY1" fmla="*/ 0 h 435077"/>
                <a:gd name="connsiteX2" fmla="*/ 217565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584" name="Freeform: Shape 583">
              <a:extLst>
                <a:ext uri="{FF2B5EF4-FFF2-40B4-BE49-F238E27FC236}">
                  <a16:creationId xmlns:a16="http://schemas.microsoft.com/office/drawing/2014/main" id="{4049B1FD-7041-88F7-793F-A49892D64A67}"/>
                </a:ext>
              </a:extLst>
            </p:cNvPr>
            <p:cNvSpPr/>
            <p:nvPr/>
          </p:nvSpPr>
          <p:spPr>
            <a:xfrm>
              <a:off x="22589856" y="6319683"/>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7 w 435077"/>
                <a:gd name="connsiteY3" fmla="*/ 27 h 435077"/>
                <a:gd name="connsiteX4" fmla="*/ 435077 w 435077"/>
                <a:gd name="connsiteY4" fmla="*/ 217539 h 435077"/>
                <a:gd name="connsiteX5" fmla="*/ 217567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7" y="27"/>
                  </a:lnTo>
                  <a:lnTo>
                    <a:pt x="435077" y="217539"/>
                  </a:lnTo>
                  <a:lnTo>
                    <a:pt x="217567"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585" name="Freeform: Shape 584">
              <a:extLst>
                <a:ext uri="{FF2B5EF4-FFF2-40B4-BE49-F238E27FC236}">
                  <a16:creationId xmlns:a16="http://schemas.microsoft.com/office/drawing/2014/main" id="{89083359-B57B-CF9C-ED05-1EBD475F725E}"/>
                </a:ext>
              </a:extLst>
            </p:cNvPr>
            <p:cNvSpPr/>
            <p:nvPr/>
          </p:nvSpPr>
          <p:spPr>
            <a:xfrm>
              <a:off x="23460039" y="6319683"/>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586" name="Freeform: Shape 585">
              <a:extLst>
                <a:ext uri="{FF2B5EF4-FFF2-40B4-BE49-F238E27FC236}">
                  <a16:creationId xmlns:a16="http://schemas.microsoft.com/office/drawing/2014/main" id="{26AEA455-288C-E855-5B11-62CEA30F5977}"/>
                </a:ext>
              </a:extLst>
            </p:cNvPr>
            <p:cNvSpPr/>
            <p:nvPr/>
          </p:nvSpPr>
          <p:spPr>
            <a:xfrm>
              <a:off x="24330194" y="631968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587" name="Freeform: Shape 586">
              <a:extLst>
                <a:ext uri="{FF2B5EF4-FFF2-40B4-BE49-F238E27FC236}">
                  <a16:creationId xmlns:a16="http://schemas.microsoft.com/office/drawing/2014/main" id="{2A5C4725-8EAB-2744-3846-3D7EE39DCA00}"/>
                </a:ext>
              </a:extLst>
            </p:cNvPr>
            <p:cNvSpPr/>
            <p:nvPr/>
          </p:nvSpPr>
          <p:spPr>
            <a:xfrm>
              <a:off x="835769" y="196890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588" name="Freeform: Shape 587">
              <a:extLst>
                <a:ext uri="{FF2B5EF4-FFF2-40B4-BE49-F238E27FC236}">
                  <a16:creationId xmlns:a16="http://schemas.microsoft.com/office/drawing/2014/main" id="{A26F120D-71FA-9F09-574A-0085301AD6BD}"/>
                </a:ext>
              </a:extLst>
            </p:cNvPr>
            <p:cNvSpPr/>
            <p:nvPr/>
          </p:nvSpPr>
          <p:spPr>
            <a:xfrm>
              <a:off x="-34398" y="1968909"/>
              <a:ext cx="435063" cy="435077"/>
            </a:xfrm>
            <a:custGeom>
              <a:avLst/>
              <a:gdLst>
                <a:gd name="connsiteX0" fmla="*/ 0 w 435063"/>
                <a:gd name="connsiteY0" fmla="*/ 435075 h 435077"/>
                <a:gd name="connsiteX1" fmla="*/ 217525 w 435063"/>
                <a:gd name="connsiteY1" fmla="*/ 435075 h 435077"/>
                <a:gd name="connsiteX2" fmla="*/ 217525 w 435063"/>
                <a:gd name="connsiteY2" fmla="*/ 217547 h 435077"/>
                <a:gd name="connsiteX3" fmla="*/ 0 w 435063"/>
                <a:gd name="connsiteY3" fmla="*/ 435075 h 435077"/>
                <a:gd name="connsiteX4" fmla="*/ 217525 w 435063"/>
                <a:gd name="connsiteY4" fmla="*/ 0 h 435077"/>
                <a:gd name="connsiteX5" fmla="*/ 3 w 435063"/>
                <a:gd name="connsiteY5" fmla="*/ 0 h 435077"/>
                <a:gd name="connsiteX6" fmla="*/ 217525 w 435063"/>
                <a:gd name="connsiteY6" fmla="*/ 217528 h 435077"/>
                <a:gd name="connsiteX7" fmla="*/ 217525 w 435063"/>
                <a:gd name="connsiteY7" fmla="*/ 0 h 435077"/>
                <a:gd name="connsiteX8" fmla="*/ 435064 w 435063"/>
                <a:gd name="connsiteY8" fmla="*/ 435077 h 435077"/>
                <a:gd name="connsiteX9" fmla="*/ 217552 w 435063"/>
                <a:gd name="connsiteY9" fmla="*/ 435077 h 435077"/>
                <a:gd name="connsiteX10" fmla="*/ 435064 w 435063"/>
                <a:gd name="connsiteY10" fmla="*/ 217547 h 435077"/>
                <a:gd name="connsiteX11" fmla="*/ 435064 w 435063"/>
                <a:gd name="connsiteY11" fmla="*/ 435077 h 435077"/>
                <a:gd name="connsiteX12" fmla="*/ 435064 w 435063"/>
                <a:gd name="connsiteY12" fmla="*/ 3 h 435077"/>
                <a:gd name="connsiteX13" fmla="*/ 217552 w 435063"/>
                <a:gd name="connsiteY13" fmla="*/ 3 h 435077"/>
                <a:gd name="connsiteX14" fmla="*/ 435064 w 435063"/>
                <a:gd name="connsiteY14" fmla="*/ 217531 h 435077"/>
                <a:gd name="connsiteX15" fmla="*/ 435064 w 435063"/>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63" h="435077">
                  <a:moveTo>
                    <a:pt x="0" y="435075"/>
                  </a:moveTo>
                  <a:lnTo>
                    <a:pt x="217525" y="435075"/>
                  </a:lnTo>
                  <a:lnTo>
                    <a:pt x="217525" y="217547"/>
                  </a:lnTo>
                  <a:lnTo>
                    <a:pt x="0" y="435075"/>
                  </a:lnTo>
                  <a:close/>
                  <a:moveTo>
                    <a:pt x="217525" y="0"/>
                  </a:moveTo>
                  <a:lnTo>
                    <a:pt x="3" y="0"/>
                  </a:lnTo>
                  <a:lnTo>
                    <a:pt x="217525" y="217528"/>
                  </a:lnTo>
                  <a:lnTo>
                    <a:pt x="217525" y="0"/>
                  </a:lnTo>
                  <a:close/>
                  <a:moveTo>
                    <a:pt x="435064" y="435077"/>
                  </a:moveTo>
                  <a:lnTo>
                    <a:pt x="217552" y="435077"/>
                  </a:lnTo>
                  <a:lnTo>
                    <a:pt x="435064" y="217547"/>
                  </a:lnTo>
                  <a:lnTo>
                    <a:pt x="435064" y="435077"/>
                  </a:lnTo>
                  <a:close/>
                  <a:moveTo>
                    <a:pt x="435064" y="3"/>
                  </a:moveTo>
                  <a:lnTo>
                    <a:pt x="217552" y="3"/>
                  </a:lnTo>
                  <a:lnTo>
                    <a:pt x="435064" y="217531"/>
                  </a:lnTo>
                  <a:lnTo>
                    <a:pt x="435064" y="3"/>
                  </a:lnTo>
                  <a:close/>
                </a:path>
              </a:pathLst>
            </a:custGeom>
            <a:grpFill/>
            <a:ln w="27192" cap="flat">
              <a:noFill/>
              <a:prstDash val="solid"/>
              <a:miter/>
            </a:ln>
          </p:spPr>
          <p:txBody>
            <a:bodyPr rtlCol="0" anchor="ctr"/>
            <a:lstStyle/>
            <a:p>
              <a:endParaRPr lang="uk-UA" sz="900"/>
            </a:p>
          </p:txBody>
        </p:sp>
        <p:sp>
          <p:nvSpPr>
            <p:cNvPr id="589" name="Freeform: Shape 588">
              <a:extLst>
                <a:ext uri="{FF2B5EF4-FFF2-40B4-BE49-F238E27FC236}">
                  <a16:creationId xmlns:a16="http://schemas.microsoft.com/office/drawing/2014/main" id="{BB6279EB-A766-DB42-809C-4EAF13C89394}"/>
                </a:ext>
              </a:extLst>
            </p:cNvPr>
            <p:cNvSpPr/>
            <p:nvPr/>
          </p:nvSpPr>
          <p:spPr>
            <a:xfrm>
              <a:off x="1705924" y="1968909"/>
              <a:ext cx="435077" cy="435077"/>
            </a:xfrm>
            <a:custGeom>
              <a:avLst/>
              <a:gdLst>
                <a:gd name="connsiteX0" fmla="*/ 371366 w 435077"/>
                <a:gd name="connsiteY0" fmla="*/ 63714 h 435077"/>
                <a:gd name="connsiteX1" fmla="*/ 435077 w 435077"/>
                <a:gd name="connsiteY1" fmla="*/ 217539 h 435077"/>
                <a:gd name="connsiteX2" fmla="*/ 217729 w 435077"/>
                <a:gd name="connsiteY2" fmla="*/ 217539 h 435077"/>
                <a:gd name="connsiteX3" fmla="*/ 371366 w 435077"/>
                <a:gd name="connsiteY3" fmla="*/ 281253 h 435077"/>
                <a:gd name="connsiteX4" fmla="*/ 435077 w 435077"/>
                <a:gd name="connsiteY4" fmla="*/ 435077 h 435077"/>
                <a:gd name="connsiteX5" fmla="*/ 217539 w 435077"/>
                <a:gd name="connsiteY5" fmla="*/ 435077 h 435077"/>
                <a:gd name="connsiteX6" fmla="*/ 0 w 435077"/>
                <a:gd name="connsiteY6" fmla="*/ 435077 h 435077"/>
                <a:gd name="connsiteX7" fmla="*/ 63711 w 435077"/>
                <a:gd name="connsiteY7" fmla="*/ 281253 h 435077"/>
                <a:gd name="connsiteX8" fmla="*/ 217375 w 435077"/>
                <a:gd name="connsiteY8" fmla="*/ 217539 h 435077"/>
                <a:gd name="connsiteX9" fmla="*/ 0 w 435077"/>
                <a:gd name="connsiteY9" fmla="*/ 217539 h 435077"/>
                <a:gd name="connsiteX10" fmla="*/ 63711 w 435077"/>
                <a:gd name="connsiteY10" fmla="*/ 63714 h 435077"/>
                <a:gd name="connsiteX11" fmla="*/ 217539 w 435077"/>
                <a:gd name="connsiteY11" fmla="*/ 0 h 435077"/>
                <a:gd name="connsiteX12" fmla="*/ 371366 w 435077"/>
                <a:gd name="connsiteY12" fmla="*/ 63714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4"/>
                  </a:moveTo>
                  <a:cubicBezTo>
                    <a:pt x="412154" y="104511"/>
                    <a:pt x="435077" y="159842"/>
                    <a:pt x="435077" y="217539"/>
                  </a:cubicBezTo>
                  <a:lnTo>
                    <a:pt x="217729" y="217539"/>
                  </a:lnTo>
                  <a:cubicBezTo>
                    <a:pt x="275349" y="217582"/>
                    <a:pt x="330604" y="240497"/>
                    <a:pt x="371366" y="281253"/>
                  </a:cubicBezTo>
                  <a:cubicBezTo>
                    <a:pt x="412154" y="322050"/>
                    <a:pt x="435077" y="377381"/>
                    <a:pt x="435077" y="435077"/>
                  </a:cubicBezTo>
                  <a:lnTo>
                    <a:pt x="217539" y="435077"/>
                  </a:lnTo>
                  <a:lnTo>
                    <a:pt x="0" y="435077"/>
                  </a:lnTo>
                  <a:cubicBezTo>
                    <a:pt x="0" y="377381"/>
                    <a:pt x="22923" y="322050"/>
                    <a:pt x="63711" y="281253"/>
                  </a:cubicBezTo>
                  <a:cubicBezTo>
                    <a:pt x="104473" y="240497"/>
                    <a:pt x="159755" y="217582"/>
                    <a:pt x="217375" y="217539"/>
                  </a:cubicBezTo>
                  <a:lnTo>
                    <a:pt x="0" y="217539"/>
                  </a:lnTo>
                  <a:cubicBezTo>
                    <a:pt x="0" y="159842"/>
                    <a:pt x="22923" y="104511"/>
                    <a:pt x="63711" y="63714"/>
                  </a:cubicBezTo>
                  <a:cubicBezTo>
                    <a:pt x="104527" y="22918"/>
                    <a:pt x="159836" y="0"/>
                    <a:pt x="217539" y="0"/>
                  </a:cubicBezTo>
                  <a:cubicBezTo>
                    <a:pt x="275241" y="0"/>
                    <a:pt x="330577" y="22918"/>
                    <a:pt x="371366" y="63714"/>
                  </a:cubicBezTo>
                  <a:close/>
                </a:path>
              </a:pathLst>
            </a:custGeom>
            <a:grpFill/>
            <a:ln w="27192" cap="flat">
              <a:noFill/>
              <a:prstDash val="solid"/>
              <a:miter/>
            </a:ln>
          </p:spPr>
          <p:txBody>
            <a:bodyPr rtlCol="0" anchor="ctr"/>
            <a:lstStyle/>
            <a:p>
              <a:endParaRPr lang="uk-UA" sz="900"/>
            </a:p>
          </p:txBody>
        </p:sp>
        <p:sp>
          <p:nvSpPr>
            <p:cNvPr id="590" name="Freeform: Shape 589">
              <a:extLst>
                <a:ext uri="{FF2B5EF4-FFF2-40B4-BE49-F238E27FC236}">
                  <a16:creationId xmlns:a16="http://schemas.microsoft.com/office/drawing/2014/main" id="{D9793E90-D2E9-7CC8-D71E-7036FE5AF88B}"/>
                </a:ext>
              </a:extLst>
            </p:cNvPr>
            <p:cNvSpPr/>
            <p:nvPr/>
          </p:nvSpPr>
          <p:spPr>
            <a:xfrm>
              <a:off x="2576106" y="1968909"/>
              <a:ext cx="435077" cy="435074"/>
            </a:xfrm>
            <a:custGeom>
              <a:avLst/>
              <a:gdLst>
                <a:gd name="connsiteX0" fmla="*/ 217539 w 435077"/>
                <a:gd name="connsiteY0" fmla="*/ 217533 h 435074"/>
                <a:gd name="connsiteX1" fmla="*/ 217539 w 435077"/>
                <a:gd name="connsiteY1" fmla="*/ 0 h 435074"/>
                <a:gd name="connsiteX2" fmla="*/ 0 w 435077"/>
                <a:gd name="connsiteY2" fmla="*/ 0 h 435074"/>
                <a:gd name="connsiteX3" fmla="*/ 217539 w 435077"/>
                <a:gd name="connsiteY3" fmla="*/ 217539 h 435074"/>
                <a:gd name="connsiteX4" fmla="*/ 0 w 435077"/>
                <a:gd name="connsiteY4" fmla="*/ 435075 h 435074"/>
                <a:gd name="connsiteX5" fmla="*/ 217539 w 435077"/>
                <a:gd name="connsiteY5" fmla="*/ 435075 h 435074"/>
                <a:gd name="connsiteX6" fmla="*/ 217539 w 435077"/>
                <a:gd name="connsiteY6" fmla="*/ 435072 h 435074"/>
                <a:gd name="connsiteX7" fmla="*/ 435050 w 435077"/>
                <a:gd name="connsiteY7" fmla="*/ 217541 h 435074"/>
                <a:gd name="connsiteX8" fmla="*/ 435077 w 435077"/>
                <a:gd name="connsiteY8" fmla="*/ 217541 h 435074"/>
                <a:gd name="connsiteX9" fmla="*/ 435077 w 435077"/>
                <a:gd name="connsiteY9" fmla="*/ 217536 h 435074"/>
                <a:gd name="connsiteX10" fmla="*/ 435077 w 435077"/>
                <a:gd name="connsiteY10" fmla="*/ 217533 h 435074"/>
                <a:gd name="connsiteX11" fmla="*/ 435050 w 435077"/>
                <a:gd name="connsiteY11" fmla="*/ 217533 h 435074"/>
                <a:gd name="connsiteX12" fmla="*/ 217539 w 435077"/>
                <a:gd name="connsiteY12" fmla="*/ 3 h 435074"/>
                <a:gd name="connsiteX13" fmla="*/ 217539 w 435077"/>
                <a:gd name="connsiteY13" fmla="*/ 217533 h 435074"/>
                <a:gd name="connsiteX14" fmla="*/ 217539 w 435077"/>
                <a:gd name="connsiteY14" fmla="*/ 217533 h 43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4">
                  <a:moveTo>
                    <a:pt x="217539" y="217533"/>
                  </a:moveTo>
                  <a:lnTo>
                    <a:pt x="217539" y="0"/>
                  </a:lnTo>
                  <a:lnTo>
                    <a:pt x="0" y="0"/>
                  </a:lnTo>
                  <a:lnTo>
                    <a:pt x="217539" y="217539"/>
                  </a:lnTo>
                  <a:lnTo>
                    <a:pt x="0" y="435075"/>
                  </a:lnTo>
                  <a:lnTo>
                    <a:pt x="217539" y="435075"/>
                  </a:lnTo>
                  <a:lnTo>
                    <a:pt x="217539" y="435072"/>
                  </a:lnTo>
                  <a:lnTo>
                    <a:pt x="435050" y="217541"/>
                  </a:lnTo>
                  <a:lnTo>
                    <a:pt x="435077" y="217541"/>
                  </a:lnTo>
                  <a:lnTo>
                    <a:pt x="435077" y="217536"/>
                  </a:lnTo>
                  <a:lnTo>
                    <a:pt x="435077" y="217533"/>
                  </a:lnTo>
                  <a:lnTo>
                    <a:pt x="435050" y="217533"/>
                  </a:lnTo>
                  <a:lnTo>
                    <a:pt x="217539" y="3"/>
                  </a:lnTo>
                  <a:lnTo>
                    <a:pt x="217539" y="217533"/>
                  </a:lnTo>
                  <a:lnTo>
                    <a:pt x="217539" y="217533"/>
                  </a:lnTo>
                  <a:close/>
                </a:path>
              </a:pathLst>
            </a:custGeom>
            <a:grpFill/>
            <a:ln w="27192" cap="flat">
              <a:noFill/>
              <a:prstDash val="solid"/>
              <a:miter/>
            </a:ln>
          </p:spPr>
          <p:txBody>
            <a:bodyPr rtlCol="0" anchor="ctr"/>
            <a:lstStyle/>
            <a:p>
              <a:endParaRPr lang="uk-UA" sz="900"/>
            </a:p>
          </p:txBody>
        </p:sp>
        <p:sp>
          <p:nvSpPr>
            <p:cNvPr id="591" name="Freeform: Shape 590">
              <a:extLst>
                <a:ext uri="{FF2B5EF4-FFF2-40B4-BE49-F238E27FC236}">
                  <a16:creationId xmlns:a16="http://schemas.microsoft.com/office/drawing/2014/main" id="{28B65969-941F-E95F-706E-365769D9EB62}"/>
                </a:ext>
              </a:extLst>
            </p:cNvPr>
            <p:cNvSpPr/>
            <p:nvPr/>
          </p:nvSpPr>
          <p:spPr>
            <a:xfrm>
              <a:off x="4316416" y="1968909"/>
              <a:ext cx="435077" cy="435077"/>
            </a:xfrm>
            <a:custGeom>
              <a:avLst/>
              <a:gdLst>
                <a:gd name="connsiteX0" fmla="*/ 217565 w 435077"/>
                <a:gd name="connsiteY0" fmla="*/ 0 h 435077"/>
                <a:gd name="connsiteX1" fmla="*/ 217539 w 435077"/>
                <a:gd name="connsiteY1" fmla="*/ 0 h 435077"/>
                <a:gd name="connsiteX2" fmla="*/ 27 w 435077"/>
                <a:gd name="connsiteY2" fmla="*/ 0 h 435077"/>
                <a:gd name="connsiteX3" fmla="*/ 27 w 435077"/>
                <a:gd name="connsiteY3" fmla="*/ 217539 h 435077"/>
                <a:gd name="connsiteX4" fmla="*/ 217565 w 435077"/>
                <a:gd name="connsiteY4" fmla="*/ 5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65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65" y="0"/>
                  </a:moveTo>
                  <a:lnTo>
                    <a:pt x="217539" y="0"/>
                  </a:lnTo>
                  <a:lnTo>
                    <a:pt x="27" y="0"/>
                  </a:lnTo>
                  <a:lnTo>
                    <a:pt x="27" y="217539"/>
                  </a:lnTo>
                  <a:lnTo>
                    <a:pt x="217565" y="5"/>
                  </a:lnTo>
                  <a:lnTo>
                    <a:pt x="435077" y="217539"/>
                  </a:lnTo>
                  <a:lnTo>
                    <a:pt x="217539" y="435077"/>
                  </a:lnTo>
                  <a:lnTo>
                    <a:pt x="0" y="217539"/>
                  </a:lnTo>
                  <a:lnTo>
                    <a:pt x="0" y="435077"/>
                  </a:lnTo>
                  <a:lnTo>
                    <a:pt x="217539" y="435077"/>
                  </a:lnTo>
                  <a:lnTo>
                    <a:pt x="435077" y="435077"/>
                  </a:lnTo>
                  <a:lnTo>
                    <a:pt x="435077" y="217539"/>
                  </a:lnTo>
                  <a:lnTo>
                    <a:pt x="435077" y="0"/>
                  </a:lnTo>
                  <a:lnTo>
                    <a:pt x="217565" y="0"/>
                  </a:lnTo>
                  <a:close/>
                </a:path>
              </a:pathLst>
            </a:custGeom>
            <a:grpFill/>
            <a:ln w="27192" cap="flat">
              <a:noFill/>
              <a:prstDash val="solid"/>
              <a:miter/>
            </a:ln>
          </p:spPr>
          <p:txBody>
            <a:bodyPr rtlCol="0" anchor="ctr"/>
            <a:lstStyle/>
            <a:p>
              <a:endParaRPr lang="uk-UA" sz="900"/>
            </a:p>
          </p:txBody>
        </p:sp>
        <p:sp>
          <p:nvSpPr>
            <p:cNvPr id="592" name="Freeform: Shape 591">
              <a:extLst>
                <a:ext uri="{FF2B5EF4-FFF2-40B4-BE49-F238E27FC236}">
                  <a16:creationId xmlns:a16="http://schemas.microsoft.com/office/drawing/2014/main" id="{E8097A05-BE03-1400-D8FE-7DD2780B6C2F}"/>
                </a:ext>
              </a:extLst>
            </p:cNvPr>
            <p:cNvSpPr/>
            <p:nvPr/>
          </p:nvSpPr>
          <p:spPr>
            <a:xfrm>
              <a:off x="3446261" y="1968909"/>
              <a:ext cx="435077" cy="435077"/>
            </a:xfrm>
            <a:custGeom>
              <a:avLst/>
              <a:gdLst>
                <a:gd name="connsiteX0" fmla="*/ 0 w 435077"/>
                <a:gd name="connsiteY0" fmla="*/ 435077 h 435077"/>
                <a:gd name="connsiteX1" fmla="*/ 217539 w 435077"/>
                <a:gd name="connsiteY1" fmla="*/ 435077 h 435077"/>
                <a:gd name="connsiteX2" fmla="*/ 217539 w 435077"/>
                <a:gd name="connsiteY2" fmla="*/ 217547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28 h 435077"/>
                <a:gd name="connsiteX7" fmla="*/ 217539 w 435077"/>
                <a:gd name="connsiteY7" fmla="*/ 0 h 435077"/>
                <a:gd name="connsiteX8" fmla="*/ 435077 w 435077"/>
                <a:gd name="connsiteY8" fmla="*/ 435077 h 435077"/>
                <a:gd name="connsiteX9" fmla="*/ 217566 w 435077"/>
                <a:gd name="connsiteY9" fmla="*/ 435077 h 435077"/>
                <a:gd name="connsiteX10" fmla="*/ 435077 w 435077"/>
                <a:gd name="connsiteY10" fmla="*/ 217547 h 435077"/>
                <a:gd name="connsiteX11" fmla="*/ 435077 w 435077"/>
                <a:gd name="connsiteY11" fmla="*/ 435077 h 435077"/>
                <a:gd name="connsiteX12" fmla="*/ 435077 w 435077"/>
                <a:gd name="connsiteY12" fmla="*/ 3 h 435077"/>
                <a:gd name="connsiteX13" fmla="*/ 217566 w 435077"/>
                <a:gd name="connsiteY13" fmla="*/ 3 h 435077"/>
                <a:gd name="connsiteX14" fmla="*/ 435077 w 435077"/>
                <a:gd name="connsiteY14" fmla="*/ 217531 h 435077"/>
                <a:gd name="connsiteX15" fmla="*/ 435077 w 435077"/>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47"/>
                  </a:lnTo>
                  <a:lnTo>
                    <a:pt x="0" y="435077"/>
                  </a:lnTo>
                  <a:close/>
                  <a:moveTo>
                    <a:pt x="217539" y="0"/>
                  </a:moveTo>
                  <a:lnTo>
                    <a:pt x="0" y="0"/>
                  </a:lnTo>
                  <a:lnTo>
                    <a:pt x="217539" y="217528"/>
                  </a:lnTo>
                  <a:lnTo>
                    <a:pt x="217539" y="0"/>
                  </a:lnTo>
                  <a:close/>
                  <a:moveTo>
                    <a:pt x="435077" y="435077"/>
                  </a:moveTo>
                  <a:lnTo>
                    <a:pt x="217566" y="435077"/>
                  </a:lnTo>
                  <a:lnTo>
                    <a:pt x="435077" y="217547"/>
                  </a:lnTo>
                  <a:lnTo>
                    <a:pt x="435077" y="435077"/>
                  </a:lnTo>
                  <a:close/>
                  <a:moveTo>
                    <a:pt x="435077" y="3"/>
                  </a:moveTo>
                  <a:lnTo>
                    <a:pt x="217566" y="3"/>
                  </a:lnTo>
                  <a:lnTo>
                    <a:pt x="435077" y="217531"/>
                  </a:lnTo>
                  <a:lnTo>
                    <a:pt x="435077" y="3"/>
                  </a:lnTo>
                  <a:close/>
                </a:path>
              </a:pathLst>
            </a:custGeom>
            <a:grpFill/>
            <a:ln w="27192" cap="flat">
              <a:noFill/>
              <a:prstDash val="solid"/>
              <a:miter/>
            </a:ln>
          </p:spPr>
          <p:txBody>
            <a:bodyPr rtlCol="0" anchor="ctr"/>
            <a:lstStyle/>
            <a:p>
              <a:endParaRPr lang="uk-UA" sz="900"/>
            </a:p>
          </p:txBody>
        </p:sp>
        <p:sp>
          <p:nvSpPr>
            <p:cNvPr id="593" name="Freeform: Shape 592">
              <a:extLst>
                <a:ext uri="{FF2B5EF4-FFF2-40B4-BE49-F238E27FC236}">
                  <a16:creationId xmlns:a16="http://schemas.microsoft.com/office/drawing/2014/main" id="{D7363F12-3BA4-9FB7-2AF5-6B3B36E5C80D}"/>
                </a:ext>
              </a:extLst>
            </p:cNvPr>
            <p:cNvSpPr/>
            <p:nvPr/>
          </p:nvSpPr>
          <p:spPr>
            <a:xfrm>
              <a:off x="5186597" y="1968909"/>
              <a:ext cx="435077" cy="435077"/>
            </a:xfrm>
            <a:custGeom>
              <a:avLst/>
              <a:gdLst>
                <a:gd name="connsiteX0" fmla="*/ 371366 w 435077"/>
                <a:gd name="connsiteY0" fmla="*/ 63714 h 435077"/>
                <a:gd name="connsiteX1" fmla="*/ 435077 w 435077"/>
                <a:gd name="connsiteY1" fmla="*/ 217539 h 435077"/>
                <a:gd name="connsiteX2" fmla="*/ 217702 w 435077"/>
                <a:gd name="connsiteY2" fmla="*/ 217539 h 435077"/>
                <a:gd name="connsiteX3" fmla="*/ 371366 w 435077"/>
                <a:gd name="connsiteY3" fmla="*/ 281253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3 h 435077"/>
                <a:gd name="connsiteX8" fmla="*/ 217376 w 435077"/>
                <a:gd name="connsiteY8" fmla="*/ 217539 h 435077"/>
                <a:gd name="connsiteX9" fmla="*/ 0 w 435077"/>
                <a:gd name="connsiteY9" fmla="*/ 217539 h 435077"/>
                <a:gd name="connsiteX10" fmla="*/ 63712 w 435077"/>
                <a:gd name="connsiteY10" fmla="*/ 63714 h 435077"/>
                <a:gd name="connsiteX11" fmla="*/ 217539 w 435077"/>
                <a:gd name="connsiteY11" fmla="*/ 0 h 435077"/>
                <a:gd name="connsiteX12" fmla="*/ 371366 w 435077"/>
                <a:gd name="connsiteY12" fmla="*/ 63714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4"/>
                  </a:moveTo>
                  <a:cubicBezTo>
                    <a:pt x="412155" y="104511"/>
                    <a:pt x="435077" y="159842"/>
                    <a:pt x="435077" y="217539"/>
                  </a:cubicBezTo>
                  <a:lnTo>
                    <a:pt x="217702" y="217539"/>
                  </a:lnTo>
                  <a:cubicBezTo>
                    <a:pt x="275350" y="217582"/>
                    <a:pt x="330605" y="240497"/>
                    <a:pt x="371366" y="281253"/>
                  </a:cubicBezTo>
                  <a:cubicBezTo>
                    <a:pt x="412155" y="322050"/>
                    <a:pt x="435077" y="377381"/>
                    <a:pt x="435077" y="435077"/>
                  </a:cubicBezTo>
                  <a:lnTo>
                    <a:pt x="217539" y="435077"/>
                  </a:lnTo>
                  <a:lnTo>
                    <a:pt x="0" y="435077"/>
                  </a:lnTo>
                  <a:cubicBezTo>
                    <a:pt x="0" y="377381"/>
                    <a:pt x="22924" y="322050"/>
                    <a:pt x="63712" y="281253"/>
                  </a:cubicBezTo>
                  <a:cubicBezTo>
                    <a:pt x="104473" y="240497"/>
                    <a:pt x="159728" y="217582"/>
                    <a:pt x="217376" y="217539"/>
                  </a:cubicBezTo>
                  <a:lnTo>
                    <a:pt x="0" y="217539"/>
                  </a:lnTo>
                  <a:cubicBezTo>
                    <a:pt x="0" y="159842"/>
                    <a:pt x="22924" y="104511"/>
                    <a:pt x="63712" y="63714"/>
                  </a:cubicBezTo>
                  <a:cubicBezTo>
                    <a:pt x="104501" y="22918"/>
                    <a:pt x="159837" y="0"/>
                    <a:pt x="217539" y="0"/>
                  </a:cubicBezTo>
                  <a:cubicBezTo>
                    <a:pt x="275241" y="0"/>
                    <a:pt x="330550" y="22918"/>
                    <a:pt x="371366" y="63714"/>
                  </a:cubicBezTo>
                  <a:close/>
                </a:path>
              </a:pathLst>
            </a:custGeom>
            <a:grpFill/>
            <a:ln w="27192" cap="flat">
              <a:noFill/>
              <a:prstDash val="solid"/>
              <a:miter/>
            </a:ln>
          </p:spPr>
          <p:txBody>
            <a:bodyPr rtlCol="0" anchor="ctr"/>
            <a:lstStyle/>
            <a:p>
              <a:endParaRPr lang="uk-UA" sz="900"/>
            </a:p>
          </p:txBody>
        </p:sp>
        <p:sp>
          <p:nvSpPr>
            <p:cNvPr id="594" name="Freeform: Shape 593">
              <a:extLst>
                <a:ext uri="{FF2B5EF4-FFF2-40B4-BE49-F238E27FC236}">
                  <a16:creationId xmlns:a16="http://schemas.microsoft.com/office/drawing/2014/main" id="{62057885-4B99-9CDB-4560-6B7B2221436A}"/>
                </a:ext>
              </a:extLst>
            </p:cNvPr>
            <p:cNvSpPr/>
            <p:nvPr/>
          </p:nvSpPr>
          <p:spPr>
            <a:xfrm>
              <a:off x="6056752" y="1968909"/>
              <a:ext cx="435077" cy="435074"/>
            </a:xfrm>
            <a:custGeom>
              <a:avLst/>
              <a:gdLst>
                <a:gd name="connsiteX0" fmla="*/ 217539 w 435077"/>
                <a:gd name="connsiteY0" fmla="*/ 217539 h 435074"/>
                <a:gd name="connsiteX1" fmla="*/ 217539 w 435077"/>
                <a:gd name="connsiteY1" fmla="*/ 217536 h 435074"/>
                <a:gd name="connsiteX2" fmla="*/ 0 w 435077"/>
                <a:gd name="connsiteY2" fmla="*/ 0 h 435074"/>
                <a:gd name="connsiteX3" fmla="*/ 217539 w 435077"/>
                <a:gd name="connsiteY3" fmla="*/ 0 h 435074"/>
                <a:gd name="connsiteX4" fmla="*/ 217539 w 435077"/>
                <a:gd name="connsiteY4" fmla="*/ 5 h 435074"/>
                <a:gd name="connsiteX5" fmla="*/ 435077 w 435077"/>
                <a:gd name="connsiteY5" fmla="*/ 217533 h 435074"/>
                <a:gd name="connsiteX6" fmla="*/ 435077 w 435077"/>
                <a:gd name="connsiteY6" fmla="*/ 217533 h 435074"/>
                <a:gd name="connsiteX7" fmla="*/ 435077 w 435077"/>
                <a:gd name="connsiteY7" fmla="*/ 217539 h 435074"/>
                <a:gd name="connsiteX8" fmla="*/ 435077 w 435077"/>
                <a:gd name="connsiteY8" fmla="*/ 217541 h 435074"/>
                <a:gd name="connsiteX9" fmla="*/ 435077 w 435077"/>
                <a:gd name="connsiteY9" fmla="*/ 217541 h 435074"/>
                <a:gd name="connsiteX10" fmla="*/ 217539 w 435077"/>
                <a:gd name="connsiteY10" fmla="*/ 435072 h 435074"/>
                <a:gd name="connsiteX11" fmla="*/ 217539 w 435077"/>
                <a:gd name="connsiteY11" fmla="*/ 435075 h 435074"/>
                <a:gd name="connsiteX12" fmla="*/ 0 w 435077"/>
                <a:gd name="connsiteY12" fmla="*/ 435075 h 435074"/>
                <a:gd name="connsiteX13" fmla="*/ 217539 w 435077"/>
                <a:gd name="connsiteY13" fmla="*/ 217539 h 43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4">
                  <a:moveTo>
                    <a:pt x="217539" y="217539"/>
                  </a:moveTo>
                  <a:lnTo>
                    <a:pt x="217539" y="217536"/>
                  </a:lnTo>
                  <a:lnTo>
                    <a:pt x="0" y="0"/>
                  </a:lnTo>
                  <a:lnTo>
                    <a:pt x="217539" y="0"/>
                  </a:lnTo>
                  <a:lnTo>
                    <a:pt x="217539" y="5"/>
                  </a:lnTo>
                  <a:lnTo>
                    <a:pt x="435077" y="217533"/>
                  </a:lnTo>
                  <a:lnTo>
                    <a:pt x="435077" y="217533"/>
                  </a:lnTo>
                  <a:lnTo>
                    <a:pt x="435077" y="217539"/>
                  </a:lnTo>
                  <a:lnTo>
                    <a:pt x="435077" y="217541"/>
                  </a:lnTo>
                  <a:lnTo>
                    <a:pt x="435077" y="217541"/>
                  </a:lnTo>
                  <a:lnTo>
                    <a:pt x="217539" y="435072"/>
                  </a:lnTo>
                  <a:lnTo>
                    <a:pt x="217539" y="435075"/>
                  </a:lnTo>
                  <a:lnTo>
                    <a:pt x="0" y="435075"/>
                  </a:lnTo>
                  <a:lnTo>
                    <a:pt x="217539" y="217539"/>
                  </a:lnTo>
                  <a:close/>
                </a:path>
              </a:pathLst>
            </a:custGeom>
            <a:grpFill/>
            <a:ln w="27192" cap="flat">
              <a:noFill/>
              <a:prstDash val="solid"/>
              <a:miter/>
            </a:ln>
          </p:spPr>
          <p:txBody>
            <a:bodyPr rtlCol="0" anchor="ctr"/>
            <a:lstStyle/>
            <a:p>
              <a:endParaRPr lang="uk-UA" sz="900"/>
            </a:p>
          </p:txBody>
        </p:sp>
        <p:sp>
          <p:nvSpPr>
            <p:cNvPr id="595" name="Freeform: Shape 594">
              <a:extLst>
                <a:ext uri="{FF2B5EF4-FFF2-40B4-BE49-F238E27FC236}">
                  <a16:creationId xmlns:a16="http://schemas.microsoft.com/office/drawing/2014/main" id="{1ACF9880-C9EB-C239-AE49-50522B9CE53D}"/>
                </a:ext>
              </a:extLst>
            </p:cNvPr>
            <p:cNvSpPr/>
            <p:nvPr/>
          </p:nvSpPr>
          <p:spPr>
            <a:xfrm>
              <a:off x="7797062" y="196890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p>
          </p:txBody>
        </p:sp>
        <p:sp>
          <p:nvSpPr>
            <p:cNvPr id="596" name="Freeform: Shape 595">
              <a:extLst>
                <a:ext uri="{FF2B5EF4-FFF2-40B4-BE49-F238E27FC236}">
                  <a16:creationId xmlns:a16="http://schemas.microsoft.com/office/drawing/2014/main" id="{33FCC14F-3D2F-7DF3-7AF5-174255338883}"/>
                </a:ext>
              </a:extLst>
            </p:cNvPr>
            <p:cNvSpPr/>
            <p:nvPr/>
          </p:nvSpPr>
          <p:spPr>
            <a:xfrm>
              <a:off x="6926907" y="1968909"/>
              <a:ext cx="435077" cy="435077"/>
            </a:xfrm>
            <a:custGeom>
              <a:avLst/>
              <a:gdLst>
                <a:gd name="connsiteX0" fmla="*/ 0 w 435077"/>
                <a:gd name="connsiteY0" fmla="*/ 435077 h 435077"/>
                <a:gd name="connsiteX1" fmla="*/ 217539 w 435077"/>
                <a:gd name="connsiteY1" fmla="*/ 435077 h 435077"/>
                <a:gd name="connsiteX2" fmla="*/ 217539 w 435077"/>
                <a:gd name="connsiteY2" fmla="*/ 217547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28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47 h 435077"/>
                <a:gd name="connsiteX11" fmla="*/ 435077 w 435077"/>
                <a:gd name="connsiteY11" fmla="*/ 435077 h 435077"/>
                <a:gd name="connsiteX12" fmla="*/ 435077 w 435077"/>
                <a:gd name="connsiteY12" fmla="*/ 3 h 435077"/>
                <a:gd name="connsiteX13" fmla="*/ 217539 w 435077"/>
                <a:gd name="connsiteY13" fmla="*/ 3 h 435077"/>
                <a:gd name="connsiteX14" fmla="*/ 435077 w 435077"/>
                <a:gd name="connsiteY14" fmla="*/ 217531 h 435077"/>
                <a:gd name="connsiteX15" fmla="*/ 435077 w 435077"/>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47"/>
                  </a:lnTo>
                  <a:lnTo>
                    <a:pt x="0" y="435077"/>
                  </a:lnTo>
                  <a:close/>
                  <a:moveTo>
                    <a:pt x="217539" y="0"/>
                  </a:moveTo>
                  <a:lnTo>
                    <a:pt x="0" y="0"/>
                  </a:lnTo>
                  <a:lnTo>
                    <a:pt x="217539" y="217528"/>
                  </a:lnTo>
                  <a:lnTo>
                    <a:pt x="217539" y="0"/>
                  </a:lnTo>
                  <a:close/>
                  <a:moveTo>
                    <a:pt x="435077" y="435077"/>
                  </a:moveTo>
                  <a:lnTo>
                    <a:pt x="217539" y="435077"/>
                  </a:lnTo>
                  <a:lnTo>
                    <a:pt x="435077" y="217547"/>
                  </a:lnTo>
                  <a:lnTo>
                    <a:pt x="435077" y="435077"/>
                  </a:lnTo>
                  <a:close/>
                  <a:moveTo>
                    <a:pt x="435077" y="3"/>
                  </a:moveTo>
                  <a:lnTo>
                    <a:pt x="217539" y="3"/>
                  </a:lnTo>
                  <a:lnTo>
                    <a:pt x="435077" y="217531"/>
                  </a:lnTo>
                  <a:lnTo>
                    <a:pt x="435077" y="3"/>
                  </a:lnTo>
                  <a:close/>
                </a:path>
              </a:pathLst>
            </a:custGeom>
            <a:grpFill/>
            <a:ln w="27192" cap="flat">
              <a:noFill/>
              <a:prstDash val="solid"/>
              <a:miter/>
            </a:ln>
          </p:spPr>
          <p:txBody>
            <a:bodyPr rtlCol="0" anchor="ctr"/>
            <a:lstStyle/>
            <a:p>
              <a:endParaRPr lang="uk-UA" sz="900"/>
            </a:p>
          </p:txBody>
        </p:sp>
        <p:sp>
          <p:nvSpPr>
            <p:cNvPr id="597" name="Freeform: Shape 596">
              <a:extLst>
                <a:ext uri="{FF2B5EF4-FFF2-40B4-BE49-F238E27FC236}">
                  <a16:creationId xmlns:a16="http://schemas.microsoft.com/office/drawing/2014/main" id="{283DB402-E18B-72CF-A1E7-697A21E99894}"/>
                </a:ext>
              </a:extLst>
            </p:cNvPr>
            <p:cNvSpPr/>
            <p:nvPr/>
          </p:nvSpPr>
          <p:spPr>
            <a:xfrm>
              <a:off x="8667217" y="1968909"/>
              <a:ext cx="435104" cy="435077"/>
            </a:xfrm>
            <a:custGeom>
              <a:avLst/>
              <a:gdLst>
                <a:gd name="connsiteX0" fmla="*/ 371366 w 435104"/>
                <a:gd name="connsiteY0" fmla="*/ 63714 h 435077"/>
                <a:gd name="connsiteX1" fmla="*/ 435077 w 435104"/>
                <a:gd name="connsiteY1" fmla="*/ 217539 h 435077"/>
                <a:gd name="connsiteX2" fmla="*/ 217730 w 435104"/>
                <a:gd name="connsiteY2" fmla="*/ 217539 h 435077"/>
                <a:gd name="connsiteX3" fmla="*/ 371366 w 435104"/>
                <a:gd name="connsiteY3" fmla="*/ 281253 h 435077"/>
                <a:gd name="connsiteX4" fmla="*/ 435105 w 435104"/>
                <a:gd name="connsiteY4" fmla="*/ 435077 h 435077"/>
                <a:gd name="connsiteX5" fmla="*/ 217566 w 435104"/>
                <a:gd name="connsiteY5" fmla="*/ 435077 h 435077"/>
                <a:gd name="connsiteX6" fmla="*/ 27 w 435104"/>
                <a:gd name="connsiteY6" fmla="*/ 435077 h 435077"/>
                <a:gd name="connsiteX7" fmla="*/ 63739 w 435104"/>
                <a:gd name="connsiteY7" fmla="*/ 281253 h 435077"/>
                <a:gd name="connsiteX8" fmla="*/ 217376 w 435104"/>
                <a:gd name="connsiteY8" fmla="*/ 217539 h 435077"/>
                <a:gd name="connsiteX9" fmla="*/ 0 w 435104"/>
                <a:gd name="connsiteY9" fmla="*/ 217539 h 435077"/>
                <a:gd name="connsiteX10" fmla="*/ 63739 w 435104"/>
                <a:gd name="connsiteY10" fmla="*/ 63714 h 435077"/>
                <a:gd name="connsiteX11" fmla="*/ 217539 w 435104"/>
                <a:gd name="connsiteY11" fmla="*/ 0 h 435077"/>
                <a:gd name="connsiteX12" fmla="*/ 371366 w 435104"/>
                <a:gd name="connsiteY12" fmla="*/ 63714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4" h="435077">
                  <a:moveTo>
                    <a:pt x="371366" y="63714"/>
                  </a:moveTo>
                  <a:cubicBezTo>
                    <a:pt x="412182" y="104511"/>
                    <a:pt x="435077" y="159842"/>
                    <a:pt x="435077" y="217539"/>
                  </a:cubicBezTo>
                  <a:lnTo>
                    <a:pt x="217730" y="217539"/>
                  </a:lnTo>
                  <a:cubicBezTo>
                    <a:pt x="275350" y="217582"/>
                    <a:pt x="330632" y="240497"/>
                    <a:pt x="371366" y="281253"/>
                  </a:cubicBezTo>
                  <a:cubicBezTo>
                    <a:pt x="412182" y="322050"/>
                    <a:pt x="435105" y="377381"/>
                    <a:pt x="435105" y="435077"/>
                  </a:cubicBezTo>
                  <a:lnTo>
                    <a:pt x="217566" y="435077"/>
                  </a:lnTo>
                  <a:lnTo>
                    <a:pt x="27" y="435077"/>
                  </a:lnTo>
                  <a:cubicBezTo>
                    <a:pt x="27" y="377381"/>
                    <a:pt x="22924" y="322050"/>
                    <a:pt x="63739" y="281253"/>
                  </a:cubicBezTo>
                  <a:cubicBezTo>
                    <a:pt x="104501" y="240497"/>
                    <a:pt x="159755" y="217582"/>
                    <a:pt x="217376" y="217539"/>
                  </a:cubicBezTo>
                  <a:lnTo>
                    <a:pt x="0" y="217539"/>
                  </a:lnTo>
                  <a:cubicBezTo>
                    <a:pt x="0" y="159842"/>
                    <a:pt x="22924" y="104511"/>
                    <a:pt x="63739" y="63714"/>
                  </a:cubicBezTo>
                  <a:cubicBezTo>
                    <a:pt x="104527" y="22918"/>
                    <a:pt x="159864" y="0"/>
                    <a:pt x="217539" y="0"/>
                  </a:cubicBezTo>
                  <a:cubicBezTo>
                    <a:pt x="275241" y="0"/>
                    <a:pt x="330578" y="22918"/>
                    <a:pt x="371366" y="63714"/>
                  </a:cubicBezTo>
                  <a:close/>
                </a:path>
              </a:pathLst>
            </a:custGeom>
            <a:grpFill/>
            <a:ln w="27192" cap="flat">
              <a:noFill/>
              <a:prstDash val="solid"/>
              <a:miter/>
            </a:ln>
          </p:spPr>
          <p:txBody>
            <a:bodyPr rtlCol="0" anchor="ctr"/>
            <a:lstStyle/>
            <a:p>
              <a:endParaRPr lang="uk-UA" sz="900"/>
            </a:p>
          </p:txBody>
        </p:sp>
        <p:sp>
          <p:nvSpPr>
            <p:cNvPr id="598" name="Freeform: Shape 597">
              <a:extLst>
                <a:ext uri="{FF2B5EF4-FFF2-40B4-BE49-F238E27FC236}">
                  <a16:creationId xmlns:a16="http://schemas.microsoft.com/office/drawing/2014/main" id="{B5279061-CAA5-3868-113E-53D2B3E8EDFF}"/>
                </a:ext>
              </a:extLst>
            </p:cNvPr>
            <p:cNvSpPr/>
            <p:nvPr/>
          </p:nvSpPr>
          <p:spPr>
            <a:xfrm>
              <a:off x="9537399" y="1968909"/>
              <a:ext cx="435077" cy="435074"/>
            </a:xfrm>
            <a:custGeom>
              <a:avLst/>
              <a:gdLst>
                <a:gd name="connsiteX0" fmla="*/ 217539 w 435077"/>
                <a:gd name="connsiteY0" fmla="*/ 217539 h 435074"/>
                <a:gd name="connsiteX1" fmla="*/ 217539 w 435077"/>
                <a:gd name="connsiteY1" fmla="*/ 217536 h 435074"/>
                <a:gd name="connsiteX2" fmla="*/ 0 w 435077"/>
                <a:gd name="connsiteY2" fmla="*/ 0 h 435074"/>
                <a:gd name="connsiteX3" fmla="*/ 217539 w 435077"/>
                <a:gd name="connsiteY3" fmla="*/ 0 h 435074"/>
                <a:gd name="connsiteX4" fmla="*/ 217539 w 435077"/>
                <a:gd name="connsiteY4" fmla="*/ 5 h 435074"/>
                <a:gd name="connsiteX5" fmla="*/ 435050 w 435077"/>
                <a:gd name="connsiteY5" fmla="*/ 217533 h 435074"/>
                <a:gd name="connsiteX6" fmla="*/ 435077 w 435077"/>
                <a:gd name="connsiteY6" fmla="*/ 217533 h 435074"/>
                <a:gd name="connsiteX7" fmla="*/ 435050 w 435077"/>
                <a:gd name="connsiteY7" fmla="*/ 217539 h 435074"/>
                <a:gd name="connsiteX8" fmla="*/ 435077 w 435077"/>
                <a:gd name="connsiteY8" fmla="*/ 217541 h 435074"/>
                <a:gd name="connsiteX9" fmla="*/ 435050 w 435077"/>
                <a:gd name="connsiteY9" fmla="*/ 217541 h 435074"/>
                <a:gd name="connsiteX10" fmla="*/ 217539 w 435077"/>
                <a:gd name="connsiteY10" fmla="*/ 435072 h 435074"/>
                <a:gd name="connsiteX11" fmla="*/ 217539 w 435077"/>
                <a:gd name="connsiteY11" fmla="*/ 435075 h 435074"/>
                <a:gd name="connsiteX12" fmla="*/ 0 w 435077"/>
                <a:gd name="connsiteY12" fmla="*/ 435075 h 435074"/>
                <a:gd name="connsiteX13" fmla="*/ 217539 w 435077"/>
                <a:gd name="connsiteY13" fmla="*/ 217539 h 43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4">
                  <a:moveTo>
                    <a:pt x="217539" y="217539"/>
                  </a:moveTo>
                  <a:lnTo>
                    <a:pt x="217539" y="217536"/>
                  </a:lnTo>
                  <a:lnTo>
                    <a:pt x="0" y="0"/>
                  </a:lnTo>
                  <a:lnTo>
                    <a:pt x="217539" y="0"/>
                  </a:lnTo>
                  <a:lnTo>
                    <a:pt x="217539" y="5"/>
                  </a:lnTo>
                  <a:lnTo>
                    <a:pt x="435050" y="217533"/>
                  </a:lnTo>
                  <a:lnTo>
                    <a:pt x="435077" y="217533"/>
                  </a:lnTo>
                  <a:lnTo>
                    <a:pt x="435050" y="217539"/>
                  </a:lnTo>
                  <a:lnTo>
                    <a:pt x="435077" y="217541"/>
                  </a:lnTo>
                  <a:lnTo>
                    <a:pt x="435050" y="217541"/>
                  </a:lnTo>
                  <a:lnTo>
                    <a:pt x="217539" y="435072"/>
                  </a:lnTo>
                  <a:lnTo>
                    <a:pt x="217539" y="435075"/>
                  </a:lnTo>
                  <a:lnTo>
                    <a:pt x="0" y="435075"/>
                  </a:lnTo>
                  <a:lnTo>
                    <a:pt x="217539" y="217539"/>
                  </a:lnTo>
                  <a:close/>
                </a:path>
              </a:pathLst>
            </a:custGeom>
            <a:grpFill/>
            <a:ln w="27192" cap="flat">
              <a:noFill/>
              <a:prstDash val="solid"/>
              <a:miter/>
            </a:ln>
          </p:spPr>
          <p:txBody>
            <a:bodyPr rtlCol="0" anchor="ctr"/>
            <a:lstStyle/>
            <a:p>
              <a:endParaRPr lang="uk-UA" sz="900"/>
            </a:p>
          </p:txBody>
        </p:sp>
        <p:sp>
          <p:nvSpPr>
            <p:cNvPr id="599" name="Freeform: Shape 598">
              <a:extLst>
                <a:ext uri="{FF2B5EF4-FFF2-40B4-BE49-F238E27FC236}">
                  <a16:creationId xmlns:a16="http://schemas.microsoft.com/office/drawing/2014/main" id="{0B41F9FE-E1A9-8A8A-3B3C-86B9FF5F28E3}"/>
                </a:ext>
              </a:extLst>
            </p:cNvPr>
            <p:cNvSpPr/>
            <p:nvPr/>
          </p:nvSpPr>
          <p:spPr>
            <a:xfrm>
              <a:off x="11277709" y="196890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600" name="Freeform: Shape 599">
              <a:extLst>
                <a:ext uri="{FF2B5EF4-FFF2-40B4-BE49-F238E27FC236}">
                  <a16:creationId xmlns:a16="http://schemas.microsoft.com/office/drawing/2014/main" id="{C092F179-20EC-6542-2EAD-F2C879747FBB}"/>
                </a:ext>
              </a:extLst>
            </p:cNvPr>
            <p:cNvSpPr/>
            <p:nvPr/>
          </p:nvSpPr>
          <p:spPr>
            <a:xfrm>
              <a:off x="10407554" y="1968909"/>
              <a:ext cx="435077" cy="435077"/>
            </a:xfrm>
            <a:custGeom>
              <a:avLst/>
              <a:gdLst>
                <a:gd name="connsiteX0" fmla="*/ 0 w 435077"/>
                <a:gd name="connsiteY0" fmla="*/ 435075 h 435077"/>
                <a:gd name="connsiteX1" fmla="*/ 217511 w 435077"/>
                <a:gd name="connsiteY1" fmla="*/ 435075 h 435077"/>
                <a:gd name="connsiteX2" fmla="*/ 217511 w 435077"/>
                <a:gd name="connsiteY2" fmla="*/ 217547 h 435077"/>
                <a:gd name="connsiteX3" fmla="*/ 0 w 435077"/>
                <a:gd name="connsiteY3" fmla="*/ 435075 h 435077"/>
                <a:gd name="connsiteX4" fmla="*/ 217511 w 435077"/>
                <a:gd name="connsiteY4" fmla="*/ 0 h 435077"/>
                <a:gd name="connsiteX5" fmla="*/ 0 w 435077"/>
                <a:gd name="connsiteY5" fmla="*/ 0 h 435077"/>
                <a:gd name="connsiteX6" fmla="*/ 217511 w 435077"/>
                <a:gd name="connsiteY6" fmla="*/ 217528 h 435077"/>
                <a:gd name="connsiteX7" fmla="*/ 217511 w 435077"/>
                <a:gd name="connsiteY7" fmla="*/ 0 h 435077"/>
                <a:gd name="connsiteX8" fmla="*/ 435077 w 435077"/>
                <a:gd name="connsiteY8" fmla="*/ 435077 h 435077"/>
                <a:gd name="connsiteX9" fmla="*/ 217539 w 435077"/>
                <a:gd name="connsiteY9" fmla="*/ 435077 h 435077"/>
                <a:gd name="connsiteX10" fmla="*/ 435077 w 435077"/>
                <a:gd name="connsiteY10" fmla="*/ 217547 h 435077"/>
                <a:gd name="connsiteX11" fmla="*/ 435077 w 435077"/>
                <a:gd name="connsiteY11" fmla="*/ 435077 h 435077"/>
                <a:gd name="connsiteX12" fmla="*/ 435077 w 435077"/>
                <a:gd name="connsiteY12" fmla="*/ 3 h 435077"/>
                <a:gd name="connsiteX13" fmla="*/ 217539 w 435077"/>
                <a:gd name="connsiteY13" fmla="*/ 3 h 435077"/>
                <a:gd name="connsiteX14" fmla="*/ 435077 w 435077"/>
                <a:gd name="connsiteY14" fmla="*/ 217531 h 435077"/>
                <a:gd name="connsiteX15" fmla="*/ 435077 w 435077"/>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5"/>
                  </a:moveTo>
                  <a:lnTo>
                    <a:pt x="217511" y="435075"/>
                  </a:lnTo>
                  <a:lnTo>
                    <a:pt x="217511" y="217547"/>
                  </a:lnTo>
                  <a:lnTo>
                    <a:pt x="0" y="435075"/>
                  </a:lnTo>
                  <a:close/>
                  <a:moveTo>
                    <a:pt x="217511" y="0"/>
                  </a:moveTo>
                  <a:lnTo>
                    <a:pt x="0" y="0"/>
                  </a:lnTo>
                  <a:lnTo>
                    <a:pt x="217511" y="217528"/>
                  </a:lnTo>
                  <a:lnTo>
                    <a:pt x="217511" y="0"/>
                  </a:lnTo>
                  <a:close/>
                  <a:moveTo>
                    <a:pt x="435077" y="435077"/>
                  </a:moveTo>
                  <a:lnTo>
                    <a:pt x="217539" y="435077"/>
                  </a:lnTo>
                  <a:lnTo>
                    <a:pt x="435077" y="217547"/>
                  </a:lnTo>
                  <a:lnTo>
                    <a:pt x="435077" y="435077"/>
                  </a:lnTo>
                  <a:close/>
                  <a:moveTo>
                    <a:pt x="435077" y="3"/>
                  </a:moveTo>
                  <a:lnTo>
                    <a:pt x="217539" y="3"/>
                  </a:lnTo>
                  <a:lnTo>
                    <a:pt x="435077" y="217531"/>
                  </a:lnTo>
                  <a:lnTo>
                    <a:pt x="435077" y="3"/>
                  </a:lnTo>
                  <a:close/>
                </a:path>
              </a:pathLst>
            </a:custGeom>
            <a:grpFill/>
            <a:ln w="27192" cap="flat">
              <a:noFill/>
              <a:prstDash val="solid"/>
              <a:miter/>
            </a:ln>
          </p:spPr>
          <p:txBody>
            <a:bodyPr rtlCol="0" anchor="ctr"/>
            <a:lstStyle/>
            <a:p>
              <a:endParaRPr lang="uk-UA" sz="900"/>
            </a:p>
          </p:txBody>
        </p:sp>
        <p:sp>
          <p:nvSpPr>
            <p:cNvPr id="601" name="Freeform: Shape 600">
              <a:extLst>
                <a:ext uri="{FF2B5EF4-FFF2-40B4-BE49-F238E27FC236}">
                  <a16:creationId xmlns:a16="http://schemas.microsoft.com/office/drawing/2014/main" id="{6178D465-9BFB-6EC4-CB7B-DD02825A9FFC}"/>
                </a:ext>
              </a:extLst>
            </p:cNvPr>
            <p:cNvSpPr/>
            <p:nvPr/>
          </p:nvSpPr>
          <p:spPr>
            <a:xfrm>
              <a:off x="12147864" y="1968909"/>
              <a:ext cx="435103" cy="435077"/>
            </a:xfrm>
            <a:custGeom>
              <a:avLst/>
              <a:gdLst>
                <a:gd name="connsiteX0" fmla="*/ 371365 w 435103"/>
                <a:gd name="connsiteY0" fmla="*/ 63714 h 435077"/>
                <a:gd name="connsiteX1" fmla="*/ 435077 w 435103"/>
                <a:gd name="connsiteY1" fmla="*/ 217539 h 435077"/>
                <a:gd name="connsiteX2" fmla="*/ 217728 w 435103"/>
                <a:gd name="connsiteY2" fmla="*/ 217539 h 435077"/>
                <a:gd name="connsiteX3" fmla="*/ 371365 w 435103"/>
                <a:gd name="connsiteY3" fmla="*/ 281253 h 435077"/>
                <a:gd name="connsiteX4" fmla="*/ 435104 w 435103"/>
                <a:gd name="connsiteY4" fmla="*/ 435077 h 435077"/>
                <a:gd name="connsiteX5" fmla="*/ 217565 w 435103"/>
                <a:gd name="connsiteY5" fmla="*/ 435077 h 435077"/>
                <a:gd name="connsiteX6" fmla="*/ 27 w 435103"/>
                <a:gd name="connsiteY6" fmla="*/ 435077 h 435077"/>
                <a:gd name="connsiteX7" fmla="*/ 63739 w 435103"/>
                <a:gd name="connsiteY7" fmla="*/ 281253 h 435077"/>
                <a:gd name="connsiteX8" fmla="*/ 217374 w 435103"/>
                <a:gd name="connsiteY8" fmla="*/ 217539 h 435077"/>
                <a:gd name="connsiteX9" fmla="*/ 0 w 435103"/>
                <a:gd name="connsiteY9" fmla="*/ 217539 h 435077"/>
                <a:gd name="connsiteX10" fmla="*/ 63739 w 435103"/>
                <a:gd name="connsiteY10" fmla="*/ 63714 h 435077"/>
                <a:gd name="connsiteX11" fmla="*/ 217539 w 435103"/>
                <a:gd name="connsiteY11" fmla="*/ 0 h 435077"/>
                <a:gd name="connsiteX12" fmla="*/ 371365 w 435103"/>
                <a:gd name="connsiteY12" fmla="*/ 63714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3" h="435077">
                  <a:moveTo>
                    <a:pt x="371365" y="63714"/>
                  </a:moveTo>
                  <a:cubicBezTo>
                    <a:pt x="412180" y="104511"/>
                    <a:pt x="435077" y="159842"/>
                    <a:pt x="435077" y="217539"/>
                  </a:cubicBezTo>
                  <a:lnTo>
                    <a:pt x="217728" y="217539"/>
                  </a:lnTo>
                  <a:cubicBezTo>
                    <a:pt x="275349" y="217582"/>
                    <a:pt x="330632" y="240497"/>
                    <a:pt x="371365" y="281253"/>
                  </a:cubicBezTo>
                  <a:cubicBezTo>
                    <a:pt x="412180" y="322050"/>
                    <a:pt x="435104" y="377381"/>
                    <a:pt x="435104" y="435077"/>
                  </a:cubicBezTo>
                  <a:lnTo>
                    <a:pt x="217565" y="435077"/>
                  </a:lnTo>
                  <a:lnTo>
                    <a:pt x="27" y="435077"/>
                  </a:lnTo>
                  <a:cubicBezTo>
                    <a:pt x="27" y="377381"/>
                    <a:pt x="22922" y="322050"/>
                    <a:pt x="63739" y="281253"/>
                  </a:cubicBezTo>
                  <a:cubicBezTo>
                    <a:pt x="104499" y="240497"/>
                    <a:pt x="159755" y="217582"/>
                    <a:pt x="217374" y="217539"/>
                  </a:cubicBezTo>
                  <a:lnTo>
                    <a:pt x="0" y="217539"/>
                  </a:lnTo>
                  <a:cubicBezTo>
                    <a:pt x="0" y="159842"/>
                    <a:pt x="22922" y="104511"/>
                    <a:pt x="63739" y="63714"/>
                  </a:cubicBezTo>
                  <a:cubicBezTo>
                    <a:pt x="104527" y="22918"/>
                    <a:pt x="159863" y="0"/>
                    <a:pt x="217539" y="0"/>
                  </a:cubicBezTo>
                  <a:cubicBezTo>
                    <a:pt x="275239" y="0"/>
                    <a:pt x="330577" y="22918"/>
                    <a:pt x="371365" y="63714"/>
                  </a:cubicBezTo>
                  <a:close/>
                </a:path>
              </a:pathLst>
            </a:custGeom>
            <a:grpFill/>
            <a:ln w="27192" cap="flat">
              <a:noFill/>
              <a:prstDash val="solid"/>
              <a:miter/>
            </a:ln>
          </p:spPr>
          <p:txBody>
            <a:bodyPr rtlCol="0" anchor="ctr"/>
            <a:lstStyle/>
            <a:p>
              <a:endParaRPr lang="uk-UA" sz="900"/>
            </a:p>
          </p:txBody>
        </p:sp>
        <p:sp>
          <p:nvSpPr>
            <p:cNvPr id="602" name="Freeform: Shape 601">
              <a:extLst>
                <a:ext uri="{FF2B5EF4-FFF2-40B4-BE49-F238E27FC236}">
                  <a16:creationId xmlns:a16="http://schemas.microsoft.com/office/drawing/2014/main" id="{04D71500-512E-6906-E4E0-621BB5591572}"/>
                </a:ext>
              </a:extLst>
            </p:cNvPr>
            <p:cNvSpPr/>
            <p:nvPr/>
          </p:nvSpPr>
          <p:spPr>
            <a:xfrm>
              <a:off x="13017991" y="1968906"/>
              <a:ext cx="435077" cy="435077"/>
            </a:xfrm>
            <a:custGeom>
              <a:avLst/>
              <a:gdLst>
                <a:gd name="connsiteX0" fmla="*/ 217539 w 435077"/>
                <a:gd name="connsiteY0" fmla="*/ 217533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2 h 435077"/>
                <a:gd name="connsiteX7" fmla="*/ 435077 w 435077"/>
                <a:gd name="connsiteY7" fmla="*/ 217541 h 435077"/>
                <a:gd name="connsiteX8" fmla="*/ 435077 w 435077"/>
                <a:gd name="connsiteY8" fmla="*/ 217541 h 435077"/>
                <a:gd name="connsiteX9" fmla="*/ 435077 w 435077"/>
                <a:gd name="connsiteY9" fmla="*/ 217539 h 435077"/>
                <a:gd name="connsiteX10" fmla="*/ 435077 w 435077"/>
                <a:gd name="connsiteY10" fmla="*/ 217533 h 435077"/>
                <a:gd name="connsiteX11" fmla="*/ 435077 w 435077"/>
                <a:gd name="connsiteY11" fmla="*/ 217533 h 435077"/>
                <a:gd name="connsiteX12" fmla="*/ 217539 w 435077"/>
                <a:gd name="connsiteY12" fmla="*/ 5 h 435077"/>
                <a:gd name="connsiteX13" fmla="*/ 217539 w 435077"/>
                <a:gd name="connsiteY13" fmla="*/ 217533 h 435077"/>
                <a:gd name="connsiteX14" fmla="*/ 217539 w 435077"/>
                <a:gd name="connsiteY14" fmla="*/ 21753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3"/>
                  </a:moveTo>
                  <a:lnTo>
                    <a:pt x="217539" y="0"/>
                  </a:lnTo>
                  <a:lnTo>
                    <a:pt x="0" y="0"/>
                  </a:lnTo>
                  <a:lnTo>
                    <a:pt x="217539" y="217539"/>
                  </a:lnTo>
                  <a:lnTo>
                    <a:pt x="0" y="435077"/>
                  </a:lnTo>
                  <a:lnTo>
                    <a:pt x="217539" y="435077"/>
                  </a:lnTo>
                  <a:lnTo>
                    <a:pt x="217539" y="435072"/>
                  </a:lnTo>
                  <a:lnTo>
                    <a:pt x="435077" y="217541"/>
                  </a:lnTo>
                  <a:lnTo>
                    <a:pt x="435077" y="217541"/>
                  </a:lnTo>
                  <a:lnTo>
                    <a:pt x="435077" y="217539"/>
                  </a:lnTo>
                  <a:lnTo>
                    <a:pt x="435077" y="217533"/>
                  </a:lnTo>
                  <a:lnTo>
                    <a:pt x="435077" y="217533"/>
                  </a:lnTo>
                  <a:lnTo>
                    <a:pt x="217539" y="5"/>
                  </a:lnTo>
                  <a:lnTo>
                    <a:pt x="217539" y="217533"/>
                  </a:lnTo>
                  <a:lnTo>
                    <a:pt x="217539" y="217533"/>
                  </a:lnTo>
                  <a:close/>
                </a:path>
              </a:pathLst>
            </a:custGeom>
            <a:grpFill/>
            <a:ln w="27192" cap="flat">
              <a:noFill/>
              <a:prstDash val="solid"/>
              <a:miter/>
            </a:ln>
          </p:spPr>
          <p:txBody>
            <a:bodyPr rtlCol="0" anchor="ctr"/>
            <a:lstStyle/>
            <a:p>
              <a:endParaRPr lang="uk-UA" sz="900"/>
            </a:p>
          </p:txBody>
        </p:sp>
        <p:sp>
          <p:nvSpPr>
            <p:cNvPr id="603" name="Freeform: Shape 602">
              <a:extLst>
                <a:ext uri="{FF2B5EF4-FFF2-40B4-BE49-F238E27FC236}">
                  <a16:creationId xmlns:a16="http://schemas.microsoft.com/office/drawing/2014/main" id="{0E685AE3-8EA1-0871-3D35-F76D596FD186}"/>
                </a:ext>
              </a:extLst>
            </p:cNvPr>
            <p:cNvSpPr/>
            <p:nvPr/>
          </p:nvSpPr>
          <p:spPr>
            <a:xfrm>
              <a:off x="14758382" y="1968909"/>
              <a:ext cx="435077" cy="435077"/>
            </a:xfrm>
            <a:custGeom>
              <a:avLst/>
              <a:gdLst>
                <a:gd name="connsiteX0" fmla="*/ 217539 w 435077"/>
                <a:gd name="connsiteY0" fmla="*/ 0 h 435077"/>
                <a:gd name="connsiteX1" fmla="*/ 217539 w 435077"/>
                <a:gd name="connsiteY1" fmla="*/ 0 h 435077"/>
                <a:gd name="connsiteX2" fmla="*/ 0 w 435077"/>
                <a:gd name="connsiteY2" fmla="*/ 0 h 435077"/>
                <a:gd name="connsiteX3" fmla="*/ 0 w 435077"/>
                <a:gd name="connsiteY3" fmla="*/ 217539 h 435077"/>
                <a:gd name="connsiteX4" fmla="*/ 217539 w 435077"/>
                <a:gd name="connsiteY4" fmla="*/ 5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217539" y="0"/>
                  </a:lnTo>
                  <a:lnTo>
                    <a:pt x="0" y="0"/>
                  </a:lnTo>
                  <a:lnTo>
                    <a:pt x="0" y="217539"/>
                  </a:lnTo>
                  <a:lnTo>
                    <a:pt x="217539" y="5"/>
                  </a:lnTo>
                  <a:lnTo>
                    <a:pt x="435077" y="217539"/>
                  </a:lnTo>
                  <a:lnTo>
                    <a:pt x="217539" y="435077"/>
                  </a:lnTo>
                  <a:lnTo>
                    <a:pt x="0" y="217539"/>
                  </a:lnTo>
                  <a:lnTo>
                    <a:pt x="0" y="435077"/>
                  </a:lnTo>
                  <a:lnTo>
                    <a:pt x="217539" y="435077"/>
                  </a:lnTo>
                  <a:lnTo>
                    <a:pt x="435077" y="435077"/>
                  </a:lnTo>
                  <a:lnTo>
                    <a:pt x="435077" y="217539"/>
                  </a:lnTo>
                  <a:lnTo>
                    <a:pt x="435077" y="0"/>
                  </a:lnTo>
                  <a:lnTo>
                    <a:pt x="217539" y="0"/>
                  </a:lnTo>
                  <a:close/>
                </a:path>
              </a:pathLst>
            </a:custGeom>
            <a:grpFill/>
            <a:ln w="27192" cap="flat">
              <a:noFill/>
              <a:prstDash val="solid"/>
              <a:miter/>
            </a:ln>
          </p:spPr>
          <p:txBody>
            <a:bodyPr rtlCol="0" anchor="ctr"/>
            <a:lstStyle/>
            <a:p>
              <a:endParaRPr lang="uk-UA" sz="900"/>
            </a:p>
          </p:txBody>
        </p:sp>
        <p:sp>
          <p:nvSpPr>
            <p:cNvPr id="604" name="Freeform: Shape 603">
              <a:extLst>
                <a:ext uri="{FF2B5EF4-FFF2-40B4-BE49-F238E27FC236}">
                  <a16:creationId xmlns:a16="http://schemas.microsoft.com/office/drawing/2014/main" id="{F223A14F-61E4-86C3-EC91-6873468AFE5B}"/>
                </a:ext>
              </a:extLst>
            </p:cNvPr>
            <p:cNvSpPr/>
            <p:nvPr/>
          </p:nvSpPr>
          <p:spPr>
            <a:xfrm>
              <a:off x="13888200" y="1968909"/>
              <a:ext cx="435077" cy="435077"/>
            </a:xfrm>
            <a:custGeom>
              <a:avLst/>
              <a:gdLst>
                <a:gd name="connsiteX0" fmla="*/ 0 w 435077"/>
                <a:gd name="connsiteY0" fmla="*/ 435077 h 435077"/>
                <a:gd name="connsiteX1" fmla="*/ 217539 w 435077"/>
                <a:gd name="connsiteY1" fmla="*/ 435077 h 435077"/>
                <a:gd name="connsiteX2" fmla="*/ 217539 w 435077"/>
                <a:gd name="connsiteY2" fmla="*/ 217547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28 h 435077"/>
                <a:gd name="connsiteX7" fmla="*/ 217539 w 435077"/>
                <a:gd name="connsiteY7" fmla="*/ 0 h 435077"/>
                <a:gd name="connsiteX8" fmla="*/ 435077 w 435077"/>
                <a:gd name="connsiteY8" fmla="*/ 435077 h 435077"/>
                <a:gd name="connsiteX9" fmla="*/ 217565 w 435077"/>
                <a:gd name="connsiteY9" fmla="*/ 435077 h 435077"/>
                <a:gd name="connsiteX10" fmla="*/ 435077 w 435077"/>
                <a:gd name="connsiteY10" fmla="*/ 217547 h 435077"/>
                <a:gd name="connsiteX11" fmla="*/ 435077 w 435077"/>
                <a:gd name="connsiteY11" fmla="*/ 435077 h 435077"/>
                <a:gd name="connsiteX12" fmla="*/ 435077 w 435077"/>
                <a:gd name="connsiteY12" fmla="*/ 3 h 435077"/>
                <a:gd name="connsiteX13" fmla="*/ 217565 w 435077"/>
                <a:gd name="connsiteY13" fmla="*/ 3 h 435077"/>
                <a:gd name="connsiteX14" fmla="*/ 435077 w 435077"/>
                <a:gd name="connsiteY14" fmla="*/ 217531 h 435077"/>
                <a:gd name="connsiteX15" fmla="*/ 435077 w 435077"/>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47"/>
                  </a:lnTo>
                  <a:lnTo>
                    <a:pt x="0" y="435077"/>
                  </a:lnTo>
                  <a:close/>
                  <a:moveTo>
                    <a:pt x="217539" y="0"/>
                  </a:moveTo>
                  <a:lnTo>
                    <a:pt x="0" y="0"/>
                  </a:lnTo>
                  <a:lnTo>
                    <a:pt x="217539" y="217528"/>
                  </a:lnTo>
                  <a:lnTo>
                    <a:pt x="217539" y="0"/>
                  </a:lnTo>
                  <a:close/>
                  <a:moveTo>
                    <a:pt x="435077" y="435077"/>
                  </a:moveTo>
                  <a:lnTo>
                    <a:pt x="217565" y="435077"/>
                  </a:lnTo>
                  <a:lnTo>
                    <a:pt x="435077" y="217547"/>
                  </a:lnTo>
                  <a:lnTo>
                    <a:pt x="435077" y="435077"/>
                  </a:lnTo>
                  <a:close/>
                  <a:moveTo>
                    <a:pt x="435077" y="3"/>
                  </a:moveTo>
                  <a:lnTo>
                    <a:pt x="217565" y="3"/>
                  </a:lnTo>
                  <a:lnTo>
                    <a:pt x="435077" y="217531"/>
                  </a:lnTo>
                  <a:lnTo>
                    <a:pt x="435077" y="3"/>
                  </a:lnTo>
                  <a:close/>
                </a:path>
              </a:pathLst>
            </a:custGeom>
            <a:grpFill/>
            <a:ln w="27192" cap="flat">
              <a:noFill/>
              <a:prstDash val="solid"/>
              <a:miter/>
            </a:ln>
          </p:spPr>
          <p:txBody>
            <a:bodyPr rtlCol="0" anchor="ctr"/>
            <a:lstStyle/>
            <a:p>
              <a:endParaRPr lang="uk-UA" sz="900"/>
            </a:p>
          </p:txBody>
        </p:sp>
        <p:sp>
          <p:nvSpPr>
            <p:cNvPr id="605" name="Freeform: Shape 604">
              <a:extLst>
                <a:ext uri="{FF2B5EF4-FFF2-40B4-BE49-F238E27FC236}">
                  <a16:creationId xmlns:a16="http://schemas.microsoft.com/office/drawing/2014/main" id="{6505BD05-6C2B-A528-E8F8-224DA1BB06C9}"/>
                </a:ext>
              </a:extLst>
            </p:cNvPr>
            <p:cNvSpPr/>
            <p:nvPr/>
          </p:nvSpPr>
          <p:spPr>
            <a:xfrm>
              <a:off x="15628536" y="1968909"/>
              <a:ext cx="435077" cy="435077"/>
            </a:xfrm>
            <a:custGeom>
              <a:avLst/>
              <a:gdLst>
                <a:gd name="connsiteX0" fmla="*/ 371367 w 435077"/>
                <a:gd name="connsiteY0" fmla="*/ 63714 h 435077"/>
                <a:gd name="connsiteX1" fmla="*/ 435077 w 435077"/>
                <a:gd name="connsiteY1" fmla="*/ 217539 h 435077"/>
                <a:gd name="connsiteX2" fmla="*/ 217730 w 435077"/>
                <a:gd name="connsiteY2" fmla="*/ 217539 h 435077"/>
                <a:gd name="connsiteX3" fmla="*/ 371367 w 435077"/>
                <a:gd name="connsiteY3" fmla="*/ 281253 h 435077"/>
                <a:gd name="connsiteX4" fmla="*/ 435077 w 435077"/>
                <a:gd name="connsiteY4" fmla="*/ 435077 h 435077"/>
                <a:gd name="connsiteX5" fmla="*/ 217539 w 435077"/>
                <a:gd name="connsiteY5" fmla="*/ 435077 h 435077"/>
                <a:gd name="connsiteX6" fmla="*/ 0 w 435077"/>
                <a:gd name="connsiteY6" fmla="*/ 435077 h 435077"/>
                <a:gd name="connsiteX7" fmla="*/ 63739 w 435077"/>
                <a:gd name="connsiteY7" fmla="*/ 281253 h 435077"/>
                <a:gd name="connsiteX8" fmla="*/ 217376 w 435077"/>
                <a:gd name="connsiteY8" fmla="*/ 217539 h 435077"/>
                <a:gd name="connsiteX9" fmla="*/ 0 w 435077"/>
                <a:gd name="connsiteY9" fmla="*/ 217539 h 435077"/>
                <a:gd name="connsiteX10" fmla="*/ 63712 w 435077"/>
                <a:gd name="connsiteY10" fmla="*/ 63714 h 435077"/>
                <a:gd name="connsiteX11" fmla="*/ 217539 w 435077"/>
                <a:gd name="connsiteY11" fmla="*/ 0 h 435077"/>
                <a:gd name="connsiteX12" fmla="*/ 371367 w 435077"/>
                <a:gd name="connsiteY12" fmla="*/ 63714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7" y="63714"/>
                  </a:moveTo>
                  <a:cubicBezTo>
                    <a:pt x="412155" y="104511"/>
                    <a:pt x="435077" y="159842"/>
                    <a:pt x="435077" y="217539"/>
                  </a:cubicBezTo>
                  <a:lnTo>
                    <a:pt x="217730" y="217539"/>
                  </a:lnTo>
                  <a:cubicBezTo>
                    <a:pt x="275351" y="217582"/>
                    <a:pt x="330605" y="240497"/>
                    <a:pt x="371367" y="281253"/>
                  </a:cubicBezTo>
                  <a:cubicBezTo>
                    <a:pt x="412182" y="322050"/>
                    <a:pt x="435077" y="377381"/>
                    <a:pt x="435077" y="435077"/>
                  </a:cubicBezTo>
                  <a:lnTo>
                    <a:pt x="217539" y="435077"/>
                  </a:lnTo>
                  <a:lnTo>
                    <a:pt x="0" y="435077"/>
                  </a:lnTo>
                  <a:cubicBezTo>
                    <a:pt x="0" y="377381"/>
                    <a:pt x="22924" y="322050"/>
                    <a:pt x="63739" y="281253"/>
                  </a:cubicBezTo>
                  <a:cubicBezTo>
                    <a:pt x="104474" y="240497"/>
                    <a:pt x="159755" y="217582"/>
                    <a:pt x="217376" y="217539"/>
                  </a:cubicBezTo>
                  <a:lnTo>
                    <a:pt x="0" y="217539"/>
                  </a:lnTo>
                  <a:cubicBezTo>
                    <a:pt x="0" y="159842"/>
                    <a:pt x="22924" y="104511"/>
                    <a:pt x="63712" y="63714"/>
                  </a:cubicBezTo>
                  <a:cubicBezTo>
                    <a:pt x="104527" y="22918"/>
                    <a:pt x="159865" y="0"/>
                    <a:pt x="217539" y="0"/>
                  </a:cubicBezTo>
                  <a:cubicBezTo>
                    <a:pt x="275241" y="0"/>
                    <a:pt x="330578" y="22918"/>
                    <a:pt x="371367" y="63714"/>
                  </a:cubicBezTo>
                  <a:close/>
                </a:path>
              </a:pathLst>
            </a:custGeom>
            <a:grpFill/>
            <a:ln w="27192" cap="flat">
              <a:noFill/>
              <a:prstDash val="solid"/>
              <a:miter/>
            </a:ln>
          </p:spPr>
          <p:txBody>
            <a:bodyPr rtlCol="0" anchor="ctr"/>
            <a:lstStyle/>
            <a:p>
              <a:endParaRPr lang="uk-UA" sz="900"/>
            </a:p>
          </p:txBody>
        </p:sp>
        <p:sp>
          <p:nvSpPr>
            <p:cNvPr id="606" name="Freeform: Shape 605">
              <a:extLst>
                <a:ext uri="{FF2B5EF4-FFF2-40B4-BE49-F238E27FC236}">
                  <a16:creationId xmlns:a16="http://schemas.microsoft.com/office/drawing/2014/main" id="{7CD4DF6B-2DFE-680E-E8F4-F177EB7D72F7}"/>
                </a:ext>
              </a:extLst>
            </p:cNvPr>
            <p:cNvSpPr/>
            <p:nvPr/>
          </p:nvSpPr>
          <p:spPr>
            <a:xfrm>
              <a:off x="16498719" y="1968909"/>
              <a:ext cx="435077" cy="435074"/>
            </a:xfrm>
            <a:custGeom>
              <a:avLst/>
              <a:gdLst>
                <a:gd name="connsiteX0" fmla="*/ 217539 w 435077"/>
                <a:gd name="connsiteY0" fmla="*/ 217533 h 435074"/>
                <a:gd name="connsiteX1" fmla="*/ 217539 w 435077"/>
                <a:gd name="connsiteY1" fmla="*/ 0 h 435074"/>
                <a:gd name="connsiteX2" fmla="*/ 0 w 435077"/>
                <a:gd name="connsiteY2" fmla="*/ 0 h 435074"/>
                <a:gd name="connsiteX3" fmla="*/ 217539 w 435077"/>
                <a:gd name="connsiteY3" fmla="*/ 217539 h 435074"/>
                <a:gd name="connsiteX4" fmla="*/ 0 w 435077"/>
                <a:gd name="connsiteY4" fmla="*/ 435075 h 435074"/>
                <a:gd name="connsiteX5" fmla="*/ 217539 w 435077"/>
                <a:gd name="connsiteY5" fmla="*/ 435075 h 435074"/>
                <a:gd name="connsiteX6" fmla="*/ 217539 w 435077"/>
                <a:gd name="connsiteY6" fmla="*/ 435072 h 435074"/>
                <a:gd name="connsiteX7" fmla="*/ 435049 w 435077"/>
                <a:gd name="connsiteY7" fmla="*/ 217541 h 435074"/>
                <a:gd name="connsiteX8" fmla="*/ 435077 w 435077"/>
                <a:gd name="connsiteY8" fmla="*/ 217541 h 435074"/>
                <a:gd name="connsiteX9" fmla="*/ 435049 w 435077"/>
                <a:gd name="connsiteY9" fmla="*/ 217536 h 435074"/>
                <a:gd name="connsiteX10" fmla="*/ 435077 w 435077"/>
                <a:gd name="connsiteY10" fmla="*/ 217533 h 435074"/>
                <a:gd name="connsiteX11" fmla="*/ 435049 w 435077"/>
                <a:gd name="connsiteY11" fmla="*/ 217533 h 435074"/>
                <a:gd name="connsiteX12" fmla="*/ 217539 w 435077"/>
                <a:gd name="connsiteY12" fmla="*/ 3 h 435074"/>
                <a:gd name="connsiteX13" fmla="*/ 217539 w 435077"/>
                <a:gd name="connsiteY13" fmla="*/ 217533 h 435074"/>
                <a:gd name="connsiteX14" fmla="*/ 217539 w 435077"/>
                <a:gd name="connsiteY14" fmla="*/ 217533 h 43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4">
                  <a:moveTo>
                    <a:pt x="217539" y="217533"/>
                  </a:moveTo>
                  <a:lnTo>
                    <a:pt x="217539" y="0"/>
                  </a:lnTo>
                  <a:lnTo>
                    <a:pt x="0" y="0"/>
                  </a:lnTo>
                  <a:lnTo>
                    <a:pt x="217539" y="217539"/>
                  </a:lnTo>
                  <a:lnTo>
                    <a:pt x="0" y="435075"/>
                  </a:lnTo>
                  <a:lnTo>
                    <a:pt x="217539" y="435075"/>
                  </a:lnTo>
                  <a:lnTo>
                    <a:pt x="217539" y="435072"/>
                  </a:lnTo>
                  <a:lnTo>
                    <a:pt x="435049" y="217541"/>
                  </a:lnTo>
                  <a:lnTo>
                    <a:pt x="435077" y="217541"/>
                  </a:lnTo>
                  <a:lnTo>
                    <a:pt x="435049" y="217536"/>
                  </a:lnTo>
                  <a:lnTo>
                    <a:pt x="435077" y="217533"/>
                  </a:lnTo>
                  <a:lnTo>
                    <a:pt x="435049" y="217533"/>
                  </a:lnTo>
                  <a:lnTo>
                    <a:pt x="217539" y="3"/>
                  </a:lnTo>
                  <a:lnTo>
                    <a:pt x="217539" y="217533"/>
                  </a:lnTo>
                  <a:lnTo>
                    <a:pt x="217539" y="217533"/>
                  </a:lnTo>
                  <a:close/>
                </a:path>
              </a:pathLst>
            </a:custGeom>
            <a:grpFill/>
            <a:ln w="27192" cap="flat">
              <a:noFill/>
              <a:prstDash val="solid"/>
              <a:miter/>
            </a:ln>
          </p:spPr>
          <p:txBody>
            <a:bodyPr rtlCol="0" anchor="ctr"/>
            <a:lstStyle/>
            <a:p>
              <a:endParaRPr lang="uk-UA" sz="900"/>
            </a:p>
          </p:txBody>
        </p:sp>
        <p:sp>
          <p:nvSpPr>
            <p:cNvPr id="607" name="Freeform: Shape 606">
              <a:extLst>
                <a:ext uri="{FF2B5EF4-FFF2-40B4-BE49-F238E27FC236}">
                  <a16:creationId xmlns:a16="http://schemas.microsoft.com/office/drawing/2014/main" id="{625D50B8-E16B-C433-5C7E-16F02E036582}"/>
                </a:ext>
              </a:extLst>
            </p:cNvPr>
            <p:cNvSpPr/>
            <p:nvPr/>
          </p:nvSpPr>
          <p:spPr>
            <a:xfrm>
              <a:off x="18239029" y="196890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608" name="Freeform: Shape 607">
              <a:extLst>
                <a:ext uri="{FF2B5EF4-FFF2-40B4-BE49-F238E27FC236}">
                  <a16:creationId xmlns:a16="http://schemas.microsoft.com/office/drawing/2014/main" id="{1434A9D8-25A0-DFD0-9CCC-3BD4884555EC}"/>
                </a:ext>
              </a:extLst>
            </p:cNvPr>
            <p:cNvSpPr/>
            <p:nvPr/>
          </p:nvSpPr>
          <p:spPr>
            <a:xfrm>
              <a:off x="17368874" y="1968909"/>
              <a:ext cx="435077" cy="435077"/>
            </a:xfrm>
            <a:custGeom>
              <a:avLst/>
              <a:gdLst>
                <a:gd name="connsiteX0" fmla="*/ 0 w 435077"/>
                <a:gd name="connsiteY0" fmla="*/ 435077 h 435077"/>
                <a:gd name="connsiteX1" fmla="*/ 217539 w 435077"/>
                <a:gd name="connsiteY1" fmla="*/ 435077 h 435077"/>
                <a:gd name="connsiteX2" fmla="*/ 217539 w 435077"/>
                <a:gd name="connsiteY2" fmla="*/ 217547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28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47 h 435077"/>
                <a:gd name="connsiteX11" fmla="*/ 435077 w 435077"/>
                <a:gd name="connsiteY11" fmla="*/ 435077 h 435077"/>
                <a:gd name="connsiteX12" fmla="*/ 435077 w 435077"/>
                <a:gd name="connsiteY12" fmla="*/ 3 h 435077"/>
                <a:gd name="connsiteX13" fmla="*/ 217539 w 435077"/>
                <a:gd name="connsiteY13" fmla="*/ 3 h 435077"/>
                <a:gd name="connsiteX14" fmla="*/ 435077 w 435077"/>
                <a:gd name="connsiteY14" fmla="*/ 217531 h 435077"/>
                <a:gd name="connsiteX15" fmla="*/ 435077 w 435077"/>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47"/>
                  </a:lnTo>
                  <a:lnTo>
                    <a:pt x="0" y="435077"/>
                  </a:lnTo>
                  <a:close/>
                  <a:moveTo>
                    <a:pt x="217539" y="0"/>
                  </a:moveTo>
                  <a:lnTo>
                    <a:pt x="0" y="0"/>
                  </a:lnTo>
                  <a:lnTo>
                    <a:pt x="217539" y="217528"/>
                  </a:lnTo>
                  <a:lnTo>
                    <a:pt x="217539" y="0"/>
                  </a:lnTo>
                  <a:close/>
                  <a:moveTo>
                    <a:pt x="435077" y="435077"/>
                  </a:moveTo>
                  <a:lnTo>
                    <a:pt x="217539" y="435077"/>
                  </a:lnTo>
                  <a:lnTo>
                    <a:pt x="435077" y="217547"/>
                  </a:lnTo>
                  <a:lnTo>
                    <a:pt x="435077" y="435077"/>
                  </a:lnTo>
                  <a:close/>
                  <a:moveTo>
                    <a:pt x="435077" y="3"/>
                  </a:moveTo>
                  <a:lnTo>
                    <a:pt x="217539" y="3"/>
                  </a:lnTo>
                  <a:lnTo>
                    <a:pt x="435077" y="217531"/>
                  </a:lnTo>
                  <a:lnTo>
                    <a:pt x="435077" y="3"/>
                  </a:lnTo>
                  <a:close/>
                </a:path>
              </a:pathLst>
            </a:custGeom>
            <a:grpFill/>
            <a:ln w="27192" cap="flat">
              <a:noFill/>
              <a:prstDash val="solid"/>
              <a:miter/>
            </a:ln>
          </p:spPr>
          <p:txBody>
            <a:bodyPr rtlCol="0" anchor="ctr"/>
            <a:lstStyle/>
            <a:p>
              <a:endParaRPr lang="uk-UA" sz="900"/>
            </a:p>
          </p:txBody>
        </p:sp>
        <p:sp>
          <p:nvSpPr>
            <p:cNvPr id="609" name="Freeform: Shape 608">
              <a:extLst>
                <a:ext uri="{FF2B5EF4-FFF2-40B4-BE49-F238E27FC236}">
                  <a16:creationId xmlns:a16="http://schemas.microsoft.com/office/drawing/2014/main" id="{2F6A0501-8128-7857-B699-7AD83340FD31}"/>
                </a:ext>
              </a:extLst>
            </p:cNvPr>
            <p:cNvSpPr/>
            <p:nvPr/>
          </p:nvSpPr>
          <p:spPr>
            <a:xfrm>
              <a:off x="19109210" y="1968909"/>
              <a:ext cx="435077" cy="435077"/>
            </a:xfrm>
            <a:custGeom>
              <a:avLst/>
              <a:gdLst>
                <a:gd name="connsiteX0" fmla="*/ 371339 w 435077"/>
                <a:gd name="connsiteY0" fmla="*/ 63714 h 435077"/>
                <a:gd name="connsiteX1" fmla="*/ 435077 w 435077"/>
                <a:gd name="connsiteY1" fmla="*/ 217539 h 435077"/>
                <a:gd name="connsiteX2" fmla="*/ 217701 w 435077"/>
                <a:gd name="connsiteY2" fmla="*/ 217539 h 435077"/>
                <a:gd name="connsiteX3" fmla="*/ 371365 w 435077"/>
                <a:gd name="connsiteY3" fmla="*/ 281253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3 h 435077"/>
                <a:gd name="connsiteX8" fmla="*/ 217376 w 435077"/>
                <a:gd name="connsiteY8" fmla="*/ 217539 h 435077"/>
                <a:gd name="connsiteX9" fmla="*/ 0 w 435077"/>
                <a:gd name="connsiteY9" fmla="*/ 217539 h 435077"/>
                <a:gd name="connsiteX10" fmla="*/ 63712 w 435077"/>
                <a:gd name="connsiteY10" fmla="*/ 63714 h 435077"/>
                <a:gd name="connsiteX11" fmla="*/ 217539 w 435077"/>
                <a:gd name="connsiteY11" fmla="*/ 0 h 435077"/>
                <a:gd name="connsiteX12" fmla="*/ 371339 w 435077"/>
                <a:gd name="connsiteY12" fmla="*/ 63714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14"/>
                  </a:moveTo>
                  <a:cubicBezTo>
                    <a:pt x="412154" y="104511"/>
                    <a:pt x="435077" y="159842"/>
                    <a:pt x="435077" y="217539"/>
                  </a:cubicBezTo>
                  <a:lnTo>
                    <a:pt x="217701" y="217539"/>
                  </a:lnTo>
                  <a:cubicBezTo>
                    <a:pt x="275322" y="217582"/>
                    <a:pt x="330605" y="240497"/>
                    <a:pt x="371365" y="281253"/>
                  </a:cubicBezTo>
                  <a:cubicBezTo>
                    <a:pt x="412154" y="322050"/>
                    <a:pt x="435077" y="377381"/>
                    <a:pt x="435077" y="435077"/>
                  </a:cubicBezTo>
                  <a:lnTo>
                    <a:pt x="217539" y="435077"/>
                  </a:lnTo>
                  <a:lnTo>
                    <a:pt x="0" y="435077"/>
                  </a:lnTo>
                  <a:cubicBezTo>
                    <a:pt x="0" y="377381"/>
                    <a:pt x="22924" y="322050"/>
                    <a:pt x="63712" y="281253"/>
                  </a:cubicBezTo>
                  <a:cubicBezTo>
                    <a:pt x="104472" y="240497"/>
                    <a:pt x="159728" y="217582"/>
                    <a:pt x="217376" y="217539"/>
                  </a:cubicBezTo>
                  <a:lnTo>
                    <a:pt x="0" y="217539"/>
                  </a:lnTo>
                  <a:cubicBezTo>
                    <a:pt x="0" y="159842"/>
                    <a:pt x="22895" y="104511"/>
                    <a:pt x="63712" y="63714"/>
                  </a:cubicBezTo>
                  <a:cubicBezTo>
                    <a:pt x="104501" y="22918"/>
                    <a:pt x="159836" y="0"/>
                    <a:pt x="217539" y="0"/>
                  </a:cubicBezTo>
                  <a:cubicBezTo>
                    <a:pt x="275215" y="0"/>
                    <a:pt x="330550" y="22918"/>
                    <a:pt x="371339" y="63714"/>
                  </a:cubicBezTo>
                  <a:close/>
                </a:path>
              </a:pathLst>
            </a:custGeom>
            <a:grpFill/>
            <a:ln w="27192" cap="flat">
              <a:noFill/>
              <a:prstDash val="solid"/>
              <a:miter/>
            </a:ln>
          </p:spPr>
          <p:txBody>
            <a:bodyPr rtlCol="0" anchor="ctr"/>
            <a:lstStyle/>
            <a:p>
              <a:endParaRPr lang="uk-UA" sz="900"/>
            </a:p>
          </p:txBody>
        </p:sp>
        <p:sp>
          <p:nvSpPr>
            <p:cNvPr id="610" name="Freeform: Shape 609">
              <a:extLst>
                <a:ext uri="{FF2B5EF4-FFF2-40B4-BE49-F238E27FC236}">
                  <a16:creationId xmlns:a16="http://schemas.microsoft.com/office/drawing/2014/main" id="{61975D37-335A-A1F0-5E1C-3424F4C54DD5}"/>
                </a:ext>
              </a:extLst>
            </p:cNvPr>
            <p:cNvSpPr/>
            <p:nvPr/>
          </p:nvSpPr>
          <p:spPr>
            <a:xfrm>
              <a:off x="19979365" y="1968909"/>
              <a:ext cx="435077" cy="435074"/>
            </a:xfrm>
            <a:custGeom>
              <a:avLst/>
              <a:gdLst>
                <a:gd name="connsiteX0" fmla="*/ 217539 w 435077"/>
                <a:gd name="connsiteY0" fmla="*/ 217533 h 435074"/>
                <a:gd name="connsiteX1" fmla="*/ 217539 w 435077"/>
                <a:gd name="connsiteY1" fmla="*/ 0 h 435074"/>
                <a:gd name="connsiteX2" fmla="*/ 0 w 435077"/>
                <a:gd name="connsiteY2" fmla="*/ 0 h 435074"/>
                <a:gd name="connsiteX3" fmla="*/ 217539 w 435077"/>
                <a:gd name="connsiteY3" fmla="*/ 217539 h 435074"/>
                <a:gd name="connsiteX4" fmla="*/ 0 w 435077"/>
                <a:gd name="connsiteY4" fmla="*/ 435075 h 435074"/>
                <a:gd name="connsiteX5" fmla="*/ 217539 w 435077"/>
                <a:gd name="connsiteY5" fmla="*/ 435075 h 435074"/>
                <a:gd name="connsiteX6" fmla="*/ 217539 w 435077"/>
                <a:gd name="connsiteY6" fmla="*/ 435072 h 435074"/>
                <a:gd name="connsiteX7" fmla="*/ 435051 w 435077"/>
                <a:gd name="connsiteY7" fmla="*/ 217541 h 435074"/>
                <a:gd name="connsiteX8" fmla="*/ 435077 w 435077"/>
                <a:gd name="connsiteY8" fmla="*/ 217541 h 435074"/>
                <a:gd name="connsiteX9" fmla="*/ 435077 w 435077"/>
                <a:gd name="connsiteY9" fmla="*/ 217536 h 435074"/>
                <a:gd name="connsiteX10" fmla="*/ 435077 w 435077"/>
                <a:gd name="connsiteY10" fmla="*/ 217533 h 435074"/>
                <a:gd name="connsiteX11" fmla="*/ 435077 w 435077"/>
                <a:gd name="connsiteY11" fmla="*/ 217533 h 435074"/>
                <a:gd name="connsiteX12" fmla="*/ 217539 w 435077"/>
                <a:gd name="connsiteY12" fmla="*/ 3 h 435074"/>
                <a:gd name="connsiteX13" fmla="*/ 217539 w 435077"/>
                <a:gd name="connsiteY13" fmla="*/ 217533 h 435074"/>
                <a:gd name="connsiteX14" fmla="*/ 217539 w 435077"/>
                <a:gd name="connsiteY14" fmla="*/ 217533 h 43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4">
                  <a:moveTo>
                    <a:pt x="217539" y="217533"/>
                  </a:moveTo>
                  <a:lnTo>
                    <a:pt x="217539" y="0"/>
                  </a:lnTo>
                  <a:lnTo>
                    <a:pt x="0" y="0"/>
                  </a:lnTo>
                  <a:lnTo>
                    <a:pt x="217539" y="217539"/>
                  </a:lnTo>
                  <a:lnTo>
                    <a:pt x="0" y="435075"/>
                  </a:lnTo>
                  <a:lnTo>
                    <a:pt x="217539" y="435075"/>
                  </a:lnTo>
                  <a:lnTo>
                    <a:pt x="217539" y="435072"/>
                  </a:lnTo>
                  <a:lnTo>
                    <a:pt x="435051" y="217541"/>
                  </a:lnTo>
                  <a:lnTo>
                    <a:pt x="435077" y="217541"/>
                  </a:lnTo>
                  <a:lnTo>
                    <a:pt x="435077" y="217536"/>
                  </a:lnTo>
                  <a:lnTo>
                    <a:pt x="435077" y="217533"/>
                  </a:lnTo>
                  <a:lnTo>
                    <a:pt x="435077" y="217533"/>
                  </a:lnTo>
                  <a:lnTo>
                    <a:pt x="217539" y="3"/>
                  </a:lnTo>
                  <a:lnTo>
                    <a:pt x="217539" y="217533"/>
                  </a:lnTo>
                  <a:lnTo>
                    <a:pt x="217539" y="217533"/>
                  </a:lnTo>
                  <a:close/>
                </a:path>
              </a:pathLst>
            </a:custGeom>
            <a:grpFill/>
            <a:ln w="27192" cap="flat">
              <a:noFill/>
              <a:prstDash val="solid"/>
              <a:miter/>
            </a:ln>
          </p:spPr>
          <p:txBody>
            <a:bodyPr rtlCol="0" anchor="ctr"/>
            <a:lstStyle/>
            <a:p>
              <a:endParaRPr lang="uk-UA" sz="900"/>
            </a:p>
          </p:txBody>
        </p:sp>
        <p:sp>
          <p:nvSpPr>
            <p:cNvPr id="611" name="Freeform: Shape 610">
              <a:extLst>
                <a:ext uri="{FF2B5EF4-FFF2-40B4-BE49-F238E27FC236}">
                  <a16:creationId xmlns:a16="http://schemas.microsoft.com/office/drawing/2014/main" id="{ECC02CFD-5C5A-2CEF-2B65-811AD956E681}"/>
                </a:ext>
              </a:extLst>
            </p:cNvPr>
            <p:cNvSpPr/>
            <p:nvPr/>
          </p:nvSpPr>
          <p:spPr>
            <a:xfrm>
              <a:off x="21719702" y="196890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612" name="Freeform: Shape 611">
              <a:extLst>
                <a:ext uri="{FF2B5EF4-FFF2-40B4-BE49-F238E27FC236}">
                  <a16:creationId xmlns:a16="http://schemas.microsoft.com/office/drawing/2014/main" id="{574060E0-0A70-E6CE-22D1-A5644875EE3D}"/>
                </a:ext>
              </a:extLst>
            </p:cNvPr>
            <p:cNvSpPr/>
            <p:nvPr/>
          </p:nvSpPr>
          <p:spPr>
            <a:xfrm>
              <a:off x="20849520" y="1968909"/>
              <a:ext cx="435077" cy="435077"/>
            </a:xfrm>
            <a:custGeom>
              <a:avLst/>
              <a:gdLst>
                <a:gd name="connsiteX0" fmla="*/ 0 w 435077"/>
                <a:gd name="connsiteY0" fmla="*/ 435077 h 435077"/>
                <a:gd name="connsiteX1" fmla="*/ 217539 w 435077"/>
                <a:gd name="connsiteY1" fmla="*/ 435077 h 435077"/>
                <a:gd name="connsiteX2" fmla="*/ 217539 w 435077"/>
                <a:gd name="connsiteY2" fmla="*/ 217547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28 h 435077"/>
                <a:gd name="connsiteX7" fmla="*/ 217539 w 435077"/>
                <a:gd name="connsiteY7" fmla="*/ 0 h 435077"/>
                <a:gd name="connsiteX8" fmla="*/ 435077 w 435077"/>
                <a:gd name="connsiteY8" fmla="*/ 435077 h 435077"/>
                <a:gd name="connsiteX9" fmla="*/ 217565 w 435077"/>
                <a:gd name="connsiteY9" fmla="*/ 435077 h 435077"/>
                <a:gd name="connsiteX10" fmla="*/ 435077 w 435077"/>
                <a:gd name="connsiteY10" fmla="*/ 217547 h 435077"/>
                <a:gd name="connsiteX11" fmla="*/ 435077 w 435077"/>
                <a:gd name="connsiteY11" fmla="*/ 435077 h 435077"/>
                <a:gd name="connsiteX12" fmla="*/ 435077 w 435077"/>
                <a:gd name="connsiteY12" fmla="*/ 3 h 435077"/>
                <a:gd name="connsiteX13" fmla="*/ 217565 w 435077"/>
                <a:gd name="connsiteY13" fmla="*/ 3 h 435077"/>
                <a:gd name="connsiteX14" fmla="*/ 435077 w 435077"/>
                <a:gd name="connsiteY14" fmla="*/ 217531 h 435077"/>
                <a:gd name="connsiteX15" fmla="*/ 435077 w 435077"/>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47"/>
                  </a:lnTo>
                  <a:lnTo>
                    <a:pt x="0" y="435077"/>
                  </a:lnTo>
                  <a:close/>
                  <a:moveTo>
                    <a:pt x="217539" y="0"/>
                  </a:moveTo>
                  <a:lnTo>
                    <a:pt x="0" y="0"/>
                  </a:lnTo>
                  <a:lnTo>
                    <a:pt x="217539" y="217528"/>
                  </a:lnTo>
                  <a:lnTo>
                    <a:pt x="217539" y="0"/>
                  </a:lnTo>
                  <a:close/>
                  <a:moveTo>
                    <a:pt x="435077" y="435077"/>
                  </a:moveTo>
                  <a:lnTo>
                    <a:pt x="217565" y="435077"/>
                  </a:lnTo>
                  <a:lnTo>
                    <a:pt x="435077" y="217547"/>
                  </a:lnTo>
                  <a:lnTo>
                    <a:pt x="435077" y="435077"/>
                  </a:lnTo>
                  <a:close/>
                  <a:moveTo>
                    <a:pt x="435077" y="3"/>
                  </a:moveTo>
                  <a:lnTo>
                    <a:pt x="217565" y="3"/>
                  </a:lnTo>
                  <a:lnTo>
                    <a:pt x="435077" y="217531"/>
                  </a:lnTo>
                  <a:lnTo>
                    <a:pt x="435077" y="3"/>
                  </a:lnTo>
                  <a:close/>
                </a:path>
              </a:pathLst>
            </a:custGeom>
            <a:grpFill/>
            <a:ln w="27192" cap="flat">
              <a:noFill/>
              <a:prstDash val="solid"/>
              <a:miter/>
            </a:ln>
          </p:spPr>
          <p:txBody>
            <a:bodyPr rtlCol="0" anchor="ctr"/>
            <a:lstStyle/>
            <a:p>
              <a:endParaRPr lang="uk-UA" sz="900"/>
            </a:p>
          </p:txBody>
        </p:sp>
        <p:sp>
          <p:nvSpPr>
            <p:cNvPr id="613" name="Freeform: Shape 612">
              <a:extLst>
                <a:ext uri="{FF2B5EF4-FFF2-40B4-BE49-F238E27FC236}">
                  <a16:creationId xmlns:a16="http://schemas.microsoft.com/office/drawing/2014/main" id="{8CF62A33-33EF-4248-F76A-C9A5CEE808CA}"/>
                </a:ext>
              </a:extLst>
            </p:cNvPr>
            <p:cNvSpPr/>
            <p:nvPr/>
          </p:nvSpPr>
          <p:spPr>
            <a:xfrm>
              <a:off x="22589856" y="1968909"/>
              <a:ext cx="435077" cy="435077"/>
            </a:xfrm>
            <a:custGeom>
              <a:avLst/>
              <a:gdLst>
                <a:gd name="connsiteX0" fmla="*/ 371367 w 435077"/>
                <a:gd name="connsiteY0" fmla="*/ 63714 h 435077"/>
                <a:gd name="connsiteX1" fmla="*/ 435077 w 435077"/>
                <a:gd name="connsiteY1" fmla="*/ 217539 h 435077"/>
                <a:gd name="connsiteX2" fmla="*/ 217703 w 435077"/>
                <a:gd name="connsiteY2" fmla="*/ 217539 h 435077"/>
                <a:gd name="connsiteX3" fmla="*/ 371367 w 435077"/>
                <a:gd name="connsiteY3" fmla="*/ 281253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3 h 435077"/>
                <a:gd name="connsiteX8" fmla="*/ 217376 w 435077"/>
                <a:gd name="connsiteY8" fmla="*/ 217539 h 435077"/>
                <a:gd name="connsiteX9" fmla="*/ 0 w 435077"/>
                <a:gd name="connsiteY9" fmla="*/ 217539 h 435077"/>
                <a:gd name="connsiteX10" fmla="*/ 63712 w 435077"/>
                <a:gd name="connsiteY10" fmla="*/ 63714 h 435077"/>
                <a:gd name="connsiteX11" fmla="*/ 217539 w 435077"/>
                <a:gd name="connsiteY11" fmla="*/ 0 h 435077"/>
                <a:gd name="connsiteX12" fmla="*/ 371367 w 435077"/>
                <a:gd name="connsiteY12" fmla="*/ 63714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7" y="63714"/>
                  </a:moveTo>
                  <a:cubicBezTo>
                    <a:pt x="412155" y="104511"/>
                    <a:pt x="435077" y="159842"/>
                    <a:pt x="435077" y="217539"/>
                  </a:cubicBezTo>
                  <a:lnTo>
                    <a:pt x="217703" y="217539"/>
                  </a:lnTo>
                  <a:cubicBezTo>
                    <a:pt x="275351" y="217582"/>
                    <a:pt x="330605" y="240497"/>
                    <a:pt x="371367" y="281253"/>
                  </a:cubicBezTo>
                  <a:cubicBezTo>
                    <a:pt x="412155" y="322050"/>
                    <a:pt x="435077" y="377381"/>
                    <a:pt x="435077" y="435077"/>
                  </a:cubicBezTo>
                  <a:lnTo>
                    <a:pt x="217539" y="435077"/>
                  </a:lnTo>
                  <a:lnTo>
                    <a:pt x="0" y="435077"/>
                  </a:lnTo>
                  <a:cubicBezTo>
                    <a:pt x="0" y="377381"/>
                    <a:pt x="22924" y="322050"/>
                    <a:pt x="63712" y="281253"/>
                  </a:cubicBezTo>
                  <a:cubicBezTo>
                    <a:pt x="104474" y="240497"/>
                    <a:pt x="159755" y="217582"/>
                    <a:pt x="217376" y="217539"/>
                  </a:cubicBezTo>
                  <a:lnTo>
                    <a:pt x="0" y="217539"/>
                  </a:lnTo>
                  <a:cubicBezTo>
                    <a:pt x="0" y="159842"/>
                    <a:pt x="22924" y="104511"/>
                    <a:pt x="63712" y="63714"/>
                  </a:cubicBezTo>
                  <a:cubicBezTo>
                    <a:pt x="104529" y="22918"/>
                    <a:pt x="159838" y="0"/>
                    <a:pt x="217539" y="0"/>
                  </a:cubicBezTo>
                  <a:cubicBezTo>
                    <a:pt x="275241" y="0"/>
                    <a:pt x="330578" y="22918"/>
                    <a:pt x="371367" y="63714"/>
                  </a:cubicBezTo>
                  <a:close/>
                </a:path>
              </a:pathLst>
            </a:custGeom>
            <a:grpFill/>
            <a:ln w="27192" cap="flat">
              <a:noFill/>
              <a:prstDash val="solid"/>
              <a:miter/>
            </a:ln>
          </p:spPr>
          <p:txBody>
            <a:bodyPr rtlCol="0" anchor="ctr"/>
            <a:lstStyle/>
            <a:p>
              <a:endParaRPr lang="uk-UA" sz="900"/>
            </a:p>
          </p:txBody>
        </p:sp>
        <p:sp>
          <p:nvSpPr>
            <p:cNvPr id="614" name="Freeform: Shape 613">
              <a:extLst>
                <a:ext uri="{FF2B5EF4-FFF2-40B4-BE49-F238E27FC236}">
                  <a16:creationId xmlns:a16="http://schemas.microsoft.com/office/drawing/2014/main" id="{FADEAB07-560D-28C5-195D-FD932435C82A}"/>
                </a:ext>
              </a:extLst>
            </p:cNvPr>
            <p:cNvSpPr/>
            <p:nvPr/>
          </p:nvSpPr>
          <p:spPr>
            <a:xfrm>
              <a:off x="23460039" y="1968909"/>
              <a:ext cx="435077" cy="435074"/>
            </a:xfrm>
            <a:custGeom>
              <a:avLst/>
              <a:gdLst>
                <a:gd name="connsiteX0" fmla="*/ 217539 w 435077"/>
                <a:gd name="connsiteY0" fmla="*/ 217533 h 435074"/>
                <a:gd name="connsiteX1" fmla="*/ 217539 w 435077"/>
                <a:gd name="connsiteY1" fmla="*/ 0 h 435074"/>
                <a:gd name="connsiteX2" fmla="*/ 0 w 435077"/>
                <a:gd name="connsiteY2" fmla="*/ 0 h 435074"/>
                <a:gd name="connsiteX3" fmla="*/ 217539 w 435077"/>
                <a:gd name="connsiteY3" fmla="*/ 217539 h 435074"/>
                <a:gd name="connsiteX4" fmla="*/ 0 w 435077"/>
                <a:gd name="connsiteY4" fmla="*/ 435075 h 435074"/>
                <a:gd name="connsiteX5" fmla="*/ 217510 w 435077"/>
                <a:gd name="connsiteY5" fmla="*/ 435075 h 435074"/>
                <a:gd name="connsiteX6" fmla="*/ 217510 w 435077"/>
                <a:gd name="connsiteY6" fmla="*/ 435072 h 435074"/>
                <a:gd name="connsiteX7" fmla="*/ 435049 w 435077"/>
                <a:gd name="connsiteY7" fmla="*/ 217541 h 435074"/>
                <a:gd name="connsiteX8" fmla="*/ 435077 w 435077"/>
                <a:gd name="connsiteY8" fmla="*/ 217541 h 435074"/>
                <a:gd name="connsiteX9" fmla="*/ 435049 w 435077"/>
                <a:gd name="connsiteY9" fmla="*/ 217536 h 435074"/>
                <a:gd name="connsiteX10" fmla="*/ 435049 w 435077"/>
                <a:gd name="connsiteY10" fmla="*/ 217533 h 435074"/>
                <a:gd name="connsiteX11" fmla="*/ 435049 w 435077"/>
                <a:gd name="connsiteY11" fmla="*/ 217533 h 435074"/>
                <a:gd name="connsiteX12" fmla="*/ 217539 w 435077"/>
                <a:gd name="connsiteY12" fmla="*/ 3 h 435074"/>
                <a:gd name="connsiteX13" fmla="*/ 217539 w 435077"/>
                <a:gd name="connsiteY13" fmla="*/ 217533 h 435074"/>
                <a:gd name="connsiteX14" fmla="*/ 217539 w 435077"/>
                <a:gd name="connsiteY14" fmla="*/ 217533 h 43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4">
                  <a:moveTo>
                    <a:pt x="217539" y="217533"/>
                  </a:moveTo>
                  <a:lnTo>
                    <a:pt x="217539" y="0"/>
                  </a:lnTo>
                  <a:lnTo>
                    <a:pt x="0" y="0"/>
                  </a:lnTo>
                  <a:lnTo>
                    <a:pt x="217539" y="217539"/>
                  </a:lnTo>
                  <a:lnTo>
                    <a:pt x="0" y="435075"/>
                  </a:lnTo>
                  <a:lnTo>
                    <a:pt x="217510" y="435075"/>
                  </a:lnTo>
                  <a:lnTo>
                    <a:pt x="217510" y="435072"/>
                  </a:lnTo>
                  <a:lnTo>
                    <a:pt x="435049" y="217541"/>
                  </a:lnTo>
                  <a:lnTo>
                    <a:pt x="435077" y="217541"/>
                  </a:lnTo>
                  <a:lnTo>
                    <a:pt x="435049" y="217536"/>
                  </a:lnTo>
                  <a:lnTo>
                    <a:pt x="435049" y="217533"/>
                  </a:lnTo>
                  <a:lnTo>
                    <a:pt x="435049" y="217533"/>
                  </a:lnTo>
                  <a:lnTo>
                    <a:pt x="217539" y="3"/>
                  </a:lnTo>
                  <a:lnTo>
                    <a:pt x="217539" y="217533"/>
                  </a:lnTo>
                  <a:lnTo>
                    <a:pt x="217539" y="217533"/>
                  </a:lnTo>
                  <a:close/>
                </a:path>
              </a:pathLst>
            </a:custGeom>
            <a:grpFill/>
            <a:ln w="27192" cap="flat">
              <a:noFill/>
              <a:prstDash val="solid"/>
              <a:miter/>
            </a:ln>
          </p:spPr>
          <p:txBody>
            <a:bodyPr rtlCol="0" anchor="ctr"/>
            <a:lstStyle/>
            <a:p>
              <a:endParaRPr lang="uk-UA" sz="900"/>
            </a:p>
          </p:txBody>
        </p:sp>
        <p:sp>
          <p:nvSpPr>
            <p:cNvPr id="615" name="Freeform: Shape 614">
              <a:extLst>
                <a:ext uri="{FF2B5EF4-FFF2-40B4-BE49-F238E27FC236}">
                  <a16:creationId xmlns:a16="http://schemas.microsoft.com/office/drawing/2014/main" id="{2D608A7D-B4F0-ED5A-33AB-AC8888F70B24}"/>
                </a:ext>
              </a:extLst>
            </p:cNvPr>
            <p:cNvSpPr/>
            <p:nvPr/>
          </p:nvSpPr>
          <p:spPr>
            <a:xfrm>
              <a:off x="24330194" y="1968909"/>
              <a:ext cx="435077" cy="435077"/>
            </a:xfrm>
            <a:custGeom>
              <a:avLst/>
              <a:gdLst>
                <a:gd name="connsiteX0" fmla="*/ 0 w 435077"/>
                <a:gd name="connsiteY0" fmla="*/ 435077 h 435077"/>
                <a:gd name="connsiteX1" fmla="*/ 217539 w 435077"/>
                <a:gd name="connsiteY1" fmla="*/ 435077 h 435077"/>
                <a:gd name="connsiteX2" fmla="*/ 217539 w 435077"/>
                <a:gd name="connsiteY2" fmla="*/ 217547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28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47 h 435077"/>
                <a:gd name="connsiteX11" fmla="*/ 435077 w 435077"/>
                <a:gd name="connsiteY11" fmla="*/ 435077 h 435077"/>
                <a:gd name="connsiteX12" fmla="*/ 435077 w 435077"/>
                <a:gd name="connsiteY12" fmla="*/ 3 h 435077"/>
                <a:gd name="connsiteX13" fmla="*/ 217539 w 435077"/>
                <a:gd name="connsiteY13" fmla="*/ 3 h 435077"/>
                <a:gd name="connsiteX14" fmla="*/ 435077 w 435077"/>
                <a:gd name="connsiteY14" fmla="*/ 217531 h 435077"/>
                <a:gd name="connsiteX15" fmla="*/ 435077 w 435077"/>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47"/>
                  </a:lnTo>
                  <a:lnTo>
                    <a:pt x="0" y="435077"/>
                  </a:lnTo>
                  <a:close/>
                  <a:moveTo>
                    <a:pt x="217539" y="0"/>
                  </a:moveTo>
                  <a:lnTo>
                    <a:pt x="0" y="0"/>
                  </a:lnTo>
                  <a:lnTo>
                    <a:pt x="217539" y="217528"/>
                  </a:lnTo>
                  <a:lnTo>
                    <a:pt x="217539" y="0"/>
                  </a:lnTo>
                  <a:close/>
                  <a:moveTo>
                    <a:pt x="435077" y="435077"/>
                  </a:moveTo>
                  <a:lnTo>
                    <a:pt x="217539" y="435077"/>
                  </a:lnTo>
                  <a:lnTo>
                    <a:pt x="435077" y="217547"/>
                  </a:lnTo>
                  <a:lnTo>
                    <a:pt x="435077" y="435077"/>
                  </a:lnTo>
                  <a:close/>
                  <a:moveTo>
                    <a:pt x="435077" y="3"/>
                  </a:moveTo>
                  <a:lnTo>
                    <a:pt x="217539" y="3"/>
                  </a:lnTo>
                  <a:lnTo>
                    <a:pt x="435077" y="217531"/>
                  </a:lnTo>
                  <a:lnTo>
                    <a:pt x="435077" y="3"/>
                  </a:lnTo>
                  <a:close/>
                </a:path>
              </a:pathLst>
            </a:custGeom>
            <a:grpFill/>
            <a:ln w="27192" cap="flat">
              <a:noFill/>
              <a:prstDash val="solid"/>
              <a:miter/>
            </a:ln>
          </p:spPr>
          <p:txBody>
            <a:bodyPr rtlCol="0" anchor="ctr"/>
            <a:lstStyle/>
            <a:p>
              <a:endParaRPr lang="uk-UA" sz="900"/>
            </a:p>
          </p:txBody>
        </p:sp>
        <p:sp>
          <p:nvSpPr>
            <p:cNvPr id="616" name="Freeform: Shape 615">
              <a:extLst>
                <a:ext uri="{FF2B5EF4-FFF2-40B4-BE49-F238E27FC236}">
                  <a16:creationId xmlns:a16="http://schemas.microsoft.com/office/drawing/2014/main" id="{27FC2AD1-3357-BC4D-9411-CB362ACD6F72}"/>
                </a:ext>
              </a:extLst>
            </p:cNvPr>
            <p:cNvSpPr/>
            <p:nvPr/>
          </p:nvSpPr>
          <p:spPr>
            <a:xfrm>
              <a:off x="835769" y="2839064"/>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3 h 435077"/>
                <a:gd name="connsiteX6" fmla="*/ 217511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3"/>
                  </a:lnTo>
                  <a:lnTo>
                    <a:pt x="217511" y="217539"/>
                  </a:lnTo>
                  <a:lnTo>
                    <a:pt x="0" y="435077"/>
                  </a:lnTo>
                  <a:close/>
                </a:path>
              </a:pathLst>
            </a:custGeom>
            <a:grpFill/>
            <a:ln w="27192" cap="flat">
              <a:noFill/>
              <a:prstDash val="solid"/>
              <a:miter/>
            </a:ln>
          </p:spPr>
          <p:txBody>
            <a:bodyPr rtlCol="0" anchor="ctr"/>
            <a:lstStyle/>
            <a:p>
              <a:endParaRPr lang="uk-UA" sz="900"/>
            </a:p>
          </p:txBody>
        </p:sp>
        <p:sp>
          <p:nvSpPr>
            <p:cNvPr id="617" name="Freeform: Shape 616">
              <a:extLst>
                <a:ext uri="{FF2B5EF4-FFF2-40B4-BE49-F238E27FC236}">
                  <a16:creationId xmlns:a16="http://schemas.microsoft.com/office/drawing/2014/main" id="{80C52DC7-E2BA-BEDF-A1E3-471275E787E9}"/>
                </a:ext>
              </a:extLst>
            </p:cNvPr>
            <p:cNvSpPr/>
            <p:nvPr/>
          </p:nvSpPr>
          <p:spPr>
            <a:xfrm>
              <a:off x="-34398" y="2839064"/>
              <a:ext cx="435090" cy="435077"/>
            </a:xfrm>
            <a:custGeom>
              <a:avLst/>
              <a:gdLst>
                <a:gd name="connsiteX0" fmla="*/ 0 w 435090"/>
                <a:gd name="connsiteY0" fmla="*/ 435077 h 435077"/>
                <a:gd name="connsiteX1" fmla="*/ 0 w 435090"/>
                <a:gd name="connsiteY1" fmla="*/ 0 h 435077"/>
                <a:gd name="connsiteX2" fmla="*/ 217525 w 435090"/>
                <a:gd name="connsiteY2" fmla="*/ 217539 h 435077"/>
                <a:gd name="connsiteX3" fmla="*/ 0 w 435090"/>
                <a:gd name="connsiteY3" fmla="*/ 435077 h 435077"/>
                <a:gd name="connsiteX4" fmla="*/ 217552 w 435090"/>
                <a:gd name="connsiteY4" fmla="*/ 435077 h 435077"/>
                <a:gd name="connsiteX5" fmla="*/ 217552 w 435090"/>
                <a:gd name="connsiteY5" fmla="*/ 0 h 435077"/>
                <a:gd name="connsiteX6" fmla="*/ 435091 w 435090"/>
                <a:gd name="connsiteY6" fmla="*/ 217539 h 435077"/>
                <a:gd name="connsiteX7" fmla="*/ 217552 w 435090"/>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90" h="435077">
                  <a:moveTo>
                    <a:pt x="0" y="435077"/>
                  </a:moveTo>
                  <a:lnTo>
                    <a:pt x="0" y="0"/>
                  </a:lnTo>
                  <a:lnTo>
                    <a:pt x="217525" y="217539"/>
                  </a:lnTo>
                  <a:lnTo>
                    <a:pt x="0" y="435077"/>
                  </a:lnTo>
                  <a:close/>
                  <a:moveTo>
                    <a:pt x="217552" y="435077"/>
                  </a:moveTo>
                  <a:lnTo>
                    <a:pt x="217552" y="0"/>
                  </a:lnTo>
                  <a:lnTo>
                    <a:pt x="435091" y="217539"/>
                  </a:lnTo>
                  <a:lnTo>
                    <a:pt x="217552" y="435077"/>
                  </a:lnTo>
                  <a:close/>
                </a:path>
              </a:pathLst>
            </a:custGeom>
            <a:grpFill/>
            <a:ln w="27192" cap="flat">
              <a:noFill/>
              <a:prstDash val="solid"/>
              <a:miter/>
            </a:ln>
          </p:spPr>
          <p:txBody>
            <a:bodyPr rtlCol="0" anchor="ctr"/>
            <a:lstStyle/>
            <a:p>
              <a:endParaRPr lang="uk-UA" sz="900"/>
            </a:p>
          </p:txBody>
        </p:sp>
        <p:sp>
          <p:nvSpPr>
            <p:cNvPr id="618" name="Freeform: Shape 617">
              <a:extLst>
                <a:ext uri="{FF2B5EF4-FFF2-40B4-BE49-F238E27FC236}">
                  <a16:creationId xmlns:a16="http://schemas.microsoft.com/office/drawing/2014/main" id="{D2DFAC8A-35E6-A698-DB14-165F6F5288B6}"/>
                </a:ext>
              </a:extLst>
            </p:cNvPr>
            <p:cNvSpPr/>
            <p:nvPr/>
          </p:nvSpPr>
          <p:spPr>
            <a:xfrm>
              <a:off x="1705924" y="2839064"/>
              <a:ext cx="435077" cy="435077"/>
            </a:xfrm>
            <a:custGeom>
              <a:avLst/>
              <a:gdLst>
                <a:gd name="connsiteX0" fmla="*/ 63711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1 w 435077"/>
                <a:gd name="connsiteY6" fmla="*/ 153827 h 435077"/>
                <a:gd name="connsiteX7" fmla="*/ 63711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1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1" y="153827"/>
                  </a:moveTo>
                  <a:cubicBezTo>
                    <a:pt x="22923" y="113038"/>
                    <a:pt x="0" y="57694"/>
                    <a:pt x="0" y="0"/>
                  </a:cubicBezTo>
                  <a:lnTo>
                    <a:pt x="217539" y="0"/>
                  </a:lnTo>
                  <a:lnTo>
                    <a:pt x="435077" y="0"/>
                  </a:lnTo>
                  <a:cubicBezTo>
                    <a:pt x="435077" y="57694"/>
                    <a:pt x="412154" y="113038"/>
                    <a:pt x="371366" y="153827"/>
                  </a:cubicBezTo>
                  <a:cubicBezTo>
                    <a:pt x="330577" y="194616"/>
                    <a:pt x="275241" y="217539"/>
                    <a:pt x="217539" y="217539"/>
                  </a:cubicBezTo>
                  <a:cubicBezTo>
                    <a:pt x="159836" y="217539"/>
                    <a:pt x="104527" y="194616"/>
                    <a:pt x="63711" y="153827"/>
                  </a:cubicBezTo>
                  <a:close/>
                  <a:moveTo>
                    <a:pt x="63711" y="281250"/>
                  </a:moveTo>
                  <a:cubicBezTo>
                    <a:pt x="22923" y="322039"/>
                    <a:pt x="0" y="377375"/>
                    <a:pt x="0" y="435077"/>
                  </a:cubicBezTo>
                  <a:lnTo>
                    <a:pt x="217539" y="435077"/>
                  </a:lnTo>
                  <a:lnTo>
                    <a:pt x="435077" y="435077"/>
                  </a:lnTo>
                  <a:cubicBezTo>
                    <a:pt x="435077" y="377375"/>
                    <a:pt x="412154" y="322039"/>
                    <a:pt x="371366" y="281250"/>
                  </a:cubicBezTo>
                  <a:cubicBezTo>
                    <a:pt x="330577" y="240462"/>
                    <a:pt x="275241" y="217539"/>
                    <a:pt x="217539" y="217539"/>
                  </a:cubicBezTo>
                  <a:cubicBezTo>
                    <a:pt x="159836" y="217539"/>
                    <a:pt x="104527" y="240462"/>
                    <a:pt x="63711" y="281250"/>
                  </a:cubicBezTo>
                  <a:close/>
                </a:path>
              </a:pathLst>
            </a:custGeom>
            <a:grpFill/>
            <a:ln w="27192" cap="flat">
              <a:noFill/>
              <a:prstDash val="solid"/>
              <a:miter/>
            </a:ln>
          </p:spPr>
          <p:txBody>
            <a:bodyPr rtlCol="0" anchor="ctr"/>
            <a:lstStyle/>
            <a:p>
              <a:endParaRPr lang="uk-UA" sz="900"/>
            </a:p>
          </p:txBody>
        </p:sp>
        <p:sp>
          <p:nvSpPr>
            <p:cNvPr id="619" name="Freeform: Shape 618">
              <a:extLst>
                <a:ext uri="{FF2B5EF4-FFF2-40B4-BE49-F238E27FC236}">
                  <a16:creationId xmlns:a16="http://schemas.microsoft.com/office/drawing/2014/main" id="{A62F9D5F-6595-02DE-83EB-5430F8A931EA}"/>
                </a:ext>
              </a:extLst>
            </p:cNvPr>
            <p:cNvSpPr/>
            <p:nvPr/>
          </p:nvSpPr>
          <p:spPr>
            <a:xfrm>
              <a:off x="2576106" y="2839064"/>
              <a:ext cx="435077" cy="435077"/>
            </a:xfrm>
            <a:custGeom>
              <a:avLst/>
              <a:gdLst>
                <a:gd name="connsiteX0" fmla="*/ 435077 w 435077"/>
                <a:gd name="connsiteY0" fmla="*/ 435077 h 435077"/>
                <a:gd name="connsiteX1" fmla="*/ 435077 w 435077"/>
                <a:gd name="connsiteY1" fmla="*/ 217539 h 435077"/>
                <a:gd name="connsiteX2" fmla="*/ 435077 w 435077"/>
                <a:gd name="connsiteY2" fmla="*/ 14 h 435077"/>
                <a:gd name="connsiteX3" fmla="*/ 217539 w 435077"/>
                <a:gd name="connsiteY3" fmla="*/ 14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14"/>
                  </a:lnTo>
                  <a:lnTo>
                    <a:pt x="217539" y="14"/>
                  </a:lnTo>
                  <a:lnTo>
                    <a:pt x="435077" y="217539"/>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620" name="Freeform: Shape 619">
              <a:extLst>
                <a:ext uri="{FF2B5EF4-FFF2-40B4-BE49-F238E27FC236}">
                  <a16:creationId xmlns:a16="http://schemas.microsoft.com/office/drawing/2014/main" id="{901DCABD-319D-A226-B92E-4CC73C0C4729}"/>
                </a:ext>
              </a:extLst>
            </p:cNvPr>
            <p:cNvSpPr/>
            <p:nvPr/>
          </p:nvSpPr>
          <p:spPr>
            <a:xfrm>
              <a:off x="4316442" y="2839064"/>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3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3"/>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621" name="Freeform: Shape 620">
              <a:extLst>
                <a:ext uri="{FF2B5EF4-FFF2-40B4-BE49-F238E27FC236}">
                  <a16:creationId xmlns:a16="http://schemas.microsoft.com/office/drawing/2014/main" id="{BFCFFB58-349F-2CCC-6DA7-02C1BC21EDE1}"/>
                </a:ext>
              </a:extLst>
            </p:cNvPr>
            <p:cNvSpPr/>
            <p:nvPr/>
          </p:nvSpPr>
          <p:spPr>
            <a:xfrm>
              <a:off x="3446261" y="2839064"/>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622" name="Freeform: Shape 621">
              <a:extLst>
                <a:ext uri="{FF2B5EF4-FFF2-40B4-BE49-F238E27FC236}">
                  <a16:creationId xmlns:a16="http://schemas.microsoft.com/office/drawing/2014/main" id="{14942195-8566-0430-22BC-A2BB1D6B96A5}"/>
                </a:ext>
              </a:extLst>
            </p:cNvPr>
            <p:cNvSpPr/>
            <p:nvPr/>
          </p:nvSpPr>
          <p:spPr>
            <a:xfrm>
              <a:off x="5186597" y="283906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8"/>
                    <a:pt x="0" y="57694"/>
                    <a:pt x="0" y="0"/>
                  </a:cubicBezTo>
                  <a:lnTo>
                    <a:pt x="217539" y="0"/>
                  </a:lnTo>
                  <a:lnTo>
                    <a:pt x="435077" y="0"/>
                  </a:lnTo>
                  <a:cubicBezTo>
                    <a:pt x="435077" y="57694"/>
                    <a:pt x="412155" y="113038"/>
                    <a:pt x="371366" y="153827"/>
                  </a:cubicBezTo>
                  <a:cubicBezTo>
                    <a:pt x="330550" y="194616"/>
                    <a:pt x="275241" y="217539"/>
                    <a:pt x="217539" y="217539"/>
                  </a:cubicBezTo>
                  <a:cubicBezTo>
                    <a:pt x="159837" y="217539"/>
                    <a:pt x="104501" y="194616"/>
                    <a:pt x="63712" y="153827"/>
                  </a:cubicBezTo>
                  <a:close/>
                  <a:moveTo>
                    <a:pt x="63712" y="281250"/>
                  </a:moveTo>
                  <a:cubicBezTo>
                    <a:pt x="22924" y="322039"/>
                    <a:pt x="0" y="377375"/>
                    <a:pt x="0" y="435077"/>
                  </a:cubicBezTo>
                  <a:lnTo>
                    <a:pt x="217539" y="435077"/>
                  </a:lnTo>
                  <a:lnTo>
                    <a:pt x="435077" y="435077"/>
                  </a:lnTo>
                  <a:cubicBezTo>
                    <a:pt x="435077" y="377375"/>
                    <a:pt x="412155" y="322039"/>
                    <a:pt x="371366" y="281250"/>
                  </a:cubicBezTo>
                  <a:cubicBezTo>
                    <a:pt x="330550" y="240462"/>
                    <a:pt x="275241" y="217539"/>
                    <a:pt x="217539" y="217539"/>
                  </a:cubicBezTo>
                  <a:cubicBezTo>
                    <a:pt x="159837" y="217539"/>
                    <a:pt x="104501" y="240462"/>
                    <a:pt x="63712" y="281250"/>
                  </a:cubicBezTo>
                  <a:close/>
                </a:path>
              </a:pathLst>
            </a:custGeom>
            <a:grpFill/>
            <a:ln w="27192" cap="flat">
              <a:noFill/>
              <a:prstDash val="solid"/>
              <a:miter/>
            </a:ln>
          </p:spPr>
          <p:txBody>
            <a:bodyPr rtlCol="0" anchor="ctr"/>
            <a:lstStyle/>
            <a:p>
              <a:endParaRPr lang="uk-UA" sz="900"/>
            </a:p>
          </p:txBody>
        </p:sp>
        <p:sp>
          <p:nvSpPr>
            <p:cNvPr id="623" name="Freeform: Shape 622">
              <a:extLst>
                <a:ext uri="{FF2B5EF4-FFF2-40B4-BE49-F238E27FC236}">
                  <a16:creationId xmlns:a16="http://schemas.microsoft.com/office/drawing/2014/main" id="{6ABC68CC-D917-CF96-8440-E74CCAD6E270}"/>
                </a:ext>
              </a:extLst>
            </p:cNvPr>
            <p:cNvSpPr/>
            <p:nvPr/>
          </p:nvSpPr>
          <p:spPr>
            <a:xfrm>
              <a:off x="6056752" y="2839064"/>
              <a:ext cx="435077" cy="435077"/>
            </a:xfrm>
            <a:custGeom>
              <a:avLst/>
              <a:gdLst>
                <a:gd name="connsiteX0" fmla="*/ 435077 w 435077"/>
                <a:gd name="connsiteY0" fmla="*/ 435077 h 435077"/>
                <a:gd name="connsiteX1" fmla="*/ 435077 w 435077"/>
                <a:gd name="connsiteY1" fmla="*/ 217539 h 435077"/>
                <a:gd name="connsiteX2" fmla="*/ 435077 w 435077"/>
                <a:gd name="connsiteY2" fmla="*/ 14 h 435077"/>
                <a:gd name="connsiteX3" fmla="*/ 217539 w 435077"/>
                <a:gd name="connsiteY3" fmla="*/ 14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14"/>
                  </a:lnTo>
                  <a:lnTo>
                    <a:pt x="217539" y="14"/>
                  </a:lnTo>
                  <a:lnTo>
                    <a:pt x="435077" y="217539"/>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624" name="Freeform: Shape 623">
              <a:extLst>
                <a:ext uri="{FF2B5EF4-FFF2-40B4-BE49-F238E27FC236}">
                  <a16:creationId xmlns:a16="http://schemas.microsoft.com/office/drawing/2014/main" id="{71FE1F97-B46B-2621-AB22-F13F4154D377}"/>
                </a:ext>
              </a:extLst>
            </p:cNvPr>
            <p:cNvSpPr/>
            <p:nvPr/>
          </p:nvSpPr>
          <p:spPr>
            <a:xfrm>
              <a:off x="7797089" y="2839064"/>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3 h 435077"/>
                <a:gd name="connsiteX6" fmla="*/ 217511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3"/>
                  </a:lnTo>
                  <a:lnTo>
                    <a:pt x="217511" y="217539"/>
                  </a:lnTo>
                  <a:lnTo>
                    <a:pt x="0" y="435077"/>
                  </a:lnTo>
                  <a:close/>
                </a:path>
              </a:pathLst>
            </a:custGeom>
            <a:grpFill/>
            <a:ln w="27192" cap="flat">
              <a:noFill/>
              <a:prstDash val="solid"/>
              <a:miter/>
            </a:ln>
          </p:spPr>
          <p:txBody>
            <a:bodyPr rtlCol="0" anchor="ctr"/>
            <a:lstStyle/>
            <a:p>
              <a:endParaRPr lang="uk-UA" sz="900"/>
            </a:p>
          </p:txBody>
        </p:sp>
        <p:sp>
          <p:nvSpPr>
            <p:cNvPr id="625" name="Freeform: Shape 624">
              <a:extLst>
                <a:ext uri="{FF2B5EF4-FFF2-40B4-BE49-F238E27FC236}">
                  <a16:creationId xmlns:a16="http://schemas.microsoft.com/office/drawing/2014/main" id="{5E4FD793-FB49-3570-8BB8-1B70E98A1F5A}"/>
                </a:ext>
              </a:extLst>
            </p:cNvPr>
            <p:cNvSpPr/>
            <p:nvPr/>
          </p:nvSpPr>
          <p:spPr>
            <a:xfrm>
              <a:off x="6926907" y="2839064"/>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626" name="Freeform: Shape 625">
              <a:extLst>
                <a:ext uri="{FF2B5EF4-FFF2-40B4-BE49-F238E27FC236}">
                  <a16:creationId xmlns:a16="http://schemas.microsoft.com/office/drawing/2014/main" id="{0D01165E-2C4C-FC33-7D47-FC3114C51BBE}"/>
                </a:ext>
              </a:extLst>
            </p:cNvPr>
            <p:cNvSpPr/>
            <p:nvPr/>
          </p:nvSpPr>
          <p:spPr>
            <a:xfrm>
              <a:off x="8667217" y="2839064"/>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39 w 435077"/>
                <a:gd name="connsiteY6" fmla="*/ 153827 h 435077"/>
                <a:gd name="connsiteX7" fmla="*/ 63739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39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4" y="113038"/>
                    <a:pt x="0" y="57694"/>
                    <a:pt x="0" y="0"/>
                  </a:cubicBezTo>
                  <a:lnTo>
                    <a:pt x="217539" y="0"/>
                  </a:lnTo>
                  <a:lnTo>
                    <a:pt x="435077" y="0"/>
                  </a:lnTo>
                  <a:cubicBezTo>
                    <a:pt x="435077" y="57694"/>
                    <a:pt x="412182" y="113038"/>
                    <a:pt x="371366" y="153827"/>
                  </a:cubicBezTo>
                  <a:cubicBezTo>
                    <a:pt x="330578" y="194616"/>
                    <a:pt x="275241" y="217539"/>
                    <a:pt x="217539" y="217539"/>
                  </a:cubicBezTo>
                  <a:cubicBezTo>
                    <a:pt x="159864" y="217539"/>
                    <a:pt x="104527" y="194616"/>
                    <a:pt x="63739" y="153827"/>
                  </a:cubicBezTo>
                  <a:close/>
                  <a:moveTo>
                    <a:pt x="63739" y="281250"/>
                  </a:moveTo>
                  <a:cubicBezTo>
                    <a:pt x="22924" y="322039"/>
                    <a:pt x="0" y="377375"/>
                    <a:pt x="0" y="435077"/>
                  </a:cubicBezTo>
                  <a:lnTo>
                    <a:pt x="217539" y="435077"/>
                  </a:lnTo>
                  <a:lnTo>
                    <a:pt x="435077" y="435077"/>
                  </a:lnTo>
                  <a:cubicBezTo>
                    <a:pt x="435077" y="377375"/>
                    <a:pt x="412182" y="322039"/>
                    <a:pt x="371366" y="281250"/>
                  </a:cubicBezTo>
                  <a:cubicBezTo>
                    <a:pt x="330578" y="240462"/>
                    <a:pt x="275241" y="217539"/>
                    <a:pt x="217539" y="217539"/>
                  </a:cubicBezTo>
                  <a:cubicBezTo>
                    <a:pt x="159864" y="217539"/>
                    <a:pt x="104527" y="240462"/>
                    <a:pt x="63739" y="281250"/>
                  </a:cubicBezTo>
                  <a:close/>
                </a:path>
              </a:pathLst>
            </a:custGeom>
            <a:grpFill/>
            <a:ln w="27192" cap="flat">
              <a:noFill/>
              <a:prstDash val="solid"/>
              <a:miter/>
            </a:ln>
          </p:spPr>
          <p:txBody>
            <a:bodyPr rtlCol="0" anchor="ctr"/>
            <a:lstStyle/>
            <a:p>
              <a:endParaRPr lang="uk-UA" sz="900"/>
            </a:p>
          </p:txBody>
        </p:sp>
        <p:sp>
          <p:nvSpPr>
            <p:cNvPr id="627" name="Freeform: Shape 626">
              <a:extLst>
                <a:ext uri="{FF2B5EF4-FFF2-40B4-BE49-F238E27FC236}">
                  <a16:creationId xmlns:a16="http://schemas.microsoft.com/office/drawing/2014/main" id="{02C5E79B-1953-918D-90D4-FC16199DAB04}"/>
                </a:ext>
              </a:extLst>
            </p:cNvPr>
            <p:cNvSpPr/>
            <p:nvPr/>
          </p:nvSpPr>
          <p:spPr>
            <a:xfrm>
              <a:off x="9537399" y="2839064"/>
              <a:ext cx="435077" cy="435077"/>
            </a:xfrm>
            <a:custGeom>
              <a:avLst/>
              <a:gdLst>
                <a:gd name="connsiteX0" fmla="*/ 435077 w 435077"/>
                <a:gd name="connsiteY0" fmla="*/ 435077 h 435077"/>
                <a:gd name="connsiteX1" fmla="*/ 435077 w 435077"/>
                <a:gd name="connsiteY1" fmla="*/ 217539 h 435077"/>
                <a:gd name="connsiteX2" fmla="*/ 435077 w 435077"/>
                <a:gd name="connsiteY2" fmla="*/ 14 h 435077"/>
                <a:gd name="connsiteX3" fmla="*/ 217539 w 435077"/>
                <a:gd name="connsiteY3" fmla="*/ 14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1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1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14"/>
                  </a:lnTo>
                  <a:lnTo>
                    <a:pt x="217539" y="14"/>
                  </a:lnTo>
                  <a:lnTo>
                    <a:pt x="435077" y="217539"/>
                  </a:lnTo>
                  <a:lnTo>
                    <a:pt x="217539" y="435077"/>
                  </a:lnTo>
                  <a:lnTo>
                    <a:pt x="435077" y="435077"/>
                  </a:lnTo>
                  <a:close/>
                  <a:moveTo>
                    <a:pt x="0" y="217539"/>
                  </a:moveTo>
                  <a:lnTo>
                    <a:pt x="0" y="0"/>
                  </a:lnTo>
                  <a:lnTo>
                    <a:pt x="217511" y="217539"/>
                  </a:lnTo>
                  <a:lnTo>
                    <a:pt x="0" y="217539"/>
                  </a:lnTo>
                  <a:close/>
                  <a:moveTo>
                    <a:pt x="0" y="435077"/>
                  </a:moveTo>
                  <a:lnTo>
                    <a:pt x="0" y="217539"/>
                  </a:lnTo>
                  <a:lnTo>
                    <a:pt x="217511" y="217539"/>
                  </a:lnTo>
                  <a:lnTo>
                    <a:pt x="0" y="435077"/>
                  </a:lnTo>
                  <a:close/>
                </a:path>
              </a:pathLst>
            </a:custGeom>
            <a:grpFill/>
            <a:ln w="27192" cap="flat">
              <a:noFill/>
              <a:prstDash val="solid"/>
              <a:miter/>
            </a:ln>
          </p:spPr>
          <p:txBody>
            <a:bodyPr rtlCol="0" anchor="ctr"/>
            <a:lstStyle/>
            <a:p>
              <a:endParaRPr lang="uk-UA" sz="900"/>
            </a:p>
          </p:txBody>
        </p:sp>
        <p:sp>
          <p:nvSpPr>
            <p:cNvPr id="628" name="Freeform: Shape 627">
              <a:extLst>
                <a:ext uri="{FF2B5EF4-FFF2-40B4-BE49-F238E27FC236}">
                  <a16:creationId xmlns:a16="http://schemas.microsoft.com/office/drawing/2014/main" id="{5D674C10-D820-BCAD-B45A-8ACF04E01732}"/>
                </a:ext>
              </a:extLst>
            </p:cNvPr>
            <p:cNvSpPr/>
            <p:nvPr/>
          </p:nvSpPr>
          <p:spPr>
            <a:xfrm>
              <a:off x="11277709" y="2839064"/>
              <a:ext cx="435077" cy="435077"/>
            </a:xfrm>
            <a:custGeom>
              <a:avLst/>
              <a:gdLst>
                <a:gd name="connsiteX0" fmla="*/ 435077 w 435077"/>
                <a:gd name="connsiteY0" fmla="*/ 435077 h 435077"/>
                <a:gd name="connsiteX1" fmla="*/ 435077 w 435077"/>
                <a:gd name="connsiteY1" fmla="*/ 0 h 435077"/>
                <a:gd name="connsiteX2" fmla="*/ 217565 w 435077"/>
                <a:gd name="connsiteY2" fmla="*/ 217539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39"/>
                  </a:lnTo>
                  <a:lnTo>
                    <a:pt x="435077" y="435077"/>
                  </a:lnTo>
                  <a:close/>
                  <a:moveTo>
                    <a:pt x="0" y="435077"/>
                  </a:moveTo>
                  <a:lnTo>
                    <a:pt x="0" y="3"/>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629" name="Freeform: Shape 628">
              <a:extLst>
                <a:ext uri="{FF2B5EF4-FFF2-40B4-BE49-F238E27FC236}">
                  <a16:creationId xmlns:a16="http://schemas.microsoft.com/office/drawing/2014/main" id="{8E5E00A3-3202-0FE6-5FD1-98BAB8CAA443}"/>
                </a:ext>
              </a:extLst>
            </p:cNvPr>
            <p:cNvSpPr/>
            <p:nvPr/>
          </p:nvSpPr>
          <p:spPr>
            <a:xfrm>
              <a:off x="10407554" y="2839064"/>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630" name="Freeform: Shape 629">
              <a:extLst>
                <a:ext uri="{FF2B5EF4-FFF2-40B4-BE49-F238E27FC236}">
                  <a16:creationId xmlns:a16="http://schemas.microsoft.com/office/drawing/2014/main" id="{2CB10AF1-E671-2076-70D9-E19C416B611D}"/>
                </a:ext>
              </a:extLst>
            </p:cNvPr>
            <p:cNvSpPr/>
            <p:nvPr/>
          </p:nvSpPr>
          <p:spPr>
            <a:xfrm>
              <a:off x="12147864" y="2839064"/>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39 w 435077"/>
                <a:gd name="connsiteY6" fmla="*/ 153827 h 435077"/>
                <a:gd name="connsiteX7" fmla="*/ 63739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0 h 435077"/>
                <a:gd name="connsiteX12" fmla="*/ 217539 w 435077"/>
                <a:gd name="connsiteY12" fmla="*/ 217539 h 435077"/>
                <a:gd name="connsiteX13" fmla="*/ 63739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2" y="113038"/>
                    <a:pt x="0" y="57694"/>
                    <a:pt x="0" y="0"/>
                  </a:cubicBezTo>
                  <a:lnTo>
                    <a:pt x="217539" y="0"/>
                  </a:lnTo>
                  <a:lnTo>
                    <a:pt x="435077" y="0"/>
                  </a:lnTo>
                  <a:cubicBezTo>
                    <a:pt x="435077" y="57694"/>
                    <a:pt x="412180" y="113038"/>
                    <a:pt x="371365" y="153827"/>
                  </a:cubicBezTo>
                  <a:cubicBezTo>
                    <a:pt x="330577" y="194616"/>
                    <a:pt x="275239" y="217539"/>
                    <a:pt x="217539" y="217539"/>
                  </a:cubicBezTo>
                  <a:cubicBezTo>
                    <a:pt x="159863" y="217539"/>
                    <a:pt x="104527" y="194616"/>
                    <a:pt x="63739" y="153827"/>
                  </a:cubicBezTo>
                  <a:close/>
                  <a:moveTo>
                    <a:pt x="63739" y="281250"/>
                  </a:moveTo>
                  <a:cubicBezTo>
                    <a:pt x="22922" y="322039"/>
                    <a:pt x="0" y="377375"/>
                    <a:pt x="0" y="435077"/>
                  </a:cubicBezTo>
                  <a:lnTo>
                    <a:pt x="217539" y="435077"/>
                  </a:lnTo>
                  <a:lnTo>
                    <a:pt x="435077" y="435077"/>
                  </a:lnTo>
                  <a:cubicBezTo>
                    <a:pt x="435077" y="377375"/>
                    <a:pt x="412180" y="322039"/>
                    <a:pt x="371365" y="281250"/>
                  </a:cubicBezTo>
                  <a:cubicBezTo>
                    <a:pt x="330577" y="240462"/>
                    <a:pt x="275239" y="217539"/>
                    <a:pt x="217539" y="217539"/>
                  </a:cubicBezTo>
                  <a:cubicBezTo>
                    <a:pt x="159863" y="217539"/>
                    <a:pt x="104527" y="240462"/>
                    <a:pt x="63739" y="281250"/>
                  </a:cubicBezTo>
                  <a:close/>
                </a:path>
              </a:pathLst>
            </a:custGeom>
            <a:grpFill/>
            <a:ln w="27192" cap="flat">
              <a:noFill/>
              <a:prstDash val="solid"/>
              <a:miter/>
            </a:ln>
          </p:spPr>
          <p:txBody>
            <a:bodyPr rtlCol="0" anchor="ctr"/>
            <a:lstStyle/>
            <a:p>
              <a:endParaRPr lang="uk-UA" sz="900"/>
            </a:p>
          </p:txBody>
        </p:sp>
        <p:sp>
          <p:nvSpPr>
            <p:cNvPr id="631" name="Freeform: Shape 630">
              <a:extLst>
                <a:ext uri="{FF2B5EF4-FFF2-40B4-BE49-F238E27FC236}">
                  <a16:creationId xmlns:a16="http://schemas.microsoft.com/office/drawing/2014/main" id="{E839A21C-ED41-7F88-27BA-4FBE066A3481}"/>
                </a:ext>
              </a:extLst>
            </p:cNvPr>
            <p:cNvSpPr/>
            <p:nvPr/>
          </p:nvSpPr>
          <p:spPr>
            <a:xfrm>
              <a:off x="13018045" y="2839064"/>
              <a:ext cx="435077" cy="435077"/>
            </a:xfrm>
            <a:custGeom>
              <a:avLst/>
              <a:gdLst>
                <a:gd name="connsiteX0" fmla="*/ 435077 w 435077"/>
                <a:gd name="connsiteY0" fmla="*/ 435077 h 435077"/>
                <a:gd name="connsiteX1" fmla="*/ 435077 w 435077"/>
                <a:gd name="connsiteY1" fmla="*/ 217539 h 435077"/>
                <a:gd name="connsiteX2" fmla="*/ 435077 w 435077"/>
                <a:gd name="connsiteY2" fmla="*/ 14 h 435077"/>
                <a:gd name="connsiteX3" fmla="*/ 217539 w 435077"/>
                <a:gd name="connsiteY3" fmla="*/ 14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14"/>
                  </a:lnTo>
                  <a:lnTo>
                    <a:pt x="217539" y="14"/>
                  </a:lnTo>
                  <a:lnTo>
                    <a:pt x="435077" y="217539"/>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632" name="Freeform: Shape 631">
              <a:extLst>
                <a:ext uri="{FF2B5EF4-FFF2-40B4-BE49-F238E27FC236}">
                  <a16:creationId xmlns:a16="http://schemas.microsoft.com/office/drawing/2014/main" id="{DD1B7FA0-3749-7953-F2B2-35567C83A651}"/>
                </a:ext>
              </a:extLst>
            </p:cNvPr>
            <p:cNvSpPr/>
            <p:nvPr/>
          </p:nvSpPr>
          <p:spPr>
            <a:xfrm>
              <a:off x="14758382" y="2839064"/>
              <a:ext cx="435077" cy="435077"/>
            </a:xfrm>
            <a:custGeom>
              <a:avLst/>
              <a:gdLst>
                <a:gd name="connsiteX0" fmla="*/ 435077 w 435077"/>
                <a:gd name="connsiteY0" fmla="*/ 435077 h 435077"/>
                <a:gd name="connsiteX1" fmla="*/ 435077 w 435077"/>
                <a:gd name="connsiteY1" fmla="*/ 0 h 435077"/>
                <a:gd name="connsiteX2" fmla="*/ 217567 w 435077"/>
                <a:gd name="connsiteY2" fmla="*/ 217539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7" y="217539"/>
                  </a:lnTo>
                  <a:lnTo>
                    <a:pt x="435077" y="435077"/>
                  </a:lnTo>
                  <a:close/>
                  <a:moveTo>
                    <a:pt x="0" y="435077"/>
                  </a:moveTo>
                  <a:lnTo>
                    <a:pt x="0" y="3"/>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633" name="Freeform: Shape 632">
              <a:extLst>
                <a:ext uri="{FF2B5EF4-FFF2-40B4-BE49-F238E27FC236}">
                  <a16:creationId xmlns:a16="http://schemas.microsoft.com/office/drawing/2014/main" id="{D9E50AF1-259B-9541-6658-B277D782145D}"/>
                </a:ext>
              </a:extLst>
            </p:cNvPr>
            <p:cNvSpPr/>
            <p:nvPr/>
          </p:nvSpPr>
          <p:spPr>
            <a:xfrm>
              <a:off x="13888200" y="2839064"/>
              <a:ext cx="435103" cy="435077"/>
            </a:xfrm>
            <a:custGeom>
              <a:avLst/>
              <a:gdLst>
                <a:gd name="connsiteX0" fmla="*/ 0 w 435103"/>
                <a:gd name="connsiteY0" fmla="*/ 435077 h 435077"/>
                <a:gd name="connsiteX1" fmla="*/ 0 w 435103"/>
                <a:gd name="connsiteY1" fmla="*/ 0 h 435077"/>
                <a:gd name="connsiteX2" fmla="*/ 217539 w 435103"/>
                <a:gd name="connsiteY2" fmla="*/ 217539 h 435077"/>
                <a:gd name="connsiteX3" fmla="*/ 0 w 435103"/>
                <a:gd name="connsiteY3" fmla="*/ 435077 h 435077"/>
                <a:gd name="connsiteX4" fmla="*/ 217565 w 435103"/>
                <a:gd name="connsiteY4" fmla="*/ 435077 h 435077"/>
                <a:gd name="connsiteX5" fmla="*/ 217565 w 435103"/>
                <a:gd name="connsiteY5" fmla="*/ 0 h 435077"/>
                <a:gd name="connsiteX6" fmla="*/ 435104 w 435103"/>
                <a:gd name="connsiteY6" fmla="*/ 217539 h 435077"/>
                <a:gd name="connsiteX7" fmla="*/ 217565 w 435103"/>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103" h="435077">
                  <a:moveTo>
                    <a:pt x="0" y="435077"/>
                  </a:moveTo>
                  <a:lnTo>
                    <a:pt x="0" y="0"/>
                  </a:lnTo>
                  <a:lnTo>
                    <a:pt x="217539" y="217539"/>
                  </a:lnTo>
                  <a:lnTo>
                    <a:pt x="0" y="435077"/>
                  </a:lnTo>
                  <a:close/>
                  <a:moveTo>
                    <a:pt x="217565" y="435077"/>
                  </a:moveTo>
                  <a:lnTo>
                    <a:pt x="217565" y="0"/>
                  </a:lnTo>
                  <a:lnTo>
                    <a:pt x="435104" y="217539"/>
                  </a:lnTo>
                  <a:lnTo>
                    <a:pt x="217565" y="435077"/>
                  </a:lnTo>
                  <a:close/>
                </a:path>
              </a:pathLst>
            </a:custGeom>
            <a:grpFill/>
            <a:ln w="27192" cap="flat">
              <a:noFill/>
              <a:prstDash val="solid"/>
              <a:miter/>
            </a:ln>
          </p:spPr>
          <p:txBody>
            <a:bodyPr rtlCol="0" anchor="ctr"/>
            <a:lstStyle/>
            <a:p>
              <a:endParaRPr lang="uk-UA" sz="900"/>
            </a:p>
          </p:txBody>
        </p:sp>
        <p:sp>
          <p:nvSpPr>
            <p:cNvPr id="634" name="Freeform: Shape 633">
              <a:extLst>
                <a:ext uri="{FF2B5EF4-FFF2-40B4-BE49-F238E27FC236}">
                  <a16:creationId xmlns:a16="http://schemas.microsoft.com/office/drawing/2014/main" id="{862AF28F-1907-6191-326F-5A416C791892}"/>
                </a:ext>
              </a:extLst>
            </p:cNvPr>
            <p:cNvSpPr/>
            <p:nvPr/>
          </p:nvSpPr>
          <p:spPr>
            <a:xfrm>
              <a:off x="15628536" y="283906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8"/>
                    <a:pt x="0" y="57694"/>
                    <a:pt x="0" y="0"/>
                  </a:cubicBezTo>
                  <a:lnTo>
                    <a:pt x="217539" y="0"/>
                  </a:lnTo>
                  <a:lnTo>
                    <a:pt x="435077" y="0"/>
                  </a:lnTo>
                  <a:cubicBezTo>
                    <a:pt x="435077" y="57694"/>
                    <a:pt x="412155" y="113038"/>
                    <a:pt x="371367" y="153827"/>
                  </a:cubicBezTo>
                  <a:cubicBezTo>
                    <a:pt x="330578" y="194616"/>
                    <a:pt x="275241" y="217539"/>
                    <a:pt x="217539" y="217539"/>
                  </a:cubicBezTo>
                  <a:cubicBezTo>
                    <a:pt x="159865" y="217539"/>
                    <a:pt x="104527" y="194616"/>
                    <a:pt x="63712" y="153827"/>
                  </a:cubicBezTo>
                  <a:close/>
                  <a:moveTo>
                    <a:pt x="63712" y="281250"/>
                  </a:moveTo>
                  <a:cubicBezTo>
                    <a:pt x="22924" y="322039"/>
                    <a:pt x="0" y="377375"/>
                    <a:pt x="0" y="435077"/>
                  </a:cubicBezTo>
                  <a:lnTo>
                    <a:pt x="217539" y="435077"/>
                  </a:lnTo>
                  <a:lnTo>
                    <a:pt x="435077" y="435077"/>
                  </a:lnTo>
                  <a:cubicBezTo>
                    <a:pt x="435077" y="377375"/>
                    <a:pt x="412155" y="322039"/>
                    <a:pt x="371367" y="281250"/>
                  </a:cubicBezTo>
                  <a:cubicBezTo>
                    <a:pt x="330578" y="240462"/>
                    <a:pt x="275241" y="217539"/>
                    <a:pt x="217539" y="217539"/>
                  </a:cubicBezTo>
                  <a:cubicBezTo>
                    <a:pt x="159865" y="217539"/>
                    <a:pt x="104527" y="240462"/>
                    <a:pt x="63712" y="281250"/>
                  </a:cubicBezTo>
                  <a:close/>
                </a:path>
              </a:pathLst>
            </a:custGeom>
            <a:grpFill/>
            <a:ln w="27192" cap="flat">
              <a:noFill/>
              <a:prstDash val="solid"/>
              <a:miter/>
            </a:ln>
          </p:spPr>
          <p:txBody>
            <a:bodyPr rtlCol="0" anchor="ctr"/>
            <a:lstStyle/>
            <a:p>
              <a:endParaRPr lang="uk-UA" sz="900"/>
            </a:p>
          </p:txBody>
        </p:sp>
        <p:sp>
          <p:nvSpPr>
            <p:cNvPr id="635" name="Freeform: Shape 634">
              <a:extLst>
                <a:ext uri="{FF2B5EF4-FFF2-40B4-BE49-F238E27FC236}">
                  <a16:creationId xmlns:a16="http://schemas.microsoft.com/office/drawing/2014/main" id="{503DCA9D-4B2E-E8D3-3638-D57B85EAE0D0}"/>
                </a:ext>
              </a:extLst>
            </p:cNvPr>
            <p:cNvSpPr/>
            <p:nvPr/>
          </p:nvSpPr>
          <p:spPr>
            <a:xfrm>
              <a:off x="16498719" y="2839064"/>
              <a:ext cx="435077" cy="435077"/>
            </a:xfrm>
            <a:custGeom>
              <a:avLst/>
              <a:gdLst>
                <a:gd name="connsiteX0" fmla="*/ 435077 w 435077"/>
                <a:gd name="connsiteY0" fmla="*/ 435077 h 435077"/>
                <a:gd name="connsiteX1" fmla="*/ 435077 w 435077"/>
                <a:gd name="connsiteY1" fmla="*/ 217539 h 435077"/>
                <a:gd name="connsiteX2" fmla="*/ 435077 w 435077"/>
                <a:gd name="connsiteY2" fmla="*/ 14 h 435077"/>
                <a:gd name="connsiteX3" fmla="*/ 217539 w 435077"/>
                <a:gd name="connsiteY3" fmla="*/ 14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0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0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14"/>
                  </a:lnTo>
                  <a:lnTo>
                    <a:pt x="217539" y="14"/>
                  </a:lnTo>
                  <a:lnTo>
                    <a:pt x="435077" y="217539"/>
                  </a:lnTo>
                  <a:lnTo>
                    <a:pt x="217539" y="435077"/>
                  </a:lnTo>
                  <a:lnTo>
                    <a:pt x="435077" y="435077"/>
                  </a:lnTo>
                  <a:close/>
                  <a:moveTo>
                    <a:pt x="0" y="217539"/>
                  </a:moveTo>
                  <a:lnTo>
                    <a:pt x="0" y="0"/>
                  </a:lnTo>
                  <a:lnTo>
                    <a:pt x="217510" y="217539"/>
                  </a:lnTo>
                  <a:lnTo>
                    <a:pt x="0" y="217539"/>
                  </a:lnTo>
                  <a:close/>
                  <a:moveTo>
                    <a:pt x="0" y="435077"/>
                  </a:moveTo>
                  <a:lnTo>
                    <a:pt x="0" y="217539"/>
                  </a:lnTo>
                  <a:lnTo>
                    <a:pt x="217510" y="217539"/>
                  </a:lnTo>
                  <a:lnTo>
                    <a:pt x="0" y="435077"/>
                  </a:lnTo>
                  <a:close/>
                </a:path>
              </a:pathLst>
            </a:custGeom>
            <a:grpFill/>
            <a:ln w="27192" cap="flat">
              <a:noFill/>
              <a:prstDash val="solid"/>
              <a:miter/>
            </a:ln>
          </p:spPr>
          <p:txBody>
            <a:bodyPr rtlCol="0" anchor="ctr"/>
            <a:lstStyle/>
            <a:p>
              <a:endParaRPr lang="uk-UA" sz="900"/>
            </a:p>
          </p:txBody>
        </p:sp>
        <p:sp>
          <p:nvSpPr>
            <p:cNvPr id="636" name="Freeform: Shape 635">
              <a:extLst>
                <a:ext uri="{FF2B5EF4-FFF2-40B4-BE49-F238E27FC236}">
                  <a16:creationId xmlns:a16="http://schemas.microsoft.com/office/drawing/2014/main" id="{11E54C70-F269-1327-82E6-C8E7610DE9B6}"/>
                </a:ext>
              </a:extLst>
            </p:cNvPr>
            <p:cNvSpPr/>
            <p:nvPr/>
          </p:nvSpPr>
          <p:spPr>
            <a:xfrm>
              <a:off x="18239029" y="2839064"/>
              <a:ext cx="435077" cy="435077"/>
            </a:xfrm>
            <a:custGeom>
              <a:avLst/>
              <a:gdLst>
                <a:gd name="connsiteX0" fmla="*/ 435077 w 435077"/>
                <a:gd name="connsiteY0" fmla="*/ 435077 h 435077"/>
                <a:gd name="connsiteX1" fmla="*/ 435077 w 435077"/>
                <a:gd name="connsiteY1" fmla="*/ 0 h 435077"/>
                <a:gd name="connsiteX2" fmla="*/ 217565 w 435077"/>
                <a:gd name="connsiteY2" fmla="*/ 217539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39"/>
                  </a:lnTo>
                  <a:lnTo>
                    <a:pt x="435077" y="435077"/>
                  </a:lnTo>
                  <a:close/>
                  <a:moveTo>
                    <a:pt x="0" y="435077"/>
                  </a:moveTo>
                  <a:lnTo>
                    <a:pt x="0" y="3"/>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637" name="Freeform: Shape 636">
              <a:extLst>
                <a:ext uri="{FF2B5EF4-FFF2-40B4-BE49-F238E27FC236}">
                  <a16:creationId xmlns:a16="http://schemas.microsoft.com/office/drawing/2014/main" id="{C705BA17-BA9B-1E74-CEEC-C00A1E2C6FD5}"/>
                </a:ext>
              </a:extLst>
            </p:cNvPr>
            <p:cNvSpPr/>
            <p:nvPr/>
          </p:nvSpPr>
          <p:spPr>
            <a:xfrm>
              <a:off x="17368874" y="2839064"/>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638" name="Freeform: Shape 637">
              <a:extLst>
                <a:ext uri="{FF2B5EF4-FFF2-40B4-BE49-F238E27FC236}">
                  <a16:creationId xmlns:a16="http://schemas.microsoft.com/office/drawing/2014/main" id="{ECFC1DB1-5F0E-A01F-F96F-1DCB7B0F61C1}"/>
                </a:ext>
              </a:extLst>
            </p:cNvPr>
            <p:cNvSpPr/>
            <p:nvPr/>
          </p:nvSpPr>
          <p:spPr>
            <a:xfrm>
              <a:off x="19109210" y="283906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895" y="113038"/>
                    <a:pt x="0" y="57694"/>
                    <a:pt x="0" y="0"/>
                  </a:cubicBezTo>
                  <a:lnTo>
                    <a:pt x="217539" y="0"/>
                  </a:lnTo>
                  <a:lnTo>
                    <a:pt x="435077" y="0"/>
                  </a:lnTo>
                  <a:cubicBezTo>
                    <a:pt x="435077" y="57694"/>
                    <a:pt x="412154" y="113038"/>
                    <a:pt x="371339" y="153827"/>
                  </a:cubicBezTo>
                  <a:cubicBezTo>
                    <a:pt x="330550" y="194616"/>
                    <a:pt x="275215" y="217539"/>
                    <a:pt x="217539" y="217539"/>
                  </a:cubicBezTo>
                  <a:cubicBezTo>
                    <a:pt x="159836" y="217539"/>
                    <a:pt x="104501" y="194616"/>
                    <a:pt x="63712" y="153827"/>
                  </a:cubicBezTo>
                  <a:close/>
                  <a:moveTo>
                    <a:pt x="63712" y="281250"/>
                  </a:moveTo>
                  <a:cubicBezTo>
                    <a:pt x="22895" y="322039"/>
                    <a:pt x="0" y="377375"/>
                    <a:pt x="0" y="435077"/>
                  </a:cubicBezTo>
                  <a:lnTo>
                    <a:pt x="217539" y="435077"/>
                  </a:lnTo>
                  <a:lnTo>
                    <a:pt x="435077" y="435077"/>
                  </a:lnTo>
                  <a:cubicBezTo>
                    <a:pt x="435077" y="377375"/>
                    <a:pt x="412154" y="322039"/>
                    <a:pt x="371339" y="281250"/>
                  </a:cubicBezTo>
                  <a:cubicBezTo>
                    <a:pt x="330550" y="240462"/>
                    <a:pt x="275215" y="217539"/>
                    <a:pt x="217539" y="217539"/>
                  </a:cubicBezTo>
                  <a:cubicBezTo>
                    <a:pt x="159836" y="217539"/>
                    <a:pt x="104501" y="240462"/>
                    <a:pt x="63712" y="281250"/>
                  </a:cubicBezTo>
                  <a:close/>
                </a:path>
              </a:pathLst>
            </a:custGeom>
            <a:grpFill/>
            <a:ln w="27192" cap="flat">
              <a:noFill/>
              <a:prstDash val="solid"/>
              <a:miter/>
            </a:ln>
          </p:spPr>
          <p:txBody>
            <a:bodyPr rtlCol="0" anchor="ctr"/>
            <a:lstStyle/>
            <a:p>
              <a:endParaRPr lang="uk-UA" sz="900"/>
            </a:p>
          </p:txBody>
        </p:sp>
        <p:sp>
          <p:nvSpPr>
            <p:cNvPr id="639" name="Freeform: Shape 638">
              <a:extLst>
                <a:ext uri="{FF2B5EF4-FFF2-40B4-BE49-F238E27FC236}">
                  <a16:creationId xmlns:a16="http://schemas.microsoft.com/office/drawing/2014/main" id="{562BE938-E8EE-69C1-E413-60544AACE964}"/>
                </a:ext>
              </a:extLst>
            </p:cNvPr>
            <p:cNvSpPr/>
            <p:nvPr/>
          </p:nvSpPr>
          <p:spPr>
            <a:xfrm>
              <a:off x="19979365" y="2839064"/>
              <a:ext cx="435077" cy="435077"/>
            </a:xfrm>
            <a:custGeom>
              <a:avLst/>
              <a:gdLst>
                <a:gd name="connsiteX0" fmla="*/ 435077 w 435077"/>
                <a:gd name="connsiteY0" fmla="*/ 435077 h 435077"/>
                <a:gd name="connsiteX1" fmla="*/ 435077 w 435077"/>
                <a:gd name="connsiteY1" fmla="*/ 217539 h 435077"/>
                <a:gd name="connsiteX2" fmla="*/ 435077 w 435077"/>
                <a:gd name="connsiteY2" fmla="*/ 14 h 435077"/>
                <a:gd name="connsiteX3" fmla="*/ 217539 w 435077"/>
                <a:gd name="connsiteY3" fmla="*/ 14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14"/>
                  </a:lnTo>
                  <a:lnTo>
                    <a:pt x="217539" y="14"/>
                  </a:lnTo>
                  <a:lnTo>
                    <a:pt x="435077" y="217539"/>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640" name="Freeform: Shape 639">
              <a:extLst>
                <a:ext uri="{FF2B5EF4-FFF2-40B4-BE49-F238E27FC236}">
                  <a16:creationId xmlns:a16="http://schemas.microsoft.com/office/drawing/2014/main" id="{63E5E84A-5F84-A6A3-B0B8-3B161E1B0825}"/>
                </a:ext>
              </a:extLst>
            </p:cNvPr>
            <p:cNvSpPr/>
            <p:nvPr/>
          </p:nvSpPr>
          <p:spPr>
            <a:xfrm>
              <a:off x="21719702" y="2839064"/>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3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3"/>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641" name="Freeform: Shape 640">
              <a:extLst>
                <a:ext uri="{FF2B5EF4-FFF2-40B4-BE49-F238E27FC236}">
                  <a16:creationId xmlns:a16="http://schemas.microsoft.com/office/drawing/2014/main" id="{568E5BE3-6C07-F156-E2D0-DEA00629BDC0}"/>
                </a:ext>
              </a:extLst>
            </p:cNvPr>
            <p:cNvSpPr/>
            <p:nvPr/>
          </p:nvSpPr>
          <p:spPr>
            <a:xfrm>
              <a:off x="20849520" y="2839064"/>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65 w 435077"/>
                <a:gd name="connsiteY4" fmla="*/ 435077 h 435077"/>
                <a:gd name="connsiteX5" fmla="*/ 217565 w 435077"/>
                <a:gd name="connsiteY5" fmla="*/ 0 h 435077"/>
                <a:gd name="connsiteX6" fmla="*/ 435077 w 435077"/>
                <a:gd name="connsiteY6" fmla="*/ 217539 h 435077"/>
                <a:gd name="connsiteX7" fmla="*/ 217565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65" y="435077"/>
                  </a:moveTo>
                  <a:lnTo>
                    <a:pt x="217565" y="0"/>
                  </a:lnTo>
                  <a:lnTo>
                    <a:pt x="435077" y="217539"/>
                  </a:lnTo>
                  <a:lnTo>
                    <a:pt x="217565" y="435077"/>
                  </a:lnTo>
                  <a:close/>
                </a:path>
              </a:pathLst>
            </a:custGeom>
            <a:grpFill/>
            <a:ln w="27192" cap="flat">
              <a:noFill/>
              <a:prstDash val="solid"/>
              <a:miter/>
            </a:ln>
          </p:spPr>
          <p:txBody>
            <a:bodyPr rtlCol="0" anchor="ctr"/>
            <a:lstStyle/>
            <a:p>
              <a:endParaRPr lang="uk-UA" sz="900"/>
            </a:p>
          </p:txBody>
        </p:sp>
        <p:sp>
          <p:nvSpPr>
            <p:cNvPr id="642" name="Freeform: Shape 641">
              <a:extLst>
                <a:ext uri="{FF2B5EF4-FFF2-40B4-BE49-F238E27FC236}">
                  <a16:creationId xmlns:a16="http://schemas.microsoft.com/office/drawing/2014/main" id="{D857006F-CF85-8B0F-60C2-DABCBCC3BF30}"/>
                </a:ext>
              </a:extLst>
            </p:cNvPr>
            <p:cNvSpPr/>
            <p:nvPr/>
          </p:nvSpPr>
          <p:spPr>
            <a:xfrm>
              <a:off x="22589856" y="283906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8"/>
                    <a:pt x="0" y="57694"/>
                    <a:pt x="0" y="0"/>
                  </a:cubicBezTo>
                  <a:lnTo>
                    <a:pt x="217539" y="0"/>
                  </a:lnTo>
                  <a:lnTo>
                    <a:pt x="435077" y="0"/>
                  </a:lnTo>
                  <a:cubicBezTo>
                    <a:pt x="435077" y="57694"/>
                    <a:pt x="412155" y="113038"/>
                    <a:pt x="371367" y="153827"/>
                  </a:cubicBezTo>
                  <a:cubicBezTo>
                    <a:pt x="330578" y="194616"/>
                    <a:pt x="275241" y="217539"/>
                    <a:pt x="217539" y="217539"/>
                  </a:cubicBezTo>
                  <a:cubicBezTo>
                    <a:pt x="159838" y="217539"/>
                    <a:pt x="104529" y="194616"/>
                    <a:pt x="63712" y="153827"/>
                  </a:cubicBezTo>
                  <a:close/>
                  <a:moveTo>
                    <a:pt x="63712" y="281250"/>
                  </a:moveTo>
                  <a:cubicBezTo>
                    <a:pt x="22924" y="322039"/>
                    <a:pt x="0" y="377375"/>
                    <a:pt x="0" y="435077"/>
                  </a:cubicBezTo>
                  <a:lnTo>
                    <a:pt x="217539" y="435077"/>
                  </a:lnTo>
                  <a:lnTo>
                    <a:pt x="435077" y="435077"/>
                  </a:lnTo>
                  <a:cubicBezTo>
                    <a:pt x="435077" y="377375"/>
                    <a:pt x="412155" y="322039"/>
                    <a:pt x="371367" y="281250"/>
                  </a:cubicBezTo>
                  <a:cubicBezTo>
                    <a:pt x="330578" y="240462"/>
                    <a:pt x="275241" y="217539"/>
                    <a:pt x="217539" y="217539"/>
                  </a:cubicBezTo>
                  <a:cubicBezTo>
                    <a:pt x="159838" y="217539"/>
                    <a:pt x="104529" y="240462"/>
                    <a:pt x="63712" y="281250"/>
                  </a:cubicBezTo>
                  <a:close/>
                </a:path>
              </a:pathLst>
            </a:custGeom>
            <a:grpFill/>
            <a:ln w="27192" cap="flat">
              <a:noFill/>
              <a:prstDash val="solid"/>
              <a:miter/>
            </a:ln>
          </p:spPr>
          <p:txBody>
            <a:bodyPr rtlCol="0" anchor="ctr"/>
            <a:lstStyle/>
            <a:p>
              <a:endParaRPr lang="uk-UA" sz="900"/>
            </a:p>
          </p:txBody>
        </p:sp>
        <p:sp>
          <p:nvSpPr>
            <p:cNvPr id="643" name="Freeform: Shape 642">
              <a:extLst>
                <a:ext uri="{FF2B5EF4-FFF2-40B4-BE49-F238E27FC236}">
                  <a16:creationId xmlns:a16="http://schemas.microsoft.com/office/drawing/2014/main" id="{77922B51-42E6-272D-2E86-CAD7B98D7C4F}"/>
                </a:ext>
              </a:extLst>
            </p:cNvPr>
            <p:cNvSpPr/>
            <p:nvPr/>
          </p:nvSpPr>
          <p:spPr>
            <a:xfrm>
              <a:off x="23460011" y="2839064"/>
              <a:ext cx="435105" cy="435077"/>
            </a:xfrm>
            <a:custGeom>
              <a:avLst/>
              <a:gdLst>
                <a:gd name="connsiteX0" fmla="*/ 435106 w 435105"/>
                <a:gd name="connsiteY0" fmla="*/ 435077 h 435077"/>
                <a:gd name="connsiteX1" fmla="*/ 435106 w 435105"/>
                <a:gd name="connsiteY1" fmla="*/ 217539 h 435077"/>
                <a:gd name="connsiteX2" fmla="*/ 435106 w 435105"/>
                <a:gd name="connsiteY2" fmla="*/ 14 h 435077"/>
                <a:gd name="connsiteX3" fmla="*/ 217567 w 435105"/>
                <a:gd name="connsiteY3" fmla="*/ 14 h 435077"/>
                <a:gd name="connsiteX4" fmla="*/ 435106 w 435105"/>
                <a:gd name="connsiteY4" fmla="*/ 217539 h 435077"/>
                <a:gd name="connsiteX5" fmla="*/ 217567 w 435105"/>
                <a:gd name="connsiteY5" fmla="*/ 435077 h 435077"/>
                <a:gd name="connsiteX6" fmla="*/ 435106 w 435105"/>
                <a:gd name="connsiteY6" fmla="*/ 435077 h 435077"/>
                <a:gd name="connsiteX7" fmla="*/ 0 w 435105"/>
                <a:gd name="connsiteY7" fmla="*/ 217539 h 435077"/>
                <a:gd name="connsiteX8" fmla="*/ 0 w 435105"/>
                <a:gd name="connsiteY8" fmla="*/ 0 h 435077"/>
                <a:gd name="connsiteX9" fmla="*/ 217539 w 435105"/>
                <a:gd name="connsiteY9" fmla="*/ 217539 h 435077"/>
                <a:gd name="connsiteX10" fmla="*/ 0 w 435105"/>
                <a:gd name="connsiteY10" fmla="*/ 217539 h 435077"/>
                <a:gd name="connsiteX11" fmla="*/ 0 w 435105"/>
                <a:gd name="connsiteY11" fmla="*/ 435077 h 435077"/>
                <a:gd name="connsiteX12" fmla="*/ 0 w 435105"/>
                <a:gd name="connsiteY12" fmla="*/ 217539 h 435077"/>
                <a:gd name="connsiteX13" fmla="*/ 217539 w 435105"/>
                <a:gd name="connsiteY13" fmla="*/ 217539 h 435077"/>
                <a:gd name="connsiteX14" fmla="*/ 0 w 435105"/>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105" h="435077">
                  <a:moveTo>
                    <a:pt x="435106" y="435077"/>
                  </a:moveTo>
                  <a:lnTo>
                    <a:pt x="435106" y="217539"/>
                  </a:lnTo>
                  <a:lnTo>
                    <a:pt x="435106" y="14"/>
                  </a:lnTo>
                  <a:lnTo>
                    <a:pt x="217567" y="14"/>
                  </a:lnTo>
                  <a:lnTo>
                    <a:pt x="435106" y="217539"/>
                  </a:lnTo>
                  <a:lnTo>
                    <a:pt x="217567" y="435077"/>
                  </a:lnTo>
                  <a:lnTo>
                    <a:pt x="435106"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644" name="Freeform: Shape 643">
              <a:extLst>
                <a:ext uri="{FF2B5EF4-FFF2-40B4-BE49-F238E27FC236}">
                  <a16:creationId xmlns:a16="http://schemas.microsoft.com/office/drawing/2014/main" id="{0936B598-E4F5-E701-FD38-F718027553BD}"/>
                </a:ext>
              </a:extLst>
            </p:cNvPr>
            <p:cNvSpPr/>
            <p:nvPr/>
          </p:nvSpPr>
          <p:spPr>
            <a:xfrm>
              <a:off x="24330194" y="2839064"/>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645" name="Freeform: Shape 644">
              <a:extLst>
                <a:ext uri="{FF2B5EF4-FFF2-40B4-BE49-F238E27FC236}">
                  <a16:creationId xmlns:a16="http://schemas.microsoft.com/office/drawing/2014/main" id="{0225C001-A143-AF2B-BC95-516FE2935A3E}"/>
                </a:ext>
              </a:extLst>
            </p:cNvPr>
            <p:cNvSpPr/>
            <p:nvPr/>
          </p:nvSpPr>
          <p:spPr>
            <a:xfrm>
              <a:off x="835769" y="3709219"/>
              <a:ext cx="435077" cy="435077"/>
            </a:xfrm>
            <a:custGeom>
              <a:avLst/>
              <a:gdLst>
                <a:gd name="connsiteX0" fmla="*/ 0 w 435077"/>
                <a:gd name="connsiteY0" fmla="*/ 435077 h 435077"/>
                <a:gd name="connsiteX1" fmla="*/ 217511 w 435077"/>
                <a:gd name="connsiteY1" fmla="*/ 435077 h 435077"/>
                <a:gd name="connsiteX2" fmla="*/ 217511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11" y="435077"/>
                  </a:lnTo>
                  <a:lnTo>
                    <a:pt x="217511"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646" name="Freeform: Shape 645">
              <a:extLst>
                <a:ext uri="{FF2B5EF4-FFF2-40B4-BE49-F238E27FC236}">
                  <a16:creationId xmlns:a16="http://schemas.microsoft.com/office/drawing/2014/main" id="{732B3898-D3A1-1D16-ACA4-8A205BB4EA4B}"/>
                </a:ext>
              </a:extLst>
            </p:cNvPr>
            <p:cNvSpPr/>
            <p:nvPr/>
          </p:nvSpPr>
          <p:spPr>
            <a:xfrm>
              <a:off x="-34398" y="3709219"/>
              <a:ext cx="435063" cy="435077"/>
            </a:xfrm>
            <a:custGeom>
              <a:avLst/>
              <a:gdLst>
                <a:gd name="connsiteX0" fmla="*/ 217525 w 435063"/>
                <a:gd name="connsiteY0" fmla="*/ 217539 h 435077"/>
                <a:gd name="connsiteX1" fmla="*/ 217525 w 435063"/>
                <a:gd name="connsiteY1" fmla="*/ 0 h 435077"/>
                <a:gd name="connsiteX2" fmla="*/ 0 w 435063"/>
                <a:gd name="connsiteY2" fmla="*/ 0 h 435077"/>
                <a:gd name="connsiteX3" fmla="*/ 217525 w 435063"/>
                <a:gd name="connsiteY3" fmla="*/ 217539 h 435077"/>
                <a:gd name="connsiteX4" fmla="*/ 0 w 435063"/>
                <a:gd name="connsiteY4" fmla="*/ 435077 h 435077"/>
                <a:gd name="connsiteX5" fmla="*/ 217525 w 435063"/>
                <a:gd name="connsiteY5" fmla="*/ 435077 h 435077"/>
                <a:gd name="connsiteX6" fmla="*/ 217525 w 435063"/>
                <a:gd name="connsiteY6" fmla="*/ 435077 h 435077"/>
                <a:gd name="connsiteX7" fmla="*/ 435064 w 435063"/>
                <a:gd name="connsiteY7" fmla="*/ 217539 h 435077"/>
                <a:gd name="connsiteX8" fmla="*/ 435064 w 435063"/>
                <a:gd name="connsiteY8" fmla="*/ 217539 h 435077"/>
                <a:gd name="connsiteX9" fmla="*/ 435064 w 435063"/>
                <a:gd name="connsiteY9" fmla="*/ 217539 h 435077"/>
                <a:gd name="connsiteX10" fmla="*/ 435064 w 435063"/>
                <a:gd name="connsiteY10" fmla="*/ 217539 h 435077"/>
                <a:gd name="connsiteX11" fmla="*/ 435064 w 435063"/>
                <a:gd name="connsiteY11" fmla="*/ 217539 h 435077"/>
                <a:gd name="connsiteX12" fmla="*/ 217525 w 435063"/>
                <a:gd name="connsiteY12" fmla="*/ 0 h 435077"/>
                <a:gd name="connsiteX13" fmla="*/ 217525 w 435063"/>
                <a:gd name="connsiteY13" fmla="*/ 217539 h 435077"/>
                <a:gd name="connsiteX14" fmla="*/ 217525 w 435063"/>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63" h="435077">
                  <a:moveTo>
                    <a:pt x="217525" y="217539"/>
                  </a:moveTo>
                  <a:lnTo>
                    <a:pt x="217525" y="0"/>
                  </a:lnTo>
                  <a:lnTo>
                    <a:pt x="0" y="0"/>
                  </a:lnTo>
                  <a:lnTo>
                    <a:pt x="217525" y="217539"/>
                  </a:lnTo>
                  <a:lnTo>
                    <a:pt x="0" y="435077"/>
                  </a:lnTo>
                  <a:lnTo>
                    <a:pt x="217525" y="435077"/>
                  </a:lnTo>
                  <a:lnTo>
                    <a:pt x="217525" y="435077"/>
                  </a:lnTo>
                  <a:lnTo>
                    <a:pt x="435064" y="217539"/>
                  </a:lnTo>
                  <a:lnTo>
                    <a:pt x="435064" y="217539"/>
                  </a:lnTo>
                  <a:lnTo>
                    <a:pt x="435064" y="217539"/>
                  </a:lnTo>
                  <a:lnTo>
                    <a:pt x="435064" y="217539"/>
                  </a:lnTo>
                  <a:lnTo>
                    <a:pt x="435064" y="217539"/>
                  </a:lnTo>
                  <a:lnTo>
                    <a:pt x="217525" y="0"/>
                  </a:lnTo>
                  <a:lnTo>
                    <a:pt x="217525" y="217539"/>
                  </a:lnTo>
                  <a:lnTo>
                    <a:pt x="217525" y="217539"/>
                  </a:lnTo>
                  <a:close/>
                </a:path>
              </a:pathLst>
            </a:custGeom>
            <a:grpFill/>
            <a:ln w="27192" cap="flat">
              <a:noFill/>
              <a:prstDash val="solid"/>
              <a:miter/>
            </a:ln>
          </p:spPr>
          <p:txBody>
            <a:bodyPr rtlCol="0" anchor="ctr"/>
            <a:lstStyle/>
            <a:p>
              <a:endParaRPr lang="uk-UA" sz="900"/>
            </a:p>
          </p:txBody>
        </p:sp>
        <p:sp>
          <p:nvSpPr>
            <p:cNvPr id="647" name="Freeform: Shape 646">
              <a:extLst>
                <a:ext uri="{FF2B5EF4-FFF2-40B4-BE49-F238E27FC236}">
                  <a16:creationId xmlns:a16="http://schemas.microsoft.com/office/drawing/2014/main" id="{5A6F9E6D-BB85-174D-F6A3-38627FA948EB}"/>
                </a:ext>
              </a:extLst>
            </p:cNvPr>
            <p:cNvSpPr/>
            <p:nvPr/>
          </p:nvSpPr>
          <p:spPr>
            <a:xfrm>
              <a:off x="1705924" y="3709219"/>
              <a:ext cx="435104" cy="435077"/>
            </a:xfrm>
            <a:custGeom>
              <a:avLst/>
              <a:gdLst>
                <a:gd name="connsiteX0" fmla="*/ 217539 w 435104"/>
                <a:gd name="connsiteY0" fmla="*/ 0 h 435077"/>
                <a:gd name="connsiteX1" fmla="*/ 0 w 435104"/>
                <a:gd name="connsiteY1" fmla="*/ 0 h 435077"/>
                <a:gd name="connsiteX2" fmla="*/ 0 w 435104"/>
                <a:gd name="connsiteY2" fmla="*/ 217539 h 435077"/>
                <a:gd name="connsiteX3" fmla="*/ 217539 w 435104"/>
                <a:gd name="connsiteY3" fmla="*/ 0 h 435077"/>
                <a:gd name="connsiteX4" fmla="*/ 435104 w 435104"/>
                <a:gd name="connsiteY4" fmla="*/ 0 h 435077"/>
                <a:gd name="connsiteX5" fmla="*/ 435104 w 435104"/>
                <a:gd name="connsiteY5" fmla="*/ 217539 h 435077"/>
                <a:gd name="connsiteX6" fmla="*/ 217566 w 435104"/>
                <a:gd name="connsiteY6" fmla="*/ 0 h 435077"/>
                <a:gd name="connsiteX7" fmla="*/ 435104 w 435104"/>
                <a:gd name="connsiteY7" fmla="*/ 0 h 435077"/>
                <a:gd name="connsiteX8" fmla="*/ 217566 w 435104"/>
                <a:gd name="connsiteY8" fmla="*/ 435077 h 435077"/>
                <a:gd name="connsiteX9" fmla="*/ 435104 w 435104"/>
                <a:gd name="connsiteY9" fmla="*/ 217539 h 435077"/>
                <a:gd name="connsiteX10" fmla="*/ 435104 w 435104"/>
                <a:gd name="connsiteY10" fmla="*/ 435077 h 435077"/>
                <a:gd name="connsiteX11" fmla="*/ 217566 w 435104"/>
                <a:gd name="connsiteY11" fmla="*/ 435077 h 435077"/>
                <a:gd name="connsiteX12" fmla="*/ 217566 w 435104"/>
                <a:gd name="connsiteY12" fmla="*/ 435077 h 435077"/>
                <a:gd name="connsiteX13" fmla="*/ 27 w 435104"/>
                <a:gd name="connsiteY13" fmla="*/ 217539 h 435077"/>
                <a:gd name="connsiteX14" fmla="*/ 27 w 435104"/>
                <a:gd name="connsiteY14" fmla="*/ 435077 h 435077"/>
                <a:gd name="connsiteX15" fmla="*/ 217566 w 435104"/>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4" h="435077">
                  <a:moveTo>
                    <a:pt x="217539" y="0"/>
                  </a:moveTo>
                  <a:lnTo>
                    <a:pt x="0" y="0"/>
                  </a:lnTo>
                  <a:lnTo>
                    <a:pt x="0" y="217539"/>
                  </a:lnTo>
                  <a:lnTo>
                    <a:pt x="217539" y="0"/>
                  </a:lnTo>
                  <a:close/>
                  <a:moveTo>
                    <a:pt x="435104" y="0"/>
                  </a:moveTo>
                  <a:lnTo>
                    <a:pt x="435104" y="217539"/>
                  </a:lnTo>
                  <a:lnTo>
                    <a:pt x="217566" y="0"/>
                  </a:lnTo>
                  <a:lnTo>
                    <a:pt x="435104" y="0"/>
                  </a:lnTo>
                  <a:close/>
                  <a:moveTo>
                    <a:pt x="217566" y="435077"/>
                  </a:moveTo>
                  <a:lnTo>
                    <a:pt x="435104" y="217539"/>
                  </a:lnTo>
                  <a:lnTo>
                    <a:pt x="435104" y="435077"/>
                  </a:lnTo>
                  <a:lnTo>
                    <a:pt x="217566" y="435077"/>
                  </a:lnTo>
                  <a:close/>
                  <a:moveTo>
                    <a:pt x="217566" y="435077"/>
                  </a:moveTo>
                  <a:lnTo>
                    <a:pt x="27" y="217539"/>
                  </a:lnTo>
                  <a:lnTo>
                    <a:pt x="27" y="435077"/>
                  </a:lnTo>
                  <a:lnTo>
                    <a:pt x="217566" y="435077"/>
                  </a:lnTo>
                  <a:close/>
                </a:path>
              </a:pathLst>
            </a:custGeom>
            <a:grpFill/>
            <a:ln w="27192" cap="flat">
              <a:noFill/>
              <a:prstDash val="solid"/>
              <a:miter/>
            </a:ln>
          </p:spPr>
          <p:txBody>
            <a:bodyPr rtlCol="0" anchor="ctr"/>
            <a:lstStyle/>
            <a:p>
              <a:endParaRPr lang="uk-UA" sz="900"/>
            </a:p>
          </p:txBody>
        </p:sp>
        <p:sp>
          <p:nvSpPr>
            <p:cNvPr id="648" name="Freeform: Shape 647">
              <a:extLst>
                <a:ext uri="{FF2B5EF4-FFF2-40B4-BE49-F238E27FC236}">
                  <a16:creationId xmlns:a16="http://schemas.microsoft.com/office/drawing/2014/main" id="{A85ADE95-8E91-8CC2-DE2D-21DF455BE919}"/>
                </a:ext>
              </a:extLst>
            </p:cNvPr>
            <p:cNvSpPr/>
            <p:nvPr/>
          </p:nvSpPr>
          <p:spPr>
            <a:xfrm>
              <a:off x="2576106" y="3709219"/>
              <a:ext cx="435077" cy="435077"/>
            </a:xfrm>
            <a:custGeom>
              <a:avLst/>
              <a:gdLst>
                <a:gd name="connsiteX0" fmla="*/ 371366 w 435077"/>
                <a:gd name="connsiteY0" fmla="*/ 63712 h 435077"/>
                <a:gd name="connsiteX1" fmla="*/ 435077 w 435077"/>
                <a:gd name="connsiteY1" fmla="*/ 217539 h 435077"/>
                <a:gd name="connsiteX2" fmla="*/ 218925 w 435077"/>
                <a:gd name="connsiteY2" fmla="*/ 217539 h 435077"/>
                <a:gd name="connsiteX3" fmla="*/ 371366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25 w 435077"/>
                <a:gd name="connsiteY8" fmla="*/ 217539 h 435077"/>
                <a:gd name="connsiteX9" fmla="*/ 0 w 435077"/>
                <a:gd name="connsiteY9" fmla="*/ 217539 h 435077"/>
                <a:gd name="connsiteX10" fmla="*/ 63712 w 435077"/>
                <a:gd name="connsiteY10" fmla="*/ 63712 h 435077"/>
                <a:gd name="connsiteX11" fmla="*/ 217539 w 435077"/>
                <a:gd name="connsiteY11" fmla="*/ 0 h 435077"/>
                <a:gd name="connsiteX12" fmla="*/ 371366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2"/>
                  </a:moveTo>
                  <a:cubicBezTo>
                    <a:pt x="412154" y="104500"/>
                    <a:pt x="435077" y="159837"/>
                    <a:pt x="435077" y="217539"/>
                  </a:cubicBezTo>
                  <a:lnTo>
                    <a:pt x="218925" y="217539"/>
                  </a:lnTo>
                  <a:cubicBezTo>
                    <a:pt x="276138" y="217892"/>
                    <a:pt x="330904" y="240788"/>
                    <a:pt x="371366" y="281250"/>
                  </a:cubicBezTo>
                  <a:cubicBezTo>
                    <a:pt x="412154" y="322039"/>
                    <a:pt x="435077" y="377375"/>
                    <a:pt x="435077" y="435077"/>
                  </a:cubicBezTo>
                  <a:lnTo>
                    <a:pt x="217539" y="435077"/>
                  </a:lnTo>
                  <a:lnTo>
                    <a:pt x="0" y="435077"/>
                  </a:lnTo>
                  <a:cubicBezTo>
                    <a:pt x="0" y="377375"/>
                    <a:pt x="22923" y="322039"/>
                    <a:pt x="63712" y="281250"/>
                  </a:cubicBezTo>
                  <a:cubicBezTo>
                    <a:pt x="104174" y="240788"/>
                    <a:pt x="158939" y="217892"/>
                    <a:pt x="216125" y="217539"/>
                  </a:cubicBezTo>
                  <a:lnTo>
                    <a:pt x="0" y="217539"/>
                  </a:lnTo>
                  <a:cubicBezTo>
                    <a:pt x="0" y="159837"/>
                    <a:pt x="22923" y="104500"/>
                    <a:pt x="63712" y="63712"/>
                  </a:cubicBezTo>
                  <a:cubicBezTo>
                    <a:pt x="104500" y="22923"/>
                    <a:pt x="159837" y="0"/>
                    <a:pt x="217539" y="0"/>
                  </a:cubicBezTo>
                  <a:cubicBezTo>
                    <a:pt x="275214" y="0"/>
                    <a:pt x="330550" y="22923"/>
                    <a:pt x="371366" y="63712"/>
                  </a:cubicBezTo>
                  <a:close/>
                </a:path>
              </a:pathLst>
            </a:custGeom>
            <a:grpFill/>
            <a:ln w="27192" cap="flat">
              <a:noFill/>
              <a:prstDash val="solid"/>
              <a:miter/>
            </a:ln>
          </p:spPr>
          <p:txBody>
            <a:bodyPr rtlCol="0" anchor="ctr"/>
            <a:lstStyle/>
            <a:p>
              <a:endParaRPr lang="uk-UA" sz="900"/>
            </a:p>
          </p:txBody>
        </p:sp>
        <p:sp>
          <p:nvSpPr>
            <p:cNvPr id="649" name="Freeform: Shape 648">
              <a:extLst>
                <a:ext uri="{FF2B5EF4-FFF2-40B4-BE49-F238E27FC236}">
                  <a16:creationId xmlns:a16="http://schemas.microsoft.com/office/drawing/2014/main" id="{639C6C8D-82DA-D307-650B-956B18A7DEA5}"/>
                </a:ext>
              </a:extLst>
            </p:cNvPr>
            <p:cNvSpPr/>
            <p:nvPr/>
          </p:nvSpPr>
          <p:spPr>
            <a:xfrm>
              <a:off x="4316442" y="3709219"/>
              <a:ext cx="435050" cy="435077"/>
            </a:xfrm>
            <a:custGeom>
              <a:avLst/>
              <a:gdLst>
                <a:gd name="connsiteX0" fmla="*/ 0 w 435050"/>
                <a:gd name="connsiteY0" fmla="*/ 435077 h 435077"/>
                <a:gd name="connsiteX1" fmla="*/ 217512 w 435050"/>
                <a:gd name="connsiteY1" fmla="*/ 435077 h 435077"/>
                <a:gd name="connsiteX2" fmla="*/ 217512 w 435050"/>
                <a:gd name="connsiteY2" fmla="*/ 217539 h 435077"/>
                <a:gd name="connsiteX3" fmla="*/ 0 w 435050"/>
                <a:gd name="connsiteY3" fmla="*/ 435077 h 435077"/>
                <a:gd name="connsiteX4" fmla="*/ 217512 w 435050"/>
                <a:gd name="connsiteY4" fmla="*/ 0 h 435077"/>
                <a:gd name="connsiteX5" fmla="*/ 0 w 435050"/>
                <a:gd name="connsiteY5" fmla="*/ 0 h 435077"/>
                <a:gd name="connsiteX6" fmla="*/ 217512 w 435050"/>
                <a:gd name="connsiteY6" fmla="*/ 217539 h 435077"/>
                <a:gd name="connsiteX7" fmla="*/ 217512 w 435050"/>
                <a:gd name="connsiteY7" fmla="*/ 0 h 435077"/>
                <a:gd name="connsiteX8" fmla="*/ 435051 w 435050"/>
                <a:gd name="connsiteY8" fmla="*/ 435077 h 435077"/>
                <a:gd name="connsiteX9" fmla="*/ 217539 w 435050"/>
                <a:gd name="connsiteY9" fmla="*/ 435077 h 435077"/>
                <a:gd name="connsiteX10" fmla="*/ 435051 w 435050"/>
                <a:gd name="connsiteY10" fmla="*/ 217539 h 435077"/>
                <a:gd name="connsiteX11" fmla="*/ 435051 w 435050"/>
                <a:gd name="connsiteY11" fmla="*/ 435077 h 435077"/>
                <a:gd name="connsiteX12" fmla="*/ 435051 w 435050"/>
                <a:gd name="connsiteY12" fmla="*/ 0 h 435077"/>
                <a:gd name="connsiteX13" fmla="*/ 217539 w 435050"/>
                <a:gd name="connsiteY13" fmla="*/ 0 h 435077"/>
                <a:gd name="connsiteX14" fmla="*/ 435051 w 435050"/>
                <a:gd name="connsiteY14" fmla="*/ 217539 h 435077"/>
                <a:gd name="connsiteX15" fmla="*/ 435051 w 435050"/>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50" h="435077">
                  <a:moveTo>
                    <a:pt x="0" y="435077"/>
                  </a:moveTo>
                  <a:lnTo>
                    <a:pt x="217512" y="435077"/>
                  </a:lnTo>
                  <a:lnTo>
                    <a:pt x="217512" y="217539"/>
                  </a:lnTo>
                  <a:lnTo>
                    <a:pt x="0" y="435077"/>
                  </a:lnTo>
                  <a:close/>
                  <a:moveTo>
                    <a:pt x="217512" y="0"/>
                  </a:moveTo>
                  <a:lnTo>
                    <a:pt x="0" y="0"/>
                  </a:lnTo>
                  <a:lnTo>
                    <a:pt x="217512" y="217539"/>
                  </a:lnTo>
                  <a:lnTo>
                    <a:pt x="217512" y="0"/>
                  </a:lnTo>
                  <a:close/>
                  <a:moveTo>
                    <a:pt x="435051" y="435077"/>
                  </a:moveTo>
                  <a:lnTo>
                    <a:pt x="217539" y="435077"/>
                  </a:lnTo>
                  <a:lnTo>
                    <a:pt x="435051" y="217539"/>
                  </a:lnTo>
                  <a:lnTo>
                    <a:pt x="435051" y="435077"/>
                  </a:lnTo>
                  <a:close/>
                  <a:moveTo>
                    <a:pt x="435051" y="0"/>
                  </a:moveTo>
                  <a:lnTo>
                    <a:pt x="217539" y="0"/>
                  </a:lnTo>
                  <a:lnTo>
                    <a:pt x="435051" y="217539"/>
                  </a:lnTo>
                  <a:lnTo>
                    <a:pt x="435051" y="0"/>
                  </a:lnTo>
                  <a:close/>
                </a:path>
              </a:pathLst>
            </a:custGeom>
            <a:grpFill/>
            <a:ln w="27192" cap="flat">
              <a:noFill/>
              <a:prstDash val="solid"/>
              <a:miter/>
            </a:ln>
          </p:spPr>
          <p:txBody>
            <a:bodyPr rtlCol="0" anchor="ctr"/>
            <a:lstStyle/>
            <a:p>
              <a:endParaRPr lang="uk-UA" sz="900"/>
            </a:p>
          </p:txBody>
        </p:sp>
        <p:sp>
          <p:nvSpPr>
            <p:cNvPr id="650" name="Freeform: Shape 649">
              <a:extLst>
                <a:ext uri="{FF2B5EF4-FFF2-40B4-BE49-F238E27FC236}">
                  <a16:creationId xmlns:a16="http://schemas.microsoft.com/office/drawing/2014/main" id="{7B53CE89-1413-61F4-5B1A-10CA51483A26}"/>
                </a:ext>
              </a:extLst>
            </p:cNvPr>
            <p:cNvSpPr/>
            <p:nvPr/>
          </p:nvSpPr>
          <p:spPr>
            <a:xfrm>
              <a:off x="3446261" y="370921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651" name="Freeform: Shape 650">
              <a:extLst>
                <a:ext uri="{FF2B5EF4-FFF2-40B4-BE49-F238E27FC236}">
                  <a16:creationId xmlns:a16="http://schemas.microsoft.com/office/drawing/2014/main" id="{A8B93350-B8FD-BFEA-BDD4-AD1F78CE28AF}"/>
                </a:ext>
              </a:extLst>
            </p:cNvPr>
            <p:cNvSpPr/>
            <p:nvPr/>
          </p:nvSpPr>
          <p:spPr>
            <a:xfrm>
              <a:off x="5186597" y="3709219"/>
              <a:ext cx="435077" cy="435077"/>
            </a:xfrm>
            <a:custGeom>
              <a:avLst/>
              <a:gdLst>
                <a:gd name="connsiteX0" fmla="*/ 217539 w 435077"/>
                <a:gd name="connsiteY0" fmla="*/ 0 h 435077"/>
                <a:gd name="connsiteX1" fmla="*/ 217539 w 435077"/>
                <a:gd name="connsiteY1" fmla="*/ 0 h 435077"/>
                <a:gd name="connsiteX2" fmla="*/ 0 w 435077"/>
                <a:gd name="connsiteY2" fmla="*/ 0 h 435077"/>
                <a:gd name="connsiteX3" fmla="*/ 0 w 435077"/>
                <a:gd name="connsiteY3" fmla="*/ 217539 h 435077"/>
                <a:gd name="connsiteX4" fmla="*/ 217539 w 435077"/>
                <a:gd name="connsiteY4" fmla="*/ 0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217539" y="0"/>
                  </a:lnTo>
                  <a:lnTo>
                    <a:pt x="0" y="0"/>
                  </a:lnTo>
                  <a:lnTo>
                    <a:pt x="0" y="217539"/>
                  </a:lnTo>
                  <a:lnTo>
                    <a:pt x="217539" y="0"/>
                  </a:lnTo>
                  <a:lnTo>
                    <a:pt x="435077" y="217539"/>
                  </a:lnTo>
                  <a:lnTo>
                    <a:pt x="217539" y="435077"/>
                  </a:lnTo>
                  <a:lnTo>
                    <a:pt x="0" y="217539"/>
                  </a:lnTo>
                  <a:lnTo>
                    <a:pt x="0" y="435077"/>
                  </a:lnTo>
                  <a:lnTo>
                    <a:pt x="217539" y="435077"/>
                  </a:lnTo>
                  <a:lnTo>
                    <a:pt x="435077" y="435077"/>
                  </a:lnTo>
                  <a:lnTo>
                    <a:pt x="435077" y="217539"/>
                  </a:lnTo>
                  <a:lnTo>
                    <a:pt x="435077" y="0"/>
                  </a:lnTo>
                  <a:lnTo>
                    <a:pt x="217539" y="0"/>
                  </a:lnTo>
                  <a:close/>
                </a:path>
              </a:pathLst>
            </a:custGeom>
            <a:grpFill/>
            <a:ln w="27192" cap="flat">
              <a:noFill/>
              <a:prstDash val="solid"/>
              <a:miter/>
            </a:ln>
          </p:spPr>
          <p:txBody>
            <a:bodyPr rtlCol="0" anchor="ctr"/>
            <a:lstStyle/>
            <a:p>
              <a:endParaRPr lang="uk-UA" sz="900"/>
            </a:p>
          </p:txBody>
        </p:sp>
        <p:sp>
          <p:nvSpPr>
            <p:cNvPr id="652" name="Freeform: Shape 651">
              <a:extLst>
                <a:ext uri="{FF2B5EF4-FFF2-40B4-BE49-F238E27FC236}">
                  <a16:creationId xmlns:a16="http://schemas.microsoft.com/office/drawing/2014/main" id="{5DB266F8-AD9D-CA44-76F9-F69DC8366FC3}"/>
                </a:ext>
              </a:extLst>
            </p:cNvPr>
            <p:cNvSpPr/>
            <p:nvPr/>
          </p:nvSpPr>
          <p:spPr>
            <a:xfrm>
              <a:off x="6056752" y="3709219"/>
              <a:ext cx="435077" cy="435077"/>
            </a:xfrm>
            <a:custGeom>
              <a:avLst/>
              <a:gdLst>
                <a:gd name="connsiteX0" fmla="*/ 371366 w 435077"/>
                <a:gd name="connsiteY0" fmla="*/ 63712 h 435077"/>
                <a:gd name="connsiteX1" fmla="*/ 435077 w 435077"/>
                <a:gd name="connsiteY1" fmla="*/ 217539 h 435077"/>
                <a:gd name="connsiteX2" fmla="*/ 218953 w 435077"/>
                <a:gd name="connsiteY2" fmla="*/ 217539 h 435077"/>
                <a:gd name="connsiteX3" fmla="*/ 371366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25 w 435077"/>
                <a:gd name="connsiteY8" fmla="*/ 217539 h 435077"/>
                <a:gd name="connsiteX9" fmla="*/ 0 w 435077"/>
                <a:gd name="connsiteY9" fmla="*/ 217539 h 435077"/>
                <a:gd name="connsiteX10" fmla="*/ 63712 w 435077"/>
                <a:gd name="connsiteY10" fmla="*/ 63712 h 435077"/>
                <a:gd name="connsiteX11" fmla="*/ 217539 w 435077"/>
                <a:gd name="connsiteY11" fmla="*/ 0 h 435077"/>
                <a:gd name="connsiteX12" fmla="*/ 371366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2"/>
                  </a:moveTo>
                  <a:cubicBezTo>
                    <a:pt x="412155" y="104500"/>
                    <a:pt x="435077" y="159837"/>
                    <a:pt x="435077" y="217539"/>
                  </a:cubicBezTo>
                  <a:lnTo>
                    <a:pt x="218953" y="217539"/>
                  </a:lnTo>
                  <a:cubicBezTo>
                    <a:pt x="276138" y="217892"/>
                    <a:pt x="330904" y="240788"/>
                    <a:pt x="371366" y="281250"/>
                  </a:cubicBezTo>
                  <a:cubicBezTo>
                    <a:pt x="412155" y="322039"/>
                    <a:pt x="435077" y="377375"/>
                    <a:pt x="435077" y="435077"/>
                  </a:cubicBezTo>
                  <a:lnTo>
                    <a:pt x="217539" y="435077"/>
                  </a:lnTo>
                  <a:lnTo>
                    <a:pt x="0" y="435077"/>
                  </a:lnTo>
                  <a:cubicBezTo>
                    <a:pt x="0" y="377375"/>
                    <a:pt x="22924" y="322039"/>
                    <a:pt x="63712" y="281250"/>
                  </a:cubicBezTo>
                  <a:cubicBezTo>
                    <a:pt x="104175" y="240788"/>
                    <a:pt x="158939" y="217892"/>
                    <a:pt x="216125" y="217539"/>
                  </a:cubicBezTo>
                  <a:lnTo>
                    <a:pt x="0" y="217539"/>
                  </a:lnTo>
                  <a:cubicBezTo>
                    <a:pt x="0" y="159837"/>
                    <a:pt x="22924" y="104500"/>
                    <a:pt x="63712" y="63712"/>
                  </a:cubicBezTo>
                  <a:cubicBezTo>
                    <a:pt x="104501" y="22923"/>
                    <a:pt x="159837" y="0"/>
                    <a:pt x="217539" y="0"/>
                  </a:cubicBezTo>
                  <a:cubicBezTo>
                    <a:pt x="275241" y="0"/>
                    <a:pt x="330550" y="22923"/>
                    <a:pt x="371366" y="63712"/>
                  </a:cubicBezTo>
                  <a:close/>
                </a:path>
              </a:pathLst>
            </a:custGeom>
            <a:grpFill/>
            <a:ln w="27192" cap="flat">
              <a:noFill/>
              <a:prstDash val="solid"/>
              <a:miter/>
            </a:ln>
          </p:spPr>
          <p:txBody>
            <a:bodyPr rtlCol="0" anchor="ctr"/>
            <a:lstStyle/>
            <a:p>
              <a:endParaRPr lang="uk-UA" sz="900"/>
            </a:p>
          </p:txBody>
        </p:sp>
        <p:sp>
          <p:nvSpPr>
            <p:cNvPr id="653" name="Freeform: Shape 652">
              <a:extLst>
                <a:ext uri="{FF2B5EF4-FFF2-40B4-BE49-F238E27FC236}">
                  <a16:creationId xmlns:a16="http://schemas.microsoft.com/office/drawing/2014/main" id="{033D2841-6823-74E9-F514-47C64E6C7DBC}"/>
                </a:ext>
              </a:extLst>
            </p:cNvPr>
            <p:cNvSpPr/>
            <p:nvPr/>
          </p:nvSpPr>
          <p:spPr>
            <a:xfrm>
              <a:off x="7797089" y="3709219"/>
              <a:ext cx="435050" cy="435077"/>
            </a:xfrm>
            <a:custGeom>
              <a:avLst/>
              <a:gdLst>
                <a:gd name="connsiteX0" fmla="*/ 0 w 435050"/>
                <a:gd name="connsiteY0" fmla="*/ 435077 h 435077"/>
                <a:gd name="connsiteX1" fmla="*/ 217511 w 435050"/>
                <a:gd name="connsiteY1" fmla="*/ 435077 h 435077"/>
                <a:gd name="connsiteX2" fmla="*/ 217511 w 435050"/>
                <a:gd name="connsiteY2" fmla="*/ 217539 h 435077"/>
                <a:gd name="connsiteX3" fmla="*/ 0 w 435050"/>
                <a:gd name="connsiteY3" fmla="*/ 435077 h 435077"/>
                <a:gd name="connsiteX4" fmla="*/ 217511 w 435050"/>
                <a:gd name="connsiteY4" fmla="*/ 0 h 435077"/>
                <a:gd name="connsiteX5" fmla="*/ 0 w 435050"/>
                <a:gd name="connsiteY5" fmla="*/ 0 h 435077"/>
                <a:gd name="connsiteX6" fmla="*/ 217511 w 435050"/>
                <a:gd name="connsiteY6" fmla="*/ 217539 h 435077"/>
                <a:gd name="connsiteX7" fmla="*/ 217511 w 435050"/>
                <a:gd name="connsiteY7" fmla="*/ 0 h 435077"/>
                <a:gd name="connsiteX8" fmla="*/ 435050 w 435050"/>
                <a:gd name="connsiteY8" fmla="*/ 435077 h 435077"/>
                <a:gd name="connsiteX9" fmla="*/ 217539 w 435050"/>
                <a:gd name="connsiteY9" fmla="*/ 435077 h 435077"/>
                <a:gd name="connsiteX10" fmla="*/ 435050 w 435050"/>
                <a:gd name="connsiteY10" fmla="*/ 217539 h 435077"/>
                <a:gd name="connsiteX11" fmla="*/ 435050 w 435050"/>
                <a:gd name="connsiteY11" fmla="*/ 435077 h 435077"/>
                <a:gd name="connsiteX12" fmla="*/ 435050 w 435050"/>
                <a:gd name="connsiteY12" fmla="*/ 0 h 435077"/>
                <a:gd name="connsiteX13" fmla="*/ 217539 w 435050"/>
                <a:gd name="connsiteY13" fmla="*/ 0 h 435077"/>
                <a:gd name="connsiteX14" fmla="*/ 435050 w 435050"/>
                <a:gd name="connsiteY14" fmla="*/ 217539 h 435077"/>
                <a:gd name="connsiteX15" fmla="*/ 435050 w 435050"/>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50" h="435077">
                  <a:moveTo>
                    <a:pt x="0" y="435077"/>
                  </a:moveTo>
                  <a:lnTo>
                    <a:pt x="217511" y="435077"/>
                  </a:lnTo>
                  <a:lnTo>
                    <a:pt x="217511" y="217539"/>
                  </a:lnTo>
                  <a:lnTo>
                    <a:pt x="0" y="435077"/>
                  </a:lnTo>
                  <a:close/>
                  <a:moveTo>
                    <a:pt x="217511" y="0"/>
                  </a:moveTo>
                  <a:lnTo>
                    <a:pt x="0" y="0"/>
                  </a:lnTo>
                  <a:lnTo>
                    <a:pt x="217511" y="217539"/>
                  </a:lnTo>
                  <a:lnTo>
                    <a:pt x="217511" y="0"/>
                  </a:lnTo>
                  <a:close/>
                  <a:moveTo>
                    <a:pt x="435050" y="435077"/>
                  </a:moveTo>
                  <a:lnTo>
                    <a:pt x="217539" y="435077"/>
                  </a:lnTo>
                  <a:lnTo>
                    <a:pt x="435050" y="217539"/>
                  </a:lnTo>
                  <a:lnTo>
                    <a:pt x="435050" y="435077"/>
                  </a:lnTo>
                  <a:close/>
                  <a:moveTo>
                    <a:pt x="435050" y="0"/>
                  </a:moveTo>
                  <a:lnTo>
                    <a:pt x="217539" y="0"/>
                  </a:lnTo>
                  <a:lnTo>
                    <a:pt x="435050" y="217539"/>
                  </a:lnTo>
                  <a:lnTo>
                    <a:pt x="435050" y="0"/>
                  </a:lnTo>
                  <a:close/>
                </a:path>
              </a:pathLst>
            </a:custGeom>
            <a:grpFill/>
            <a:ln w="27192" cap="flat">
              <a:noFill/>
              <a:prstDash val="solid"/>
              <a:miter/>
            </a:ln>
          </p:spPr>
          <p:txBody>
            <a:bodyPr rtlCol="0" anchor="ctr"/>
            <a:lstStyle/>
            <a:p>
              <a:endParaRPr lang="uk-UA" sz="900"/>
            </a:p>
          </p:txBody>
        </p:sp>
        <p:sp>
          <p:nvSpPr>
            <p:cNvPr id="654" name="Freeform: Shape 653">
              <a:extLst>
                <a:ext uri="{FF2B5EF4-FFF2-40B4-BE49-F238E27FC236}">
                  <a16:creationId xmlns:a16="http://schemas.microsoft.com/office/drawing/2014/main" id="{A0B7D7A0-CBC0-86A1-E468-B45333970824}"/>
                </a:ext>
              </a:extLst>
            </p:cNvPr>
            <p:cNvSpPr/>
            <p:nvPr/>
          </p:nvSpPr>
          <p:spPr>
            <a:xfrm>
              <a:off x="6926907" y="3709219"/>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0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39 h 435077"/>
                <a:gd name="connsiteX9" fmla="*/ 435077 w 435077"/>
                <a:gd name="connsiteY9" fmla="*/ 217539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0"/>
                  </a:lnTo>
                  <a:lnTo>
                    <a:pt x="435077" y="217539"/>
                  </a:lnTo>
                  <a:lnTo>
                    <a:pt x="435077" y="217539"/>
                  </a:lnTo>
                  <a:lnTo>
                    <a:pt x="435077" y="217539"/>
                  </a:lnTo>
                  <a:lnTo>
                    <a:pt x="435077" y="217539"/>
                  </a:lnTo>
                  <a:lnTo>
                    <a:pt x="435077" y="217539"/>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655" name="Freeform: Shape 654">
              <a:extLst>
                <a:ext uri="{FF2B5EF4-FFF2-40B4-BE49-F238E27FC236}">
                  <a16:creationId xmlns:a16="http://schemas.microsoft.com/office/drawing/2014/main" id="{82C9497B-32F2-9BBB-11AA-4663A4CC4B2B}"/>
                </a:ext>
              </a:extLst>
            </p:cNvPr>
            <p:cNvSpPr/>
            <p:nvPr/>
          </p:nvSpPr>
          <p:spPr>
            <a:xfrm>
              <a:off x="8667217" y="370921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p>
          </p:txBody>
        </p:sp>
        <p:sp>
          <p:nvSpPr>
            <p:cNvPr id="656" name="Freeform: Shape 655">
              <a:extLst>
                <a:ext uri="{FF2B5EF4-FFF2-40B4-BE49-F238E27FC236}">
                  <a16:creationId xmlns:a16="http://schemas.microsoft.com/office/drawing/2014/main" id="{751B6995-E31C-B1AD-3ED3-246D14EFD385}"/>
                </a:ext>
              </a:extLst>
            </p:cNvPr>
            <p:cNvSpPr/>
            <p:nvPr/>
          </p:nvSpPr>
          <p:spPr>
            <a:xfrm>
              <a:off x="9537399" y="3709219"/>
              <a:ext cx="435077" cy="435077"/>
            </a:xfrm>
            <a:custGeom>
              <a:avLst/>
              <a:gdLst>
                <a:gd name="connsiteX0" fmla="*/ 371366 w 435077"/>
                <a:gd name="connsiteY0" fmla="*/ 63712 h 435077"/>
                <a:gd name="connsiteX1" fmla="*/ 435077 w 435077"/>
                <a:gd name="connsiteY1" fmla="*/ 217539 h 435077"/>
                <a:gd name="connsiteX2" fmla="*/ 218925 w 435077"/>
                <a:gd name="connsiteY2" fmla="*/ 217539 h 435077"/>
                <a:gd name="connsiteX3" fmla="*/ 371366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1 w 435077"/>
                <a:gd name="connsiteY7" fmla="*/ 281250 h 435077"/>
                <a:gd name="connsiteX8" fmla="*/ 216125 w 435077"/>
                <a:gd name="connsiteY8" fmla="*/ 217539 h 435077"/>
                <a:gd name="connsiteX9" fmla="*/ 0 w 435077"/>
                <a:gd name="connsiteY9" fmla="*/ 217539 h 435077"/>
                <a:gd name="connsiteX10" fmla="*/ 63711 w 435077"/>
                <a:gd name="connsiteY10" fmla="*/ 63712 h 435077"/>
                <a:gd name="connsiteX11" fmla="*/ 217539 w 435077"/>
                <a:gd name="connsiteY11" fmla="*/ 0 h 435077"/>
                <a:gd name="connsiteX12" fmla="*/ 371366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2"/>
                  </a:moveTo>
                  <a:cubicBezTo>
                    <a:pt x="412155" y="104500"/>
                    <a:pt x="435077" y="159837"/>
                    <a:pt x="435077" y="217539"/>
                  </a:cubicBezTo>
                  <a:lnTo>
                    <a:pt x="218925" y="217539"/>
                  </a:lnTo>
                  <a:cubicBezTo>
                    <a:pt x="276111" y="217892"/>
                    <a:pt x="330904" y="240788"/>
                    <a:pt x="371366" y="281250"/>
                  </a:cubicBezTo>
                  <a:cubicBezTo>
                    <a:pt x="412155" y="322039"/>
                    <a:pt x="435077" y="377375"/>
                    <a:pt x="435077" y="435077"/>
                  </a:cubicBezTo>
                  <a:lnTo>
                    <a:pt x="217539" y="435077"/>
                  </a:lnTo>
                  <a:lnTo>
                    <a:pt x="0" y="435077"/>
                  </a:lnTo>
                  <a:cubicBezTo>
                    <a:pt x="0" y="377375"/>
                    <a:pt x="22923" y="322039"/>
                    <a:pt x="63711" y="281250"/>
                  </a:cubicBezTo>
                  <a:cubicBezTo>
                    <a:pt x="104174" y="240788"/>
                    <a:pt x="158939" y="217892"/>
                    <a:pt x="216125" y="217539"/>
                  </a:cubicBezTo>
                  <a:lnTo>
                    <a:pt x="0" y="217539"/>
                  </a:lnTo>
                  <a:cubicBezTo>
                    <a:pt x="0" y="159837"/>
                    <a:pt x="22923" y="104500"/>
                    <a:pt x="63711" y="63712"/>
                  </a:cubicBezTo>
                  <a:cubicBezTo>
                    <a:pt x="104500" y="22923"/>
                    <a:pt x="159836" y="0"/>
                    <a:pt x="217539" y="0"/>
                  </a:cubicBezTo>
                  <a:cubicBezTo>
                    <a:pt x="275214" y="0"/>
                    <a:pt x="330550" y="22923"/>
                    <a:pt x="371366" y="63712"/>
                  </a:cubicBezTo>
                  <a:close/>
                </a:path>
              </a:pathLst>
            </a:custGeom>
            <a:grpFill/>
            <a:ln w="27192" cap="flat">
              <a:noFill/>
              <a:prstDash val="solid"/>
              <a:miter/>
            </a:ln>
          </p:spPr>
          <p:txBody>
            <a:bodyPr rtlCol="0" anchor="ctr"/>
            <a:lstStyle/>
            <a:p>
              <a:endParaRPr lang="uk-UA" sz="900"/>
            </a:p>
          </p:txBody>
        </p:sp>
        <p:sp>
          <p:nvSpPr>
            <p:cNvPr id="657" name="Freeform: Shape 656">
              <a:extLst>
                <a:ext uri="{FF2B5EF4-FFF2-40B4-BE49-F238E27FC236}">
                  <a16:creationId xmlns:a16="http://schemas.microsoft.com/office/drawing/2014/main" id="{9A304235-BC7A-75A5-E571-1B2CD9E928B6}"/>
                </a:ext>
              </a:extLst>
            </p:cNvPr>
            <p:cNvSpPr/>
            <p:nvPr/>
          </p:nvSpPr>
          <p:spPr>
            <a:xfrm>
              <a:off x="11277709" y="3709219"/>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658" name="Freeform: Shape 657">
              <a:extLst>
                <a:ext uri="{FF2B5EF4-FFF2-40B4-BE49-F238E27FC236}">
                  <a16:creationId xmlns:a16="http://schemas.microsoft.com/office/drawing/2014/main" id="{1A8CA6B9-2760-CAF3-13D5-96680F9E80AB}"/>
                </a:ext>
              </a:extLst>
            </p:cNvPr>
            <p:cNvSpPr/>
            <p:nvPr/>
          </p:nvSpPr>
          <p:spPr>
            <a:xfrm>
              <a:off x="10407554" y="3709219"/>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0 h 435077"/>
                <a:gd name="connsiteX5" fmla="*/ 435050 w 435077"/>
                <a:gd name="connsiteY5" fmla="*/ 217539 h 435077"/>
                <a:gd name="connsiteX6" fmla="*/ 435077 w 435077"/>
                <a:gd name="connsiteY6" fmla="*/ 217539 h 435077"/>
                <a:gd name="connsiteX7" fmla="*/ 435050 w 435077"/>
                <a:gd name="connsiteY7" fmla="*/ 217539 h 435077"/>
                <a:gd name="connsiteX8" fmla="*/ 435077 w 435077"/>
                <a:gd name="connsiteY8" fmla="*/ 217539 h 435077"/>
                <a:gd name="connsiteX9" fmla="*/ 435050 w 435077"/>
                <a:gd name="connsiteY9" fmla="*/ 217539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0"/>
                  </a:lnTo>
                  <a:lnTo>
                    <a:pt x="435050" y="217539"/>
                  </a:lnTo>
                  <a:lnTo>
                    <a:pt x="435077" y="217539"/>
                  </a:lnTo>
                  <a:lnTo>
                    <a:pt x="435050" y="217539"/>
                  </a:lnTo>
                  <a:lnTo>
                    <a:pt x="435077" y="217539"/>
                  </a:lnTo>
                  <a:lnTo>
                    <a:pt x="435050" y="217539"/>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659" name="Freeform: Shape 658">
              <a:extLst>
                <a:ext uri="{FF2B5EF4-FFF2-40B4-BE49-F238E27FC236}">
                  <a16:creationId xmlns:a16="http://schemas.microsoft.com/office/drawing/2014/main" id="{C53DDB7B-CB31-E583-7618-3E16E286AE19}"/>
                </a:ext>
              </a:extLst>
            </p:cNvPr>
            <p:cNvSpPr/>
            <p:nvPr/>
          </p:nvSpPr>
          <p:spPr>
            <a:xfrm>
              <a:off x="12147864" y="3709219"/>
              <a:ext cx="435103" cy="435077"/>
            </a:xfrm>
            <a:custGeom>
              <a:avLst/>
              <a:gdLst>
                <a:gd name="connsiteX0" fmla="*/ 217539 w 435103"/>
                <a:gd name="connsiteY0" fmla="*/ 0 h 435077"/>
                <a:gd name="connsiteX1" fmla="*/ 0 w 435103"/>
                <a:gd name="connsiteY1" fmla="*/ 0 h 435077"/>
                <a:gd name="connsiteX2" fmla="*/ 0 w 435103"/>
                <a:gd name="connsiteY2" fmla="*/ 217539 h 435077"/>
                <a:gd name="connsiteX3" fmla="*/ 217539 w 435103"/>
                <a:gd name="connsiteY3" fmla="*/ 0 h 435077"/>
                <a:gd name="connsiteX4" fmla="*/ 435104 w 435103"/>
                <a:gd name="connsiteY4" fmla="*/ 0 h 435077"/>
                <a:gd name="connsiteX5" fmla="*/ 435104 w 435103"/>
                <a:gd name="connsiteY5" fmla="*/ 217539 h 435077"/>
                <a:gd name="connsiteX6" fmla="*/ 217565 w 435103"/>
                <a:gd name="connsiteY6" fmla="*/ 0 h 435077"/>
                <a:gd name="connsiteX7" fmla="*/ 435104 w 435103"/>
                <a:gd name="connsiteY7" fmla="*/ 0 h 435077"/>
                <a:gd name="connsiteX8" fmla="*/ 217565 w 435103"/>
                <a:gd name="connsiteY8" fmla="*/ 435077 h 435077"/>
                <a:gd name="connsiteX9" fmla="*/ 435104 w 435103"/>
                <a:gd name="connsiteY9" fmla="*/ 217539 h 435077"/>
                <a:gd name="connsiteX10" fmla="*/ 435104 w 435103"/>
                <a:gd name="connsiteY10" fmla="*/ 435077 h 435077"/>
                <a:gd name="connsiteX11" fmla="*/ 217565 w 435103"/>
                <a:gd name="connsiteY11" fmla="*/ 435077 h 435077"/>
                <a:gd name="connsiteX12" fmla="*/ 217565 w 435103"/>
                <a:gd name="connsiteY12" fmla="*/ 435077 h 435077"/>
                <a:gd name="connsiteX13" fmla="*/ 27 w 435103"/>
                <a:gd name="connsiteY13" fmla="*/ 217539 h 435077"/>
                <a:gd name="connsiteX14" fmla="*/ 27 w 435103"/>
                <a:gd name="connsiteY14" fmla="*/ 435077 h 435077"/>
                <a:gd name="connsiteX15" fmla="*/ 217565 w 435103"/>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3" h="435077">
                  <a:moveTo>
                    <a:pt x="217539" y="0"/>
                  </a:moveTo>
                  <a:lnTo>
                    <a:pt x="0" y="0"/>
                  </a:lnTo>
                  <a:lnTo>
                    <a:pt x="0" y="217539"/>
                  </a:lnTo>
                  <a:lnTo>
                    <a:pt x="217539" y="0"/>
                  </a:lnTo>
                  <a:close/>
                  <a:moveTo>
                    <a:pt x="435104" y="0"/>
                  </a:moveTo>
                  <a:lnTo>
                    <a:pt x="435104" y="217539"/>
                  </a:lnTo>
                  <a:lnTo>
                    <a:pt x="217565" y="0"/>
                  </a:lnTo>
                  <a:lnTo>
                    <a:pt x="435104" y="0"/>
                  </a:lnTo>
                  <a:close/>
                  <a:moveTo>
                    <a:pt x="217565" y="435077"/>
                  </a:moveTo>
                  <a:lnTo>
                    <a:pt x="435104" y="217539"/>
                  </a:lnTo>
                  <a:lnTo>
                    <a:pt x="435104" y="435077"/>
                  </a:lnTo>
                  <a:lnTo>
                    <a:pt x="217565" y="435077"/>
                  </a:lnTo>
                  <a:close/>
                  <a:moveTo>
                    <a:pt x="217565" y="435077"/>
                  </a:moveTo>
                  <a:lnTo>
                    <a:pt x="27" y="217539"/>
                  </a:lnTo>
                  <a:lnTo>
                    <a:pt x="27" y="435077"/>
                  </a:lnTo>
                  <a:lnTo>
                    <a:pt x="217565" y="435077"/>
                  </a:lnTo>
                  <a:close/>
                </a:path>
              </a:pathLst>
            </a:custGeom>
            <a:grpFill/>
            <a:ln w="27192" cap="flat">
              <a:noFill/>
              <a:prstDash val="solid"/>
              <a:miter/>
            </a:ln>
          </p:spPr>
          <p:txBody>
            <a:bodyPr rtlCol="0" anchor="ctr"/>
            <a:lstStyle/>
            <a:p>
              <a:endParaRPr lang="uk-UA" sz="900"/>
            </a:p>
          </p:txBody>
        </p:sp>
        <p:sp>
          <p:nvSpPr>
            <p:cNvPr id="660" name="Freeform: Shape 659">
              <a:extLst>
                <a:ext uri="{FF2B5EF4-FFF2-40B4-BE49-F238E27FC236}">
                  <a16:creationId xmlns:a16="http://schemas.microsoft.com/office/drawing/2014/main" id="{4ADEECB1-BEA4-D53D-E1C9-13B389E69ABC}"/>
                </a:ext>
              </a:extLst>
            </p:cNvPr>
            <p:cNvSpPr/>
            <p:nvPr/>
          </p:nvSpPr>
          <p:spPr>
            <a:xfrm>
              <a:off x="13018045" y="3709219"/>
              <a:ext cx="435077" cy="435077"/>
            </a:xfrm>
            <a:custGeom>
              <a:avLst/>
              <a:gdLst>
                <a:gd name="connsiteX0" fmla="*/ 371365 w 435077"/>
                <a:gd name="connsiteY0" fmla="*/ 63712 h 435077"/>
                <a:gd name="connsiteX1" fmla="*/ 435077 w 435077"/>
                <a:gd name="connsiteY1" fmla="*/ 217539 h 435077"/>
                <a:gd name="connsiteX2" fmla="*/ 218953 w 435077"/>
                <a:gd name="connsiteY2" fmla="*/ 217539 h 435077"/>
                <a:gd name="connsiteX3" fmla="*/ 371365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51 w 435077"/>
                <a:gd name="connsiteY8" fmla="*/ 217539 h 435077"/>
                <a:gd name="connsiteX9" fmla="*/ 0 w 435077"/>
                <a:gd name="connsiteY9" fmla="*/ 217539 h 435077"/>
                <a:gd name="connsiteX10" fmla="*/ 63712 w 435077"/>
                <a:gd name="connsiteY10" fmla="*/ 63712 h 435077"/>
                <a:gd name="connsiteX11" fmla="*/ 217539 w 435077"/>
                <a:gd name="connsiteY11" fmla="*/ 0 h 435077"/>
                <a:gd name="connsiteX12" fmla="*/ 371365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12"/>
                  </a:moveTo>
                  <a:cubicBezTo>
                    <a:pt x="412154" y="104500"/>
                    <a:pt x="435077" y="159837"/>
                    <a:pt x="435077" y="217539"/>
                  </a:cubicBezTo>
                  <a:lnTo>
                    <a:pt x="218953" y="217539"/>
                  </a:lnTo>
                  <a:cubicBezTo>
                    <a:pt x="276137" y="217892"/>
                    <a:pt x="330904" y="240788"/>
                    <a:pt x="371365" y="281250"/>
                  </a:cubicBezTo>
                  <a:cubicBezTo>
                    <a:pt x="412154" y="322039"/>
                    <a:pt x="435077" y="377375"/>
                    <a:pt x="435077" y="435077"/>
                  </a:cubicBezTo>
                  <a:lnTo>
                    <a:pt x="217539" y="435077"/>
                  </a:lnTo>
                  <a:lnTo>
                    <a:pt x="0" y="435077"/>
                  </a:lnTo>
                  <a:cubicBezTo>
                    <a:pt x="0" y="377375"/>
                    <a:pt x="22924" y="322039"/>
                    <a:pt x="63712" y="281250"/>
                  </a:cubicBezTo>
                  <a:cubicBezTo>
                    <a:pt x="104174" y="240788"/>
                    <a:pt x="158938" y="217892"/>
                    <a:pt x="216151" y="217539"/>
                  </a:cubicBezTo>
                  <a:lnTo>
                    <a:pt x="0" y="217539"/>
                  </a:lnTo>
                  <a:cubicBezTo>
                    <a:pt x="0" y="159837"/>
                    <a:pt x="22924" y="104500"/>
                    <a:pt x="63712" y="63712"/>
                  </a:cubicBezTo>
                  <a:cubicBezTo>
                    <a:pt x="104501" y="22923"/>
                    <a:pt x="159836" y="0"/>
                    <a:pt x="217539" y="0"/>
                  </a:cubicBezTo>
                  <a:cubicBezTo>
                    <a:pt x="275241" y="0"/>
                    <a:pt x="330550" y="22923"/>
                    <a:pt x="371365" y="63712"/>
                  </a:cubicBezTo>
                  <a:close/>
                </a:path>
              </a:pathLst>
            </a:custGeom>
            <a:grpFill/>
            <a:ln w="27192" cap="flat">
              <a:noFill/>
              <a:prstDash val="solid"/>
              <a:miter/>
            </a:ln>
          </p:spPr>
          <p:txBody>
            <a:bodyPr rtlCol="0" anchor="ctr"/>
            <a:lstStyle/>
            <a:p>
              <a:endParaRPr lang="uk-UA" sz="900"/>
            </a:p>
          </p:txBody>
        </p:sp>
        <p:sp>
          <p:nvSpPr>
            <p:cNvPr id="661" name="Freeform: Shape 660">
              <a:extLst>
                <a:ext uri="{FF2B5EF4-FFF2-40B4-BE49-F238E27FC236}">
                  <a16:creationId xmlns:a16="http://schemas.microsoft.com/office/drawing/2014/main" id="{E1677A19-296E-235F-9DD1-4A80BA936CB0}"/>
                </a:ext>
              </a:extLst>
            </p:cNvPr>
            <p:cNvSpPr/>
            <p:nvPr/>
          </p:nvSpPr>
          <p:spPr>
            <a:xfrm>
              <a:off x="14758382" y="3709219"/>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662" name="Freeform: Shape 661">
              <a:extLst>
                <a:ext uri="{FF2B5EF4-FFF2-40B4-BE49-F238E27FC236}">
                  <a16:creationId xmlns:a16="http://schemas.microsoft.com/office/drawing/2014/main" id="{E00FA776-EF80-32A0-D9C8-8B67E1782904}"/>
                </a:ext>
              </a:extLst>
            </p:cNvPr>
            <p:cNvSpPr/>
            <p:nvPr/>
          </p:nvSpPr>
          <p:spPr>
            <a:xfrm>
              <a:off x="13888174" y="3709192"/>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663" name="Freeform: Shape 662">
              <a:extLst>
                <a:ext uri="{FF2B5EF4-FFF2-40B4-BE49-F238E27FC236}">
                  <a16:creationId xmlns:a16="http://schemas.microsoft.com/office/drawing/2014/main" id="{FB0DFEA2-54A5-7E64-9EB8-A107D7D13410}"/>
                </a:ext>
              </a:extLst>
            </p:cNvPr>
            <p:cNvSpPr/>
            <p:nvPr/>
          </p:nvSpPr>
          <p:spPr>
            <a:xfrm>
              <a:off x="15628536" y="3709219"/>
              <a:ext cx="435077" cy="435077"/>
            </a:xfrm>
            <a:custGeom>
              <a:avLst/>
              <a:gdLst>
                <a:gd name="connsiteX0" fmla="*/ 217567 w 435077"/>
                <a:gd name="connsiteY0" fmla="*/ 0 h 435077"/>
                <a:gd name="connsiteX1" fmla="*/ 217539 w 435077"/>
                <a:gd name="connsiteY1" fmla="*/ 0 h 435077"/>
                <a:gd name="connsiteX2" fmla="*/ 28 w 435077"/>
                <a:gd name="connsiteY2" fmla="*/ 0 h 435077"/>
                <a:gd name="connsiteX3" fmla="*/ 28 w 435077"/>
                <a:gd name="connsiteY3" fmla="*/ 217539 h 435077"/>
                <a:gd name="connsiteX4" fmla="*/ 217567 w 435077"/>
                <a:gd name="connsiteY4" fmla="*/ 0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67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67" y="0"/>
                  </a:moveTo>
                  <a:lnTo>
                    <a:pt x="217539" y="0"/>
                  </a:lnTo>
                  <a:lnTo>
                    <a:pt x="28" y="0"/>
                  </a:lnTo>
                  <a:lnTo>
                    <a:pt x="28" y="217539"/>
                  </a:lnTo>
                  <a:lnTo>
                    <a:pt x="217567" y="0"/>
                  </a:lnTo>
                  <a:lnTo>
                    <a:pt x="435077" y="217539"/>
                  </a:lnTo>
                  <a:lnTo>
                    <a:pt x="217539" y="435077"/>
                  </a:lnTo>
                  <a:lnTo>
                    <a:pt x="0" y="217539"/>
                  </a:lnTo>
                  <a:lnTo>
                    <a:pt x="0" y="435077"/>
                  </a:lnTo>
                  <a:lnTo>
                    <a:pt x="217539" y="435077"/>
                  </a:lnTo>
                  <a:lnTo>
                    <a:pt x="435077" y="435077"/>
                  </a:lnTo>
                  <a:lnTo>
                    <a:pt x="435077" y="217539"/>
                  </a:lnTo>
                  <a:lnTo>
                    <a:pt x="435077" y="0"/>
                  </a:lnTo>
                  <a:lnTo>
                    <a:pt x="217567" y="0"/>
                  </a:lnTo>
                  <a:close/>
                </a:path>
              </a:pathLst>
            </a:custGeom>
            <a:grpFill/>
            <a:ln w="27192" cap="flat">
              <a:noFill/>
              <a:prstDash val="solid"/>
              <a:miter/>
            </a:ln>
          </p:spPr>
          <p:txBody>
            <a:bodyPr rtlCol="0" anchor="ctr"/>
            <a:lstStyle/>
            <a:p>
              <a:endParaRPr lang="uk-UA" sz="900"/>
            </a:p>
          </p:txBody>
        </p:sp>
        <p:sp>
          <p:nvSpPr>
            <p:cNvPr id="664" name="Freeform: Shape 663">
              <a:extLst>
                <a:ext uri="{FF2B5EF4-FFF2-40B4-BE49-F238E27FC236}">
                  <a16:creationId xmlns:a16="http://schemas.microsoft.com/office/drawing/2014/main" id="{E2FCE37D-5115-B48E-0E48-DF796B42F214}"/>
                </a:ext>
              </a:extLst>
            </p:cNvPr>
            <p:cNvSpPr/>
            <p:nvPr/>
          </p:nvSpPr>
          <p:spPr>
            <a:xfrm>
              <a:off x="16498719" y="3709219"/>
              <a:ext cx="435077" cy="435077"/>
            </a:xfrm>
            <a:custGeom>
              <a:avLst/>
              <a:gdLst>
                <a:gd name="connsiteX0" fmla="*/ 371339 w 435077"/>
                <a:gd name="connsiteY0" fmla="*/ 63712 h 435077"/>
                <a:gd name="connsiteX1" fmla="*/ 435077 w 435077"/>
                <a:gd name="connsiteY1" fmla="*/ 217539 h 435077"/>
                <a:gd name="connsiteX2" fmla="*/ 218925 w 435077"/>
                <a:gd name="connsiteY2" fmla="*/ 217539 h 435077"/>
                <a:gd name="connsiteX3" fmla="*/ 371365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0 w 435077"/>
                <a:gd name="connsiteY7" fmla="*/ 281250 h 435077"/>
                <a:gd name="connsiteX8" fmla="*/ 216125 w 435077"/>
                <a:gd name="connsiteY8" fmla="*/ 217539 h 435077"/>
                <a:gd name="connsiteX9" fmla="*/ 0 w 435077"/>
                <a:gd name="connsiteY9" fmla="*/ 217539 h 435077"/>
                <a:gd name="connsiteX10" fmla="*/ 63710 w 435077"/>
                <a:gd name="connsiteY10" fmla="*/ 63712 h 435077"/>
                <a:gd name="connsiteX11" fmla="*/ 217539 w 435077"/>
                <a:gd name="connsiteY11" fmla="*/ 0 h 435077"/>
                <a:gd name="connsiteX12" fmla="*/ 371339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12"/>
                  </a:moveTo>
                  <a:cubicBezTo>
                    <a:pt x="412154" y="104500"/>
                    <a:pt x="435077" y="159837"/>
                    <a:pt x="435077" y="217539"/>
                  </a:cubicBezTo>
                  <a:lnTo>
                    <a:pt x="218925" y="217539"/>
                  </a:lnTo>
                  <a:cubicBezTo>
                    <a:pt x="276111" y="217892"/>
                    <a:pt x="330876" y="240788"/>
                    <a:pt x="371365" y="281250"/>
                  </a:cubicBezTo>
                  <a:cubicBezTo>
                    <a:pt x="412154" y="322039"/>
                    <a:pt x="435077" y="377375"/>
                    <a:pt x="435077" y="435077"/>
                  </a:cubicBezTo>
                  <a:lnTo>
                    <a:pt x="217539" y="435077"/>
                  </a:lnTo>
                  <a:lnTo>
                    <a:pt x="0" y="435077"/>
                  </a:lnTo>
                  <a:cubicBezTo>
                    <a:pt x="0" y="377375"/>
                    <a:pt x="22922" y="322039"/>
                    <a:pt x="63710" y="281250"/>
                  </a:cubicBezTo>
                  <a:cubicBezTo>
                    <a:pt x="104174" y="240788"/>
                    <a:pt x="158938" y="217892"/>
                    <a:pt x="216125" y="217539"/>
                  </a:cubicBezTo>
                  <a:lnTo>
                    <a:pt x="0" y="217539"/>
                  </a:lnTo>
                  <a:cubicBezTo>
                    <a:pt x="0" y="159837"/>
                    <a:pt x="22895" y="104500"/>
                    <a:pt x="63710" y="63712"/>
                  </a:cubicBezTo>
                  <a:cubicBezTo>
                    <a:pt x="104499" y="22923"/>
                    <a:pt x="159836" y="0"/>
                    <a:pt x="217539" y="0"/>
                  </a:cubicBezTo>
                  <a:cubicBezTo>
                    <a:pt x="275213" y="0"/>
                    <a:pt x="330550" y="22923"/>
                    <a:pt x="371339" y="63712"/>
                  </a:cubicBezTo>
                  <a:close/>
                </a:path>
              </a:pathLst>
            </a:custGeom>
            <a:grpFill/>
            <a:ln w="27192" cap="flat">
              <a:noFill/>
              <a:prstDash val="solid"/>
              <a:miter/>
            </a:ln>
          </p:spPr>
          <p:txBody>
            <a:bodyPr rtlCol="0" anchor="ctr"/>
            <a:lstStyle/>
            <a:p>
              <a:endParaRPr lang="uk-UA" sz="900"/>
            </a:p>
          </p:txBody>
        </p:sp>
        <p:sp>
          <p:nvSpPr>
            <p:cNvPr id="665" name="Freeform: Shape 664">
              <a:extLst>
                <a:ext uri="{FF2B5EF4-FFF2-40B4-BE49-F238E27FC236}">
                  <a16:creationId xmlns:a16="http://schemas.microsoft.com/office/drawing/2014/main" id="{CEBB2411-48C6-27BE-6F04-7F72A93ABDC9}"/>
                </a:ext>
              </a:extLst>
            </p:cNvPr>
            <p:cNvSpPr/>
            <p:nvPr/>
          </p:nvSpPr>
          <p:spPr>
            <a:xfrm>
              <a:off x="18239029" y="3709219"/>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65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65"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666" name="Freeform: Shape 665">
              <a:extLst>
                <a:ext uri="{FF2B5EF4-FFF2-40B4-BE49-F238E27FC236}">
                  <a16:creationId xmlns:a16="http://schemas.microsoft.com/office/drawing/2014/main" id="{2FA1E8C8-655A-2E6D-3EA3-1C9075570D81}"/>
                </a:ext>
              </a:extLst>
            </p:cNvPr>
            <p:cNvSpPr/>
            <p:nvPr/>
          </p:nvSpPr>
          <p:spPr>
            <a:xfrm>
              <a:off x="17368874" y="370921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667" name="Freeform: Shape 666">
              <a:extLst>
                <a:ext uri="{FF2B5EF4-FFF2-40B4-BE49-F238E27FC236}">
                  <a16:creationId xmlns:a16="http://schemas.microsoft.com/office/drawing/2014/main" id="{E6F7EF1B-D85F-7EDC-2161-F3E9D47586DF}"/>
                </a:ext>
              </a:extLst>
            </p:cNvPr>
            <p:cNvSpPr/>
            <p:nvPr/>
          </p:nvSpPr>
          <p:spPr>
            <a:xfrm>
              <a:off x="19109210" y="370921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668" name="Freeform: Shape 667">
              <a:extLst>
                <a:ext uri="{FF2B5EF4-FFF2-40B4-BE49-F238E27FC236}">
                  <a16:creationId xmlns:a16="http://schemas.microsoft.com/office/drawing/2014/main" id="{AD958CA6-5DD3-8461-F2AB-0E5161A1F673}"/>
                </a:ext>
              </a:extLst>
            </p:cNvPr>
            <p:cNvSpPr/>
            <p:nvPr/>
          </p:nvSpPr>
          <p:spPr>
            <a:xfrm>
              <a:off x="19979365" y="3709219"/>
              <a:ext cx="435077" cy="435077"/>
            </a:xfrm>
            <a:custGeom>
              <a:avLst/>
              <a:gdLst>
                <a:gd name="connsiteX0" fmla="*/ 371365 w 435077"/>
                <a:gd name="connsiteY0" fmla="*/ 63712 h 435077"/>
                <a:gd name="connsiteX1" fmla="*/ 435077 w 435077"/>
                <a:gd name="connsiteY1" fmla="*/ 217539 h 435077"/>
                <a:gd name="connsiteX2" fmla="*/ 218953 w 435077"/>
                <a:gd name="connsiteY2" fmla="*/ 217539 h 435077"/>
                <a:gd name="connsiteX3" fmla="*/ 371365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25 w 435077"/>
                <a:gd name="connsiteY8" fmla="*/ 217539 h 435077"/>
                <a:gd name="connsiteX9" fmla="*/ 0 w 435077"/>
                <a:gd name="connsiteY9" fmla="*/ 217539 h 435077"/>
                <a:gd name="connsiteX10" fmla="*/ 63712 w 435077"/>
                <a:gd name="connsiteY10" fmla="*/ 63712 h 435077"/>
                <a:gd name="connsiteX11" fmla="*/ 217539 w 435077"/>
                <a:gd name="connsiteY11" fmla="*/ 0 h 435077"/>
                <a:gd name="connsiteX12" fmla="*/ 371365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12"/>
                  </a:moveTo>
                  <a:cubicBezTo>
                    <a:pt x="412154" y="104500"/>
                    <a:pt x="435077" y="159837"/>
                    <a:pt x="435077" y="217539"/>
                  </a:cubicBezTo>
                  <a:lnTo>
                    <a:pt x="218953" y="217539"/>
                  </a:lnTo>
                  <a:cubicBezTo>
                    <a:pt x="276139" y="217892"/>
                    <a:pt x="330904" y="240788"/>
                    <a:pt x="371365" y="281250"/>
                  </a:cubicBezTo>
                  <a:cubicBezTo>
                    <a:pt x="412154" y="322039"/>
                    <a:pt x="435077" y="377375"/>
                    <a:pt x="435077" y="435077"/>
                  </a:cubicBezTo>
                  <a:lnTo>
                    <a:pt x="217539" y="435077"/>
                  </a:lnTo>
                  <a:lnTo>
                    <a:pt x="0" y="435077"/>
                  </a:lnTo>
                  <a:cubicBezTo>
                    <a:pt x="0" y="377375"/>
                    <a:pt x="22924" y="322039"/>
                    <a:pt x="63712" y="281250"/>
                  </a:cubicBezTo>
                  <a:cubicBezTo>
                    <a:pt x="104174" y="240788"/>
                    <a:pt x="158940" y="217892"/>
                    <a:pt x="216125" y="217539"/>
                  </a:cubicBezTo>
                  <a:lnTo>
                    <a:pt x="0" y="217539"/>
                  </a:lnTo>
                  <a:cubicBezTo>
                    <a:pt x="0" y="159837"/>
                    <a:pt x="22924" y="104500"/>
                    <a:pt x="63712" y="63712"/>
                  </a:cubicBezTo>
                  <a:cubicBezTo>
                    <a:pt x="104501" y="22923"/>
                    <a:pt x="159836" y="0"/>
                    <a:pt x="217539" y="0"/>
                  </a:cubicBezTo>
                  <a:cubicBezTo>
                    <a:pt x="275241" y="0"/>
                    <a:pt x="330550" y="22923"/>
                    <a:pt x="371365" y="63712"/>
                  </a:cubicBezTo>
                  <a:close/>
                </a:path>
              </a:pathLst>
            </a:custGeom>
            <a:grpFill/>
            <a:ln w="27192" cap="flat">
              <a:noFill/>
              <a:prstDash val="solid"/>
              <a:miter/>
            </a:ln>
          </p:spPr>
          <p:txBody>
            <a:bodyPr rtlCol="0" anchor="ctr"/>
            <a:lstStyle/>
            <a:p>
              <a:endParaRPr lang="uk-UA" sz="900"/>
            </a:p>
          </p:txBody>
        </p:sp>
        <p:sp>
          <p:nvSpPr>
            <p:cNvPr id="669" name="Freeform: Shape 668">
              <a:extLst>
                <a:ext uri="{FF2B5EF4-FFF2-40B4-BE49-F238E27FC236}">
                  <a16:creationId xmlns:a16="http://schemas.microsoft.com/office/drawing/2014/main" id="{5E2C5A1C-D1D4-8A2B-0D67-3B84F9FD5A4C}"/>
                </a:ext>
              </a:extLst>
            </p:cNvPr>
            <p:cNvSpPr/>
            <p:nvPr/>
          </p:nvSpPr>
          <p:spPr>
            <a:xfrm>
              <a:off x="21719702" y="3709219"/>
              <a:ext cx="435077" cy="435077"/>
            </a:xfrm>
            <a:custGeom>
              <a:avLst/>
              <a:gdLst>
                <a:gd name="connsiteX0" fmla="*/ 0 w 435077"/>
                <a:gd name="connsiteY0" fmla="*/ 435077 h 435077"/>
                <a:gd name="connsiteX1" fmla="*/ 217512 w 435077"/>
                <a:gd name="connsiteY1" fmla="*/ 435077 h 435077"/>
                <a:gd name="connsiteX2" fmla="*/ 217512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12" y="435077"/>
                  </a:lnTo>
                  <a:lnTo>
                    <a:pt x="217512"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670" name="Freeform: Shape 669">
              <a:extLst>
                <a:ext uri="{FF2B5EF4-FFF2-40B4-BE49-F238E27FC236}">
                  <a16:creationId xmlns:a16="http://schemas.microsoft.com/office/drawing/2014/main" id="{F6475B96-3A80-6063-E647-16CBB213E238}"/>
                </a:ext>
              </a:extLst>
            </p:cNvPr>
            <p:cNvSpPr/>
            <p:nvPr/>
          </p:nvSpPr>
          <p:spPr>
            <a:xfrm>
              <a:off x="20849520" y="370921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671" name="Freeform: Shape 670">
              <a:extLst>
                <a:ext uri="{FF2B5EF4-FFF2-40B4-BE49-F238E27FC236}">
                  <a16:creationId xmlns:a16="http://schemas.microsoft.com/office/drawing/2014/main" id="{D732FF60-E47A-4B5F-738F-311386C6E4E9}"/>
                </a:ext>
              </a:extLst>
            </p:cNvPr>
            <p:cNvSpPr/>
            <p:nvPr/>
          </p:nvSpPr>
          <p:spPr>
            <a:xfrm>
              <a:off x="22589856" y="370921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672" name="Freeform: Shape 671">
              <a:extLst>
                <a:ext uri="{FF2B5EF4-FFF2-40B4-BE49-F238E27FC236}">
                  <a16:creationId xmlns:a16="http://schemas.microsoft.com/office/drawing/2014/main" id="{4C5301DE-F007-DB70-D8C5-C932AEE35FD1}"/>
                </a:ext>
              </a:extLst>
            </p:cNvPr>
            <p:cNvSpPr/>
            <p:nvPr/>
          </p:nvSpPr>
          <p:spPr>
            <a:xfrm>
              <a:off x="23460039" y="3709219"/>
              <a:ext cx="435077" cy="435077"/>
            </a:xfrm>
            <a:custGeom>
              <a:avLst/>
              <a:gdLst>
                <a:gd name="connsiteX0" fmla="*/ 371339 w 435077"/>
                <a:gd name="connsiteY0" fmla="*/ 63712 h 435077"/>
                <a:gd name="connsiteX1" fmla="*/ 435077 w 435077"/>
                <a:gd name="connsiteY1" fmla="*/ 217539 h 435077"/>
                <a:gd name="connsiteX2" fmla="*/ 218925 w 435077"/>
                <a:gd name="connsiteY2" fmla="*/ 217539 h 435077"/>
                <a:gd name="connsiteX3" fmla="*/ 371339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25 w 435077"/>
                <a:gd name="connsiteY8" fmla="*/ 217539 h 435077"/>
                <a:gd name="connsiteX9" fmla="*/ 0 w 435077"/>
                <a:gd name="connsiteY9" fmla="*/ 217539 h 435077"/>
                <a:gd name="connsiteX10" fmla="*/ 63712 w 435077"/>
                <a:gd name="connsiteY10" fmla="*/ 63712 h 435077"/>
                <a:gd name="connsiteX11" fmla="*/ 217539 w 435077"/>
                <a:gd name="connsiteY11" fmla="*/ 0 h 435077"/>
                <a:gd name="connsiteX12" fmla="*/ 371339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12"/>
                  </a:moveTo>
                  <a:cubicBezTo>
                    <a:pt x="412154" y="104500"/>
                    <a:pt x="435077" y="159837"/>
                    <a:pt x="435077" y="217539"/>
                  </a:cubicBezTo>
                  <a:lnTo>
                    <a:pt x="218925" y="217539"/>
                  </a:lnTo>
                  <a:cubicBezTo>
                    <a:pt x="276111" y="217892"/>
                    <a:pt x="330876" y="240788"/>
                    <a:pt x="371339" y="281250"/>
                  </a:cubicBezTo>
                  <a:cubicBezTo>
                    <a:pt x="412154" y="322039"/>
                    <a:pt x="435077" y="377375"/>
                    <a:pt x="435077" y="435077"/>
                  </a:cubicBezTo>
                  <a:lnTo>
                    <a:pt x="217539" y="435077"/>
                  </a:lnTo>
                  <a:lnTo>
                    <a:pt x="0" y="435077"/>
                  </a:lnTo>
                  <a:cubicBezTo>
                    <a:pt x="0" y="377375"/>
                    <a:pt x="22895" y="322039"/>
                    <a:pt x="63712" y="281250"/>
                  </a:cubicBezTo>
                  <a:cubicBezTo>
                    <a:pt x="104174" y="240788"/>
                    <a:pt x="158938" y="217892"/>
                    <a:pt x="216125" y="217539"/>
                  </a:cubicBezTo>
                  <a:lnTo>
                    <a:pt x="0" y="217539"/>
                  </a:lnTo>
                  <a:cubicBezTo>
                    <a:pt x="0" y="159837"/>
                    <a:pt x="22895" y="104500"/>
                    <a:pt x="63712" y="63712"/>
                  </a:cubicBezTo>
                  <a:cubicBezTo>
                    <a:pt x="104501" y="22923"/>
                    <a:pt x="159836" y="0"/>
                    <a:pt x="217539" y="0"/>
                  </a:cubicBezTo>
                  <a:cubicBezTo>
                    <a:pt x="275213" y="0"/>
                    <a:pt x="330550" y="22923"/>
                    <a:pt x="371339" y="63712"/>
                  </a:cubicBezTo>
                  <a:close/>
                </a:path>
              </a:pathLst>
            </a:custGeom>
            <a:grpFill/>
            <a:ln w="27192" cap="flat">
              <a:noFill/>
              <a:prstDash val="solid"/>
              <a:miter/>
            </a:ln>
          </p:spPr>
          <p:txBody>
            <a:bodyPr rtlCol="0" anchor="ctr"/>
            <a:lstStyle/>
            <a:p>
              <a:endParaRPr lang="uk-UA" sz="900"/>
            </a:p>
          </p:txBody>
        </p:sp>
        <p:sp>
          <p:nvSpPr>
            <p:cNvPr id="673" name="Freeform: Shape 672">
              <a:extLst>
                <a:ext uri="{FF2B5EF4-FFF2-40B4-BE49-F238E27FC236}">
                  <a16:creationId xmlns:a16="http://schemas.microsoft.com/office/drawing/2014/main" id="{ED6C71BF-EC9A-884A-A826-714A0988E981}"/>
                </a:ext>
              </a:extLst>
            </p:cNvPr>
            <p:cNvSpPr/>
            <p:nvPr/>
          </p:nvSpPr>
          <p:spPr>
            <a:xfrm>
              <a:off x="24330194" y="370921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674" name="Freeform: Shape 673">
              <a:extLst>
                <a:ext uri="{FF2B5EF4-FFF2-40B4-BE49-F238E27FC236}">
                  <a16:creationId xmlns:a16="http://schemas.microsoft.com/office/drawing/2014/main" id="{B84933E6-0B80-6C93-E0CE-EB5DE55720F4}"/>
                </a:ext>
              </a:extLst>
            </p:cNvPr>
            <p:cNvSpPr/>
            <p:nvPr/>
          </p:nvSpPr>
          <p:spPr>
            <a:xfrm>
              <a:off x="835769" y="4579374"/>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675" name="Freeform: Shape 674">
              <a:extLst>
                <a:ext uri="{FF2B5EF4-FFF2-40B4-BE49-F238E27FC236}">
                  <a16:creationId xmlns:a16="http://schemas.microsoft.com/office/drawing/2014/main" id="{D9A897A4-B3DA-832F-8847-5178131CDA9D}"/>
                </a:ext>
              </a:extLst>
            </p:cNvPr>
            <p:cNvSpPr/>
            <p:nvPr/>
          </p:nvSpPr>
          <p:spPr>
            <a:xfrm>
              <a:off x="-34398" y="4579374"/>
              <a:ext cx="435063" cy="435077"/>
            </a:xfrm>
            <a:custGeom>
              <a:avLst/>
              <a:gdLst>
                <a:gd name="connsiteX0" fmla="*/ 435064 w 435063"/>
                <a:gd name="connsiteY0" fmla="*/ 435077 h 435077"/>
                <a:gd name="connsiteX1" fmla="*/ 435064 w 435063"/>
                <a:gd name="connsiteY1" fmla="*/ 217539 h 435077"/>
                <a:gd name="connsiteX2" fmla="*/ 435064 w 435063"/>
                <a:gd name="connsiteY2" fmla="*/ 27 h 435077"/>
                <a:gd name="connsiteX3" fmla="*/ 217552 w 435063"/>
                <a:gd name="connsiteY3" fmla="*/ 27 h 435077"/>
                <a:gd name="connsiteX4" fmla="*/ 435064 w 435063"/>
                <a:gd name="connsiteY4" fmla="*/ 217539 h 435077"/>
                <a:gd name="connsiteX5" fmla="*/ 217552 w 435063"/>
                <a:gd name="connsiteY5" fmla="*/ 435077 h 435077"/>
                <a:gd name="connsiteX6" fmla="*/ 435064 w 435063"/>
                <a:gd name="connsiteY6" fmla="*/ 435077 h 435077"/>
                <a:gd name="connsiteX7" fmla="*/ 0 w 435063"/>
                <a:gd name="connsiteY7" fmla="*/ 217539 h 435077"/>
                <a:gd name="connsiteX8" fmla="*/ 0 w 435063"/>
                <a:gd name="connsiteY8" fmla="*/ 0 h 435077"/>
                <a:gd name="connsiteX9" fmla="*/ 217525 w 435063"/>
                <a:gd name="connsiteY9" fmla="*/ 217539 h 435077"/>
                <a:gd name="connsiteX10" fmla="*/ 0 w 435063"/>
                <a:gd name="connsiteY10" fmla="*/ 217539 h 435077"/>
                <a:gd name="connsiteX11" fmla="*/ 0 w 435063"/>
                <a:gd name="connsiteY11" fmla="*/ 435077 h 435077"/>
                <a:gd name="connsiteX12" fmla="*/ 0 w 435063"/>
                <a:gd name="connsiteY12" fmla="*/ 217539 h 435077"/>
                <a:gd name="connsiteX13" fmla="*/ 217525 w 435063"/>
                <a:gd name="connsiteY13" fmla="*/ 217539 h 435077"/>
                <a:gd name="connsiteX14" fmla="*/ 0 w 435063"/>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63" h="435077">
                  <a:moveTo>
                    <a:pt x="435064" y="435077"/>
                  </a:moveTo>
                  <a:lnTo>
                    <a:pt x="435064" y="217539"/>
                  </a:lnTo>
                  <a:lnTo>
                    <a:pt x="435064" y="27"/>
                  </a:lnTo>
                  <a:lnTo>
                    <a:pt x="217552" y="27"/>
                  </a:lnTo>
                  <a:lnTo>
                    <a:pt x="435064" y="217539"/>
                  </a:lnTo>
                  <a:lnTo>
                    <a:pt x="217552" y="435077"/>
                  </a:lnTo>
                  <a:lnTo>
                    <a:pt x="435064" y="435077"/>
                  </a:lnTo>
                  <a:close/>
                  <a:moveTo>
                    <a:pt x="0" y="217539"/>
                  </a:moveTo>
                  <a:lnTo>
                    <a:pt x="0" y="0"/>
                  </a:lnTo>
                  <a:lnTo>
                    <a:pt x="217525" y="217539"/>
                  </a:lnTo>
                  <a:lnTo>
                    <a:pt x="0" y="217539"/>
                  </a:lnTo>
                  <a:close/>
                  <a:moveTo>
                    <a:pt x="0" y="435077"/>
                  </a:moveTo>
                  <a:lnTo>
                    <a:pt x="0" y="217539"/>
                  </a:lnTo>
                  <a:lnTo>
                    <a:pt x="217525" y="217539"/>
                  </a:lnTo>
                  <a:lnTo>
                    <a:pt x="0" y="435077"/>
                  </a:lnTo>
                  <a:close/>
                </a:path>
              </a:pathLst>
            </a:custGeom>
            <a:grpFill/>
            <a:ln w="27192" cap="flat">
              <a:noFill/>
              <a:prstDash val="solid"/>
              <a:miter/>
            </a:ln>
          </p:spPr>
          <p:txBody>
            <a:bodyPr rtlCol="0" anchor="ctr"/>
            <a:lstStyle/>
            <a:p>
              <a:endParaRPr lang="uk-UA" sz="900"/>
            </a:p>
          </p:txBody>
        </p:sp>
        <p:sp>
          <p:nvSpPr>
            <p:cNvPr id="676" name="Freeform: Shape 675">
              <a:extLst>
                <a:ext uri="{FF2B5EF4-FFF2-40B4-BE49-F238E27FC236}">
                  <a16:creationId xmlns:a16="http://schemas.microsoft.com/office/drawing/2014/main" id="{7CDDD3CA-0E81-8F3E-884F-75CC5D1F2193}"/>
                </a:ext>
              </a:extLst>
            </p:cNvPr>
            <p:cNvSpPr/>
            <p:nvPr/>
          </p:nvSpPr>
          <p:spPr>
            <a:xfrm>
              <a:off x="1705924" y="4579374"/>
              <a:ext cx="435077" cy="435077"/>
            </a:xfrm>
            <a:custGeom>
              <a:avLst/>
              <a:gdLst>
                <a:gd name="connsiteX0" fmla="*/ 435077 w 435077"/>
                <a:gd name="connsiteY0" fmla="*/ 435077 h 435077"/>
                <a:gd name="connsiteX1" fmla="*/ 435077 w 435077"/>
                <a:gd name="connsiteY1" fmla="*/ 0 h 435077"/>
                <a:gd name="connsiteX2" fmla="*/ 217566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6"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677" name="Freeform: Shape 676">
              <a:extLst>
                <a:ext uri="{FF2B5EF4-FFF2-40B4-BE49-F238E27FC236}">
                  <a16:creationId xmlns:a16="http://schemas.microsoft.com/office/drawing/2014/main" id="{2C60ADB5-9EA5-F03E-6EB4-C973A313A551}"/>
                </a:ext>
              </a:extLst>
            </p:cNvPr>
            <p:cNvSpPr/>
            <p:nvPr/>
          </p:nvSpPr>
          <p:spPr>
            <a:xfrm>
              <a:off x="2576106" y="457937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3" y="113038"/>
                    <a:pt x="0" y="57702"/>
                    <a:pt x="0" y="0"/>
                  </a:cubicBezTo>
                  <a:lnTo>
                    <a:pt x="217539" y="0"/>
                  </a:lnTo>
                  <a:lnTo>
                    <a:pt x="435077" y="0"/>
                  </a:lnTo>
                  <a:cubicBezTo>
                    <a:pt x="435077" y="57702"/>
                    <a:pt x="412154" y="113038"/>
                    <a:pt x="371366" y="153827"/>
                  </a:cubicBezTo>
                  <a:cubicBezTo>
                    <a:pt x="330550" y="194616"/>
                    <a:pt x="275214" y="217539"/>
                    <a:pt x="217539" y="217539"/>
                  </a:cubicBezTo>
                  <a:cubicBezTo>
                    <a:pt x="159837" y="217539"/>
                    <a:pt x="104500" y="194616"/>
                    <a:pt x="63712" y="153827"/>
                  </a:cubicBezTo>
                  <a:close/>
                  <a:moveTo>
                    <a:pt x="63712" y="281250"/>
                  </a:moveTo>
                  <a:cubicBezTo>
                    <a:pt x="22923" y="322066"/>
                    <a:pt x="0" y="377375"/>
                    <a:pt x="0" y="435077"/>
                  </a:cubicBezTo>
                  <a:lnTo>
                    <a:pt x="217539" y="435077"/>
                  </a:lnTo>
                  <a:lnTo>
                    <a:pt x="435077" y="435077"/>
                  </a:lnTo>
                  <a:cubicBezTo>
                    <a:pt x="435077" y="377375"/>
                    <a:pt x="412154" y="322066"/>
                    <a:pt x="371366" y="281250"/>
                  </a:cubicBezTo>
                  <a:cubicBezTo>
                    <a:pt x="330550" y="240462"/>
                    <a:pt x="275214" y="217539"/>
                    <a:pt x="217539" y="217539"/>
                  </a:cubicBezTo>
                  <a:cubicBezTo>
                    <a:pt x="159837" y="217539"/>
                    <a:pt x="104500" y="240462"/>
                    <a:pt x="63712" y="281250"/>
                  </a:cubicBezTo>
                  <a:close/>
                </a:path>
              </a:pathLst>
            </a:custGeom>
            <a:grpFill/>
            <a:ln w="27192" cap="flat">
              <a:noFill/>
              <a:prstDash val="solid"/>
              <a:miter/>
            </a:ln>
          </p:spPr>
          <p:txBody>
            <a:bodyPr rtlCol="0" anchor="ctr"/>
            <a:lstStyle/>
            <a:p>
              <a:endParaRPr lang="uk-UA" sz="900"/>
            </a:p>
          </p:txBody>
        </p:sp>
        <p:sp>
          <p:nvSpPr>
            <p:cNvPr id="678" name="Freeform: Shape 677">
              <a:extLst>
                <a:ext uri="{FF2B5EF4-FFF2-40B4-BE49-F238E27FC236}">
                  <a16:creationId xmlns:a16="http://schemas.microsoft.com/office/drawing/2014/main" id="{A164E6F2-B4B3-EA62-BB85-55A40E1373F1}"/>
                </a:ext>
              </a:extLst>
            </p:cNvPr>
            <p:cNvSpPr/>
            <p:nvPr/>
          </p:nvSpPr>
          <p:spPr>
            <a:xfrm>
              <a:off x="4316416" y="4579374"/>
              <a:ext cx="435077" cy="435077"/>
            </a:xfrm>
            <a:custGeom>
              <a:avLst/>
              <a:gdLst>
                <a:gd name="connsiteX0" fmla="*/ 217565 w 435077"/>
                <a:gd name="connsiteY0" fmla="*/ 435077 h 435077"/>
                <a:gd name="connsiteX1" fmla="*/ 217565 w 435077"/>
                <a:gd name="connsiteY1" fmla="*/ 0 h 435077"/>
                <a:gd name="connsiteX2" fmla="*/ 435077 w 435077"/>
                <a:gd name="connsiteY2" fmla="*/ 217539 h 435077"/>
                <a:gd name="connsiteX3" fmla="*/ 217565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65" y="435077"/>
                  </a:moveTo>
                  <a:lnTo>
                    <a:pt x="217565" y="0"/>
                  </a:lnTo>
                  <a:lnTo>
                    <a:pt x="435077" y="217539"/>
                  </a:lnTo>
                  <a:lnTo>
                    <a:pt x="217565"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679" name="Freeform: Shape 678">
              <a:extLst>
                <a:ext uri="{FF2B5EF4-FFF2-40B4-BE49-F238E27FC236}">
                  <a16:creationId xmlns:a16="http://schemas.microsoft.com/office/drawing/2014/main" id="{74D2C706-32AE-0F44-55EB-71A0F2E2C23D}"/>
                </a:ext>
              </a:extLst>
            </p:cNvPr>
            <p:cNvSpPr/>
            <p:nvPr/>
          </p:nvSpPr>
          <p:spPr>
            <a:xfrm>
              <a:off x="3446261" y="4579374"/>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6 w 435077"/>
                <a:gd name="connsiteY3" fmla="*/ 27 h 435077"/>
                <a:gd name="connsiteX4" fmla="*/ 435077 w 435077"/>
                <a:gd name="connsiteY4" fmla="*/ 217539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6" y="27"/>
                  </a:lnTo>
                  <a:lnTo>
                    <a:pt x="435077" y="217539"/>
                  </a:lnTo>
                  <a:lnTo>
                    <a:pt x="217566"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680" name="Freeform: Shape 679">
              <a:extLst>
                <a:ext uri="{FF2B5EF4-FFF2-40B4-BE49-F238E27FC236}">
                  <a16:creationId xmlns:a16="http://schemas.microsoft.com/office/drawing/2014/main" id="{2A6C1491-E350-2BCF-2D0F-F795E773DFA0}"/>
                </a:ext>
              </a:extLst>
            </p:cNvPr>
            <p:cNvSpPr/>
            <p:nvPr/>
          </p:nvSpPr>
          <p:spPr>
            <a:xfrm>
              <a:off x="5186597" y="4579374"/>
              <a:ext cx="435077" cy="435077"/>
            </a:xfrm>
            <a:custGeom>
              <a:avLst/>
              <a:gdLst>
                <a:gd name="connsiteX0" fmla="*/ 435077 w 435077"/>
                <a:gd name="connsiteY0" fmla="*/ 435077 h 435077"/>
                <a:gd name="connsiteX1" fmla="*/ 435077 w 435077"/>
                <a:gd name="connsiteY1" fmla="*/ 0 h 435077"/>
                <a:gd name="connsiteX2" fmla="*/ 217566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6"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681" name="Freeform: Shape 680">
              <a:extLst>
                <a:ext uri="{FF2B5EF4-FFF2-40B4-BE49-F238E27FC236}">
                  <a16:creationId xmlns:a16="http://schemas.microsoft.com/office/drawing/2014/main" id="{2E3130EB-4451-D107-FA76-B67CE1C26B3F}"/>
                </a:ext>
              </a:extLst>
            </p:cNvPr>
            <p:cNvSpPr/>
            <p:nvPr/>
          </p:nvSpPr>
          <p:spPr>
            <a:xfrm>
              <a:off x="6056752" y="457937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8"/>
                    <a:pt x="0" y="57702"/>
                    <a:pt x="0" y="0"/>
                  </a:cubicBezTo>
                  <a:lnTo>
                    <a:pt x="217539" y="0"/>
                  </a:lnTo>
                  <a:lnTo>
                    <a:pt x="435077" y="0"/>
                  </a:lnTo>
                  <a:cubicBezTo>
                    <a:pt x="435077" y="57702"/>
                    <a:pt x="412155" y="113038"/>
                    <a:pt x="371366" y="153827"/>
                  </a:cubicBezTo>
                  <a:cubicBezTo>
                    <a:pt x="330550" y="194616"/>
                    <a:pt x="275241" y="217539"/>
                    <a:pt x="217539" y="217539"/>
                  </a:cubicBezTo>
                  <a:cubicBezTo>
                    <a:pt x="159837" y="217539"/>
                    <a:pt x="104501" y="194616"/>
                    <a:pt x="63712" y="153827"/>
                  </a:cubicBezTo>
                  <a:close/>
                  <a:moveTo>
                    <a:pt x="63712" y="281250"/>
                  </a:moveTo>
                  <a:cubicBezTo>
                    <a:pt x="22924" y="322066"/>
                    <a:pt x="0" y="377375"/>
                    <a:pt x="0" y="435077"/>
                  </a:cubicBezTo>
                  <a:lnTo>
                    <a:pt x="217539" y="435077"/>
                  </a:lnTo>
                  <a:lnTo>
                    <a:pt x="435077" y="435077"/>
                  </a:lnTo>
                  <a:cubicBezTo>
                    <a:pt x="435077" y="377375"/>
                    <a:pt x="412155" y="322066"/>
                    <a:pt x="371366" y="281250"/>
                  </a:cubicBezTo>
                  <a:cubicBezTo>
                    <a:pt x="330550" y="240462"/>
                    <a:pt x="275241" y="217539"/>
                    <a:pt x="217539" y="217539"/>
                  </a:cubicBezTo>
                  <a:cubicBezTo>
                    <a:pt x="159837" y="217539"/>
                    <a:pt x="104501" y="240462"/>
                    <a:pt x="63712" y="281250"/>
                  </a:cubicBezTo>
                  <a:close/>
                </a:path>
              </a:pathLst>
            </a:custGeom>
            <a:grpFill/>
            <a:ln w="27192" cap="flat">
              <a:noFill/>
              <a:prstDash val="solid"/>
              <a:miter/>
            </a:ln>
          </p:spPr>
          <p:txBody>
            <a:bodyPr rtlCol="0" anchor="ctr"/>
            <a:lstStyle/>
            <a:p>
              <a:endParaRPr lang="uk-UA" sz="900"/>
            </a:p>
          </p:txBody>
        </p:sp>
        <p:sp>
          <p:nvSpPr>
            <p:cNvPr id="682" name="Freeform: Shape 681">
              <a:extLst>
                <a:ext uri="{FF2B5EF4-FFF2-40B4-BE49-F238E27FC236}">
                  <a16:creationId xmlns:a16="http://schemas.microsoft.com/office/drawing/2014/main" id="{B5E2F6A9-BD27-618E-2206-B3BCD5EA8300}"/>
                </a:ext>
              </a:extLst>
            </p:cNvPr>
            <p:cNvSpPr/>
            <p:nvPr/>
          </p:nvSpPr>
          <p:spPr>
            <a:xfrm>
              <a:off x="7797062" y="4579374"/>
              <a:ext cx="435077" cy="435077"/>
            </a:xfrm>
            <a:custGeom>
              <a:avLst/>
              <a:gdLst>
                <a:gd name="connsiteX0" fmla="*/ 217566 w 435077"/>
                <a:gd name="connsiteY0" fmla="*/ 435077 h 435077"/>
                <a:gd name="connsiteX1" fmla="*/ 217566 w 435077"/>
                <a:gd name="connsiteY1" fmla="*/ 0 h 435077"/>
                <a:gd name="connsiteX2" fmla="*/ 435077 w 435077"/>
                <a:gd name="connsiteY2" fmla="*/ 217539 h 435077"/>
                <a:gd name="connsiteX3" fmla="*/ 217566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66" y="435077"/>
                  </a:moveTo>
                  <a:lnTo>
                    <a:pt x="217566" y="0"/>
                  </a:lnTo>
                  <a:lnTo>
                    <a:pt x="435077" y="217539"/>
                  </a:lnTo>
                  <a:lnTo>
                    <a:pt x="217566"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683" name="Freeform: Shape 682">
              <a:extLst>
                <a:ext uri="{FF2B5EF4-FFF2-40B4-BE49-F238E27FC236}">
                  <a16:creationId xmlns:a16="http://schemas.microsoft.com/office/drawing/2014/main" id="{C8E96748-7994-5BB3-3974-69AC87FD5C74}"/>
                </a:ext>
              </a:extLst>
            </p:cNvPr>
            <p:cNvSpPr/>
            <p:nvPr/>
          </p:nvSpPr>
          <p:spPr>
            <a:xfrm>
              <a:off x="6926907" y="4579374"/>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6 w 435077"/>
                <a:gd name="connsiteY3" fmla="*/ 27 h 435077"/>
                <a:gd name="connsiteX4" fmla="*/ 435077 w 435077"/>
                <a:gd name="connsiteY4" fmla="*/ 217539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6" y="27"/>
                  </a:lnTo>
                  <a:lnTo>
                    <a:pt x="435077" y="217539"/>
                  </a:lnTo>
                  <a:lnTo>
                    <a:pt x="217566"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684" name="Freeform: Shape 683">
              <a:extLst>
                <a:ext uri="{FF2B5EF4-FFF2-40B4-BE49-F238E27FC236}">
                  <a16:creationId xmlns:a16="http://schemas.microsoft.com/office/drawing/2014/main" id="{E85C483F-A279-BBF6-57E9-877F53901245}"/>
                </a:ext>
              </a:extLst>
            </p:cNvPr>
            <p:cNvSpPr/>
            <p:nvPr/>
          </p:nvSpPr>
          <p:spPr>
            <a:xfrm>
              <a:off x="8667217" y="4579374"/>
              <a:ext cx="435104" cy="435077"/>
            </a:xfrm>
            <a:custGeom>
              <a:avLst/>
              <a:gdLst>
                <a:gd name="connsiteX0" fmla="*/ 435105 w 435104"/>
                <a:gd name="connsiteY0" fmla="*/ 435077 h 435077"/>
                <a:gd name="connsiteX1" fmla="*/ 435105 w 435104"/>
                <a:gd name="connsiteY1" fmla="*/ 0 h 435077"/>
                <a:gd name="connsiteX2" fmla="*/ 217566 w 435104"/>
                <a:gd name="connsiteY2" fmla="*/ 217539 h 435077"/>
                <a:gd name="connsiteX3" fmla="*/ 435105 w 435104"/>
                <a:gd name="connsiteY3" fmla="*/ 435077 h 435077"/>
                <a:gd name="connsiteX4" fmla="*/ 0 w 435104"/>
                <a:gd name="connsiteY4" fmla="*/ 435077 h 435077"/>
                <a:gd name="connsiteX5" fmla="*/ 0 w 435104"/>
                <a:gd name="connsiteY5" fmla="*/ 0 h 435077"/>
                <a:gd name="connsiteX6" fmla="*/ 217539 w 435104"/>
                <a:gd name="connsiteY6" fmla="*/ 217539 h 435077"/>
                <a:gd name="connsiteX7" fmla="*/ 0 w 435104"/>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104" h="435077">
                  <a:moveTo>
                    <a:pt x="435105" y="435077"/>
                  </a:moveTo>
                  <a:lnTo>
                    <a:pt x="435105" y="0"/>
                  </a:lnTo>
                  <a:lnTo>
                    <a:pt x="217566" y="217539"/>
                  </a:lnTo>
                  <a:lnTo>
                    <a:pt x="435105"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685" name="Freeform: Shape 684">
              <a:extLst>
                <a:ext uri="{FF2B5EF4-FFF2-40B4-BE49-F238E27FC236}">
                  <a16:creationId xmlns:a16="http://schemas.microsoft.com/office/drawing/2014/main" id="{27A956AB-DB8C-F953-6486-E14868E716A2}"/>
                </a:ext>
              </a:extLst>
            </p:cNvPr>
            <p:cNvSpPr/>
            <p:nvPr/>
          </p:nvSpPr>
          <p:spPr>
            <a:xfrm>
              <a:off x="9537399" y="4579374"/>
              <a:ext cx="435077" cy="435077"/>
            </a:xfrm>
            <a:custGeom>
              <a:avLst/>
              <a:gdLst>
                <a:gd name="connsiteX0" fmla="*/ 63711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1 w 435077"/>
                <a:gd name="connsiteY6" fmla="*/ 153827 h 435077"/>
                <a:gd name="connsiteX7" fmla="*/ 63711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1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1" y="153827"/>
                  </a:moveTo>
                  <a:cubicBezTo>
                    <a:pt x="22923" y="113038"/>
                    <a:pt x="0" y="57702"/>
                    <a:pt x="0" y="0"/>
                  </a:cubicBezTo>
                  <a:lnTo>
                    <a:pt x="217539" y="0"/>
                  </a:lnTo>
                  <a:lnTo>
                    <a:pt x="435077" y="0"/>
                  </a:lnTo>
                  <a:cubicBezTo>
                    <a:pt x="435077" y="57702"/>
                    <a:pt x="412155" y="113038"/>
                    <a:pt x="371366" y="153827"/>
                  </a:cubicBezTo>
                  <a:cubicBezTo>
                    <a:pt x="330550" y="194616"/>
                    <a:pt x="275214" y="217539"/>
                    <a:pt x="217539" y="217539"/>
                  </a:cubicBezTo>
                  <a:cubicBezTo>
                    <a:pt x="159836" y="217539"/>
                    <a:pt x="104500" y="194616"/>
                    <a:pt x="63711" y="153827"/>
                  </a:cubicBezTo>
                  <a:close/>
                  <a:moveTo>
                    <a:pt x="63711" y="281250"/>
                  </a:moveTo>
                  <a:cubicBezTo>
                    <a:pt x="22923" y="322066"/>
                    <a:pt x="0" y="377375"/>
                    <a:pt x="0" y="435077"/>
                  </a:cubicBezTo>
                  <a:lnTo>
                    <a:pt x="217539" y="435077"/>
                  </a:lnTo>
                  <a:lnTo>
                    <a:pt x="435077" y="435077"/>
                  </a:lnTo>
                  <a:cubicBezTo>
                    <a:pt x="435077" y="377375"/>
                    <a:pt x="412155" y="322066"/>
                    <a:pt x="371366" y="281250"/>
                  </a:cubicBezTo>
                  <a:cubicBezTo>
                    <a:pt x="330550" y="240462"/>
                    <a:pt x="275214" y="217539"/>
                    <a:pt x="217539" y="217539"/>
                  </a:cubicBezTo>
                  <a:cubicBezTo>
                    <a:pt x="159836" y="217539"/>
                    <a:pt x="104500" y="240462"/>
                    <a:pt x="63711" y="281250"/>
                  </a:cubicBezTo>
                  <a:close/>
                </a:path>
              </a:pathLst>
            </a:custGeom>
            <a:grpFill/>
            <a:ln w="27192" cap="flat">
              <a:noFill/>
              <a:prstDash val="solid"/>
              <a:miter/>
            </a:ln>
          </p:spPr>
          <p:txBody>
            <a:bodyPr rtlCol="0" anchor="ctr"/>
            <a:lstStyle/>
            <a:p>
              <a:endParaRPr lang="uk-UA" sz="900"/>
            </a:p>
          </p:txBody>
        </p:sp>
        <p:sp>
          <p:nvSpPr>
            <p:cNvPr id="686" name="Freeform: Shape 685">
              <a:extLst>
                <a:ext uri="{FF2B5EF4-FFF2-40B4-BE49-F238E27FC236}">
                  <a16:creationId xmlns:a16="http://schemas.microsoft.com/office/drawing/2014/main" id="{D8231C71-28E7-E372-6164-58121F788EFC}"/>
                </a:ext>
              </a:extLst>
            </p:cNvPr>
            <p:cNvSpPr/>
            <p:nvPr/>
          </p:nvSpPr>
          <p:spPr>
            <a:xfrm>
              <a:off x="11277709" y="4579374"/>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687" name="Freeform: Shape 686">
              <a:extLst>
                <a:ext uri="{FF2B5EF4-FFF2-40B4-BE49-F238E27FC236}">
                  <a16:creationId xmlns:a16="http://schemas.microsoft.com/office/drawing/2014/main" id="{54EE6123-4B35-0834-B47F-FC079F75964C}"/>
                </a:ext>
              </a:extLst>
            </p:cNvPr>
            <p:cNvSpPr/>
            <p:nvPr/>
          </p:nvSpPr>
          <p:spPr>
            <a:xfrm>
              <a:off x="10407554" y="4579374"/>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39 w 435077"/>
                <a:gd name="connsiteY3" fmla="*/ 27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1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1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39" y="27"/>
                  </a:lnTo>
                  <a:lnTo>
                    <a:pt x="435077" y="217539"/>
                  </a:lnTo>
                  <a:lnTo>
                    <a:pt x="217539" y="435077"/>
                  </a:lnTo>
                  <a:lnTo>
                    <a:pt x="435077" y="435077"/>
                  </a:lnTo>
                  <a:close/>
                  <a:moveTo>
                    <a:pt x="0" y="217539"/>
                  </a:moveTo>
                  <a:lnTo>
                    <a:pt x="0" y="0"/>
                  </a:lnTo>
                  <a:lnTo>
                    <a:pt x="217511" y="217539"/>
                  </a:lnTo>
                  <a:lnTo>
                    <a:pt x="0" y="217539"/>
                  </a:lnTo>
                  <a:close/>
                  <a:moveTo>
                    <a:pt x="0" y="435077"/>
                  </a:moveTo>
                  <a:lnTo>
                    <a:pt x="0" y="217539"/>
                  </a:lnTo>
                  <a:lnTo>
                    <a:pt x="217511" y="217539"/>
                  </a:lnTo>
                  <a:lnTo>
                    <a:pt x="0" y="435077"/>
                  </a:lnTo>
                  <a:close/>
                </a:path>
              </a:pathLst>
            </a:custGeom>
            <a:grpFill/>
            <a:ln w="27192" cap="flat">
              <a:noFill/>
              <a:prstDash val="solid"/>
              <a:miter/>
            </a:ln>
          </p:spPr>
          <p:txBody>
            <a:bodyPr rtlCol="0" anchor="ctr"/>
            <a:lstStyle/>
            <a:p>
              <a:endParaRPr lang="uk-UA" sz="900"/>
            </a:p>
          </p:txBody>
        </p:sp>
        <p:sp>
          <p:nvSpPr>
            <p:cNvPr id="688" name="Freeform: Shape 687">
              <a:extLst>
                <a:ext uri="{FF2B5EF4-FFF2-40B4-BE49-F238E27FC236}">
                  <a16:creationId xmlns:a16="http://schemas.microsoft.com/office/drawing/2014/main" id="{F41DF6D6-0E8A-1223-0B2E-4FEDFFDDCBB7}"/>
                </a:ext>
              </a:extLst>
            </p:cNvPr>
            <p:cNvSpPr/>
            <p:nvPr/>
          </p:nvSpPr>
          <p:spPr>
            <a:xfrm>
              <a:off x="12147891" y="4579374"/>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689" name="Freeform: Shape 688">
              <a:extLst>
                <a:ext uri="{FF2B5EF4-FFF2-40B4-BE49-F238E27FC236}">
                  <a16:creationId xmlns:a16="http://schemas.microsoft.com/office/drawing/2014/main" id="{C450B14F-614C-A3B4-F61E-B15BD4BD087D}"/>
                </a:ext>
              </a:extLst>
            </p:cNvPr>
            <p:cNvSpPr/>
            <p:nvPr/>
          </p:nvSpPr>
          <p:spPr>
            <a:xfrm>
              <a:off x="13018045" y="457937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8"/>
                    <a:pt x="0" y="57702"/>
                    <a:pt x="0" y="0"/>
                  </a:cubicBezTo>
                  <a:lnTo>
                    <a:pt x="217539" y="0"/>
                  </a:lnTo>
                  <a:lnTo>
                    <a:pt x="435077" y="0"/>
                  </a:lnTo>
                  <a:cubicBezTo>
                    <a:pt x="435077" y="57702"/>
                    <a:pt x="412154" y="113038"/>
                    <a:pt x="371365" y="153827"/>
                  </a:cubicBezTo>
                  <a:cubicBezTo>
                    <a:pt x="330550" y="194616"/>
                    <a:pt x="275241" y="217539"/>
                    <a:pt x="217539" y="217539"/>
                  </a:cubicBezTo>
                  <a:cubicBezTo>
                    <a:pt x="159836" y="217539"/>
                    <a:pt x="104501" y="194616"/>
                    <a:pt x="63712" y="153827"/>
                  </a:cubicBezTo>
                  <a:close/>
                  <a:moveTo>
                    <a:pt x="63712" y="281250"/>
                  </a:moveTo>
                  <a:cubicBezTo>
                    <a:pt x="22924" y="322066"/>
                    <a:pt x="0" y="377375"/>
                    <a:pt x="0" y="435077"/>
                  </a:cubicBezTo>
                  <a:lnTo>
                    <a:pt x="217539" y="435077"/>
                  </a:lnTo>
                  <a:lnTo>
                    <a:pt x="435077" y="435077"/>
                  </a:lnTo>
                  <a:cubicBezTo>
                    <a:pt x="435077" y="377375"/>
                    <a:pt x="412154" y="322066"/>
                    <a:pt x="371365" y="281250"/>
                  </a:cubicBezTo>
                  <a:cubicBezTo>
                    <a:pt x="330550" y="240462"/>
                    <a:pt x="275241" y="217539"/>
                    <a:pt x="217539" y="217539"/>
                  </a:cubicBezTo>
                  <a:cubicBezTo>
                    <a:pt x="159836" y="217539"/>
                    <a:pt x="104501" y="240462"/>
                    <a:pt x="63712" y="281250"/>
                  </a:cubicBezTo>
                  <a:close/>
                </a:path>
              </a:pathLst>
            </a:custGeom>
            <a:grpFill/>
            <a:ln w="27192" cap="flat">
              <a:noFill/>
              <a:prstDash val="solid"/>
              <a:miter/>
            </a:ln>
          </p:spPr>
          <p:txBody>
            <a:bodyPr rtlCol="0" anchor="ctr"/>
            <a:lstStyle/>
            <a:p>
              <a:endParaRPr lang="uk-UA" sz="900"/>
            </a:p>
          </p:txBody>
        </p:sp>
        <p:sp>
          <p:nvSpPr>
            <p:cNvPr id="690" name="Freeform: Shape 689">
              <a:extLst>
                <a:ext uri="{FF2B5EF4-FFF2-40B4-BE49-F238E27FC236}">
                  <a16:creationId xmlns:a16="http://schemas.microsoft.com/office/drawing/2014/main" id="{D81C1BA3-B99E-A8AE-98F5-EF84AA204CD8}"/>
                </a:ext>
              </a:extLst>
            </p:cNvPr>
            <p:cNvSpPr/>
            <p:nvPr/>
          </p:nvSpPr>
          <p:spPr>
            <a:xfrm>
              <a:off x="14758382" y="4579374"/>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691" name="Freeform: Shape 690">
              <a:extLst>
                <a:ext uri="{FF2B5EF4-FFF2-40B4-BE49-F238E27FC236}">
                  <a16:creationId xmlns:a16="http://schemas.microsoft.com/office/drawing/2014/main" id="{518CD23B-795E-C1B6-F488-E6143F64A02F}"/>
                </a:ext>
              </a:extLst>
            </p:cNvPr>
            <p:cNvSpPr/>
            <p:nvPr/>
          </p:nvSpPr>
          <p:spPr>
            <a:xfrm>
              <a:off x="13888200" y="4579374"/>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5 w 435077"/>
                <a:gd name="connsiteY3" fmla="*/ 27 h 435077"/>
                <a:gd name="connsiteX4" fmla="*/ 435077 w 435077"/>
                <a:gd name="connsiteY4" fmla="*/ 217539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5" y="27"/>
                  </a:lnTo>
                  <a:lnTo>
                    <a:pt x="435077" y="217539"/>
                  </a:lnTo>
                  <a:lnTo>
                    <a:pt x="217565"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692" name="Freeform: Shape 691">
              <a:extLst>
                <a:ext uri="{FF2B5EF4-FFF2-40B4-BE49-F238E27FC236}">
                  <a16:creationId xmlns:a16="http://schemas.microsoft.com/office/drawing/2014/main" id="{49E96335-465A-0BA4-92B5-DC320D85842D}"/>
                </a:ext>
              </a:extLst>
            </p:cNvPr>
            <p:cNvSpPr/>
            <p:nvPr/>
          </p:nvSpPr>
          <p:spPr>
            <a:xfrm>
              <a:off x="15628565" y="4579374"/>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0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0" y="217539"/>
                  </a:lnTo>
                  <a:lnTo>
                    <a:pt x="0" y="435077"/>
                  </a:lnTo>
                  <a:close/>
                </a:path>
              </a:pathLst>
            </a:custGeom>
            <a:grpFill/>
            <a:ln w="27192" cap="flat">
              <a:noFill/>
              <a:prstDash val="solid"/>
              <a:miter/>
            </a:ln>
          </p:spPr>
          <p:txBody>
            <a:bodyPr rtlCol="0" anchor="ctr"/>
            <a:lstStyle/>
            <a:p>
              <a:endParaRPr lang="uk-UA" sz="900"/>
            </a:p>
          </p:txBody>
        </p:sp>
        <p:sp>
          <p:nvSpPr>
            <p:cNvPr id="693" name="Freeform: Shape 692">
              <a:extLst>
                <a:ext uri="{FF2B5EF4-FFF2-40B4-BE49-F238E27FC236}">
                  <a16:creationId xmlns:a16="http://schemas.microsoft.com/office/drawing/2014/main" id="{F34E3DE5-CDAA-45C9-0E5E-916BB61957E2}"/>
                </a:ext>
              </a:extLst>
            </p:cNvPr>
            <p:cNvSpPr/>
            <p:nvPr/>
          </p:nvSpPr>
          <p:spPr>
            <a:xfrm>
              <a:off x="16498719" y="4579374"/>
              <a:ext cx="435077" cy="435077"/>
            </a:xfrm>
            <a:custGeom>
              <a:avLst/>
              <a:gdLst>
                <a:gd name="connsiteX0" fmla="*/ 63710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0 w 435077"/>
                <a:gd name="connsiteY6" fmla="*/ 153827 h 435077"/>
                <a:gd name="connsiteX7" fmla="*/ 63710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50 h 435077"/>
                <a:gd name="connsiteX12" fmla="*/ 217539 w 435077"/>
                <a:gd name="connsiteY12" fmla="*/ 217539 h 435077"/>
                <a:gd name="connsiteX13" fmla="*/ 63710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7"/>
                  </a:moveTo>
                  <a:cubicBezTo>
                    <a:pt x="22895" y="113038"/>
                    <a:pt x="0" y="57702"/>
                    <a:pt x="0" y="0"/>
                  </a:cubicBezTo>
                  <a:lnTo>
                    <a:pt x="217539" y="0"/>
                  </a:lnTo>
                  <a:lnTo>
                    <a:pt x="435077" y="0"/>
                  </a:lnTo>
                  <a:cubicBezTo>
                    <a:pt x="435077" y="57702"/>
                    <a:pt x="412154" y="113038"/>
                    <a:pt x="371339" y="153827"/>
                  </a:cubicBezTo>
                  <a:cubicBezTo>
                    <a:pt x="330550" y="194616"/>
                    <a:pt x="275213" y="217539"/>
                    <a:pt x="217539" y="217539"/>
                  </a:cubicBezTo>
                  <a:cubicBezTo>
                    <a:pt x="159836" y="217539"/>
                    <a:pt x="104499" y="194616"/>
                    <a:pt x="63710" y="153827"/>
                  </a:cubicBezTo>
                  <a:close/>
                  <a:moveTo>
                    <a:pt x="63710" y="281250"/>
                  </a:moveTo>
                  <a:cubicBezTo>
                    <a:pt x="22895" y="322066"/>
                    <a:pt x="0" y="377375"/>
                    <a:pt x="0" y="435077"/>
                  </a:cubicBezTo>
                  <a:lnTo>
                    <a:pt x="217539" y="435077"/>
                  </a:lnTo>
                  <a:lnTo>
                    <a:pt x="435077" y="435077"/>
                  </a:lnTo>
                  <a:cubicBezTo>
                    <a:pt x="435077" y="377375"/>
                    <a:pt x="412154" y="322066"/>
                    <a:pt x="371339" y="281250"/>
                  </a:cubicBezTo>
                  <a:cubicBezTo>
                    <a:pt x="330550" y="240462"/>
                    <a:pt x="275213" y="217539"/>
                    <a:pt x="217539" y="217539"/>
                  </a:cubicBezTo>
                  <a:cubicBezTo>
                    <a:pt x="159836" y="217539"/>
                    <a:pt x="104499" y="240462"/>
                    <a:pt x="63710" y="281250"/>
                  </a:cubicBezTo>
                  <a:close/>
                </a:path>
              </a:pathLst>
            </a:custGeom>
            <a:grpFill/>
            <a:ln w="27192" cap="flat">
              <a:noFill/>
              <a:prstDash val="solid"/>
              <a:miter/>
            </a:ln>
          </p:spPr>
          <p:txBody>
            <a:bodyPr rtlCol="0" anchor="ctr"/>
            <a:lstStyle/>
            <a:p>
              <a:endParaRPr lang="uk-UA" sz="900"/>
            </a:p>
          </p:txBody>
        </p:sp>
        <p:sp>
          <p:nvSpPr>
            <p:cNvPr id="694" name="Freeform: Shape 693">
              <a:extLst>
                <a:ext uri="{FF2B5EF4-FFF2-40B4-BE49-F238E27FC236}">
                  <a16:creationId xmlns:a16="http://schemas.microsoft.com/office/drawing/2014/main" id="{7ABB5F5E-86D6-3784-EF36-650586C7D055}"/>
                </a:ext>
              </a:extLst>
            </p:cNvPr>
            <p:cNvSpPr/>
            <p:nvPr/>
          </p:nvSpPr>
          <p:spPr>
            <a:xfrm>
              <a:off x="18239029" y="4579374"/>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695" name="Freeform: Shape 694">
              <a:extLst>
                <a:ext uri="{FF2B5EF4-FFF2-40B4-BE49-F238E27FC236}">
                  <a16:creationId xmlns:a16="http://schemas.microsoft.com/office/drawing/2014/main" id="{75866F90-4E77-8C25-1980-0FC931CFB898}"/>
                </a:ext>
              </a:extLst>
            </p:cNvPr>
            <p:cNvSpPr/>
            <p:nvPr/>
          </p:nvSpPr>
          <p:spPr>
            <a:xfrm>
              <a:off x="17368874" y="4579374"/>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39 w 435077"/>
                <a:gd name="connsiteY3" fmla="*/ 27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0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0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39" y="27"/>
                  </a:lnTo>
                  <a:lnTo>
                    <a:pt x="435077" y="217539"/>
                  </a:lnTo>
                  <a:lnTo>
                    <a:pt x="217539" y="435077"/>
                  </a:lnTo>
                  <a:lnTo>
                    <a:pt x="435077" y="435077"/>
                  </a:lnTo>
                  <a:close/>
                  <a:moveTo>
                    <a:pt x="0" y="217539"/>
                  </a:moveTo>
                  <a:lnTo>
                    <a:pt x="0" y="0"/>
                  </a:lnTo>
                  <a:lnTo>
                    <a:pt x="217510" y="217539"/>
                  </a:lnTo>
                  <a:lnTo>
                    <a:pt x="0" y="217539"/>
                  </a:lnTo>
                  <a:close/>
                  <a:moveTo>
                    <a:pt x="0" y="435077"/>
                  </a:moveTo>
                  <a:lnTo>
                    <a:pt x="0" y="217539"/>
                  </a:lnTo>
                  <a:lnTo>
                    <a:pt x="217510" y="217539"/>
                  </a:lnTo>
                  <a:lnTo>
                    <a:pt x="0" y="435077"/>
                  </a:lnTo>
                  <a:close/>
                </a:path>
              </a:pathLst>
            </a:custGeom>
            <a:grpFill/>
            <a:ln w="27192" cap="flat">
              <a:noFill/>
              <a:prstDash val="solid"/>
              <a:miter/>
            </a:ln>
          </p:spPr>
          <p:txBody>
            <a:bodyPr rtlCol="0" anchor="ctr"/>
            <a:lstStyle/>
            <a:p>
              <a:endParaRPr lang="uk-UA" sz="900"/>
            </a:p>
          </p:txBody>
        </p:sp>
        <p:sp>
          <p:nvSpPr>
            <p:cNvPr id="696" name="Freeform: Shape 695">
              <a:extLst>
                <a:ext uri="{FF2B5EF4-FFF2-40B4-BE49-F238E27FC236}">
                  <a16:creationId xmlns:a16="http://schemas.microsoft.com/office/drawing/2014/main" id="{70F224A9-FF5B-6D17-9CC0-C84A4D0DAC0C}"/>
                </a:ext>
              </a:extLst>
            </p:cNvPr>
            <p:cNvSpPr/>
            <p:nvPr/>
          </p:nvSpPr>
          <p:spPr>
            <a:xfrm>
              <a:off x="19109210" y="4579374"/>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697" name="Freeform: Shape 696">
              <a:extLst>
                <a:ext uri="{FF2B5EF4-FFF2-40B4-BE49-F238E27FC236}">
                  <a16:creationId xmlns:a16="http://schemas.microsoft.com/office/drawing/2014/main" id="{6377FC01-701E-9A8A-3285-8645BE8D8522}"/>
                </a:ext>
              </a:extLst>
            </p:cNvPr>
            <p:cNvSpPr/>
            <p:nvPr/>
          </p:nvSpPr>
          <p:spPr>
            <a:xfrm>
              <a:off x="19979365" y="457937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8"/>
                    <a:pt x="0" y="57702"/>
                    <a:pt x="0" y="0"/>
                  </a:cubicBezTo>
                  <a:lnTo>
                    <a:pt x="217539" y="0"/>
                  </a:lnTo>
                  <a:lnTo>
                    <a:pt x="435077" y="0"/>
                  </a:lnTo>
                  <a:cubicBezTo>
                    <a:pt x="435077" y="57702"/>
                    <a:pt x="412154" y="113038"/>
                    <a:pt x="371365" y="153827"/>
                  </a:cubicBezTo>
                  <a:cubicBezTo>
                    <a:pt x="330550" y="194616"/>
                    <a:pt x="275241" y="217539"/>
                    <a:pt x="217539" y="217539"/>
                  </a:cubicBezTo>
                  <a:cubicBezTo>
                    <a:pt x="159836" y="217539"/>
                    <a:pt x="104501" y="194616"/>
                    <a:pt x="63712" y="153827"/>
                  </a:cubicBezTo>
                  <a:close/>
                  <a:moveTo>
                    <a:pt x="63712" y="281250"/>
                  </a:moveTo>
                  <a:cubicBezTo>
                    <a:pt x="22924" y="322066"/>
                    <a:pt x="0" y="377375"/>
                    <a:pt x="0" y="435077"/>
                  </a:cubicBezTo>
                  <a:lnTo>
                    <a:pt x="217539" y="435077"/>
                  </a:lnTo>
                  <a:lnTo>
                    <a:pt x="435077" y="435077"/>
                  </a:lnTo>
                  <a:cubicBezTo>
                    <a:pt x="435077" y="377375"/>
                    <a:pt x="412154" y="322066"/>
                    <a:pt x="371365" y="281250"/>
                  </a:cubicBezTo>
                  <a:cubicBezTo>
                    <a:pt x="330550" y="240462"/>
                    <a:pt x="275241" y="217539"/>
                    <a:pt x="217539" y="217539"/>
                  </a:cubicBezTo>
                  <a:cubicBezTo>
                    <a:pt x="159836" y="217539"/>
                    <a:pt x="104501" y="240462"/>
                    <a:pt x="63712" y="281250"/>
                  </a:cubicBezTo>
                  <a:close/>
                </a:path>
              </a:pathLst>
            </a:custGeom>
            <a:grpFill/>
            <a:ln w="27192" cap="flat">
              <a:noFill/>
              <a:prstDash val="solid"/>
              <a:miter/>
            </a:ln>
          </p:spPr>
          <p:txBody>
            <a:bodyPr rtlCol="0" anchor="ctr"/>
            <a:lstStyle/>
            <a:p>
              <a:endParaRPr lang="uk-UA" sz="900"/>
            </a:p>
          </p:txBody>
        </p:sp>
        <p:sp>
          <p:nvSpPr>
            <p:cNvPr id="698" name="Freeform: Shape 697">
              <a:extLst>
                <a:ext uri="{FF2B5EF4-FFF2-40B4-BE49-F238E27FC236}">
                  <a16:creationId xmlns:a16="http://schemas.microsoft.com/office/drawing/2014/main" id="{DDFC51BC-F427-5475-831D-271439C7B0A1}"/>
                </a:ext>
              </a:extLst>
            </p:cNvPr>
            <p:cNvSpPr/>
            <p:nvPr/>
          </p:nvSpPr>
          <p:spPr>
            <a:xfrm>
              <a:off x="21719702" y="4579374"/>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0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0"/>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699" name="Freeform: Shape 698">
              <a:extLst>
                <a:ext uri="{FF2B5EF4-FFF2-40B4-BE49-F238E27FC236}">
                  <a16:creationId xmlns:a16="http://schemas.microsoft.com/office/drawing/2014/main" id="{B9E21A26-B36B-F659-7E98-EA34B2707EAF}"/>
                </a:ext>
              </a:extLst>
            </p:cNvPr>
            <p:cNvSpPr/>
            <p:nvPr/>
          </p:nvSpPr>
          <p:spPr>
            <a:xfrm>
              <a:off x="20849520" y="4579374"/>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5 w 435077"/>
                <a:gd name="connsiteY3" fmla="*/ 27 h 435077"/>
                <a:gd name="connsiteX4" fmla="*/ 435077 w 435077"/>
                <a:gd name="connsiteY4" fmla="*/ 217539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5" y="27"/>
                  </a:lnTo>
                  <a:lnTo>
                    <a:pt x="435077" y="217539"/>
                  </a:lnTo>
                  <a:lnTo>
                    <a:pt x="217565"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700" name="Freeform: Shape 699">
              <a:extLst>
                <a:ext uri="{FF2B5EF4-FFF2-40B4-BE49-F238E27FC236}">
                  <a16:creationId xmlns:a16="http://schemas.microsoft.com/office/drawing/2014/main" id="{F08B52D7-AF9E-1592-9971-12395ADA4C4E}"/>
                </a:ext>
              </a:extLst>
            </p:cNvPr>
            <p:cNvSpPr/>
            <p:nvPr/>
          </p:nvSpPr>
          <p:spPr>
            <a:xfrm>
              <a:off x="22589856" y="4579374"/>
              <a:ext cx="435077" cy="435077"/>
            </a:xfrm>
            <a:custGeom>
              <a:avLst/>
              <a:gdLst>
                <a:gd name="connsiteX0" fmla="*/ 435077 w 435077"/>
                <a:gd name="connsiteY0" fmla="*/ 435077 h 435077"/>
                <a:gd name="connsiteX1" fmla="*/ 435077 w 435077"/>
                <a:gd name="connsiteY1" fmla="*/ 0 h 435077"/>
                <a:gd name="connsiteX2" fmla="*/ 217567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7"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701" name="Freeform: Shape 700">
              <a:extLst>
                <a:ext uri="{FF2B5EF4-FFF2-40B4-BE49-F238E27FC236}">
                  <a16:creationId xmlns:a16="http://schemas.microsoft.com/office/drawing/2014/main" id="{111AD23C-7B1E-CBFD-1183-98981F0311F3}"/>
                </a:ext>
              </a:extLst>
            </p:cNvPr>
            <p:cNvSpPr/>
            <p:nvPr/>
          </p:nvSpPr>
          <p:spPr>
            <a:xfrm>
              <a:off x="23460039" y="457937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895" y="113038"/>
                    <a:pt x="0" y="57702"/>
                    <a:pt x="0" y="0"/>
                  </a:cubicBezTo>
                  <a:lnTo>
                    <a:pt x="217539" y="0"/>
                  </a:lnTo>
                  <a:lnTo>
                    <a:pt x="435077" y="0"/>
                  </a:lnTo>
                  <a:cubicBezTo>
                    <a:pt x="435077" y="57702"/>
                    <a:pt x="412154" y="113038"/>
                    <a:pt x="371339" y="153827"/>
                  </a:cubicBezTo>
                  <a:cubicBezTo>
                    <a:pt x="330550" y="194616"/>
                    <a:pt x="275213" y="217539"/>
                    <a:pt x="217539" y="217539"/>
                  </a:cubicBezTo>
                  <a:cubicBezTo>
                    <a:pt x="159836" y="217539"/>
                    <a:pt x="104501" y="194616"/>
                    <a:pt x="63712" y="153827"/>
                  </a:cubicBezTo>
                  <a:close/>
                  <a:moveTo>
                    <a:pt x="63712" y="281250"/>
                  </a:moveTo>
                  <a:cubicBezTo>
                    <a:pt x="22895" y="322066"/>
                    <a:pt x="0" y="377375"/>
                    <a:pt x="0" y="435077"/>
                  </a:cubicBezTo>
                  <a:lnTo>
                    <a:pt x="217539" y="435077"/>
                  </a:lnTo>
                  <a:lnTo>
                    <a:pt x="435077" y="435077"/>
                  </a:lnTo>
                  <a:cubicBezTo>
                    <a:pt x="435077" y="377375"/>
                    <a:pt x="412154" y="322066"/>
                    <a:pt x="371339" y="281250"/>
                  </a:cubicBezTo>
                  <a:cubicBezTo>
                    <a:pt x="330550" y="240462"/>
                    <a:pt x="275213" y="217539"/>
                    <a:pt x="217539" y="217539"/>
                  </a:cubicBezTo>
                  <a:cubicBezTo>
                    <a:pt x="159836" y="217539"/>
                    <a:pt x="104501" y="240462"/>
                    <a:pt x="63712" y="281250"/>
                  </a:cubicBezTo>
                  <a:close/>
                </a:path>
              </a:pathLst>
            </a:custGeom>
            <a:grpFill/>
            <a:ln w="27192" cap="flat">
              <a:noFill/>
              <a:prstDash val="solid"/>
              <a:miter/>
            </a:ln>
          </p:spPr>
          <p:txBody>
            <a:bodyPr rtlCol="0" anchor="ctr"/>
            <a:lstStyle/>
            <a:p>
              <a:endParaRPr lang="uk-UA" sz="900"/>
            </a:p>
          </p:txBody>
        </p:sp>
        <p:sp>
          <p:nvSpPr>
            <p:cNvPr id="702" name="Freeform: Shape 701">
              <a:extLst>
                <a:ext uri="{FF2B5EF4-FFF2-40B4-BE49-F238E27FC236}">
                  <a16:creationId xmlns:a16="http://schemas.microsoft.com/office/drawing/2014/main" id="{75BFE939-9348-8C41-D3B9-D03CBD5636AA}"/>
                </a:ext>
              </a:extLst>
            </p:cNvPr>
            <p:cNvSpPr/>
            <p:nvPr/>
          </p:nvSpPr>
          <p:spPr>
            <a:xfrm>
              <a:off x="24330194" y="4579374"/>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39 w 435077"/>
                <a:gd name="connsiteY3" fmla="*/ 27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39" y="27"/>
                  </a:lnTo>
                  <a:lnTo>
                    <a:pt x="435077" y="217539"/>
                  </a:lnTo>
                  <a:lnTo>
                    <a:pt x="217539"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703" name="Freeform: Shape 702">
              <a:extLst>
                <a:ext uri="{FF2B5EF4-FFF2-40B4-BE49-F238E27FC236}">
                  <a16:creationId xmlns:a16="http://schemas.microsoft.com/office/drawing/2014/main" id="{2DA7A3F9-DA00-E116-8880-CDBE3FD8694A}"/>
                </a:ext>
              </a:extLst>
            </p:cNvPr>
            <p:cNvSpPr/>
            <p:nvPr/>
          </p:nvSpPr>
          <p:spPr>
            <a:xfrm>
              <a:off x="835769" y="718983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704" name="Freeform: Shape 703">
              <a:extLst>
                <a:ext uri="{FF2B5EF4-FFF2-40B4-BE49-F238E27FC236}">
                  <a16:creationId xmlns:a16="http://schemas.microsoft.com/office/drawing/2014/main" id="{86D06A88-6BE7-9A39-DF90-EA998EA6812F}"/>
                </a:ext>
              </a:extLst>
            </p:cNvPr>
            <p:cNvSpPr/>
            <p:nvPr/>
          </p:nvSpPr>
          <p:spPr>
            <a:xfrm>
              <a:off x="-34398" y="7189838"/>
              <a:ext cx="435090" cy="435077"/>
            </a:xfrm>
            <a:custGeom>
              <a:avLst/>
              <a:gdLst>
                <a:gd name="connsiteX0" fmla="*/ 0 w 435090"/>
                <a:gd name="connsiteY0" fmla="*/ 435077 h 435077"/>
                <a:gd name="connsiteX1" fmla="*/ 217525 w 435090"/>
                <a:gd name="connsiteY1" fmla="*/ 435077 h 435077"/>
                <a:gd name="connsiteX2" fmla="*/ 217525 w 435090"/>
                <a:gd name="connsiteY2" fmla="*/ 217539 h 435077"/>
                <a:gd name="connsiteX3" fmla="*/ 0 w 435090"/>
                <a:gd name="connsiteY3" fmla="*/ 435077 h 435077"/>
                <a:gd name="connsiteX4" fmla="*/ 217525 w 435090"/>
                <a:gd name="connsiteY4" fmla="*/ 0 h 435077"/>
                <a:gd name="connsiteX5" fmla="*/ 3 w 435090"/>
                <a:gd name="connsiteY5" fmla="*/ 0 h 435077"/>
                <a:gd name="connsiteX6" fmla="*/ 217525 w 435090"/>
                <a:gd name="connsiteY6" fmla="*/ 217539 h 435077"/>
                <a:gd name="connsiteX7" fmla="*/ 217525 w 435090"/>
                <a:gd name="connsiteY7" fmla="*/ 0 h 435077"/>
                <a:gd name="connsiteX8" fmla="*/ 435091 w 435090"/>
                <a:gd name="connsiteY8" fmla="*/ 435077 h 435077"/>
                <a:gd name="connsiteX9" fmla="*/ 217552 w 435090"/>
                <a:gd name="connsiteY9" fmla="*/ 435077 h 435077"/>
                <a:gd name="connsiteX10" fmla="*/ 435091 w 435090"/>
                <a:gd name="connsiteY10" fmla="*/ 217539 h 435077"/>
                <a:gd name="connsiteX11" fmla="*/ 435091 w 435090"/>
                <a:gd name="connsiteY11" fmla="*/ 435077 h 435077"/>
                <a:gd name="connsiteX12" fmla="*/ 435091 w 435090"/>
                <a:gd name="connsiteY12" fmla="*/ 0 h 435077"/>
                <a:gd name="connsiteX13" fmla="*/ 217552 w 435090"/>
                <a:gd name="connsiteY13" fmla="*/ 0 h 435077"/>
                <a:gd name="connsiteX14" fmla="*/ 435091 w 435090"/>
                <a:gd name="connsiteY14" fmla="*/ 217539 h 435077"/>
                <a:gd name="connsiteX15" fmla="*/ 435091 w 435090"/>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90" h="435077">
                  <a:moveTo>
                    <a:pt x="0" y="435077"/>
                  </a:moveTo>
                  <a:lnTo>
                    <a:pt x="217525" y="435077"/>
                  </a:lnTo>
                  <a:lnTo>
                    <a:pt x="217525" y="217539"/>
                  </a:lnTo>
                  <a:lnTo>
                    <a:pt x="0" y="435077"/>
                  </a:lnTo>
                  <a:close/>
                  <a:moveTo>
                    <a:pt x="217525" y="0"/>
                  </a:moveTo>
                  <a:lnTo>
                    <a:pt x="3" y="0"/>
                  </a:lnTo>
                  <a:lnTo>
                    <a:pt x="217525" y="217539"/>
                  </a:lnTo>
                  <a:lnTo>
                    <a:pt x="217525" y="0"/>
                  </a:lnTo>
                  <a:close/>
                  <a:moveTo>
                    <a:pt x="435091" y="435077"/>
                  </a:moveTo>
                  <a:lnTo>
                    <a:pt x="217552" y="435077"/>
                  </a:lnTo>
                  <a:lnTo>
                    <a:pt x="435091" y="217539"/>
                  </a:lnTo>
                  <a:lnTo>
                    <a:pt x="435091" y="435077"/>
                  </a:lnTo>
                  <a:close/>
                  <a:moveTo>
                    <a:pt x="435091" y="0"/>
                  </a:moveTo>
                  <a:lnTo>
                    <a:pt x="217552" y="0"/>
                  </a:lnTo>
                  <a:lnTo>
                    <a:pt x="435091" y="217539"/>
                  </a:lnTo>
                  <a:lnTo>
                    <a:pt x="435091" y="0"/>
                  </a:lnTo>
                  <a:close/>
                </a:path>
              </a:pathLst>
            </a:custGeom>
            <a:grpFill/>
            <a:ln w="27192" cap="flat">
              <a:noFill/>
              <a:prstDash val="solid"/>
              <a:miter/>
            </a:ln>
          </p:spPr>
          <p:txBody>
            <a:bodyPr rtlCol="0" anchor="ctr"/>
            <a:lstStyle/>
            <a:p>
              <a:endParaRPr lang="uk-UA" sz="900"/>
            </a:p>
          </p:txBody>
        </p:sp>
        <p:sp>
          <p:nvSpPr>
            <p:cNvPr id="705" name="Freeform: Shape 704">
              <a:extLst>
                <a:ext uri="{FF2B5EF4-FFF2-40B4-BE49-F238E27FC236}">
                  <a16:creationId xmlns:a16="http://schemas.microsoft.com/office/drawing/2014/main" id="{5ACF2B58-244E-0DF2-3BEE-80A25677B23B}"/>
                </a:ext>
              </a:extLst>
            </p:cNvPr>
            <p:cNvSpPr/>
            <p:nvPr/>
          </p:nvSpPr>
          <p:spPr>
            <a:xfrm>
              <a:off x="1705924" y="7189838"/>
              <a:ext cx="435077" cy="435077"/>
            </a:xfrm>
            <a:custGeom>
              <a:avLst/>
              <a:gdLst>
                <a:gd name="connsiteX0" fmla="*/ 371366 w 435077"/>
                <a:gd name="connsiteY0" fmla="*/ 63711 h 435077"/>
                <a:gd name="connsiteX1" fmla="*/ 435077 w 435077"/>
                <a:gd name="connsiteY1" fmla="*/ 217539 h 435077"/>
                <a:gd name="connsiteX2" fmla="*/ 218952 w 435077"/>
                <a:gd name="connsiteY2" fmla="*/ 217539 h 435077"/>
                <a:gd name="connsiteX3" fmla="*/ 371366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1 w 435077"/>
                <a:gd name="connsiteY7" fmla="*/ 281250 h 435077"/>
                <a:gd name="connsiteX8" fmla="*/ 216152 w 435077"/>
                <a:gd name="connsiteY8" fmla="*/ 217539 h 435077"/>
                <a:gd name="connsiteX9" fmla="*/ 0 w 435077"/>
                <a:gd name="connsiteY9" fmla="*/ 217539 h 435077"/>
                <a:gd name="connsiteX10" fmla="*/ 63711 w 435077"/>
                <a:gd name="connsiteY10" fmla="*/ 63711 h 435077"/>
                <a:gd name="connsiteX11" fmla="*/ 217539 w 435077"/>
                <a:gd name="connsiteY11" fmla="*/ 0 h 435077"/>
                <a:gd name="connsiteX12" fmla="*/ 371366 w 435077"/>
                <a:gd name="connsiteY12" fmla="*/ 63711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1"/>
                  </a:moveTo>
                  <a:cubicBezTo>
                    <a:pt x="412154" y="104527"/>
                    <a:pt x="435077" y="159836"/>
                    <a:pt x="435077" y="217539"/>
                  </a:cubicBezTo>
                  <a:lnTo>
                    <a:pt x="218952" y="217539"/>
                  </a:lnTo>
                  <a:cubicBezTo>
                    <a:pt x="276138" y="217920"/>
                    <a:pt x="330903" y="240788"/>
                    <a:pt x="371366" y="281250"/>
                  </a:cubicBezTo>
                  <a:cubicBezTo>
                    <a:pt x="412154" y="322039"/>
                    <a:pt x="435077" y="377375"/>
                    <a:pt x="435077" y="435077"/>
                  </a:cubicBezTo>
                  <a:lnTo>
                    <a:pt x="217539" y="435077"/>
                  </a:lnTo>
                  <a:lnTo>
                    <a:pt x="0" y="435077"/>
                  </a:lnTo>
                  <a:cubicBezTo>
                    <a:pt x="0" y="377375"/>
                    <a:pt x="22923" y="322039"/>
                    <a:pt x="63711" y="281250"/>
                  </a:cubicBezTo>
                  <a:cubicBezTo>
                    <a:pt x="104201" y="240788"/>
                    <a:pt x="158966" y="217920"/>
                    <a:pt x="216152" y="217539"/>
                  </a:cubicBezTo>
                  <a:lnTo>
                    <a:pt x="0" y="217539"/>
                  </a:lnTo>
                  <a:cubicBezTo>
                    <a:pt x="0" y="159836"/>
                    <a:pt x="22923" y="104527"/>
                    <a:pt x="63711" y="63711"/>
                  </a:cubicBezTo>
                  <a:cubicBezTo>
                    <a:pt x="104527" y="22923"/>
                    <a:pt x="159836" y="0"/>
                    <a:pt x="217539" y="0"/>
                  </a:cubicBezTo>
                  <a:cubicBezTo>
                    <a:pt x="275241" y="0"/>
                    <a:pt x="330577" y="22923"/>
                    <a:pt x="371366" y="63711"/>
                  </a:cubicBezTo>
                  <a:close/>
                </a:path>
              </a:pathLst>
            </a:custGeom>
            <a:grpFill/>
            <a:ln w="27192" cap="flat">
              <a:noFill/>
              <a:prstDash val="solid"/>
              <a:miter/>
            </a:ln>
          </p:spPr>
          <p:txBody>
            <a:bodyPr rtlCol="0" anchor="ctr"/>
            <a:lstStyle/>
            <a:p>
              <a:endParaRPr lang="uk-UA" sz="900"/>
            </a:p>
          </p:txBody>
        </p:sp>
        <p:sp>
          <p:nvSpPr>
            <p:cNvPr id="706" name="Freeform: Shape 705">
              <a:extLst>
                <a:ext uri="{FF2B5EF4-FFF2-40B4-BE49-F238E27FC236}">
                  <a16:creationId xmlns:a16="http://schemas.microsoft.com/office/drawing/2014/main" id="{8839454A-44BB-EDAD-1980-78774856B83E}"/>
                </a:ext>
              </a:extLst>
            </p:cNvPr>
            <p:cNvSpPr/>
            <p:nvPr/>
          </p:nvSpPr>
          <p:spPr>
            <a:xfrm>
              <a:off x="2576106" y="718983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50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50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50" y="217539"/>
                  </a:lnTo>
                  <a:lnTo>
                    <a:pt x="435077" y="217539"/>
                  </a:lnTo>
                  <a:lnTo>
                    <a:pt x="435077" y="217539"/>
                  </a:lnTo>
                  <a:lnTo>
                    <a:pt x="435077" y="217539"/>
                  </a:lnTo>
                  <a:lnTo>
                    <a:pt x="435050"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707" name="Freeform: Shape 706">
              <a:extLst>
                <a:ext uri="{FF2B5EF4-FFF2-40B4-BE49-F238E27FC236}">
                  <a16:creationId xmlns:a16="http://schemas.microsoft.com/office/drawing/2014/main" id="{75327455-C60F-3638-C8A4-AF8988E96AA3}"/>
                </a:ext>
              </a:extLst>
            </p:cNvPr>
            <p:cNvSpPr/>
            <p:nvPr/>
          </p:nvSpPr>
          <p:spPr>
            <a:xfrm>
              <a:off x="4316416" y="7189838"/>
              <a:ext cx="435077" cy="435077"/>
            </a:xfrm>
            <a:custGeom>
              <a:avLst/>
              <a:gdLst>
                <a:gd name="connsiteX0" fmla="*/ 217565 w 435077"/>
                <a:gd name="connsiteY0" fmla="*/ 0 h 435077"/>
                <a:gd name="connsiteX1" fmla="*/ 217539 w 435077"/>
                <a:gd name="connsiteY1" fmla="*/ 0 h 435077"/>
                <a:gd name="connsiteX2" fmla="*/ 27 w 435077"/>
                <a:gd name="connsiteY2" fmla="*/ 0 h 435077"/>
                <a:gd name="connsiteX3" fmla="*/ 27 w 435077"/>
                <a:gd name="connsiteY3" fmla="*/ 217539 h 435077"/>
                <a:gd name="connsiteX4" fmla="*/ 217565 w 435077"/>
                <a:gd name="connsiteY4" fmla="*/ 0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65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65" y="0"/>
                  </a:moveTo>
                  <a:lnTo>
                    <a:pt x="217539" y="0"/>
                  </a:lnTo>
                  <a:lnTo>
                    <a:pt x="27" y="0"/>
                  </a:lnTo>
                  <a:lnTo>
                    <a:pt x="27" y="217539"/>
                  </a:lnTo>
                  <a:lnTo>
                    <a:pt x="217565" y="0"/>
                  </a:lnTo>
                  <a:lnTo>
                    <a:pt x="435077" y="217539"/>
                  </a:lnTo>
                  <a:lnTo>
                    <a:pt x="217539" y="435077"/>
                  </a:lnTo>
                  <a:lnTo>
                    <a:pt x="0" y="217539"/>
                  </a:lnTo>
                  <a:lnTo>
                    <a:pt x="0" y="435077"/>
                  </a:lnTo>
                  <a:lnTo>
                    <a:pt x="217539" y="435077"/>
                  </a:lnTo>
                  <a:lnTo>
                    <a:pt x="435077" y="435077"/>
                  </a:lnTo>
                  <a:lnTo>
                    <a:pt x="435077" y="217539"/>
                  </a:lnTo>
                  <a:lnTo>
                    <a:pt x="435077" y="0"/>
                  </a:lnTo>
                  <a:lnTo>
                    <a:pt x="217565" y="0"/>
                  </a:lnTo>
                  <a:close/>
                </a:path>
              </a:pathLst>
            </a:custGeom>
            <a:grpFill/>
            <a:ln w="27192" cap="flat">
              <a:noFill/>
              <a:prstDash val="solid"/>
              <a:miter/>
            </a:ln>
          </p:spPr>
          <p:txBody>
            <a:bodyPr rtlCol="0" anchor="ctr"/>
            <a:lstStyle/>
            <a:p>
              <a:endParaRPr lang="uk-UA" sz="900"/>
            </a:p>
          </p:txBody>
        </p:sp>
        <p:sp>
          <p:nvSpPr>
            <p:cNvPr id="708" name="Freeform: Shape 707">
              <a:extLst>
                <a:ext uri="{FF2B5EF4-FFF2-40B4-BE49-F238E27FC236}">
                  <a16:creationId xmlns:a16="http://schemas.microsoft.com/office/drawing/2014/main" id="{5151C5E0-1E69-478A-FF45-17891F085C73}"/>
                </a:ext>
              </a:extLst>
            </p:cNvPr>
            <p:cNvSpPr/>
            <p:nvPr/>
          </p:nvSpPr>
          <p:spPr>
            <a:xfrm>
              <a:off x="3446261" y="7189838"/>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66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66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66" y="435077"/>
                  </a:lnTo>
                  <a:lnTo>
                    <a:pt x="435077" y="217539"/>
                  </a:lnTo>
                  <a:lnTo>
                    <a:pt x="435077" y="435077"/>
                  </a:lnTo>
                  <a:close/>
                  <a:moveTo>
                    <a:pt x="435077" y="0"/>
                  </a:moveTo>
                  <a:lnTo>
                    <a:pt x="217566"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709" name="Freeform: Shape 708">
              <a:extLst>
                <a:ext uri="{FF2B5EF4-FFF2-40B4-BE49-F238E27FC236}">
                  <a16:creationId xmlns:a16="http://schemas.microsoft.com/office/drawing/2014/main" id="{4B331597-5811-A700-70BB-B3819BEF610F}"/>
                </a:ext>
              </a:extLst>
            </p:cNvPr>
            <p:cNvSpPr/>
            <p:nvPr/>
          </p:nvSpPr>
          <p:spPr>
            <a:xfrm>
              <a:off x="5186597" y="7189838"/>
              <a:ext cx="435077" cy="435077"/>
            </a:xfrm>
            <a:custGeom>
              <a:avLst/>
              <a:gdLst>
                <a:gd name="connsiteX0" fmla="*/ 371366 w 435077"/>
                <a:gd name="connsiteY0" fmla="*/ 63711 h 435077"/>
                <a:gd name="connsiteX1" fmla="*/ 435077 w 435077"/>
                <a:gd name="connsiteY1" fmla="*/ 217539 h 435077"/>
                <a:gd name="connsiteX2" fmla="*/ 218953 w 435077"/>
                <a:gd name="connsiteY2" fmla="*/ 217539 h 435077"/>
                <a:gd name="connsiteX3" fmla="*/ 371366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25 w 435077"/>
                <a:gd name="connsiteY8" fmla="*/ 217539 h 435077"/>
                <a:gd name="connsiteX9" fmla="*/ 0 w 435077"/>
                <a:gd name="connsiteY9" fmla="*/ 217539 h 435077"/>
                <a:gd name="connsiteX10" fmla="*/ 63712 w 435077"/>
                <a:gd name="connsiteY10" fmla="*/ 63711 h 435077"/>
                <a:gd name="connsiteX11" fmla="*/ 217539 w 435077"/>
                <a:gd name="connsiteY11" fmla="*/ 0 h 435077"/>
                <a:gd name="connsiteX12" fmla="*/ 371366 w 435077"/>
                <a:gd name="connsiteY12" fmla="*/ 63711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1"/>
                  </a:moveTo>
                  <a:cubicBezTo>
                    <a:pt x="412155" y="104527"/>
                    <a:pt x="435077" y="159836"/>
                    <a:pt x="435077" y="217539"/>
                  </a:cubicBezTo>
                  <a:lnTo>
                    <a:pt x="218953" y="217539"/>
                  </a:lnTo>
                  <a:cubicBezTo>
                    <a:pt x="276138" y="217920"/>
                    <a:pt x="330904" y="240788"/>
                    <a:pt x="371366" y="281250"/>
                  </a:cubicBezTo>
                  <a:cubicBezTo>
                    <a:pt x="412155" y="322039"/>
                    <a:pt x="435077" y="377375"/>
                    <a:pt x="435077" y="435077"/>
                  </a:cubicBezTo>
                  <a:lnTo>
                    <a:pt x="217539" y="435077"/>
                  </a:lnTo>
                  <a:lnTo>
                    <a:pt x="0" y="435077"/>
                  </a:lnTo>
                  <a:cubicBezTo>
                    <a:pt x="0" y="377375"/>
                    <a:pt x="22924" y="322039"/>
                    <a:pt x="63712" y="281250"/>
                  </a:cubicBezTo>
                  <a:cubicBezTo>
                    <a:pt x="104175" y="240788"/>
                    <a:pt x="158939" y="217920"/>
                    <a:pt x="216125" y="217539"/>
                  </a:cubicBezTo>
                  <a:lnTo>
                    <a:pt x="0" y="217539"/>
                  </a:lnTo>
                  <a:cubicBezTo>
                    <a:pt x="0" y="159836"/>
                    <a:pt x="22924" y="104527"/>
                    <a:pt x="63712" y="63711"/>
                  </a:cubicBezTo>
                  <a:cubicBezTo>
                    <a:pt x="104501" y="22923"/>
                    <a:pt x="159837" y="0"/>
                    <a:pt x="217539" y="0"/>
                  </a:cubicBezTo>
                  <a:cubicBezTo>
                    <a:pt x="275241" y="0"/>
                    <a:pt x="330550" y="22923"/>
                    <a:pt x="371366" y="63711"/>
                  </a:cubicBezTo>
                  <a:close/>
                </a:path>
              </a:pathLst>
            </a:custGeom>
            <a:grpFill/>
            <a:ln w="27192" cap="flat">
              <a:noFill/>
              <a:prstDash val="solid"/>
              <a:miter/>
            </a:ln>
          </p:spPr>
          <p:txBody>
            <a:bodyPr rtlCol="0" anchor="ctr"/>
            <a:lstStyle/>
            <a:p>
              <a:endParaRPr lang="uk-UA" sz="900"/>
            </a:p>
          </p:txBody>
        </p:sp>
        <p:sp>
          <p:nvSpPr>
            <p:cNvPr id="710" name="Freeform: Shape 709">
              <a:extLst>
                <a:ext uri="{FF2B5EF4-FFF2-40B4-BE49-F238E27FC236}">
                  <a16:creationId xmlns:a16="http://schemas.microsoft.com/office/drawing/2014/main" id="{26600F04-2DA7-66EA-94FC-D17029F0E7B1}"/>
                </a:ext>
              </a:extLst>
            </p:cNvPr>
            <p:cNvSpPr/>
            <p:nvPr/>
          </p:nvSpPr>
          <p:spPr>
            <a:xfrm>
              <a:off x="6056752" y="7189838"/>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0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39 h 435077"/>
                <a:gd name="connsiteX9" fmla="*/ 435077 w 435077"/>
                <a:gd name="connsiteY9" fmla="*/ 217539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0"/>
                  </a:lnTo>
                  <a:lnTo>
                    <a:pt x="435077" y="217539"/>
                  </a:lnTo>
                  <a:lnTo>
                    <a:pt x="435077" y="217539"/>
                  </a:lnTo>
                  <a:lnTo>
                    <a:pt x="435077" y="217539"/>
                  </a:lnTo>
                  <a:lnTo>
                    <a:pt x="435077" y="217539"/>
                  </a:lnTo>
                  <a:lnTo>
                    <a:pt x="435077" y="217539"/>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711" name="Freeform: Shape 710">
              <a:extLst>
                <a:ext uri="{FF2B5EF4-FFF2-40B4-BE49-F238E27FC236}">
                  <a16:creationId xmlns:a16="http://schemas.microsoft.com/office/drawing/2014/main" id="{204B2742-BC2B-292A-75BB-FDA568AC6344}"/>
                </a:ext>
              </a:extLst>
            </p:cNvPr>
            <p:cNvSpPr/>
            <p:nvPr/>
          </p:nvSpPr>
          <p:spPr>
            <a:xfrm>
              <a:off x="7797062" y="718983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p>
          </p:txBody>
        </p:sp>
        <p:sp>
          <p:nvSpPr>
            <p:cNvPr id="712" name="Freeform: Shape 711">
              <a:extLst>
                <a:ext uri="{FF2B5EF4-FFF2-40B4-BE49-F238E27FC236}">
                  <a16:creationId xmlns:a16="http://schemas.microsoft.com/office/drawing/2014/main" id="{A501411D-A871-8BC8-5E27-04EF26673CD1}"/>
                </a:ext>
              </a:extLst>
            </p:cNvPr>
            <p:cNvSpPr/>
            <p:nvPr/>
          </p:nvSpPr>
          <p:spPr>
            <a:xfrm>
              <a:off x="6926907" y="7189838"/>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713" name="Freeform: Shape 712">
              <a:extLst>
                <a:ext uri="{FF2B5EF4-FFF2-40B4-BE49-F238E27FC236}">
                  <a16:creationId xmlns:a16="http://schemas.microsoft.com/office/drawing/2014/main" id="{01CCAB2B-1AE7-DE7E-1A24-E6614A39B601}"/>
                </a:ext>
              </a:extLst>
            </p:cNvPr>
            <p:cNvSpPr/>
            <p:nvPr/>
          </p:nvSpPr>
          <p:spPr>
            <a:xfrm>
              <a:off x="8667217" y="7189838"/>
              <a:ext cx="435104" cy="435077"/>
            </a:xfrm>
            <a:custGeom>
              <a:avLst/>
              <a:gdLst>
                <a:gd name="connsiteX0" fmla="*/ 371366 w 435104"/>
                <a:gd name="connsiteY0" fmla="*/ 63711 h 435077"/>
                <a:gd name="connsiteX1" fmla="*/ 435077 w 435104"/>
                <a:gd name="connsiteY1" fmla="*/ 217539 h 435077"/>
                <a:gd name="connsiteX2" fmla="*/ 218953 w 435104"/>
                <a:gd name="connsiteY2" fmla="*/ 217539 h 435077"/>
                <a:gd name="connsiteX3" fmla="*/ 371366 w 435104"/>
                <a:gd name="connsiteY3" fmla="*/ 281250 h 435077"/>
                <a:gd name="connsiteX4" fmla="*/ 435105 w 435104"/>
                <a:gd name="connsiteY4" fmla="*/ 435077 h 435077"/>
                <a:gd name="connsiteX5" fmla="*/ 217566 w 435104"/>
                <a:gd name="connsiteY5" fmla="*/ 435077 h 435077"/>
                <a:gd name="connsiteX6" fmla="*/ 27 w 435104"/>
                <a:gd name="connsiteY6" fmla="*/ 435077 h 435077"/>
                <a:gd name="connsiteX7" fmla="*/ 63739 w 435104"/>
                <a:gd name="connsiteY7" fmla="*/ 281250 h 435077"/>
                <a:gd name="connsiteX8" fmla="*/ 216152 w 435104"/>
                <a:gd name="connsiteY8" fmla="*/ 217539 h 435077"/>
                <a:gd name="connsiteX9" fmla="*/ 0 w 435104"/>
                <a:gd name="connsiteY9" fmla="*/ 217539 h 435077"/>
                <a:gd name="connsiteX10" fmla="*/ 63739 w 435104"/>
                <a:gd name="connsiteY10" fmla="*/ 63711 h 435077"/>
                <a:gd name="connsiteX11" fmla="*/ 217539 w 435104"/>
                <a:gd name="connsiteY11" fmla="*/ 0 h 435077"/>
                <a:gd name="connsiteX12" fmla="*/ 371366 w 435104"/>
                <a:gd name="connsiteY12" fmla="*/ 63711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4" h="435077">
                  <a:moveTo>
                    <a:pt x="371366" y="63711"/>
                  </a:moveTo>
                  <a:cubicBezTo>
                    <a:pt x="412182" y="104527"/>
                    <a:pt x="435077" y="159836"/>
                    <a:pt x="435077" y="217539"/>
                  </a:cubicBezTo>
                  <a:lnTo>
                    <a:pt x="218953" y="217539"/>
                  </a:lnTo>
                  <a:cubicBezTo>
                    <a:pt x="276138" y="217920"/>
                    <a:pt x="330904" y="240788"/>
                    <a:pt x="371366" y="281250"/>
                  </a:cubicBezTo>
                  <a:cubicBezTo>
                    <a:pt x="412182" y="322039"/>
                    <a:pt x="435105" y="377375"/>
                    <a:pt x="435105" y="435077"/>
                  </a:cubicBezTo>
                  <a:lnTo>
                    <a:pt x="217566" y="435077"/>
                  </a:lnTo>
                  <a:lnTo>
                    <a:pt x="27" y="435077"/>
                  </a:lnTo>
                  <a:cubicBezTo>
                    <a:pt x="27" y="377375"/>
                    <a:pt x="22924" y="322039"/>
                    <a:pt x="63739" y="281250"/>
                  </a:cubicBezTo>
                  <a:cubicBezTo>
                    <a:pt x="104201" y="240788"/>
                    <a:pt x="158967" y="217920"/>
                    <a:pt x="216152" y="217539"/>
                  </a:cubicBezTo>
                  <a:lnTo>
                    <a:pt x="0" y="217539"/>
                  </a:lnTo>
                  <a:cubicBezTo>
                    <a:pt x="0" y="159836"/>
                    <a:pt x="22924" y="104527"/>
                    <a:pt x="63739" y="63711"/>
                  </a:cubicBezTo>
                  <a:cubicBezTo>
                    <a:pt x="104527" y="22923"/>
                    <a:pt x="159864" y="0"/>
                    <a:pt x="217539" y="0"/>
                  </a:cubicBezTo>
                  <a:cubicBezTo>
                    <a:pt x="275241" y="0"/>
                    <a:pt x="330578" y="22923"/>
                    <a:pt x="371366" y="63711"/>
                  </a:cubicBezTo>
                  <a:close/>
                </a:path>
              </a:pathLst>
            </a:custGeom>
            <a:grpFill/>
            <a:ln w="27192" cap="flat">
              <a:noFill/>
              <a:prstDash val="solid"/>
              <a:miter/>
            </a:ln>
          </p:spPr>
          <p:txBody>
            <a:bodyPr rtlCol="0" anchor="ctr"/>
            <a:lstStyle/>
            <a:p>
              <a:endParaRPr lang="uk-UA" sz="900"/>
            </a:p>
          </p:txBody>
        </p:sp>
        <p:sp>
          <p:nvSpPr>
            <p:cNvPr id="714" name="Freeform: Shape 713">
              <a:extLst>
                <a:ext uri="{FF2B5EF4-FFF2-40B4-BE49-F238E27FC236}">
                  <a16:creationId xmlns:a16="http://schemas.microsoft.com/office/drawing/2014/main" id="{F8404BD1-E782-501E-6A2A-8601557FF035}"/>
                </a:ext>
              </a:extLst>
            </p:cNvPr>
            <p:cNvSpPr/>
            <p:nvPr/>
          </p:nvSpPr>
          <p:spPr>
            <a:xfrm>
              <a:off x="9537399" y="7189838"/>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0 h 435077"/>
                <a:gd name="connsiteX5" fmla="*/ 435050 w 435077"/>
                <a:gd name="connsiteY5" fmla="*/ 217539 h 435077"/>
                <a:gd name="connsiteX6" fmla="*/ 435077 w 435077"/>
                <a:gd name="connsiteY6" fmla="*/ 217539 h 435077"/>
                <a:gd name="connsiteX7" fmla="*/ 435050 w 435077"/>
                <a:gd name="connsiteY7" fmla="*/ 217539 h 435077"/>
                <a:gd name="connsiteX8" fmla="*/ 435077 w 435077"/>
                <a:gd name="connsiteY8" fmla="*/ 217539 h 435077"/>
                <a:gd name="connsiteX9" fmla="*/ 435050 w 435077"/>
                <a:gd name="connsiteY9" fmla="*/ 217539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0"/>
                  </a:lnTo>
                  <a:lnTo>
                    <a:pt x="435050" y="217539"/>
                  </a:lnTo>
                  <a:lnTo>
                    <a:pt x="435077" y="217539"/>
                  </a:lnTo>
                  <a:lnTo>
                    <a:pt x="435050" y="217539"/>
                  </a:lnTo>
                  <a:lnTo>
                    <a:pt x="435077" y="217539"/>
                  </a:lnTo>
                  <a:lnTo>
                    <a:pt x="435050" y="217539"/>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715" name="Freeform: Shape 714">
              <a:extLst>
                <a:ext uri="{FF2B5EF4-FFF2-40B4-BE49-F238E27FC236}">
                  <a16:creationId xmlns:a16="http://schemas.microsoft.com/office/drawing/2014/main" id="{F3262974-189E-AFFF-9A1A-865F037ED465}"/>
                </a:ext>
              </a:extLst>
            </p:cNvPr>
            <p:cNvSpPr/>
            <p:nvPr/>
          </p:nvSpPr>
          <p:spPr>
            <a:xfrm>
              <a:off x="11277709" y="718983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716" name="Freeform: Shape 715">
              <a:extLst>
                <a:ext uri="{FF2B5EF4-FFF2-40B4-BE49-F238E27FC236}">
                  <a16:creationId xmlns:a16="http://schemas.microsoft.com/office/drawing/2014/main" id="{F699C4AF-121F-2664-E6EF-4754695693C7}"/>
                </a:ext>
              </a:extLst>
            </p:cNvPr>
            <p:cNvSpPr/>
            <p:nvPr/>
          </p:nvSpPr>
          <p:spPr>
            <a:xfrm>
              <a:off x="10407554" y="7189838"/>
              <a:ext cx="435077" cy="435077"/>
            </a:xfrm>
            <a:custGeom>
              <a:avLst/>
              <a:gdLst>
                <a:gd name="connsiteX0" fmla="*/ 0 w 435077"/>
                <a:gd name="connsiteY0" fmla="*/ 435077 h 435077"/>
                <a:gd name="connsiteX1" fmla="*/ 217511 w 435077"/>
                <a:gd name="connsiteY1" fmla="*/ 435077 h 435077"/>
                <a:gd name="connsiteX2" fmla="*/ 217511 w 435077"/>
                <a:gd name="connsiteY2" fmla="*/ 217539 h 435077"/>
                <a:gd name="connsiteX3" fmla="*/ 0 w 435077"/>
                <a:gd name="connsiteY3" fmla="*/ 435077 h 435077"/>
                <a:gd name="connsiteX4" fmla="*/ 217511 w 435077"/>
                <a:gd name="connsiteY4" fmla="*/ 0 h 435077"/>
                <a:gd name="connsiteX5" fmla="*/ 0 w 435077"/>
                <a:gd name="connsiteY5" fmla="*/ 0 h 435077"/>
                <a:gd name="connsiteX6" fmla="*/ 217511 w 435077"/>
                <a:gd name="connsiteY6" fmla="*/ 217539 h 435077"/>
                <a:gd name="connsiteX7" fmla="*/ 217511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11" y="435077"/>
                  </a:lnTo>
                  <a:lnTo>
                    <a:pt x="217511" y="217539"/>
                  </a:lnTo>
                  <a:lnTo>
                    <a:pt x="0" y="435077"/>
                  </a:lnTo>
                  <a:close/>
                  <a:moveTo>
                    <a:pt x="217511" y="0"/>
                  </a:moveTo>
                  <a:lnTo>
                    <a:pt x="0" y="0"/>
                  </a:lnTo>
                  <a:lnTo>
                    <a:pt x="217511" y="217539"/>
                  </a:lnTo>
                  <a:lnTo>
                    <a:pt x="217511"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717" name="Freeform: Shape 716">
              <a:extLst>
                <a:ext uri="{FF2B5EF4-FFF2-40B4-BE49-F238E27FC236}">
                  <a16:creationId xmlns:a16="http://schemas.microsoft.com/office/drawing/2014/main" id="{F8394C92-BE67-0555-8CB2-1D0D74B608F4}"/>
                </a:ext>
              </a:extLst>
            </p:cNvPr>
            <p:cNvSpPr/>
            <p:nvPr/>
          </p:nvSpPr>
          <p:spPr>
            <a:xfrm>
              <a:off x="12147864" y="7189838"/>
              <a:ext cx="435103" cy="435077"/>
            </a:xfrm>
            <a:custGeom>
              <a:avLst/>
              <a:gdLst>
                <a:gd name="connsiteX0" fmla="*/ 371365 w 435103"/>
                <a:gd name="connsiteY0" fmla="*/ 63711 h 435077"/>
                <a:gd name="connsiteX1" fmla="*/ 435077 w 435103"/>
                <a:gd name="connsiteY1" fmla="*/ 217539 h 435077"/>
                <a:gd name="connsiteX2" fmla="*/ 218953 w 435103"/>
                <a:gd name="connsiteY2" fmla="*/ 217539 h 435077"/>
                <a:gd name="connsiteX3" fmla="*/ 371365 w 435103"/>
                <a:gd name="connsiteY3" fmla="*/ 281250 h 435077"/>
                <a:gd name="connsiteX4" fmla="*/ 435104 w 435103"/>
                <a:gd name="connsiteY4" fmla="*/ 435077 h 435077"/>
                <a:gd name="connsiteX5" fmla="*/ 217565 w 435103"/>
                <a:gd name="connsiteY5" fmla="*/ 435077 h 435077"/>
                <a:gd name="connsiteX6" fmla="*/ 27 w 435103"/>
                <a:gd name="connsiteY6" fmla="*/ 435077 h 435077"/>
                <a:gd name="connsiteX7" fmla="*/ 63739 w 435103"/>
                <a:gd name="connsiteY7" fmla="*/ 281250 h 435077"/>
                <a:gd name="connsiteX8" fmla="*/ 216151 w 435103"/>
                <a:gd name="connsiteY8" fmla="*/ 217539 h 435077"/>
                <a:gd name="connsiteX9" fmla="*/ 0 w 435103"/>
                <a:gd name="connsiteY9" fmla="*/ 217539 h 435077"/>
                <a:gd name="connsiteX10" fmla="*/ 63739 w 435103"/>
                <a:gd name="connsiteY10" fmla="*/ 63711 h 435077"/>
                <a:gd name="connsiteX11" fmla="*/ 217539 w 435103"/>
                <a:gd name="connsiteY11" fmla="*/ 0 h 435077"/>
                <a:gd name="connsiteX12" fmla="*/ 371365 w 435103"/>
                <a:gd name="connsiteY12" fmla="*/ 63711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3" h="435077">
                  <a:moveTo>
                    <a:pt x="371365" y="63711"/>
                  </a:moveTo>
                  <a:cubicBezTo>
                    <a:pt x="412180" y="104527"/>
                    <a:pt x="435077" y="159836"/>
                    <a:pt x="435077" y="217539"/>
                  </a:cubicBezTo>
                  <a:lnTo>
                    <a:pt x="218953" y="217539"/>
                  </a:lnTo>
                  <a:cubicBezTo>
                    <a:pt x="276137" y="217920"/>
                    <a:pt x="330902" y="240788"/>
                    <a:pt x="371365" y="281250"/>
                  </a:cubicBezTo>
                  <a:cubicBezTo>
                    <a:pt x="412180" y="322039"/>
                    <a:pt x="435104" y="377375"/>
                    <a:pt x="435104" y="435077"/>
                  </a:cubicBezTo>
                  <a:lnTo>
                    <a:pt x="217565" y="435077"/>
                  </a:lnTo>
                  <a:lnTo>
                    <a:pt x="27" y="435077"/>
                  </a:lnTo>
                  <a:cubicBezTo>
                    <a:pt x="27" y="377375"/>
                    <a:pt x="22922" y="322039"/>
                    <a:pt x="63739" y="281250"/>
                  </a:cubicBezTo>
                  <a:cubicBezTo>
                    <a:pt x="104200" y="240788"/>
                    <a:pt x="158965" y="217920"/>
                    <a:pt x="216151" y="217539"/>
                  </a:cubicBezTo>
                  <a:lnTo>
                    <a:pt x="0" y="217539"/>
                  </a:lnTo>
                  <a:cubicBezTo>
                    <a:pt x="0" y="159836"/>
                    <a:pt x="22922" y="104527"/>
                    <a:pt x="63739" y="63711"/>
                  </a:cubicBezTo>
                  <a:cubicBezTo>
                    <a:pt x="104527" y="22923"/>
                    <a:pt x="159863" y="0"/>
                    <a:pt x="217539" y="0"/>
                  </a:cubicBezTo>
                  <a:cubicBezTo>
                    <a:pt x="275239" y="0"/>
                    <a:pt x="330577" y="22923"/>
                    <a:pt x="371365" y="63711"/>
                  </a:cubicBezTo>
                  <a:close/>
                </a:path>
              </a:pathLst>
            </a:custGeom>
            <a:grpFill/>
            <a:ln w="27192" cap="flat">
              <a:noFill/>
              <a:prstDash val="solid"/>
              <a:miter/>
            </a:ln>
          </p:spPr>
          <p:txBody>
            <a:bodyPr rtlCol="0" anchor="ctr"/>
            <a:lstStyle/>
            <a:p>
              <a:endParaRPr lang="uk-UA" sz="900"/>
            </a:p>
          </p:txBody>
        </p:sp>
        <p:sp>
          <p:nvSpPr>
            <p:cNvPr id="718" name="Freeform: Shape 717">
              <a:extLst>
                <a:ext uri="{FF2B5EF4-FFF2-40B4-BE49-F238E27FC236}">
                  <a16:creationId xmlns:a16="http://schemas.microsoft.com/office/drawing/2014/main" id="{BC7618A9-8C24-3679-208A-2332BCF4AC9E}"/>
                </a:ext>
              </a:extLst>
            </p:cNvPr>
            <p:cNvSpPr/>
            <p:nvPr/>
          </p:nvSpPr>
          <p:spPr>
            <a:xfrm>
              <a:off x="13017991" y="7189811"/>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719" name="Freeform: Shape 718">
              <a:extLst>
                <a:ext uri="{FF2B5EF4-FFF2-40B4-BE49-F238E27FC236}">
                  <a16:creationId xmlns:a16="http://schemas.microsoft.com/office/drawing/2014/main" id="{47D33CBF-D971-212D-1DFF-08B58C5A1DEC}"/>
                </a:ext>
              </a:extLst>
            </p:cNvPr>
            <p:cNvSpPr/>
            <p:nvPr/>
          </p:nvSpPr>
          <p:spPr>
            <a:xfrm>
              <a:off x="14758382" y="7189838"/>
              <a:ext cx="435077" cy="435077"/>
            </a:xfrm>
            <a:custGeom>
              <a:avLst/>
              <a:gdLst>
                <a:gd name="connsiteX0" fmla="*/ 217539 w 435077"/>
                <a:gd name="connsiteY0" fmla="*/ 0 h 435077"/>
                <a:gd name="connsiteX1" fmla="*/ 217539 w 435077"/>
                <a:gd name="connsiteY1" fmla="*/ 0 h 435077"/>
                <a:gd name="connsiteX2" fmla="*/ 0 w 435077"/>
                <a:gd name="connsiteY2" fmla="*/ 0 h 435077"/>
                <a:gd name="connsiteX3" fmla="*/ 0 w 435077"/>
                <a:gd name="connsiteY3" fmla="*/ 217539 h 435077"/>
                <a:gd name="connsiteX4" fmla="*/ 217539 w 435077"/>
                <a:gd name="connsiteY4" fmla="*/ 0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217539" y="0"/>
                  </a:lnTo>
                  <a:lnTo>
                    <a:pt x="0" y="0"/>
                  </a:lnTo>
                  <a:lnTo>
                    <a:pt x="0" y="217539"/>
                  </a:lnTo>
                  <a:lnTo>
                    <a:pt x="217539" y="0"/>
                  </a:lnTo>
                  <a:lnTo>
                    <a:pt x="435077" y="217539"/>
                  </a:lnTo>
                  <a:lnTo>
                    <a:pt x="217539" y="435077"/>
                  </a:lnTo>
                  <a:lnTo>
                    <a:pt x="0" y="217539"/>
                  </a:lnTo>
                  <a:lnTo>
                    <a:pt x="0" y="435077"/>
                  </a:lnTo>
                  <a:lnTo>
                    <a:pt x="217539" y="435077"/>
                  </a:lnTo>
                  <a:lnTo>
                    <a:pt x="435077" y="435077"/>
                  </a:lnTo>
                  <a:lnTo>
                    <a:pt x="435077" y="217539"/>
                  </a:lnTo>
                  <a:lnTo>
                    <a:pt x="435077" y="0"/>
                  </a:lnTo>
                  <a:lnTo>
                    <a:pt x="217539" y="0"/>
                  </a:lnTo>
                  <a:close/>
                </a:path>
              </a:pathLst>
            </a:custGeom>
            <a:grpFill/>
            <a:ln w="27192" cap="flat">
              <a:noFill/>
              <a:prstDash val="solid"/>
              <a:miter/>
            </a:ln>
          </p:spPr>
          <p:txBody>
            <a:bodyPr rtlCol="0" anchor="ctr"/>
            <a:lstStyle/>
            <a:p>
              <a:endParaRPr lang="uk-UA" sz="900"/>
            </a:p>
          </p:txBody>
        </p:sp>
        <p:sp>
          <p:nvSpPr>
            <p:cNvPr id="720" name="Freeform: Shape 719">
              <a:extLst>
                <a:ext uri="{FF2B5EF4-FFF2-40B4-BE49-F238E27FC236}">
                  <a16:creationId xmlns:a16="http://schemas.microsoft.com/office/drawing/2014/main" id="{44D34E05-05FD-1C51-D1D7-134F29C74402}"/>
                </a:ext>
              </a:extLst>
            </p:cNvPr>
            <p:cNvSpPr/>
            <p:nvPr/>
          </p:nvSpPr>
          <p:spPr>
            <a:xfrm>
              <a:off x="13888200" y="7189838"/>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65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65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65" y="435077"/>
                  </a:lnTo>
                  <a:lnTo>
                    <a:pt x="435077" y="217539"/>
                  </a:lnTo>
                  <a:lnTo>
                    <a:pt x="435077" y="435077"/>
                  </a:lnTo>
                  <a:close/>
                  <a:moveTo>
                    <a:pt x="435077" y="0"/>
                  </a:moveTo>
                  <a:lnTo>
                    <a:pt x="217565"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721" name="Freeform: Shape 720">
              <a:extLst>
                <a:ext uri="{FF2B5EF4-FFF2-40B4-BE49-F238E27FC236}">
                  <a16:creationId xmlns:a16="http://schemas.microsoft.com/office/drawing/2014/main" id="{F187B0AE-F83B-0ED6-CE45-B9A3FA19A4DD}"/>
                </a:ext>
              </a:extLst>
            </p:cNvPr>
            <p:cNvSpPr/>
            <p:nvPr/>
          </p:nvSpPr>
          <p:spPr>
            <a:xfrm>
              <a:off x="15628536" y="7189838"/>
              <a:ext cx="435077" cy="435077"/>
            </a:xfrm>
            <a:custGeom>
              <a:avLst/>
              <a:gdLst>
                <a:gd name="connsiteX0" fmla="*/ 371367 w 435077"/>
                <a:gd name="connsiteY0" fmla="*/ 63711 h 435077"/>
                <a:gd name="connsiteX1" fmla="*/ 435077 w 435077"/>
                <a:gd name="connsiteY1" fmla="*/ 217539 h 435077"/>
                <a:gd name="connsiteX2" fmla="*/ 218953 w 435077"/>
                <a:gd name="connsiteY2" fmla="*/ 217539 h 435077"/>
                <a:gd name="connsiteX3" fmla="*/ 371367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39 w 435077"/>
                <a:gd name="connsiteY7" fmla="*/ 281250 h 435077"/>
                <a:gd name="connsiteX8" fmla="*/ 216153 w 435077"/>
                <a:gd name="connsiteY8" fmla="*/ 217539 h 435077"/>
                <a:gd name="connsiteX9" fmla="*/ 0 w 435077"/>
                <a:gd name="connsiteY9" fmla="*/ 217539 h 435077"/>
                <a:gd name="connsiteX10" fmla="*/ 63712 w 435077"/>
                <a:gd name="connsiteY10" fmla="*/ 63711 h 435077"/>
                <a:gd name="connsiteX11" fmla="*/ 217539 w 435077"/>
                <a:gd name="connsiteY11" fmla="*/ 0 h 435077"/>
                <a:gd name="connsiteX12" fmla="*/ 371367 w 435077"/>
                <a:gd name="connsiteY12" fmla="*/ 63711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7" y="63711"/>
                  </a:moveTo>
                  <a:cubicBezTo>
                    <a:pt x="412155" y="104527"/>
                    <a:pt x="435077" y="159836"/>
                    <a:pt x="435077" y="217539"/>
                  </a:cubicBezTo>
                  <a:lnTo>
                    <a:pt x="218953" y="217539"/>
                  </a:lnTo>
                  <a:cubicBezTo>
                    <a:pt x="276139" y="217920"/>
                    <a:pt x="330904" y="240788"/>
                    <a:pt x="371367" y="281250"/>
                  </a:cubicBezTo>
                  <a:cubicBezTo>
                    <a:pt x="412182" y="322039"/>
                    <a:pt x="435077" y="377375"/>
                    <a:pt x="435077" y="435077"/>
                  </a:cubicBezTo>
                  <a:lnTo>
                    <a:pt x="217539" y="435077"/>
                  </a:lnTo>
                  <a:lnTo>
                    <a:pt x="0" y="435077"/>
                  </a:lnTo>
                  <a:cubicBezTo>
                    <a:pt x="0" y="377375"/>
                    <a:pt x="22924" y="322039"/>
                    <a:pt x="63739" y="281250"/>
                  </a:cubicBezTo>
                  <a:cubicBezTo>
                    <a:pt x="104202" y="240788"/>
                    <a:pt x="158967" y="217920"/>
                    <a:pt x="216153" y="217539"/>
                  </a:cubicBezTo>
                  <a:lnTo>
                    <a:pt x="0" y="217539"/>
                  </a:lnTo>
                  <a:cubicBezTo>
                    <a:pt x="0" y="159836"/>
                    <a:pt x="22924" y="104527"/>
                    <a:pt x="63712" y="63711"/>
                  </a:cubicBezTo>
                  <a:cubicBezTo>
                    <a:pt x="104527" y="22923"/>
                    <a:pt x="159865" y="0"/>
                    <a:pt x="217539" y="0"/>
                  </a:cubicBezTo>
                  <a:cubicBezTo>
                    <a:pt x="275241" y="0"/>
                    <a:pt x="330578" y="22923"/>
                    <a:pt x="371367" y="63711"/>
                  </a:cubicBezTo>
                  <a:close/>
                </a:path>
              </a:pathLst>
            </a:custGeom>
            <a:grpFill/>
            <a:ln w="27192" cap="flat">
              <a:noFill/>
              <a:prstDash val="solid"/>
              <a:miter/>
            </a:ln>
          </p:spPr>
          <p:txBody>
            <a:bodyPr rtlCol="0" anchor="ctr"/>
            <a:lstStyle/>
            <a:p>
              <a:endParaRPr lang="uk-UA" sz="900"/>
            </a:p>
          </p:txBody>
        </p:sp>
        <p:sp>
          <p:nvSpPr>
            <p:cNvPr id="722" name="Freeform: Shape 721">
              <a:extLst>
                <a:ext uri="{FF2B5EF4-FFF2-40B4-BE49-F238E27FC236}">
                  <a16:creationId xmlns:a16="http://schemas.microsoft.com/office/drawing/2014/main" id="{69271059-3B2C-E7D7-5731-3AEB2F94E4A4}"/>
                </a:ext>
              </a:extLst>
            </p:cNvPr>
            <p:cNvSpPr/>
            <p:nvPr/>
          </p:nvSpPr>
          <p:spPr>
            <a:xfrm>
              <a:off x="16498719" y="718983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49 w 435077"/>
                <a:gd name="connsiteY7" fmla="*/ 217539 h 435077"/>
                <a:gd name="connsiteX8" fmla="*/ 435077 w 435077"/>
                <a:gd name="connsiteY8" fmla="*/ 217539 h 435077"/>
                <a:gd name="connsiteX9" fmla="*/ 435049 w 435077"/>
                <a:gd name="connsiteY9" fmla="*/ 217539 h 435077"/>
                <a:gd name="connsiteX10" fmla="*/ 435077 w 435077"/>
                <a:gd name="connsiteY10" fmla="*/ 217539 h 435077"/>
                <a:gd name="connsiteX11" fmla="*/ 435049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49" y="217539"/>
                  </a:lnTo>
                  <a:lnTo>
                    <a:pt x="435077" y="217539"/>
                  </a:lnTo>
                  <a:lnTo>
                    <a:pt x="435049" y="217539"/>
                  </a:lnTo>
                  <a:lnTo>
                    <a:pt x="435077" y="217539"/>
                  </a:lnTo>
                  <a:lnTo>
                    <a:pt x="435049"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723" name="Freeform: Shape 722">
              <a:extLst>
                <a:ext uri="{FF2B5EF4-FFF2-40B4-BE49-F238E27FC236}">
                  <a16:creationId xmlns:a16="http://schemas.microsoft.com/office/drawing/2014/main" id="{DA66F8F7-8823-4B30-6874-5FF1D57B9DD1}"/>
                </a:ext>
              </a:extLst>
            </p:cNvPr>
            <p:cNvSpPr/>
            <p:nvPr/>
          </p:nvSpPr>
          <p:spPr>
            <a:xfrm>
              <a:off x="18239029" y="718983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724" name="Freeform: Shape 723">
              <a:extLst>
                <a:ext uri="{FF2B5EF4-FFF2-40B4-BE49-F238E27FC236}">
                  <a16:creationId xmlns:a16="http://schemas.microsoft.com/office/drawing/2014/main" id="{F38D37E2-FF71-543D-2FBD-DAF4D3B62E70}"/>
                </a:ext>
              </a:extLst>
            </p:cNvPr>
            <p:cNvSpPr/>
            <p:nvPr/>
          </p:nvSpPr>
          <p:spPr>
            <a:xfrm>
              <a:off x="17368874" y="7189838"/>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725" name="Freeform: Shape 724">
              <a:extLst>
                <a:ext uri="{FF2B5EF4-FFF2-40B4-BE49-F238E27FC236}">
                  <a16:creationId xmlns:a16="http://schemas.microsoft.com/office/drawing/2014/main" id="{3571ADBC-C18D-F487-CEFE-659FCAEA8571}"/>
                </a:ext>
              </a:extLst>
            </p:cNvPr>
            <p:cNvSpPr/>
            <p:nvPr/>
          </p:nvSpPr>
          <p:spPr>
            <a:xfrm>
              <a:off x="19109210" y="7189838"/>
              <a:ext cx="435077" cy="435077"/>
            </a:xfrm>
            <a:custGeom>
              <a:avLst/>
              <a:gdLst>
                <a:gd name="connsiteX0" fmla="*/ 371339 w 435077"/>
                <a:gd name="connsiteY0" fmla="*/ 63711 h 435077"/>
                <a:gd name="connsiteX1" fmla="*/ 435077 w 435077"/>
                <a:gd name="connsiteY1" fmla="*/ 217539 h 435077"/>
                <a:gd name="connsiteX2" fmla="*/ 218926 w 435077"/>
                <a:gd name="connsiteY2" fmla="*/ 217539 h 435077"/>
                <a:gd name="connsiteX3" fmla="*/ 371365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25 w 435077"/>
                <a:gd name="connsiteY8" fmla="*/ 217539 h 435077"/>
                <a:gd name="connsiteX9" fmla="*/ 0 w 435077"/>
                <a:gd name="connsiteY9" fmla="*/ 217539 h 435077"/>
                <a:gd name="connsiteX10" fmla="*/ 63712 w 435077"/>
                <a:gd name="connsiteY10" fmla="*/ 63711 h 435077"/>
                <a:gd name="connsiteX11" fmla="*/ 217539 w 435077"/>
                <a:gd name="connsiteY11" fmla="*/ 0 h 435077"/>
                <a:gd name="connsiteX12" fmla="*/ 371339 w 435077"/>
                <a:gd name="connsiteY12" fmla="*/ 63711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11"/>
                  </a:moveTo>
                  <a:cubicBezTo>
                    <a:pt x="412154" y="104527"/>
                    <a:pt x="435077" y="159836"/>
                    <a:pt x="435077" y="217539"/>
                  </a:cubicBezTo>
                  <a:lnTo>
                    <a:pt x="218926" y="217539"/>
                  </a:lnTo>
                  <a:cubicBezTo>
                    <a:pt x="276111" y="217920"/>
                    <a:pt x="330877" y="240788"/>
                    <a:pt x="371365" y="281250"/>
                  </a:cubicBezTo>
                  <a:cubicBezTo>
                    <a:pt x="412154" y="322039"/>
                    <a:pt x="435077" y="377375"/>
                    <a:pt x="435077" y="435077"/>
                  </a:cubicBezTo>
                  <a:lnTo>
                    <a:pt x="217539" y="435077"/>
                  </a:lnTo>
                  <a:lnTo>
                    <a:pt x="0" y="435077"/>
                  </a:lnTo>
                  <a:cubicBezTo>
                    <a:pt x="0" y="377375"/>
                    <a:pt x="22924" y="322039"/>
                    <a:pt x="63712" y="281250"/>
                  </a:cubicBezTo>
                  <a:cubicBezTo>
                    <a:pt x="104174" y="240788"/>
                    <a:pt x="158940" y="217920"/>
                    <a:pt x="216125" y="217539"/>
                  </a:cubicBezTo>
                  <a:lnTo>
                    <a:pt x="0" y="217539"/>
                  </a:lnTo>
                  <a:cubicBezTo>
                    <a:pt x="0" y="159836"/>
                    <a:pt x="22895" y="104527"/>
                    <a:pt x="63712" y="63711"/>
                  </a:cubicBezTo>
                  <a:cubicBezTo>
                    <a:pt x="104501" y="22923"/>
                    <a:pt x="159836" y="0"/>
                    <a:pt x="217539" y="0"/>
                  </a:cubicBezTo>
                  <a:cubicBezTo>
                    <a:pt x="275215" y="0"/>
                    <a:pt x="330550" y="22923"/>
                    <a:pt x="371339" y="63711"/>
                  </a:cubicBezTo>
                  <a:close/>
                </a:path>
              </a:pathLst>
            </a:custGeom>
            <a:grpFill/>
            <a:ln w="27192" cap="flat">
              <a:noFill/>
              <a:prstDash val="solid"/>
              <a:miter/>
            </a:ln>
          </p:spPr>
          <p:txBody>
            <a:bodyPr rtlCol="0" anchor="ctr"/>
            <a:lstStyle/>
            <a:p>
              <a:endParaRPr lang="uk-UA" sz="900"/>
            </a:p>
          </p:txBody>
        </p:sp>
        <p:sp>
          <p:nvSpPr>
            <p:cNvPr id="726" name="Freeform: Shape 725">
              <a:extLst>
                <a:ext uri="{FF2B5EF4-FFF2-40B4-BE49-F238E27FC236}">
                  <a16:creationId xmlns:a16="http://schemas.microsoft.com/office/drawing/2014/main" id="{449DBA9E-C83C-2BBB-4E37-8BFAFC49A44B}"/>
                </a:ext>
              </a:extLst>
            </p:cNvPr>
            <p:cNvSpPr/>
            <p:nvPr/>
          </p:nvSpPr>
          <p:spPr>
            <a:xfrm>
              <a:off x="19979365" y="718983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51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51"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727" name="Freeform: Shape 726">
              <a:extLst>
                <a:ext uri="{FF2B5EF4-FFF2-40B4-BE49-F238E27FC236}">
                  <a16:creationId xmlns:a16="http://schemas.microsoft.com/office/drawing/2014/main" id="{B907D54A-5A4D-6324-BDAE-6BBC05BD89C6}"/>
                </a:ext>
              </a:extLst>
            </p:cNvPr>
            <p:cNvSpPr/>
            <p:nvPr/>
          </p:nvSpPr>
          <p:spPr>
            <a:xfrm>
              <a:off x="21719702" y="718983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728" name="Freeform: Shape 727">
              <a:extLst>
                <a:ext uri="{FF2B5EF4-FFF2-40B4-BE49-F238E27FC236}">
                  <a16:creationId xmlns:a16="http://schemas.microsoft.com/office/drawing/2014/main" id="{27EC26F5-60F5-7D88-EB4B-B9B5CFEA24A2}"/>
                </a:ext>
              </a:extLst>
            </p:cNvPr>
            <p:cNvSpPr/>
            <p:nvPr/>
          </p:nvSpPr>
          <p:spPr>
            <a:xfrm>
              <a:off x="20849520" y="7189838"/>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65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65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65" y="435077"/>
                  </a:lnTo>
                  <a:lnTo>
                    <a:pt x="435077" y="217539"/>
                  </a:lnTo>
                  <a:lnTo>
                    <a:pt x="435077" y="435077"/>
                  </a:lnTo>
                  <a:close/>
                  <a:moveTo>
                    <a:pt x="435077" y="0"/>
                  </a:moveTo>
                  <a:lnTo>
                    <a:pt x="217565"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729" name="Freeform: Shape 728">
              <a:extLst>
                <a:ext uri="{FF2B5EF4-FFF2-40B4-BE49-F238E27FC236}">
                  <a16:creationId xmlns:a16="http://schemas.microsoft.com/office/drawing/2014/main" id="{3094FFC1-F010-4538-C500-947FA9F86289}"/>
                </a:ext>
              </a:extLst>
            </p:cNvPr>
            <p:cNvSpPr/>
            <p:nvPr/>
          </p:nvSpPr>
          <p:spPr>
            <a:xfrm>
              <a:off x="22589856" y="7189838"/>
              <a:ext cx="435077" cy="435077"/>
            </a:xfrm>
            <a:custGeom>
              <a:avLst/>
              <a:gdLst>
                <a:gd name="connsiteX0" fmla="*/ 371367 w 435077"/>
                <a:gd name="connsiteY0" fmla="*/ 63711 h 435077"/>
                <a:gd name="connsiteX1" fmla="*/ 435077 w 435077"/>
                <a:gd name="connsiteY1" fmla="*/ 217539 h 435077"/>
                <a:gd name="connsiteX2" fmla="*/ 218953 w 435077"/>
                <a:gd name="connsiteY2" fmla="*/ 217539 h 435077"/>
                <a:gd name="connsiteX3" fmla="*/ 371367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53 w 435077"/>
                <a:gd name="connsiteY8" fmla="*/ 217539 h 435077"/>
                <a:gd name="connsiteX9" fmla="*/ 0 w 435077"/>
                <a:gd name="connsiteY9" fmla="*/ 217539 h 435077"/>
                <a:gd name="connsiteX10" fmla="*/ 63712 w 435077"/>
                <a:gd name="connsiteY10" fmla="*/ 63711 h 435077"/>
                <a:gd name="connsiteX11" fmla="*/ 217539 w 435077"/>
                <a:gd name="connsiteY11" fmla="*/ 0 h 435077"/>
                <a:gd name="connsiteX12" fmla="*/ 371367 w 435077"/>
                <a:gd name="connsiteY12" fmla="*/ 63711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7" y="63711"/>
                  </a:moveTo>
                  <a:cubicBezTo>
                    <a:pt x="412155" y="104527"/>
                    <a:pt x="435077" y="159836"/>
                    <a:pt x="435077" y="217539"/>
                  </a:cubicBezTo>
                  <a:lnTo>
                    <a:pt x="218953" y="217539"/>
                  </a:lnTo>
                  <a:cubicBezTo>
                    <a:pt x="276139" y="217920"/>
                    <a:pt x="330904" y="240788"/>
                    <a:pt x="371367" y="281250"/>
                  </a:cubicBezTo>
                  <a:cubicBezTo>
                    <a:pt x="412155" y="322039"/>
                    <a:pt x="435077" y="377375"/>
                    <a:pt x="435077" y="435077"/>
                  </a:cubicBezTo>
                  <a:lnTo>
                    <a:pt x="217539" y="435077"/>
                  </a:lnTo>
                  <a:lnTo>
                    <a:pt x="0" y="435077"/>
                  </a:lnTo>
                  <a:cubicBezTo>
                    <a:pt x="0" y="377375"/>
                    <a:pt x="22924" y="322039"/>
                    <a:pt x="63712" y="281250"/>
                  </a:cubicBezTo>
                  <a:cubicBezTo>
                    <a:pt x="104202" y="240788"/>
                    <a:pt x="158967" y="217920"/>
                    <a:pt x="216153" y="217539"/>
                  </a:cubicBezTo>
                  <a:lnTo>
                    <a:pt x="0" y="217539"/>
                  </a:lnTo>
                  <a:cubicBezTo>
                    <a:pt x="0" y="159836"/>
                    <a:pt x="22924" y="104527"/>
                    <a:pt x="63712" y="63711"/>
                  </a:cubicBezTo>
                  <a:cubicBezTo>
                    <a:pt x="104529" y="22923"/>
                    <a:pt x="159838" y="0"/>
                    <a:pt x="217539" y="0"/>
                  </a:cubicBezTo>
                  <a:cubicBezTo>
                    <a:pt x="275241" y="0"/>
                    <a:pt x="330578" y="22923"/>
                    <a:pt x="371367" y="63711"/>
                  </a:cubicBezTo>
                  <a:close/>
                </a:path>
              </a:pathLst>
            </a:custGeom>
            <a:grpFill/>
            <a:ln w="27192" cap="flat">
              <a:noFill/>
              <a:prstDash val="solid"/>
              <a:miter/>
            </a:ln>
          </p:spPr>
          <p:txBody>
            <a:bodyPr rtlCol="0" anchor="ctr"/>
            <a:lstStyle/>
            <a:p>
              <a:endParaRPr lang="uk-UA" sz="900"/>
            </a:p>
          </p:txBody>
        </p:sp>
        <p:sp>
          <p:nvSpPr>
            <p:cNvPr id="730" name="Freeform: Shape 729">
              <a:extLst>
                <a:ext uri="{FF2B5EF4-FFF2-40B4-BE49-F238E27FC236}">
                  <a16:creationId xmlns:a16="http://schemas.microsoft.com/office/drawing/2014/main" id="{EB17E021-D3BC-5E3E-CF8B-FD55FC973F31}"/>
                </a:ext>
              </a:extLst>
            </p:cNvPr>
            <p:cNvSpPr/>
            <p:nvPr/>
          </p:nvSpPr>
          <p:spPr>
            <a:xfrm>
              <a:off x="23460039" y="718983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10 w 435077"/>
                <a:gd name="connsiteY5" fmla="*/ 435077 h 435077"/>
                <a:gd name="connsiteX6" fmla="*/ 217510 w 435077"/>
                <a:gd name="connsiteY6" fmla="*/ 435077 h 435077"/>
                <a:gd name="connsiteX7" fmla="*/ 435049 w 435077"/>
                <a:gd name="connsiteY7" fmla="*/ 217539 h 435077"/>
                <a:gd name="connsiteX8" fmla="*/ 435077 w 435077"/>
                <a:gd name="connsiteY8" fmla="*/ 217539 h 435077"/>
                <a:gd name="connsiteX9" fmla="*/ 435049 w 435077"/>
                <a:gd name="connsiteY9" fmla="*/ 217539 h 435077"/>
                <a:gd name="connsiteX10" fmla="*/ 435049 w 435077"/>
                <a:gd name="connsiteY10" fmla="*/ 217539 h 435077"/>
                <a:gd name="connsiteX11" fmla="*/ 435049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10" y="435077"/>
                  </a:lnTo>
                  <a:lnTo>
                    <a:pt x="217510" y="435077"/>
                  </a:lnTo>
                  <a:lnTo>
                    <a:pt x="435049" y="217539"/>
                  </a:lnTo>
                  <a:lnTo>
                    <a:pt x="435077" y="217539"/>
                  </a:lnTo>
                  <a:lnTo>
                    <a:pt x="435049" y="217539"/>
                  </a:lnTo>
                  <a:lnTo>
                    <a:pt x="435049" y="217539"/>
                  </a:lnTo>
                  <a:lnTo>
                    <a:pt x="435049"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731" name="Freeform: Shape 730">
              <a:extLst>
                <a:ext uri="{FF2B5EF4-FFF2-40B4-BE49-F238E27FC236}">
                  <a16:creationId xmlns:a16="http://schemas.microsoft.com/office/drawing/2014/main" id="{0EA20578-E613-0F7F-68C5-CCCE277B8AB6}"/>
                </a:ext>
              </a:extLst>
            </p:cNvPr>
            <p:cNvSpPr/>
            <p:nvPr/>
          </p:nvSpPr>
          <p:spPr>
            <a:xfrm>
              <a:off x="24330194" y="7189838"/>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732" name="Freeform: Shape 731">
              <a:extLst>
                <a:ext uri="{FF2B5EF4-FFF2-40B4-BE49-F238E27FC236}">
                  <a16:creationId xmlns:a16="http://schemas.microsoft.com/office/drawing/2014/main" id="{C70DE40C-26E3-227B-0A52-420586D33FBE}"/>
                </a:ext>
              </a:extLst>
            </p:cNvPr>
            <p:cNvSpPr/>
            <p:nvPr/>
          </p:nvSpPr>
          <p:spPr>
            <a:xfrm>
              <a:off x="835769" y="805999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1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1" y="217539"/>
                  </a:lnTo>
                  <a:lnTo>
                    <a:pt x="0" y="435077"/>
                  </a:lnTo>
                  <a:close/>
                </a:path>
              </a:pathLst>
            </a:custGeom>
            <a:grpFill/>
            <a:ln w="27192" cap="flat">
              <a:noFill/>
              <a:prstDash val="solid"/>
              <a:miter/>
            </a:ln>
          </p:spPr>
          <p:txBody>
            <a:bodyPr rtlCol="0" anchor="ctr"/>
            <a:lstStyle/>
            <a:p>
              <a:endParaRPr lang="uk-UA" sz="900"/>
            </a:p>
          </p:txBody>
        </p:sp>
        <p:sp>
          <p:nvSpPr>
            <p:cNvPr id="733" name="Freeform: Shape 732">
              <a:extLst>
                <a:ext uri="{FF2B5EF4-FFF2-40B4-BE49-F238E27FC236}">
                  <a16:creationId xmlns:a16="http://schemas.microsoft.com/office/drawing/2014/main" id="{19FC6E06-08FA-B8B0-2B45-5E6BB5DEFEB6}"/>
                </a:ext>
              </a:extLst>
            </p:cNvPr>
            <p:cNvSpPr/>
            <p:nvPr/>
          </p:nvSpPr>
          <p:spPr>
            <a:xfrm>
              <a:off x="-34398" y="8059993"/>
              <a:ext cx="435090" cy="435077"/>
            </a:xfrm>
            <a:custGeom>
              <a:avLst/>
              <a:gdLst>
                <a:gd name="connsiteX0" fmla="*/ 217552 w 435090"/>
                <a:gd name="connsiteY0" fmla="*/ 435077 h 435077"/>
                <a:gd name="connsiteX1" fmla="*/ 217552 w 435090"/>
                <a:gd name="connsiteY1" fmla="*/ 0 h 435077"/>
                <a:gd name="connsiteX2" fmla="*/ 435091 w 435090"/>
                <a:gd name="connsiteY2" fmla="*/ 217539 h 435077"/>
                <a:gd name="connsiteX3" fmla="*/ 217552 w 435090"/>
                <a:gd name="connsiteY3" fmla="*/ 435077 h 435077"/>
                <a:gd name="connsiteX4" fmla="*/ 0 w 435090"/>
                <a:gd name="connsiteY4" fmla="*/ 435077 h 435077"/>
                <a:gd name="connsiteX5" fmla="*/ 0 w 435090"/>
                <a:gd name="connsiteY5" fmla="*/ 27 h 435077"/>
                <a:gd name="connsiteX6" fmla="*/ 217525 w 435090"/>
                <a:gd name="connsiteY6" fmla="*/ 217566 h 435077"/>
                <a:gd name="connsiteX7" fmla="*/ 0 w 435090"/>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90" h="435077">
                  <a:moveTo>
                    <a:pt x="217552" y="435077"/>
                  </a:moveTo>
                  <a:lnTo>
                    <a:pt x="217552" y="0"/>
                  </a:lnTo>
                  <a:lnTo>
                    <a:pt x="435091" y="217539"/>
                  </a:lnTo>
                  <a:lnTo>
                    <a:pt x="217552" y="435077"/>
                  </a:lnTo>
                  <a:close/>
                  <a:moveTo>
                    <a:pt x="0" y="435077"/>
                  </a:moveTo>
                  <a:lnTo>
                    <a:pt x="0" y="27"/>
                  </a:lnTo>
                  <a:lnTo>
                    <a:pt x="217525" y="217566"/>
                  </a:lnTo>
                  <a:lnTo>
                    <a:pt x="0" y="435077"/>
                  </a:lnTo>
                  <a:close/>
                </a:path>
              </a:pathLst>
            </a:custGeom>
            <a:grpFill/>
            <a:ln w="27192" cap="flat">
              <a:noFill/>
              <a:prstDash val="solid"/>
              <a:miter/>
            </a:ln>
          </p:spPr>
          <p:txBody>
            <a:bodyPr rtlCol="0" anchor="ctr"/>
            <a:lstStyle/>
            <a:p>
              <a:endParaRPr lang="uk-UA" sz="900"/>
            </a:p>
          </p:txBody>
        </p:sp>
        <p:sp>
          <p:nvSpPr>
            <p:cNvPr id="734" name="Freeform: Shape 733">
              <a:extLst>
                <a:ext uri="{FF2B5EF4-FFF2-40B4-BE49-F238E27FC236}">
                  <a16:creationId xmlns:a16="http://schemas.microsoft.com/office/drawing/2014/main" id="{02B67F11-139D-A26C-394F-8C6C75BC4081}"/>
                </a:ext>
              </a:extLst>
            </p:cNvPr>
            <p:cNvSpPr/>
            <p:nvPr/>
          </p:nvSpPr>
          <p:spPr>
            <a:xfrm>
              <a:off x="1705924" y="8059993"/>
              <a:ext cx="435077" cy="435077"/>
            </a:xfrm>
            <a:custGeom>
              <a:avLst/>
              <a:gdLst>
                <a:gd name="connsiteX0" fmla="*/ 63711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1 w 435077"/>
                <a:gd name="connsiteY6" fmla="*/ 153827 h 435077"/>
                <a:gd name="connsiteX7" fmla="*/ 63711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1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1" y="153827"/>
                  </a:moveTo>
                  <a:cubicBezTo>
                    <a:pt x="22923" y="113039"/>
                    <a:pt x="0" y="57702"/>
                    <a:pt x="0" y="0"/>
                  </a:cubicBezTo>
                  <a:lnTo>
                    <a:pt x="217539" y="0"/>
                  </a:lnTo>
                  <a:lnTo>
                    <a:pt x="435077" y="0"/>
                  </a:lnTo>
                  <a:cubicBezTo>
                    <a:pt x="435077" y="57702"/>
                    <a:pt x="412154" y="113039"/>
                    <a:pt x="371366" y="153827"/>
                  </a:cubicBezTo>
                  <a:cubicBezTo>
                    <a:pt x="330577" y="194616"/>
                    <a:pt x="275241" y="217539"/>
                    <a:pt x="217539" y="217539"/>
                  </a:cubicBezTo>
                  <a:cubicBezTo>
                    <a:pt x="159836" y="217539"/>
                    <a:pt x="104527" y="194616"/>
                    <a:pt x="63711" y="153827"/>
                  </a:cubicBezTo>
                  <a:close/>
                  <a:moveTo>
                    <a:pt x="63711" y="281250"/>
                  </a:moveTo>
                  <a:cubicBezTo>
                    <a:pt x="22923" y="322066"/>
                    <a:pt x="0" y="377402"/>
                    <a:pt x="0" y="435077"/>
                  </a:cubicBezTo>
                  <a:lnTo>
                    <a:pt x="217539" y="435077"/>
                  </a:lnTo>
                  <a:lnTo>
                    <a:pt x="435077" y="435077"/>
                  </a:lnTo>
                  <a:cubicBezTo>
                    <a:pt x="435077" y="377402"/>
                    <a:pt x="412154" y="322066"/>
                    <a:pt x="371366" y="281250"/>
                  </a:cubicBezTo>
                  <a:cubicBezTo>
                    <a:pt x="330577" y="240462"/>
                    <a:pt x="275241" y="217539"/>
                    <a:pt x="217539" y="217539"/>
                  </a:cubicBezTo>
                  <a:cubicBezTo>
                    <a:pt x="159836" y="217539"/>
                    <a:pt x="104527" y="240462"/>
                    <a:pt x="63711" y="281250"/>
                  </a:cubicBezTo>
                  <a:close/>
                </a:path>
              </a:pathLst>
            </a:custGeom>
            <a:grpFill/>
            <a:ln w="27192" cap="flat">
              <a:noFill/>
              <a:prstDash val="solid"/>
              <a:miter/>
            </a:ln>
          </p:spPr>
          <p:txBody>
            <a:bodyPr rtlCol="0" anchor="ctr"/>
            <a:lstStyle/>
            <a:p>
              <a:endParaRPr lang="uk-UA" sz="900"/>
            </a:p>
          </p:txBody>
        </p:sp>
        <p:sp>
          <p:nvSpPr>
            <p:cNvPr id="735" name="Freeform: Shape 734">
              <a:extLst>
                <a:ext uri="{FF2B5EF4-FFF2-40B4-BE49-F238E27FC236}">
                  <a16:creationId xmlns:a16="http://schemas.microsoft.com/office/drawing/2014/main" id="{09DCEB6D-576D-313D-C97D-9CE16C99C06E}"/>
                </a:ext>
              </a:extLst>
            </p:cNvPr>
            <p:cNvSpPr/>
            <p:nvPr/>
          </p:nvSpPr>
          <p:spPr>
            <a:xfrm>
              <a:off x="2576106" y="805999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736" name="Freeform: Shape 735">
              <a:extLst>
                <a:ext uri="{FF2B5EF4-FFF2-40B4-BE49-F238E27FC236}">
                  <a16:creationId xmlns:a16="http://schemas.microsoft.com/office/drawing/2014/main" id="{C54F29D6-D56E-1782-3B36-08EDD0057A0C}"/>
                </a:ext>
              </a:extLst>
            </p:cNvPr>
            <p:cNvSpPr/>
            <p:nvPr/>
          </p:nvSpPr>
          <p:spPr>
            <a:xfrm>
              <a:off x="4316416" y="8059993"/>
              <a:ext cx="435077" cy="435077"/>
            </a:xfrm>
            <a:custGeom>
              <a:avLst/>
              <a:gdLst>
                <a:gd name="connsiteX0" fmla="*/ 435077 w 435077"/>
                <a:gd name="connsiteY0" fmla="*/ 435077 h 435077"/>
                <a:gd name="connsiteX1" fmla="*/ 435077 w 435077"/>
                <a:gd name="connsiteY1" fmla="*/ 0 h 435077"/>
                <a:gd name="connsiteX2" fmla="*/ 217565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737" name="Freeform: Shape 736">
              <a:extLst>
                <a:ext uri="{FF2B5EF4-FFF2-40B4-BE49-F238E27FC236}">
                  <a16:creationId xmlns:a16="http://schemas.microsoft.com/office/drawing/2014/main" id="{D65D5137-330D-6EF6-FA08-750DA1419BCC}"/>
                </a:ext>
              </a:extLst>
            </p:cNvPr>
            <p:cNvSpPr/>
            <p:nvPr/>
          </p:nvSpPr>
          <p:spPr>
            <a:xfrm>
              <a:off x="3446261" y="8059993"/>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27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27"/>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738" name="Freeform: Shape 737">
              <a:extLst>
                <a:ext uri="{FF2B5EF4-FFF2-40B4-BE49-F238E27FC236}">
                  <a16:creationId xmlns:a16="http://schemas.microsoft.com/office/drawing/2014/main" id="{A3009964-CA79-D3D7-67DA-701B284A91C5}"/>
                </a:ext>
              </a:extLst>
            </p:cNvPr>
            <p:cNvSpPr/>
            <p:nvPr/>
          </p:nvSpPr>
          <p:spPr>
            <a:xfrm>
              <a:off x="5186597" y="805999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6" y="153827"/>
                  </a:cubicBezTo>
                  <a:cubicBezTo>
                    <a:pt x="330550" y="194616"/>
                    <a:pt x="275241" y="217539"/>
                    <a:pt x="217539" y="217539"/>
                  </a:cubicBezTo>
                  <a:cubicBezTo>
                    <a:pt x="159837" y="217539"/>
                    <a:pt x="104501" y="194616"/>
                    <a:pt x="63712" y="153827"/>
                  </a:cubicBezTo>
                  <a:close/>
                  <a:moveTo>
                    <a:pt x="63712" y="281250"/>
                  </a:moveTo>
                  <a:cubicBezTo>
                    <a:pt x="22924" y="322066"/>
                    <a:pt x="0" y="377402"/>
                    <a:pt x="0" y="435077"/>
                  </a:cubicBezTo>
                  <a:lnTo>
                    <a:pt x="217539" y="435077"/>
                  </a:lnTo>
                  <a:lnTo>
                    <a:pt x="435077" y="435077"/>
                  </a:lnTo>
                  <a:cubicBezTo>
                    <a:pt x="435077" y="377402"/>
                    <a:pt x="412155" y="322066"/>
                    <a:pt x="371366" y="281250"/>
                  </a:cubicBezTo>
                  <a:cubicBezTo>
                    <a:pt x="330550" y="240462"/>
                    <a:pt x="275241" y="217539"/>
                    <a:pt x="217539" y="217539"/>
                  </a:cubicBezTo>
                  <a:cubicBezTo>
                    <a:pt x="159837" y="217539"/>
                    <a:pt x="104501" y="240462"/>
                    <a:pt x="63712" y="281250"/>
                  </a:cubicBezTo>
                  <a:close/>
                </a:path>
              </a:pathLst>
            </a:custGeom>
            <a:grpFill/>
            <a:ln w="27192" cap="flat">
              <a:noFill/>
              <a:prstDash val="solid"/>
              <a:miter/>
            </a:ln>
          </p:spPr>
          <p:txBody>
            <a:bodyPr rtlCol="0" anchor="ctr"/>
            <a:lstStyle/>
            <a:p>
              <a:endParaRPr lang="uk-UA" sz="900"/>
            </a:p>
          </p:txBody>
        </p:sp>
        <p:sp>
          <p:nvSpPr>
            <p:cNvPr id="739" name="Freeform: Shape 738">
              <a:extLst>
                <a:ext uri="{FF2B5EF4-FFF2-40B4-BE49-F238E27FC236}">
                  <a16:creationId xmlns:a16="http://schemas.microsoft.com/office/drawing/2014/main" id="{F4AA4FCD-D70F-2DBB-AB4C-44A5DF032119}"/>
                </a:ext>
              </a:extLst>
            </p:cNvPr>
            <p:cNvSpPr/>
            <p:nvPr/>
          </p:nvSpPr>
          <p:spPr>
            <a:xfrm>
              <a:off x="6056752" y="805999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740" name="Freeform: Shape 739">
              <a:extLst>
                <a:ext uri="{FF2B5EF4-FFF2-40B4-BE49-F238E27FC236}">
                  <a16:creationId xmlns:a16="http://schemas.microsoft.com/office/drawing/2014/main" id="{AA2E62D4-1272-9C18-899A-3095C0FE8A1D}"/>
                </a:ext>
              </a:extLst>
            </p:cNvPr>
            <p:cNvSpPr/>
            <p:nvPr/>
          </p:nvSpPr>
          <p:spPr>
            <a:xfrm>
              <a:off x="7797062" y="8059993"/>
              <a:ext cx="435077" cy="435077"/>
            </a:xfrm>
            <a:custGeom>
              <a:avLst/>
              <a:gdLst>
                <a:gd name="connsiteX0" fmla="*/ 435077 w 435077"/>
                <a:gd name="connsiteY0" fmla="*/ 435077 h 435077"/>
                <a:gd name="connsiteX1" fmla="*/ 435077 w 435077"/>
                <a:gd name="connsiteY1" fmla="*/ 0 h 435077"/>
                <a:gd name="connsiteX2" fmla="*/ 217566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6"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741" name="Freeform: Shape 740">
              <a:extLst>
                <a:ext uri="{FF2B5EF4-FFF2-40B4-BE49-F238E27FC236}">
                  <a16:creationId xmlns:a16="http://schemas.microsoft.com/office/drawing/2014/main" id="{C97C4C41-89AA-0781-A9E1-0920AD7BF431}"/>
                </a:ext>
              </a:extLst>
            </p:cNvPr>
            <p:cNvSpPr/>
            <p:nvPr/>
          </p:nvSpPr>
          <p:spPr>
            <a:xfrm>
              <a:off x="6926907" y="8059993"/>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27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27"/>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742" name="Freeform: Shape 741">
              <a:extLst>
                <a:ext uri="{FF2B5EF4-FFF2-40B4-BE49-F238E27FC236}">
                  <a16:creationId xmlns:a16="http://schemas.microsoft.com/office/drawing/2014/main" id="{5EBA2368-548D-0C2C-C51D-BEB16ED498B8}"/>
                </a:ext>
              </a:extLst>
            </p:cNvPr>
            <p:cNvSpPr/>
            <p:nvPr/>
          </p:nvSpPr>
          <p:spPr>
            <a:xfrm>
              <a:off x="8667217" y="8059993"/>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39 w 435077"/>
                <a:gd name="connsiteY6" fmla="*/ 153827 h 435077"/>
                <a:gd name="connsiteX7" fmla="*/ 63739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39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4" y="113039"/>
                    <a:pt x="0" y="57702"/>
                    <a:pt x="0" y="0"/>
                  </a:cubicBezTo>
                  <a:lnTo>
                    <a:pt x="217539" y="0"/>
                  </a:lnTo>
                  <a:lnTo>
                    <a:pt x="435077" y="0"/>
                  </a:lnTo>
                  <a:cubicBezTo>
                    <a:pt x="435077" y="57702"/>
                    <a:pt x="412182" y="113039"/>
                    <a:pt x="371366" y="153827"/>
                  </a:cubicBezTo>
                  <a:cubicBezTo>
                    <a:pt x="330578" y="194616"/>
                    <a:pt x="275241" y="217539"/>
                    <a:pt x="217539" y="217539"/>
                  </a:cubicBezTo>
                  <a:cubicBezTo>
                    <a:pt x="159864" y="217539"/>
                    <a:pt x="104527" y="194616"/>
                    <a:pt x="63739" y="153827"/>
                  </a:cubicBezTo>
                  <a:close/>
                  <a:moveTo>
                    <a:pt x="63739" y="281250"/>
                  </a:moveTo>
                  <a:cubicBezTo>
                    <a:pt x="22924" y="322066"/>
                    <a:pt x="0" y="377402"/>
                    <a:pt x="0" y="435077"/>
                  </a:cubicBezTo>
                  <a:lnTo>
                    <a:pt x="217539" y="435077"/>
                  </a:lnTo>
                  <a:lnTo>
                    <a:pt x="435077" y="435077"/>
                  </a:lnTo>
                  <a:cubicBezTo>
                    <a:pt x="435077" y="377402"/>
                    <a:pt x="412182" y="322066"/>
                    <a:pt x="371366" y="281250"/>
                  </a:cubicBezTo>
                  <a:cubicBezTo>
                    <a:pt x="330578" y="240462"/>
                    <a:pt x="275241" y="217539"/>
                    <a:pt x="217539" y="217539"/>
                  </a:cubicBezTo>
                  <a:cubicBezTo>
                    <a:pt x="159864" y="217539"/>
                    <a:pt x="104527" y="240462"/>
                    <a:pt x="63739" y="281250"/>
                  </a:cubicBezTo>
                  <a:close/>
                </a:path>
              </a:pathLst>
            </a:custGeom>
            <a:grpFill/>
            <a:ln w="27192" cap="flat">
              <a:noFill/>
              <a:prstDash val="solid"/>
              <a:miter/>
            </a:ln>
          </p:spPr>
          <p:txBody>
            <a:bodyPr rtlCol="0" anchor="ctr"/>
            <a:lstStyle/>
            <a:p>
              <a:endParaRPr lang="uk-UA" sz="900"/>
            </a:p>
          </p:txBody>
        </p:sp>
        <p:sp>
          <p:nvSpPr>
            <p:cNvPr id="743" name="Freeform: Shape 742">
              <a:extLst>
                <a:ext uri="{FF2B5EF4-FFF2-40B4-BE49-F238E27FC236}">
                  <a16:creationId xmlns:a16="http://schemas.microsoft.com/office/drawing/2014/main" id="{006A399E-CC3C-F9F0-ECF8-A754B9AD87BD}"/>
                </a:ext>
              </a:extLst>
            </p:cNvPr>
            <p:cNvSpPr/>
            <p:nvPr/>
          </p:nvSpPr>
          <p:spPr>
            <a:xfrm>
              <a:off x="9537399" y="805999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1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1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1" y="217539"/>
                  </a:lnTo>
                  <a:lnTo>
                    <a:pt x="0" y="217539"/>
                  </a:lnTo>
                  <a:close/>
                  <a:moveTo>
                    <a:pt x="0" y="435077"/>
                  </a:moveTo>
                  <a:lnTo>
                    <a:pt x="0" y="217539"/>
                  </a:lnTo>
                  <a:lnTo>
                    <a:pt x="217511" y="217539"/>
                  </a:lnTo>
                  <a:lnTo>
                    <a:pt x="0" y="435077"/>
                  </a:lnTo>
                  <a:close/>
                </a:path>
              </a:pathLst>
            </a:custGeom>
            <a:grpFill/>
            <a:ln w="27192" cap="flat">
              <a:noFill/>
              <a:prstDash val="solid"/>
              <a:miter/>
            </a:ln>
          </p:spPr>
          <p:txBody>
            <a:bodyPr rtlCol="0" anchor="ctr"/>
            <a:lstStyle/>
            <a:p>
              <a:endParaRPr lang="uk-UA" sz="900"/>
            </a:p>
          </p:txBody>
        </p:sp>
        <p:sp>
          <p:nvSpPr>
            <p:cNvPr id="744" name="Freeform: Shape 743">
              <a:extLst>
                <a:ext uri="{FF2B5EF4-FFF2-40B4-BE49-F238E27FC236}">
                  <a16:creationId xmlns:a16="http://schemas.microsoft.com/office/drawing/2014/main" id="{3CE98024-655A-1597-1ECF-A59511A9E817}"/>
                </a:ext>
              </a:extLst>
            </p:cNvPr>
            <p:cNvSpPr/>
            <p:nvPr/>
          </p:nvSpPr>
          <p:spPr>
            <a:xfrm>
              <a:off x="11277709" y="805999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0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0" y="217539"/>
                  </a:lnTo>
                  <a:lnTo>
                    <a:pt x="0" y="435077"/>
                  </a:lnTo>
                  <a:close/>
                </a:path>
              </a:pathLst>
            </a:custGeom>
            <a:grpFill/>
            <a:ln w="27192" cap="flat">
              <a:noFill/>
              <a:prstDash val="solid"/>
              <a:miter/>
            </a:ln>
          </p:spPr>
          <p:txBody>
            <a:bodyPr rtlCol="0" anchor="ctr"/>
            <a:lstStyle/>
            <a:p>
              <a:endParaRPr lang="uk-UA" sz="900"/>
            </a:p>
          </p:txBody>
        </p:sp>
        <p:sp>
          <p:nvSpPr>
            <p:cNvPr id="745" name="Freeform: Shape 744">
              <a:extLst>
                <a:ext uri="{FF2B5EF4-FFF2-40B4-BE49-F238E27FC236}">
                  <a16:creationId xmlns:a16="http://schemas.microsoft.com/office/drawing/2014/main" id="{6BE8DE4C-42BE-8BD1-132A-8C31BF37420B}"/>
                </a:ext>
              </a:extLst>
            </p:cNvPr>
            <p:cNvSpPr/>
            <p:nvPr/>
          </p:nvSpPr>
          <p:spPr>
            <a:xfrm>
              <a:off x="10407554" y="8059993"/>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27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27"/>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746" name="Freeform: Shape 745">
              <a:extLst>
                <a:ext uri="{FF2B5EF4-FFF2-40B4-BE49-F238E27FC236}">
                  <a16:creationId xmlns:a16="http://schemas.microsoft.com/office/drawing/2014/main" id="{3AA4A0C0-B372-5A15-D17D-4F9C80A09E81}"/>
                </a:ext>
              </a:extLst>
            </p:cNvPr>
            <p:cNvSpPr/>
            <p:nvPr/>
          </p:nvSpPr>
          <p:spPr>
            <a:xfrm>
              <a:off x="12147864" y="8059993"/>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39 w 435077"/>
                <a:gd name="connsiteY6" fmla="*/ 153827 h 435077"/>
                <a:gd name="connsiteX7" fmla="*/ 63739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0 h 435077"/>
                <a:gd name="connsiteX12" fmla="*/ 217539 w 435077"/>
                <a:gd name="connsiteY12" fmla="*/ 217539 h 435077"/>
                <a:gd name="connsiteX13" fmla="*/ 63739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2" y="113039"/>
                    <a:pt x="0" y="57702"/>
                    <a:pt x="0" y="0"/>
                  </a:cubicBezTo>
                  <a:lnTo>
                    <a:pt x="217539" y="0"/>
                  </a:lnTo>
                  <a:lnTo>
                    <a:pt x="435077" y="0"/>
                  </a:lnTo>
                  <a:cubicBezTo>
                    <a:pt x="435077" y="57702"/>
                    <a:pt x="412180" y="113039"/>
                    <a:pt x="371365" y="153827"/>
                  </a:cubicBezTo>
                  <a:cubicBezTo>
                    <a:pt x="330577" y="194616"/>
                    <a:pt x="275239" y="217539"/>
                    <a:pt x="217539" y="217539"/>
                  </a:cubicBezTo>
                  <a:cubicBezTo>
                    <a:pt x="159863" y="217539"/>
                    <a:pt x="104527" y="194616"/>
                    <a:pt x="63739" y="153827"/>
                  </a:cubicBezTo>
                  <a:close/>
                  <a:moveTo>
                    <a:pt x="63739" y="281250"/>
                  </a:moveTo>
                  <a:cubicBezTo>
                    <a:pt x="22922" y="322066"/>
                    <a:pt x="0" y="377402"/>
                    <a:pt x="0" y="435077"/>
                  </a:cubicBezTo>
                  <a:lnTo>
                    <a:pt x="217539" y="435077"/>
                  </a:lnTo>
                  <a:lnTo>
                    <a:pt x="435077" y="435077"/>
                  </a:lnTo>
                  <a:cubicBezTo>
                    <a:pt x="435077" y="377402"/>
                    <a:pt x="412180" y="322066"/>
                    <a:pt x="371365" y="281250"/>
                  </a:cubicBezTo>
                  <a:cubicBezTo>
                    <a:pt x="330577" y="240462"/>
                    <a:pt x="275239" y="217539"/>
                    <a:pt x="217539" y="217539"/>
                  </a:cubicBezTo>
                  <a:cubicBezTo>
                    <a:pt x="159863" y="217539"/>
                    <a:pt x="104527" y="240462"/>
                    <a:pt x="63739" y="281250"/>
                  </a:cubicBezTo>
                  <a:close/>
                </a:path>
              </a:pathLst>
            </a:custGeom>
            <a:grpFill/>
            <a:ln w="27192" cap="flat">
              <a:noFill/>
              <a:prstDash val="solid"/>
              <a:miter/>
            </a:ln>
          </p:spPr>
          <p:txBody>
            <a:bodyPr rtlCol="0" anchor="ctr"/>
            <a:lstStyle/>
            <a:p>
              <a:endParaRPr lang="uk-UA" sz="900"/>
            </a:p>
          </p:txBody>
        </p:sp>
        <p:sp>
          <p:nvSpPr>
            <p:cNvPr id="747" name="Freeform: Shape 746">
              <a:extLst>
                <a:ext uri="{FF2B5EF4-FFF2-40B4-BE49-F238E27FC236}">
                  <a16:creationId xmlns:a16="http://schemas.microsoft.com/office/drawing/2014/main" id="{A93747A3-455F-A415-504D-F8673D50EE07}"/>
                </a:ext>
              </a:extLst>
            </p:cNvPr>
            <p:cNvSpPr/>
            <p:nvPr/>
          </p:nvSpPr>
          <p:spPr>
            <a:xfrm>
              <a:off x="13018045" y="805999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748" name="Freeform: Shape 747">
              <a:extLst>
                <a:ext uri="{FF2B5EF4-FFF2-40B4-BE49-F238E27FC236}">
                  <a16:creationId xmlns:a16="http://schemas.microsoft.com/office/drawing/2014/main" id="{0538AE50-9D22-6B13-6E44-76EAA77AC8EA}"/>
                </a:ext>
              </a:extLst>
            </p:cNvPr>
            <p:cNvSpPr/>
            <p:nvPr/>
          </p:nvSpPr>
          <p:spPr>
            <a:xfrm>
              <a:off x="14758382" y="805999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749" name="Freeform: Shape 748">
              <a:extLst>
                <a:ext uri="{FF2B5EF4-FFF2-40B4-BE49-F238E27FC236}">
                  <a16:creationId xmlns:a16="http://schemas.microsoft.com/office/drawing/2014/main" id="{466E90B3-7AA4-136B-79BB-6521294C5260}"/>
                </a:ext>
              </a:extLst>
            </p:cNvPr>
            <p:cNvSpPr/>
            <p:nvPr/>
          </p:nvSpPr>
          <p:spPr>
            <a:xfrm>
              <a:off x="13888200" y="8059993"/>
              <a:ext cx="435103" cy="435077"/>
            </a:xfrm>
            <a:custGeom>
              <a:avLst/>
              <a:gdLst>
                <a:gd name="connsiteX0" fmla="*/ 217565 w 435103"/>
                <a:gd name="connsiteY0" fmla="*/ 435077 h 435077"/>
                <a:gd name="connsiteX1" fmla="*/ 217565 w 435103"/>
                <a:gd name="connsiteY1" fmla="*/ 0 h 435077"/>
                <a:gd name="connsiteX2" fmla="*/ 435104 w 435103"/>
                <a:gd name="connsiteY2" fmla="*/ 217539 h 435077"/>
                <a:gd name="connsiteX3" fmla="*/ 217565 w 435103"/>
                <a:gd name="connsiteY3" fmla="*/ 435077 h 435077"/>
                <a:gd name="connsiteX4" fmla="*/ 0 w 435103"/>
                <a:gd name="connsiteY4" fmla="*/ 435077 h 435077"/>
                <a:gd name="connsiteX5" fmla="*/ 0 w 435103"/>
                <a:gd name="connsiteY5" fmla="*/ 27 h 435077"/>
                <a:gd name="connsiteX6" fmla="*/ 217539 w 435103"/>
                <a:gd name="connsiteY6" fmla="*/ 217566 h 435077"/>
                <a:gd name="connsiteX7" fmla="*/ 0 w 435103"/>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103" h="435077">
                  <a:moveTo>
                    <a:pt x="217565" y="435077"/>
                  </a:moveTo>
                  <a:lnTo>
                    <a:pt x="217565" y="0"/>
                  </a:lnTo>
                  <a:lnTo>
                    <a:pt x="435104" y="217539"/>
                  </a:lnTo>
                  <a:lnTo>
                    <a:pt x="217565" y="435077"/>
                  </a:lnTo>
                  <a:close/>
                  <a:moveTo>
                    <a:pt x="0" y="435077"/>
                  </a:moveTo>
                  <a:lnTo>
                    <a:pt x="0" y="27"/>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750" name="Freeform: Shape 749">
              <a:extLst>
                <a:ext uri="{FF2B5EF4-FFF2-40B4-BE49-F238E27FC236}">
                  <a16:creationId xmlns:a16="http://schemas.microsoft.com/office/drawing/2014/main" id="{2E7374E6-1D1A-2707-3B3B-665C132A685B}"/>
                </a:ext>
              </a:extLst>
            </p:cNvPr>
            <p:cNvSpPr/>
            <p:nvPr/>
          </p:nvSpPr>
          <p:spPr>
            <a:xfrm>
              <a:off x="15628536" y="805999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7" y="153827"/>
                  </a:cubicBezTo>
                  <a:cubicBezTo>
                    <a:pt x="330578" y="194616"/>
                    <a:pt x="275241" y="217539"/>
                    <a:pt x="217539" y="217539"/>
                  </a:cubicBezTo>
                  <a:cubicBezTo>
                    <a:pt x="159865" y="217539"/>
                    <a:pt x="104527" y="194616"/>
                    <a:pt x="63712" y="153827"/>
                  </a:cubicBezTo>
                  <a:close/>
                  <a:moveTo>
                    <a:pt x="63712" y="281250"/>
                  </a:moveTo>
                  <a:cubicBezTo>
                    <a:pt x="22924" y="322066"/>
                    <a:pt x="0" y="377402"/>
                    <a:pt x="0" y="435077"/>
                  </a:cubicBezTo>
                  <a:lnTo>
                    <a:pt x="217539" y="435077"/>
                  </a:lnTo>
                  <a:lnTo>
                    <a:pt x="435077" y="435077"/>
                  </a:lnTo>
                  <a:cubicBezTo>
                    <a:pt x="435077" y="377402"/>
                    <a:pt x="412155" y="322066"/>
                    <a:pt x="371367" y="281250"/>
                  </a:cubicBezTo>
                  <a:cubicBezTo>
                    <a:pt x="330578" y="240462"/>
                    <a:pt x="275241" y="217539"/>
                    <a:pt x="217539" y="217539"/>
                  </a:cubicBezTo>
                  <a:cubicBezTo>
                    <a:pt x="159865" y="217539"/>
                    <a:pt x="104527" y="240462"/>
                    <a:pt x="63712" y="281250"/>
                  </a:cubicBezTo>
                  <a:close/>
                </a:path>
              </a:pathLst>
            </a:custGeom>
            <a:grpFill/>
            <a:ln w="27192" cap="flat">
              <a:noFill/>
              <a:prstDash val="solid"/>
              <a:miter/>
            </a:ln>
          </p:spPr>
          <p:txBody>
            <a:bodyPr rtlCol="0" anchor="ctr"/>
            <a:lstStyle/>
            <a:p>
              <a:endParaRPr lang="uk-UA" sz="900"/>
            </a:p>
          </p:txBody>
        </p:sp>
        <p:sp>
          <p:nvSpPr>
            <p:cNvPr id="751" name="Freeform: Shape 750">
              <a:extLst>
                <a:ext uri="{FF2B5EF4-FFF2-40B4-BE49-F238E27FC236}">
                  <a16:creationId xmlns:a16="http://schemas.microsoft.com/office/drawing/2014/main" id="{C52515B0-458C-62BA-501E-FB2E91F35DB2}"/>
                </a:ext>
              </a:extLst>
            </p:cNvPr>
            <p:cNvSpPr/>
            <p:nvPr/>
          </p:nvSpPr>
          <p:spPr>
            <a:xfrm>
              <a:off x="16498719" y="805999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0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0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0" y="217539"/>
                  </a:lnTo>
                  <a:lnTo>
                    <a:pt x="0" y="217539"/>
                  </a:lnTo>
                  <a:close/>
                  <a:moveTo>
                    <a:pt x="0" y="435077"/>
                  </a:moveTo>
                  <a:lnTo>
                    <a:pt x="0" y="217539"/>
                  </a:lnTo>
                  <a:lnTo>
                    <a:pt x="217510" y="217539"/>
                  </a:lnTo>
                  <a:lnTo>
                    <a:pt x="0" y="435077"/>
                  </a:lnTo>
                  <a:close/>
                </a:path>
              </a:pathLst>
            </a:custGeom>
            <a:grpFill/>
            <a:ln w="27192" cap="flat">
              <a:noFill/>
              <a:prstDash val="solid"/>
              <a:miter/>
            </a:ln>
          </p:spPr>
          <p:txBody>
            <a:bodyPr rtlCol="0" anchor="ctr"/>
            <a:lstStyle/>
            <a:p>
              <a:endParaRPr lang="uk-UA" sz="900"/>
            </a:p>
          </p:txBody>
        </p:sp>
        <p:sp>
          <p:nvSpPr>
            <p:cNvPr id="752" name="Freeform: Shape 751">
              <a:extLst>
                <a:ext uri="{FF2B5EF4-FFF2-40B4-BE49-F238E27FC236}">
                  <a16:creationId xmlns:a16="http://schemas.microsoft.com/office/drawing/2014/main" id="{F3E61E65-FA82-2EAC-3CF3-E4424A51F6F6}"/>
                </a:ext>
              </a:extLst>
            </p:cNvPr>
            <p:cNvSpPr/>
            <p:nvPr/>
          </p:nvSpPr>
          <p:spPr>
            <a:xfrm>
              <a:off x="18239029" y="8059993"/>
              <a:ext cx="435077" cy="435077"/>
            </a:xfrm>
            <a:custGeom>
              <a:avLst/>
              <a:gdLst>
                <a:gd name="connsiteX0" fmla="*/ 435077 w 435077"/>
                <a:gd name="connsiteY0" fmla="*/ 435077 h 435077"/>
                <a:gd name="connsiteX1" fmla="*/ 435077 w 435077"/>
                <a:gd name="connsiteY1" fmla="*/ 0 h 435077"/>
                <a:gd name="connsiteX2" fmla="*/ 217565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753" name="Freeform: Shape 752">
              <a:extLst>
                <a:ext uri="{FF2B5EF4-FFF2-40B4-BE49-F238E27FC236}">
                  <a16:creationId xmlns:a16="http://schemas.microsoft.com/office/drawing/2014/main" id="{7A605217-8DED-4699-08AB-7B7FEF2ADBAE}"/>
                </a:ext>
              </a:extLst>
            </p:cNvPr>
            <p:cNvSpPr/>
            <p:nvPr/>
          </p:nvSpPr>
          <p:spPr>
            <a:xfrm>
              <a:off x="17368874" y="8059993"/>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27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27"/>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754" name="Freeform: Shape 753">
              <a:extLst>
                <a:ext uri="{FF2B5EF4-FFF2-40B4-BE49-F238E27FC236}">
                  <a16:creationId xmlns:a16="http://schemas.microsoft.com/office/drawing/2014/main" id="{634F5B80-F324-3A6F-6EBF-F58DFC3C61A6}"/>
                </a:ext>
              </a:extLst>
            </p:cNvPr>
            <p:cNvSpPr/>
            <p:nvPr/>
          </p:nvSpPr>
          <p:spPr>
            <a:xfrm>
              <a:off x="19109210" y="805999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895" y="113039"/>
                    <a:pt x="0" y="57702"/>
                    <a:pt x="0" y="0"/>
                  </a:cubicBezTo>
                  <a:lnTo>
                    <a:pt x="217539" y="0"/>
                  </a:lnTo>
                  <a:lnTo>
                    <a:pt x="435077" y="0"/>
                  </a:lnTo>
                  <a:cubicBezTo>
                    <a:pt x="435077" y="57702"/>
                    <a:pt x="412154" y="113039"/>
                    <a:pt x="371339" y="153827"/>
                  </a:cubicBezTo>
                  <a:cubicBezTo>
                    <a:pt x="330550" y="194616"/>
                    <a:pt x="275215" y="217539"/>
                    <a:pt x="217539" y="217539"/>
                  </a:cubicBezTo>
                  <a:cubicBezTo>
                    <a:pt x="159836" y="217539"/>
                    <a:pt x="104501" y="194616"/>
                    <a:pt x="63712" y="153827"/>
                  </a:cubicBezTo>
                  <a:close/>
                  <a:moveTo>
                    <a:pt x="63712" y="281250"/>
                  </a:moveTo>
                  <a:cubicBezTo>
                    <a:pt x="22895" y="322066"/>
                    <a:pt x="0" y="377402"/>
                    <a:pt x="0" y="435077"/>
                  </a:cubicBezTo>
                  <a:lnTo>
                    <a:pt x="217539" y="435077"/>
                  </a:lnTo>
                  <a:lnTo>
                    <a:pt x="435077" y="435077"/>
                  </a:lnTo>
                  <a:cubicBezTo>
                    <a:pt x="435077" y="377402"/>
                    <a:pt x="412154" y="322066"/>
                    <a:pt x="371339" y="281250"/>
                  </a:cubicBezTo>
                  <a:cubicBezTo>
                    <a:pt x="330550" y="240462"/>
                    <a:pt x="275215" y="217539"/>
                    <a:pt x="217539" y="217539"/>
                  </a:cubicBezTo>
                  <a:cubicBezTo>
                    <a:pt x="159836" y="217539"/>
                    <a:pt x="104501" y="240462"/>
                    <a:pt x="63712" y="281250"/>
                  </a:cubicBezTo>
                  <a:close/>
                </a:path>
              </a:pathLst>
            </a:custGeom>
            <a:grpFill/>
            <a:ln w="27192" cap="flat">
              <a:noFill/>
              <a:prstDash val="solid"/>
              <a:miter/>
            </a:ln>
          </p:spPr>
          <p:txBody>
            <a:bodyPr rtlCol="0" anchor="ctr"/>
            <a:lstStyle/>
            <a:p>
              <a:endParaRPr lang="uk-UA" sz="900"/>
            </a:p>
          </p:txBody>
        </p:sp>
        <p:sp>
          <p:nvSpPr>
            <p:cNvPr id="755" name="Freeform: Shape 754">
              <a:extLst>
                <a:ext uri="{FF2B5EF4-FFF2-40B4-BE49-F238E27FC236}">
                  <a16:creationId xmlns:a16="http://schemas.microsoft.com/office/drawing/2014/main" id="{9D8A92A3-AF54-8DA6-AC2D-826DAF2885C7}"/>
                </a:ext>
              </a:extLst>
            </p:cNvPr>
            <p:cNvSpPr/>
            <p:nvPr/>
          </p:nvSpPr>
          <p:spPr>
            <a:xfrm>
              <a:off x="19979365" y="805999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756" name="Freeform: Shape 755">
              <a:extLst>
                <a:ext uri="{FF2B5EF4-FFF2-40B4-BE49-F238E27FC236}">
                  <a16:creationId xmlns:a16="http://schemas.microsoft.com/office/drawing/2014/main" id="{9B65DF60-84DB-31D4-1531-B7AFFF7ED36F}"/>
                </a:ext>
              </a:extLst>
            </p:cNvPr>
            <p:cNvSpPr/>
            <p:nvPr/>
          </p:nvSpPr>
          <p:spPr>
            <a:xfrm>
              <a:off x="21719702" y="805999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757" name="Freeform: Shape 756">
              <a:extLst>
                <a:ext uri="{FF2B5EF4-FFF2-40B4-BE49-F238E27FC236}">
                  <a16:creationId xmlns:a16="http://schemas.microsoft.com/office/drawing/2014/main" id="{ED72FA9A-CACB-8ABF-8598-87A0F8F8336F}"/>
                </a:ext>
              </a:extLst>
            </p:cNvPr>
            <p:cNvSpPr/>
            <p:nvPr/>
          </p:nvSpPr>
          <p:spPr>
            <a:xfrm>
              <a:off x="20849520" y="8059993"/>
              <a:ext cx="435077" cy="435077"/>
            </a:xfrm>
            <a:custGeom>
              <a:avLst/>
              <a:gdLst>
                <a:gd name="connsiteX0" fmla="*/ 217565 w 435077"/>
                <a:gd name="connsiteY0" fmla="*/ 435077 h 435077"/>
                <a:gd name="connsiteX1" fmla="*/ 217565 w 435077"/>
                <a:gd name="connsiteY1" fmla="*/ 0 h 435077"/>
                <a:gd name="connsiteX2" fmla="*/ 435077 w 435077"/>
                <a:gd name="connsiteY2" fmla="*/ 217539 h 435077"/>
                <a:gd name="connsiteX3" fmla="*/ 217565 w 435077"/>
                <a:gd name="connsiteY3" fmla="*/ 435077 h 435077"/>
                <a:gd name="connsiteX4" fmla="*/ 0 w 435077"/>
                <a:gd name="connsiteY4" fmla="*/ 435077 h 435077"/>
                <a:gd name="connsiteX5" fmla="*/ 0 w 435077"/>
                <a:gd name="connsiteY5" fmla="*/ 27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65" y="435077"/>
                  </a:moveTo>
                  <a:lnTo>
                    <a:pt x="217565" y="0"/>
                  </a:lnTo>
                  <a:lnTo>
                    <a:pt x="435077" y="217539"/>
                  </a:lnTo>
                  <a:lnTo>
                    <a:pt x="217565" y="435077"/>
                  </a:lnTo>
                  <a:close/>
                  <a:moveTo>
                    <a:pt x="0" y="435077"/>
                  </a:moveTo>
                  <a:lnTo>
                    <a:pt x="0" y="27"/>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758" name="Freeform: Shape 757">
              <a:extLst>
                <a:ext uri="{FF2B5EF4-FFF2-40B4-BE49-F238E27FC236}">
                  <a16:creationId xmlns:a16="http://schemas.microsoft.com/office/drawing/2014/main" id="{0DD8F0BB-B35F-F021-2C94-5019BD3BF761}"/>
                </a:ext>
              </a:extLst>
            </p:cNvPr>
            <p:cNvSpPr/>
            <p:nvPr/>
          </p:nvSpPr>
          <p:spPr>
            <a:xfrm>
              <a:off x="22589856" y="805999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7" y="153827"/>
                  </a:cubicBezTo>
                  <a:cubicBezTo>
                    <a:pt x="330578" y="194616"/>
                    <a:pt x="275241" y="217539"/>
                    <a:pt x="217539" y="217539"/>
                  </a:cubicBezTo>
                  <a:cubicBezTo>
                    <a:pt x="159838" y="217539"/>
                    <a:pt x="104529" y="194616"/>
                    <a:pt x="63712" y="153827"/>
                  </a:cubicBezTo>
                  <a:close/>
                  <a:moveTo>
                    <a:pt x="63712" y="281250"/>
                  </a:moveTo>
                  <a:cubicBezTo>
                    <a:pt x="22924" y="322066"/>
                    <a:pt x="0" y="377402"/>
                    <a:pt x="0" y="435077"/>
                  </a:cubicBezTo>
                  <a:lnTo>
                    <a:pt x="217539" y="435077"/>
                  </a:lnTo>
                  <a:lnTo>
                    <a:pt x="435077" y="435077"/>
                  </a:lnTo>
                  <a:cubicBezTo>
                    <a:pt x="435077" y="377402"/>
                    <a:pt x="412155" y="322066"/>
                    <a:pt x="371367" y="281250"/>
                  </a:cubicBezTo>
                  <a:cubicBezTo>
                    <a:pt x="330578" y="240462"/>
                    <a:pt x="275241" y="217539"/>
                    <a:pt x="217539" y="217539"/>
                  </a:cubicBezTo>
                  <a:cubicBezTo>
                    <a:pt x="159838" y="217539"/>
                    <a:pt x="104529" y="240462"/>
                    <a:pt x="63712" y="281250"/>
                  </a:cubicBezTo>
                  <a:close/>
                </a:path>
              </a:pathLst>
            </a:custGeom>
            <a:grpFill/>
            <a:ln w="27192" cap="flat">
              <a:noFill/>
              <a:prstDash val="solid"/>
              <a:miter/>
            </a:ln>
          </p:spPr>
          <p:txBody>
            <a:bodyPr rtlCol="0" anchor="ctr"/>
            <a:lstStyle/>
            <a:p>
              <a:endParaRPr lang="uk-UA" sz="900"/>
            </a:p>
          </p:txBody>
        </p:sp>
        <p:sp>
          <p:nvSpPr>
            <p:cNvPr id="759" name="Freeform: Shape 758">
              <a:extLst>
                <a:ext uri="{FF2B5EF4-FFF2-40B4-BE49-F238E27FC236}">
                  <a16:creationId xmlns:a16="http://schemas.microsoft.com/office/drawing/2014/main" id="{FF847F92-0AD1-9D5F-3A62-11672BD40889}"/>
                </a:ext>
              </a:extLst>
            </p:cNvPr>
            <p:cNvSpPr/>
            <p:nvPr/>
          </p:nvSpPr>
          <p:spPr>
            <a:xfrm>
              <a:off x="23460011" y="8059993"/>
              <a:ext cx="435105" cy="435077"/>
            </a:xfrm>
            <a:custGeom>
              <a:avLst/>
              <a:gdLst>
                <a:gd name="connsiteX0" fmla="*/ 435106 w 435105"/>
                <a:gd name="connsiteY0" fmla="*/ 435077 h 435077"/>
                <a:gd name="connsiteX1" fmla="*/ 435106 w 435105"/>
                <a:gd name="connsiteY1" fmla="*/ 217566 h 435077"/>
                <a:gd name="connsiteX2" fmla="*/ 435106 w 435105"/>
                <a:gd name="connsiteY2" fmla="*/ 27 h 435077"/>
                <a:gd name="connsiteX3" fmla="*/ 217567 w 435105"/>
                <a:gd name="connsiteY3" fmla="*/ 27 h 435077"/>
                <a:gd name="connsiteX4" fmla="*/ 435106 w 435105"/>
                <a:gd name="connsiteY4" fmla="*/ 217566 h 435077"/>
                <a:gd name="connsiteX5" fmla="*/ 217567 w 435105"/>
                <a:gd name="connsiteY5" fmla="*/ 435077 h 435077"/>
                <a:gd name="connsiteX6" fmla="*/ 435106 w 435105"/>
                <a:gd name="connsiteY6" fmla="*/ 435077 h 435077"/>
                <a:gd name="connsiteX7" fmla="*/ 0 w 435105"/>
                <a:gd name="connsiteY7" fmla="*/ 217539 h 435077"/>
                <a:gd name="connsiteX8" fmla="*/ 0 w 435105"/>
                <a:gd name="connsiteY8" fmla="*/ 0 h 435077"/>
                <a:gd name="connsiteX9" fmla="*/ 217539 w 435105"/>
                <a:gd name="connsiteY9" fmla="*/ 217539 h 435077"/>
                <a:gd name="connsiteX10" fmla="*/ 0 w 435105"/>
                <a:gd name="connsiteY10" fmla="*/ 217539 h 435077"/>
                <a:gd name="connsiteX11" fmla="*/ 0 w 435105"/>
                <a:gd name="connsiteY11" fmla="*/ 435077 h 435077"/>
                <a:gd name="connsiteX12" fmla="*/ 0 w 435105"/>
                <a:gd name="connsiteY12" fmla="*/ 217539 h 435077"/>
                <a:gd name="connsiteX13" fmla="*/ 217539 w 435105"/>
                <a:gd name="connsiteY13" fmla="*/ 217539 h 435077"/>
                <a:gd name="connsiteX14" fmla="*/ 0 w 435105"/>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105" h="435077">
                  <a:moveTo>
                    <a:pt x="435106" y="435077"/>
                  </a:moveTo>
                  <a:lnTo>
                    <a:pt x="435106" y="217566"/>
                  </a:lnTo>
                  <a:lnTo>
                    <a:pt x="435106" y="27"/>
                  </a:lnTo>
                  <a:lnTo>
                    <a:pt x="217567" y="27"/>
                  </a:lnTo>
                  <a:lnTo>
                    <a:pt x="435106" y="217566"/>
                  </a:lnTo>
                  <a:lnTo>
                    <a:pt x="217567" y="435077"/>
                  </a:lnTo>
                  <a:lnTo>
                    <a:pt x="435106"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760" name="Freeform: Shape 759">
              <a:extLst>
                <a:ext uri="{FF2B5EF4-FFF2-40B4-BE49-F238E27FC236}">
                  <a16:creationId xmlns:a16="http://schemas.microsoft.com/office/drawing/2014/main" id="{41C1C4B2-19E1-A312-D2F9-AAE9D7FCAA96}"/>
                </a:ext>
              </a:extLst>
            </p:cNvPr>
            <p:cNvSpPr/>
            <p:nvPr/>
          </p:nvSpPr>
          <p:spPr>
            <a:xfrm>
              <a:off x="24330194" y="8059993"/>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27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27"/>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761" name="Freeform: Shape 760">
              <a:extLst>
                <a:ext uri="{FF2B5EF4-FFF2-40B4-BE49-F238E27FC236}">
                  <a16:creationId xmlns:a16="http://schemas.microsoft.com/office/drawing/2014/main" id="{9EFA5AD6-128D-E983-D659-790F2380D37F}"/>
                </a:ext>
              </a:extLst>
            </p:cNvPr>
            <p:cNvSpPr/>
            <p:nvPr/>
          </p:nvSpPr>
          <p:spPr>
            <a:xfrm>
              <a:off x="835769" y="8930148"/>
              <a:ext cx="435077" cy="435104"/>
            </a:xfrm>
            <a:custGeom>
              <a:avLst/>
              <a:gdLst>
                <a:gd name="connsiteX0" fmla="*/ 0 w 435077"/>
                <a:gd name="connsiteY0" fmla="*/ 435077 h 435104"/>
                <a:gd name="connsiteX1" fmla="*/ 217511 w 435077"/>
                <a:gd name="connsiteY1" fmla="*/ 435077 h 435104"/>
                <a:gd name="connsiteX2" fmla="*/ 217511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11" y="435077"/>
                  </a:lnTo>
                  <a:lnTo>
                    <a:pt x="217511"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762" name="Freeform: Shape 761">
              <a:extLst>
                <a:ext uri="{FF2B5EF4-FFF2-40B4-BE49-F238E27FC236}">
                  <a16:creationId xmlns:a16="http://schemas.microsoft.com/office/drawing/2014/main" id="{C9511FD0-A320-6A35-13CF-3D9B79AC1639}"/>
                </a:ext>
              </a:extLst>
            </p:cNvPr>
            <p:cNvSpPr/>
            <p:nvPr/>
          </p:nvSpPr>
          <p:spPr>
            <a:xfrm>
              <a:off x="-34398" y="8930148"/>
              <a:ext cx="435063" cy="435077"/>
            </a:xfrm>
            <a:custGeom>
              <a:avLst/>
              <a:gdLst>
                <a:gd name="connsiteX0" fmla="*/ 217525 w 435063"/>
                <a:gd name="connsiteY0" fmla="*/ 217539 h 435077"/>
                <a:gd name="connsiteX1" fmla="*/ 217525 w 435063"/>
                <a:gd name="connsiteY1" fmla="*/ 0 h 435077"/>
                <a:gd name="connsiteX2" fmla="*/ 0 w 435063"/>
                <a:gd name="connsiteY2" fmla="*/ 0 h 435077"/>
                <a:gd name="connsiteX3" fmla="*/ 217525 w 435063"/>
                <a:gd name="connsiteY3" fmla="*/ 217539 h 435077"/>
                <a:gd name="connsiteX4" fmla="*/ 0 w 435063"/>
                <a:gd name="connsiteY4" fmla="*/ 435077 h 435077"/>
                <a:gd name="connsiteX5" fmla="*/ 217525 w 435063"/>
                <a:gd name="connsiteY5" fmla="*/ 435077 h 435077"/>
                <a:gd name="connsiteX6" fmla="*/ 217525 w 435063"/>
                <a:gd name="connsiteY6" fmla="*/ 435077 h 435077"/>
                <a:gd name="connsiteX7" fmla="*/ 435064 w 435063"/>
                <a:gd name="connsiteY7" fmla="*/ 217566 h 435077"/>
                <a:gd name="connsiteX8" fmla="*/ 435064 w 435063"/>
                <a:gd name="connsiteY8" fmla="*/ 217566 h 435077"/>
                <a:gd name="connsiteX9" fmla="*/ 435064 w 435063"/>
                <a:gd name="connsiteY9" fmla="*/ 217539 h 435077"/>
                <a:gd name="connsiteX10" fmla="*/ 435064 w 435063"/>
                <a:gd name="connsiteY10" fmla="*/ 217539 h 435077"/>
                <a:gd name="connsiteX11" fmla="*/ 435064 w 435063"/>
                <a:gd name="connsiteY11" fmla="*/ 217539 h 435077"/>
                <a:gd name="connsiteX12" fmla="*/ 217525 w 435063"/>
                <a:gd name="connsiteY12" fmla="*/ 27 h 435077"/>
                <a:gd name="connsiteX13" fmla="*/ 217525 w 435063"/>
                <a:gd name="connsiteY13" fmla="*/ 217539 h 435077"/>
                <a:gd name="connsiteX14" fmla="*/ 217525 w 435063"/>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63" h="435077">
                  <a:moveTo>
                    <a:pt x="217525" y="217539"/>
                  </a:moveTo>
                  <a:lnTo>
                    <a:pt x="217525" y="0"/>
                  </a:lnTo>
                  <a:lnTo>
                    <a:pt x="0" y="0"/>
                  </a:lnTo>
                  <a:lnTo>
                    <a:pt x="217525" y="217539"/>
                  </a:lnTo>
                  <a:lnTo>
                    <a:pt x="0" y="435077"/>
                  </a:lnTo>
                  <a:lnTo>
                    <a:pt x="217525" y="435077"/>
                  </a:lnTo>
                  <a:lnTo>
                    <a:pt x="217525" y="435077"/>
                  </a:lnTo>
                  <a:lnTo>
                    <a:pt x="435064" y="217566"/>
                  </a:lnTo>
                  <a:lnTo>
                    <a:pt x="435064" y="217566"/>
                  </a:lnTo>
                  <a:lnTo>
                    <a:pt x="435064" y="217539"/>
                  </a:lnTo>
                  <a:lnTo>
                    <a:pt x="435064" y="217539"/>
                  </a:lnTo>
                  <a:lnTo>
                    <a:pt x="435064" y="217539"/>
                  </a:lnTo>
                  <a:lnTo>
                    <a:pt x="217525" y="27"/>
                  </a:lnTo>
                  <a:lnTo>
                    <a:pt x="217525" y="217539"/>
                  </a:lnTo>
                  <a:lnTo>
                    <a:pt x="217525" y="217539"/>
                  </a:lnTo>
                  <a:close/>
                </a:path>
              </a:pathLst>
            </a:custGeom>
            <a:grpFill/>
            <a:ln w="27192" cap="flat">
              <a:noFill/>
              <a:prstDash val="solid"/>
              <a:miter/>
            </a:ln>
          </p:spPr>
          <p:txBody>
            <a:bodyPr rtlCol="0" anchor="ctr"/>
            <a:lstStyle/>
            <a:p>
              <a:endParaRPr lang="uk-UA" sz="900"/>
            </a:p>
          </p:txBody>
        </p:sp>
        <p:sp>
          <p:nvSpPr>
            <p:cNvPr id="763" name="Freeform: Shape 762">
              <a:extLst>
                <a:ext uri="{FF2B5EF4-FFF2-40B4-BE49-F238E27FC236}">
                  <a16:creationId xmlns:a16="http://schemas.microsoft.com/office/drawing/2014/main" id="{D785299B-DC8A-7BDC-3832-4BA38172FC89}"/>
                </a:ext>
              </a:extLst>
            </p:cNvPr>
            <p:cNvSpPr/>
            <p:nvPr/>
          </p:nvSpPr>
          <p:spPr>
            <a:xfrm>
              <a:off x="1705924" y="8930148"/>
              <a:ext cx="435104" cy="435077"/>
            </a:xfrm>
            <a:custGeom>
              <a:avLst/>
              <a:gdLst>
                <a:gd name="connsiteX0" fmla="*/ 217539 w 435104"/>
                <a:gd name="connsiteY0" fmla="*/ 0 h 435077"/>
                <a:gd name="connsiteX1" fmla="*/ 0 w 435104"/>
                <a:gd name="connsiteY1" fmla="*/ 0 h 435077"/>
                <a:gd name="connsiteX2" fmla="*/ 0 w 435104"/>
                <a:gd name="connsiteY2" fmla="*/ 217539 h 435077"/>
                <a:gd name="connsiteX3" fmla="*/ 217539 w 435104"/>
                <a:gd name="connsiteY3" fmla="*/ 0 h 435077"/>
                <a:gd name="connsiteX4" fmla="*/ 435104 w 435104"/>
                <a:gd name="connsiteY4" fmla="*/ 27 h 435077"/>
                <a:gd name="connsiteX5" fmla="*/ 435104 w 435104"/>
                <a:gd name="connsiteY5" fmla="*/ 217566 h 435077"/>
                <a:gd name="connsiteX6" fmla="*/ 217566 w 435104"/>
                <a:gd name="connsiteY6" fmla="*/ 27 h 435077"/>
                <a:gd name="connsiteX7" fmla="*/ 435104 w 435104"/>
                <a:gd name="connsiteY7" fmla="*/ 27 h 435077"/>
                <a:gd name="connsiteX8" fmla="*/ 217566 w 435104"/>
                <a:gd name="connsiteY8" fmla="*/ 435077 h 435077"/>
                <a:gd name="connsiteX9" fmla="*/ 435104 w 435104"/>
                <a:gd name="connsiteY9" fmla="*/ 217566 h 435077"/>
                <a:gd name="connsiteX10" fmla="*/ 435104 w 435104"/>
                <a:gd name="connsiteY10" fmla="*/ 435077 h 435077"/>
                <a:gd name="connsiteX11" fmla="*/ 217566 w 435104"/>
                <a:gd name="connsiteY11" fmla="*/ 435077 h 435077"/>
                <a:gd name="connsiteX12" fmla="*/ 217566 w 435104"/>
                <a:gd name="connsiteY12" fmla="*/ 435077 h 435077"/>
                <a:gd name="connsiteX13" fmla="*/ 27 w 435104"/>
                <a:gd name="connsiteY13" fmla="*/ 217566 h 435077"/>
                <a:gd name="connsiteX14" fmla="*/ 27 w 435104"/>
                <a:gd name="connsiteY14" fmla="*/ 435077 h 435077"/>
                <a:gd name="connsiteX15" fmla="*/ 217566 w 435104"/>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4" h="435077">
                  <a:moveTo>
                    <a:pt x="217539" y="0"/>
                  </a:moveTo>
                  <a:lnTo>
                    <a:pt x="0" y="0"/>
                  </a:lnTo>
                  <a:lnTo>
                    <a:pt x="0" y="217539"/>
                  </a:lnTo>
                  <a:lnTo>
                    <a:pt x="217539" y="0"/>
                  </a:lnTo>
                  <a:close/>
                  <a:moveTo>
                    <a:pt x="435104" y="27"/>
                  </a:moveTo>
                  <a:lnTo>
                    <a:pt x="435104" y="217566"/>
                  </a:lnTo>
                  <a:lnTo>
                    <a:pt x="217566" y="27"/>
                  </a:lnTo>
                  <a:lnTo>
                    <a:pt x="435104" y="27"/>
                  </a:lnTo>
                  <a:close/>
                  <a:moveTo>
                    <a:pt x="217566" y="435077"/>
                  </a:moveTo>
                  <a:lnTo>
                    <a:pt x="435104" y="217566"/>
                  </a:lnTo>
                  <a:lnTo>
                    <a:pt x="435104" y="435077"/>
                  </a:lnTo>
                  <a:lnTo>
                    <a:pt x="217566" y="435077"/>
                  </a:lnTo>
                  <a:close/>
                  <a:moveTo>
                    <a:pt x="217566" y="435077"/>
                  </a:moveTo>
                  <a:lnTo>
                    <a:pt x="27" y="217566"/>
                  </a:lnTo>
                  <a:lnTo>
                    <a:pt x="27" y="435077"/>
                  </a:lnTo>
                  <a:lnTo>
                    <a:pt x="217566" y="435077"/>
                  </a:lnTo>
                  <a:close/>
                </a:path>
              </a:pathLst>
            </a:custGeom>
            <a:grpFill/>
            <a:ln w="27192" cap="flat">
              <a:noFill/>
              <a:prstDash val="solid"/>
              <a:miter/>
            </a:ln>
          </p:spPr>
          <p:txBody>
            <a:bodyPr rtlCol="0" anchor="ctr"/>
            <a:lstStyle/>
            <a:p>
              <a:endParaRPr lang="uk-UA" sz="900"/>
            </a:p>
          </p:txBody>
        </p:sp>
        <p:sp>
          <p:nvSpPr>
            <p:cNvPr id="764" name="Freeform: Shape 763">
              <a:extLst>
                <a:ext uri="{FF2B5EF4-FFF2-40B4-BE49-F238E27FC236}">
                  <a16:creationId xmlns:a16="http://schemas.microsoft.com/office/drawing/2014/main" id="{696159CD-2D98-3461-7E5D-92D5F693943C}"/>
                </a:ext>
              </a:extLst>
            </p:cNvPr>
            <p:cNvSpPr/>
            <p:nvPr/>
          </p:nvSpPr>
          <p:spPr>
            <a:xfrm>
              <a:off x="2576106" y="8930148"/>
              <a:ext cx="435077" cy="435077"/>
            </a:xfrm>
            <a:custGeom>
              <a:avLst/>
              <a:gdLst>
                <a:gd name="connsiteX0" fmla="*/ 371366 w 435077"/>
                <a:gd name="connsiteY0" fmla="*/ 63739 h 435077"/>
                <a:gd name="connsiteX1" fmla="*/ 435077 w 435077"/>
                <a:gd name="connsiteY1" fmla="*/ 217539 h 435077"/>
                <a:gd name="connsiteX2" fmla="*/ 217702 w 435077"/>
                <a:gd name="connsiteY2" fmla="*/ 217539 h 435077"/>
                <a:gd name="connsiteX3" fmla="*/ 371366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6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39"/>
                  </a:moveTo>
                  <a:cubicBezTo>
                    <a:pt x="412154" y="104527"/>
                    <a:pt x="435077" y="159864"/>
                    <a:pt x="435077" y="217539"/>
                  </a:cubicBezTo>
                  <a:lnTo>
                    <a:pt x="217702" y="217539"/>
                  </a:lnTo>
                  <a:cubicBezTo>
                    <a:pt x="275350" y="217593"/>
                    <a:pt x="330605" y="240516"/>
                    <a:pt x="371366" y="281277"/>
                  </a:cubicBezTo>
                  <a:cubicBezTo>
                    <a:pt x="412154" y="322066"/>
                    <a:pt x="435077" y="377402"/>
                    <a:pt x="435077" y="435077"/>
                  </a:cubicBezTo>
                  <a:lnTo>
                    <a:pt x="217539" y="435077"/>
                  </a:lnTo>
                  <a:lnTo>
                    <a:pt x="0" y="435077"/>
                  </a:lnTo>
                  <a:cubicBezTo>
                    <a:pt x="0" y="377402"/>
                    <a:pt x="22923" y="322066"/>
                    <a:pt x="63712" y="281277"/>
                  </a:cubicBezTo>
                  <a:cubicBezTo>
                    <a:pt x="104473" y="240516"/>
                    <a:pt x="159728" y="217593"/>
                    <a:pt x="217376" y="217539"/>
                  </a:cubicBezTo>
                  <a:lnTo>
                    <a:pt x="0" y="217539"/>
                  </a:lnTo>
                  <a:cubicBezTo>
                    <a:pt x="0" y="159864"/>
                    <a:pt x="22923" y="104527"/>
                    <a:pt x="63712" y="63739"/>
                  </a:cubicBezTo>
                  <a:cubicBezTo>
                    <a:pt x="104500" y="22923"/>
                    <a:pt x="159837" y="0"/>
                    <a:pt x="217539" y="0"/>
                  </a:cubicBezTo>
                  <a:cubicBezTo>
                    <a:pt x="275214" y="0"/>
                    <a:pt x="330550" y="22923"/>
                    <a:pt x="371366" y="63739"/>
                  </a:cubicBezTo>
                  <a:close/>
                </a:path>
              </a:pathLst>
            </a:custGeom>
            <a:grpFill/>
            <a:ln w="27192" cap="flat">
              <a:noFill/>
              <a:prstDash val="solid"/>
              <a:miter/>
            </a:ln>
          </p:spPr>
          <p:txBody>
            <a:bodyPr rtlCol="0" anchor="ctr"/>
            <a:lstStyle/>
            <a:p>
              <a:endParaRPr lang="uk-UA" sz="900"/>
            </a:p>
          </p:txBody>
        </p:sp>
        <p:sp>
          <p:nvSpPr>
            <p:cNvPr id="765" name="Freeform: Shape 764">
              <a:extLst>
                <a:ext uri="{FF2B5EF4-FFF2-40B4-BE49-F238E27FC236}">
                  <a16:creationId xmlns:a16="http://schemas.microsoft.com/office/drawing/2014/main" id="{83CD2A89-6681-8724-85F4-B5C9AC948C30}"/>
                </a:ext>
              </a:extLst>
            </p:cNvPr>
            <p:cNvSpPr/>
            <p:nvPr/>
          </p:nvSpPr>
          <p:spPr>
            <a:xfrm>
              <a:off x="4316442" y="8930148"/>
              <a:ext cx="435050" cy="435104"/>
            </a:xfrm>
            <a:custGeom>
              <a:avLst/>
              <a:gdLst>
                <a:gd name="connsiteX0" fmla="*/ 0 w 435050"/>
                <a:gd name="connsiteY0" fmla="*/ 435077 h 435104"/>
                <a:gd name="connsiteX1" fmla="*/ 217512 w 435050"/>
                <a:gd name="connsiteY1" fmla="*/ 435077 h 435104"/>
                <a:gd name="connsiteX2" fmla="*/ 217512 w 435050"/>
                <a:gd name="connsiteY2" fmla="*/ 217566 h 435104"/>
                <a:gd name="connsiteX3" fmla="*/ 0 w 435050"/>
                <a:gd name="connsiteY3" fmla="*/ 435077 h 435104"/>
                <a:gd name="connsiteX4" fmla="*/ 217512 w 435050"/>
                <a:gd name="connsiteY4" fmla="*/ 0 h 435104"/>
                <a:gd name="connsiteX5" fmla="*/ 0 w 435050"/>
                <a:gd name="connsiteY5" fmla="*/ 0 h 435104"/>
                <a:gd name="connsiteX6" fmla="*/ 217512 w 435050"/>
                <a:gd name="connsiteY6" fmla="*/ 217539 h 435104"/>
                <a:gd name="connsiteX7" fmla="*/ 217512 w 435050"/>
                <a:gd name="connsiteY7" fmla="*/ 0 h 435104"/>
                <a:gd name="connsiteX8" fmla="*/ 435051 w 435050"/>
                <a:gd name="connsiteY8" fmla="*/ 435105 h 435104"/>
                <a:gd name="connsiteX9" fmla="*/ 217539 w 435050"/>
                <a:gd name="connsiteY9" fmla="*/ 435105 h 435104"/>
                <a:gd name="connsiteX10" fmla="*/ 435051 w 435050"/>
                <a:gd name="connsiteY10" fmla="*/ 217566 h 435104"/>
                <a:gd name="connsiteX11" fmla="*/ 435051 w 435050"/>
                <a:gd name="connsiteY11" fmla="*/ 435105 h 435104"/>
                <a:gd name="connsiteX12" fmla="*/ 435051 w 435050"/>
                <a:gd name="connsiteY12" fmla="*/ 27 h 435104"/>
                <a:gd name="connsiteX13" fmla="*/ 217539 w 435050"/>
                <a:gd name="connsiteY13" fmla="*/ 27 h 435104"/>
                <a:gd name="connsiteX14" fmla="*/ 435051 w 435050"/>
                <a:gd name="connsiteY14" fmla="*/ 217539 h 435104"/>
                <a:gd name="connsiteX15" fmla="*/ 435051 w 435050"/>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50" h="435104">
                  <a:moveTo>
                    <a:pt x="0" y="435077"/>
                  </a:moveTo>
                  <a:lnTo>
                    <a:pt x="217512" y="435077"/>
                  </a:lnTo>
                  <a:lnTo>
                    <a:pt x="217512" y="217566"/>
                  </a:lnTo>
                  <a:lnTo>
                    <a:pt x="0" y="435077"/>
                  </a:lnTo>
                  <a:close/>
                  <a:moveTo>
                    <a:pt x="217512" y="0"/>
                  </a:moveTo>
                  <a:lnTo>
                    <a:pt x="0" y="0"/>
                  </a:lnTo>
                  <a:lnTo>
                    <a:pt x="217512" y="217539"/>
                  </a:lnTo>
                  <a:lnTo>
                    <a:pt x="217512" y="0"/>
                  </a:lnTo>
                  <a:close/>
                  <a:moveTo>
                    <a:pt x="435051" y="435105"/>
                  </a:moveTo>
                  <a:lnTo>
                    <a:pt x="217539" y="435105"/>
                  </a:lnTo>
                  <a:lnTo>
                    <a:pt x="435051" y="217566"/>
                  </a:lnTo>
                  <a:lnTo>
                    <a:pt x="435051" y="435105"/>
                  </a:lnTo>
                  <a:close/>
                  <a:moveTo>
                    <a:pt x="435051" y="27"/>
                  </a:moveTo>
                  <a:lnTo>
                    <a:pt x="217539" y="27"/>
                  </a:lnTo>
                  <a:lnTo>
                    <a:pt x="435051" y="217539"/>
                  </a:lnTo>
                  <a:lnTo>
                    <a:pt x="435051" y="27"/>
                  </a:lnTo>
                  <a:close/>
                </a:path>
              </a:pathLst>
            </a:custGeom>
            <a:grpFill/>
            <a:ln w="27192" cap="flat">
              <a:noFill/>
              <a:prstDash val="solid"/>
              <a:miter/>
            </a:ln>
          </p:spPr>
          <p:txBody>
            <a:bodyPr rtlCol="0" anchor="ctr"/>
            <a:lstStyle/>
            <a:p>
              <a:endParaRPr lang="uk-UA" sz="900"/>
            </a:p>
          </p:txBody>
        </p:sp>
        <p:sp>
          <p:nvSpPr>
            <p:cNvPr id="766" name="Freeform: Shape 765">
              <a:extLst>
                <a:ext uri="{FF2B5EF4-FFF2-40B4-BE49-F238E27FC236}">
                  <a16:creationId xmlns:a16="http://schemas.microsoft.com/office/drawing/2014/main" id="{5E5DF38E-801E-BA7F-89E3-B3216C111BFD}"/>
                </a:ext>
              </a:extLst>
            </p:cNvPr>
            <p:cNvSpPr/>
            <p:nvPr/>
          </p:nvSpPr>
          <p:spPr>
            <a:xfrm>
              <a:off x="3446261" y="893014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767" name="Freeform: Shape 766">
              <a:extLst>
                <a:ext uri="{FF2B5EF4-FFF2-40B4-BE49-F238E27FC236}">
                  <a16:creationId xmlns:a16="http://schemas.microsoft.com/office/drawing/2014/main" id="{A5B324E1-1172-F2EF-29B5-DF864F102F95}"/>
                </a:ext>
              </a:extLst>
            </p:cNvPr>
            <p:cNvSpPr/>
            <p:nvPr/>
          </p:nvSpPr>
          <p:spPr>
            <a:xfrm>
              <a:off x="5186597" y="8930148"/>
              <a:ext cx="435077" cy="435077"/>
            </a:xfrm>
            <a:custGeom>
              <a:avLst/>
              <a:gdLst>
                <a:gd name="connsiteX0" fmla="*/ 217539 w 435077"/>
                <a:gd name="connsiteY0" fmla="*/ 0 h 435077"/>
                <a:gd name="connsiteX1" fmla="*/ 217539 w 435077"/>
                <a:gd name="connsiteY1" fmla="*/ 0 h 435077"/>
                <a:gd name="connsiteX2" fmla="*/ 0 w 435077"/>
                <a:gd name="connsiteY2" fmla="*/ 0 h 435077"/>
                <a:gd name="connsiteX3" fmla="*/ 0 w 435077"/>
                <a:gd name="connsiteY3" fmla="*/ 217539 h 435077"/>
                <a:gd name="connsiteX4" fmla="*/ 217539 w 435077"/>
                <a:gd name="connsiteY4" fmla="*/ 27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217539" y="0"/>
                  </a:lnTo>
                  <a:lnTo>
                    <a:pt x="0" y="0"/>
                  </a:lnTo>
                  <a:lnTo>
                    <a:pt x="0" y="217539"/>
                  </a:lnTo>
                  <a:lnTo>
                    <a:pt x="217539" y="27"/>
                  </a:lnTo>
                  <a:lnTo>
                    <a:pt x="435077" y="217539"/>
                  </a:lnTo>
                  <a:lnTo>
                    <a:pt x="217539" y="435077"/>
                  </a:lnTo>
                  <a:lnTo>
                    <a:pt x="0" y="217539"/>
                  </a:lnTo>
                  <a:lnTo>
                    <a:pt x="0" y="435077"/>
                  </a:lnTo>
                  <a:lnTo>
                    <a:pt x="217539" y="435077"/>
                  </a:lnTo>
                  <a:lnTo>
                    <a:pt x="435077" y="435077"/>
                  </a:lnTo>
                  <a:lnTo>
                    <a:pt x="435077" y="217539"/>
                  </a:lnTo>
                  <a:lnTo>
                    <a:pt x="435077" y="0"/>
                  </a:lnTo>
                  <a:lnTo>
                    <a:pt x="217539" y="0"/>
                  </a:lnTo>
                  <a:close/>
                </a:path>
              </a:pathLst>
            </a:custGeom>
            <a:grpFill/>
            <a:ln w="27192" cap="flat">
              <a:noFill/>
              <a:prstDash val="solid"/>
              <a:miter/>
            </a:ln>
          </p:spPr>
          <p:txBody>
            <a:bodyPr rtlCol="0" anchor="ctr"/>
            <a:lstStyle/>
            <a:p>
              <a:endParaRPr lang="uk-UA" sz="900"/>
            </a:p>
          </p:txBody>
        </p:sp>
        <p:sp>
          <p:nvSpPr>
            <p:cNvPr id="768" name="Freeform: Shape 767">
              <a:extLst>
                <a:ext uri="{FF2B5EF4-FFF2-40B4-BE49-F238E27FC236}">
                  <a16:creationId xmlns:a16="http://schemas.microsoft.com/office/drawing/2014/main" id="{18A8AE50-20E9-4029-B228-B725F665112D}"/>
                </a:ext>
              </a:extLst>
            </p:cNvPr>
            <p:cNvSpPr/>
            <p:nvPr/>
          </p:nvSpPr>
          <p:spPr>
            <a:xfrm>
              <a:off x="6056752" y="8930148"/>
              <a:ext cx="435077" cy="435077"/>
            </a:xfrm>
            <a:custGeom>
              <a:avLst/>
              <a:gdLst>
                <a:gd name="connsiteX0" fmla="*/ 371366 w 435077"/>
                <a:gd name="connsiteY0" fmla="*/ 63739 h 435077"/>
                <a:gd name="connsiteX1" fmla="*/ 435077 w 435077"/>
                <a:gd name="connsiteY1" fmla="*/ 217539 h 435077"/>
                <a:gd name="connsiteX2" fmla="*/ 217702 w 435077"/>
                <a:gd name="connsiteY2" fmla="*/ 217539 h 435077"/>
                <a:gd name="connsiteX3" fmla="*/ 371366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6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39"/>
                  </a:moveTo>
                  <a:cubicBezTo>
                    <a:pt x="412155" y="104527"/>
                    <a:pt x="435077" y="159864"/>
                    <a:pt x="435077" y="217539"/>
                  </a:cubicBezTo>
                  <a:lnTo>
                    <a:pt x="217702" y="217539"/>
                  </a:lnTo>
                  <a:cubicBezTo>
                    <a:pt x="275350" y="217593"/>
                    <a:pt x="330605" y="240516"/>
                    <a:pt x="371366" y="281277"/>
                  </a:cubicBezTo>
                  <a:cubicBezTo>
                    <a:pt x="412155" y="322066"/>
                    <a:pt x="435077" y="377402"/>
                    <a:pt x="435077" y="435077"/>
                  </a:cubicBezTo>
                  <a:lnTo>
                    <a:pt x="217539" y="435077"/>
                  </a:lnTo>
                  <a:lnTo>
                    <a:pt x="0" y="435077"/>
                  </a:lnTo>
                  <a:cubicBezTo>
                    <a:pt x="0" y="377402"/>
                    <a:pt x="22924" y="322066"/>
                    <a:pt x="63712" y="281277"/>
                  </a:cubicBezTo>
                  <a:cubicBezTo>
                    <a:pt x="104473" y="240516"/>
                    <a:pt x="159728" y="217593"/>
                    <a:pt x="217376" y="217539"/>
                  </a:cubicBezTo>
                  <a:lnTo>
                    <a:pt x="0" y="217539"/>
                  </a:lnTo>
                  <a:cubicBezTo>
                    <a:pt x="0" y="159864"/>
                    <a:pt x="22924" y="104527"/>
                    <a:pt x="63712" y="63739"/>
                  </a:cubicBezTo>
                  <a:cubicBezTo>
                    <a:pt x="104501" y="22923"/>
                    <a:pt x="159837" y="0"/>
                    <a:pt x="217539" y="0"/>
                  </a:cubicBezTo>
                  <a:cubicBezTo>
                    <a:pt x="275241" y="0"/>
                    <a:pt x="330550" y="22923"/>
                    <a:pt x="371366" y="63739"/>
                  </a:cubicBezTo>
                  <a:close/>
                </a:path>
              </a:pathLst>
            </a:custGeom>
            <a:grpFill/>
            <a:ln w="27192" cap="flat">
              <a:noFill/>
              <a:prstDash val="solid"/>
              <a:miter/>
            </a:ln>
          </p:spPr>
          <p:txBody>
            <a:bodyPr rtlCol="0" anchor="ctr"/>
            <a:lstStyle/>
            <a:p>
              <a:endParaRPr lang="uk-UA" sz="900"/>
            </a:p>
          </p:txBody>
        </p:sp>
        <p:sp>
          <p:nvSpPr>
            <p:cNvPr id="769" name="Freeform: Shape 768">
              <a:extLst>
                <a:ext uri="{FF2B5EF4-FFF2-40B4-BE49-F238E27FC236}">
                  <a16:creationId xmlns:a16="http://schemas.microsoft.com/office/drawing/2014/main" id="{D62CB5A1-3DDC-858D-636C-D7DFD458A22D}"/>
                </a:ext>
              </a:extLst>
            </p:cNvPr>
            <p:cNvSpPr/>
            <p:nvPr/>
          </p:nvSpPr>
          <p:spPr>
            <a:xfrm>
              <a:off x="7797089" y="8930148"/>
              <a:ext cx="435050" cy="435104"/>
            </a:xfrm>
            <a:custGeom>
              <a:avLst/>
              <a:gdLst>
                <a:gd name="connsiteX0" fmla="*/ 0 w 435050"/>
                <a:gd name="connsiteY0" fmla="*/ 435077 h 435104"/>
                <a:gd name="connsiteX1" fmla="*/ 217511 w 435050"/>
                <a:gd name="connsiteY1" fmla="*/ 435077 h 435104"/>
                <a:gd name="connsiteX2" fmla="*/ 217511 w 435050"/>
                <a:gd name="connsiteY2" fmla="*/ 217566 h 435104"/>
                <a:gd name="connsiteX3" fmla="*/ 0 w 435050"/>
                <a:gd name="connsiteY3" fmla="*/ 435077 h 435104"/>
                <a:gd name="connsiteX4" fmla="*/ 217511 w 435050"/>
                <a:gd name="connsiteY4" fmla="*/ 0 h 435104"/>
                <a:gd name="connsiteX5" fmla="*/ 0 w 435050"/>
                <a:gd name="connsiteY5" fmla="*/ 0 h 435104"/>
                <a:gd name="connsiteX6" fmla="*/ 217511 w 435050"/>
                <a:gd name="connsiteY6" fmla="*/ 217539 h 435104"/>
                <a:gd name="connsiteX7" fmla="*/ 217511 w 435050"/>
                <a:gd name="connsiteY7" fmla="*/ 0 h 435104"/>
                <a:gd name="connsiteX8" fmla="*/ 435050 w 435050"/>
                <a:gd name="connsiteY8" fmla="*/ 435105 h 435104"/>
                <a:gd name="connsiteX9" fmla="*/ 217539 w 435050"/>
                <a:gd name="connsiteY9" fmla="*/ 435105 h 435104"/>
                <a:gd name="connsiteX10" fmla="*/ 435050 w 435050"/>
                <a:gd name="connsiteY10" fmla="*/ 217566 h 435104"/>
                <a:gd name="connsiteX11" fmla="*/ 435050 w 435050"/>
                <a:gd name="connsiteY11" fmla="*/ 435105 h 435104"/>
                <a:gd name="connsiteX12" fmla="*/ 435050 w 435050"/>
                <a:gd name="connsiteY12" fmla="*/ 27 h 435104"/>
                <a:gd name="connsiteX13" fmla="*/ 217539 w 435050"/>
                <a:gd name="connsiteY13" fmla="*/ 27 h 435104"/>
                <a:gd name="connsiteX14" fmla="*/ 435050 w 435050"/>
                <a:gd name="connsiteY14" fmla="*/ 217539 h 435104"/>
                <a:gd name="connsiteX15" fmla="*/ 435050 w 435050"/>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50" h="435104">
                  <a:moveTo>
                    <a:pt x="0" y="435077"/>
                  </a:moveTo>
                  <a:lnTo>
                    <a:pt x="217511" y="435077"/>
                  </a:lnTo>
                  <a:lnTo>
                    <a:pt x="217511" y="217566"/>
                  </a:lnTo>
                  <a:lnTo>
                    <a:pt x="0" y="435077"/>
                  </a:lnTo>
                  <a:close/>
                  <a:moveTo>
                    <a:pt x="217511" y="0"/>
                  </a:moveTo>
                  <a:lnTo>
                    <a:pt x="0" y="0"/>
                  </a:lnTo>
                  <a:lnTo>
                    <a:pt x="217511" y="217539"/>
                  </a:lnTo>
                  <a:lnTo>
                    <a:pt x="217511" y="0"/>
                  </a:lnTo>
                  <a:close/>
                  <a:moveTo>
                    <a:pt x="435050" y="435105"/>
                  </a:moveTo>
                  <a:lnTo>
                    <a:pt x="217539" y="435105"/>
                  </a:lnTo>
                  <a:lnTo>
                    <a:pt x="435050" y="217566"/>
                  </a:lnTo>
                  <a:lnTo>
                    <a:pt x="435050" y="435105"/>
                  </a:lnTo>
                  <a:close/>
                  <a:moveTo>
                    <a:pt x="435050" y="27"/>
                  </a:moveTo>
                  <a:lnTo>
                    <a:pt x="217539" y="27"/>
                  </a:lnTo>
                  <a:lnTo>
                    <a:pt x="435050" y="217539"/>
                  </a:lnTo>
                  <a:lnTo>
                    <a:pt x="435050" y="27"/>
                  </a:lnTo>
                  <a:close/>
                </a:path>
              </a:pathLst>
            </a:custGeom>
            <a:grpFill/>
            <a:ln w="27192" cap="flat">
              <a:noFill/>
              <a:prstDash val="solid"/>
              <a:miter/>
            </a:ln>
          </p:spPr>
          <p:txBody>
            <a:bodyPr rtlCol="0" anchor="ctr"/>
            <a:lstStyle/>
            <a:p>
              <a:endParaRPr lang="uk-UA" sz="900"/>
            </a:p>
          </p:txBody>
        </p:sp>
        <p:sp>
          <p:nvSpPr>
            <p:cNvPr id="770" name="Freeform: Shape 769">
              <a:extLst>
                <a:ext uri="{FF2B5EF4-FFF2-40B4-BE49-F238E27FC236}">
                  <a16:creationId xmlns:a16="http://schemas.microsoft.com/office/drawing/2014/main" id="{B337CD03-1479-A170-A740-1405AA59C2C1}"/>
                </a:ext>
              </a:extLst>
            </p:cNvPr>
            <p:cNvSpPr/>
            <p:nvPr/>
          </p:nvSpPr>
          <p:spPr>
            <a:xfrm>
              <a:off x="6926907" y="8930148"/>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27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66 h 435077"/>
                <a:gd name="connsiteX9" fmla="*/ 435077 w 435077"/>
                <a:gd name="connsiteY9" fmla="*/ 217566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27"/>
                  </a:lnTo>
                  <a:lnTo>
                    <a:pt x="435077" y="217539"/>
                  </a:lnTo>
                  <a:lnTo>
                    <a:pt x="435077" y="217539"/>
                  </a:lnTo>
                  <a:lnTo>
                    <a:pt x="435077" y="217539"/>
                  </a:lnTo>
                  <a:lnTo>
                    <a:pt x="435077" y="217566"/>
                  </a:lnTo>
                  <a:lnTo>
                    <a:pt x="435077" y="217566"/>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771" name="Freeform: Shape 770">
              <a:extLst>
                <a:ext uri="{FF2B5EF4-FFF2-40B4-BE49-F238E27FC236}">
                  <a16:creationId xmlns:a16="http://schemas.microsoft.com/office/drawing/2014/main" id="{2B4F322A-8EE5-89F7-6068-36E2C1226F34}"/>
                </a:ext>
              </a:extLst>
            </p:cNvPr>
            <p:cNvSpPr/>
            <p:nvPr/>
          </p:nvSpPr>
          <p:spPr>
            <a:xfrm>
              <a:off x="8667217" y="893014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p>
          </p:txBody>
        </p:sp>
        <p:sp>
          <p:nvSpPr>
            <p:cNvPr id="772" name="Freeform: Shape 771">
              <a:extLst>
                <a:ext uri="{FF2B5EF4-FFF2-40B4-BE49-F238E27FC236}">
                  <a16:creationId xmlns:a16="http://schemas.microsoft.com/office/drawing/2014/main" id="{81E318D3-8645-332A-0E98-DDC6C6AF23CD}"/>
                </a:ext>
              </a:extLst>
            </p:cNvPr>
            <p:cNvSpPr/>
            <p:nvPr/>
          </p:nvSpPr>
          <p:spPr>
            <a:xfrm>
              <a:off x="9537399" y="8930148"/>
              <a:ext cx="435077" cy="435077"/>
            </a:xfrm>
            <a:custGeom>
              <a:avLst/>
              <a:gdLst>
                <a:gd name="connsiteX0" fmla="*/ 371366 w 435077"/>
                <a:gd name="connsiteY0" fmla="*/ 63739 h 435077"/>
                <a:gd name="connsiteX1" fmla="*/ 435077 w 435077"/>
                <a:gd name="connsiteY1" fmla="*/ 217539 h 435077"/>
                <a:gd name="connsiteX2" fmla="*/ 217702 w 435077"/>
                <a:gd name="connsiteY2" fmla="*/ 217539 h 435077"/>
                <a:gd name="connsiteX3" fmla="*/ 371366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1 w 435077"/>
                <a:gd name="connsiteY7" fmla="*/ 281277 h 435077"/>
                <a:gd name="connsiteX8" fmla="*/ 217375 w 435077"/>
                <a:gd name="connsiteY8" fmla="*/ 217539 h 435077"/>
                <a:gd name="connsiteX9" fmla="*/ 0 w 435077"/>
                <a:gd name="connsiteY9" fmla="*/ 217539 h 435077"/>
                <a:gd name="connsiteX10" fmla="*/ 63711 w 435077"/>
                <a:gd name="connsiteY10" fmla="*/ 63739 h 435077"/>
                <a:gd name="connsiteX11" fmla="*/ 217539 w 435077"/>
                <a:gd name="connsiteY11" fmla="*/ 0 h 435077"/>
                <a:gd name="connsiteX12" fmla="*/ 371366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39"/>
                  </a:moveTo>
                  <a:cubicBezTo>
                    <a:pt x="412155" y="104527"/>
                    <a:pt x="435077" y="159864"/>
                    <a:pt x="435077" y="217539"/>
                  </a:cubicBezTo>
                  <a:lnTo>
                    <a:pt x="217702" y="217539"/>
                  </a:lnTo>
                  <a:cubicBezTo>
                    <a:pt x="275322" y="217593"/>
                    <a:pt x="330604" y="240516"/>
                    <a:pt x="371366" y="281277"/>
                  </a:cubicBezTo>
                  <a:cubicBezTo>
                    <a:pt x="412155" y="322066"/>
                    <a:pt x="435077" y="377402"/>
                    <a:pt x="435077" y="435077"/>
                  </a:cubicBezTo>
                  <a:lnTo>
                    <a:pt x="217539" y="435077"/>
                  </a:lnTo>
                  <a:lnTo>
                    <a:pt x="0" y="435077"/>
                  </a:lnTo>
                  <a:cubicBezTo>
                    <a:pt x="0" y="377402"/>
                    <a:pt x="22923" y="322066"/>
                    <a:pt x="63711" y="281277"/>
                  </a:cubicBezTo>
                  <a:cubicBezTo>
                    <a:pt x="104473" y="240516"/>
                    <a:pt x="159728" y="217593"/>
                    <a:pt x="217375" y="217539"/>
                  </a:cubicBezTo>
                  <a:lnTo>
                    <a:pt x="0" y="217539"/>
                  </a:lnTo>
                  <a:cubicBezTo>
                    <a:pt x="0" y="159864"/>
                    <a:pt x="22923" y="104527"/>
                    <a:pt x="63711" y="63739"/>
                  </a:cubicBezTo>
                  <a:cubicBezTo>
                    <a:pt x="104500" y="22923"/>
                    <a:pt x="159836" y="0"/>
                    <a:pt x="217539" y="0"/>
                  </a:cubicBezTo>
                  <a:cubicBezTo>
                    <a:pt x="275214" y="0"/>
                    <a:pt x="330550" y="22923"/>
                    <a:pt x="371366" y="63739"/>
                  </a:cubicBezTo>
                  <a:close/>
                </a:path>
              </a:pathLst>
            </a:custGeom>
            <a:grpFill/>
            <a:ln w="27192" cap="flat">
              <a:noFill/>
              <a:prstDash val="solid"/>
              <a:miter/>
            </a:ln>
          </p:spPr>
          <p:txBody>
            <a:bodyPr rtlCol="0" anchor="ctr"/>
            <a:lstStyle/>
            <a:p>
              <a:endParaRPr lang="uk-UA" sz="900"/>
            </a:p>
          </p:txBody>
        </p:sp>
        <p:sp>
          <p:nvSpPr>
            <p:cNvPr id="773" name="Freeform: Shape 772">
              <a:extLst>
                <a:ext uri="{FF2B5EF4-FFF2-40B4-BE49-F238E27FC236}">
                  <a16:creationId xmlns:a16="http://schemas.microsoft.com/office/drawing/2014/main" id="{DCA6007E-45D5-C480-8B6A-D3C2E91C4792}"/>
                </a:ext>
              </a:extLst>
            </p:cNvPr>
            <p:cNvSpPr/>
            <p:nvPr/>
          </p:nvSpPr>
          <p:spPr>
            <a:xfrm>
              <a:off x="11277709" y="893014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774" name="Freeform: Shape 773">
              <a:extLst>
                <a:ext uri="{FF2B5EF4-FFF2-40B4-BE49-F238E27FC236}">
                  <a16:creationId xmlns:a16="http://schemas.microsoft.com/office/drawing/2014/main" id="{EC19E06C-8FC7-816F-257E-316B76106D64}"/>
                </a:ext>
              </a:extLst>
            </p:cNvPr>
            <p:cNvSpPr/>
            <p:nvPr/>
          </p:nvSpPr>
          <p:spPr>
            <a:xfrm>
              <a:off x="10407554" y="8930148"/>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27 h 435077"/>
                <a:gd name="connsiteX5" fmla="*/ 435050 w 435077"/>
                <a:gd name="connsiteY5" fmla="*/ 217539 h 435077"/>
                <a:gd name="connsiteX6" fmla="*/ 435077 w 435077"/>
                <a:gd name="connsiteY6" fmla="*/ 217539 h 435077"/>
                <a:gd name="connsiteX7" fmla="*/ 435050 w 435077"/>
                <a:gd name="connsiteY7" fmla="*/ 217539 h 435077"/>
                <a:gd name="connsiteX8" fmla="*/ 435077 w 435077"/>
                <a:gd name="connsiteY8" fmla="*/ 217566 h 435077"/>
                <a:gd name="connsiteX9" fmla="*/ 435050 w 435077"/>
                <a:gd name="connsiteY9" fmla="*/ 217566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27"/>
                  </a:lnTo>
                  <a:lnTo>
                    <a:pt x="435050" y="217539"/>
                  </a:lnTo>
                  <a:lnTo>
                    <a:pt x="435077" y="217539"/>
                  </a:lnTo>
                  <a:lnTo>
                    <a:pt x="435050" y="217539"/>
                  </a:lnTo>
                  <a:lnTo>
                    <a:pt x="435077" y="217566"/>
                  </a:lnTo>
                  <a:lnTo>
                    <a:pt x="435050" y="217566"/>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775" name="Freeform: Shape 774">
              <a:extLst>
                <a:ext uri="{FF2B5EF4-FFF2-40B4-BE49-F238E27FC236}">
                  <a16:creationId xmlns:a16="http://schemas.microsoft.com/office/drawing/2014/main" id="{9523743E-8E9B-6006-F0DE-E6DAEA938CBE}"/>
                </a:ext>
              </a:extLst>
            </p:cNvPr>
            <p:cNvSpPr/>
            <p:nvPr/>
          </p:nvSpPr>
          <p:spPr>
            <a:xfrm>
              <a:off x="12147864" y="8930148"/>
              <a:ext cx="435103" cy="435077"/>
            </a:xfrm>
            <a:custGeom>
              <a:avLst/>
              <a:gdLst>
                <a:gd name="connsiteX0" fmla="*/ 217539 w 435103"/>
                <a:gd name="connsiteY0" fmla="*/ 0 h 435077"/>
                <a:gd name="connsiteX1" fmla="*/ 0 w 435103"/>
                <a:gd name="connsiteY1" fmla="*/ 0 h 435077"/>
                <a:gd name="connsiteX2" fmla="*/ 0 w 435103"/>
                <a:gd name="connsiteY2" fmla="*/ 217539 h 435077"/>
                <a:gd name="connsiteX3" fmla="*/ 217539 w 435103"/>
                <a:gd name="connsiteY3" fmla="*/ 0 h 435077"/>
                <a:gd name="connsiteX4" fmla="*/ 435104 w 435103"/>
                <a:gd name="connsiteY4" fmla="*/ 27 h 435077"/>
                <a:gd name="connsiteX5" fmla="*/ 435104 w 435103"/>
                <a:gd name="connsiteY5" fmla="*/ 217566 h 435077"/>
                <a:gd name="connsiteX6" fmla="*/ 217565 w 435103"/>
                <a:gd name="connsiteY6" fmla="*/ 27 h 435077"/>
                <a:gd name="connsiteX7" fmla="*/ 435104 w 435103"/>
                <a:gd name="connsiteY7" fmla="*/ 27 h 435077"/>
                <a:gd name="connsiteX8" fmla="*/ 217565 w 435103"/>
                <a:gd name="connsiteY8" fmla="*/ 435077 h 435077"/>
                <a:gd name="connsiteX9" fmla="*/ 435104 w 435103"/>
                <a:gd name="connsiteY9" fmla="*/ 217566 h 435077"/>
                <a:gd name="connsiteX10" fmla="*/ 435104 w 435103"/>
                <a:gd name="connsiteY10" fmla="*/ 435077 h 435077"/>
                <a:gd name="connsiteX11" fmla="*/ 217565 w 435103"/>
                <a:gd name="connsiteY11" fmla="*/ 435077 h 435077"/>
                <a:gd name="connsiteX12" fmla="*/ 217565 w 435103"/>
                <a:gd name="connsiteY12" fmla="*/ 435077 h 435077"/>
                <a:gd name="connsiteX13" fmla="*/ 27 w 435103"/>
                <a:gd name="connsiteY13" fmla="*/ 217566 h 435077"/>
                <a:gd name="connsiteX14" fmla="*/ 27 w 435103"/>
                <a:gd name="connsiteY14" fmla="*/ 435077 h 435077"/>
                <a:gd name="connsiteX15" fmla="*/ 217565 w 435103"/>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3" h="435077">
                  <a:moveTo>
                    <a:pt x="217539" y="0"/>
                  </a:moveTo>
                  <a:lnTo>
                    <a:pt x="0" y="0"/>
                  </a:lnTo>
                  <a:lnTo>
                    <a:pt x="0" y="217539"/>
                  </a:lnTo>
                  <a:lnTo>
                    <a:pt x="217539" y="0"/>
                  </a:lnTo>
                  <a:close/>
                  <a:moveTo>
                    <a:pt x="435104" y="27"/>
                  </a:moveTo>
                  <a:lnTo>
                    <a:pt x="435104" y="217566"/>
                  </a:lnTo>
                  <a:lnTo>
                    <a:pt x="217565" y="27"/>
                  </a:lnTo>
                  <a:lnTo>
                    <a:pt x="435104" y="27"/>
                  </a:lnTo>
                  <a:close/>
                  <a:moveTo>
                    <a:pt x="217565" y="435077"/>
                  </a:moveTo>
                  <a:lnTo>
                    <a:pt x="435104" y="217566"/>
                  </a:lnTo>
                  <a:lnTo>
                    <a:pt x="435104" y="435077"/>
                  </a:lnTo>
                  <a:lnTo>
                    <a:pt x="217565" y="435077"/>
                  </a:lnTo>
                  <a:close/>
                  <a:moveTo>
                    <a:pt x="217565" y="435077"/>
                  </a:moveTo>
                  <a:lnTo>
                    <a:pt x="27" y="217566"/>
                  </a:lnTo>
                  <a:lnTo>
                    <a:pt x="27" y="435077"/>
                  </a:lnTo>
                  <a:lnTo>
                    <a:pt x="217565" y="435077"/>
                  </a:lnTo>
                  <a:close/>
                </a:path>
              </a:pathLst>
            </a:custGeom>
            <a:grpFill/>
            <a:ln w="27192" cap="flat">
              <a:noFill/>
              <a:prstDash val="solid"/>
              <a:miter/>
            </a:ln>
          </p:spPr>
          <p:txBody>
            <a:bodyPr rtlCol="0" anchor="ctr"/>
            <a:lstStyle/>
            <a:p>
              <a:endParaRPr lang="uk-UA" sz="900"/>
            </a:p>
          </p:txBody>
        </p:sp>
        <p:sp>
          <p:nvSpPr>
            <p:cNvPr id="776" name="Freeform: Shape 775">
              <a:extLst>
                <a:ext uri="{FF2B5EF4-FFF2-40B4-BE49-F238E27FC236}">
                  <a16:creationId xmlns:a16="http://schemas.microsoft.com/office/drawing/2014/main" id="{5DB3E7EC-CBD7-C3A0-571B-289587A556B2}"/>
                </a:ext>
              </a:extLst>
            </p:cNvPr>
            <p:cNvSpPr/>
            <p:nvPr/>
          </p:nvSpPr>
          <p:spPr>
            <a:xfrm>
              <a:off x="13018045" y="8930148"/>
              <a:ext cx="435077" cy="435077"/>
            </a:xfrm>
            <a:custGeom>
              <a:avLst/>
              <a:gdLst>
                <a:gd name="connsiteX0" fmla="*/ 371365 w 435077"/>
                <a:gd name="connsiteY0" fmla="*/ 63739 h 435077"/>
                <a:gd name="connsiteX1" fmla="*/ 435077 w 435077"/>
                <a:gd name="connsiteY1" fmla="*/ 217539 h 435077"/>
                <a:gd name="connsiteX2" fmla="*/ 217701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5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39"/>
                  </a:moveTo>
                  <a:cubicBezTo>
                    <a:pt x="412154" y="104527"/>
                    <a:pt x="435077" y="159864"/>
                    <a:pt x="435077" y="217539"/>
                  </a:cubicBezTo>
                  <a:lnTo>
                    <a:pt x="217701" y="217539"/>
                  </a:lnTo>
                  <a:cubicBezTo>
                    <a:pt x="275349" y="217593"/>
                    <a:pt x="330605" y="240516"/>
                    <a:pt x="371365" y="281277"/>
                  </a:cubicBezTo>
                  <a:cubicBezTo>
                    <a:pt x="412154" y="322066"/>
                    <a:pt x="435077" y="377402"/>
                    <a:pt x="435077" y="435077"/>
                  </a:cubicBezTo>
                  <a:lnTo>
                    <a:pt x="217539" y="435077"/>
                  </a:lnTo>
                  <a:lnTo>
                    <a:pt x="0" y="435077"/>
                  </a:lnTo>
                  <a:cubicBezTo>
                    <a:pt x="0" y="377402"/>
                    <a:pt x="22924" y="322066"/>
                    <a:pt x="63712" y="281277"/>
                  </a:cubicBezTo>
                  <a:cubicBezTo>
                    <a:pt x="104472" y="240516"/>
                    <a:pt x="159728" y="217593"/>
                    <a:pt x="217376" y="217539"/>
                  </a:cubicBezTo>
                  <a:lnTo>
                    <a:pt x="0" y="217539"/>
                  </a:lnTo>
                  <a:cubicBezTo>
                    <a:pt x="0" y="159864"/>
                    <a:pt x="22924" y="104527"/>
                    <a:pt x="63712" y="63739"/>
                  </a:cubicBezTo>
                  <a:cubicBezTo>
                    <a:pt x="104501" y="22923"/>
                    <a:pt x="159836" y="0"/>
                    <a:pt x="217539" y="0"/>
                  </a:cubicBezTo>
                  <a:cubicBezTo>
                    <a:pt x="275241" y="0"/>
                    <a:pt x="330550" y="22923"/>
                    <a:pt x="371365" y="63739"/>
                  </a:cubicBezTo>
                  <a:close/>
                </a:path>
              </a:pathLst>
            </a:custGeom>
            <a:grpFill/>
            <a:ln w="27192" cap="flat">
              <a:noFill/>
              <a:prstDash val="solid"/>
              <a:miter/>
            </a:ln>
          </p:spPr>
          <p:txBody>
            <a:bodyPr rtlCol="0" anchor="ctr"/>
            <a:lstStyle/>
            <a:p>
              <a:endParaRPr lang="uk-UA" sz="900"/>
            </a:p>
          </p:txBody>
        </p:sp>
        <p:sp>
          <p:nvSpPr>
            <p:cNvPr id="777" name="Freeform: Shape 776">
              <a:extLst>
                <a:ext uri="{FF2B5EF4-FFF2-40B4-BE49-F238E27FC236}">
                  <a16:creationId xmlns:a16="http://schemas.microsoft.com/office/drawing/2014/main" id="{D5D8E5FC-B6B7-0A86-5AD7-E9059A769493}"/>
                </a:ext>
              </a:extLst>
            </p:cNvPr>
            <p:cNvSpPr/>
            <p:nvPr/>
          </p:nvSpPr>
          <p:spPr>
            <a:xfrm>
              <a:off x="14758382" y="893014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778" name="Freeform: Shape 777">
              <a:extLst>
                <a:ext uri="{FF2B5EF4-FFF2-40B4-BE49-F238E27FC236}">
                  <a16:creationId xmlns:a16="http://schemas.microsoft.com/office/drawing/2014/main" id="{AE070B4A-A5B7-DB4F-85FA-B7E02940C0B9}"/>
                </a:ext>
              </a:extLst>
            </p:cNvPr>
            <p:cNvSpPr/>
            <p:nvPr/>
          </p:nvSpPr>
          <p:spPr>
            <a:xfrm>
              <a:off x="13888174" y="893014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779" name="Freeform: Shape 778">
              <a:extLst>
                <a:ext uri="{FF2B5EF4-FFF2-40B4-BE49-F238E27FC236}">
                  <a16:creationId xmlns:a16="http://schemas.microsoft.com/office/drawing/2014/main" id="{92977C30-D761-FA1B-6690-E9FAA5334D51}"/>
                </a:ext>
              </a:extLst>
            </p:cNvPr>
            <p:cNvSpPr/>
            <p:nvPr/>
          </p:nvSpPr>
          <p:spPr>
            <a:xfrm>
              <a:off x="15628536" y="8930148"/>
              <a:ext cx="435077" cy="435077"/>
            </a:xfrm>
            <a:custGeom>
              <a:avLst/>
              <a:gdLst>
                <a:gd name="connsiteX0" fmla="*/ 217567 w 435077"/>
                <a:gd name="connsiteY0" fmla="*/ 0 h 435077"/>
                <a:gd name="connsiteX1" fmla="*/ 217539 w 435077"/>
                <a:gd name="connsiteY1" fmla="*/ 0 h 435077"/>
                <a:gd name="connsiteX2" fmla="*/ 28 w 435077"/>
                <a:gd name="connsiteY2" fmla="*/ 0 h 435077"/>
                <a:gd name="connsiteX3" fmla="*/ 28 w 435077"/>
                <a:gd name="connsiteY3" fmla="*/ 217539 h 435077"/>
                <a:gd name="connsiteX4" fmla="*/ 217567 w 435077"/>
                <a:gd name="connsiteY4" fmla="*/ 27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67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67" y="0"/>
                  </a:moveTo>
                  <a:lnTo>
                    <a:pt x="217539" y="0"/>
                  </a:lnTo>
                  <a:lnTo>
                    <a:pt x="28" y="0"/>
                  </a:lnTo>
                  <a:lnTo>
                    <a:pt x="28" y="217539"/>
                  </a:lnTo>
                  <a:lnTo>
                    <a:pt x="217567" y="27"/>
                  </a:lnTo>
                  <a:lnTo>
                    <a:pt x="435077" y="217539"/>
                  </a:lnTo>
                  <a:lnTo>
                    <a:pt x="217539" y="435077"/>
                  </a:lnTo>
                  <a:lnTo>
                    <a:pt x="0" y="217539"/>
                  </a:lnTo>
                  <a:lnTo>
                    <a:pt x="0" y="435077"/>
                  </a:lnTo>
                  <a:lnTo>
                    <a:pt x="217539" y="435077"/>
                  </a:lnTo>
                  <a:lnTo>
                    <a:pt x="435077" y="435077"/>
                  </a:lnTo>
                  <a:lnTo>
                    <a:pt x="435077" y="217539"/>
                  </a:lnTo>
                  <a:lnTo>
                    <a:pt x="435077" y="0"/>
                  </a:lnTo>
                  <a:lnTo>
                    <a:pt x="217567" y="0"/>
                  </a:lnTo>
                  <a:close/>
                </a:path>
              </a:pathLst>
            </a:custGeom>
            <a:grpFill/>
            <a:ln w="27192" cap="flat">
              <a:noFill/>
              <a:prstDash val="solid"/>
              <a:miter/>
            </a:ln>
          </p:spPr>
          <p:txBody>
            <a:bodyPr rtlCol="0" anchor="ctr"/>
            <a:lstStyle/>
            <a:p>
              <a:endParaRPr lang="uk-UA" sz="900"/>
            </a:p>
          </p:txBody>
        </p:sp>
        <p:sp>
          <p:nvSpPr>
            <p:cNvPr id="780" name="Freeform: Shape 779">
              <a:extLst>
                <a:ext uri="{FF2B5EF4-FFF2-40B4-BE49-F238E27FC236}">
                  <a16:creationId xmlns:a16="http://schemas.microsoft.com/office/drawing/2014/main" id="{5B51EED3-8BB0-505C-661B-7A32A0B68DD3}"/>
                </a:ext>
              </a:extLst>
            </p:cNvPr>
            <p:cNvSpPr/>
            <p:nvPr/>
          </p:nvSpPr>
          <p:spPr>
            <a:xfrm>
              <a:off x="16498719" y="8930148"/>
              <a:ext cx="435077" cy="435077"/>
            </a:xfrm>
            <a:custGeom>
              <a:avLst/>
              <a:gdLst>
                <a:gd name="connsiteX0" fmla="*/ 371339 w 435077"/>
                <a:gd name="connsiteY0" fmla="*/ 63739 h 435077"/>
                <a:gd name="connsiteX1" fmla="*/ 435077 w 435077"/>
                <a:gd name="connsiteY1" fmla="*/ 217539 h 435077"/>
                <a:gd name="connsiteX2" fmla="*/ 217701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0 w 435077"/>
                <a:gd name="connsiteY7" fmla="*/ 281277 h 435077"/>
                <a:gd name="connsiteX8" fmla="*/ 217374 w 435077"/>
                <a:gd name="connsiteY8" fmla="*/ 217539 h 435077"/>
                <a:gd name="connsiteX9" fmla="*/ 0 w 435077"/>
                <a:gd name="connsiteY9" fmla="*/ 217539 h 435077"/>
                <a:gd name="connsiteX10" fmla="*/ 63710 w 435077"/>
                <a:gd name="connsiteY10" fmla="*/ 63739 h 435077"/>
                <a:gd name="connsiteX11" fmla="*/ 217539 w 435077"/>
                <a:gd name="connsiteY11" fmla="*/ 0 h 435077"/>
                <a:gd name="connsiteX12" fmla="*/ 371339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39"/>
                  </a:moveTo>
                  <a:cubicBezTo>
                    <a:pt x="412154" y="104527"/>
                    <a:pt x="435077" y="159864"/>
                    <a:pt x="435077" y="217539"/>
                  </a:cubicBezTo>
                  <a:lnTo>
                    <a:pt x="217701" y="217539"/>
                  </a:lnTo>
                  <a:cubicBezTo>
                    <a:pt x="275322" y="217593"/>
                    <a:pt x="330603" y="240516"/>
                    <a:pt x="371365" y="281277"/>
                  </a:cubicBezTo>
                  <a:cubicBezTo>
                    <a:pt x="412154" y="322066"/>
                    <a:pt x="435077" y="377402"/>
                    <a:pt x="435077" y="435077"/>
                  </a:cubicBezTo>
                  <a:lnTo>
                    <a:pt x="217539" y="435077"/>
                  </a:lnTo>
                  <a:lnTo>
                    <a:pt x="0" y="435077"/>
                  </a:lnTo>
                  <a:cubicBezTo>
                    <a:pt x="0" y="377402"/>
                    <a:pt x="22922" y="322066"/>
                    <a:pt x="63710" y="281277"/>
                  </a:cubicBezTo>
                  <a:cubicBezTo>
                    <a:pt x="104472" y="240516"/>
                    <a:pt x="159727" y="217593"/>
                    <a:pt x="217374" y="217539"/>
                  </a:cubicBezTo>
                  <a:lnTo>
                    <a:pt x="0" y="217539"/>
                  </a:lnTo>
                  <a:cubicBezTo>
                    <a:pt x="0" y="159864"/>
                    <a:pt x="22895" y="104527"/>
                    <a:pt x="63710" y="63739"/>
                  </a:cubicBezTo>
                  <a:cubicBezTo>
                    <a:pt x="104499" y="22923"/>
                    <a:pt x="159836" y="0"/>
                    <a:pt x="217539" y="0"/>
                  </a:cubicBezTo>
                  <a:cubicBezTo>
                    <a:pt x="275213" y="0"/>
                    <a:pt x="330550" y="22923"/>
                    <a:pt x="371339" y="63739"/>
                  </a:cubicBezTo>
                  <a:close/>
                </a:path>
              </a:pathLst>
            </a:custGeom>
            <a:grpFill/>
            <a:ln w="27192" cap="flat">
              <a:noFill/>
              <a:prstDash val="solid"/>
              <a:miter/>
            </a:ln>
          </p:spPr>
          <p:txBody>
            <a:bodyPr rtlCol="0" anchor="ctr"/>
            <a:lstStyle/>
            <a:p>
              <a:endParaRPr lang="uk-UA" sz="900"/>
            </a:p>
          </p:txBody>
        </p:sp>
        <p:sp>
          <p:nvSpPr>
            <p:cNvPr id="781" name="Freeform: Shape 780">
              <a:extLst>
                <a:ext uri="{FF2B5EF4-FFF2-40B4-BE49-F238E27FC236}">
                  <a16:creationId xmlns:a16="http://schemas.microsoft.com/office/drawing/2014/main" id="{D8B6C944-2612-7140-3623-A963294AF080}"/>
                </a:ext>
              </a:extLst>
            </p:cNvPr>
            <p:cNvSpPr/>
            <p:nvPr/>
          </p:nvSpPr>
          <p:spPr>
            <a:xfrm>
              <a:off x="18239029" y="893014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782" name="Freeform: Shape 781">
              <a:extLst>
                <a:ext uri="{FF2B5EF4-FFF2-40B4-BE49-F238E27FC236}">
                  <a16:creationId xmlns:a16="http://schemas.microsoft.com/office/drawing/2014/main" id="{EBDA66AF-555D-5282-69C0-A6834E23DBFC}"/>
                </a:ext>
              </a:extLst>
            </p:cNvPr>
            <p:cNvSpPr/>
            <p:nvPr/>
          </p:nvSpPr>
          <p:spPr>
            <a:xfrm>
              <a:off x="17368874" y="893014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783" name="Freeform: Shape 782">
              <a:extLst>
                <a:ext uri="{FF2B5EF4-FFF2-40B4-BE49-F238E27FC236}">
                  <a16:creationId xmlns:a16="http://schemas.microsoft.com/office/drawing/2014/main" id="{07B1B41B-83C0-791D-CAD0-38420D421259}"/>
                </a:ext>
              </a:extLst>
            </p:cNvPr>
            <p:cNvSpPr/>
            <p:nvPr/>
          </p:nvSpPr>
          <p:spPr>
            <a:xfrm>
              <a:off x="19109210" y="893014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27 h 435077"/>
                <a:gd name="connsiteX5" fmla="*/ 435077 w 435077"/>
                <a:gd name="connsiteY5" fmla="*/ 217566 h 435077"/>
                <a:gd name="connsiteX6" fmla="*/ 217539 w 435077"/>
                <a:gd name="connsiteY6" fmla="*/ 27 h 435077"/>
                <a:gd name="connsiteX7" fmla="*/ 435077 w 435077"/>
                <a:gd name="connsiteY7" fmla="*/ 27 h 435077"/>
                <a:gd name="connsiteX8" fmla="*/ 217539 w 435077"/>
                <a:gd name="connsiteY8" fmla="*/ 435077 h 435077"/>
                <a:gd name="connsiteX9" fmla="*/ 435077 w 435077"/>
                <a:gd name="connsiteY9" fmla="*/ 217566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66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27"/>
                  </a:moveTo>
                  <a:lnTo>
                    <a:pt x="435077" y="217566"/>
                  </a:lnTo>
                  <a:lnTo>
                    <a:pt x="217539" y="27"/>
                  </a:lnTo>
                  <a:lnTo>
                    <a:pt x="435077" y="27"/>
                  </a:lnTo>
                  <a:close/>
                  <a:moveTo>
                    <a:pt x="217539" y="435077"/>
                  </a:moveTo>
                  <a:lnTo>
                    <a:pt x="435077" y="217566"/>
                  </a:lnTo>
                  <a:lnTo>
                    <a:pt x="435077" y="435077"/>
                  </a:lnTo>
                  <a:lnTo>
                    <a:pt x="217539" y="435077"/>
                  </a:lnTo>
                  <a:close/>
                  <a:moveTo>
                    <a:pt x="217539" y="435077"/>
                  </a:moveTo>
                  <a:lnTo>
                    <a:pt x="0" y="217566"/>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784" name="Freeform: Shape 783">
              <a:extLst>
                <a:ext uri="{FF2B5EF4-FFF2-40B4-BE49-F238E27FC236}">
                  <a16:creationId xmlns:a16="http://schemas.microsoft.com/office/drawing/2014/main" id="{CA2CD47F-FFFB-2F62-3C45-D41DC8F0166E}"/>
                </a:ext>
              </a:extLst>
            </p:cNvPr>
            <p:cNvSpPr/>
            <p:nvPr/>
          </p:nvSpPr>
          <p:spPr>
            <a:xfrm>
              <a:off x="19979365" y="8930148"/>
              <a:ext cx="435077" cy="435077"/>
            </a:xfrm>
            <a:custGeom>
              <a:avLst/>
              <a:gdLst>
                <a:gd name="connsiteX0" fmla="*/ 371365 w 435077"/>
                <a:gd name="connsiteY0" fmla="*/ 63739 h 435077"/>
                <a:gd name="connsiteX1" fmla="*/ 435077 w 435077"/>
                <a:gd name="connsiteY1" fmla="*/ 217539 h 435077"/>
                <a:gd name="connsiteX2" fmla="*/ 217701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5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39"/>
                  </a:moveTo>
                  <a:cubicBezTo>
                    <a:pt x="412154" y="104527"/>
                    <a:pt x="435077" y="159864"/>
                    <a:pt x="435077" y="217539"/>
                  </a:cubicBezTo>
                  <a:lnTo>
                    <a:pt x="217701" y="217539"/>
                  </a:lnTo>
                  <a:cubicBezTo>
                    <a:pt x="275349" y="217593"/>
                    <a:pt x="330605" y="240516"/>
                    <a:pt x="371365" y="281277"/>
                  </a:cubicBezTo>
                  <a:cubicBezTo>
                    <a:pt x="412154" y="322066"/>
                    <a:pt x="435077" y="377402"/>
                    <a:pt x="435077" y="435077"/>
                  </a:cubicBezTo>
                  <a:lnTo>
                    <a:pt x="217539" y="435077"/>
                  </a:lnTo>
                  <a:lnTo>
                    <a:pt x="0" y="435077"/>
                  </a:lnTo>
                  <a:cubicBezTo>
                    <a:pt x="0" y="377402"/>
                    <a:pt x="22924" y="322066"/>
                    <a:pt x="63712" y="281277"/>
                  </a:cubicBezTo>
                  <a:cubicBezTo>
                    <a:pt x="104472" y="240516"/>
                    <a:pt x="159728" y="217593"/>
                    <a:pt x="217376" y="217539"/>
                  </a:cubicBezTo>
                  <a:lnTo>
                    <a:pt x="0" y="217539"/>
                  </a:lnTo>
                  <a:cubicBezTo>
                    <a:pt x="0" y="159864"/>
                    <a:pt x="22924" y="104527"/>
                    <a:pt x="63712" y="63739"/>
                  </a:cubicBezTo>
                  <a:cubicBezTo>
                    <a:pt x="104501" y="22923"/>
                    <a:pt x="159836" y="0"/>
                    <a:pt x="217539" y="0"/>
                  </a:cubicBezTo>
                  <a:cubicBezTo>
                    <a:pt x="275241" y="0"/>
                    <a:pt x="330550" y="22923"/>
                    <a:pt x="371365" y="63739"/>
                  </a:cubicBezTo>
                  <a:close/>
                </a:path>
              </a:pathLst>
            </a:custGeom>
            <a:grpFill/>
            <a:ln w="27192" cap="flat">
              <a:noFill/>
              <a:prstDash val="solid"/>
              <a:miter/>
            </a:ln>
          </p:spPr>
          <p:txBody>
            <a:bodyPr rtlCol="0" anchor="ctr"/>
            <a:lstStyle/>
            <a:p>
              <a:endParaRPr lang="uk-UA" sz="900"/>
            </a:p>
          </p:txBody>
        </p:sp>
        <p:sp>
          <p:nvSpPr>
            <p:cNvPr id="785" name="Freeform: Shape 784">
              <a:extLst>
                <a:ext uri="{FF2B5EF4-FFF2-40B4-BE49-F238E27FC236}">
                  <a16:creationId xmlns:a16="http://schemas.microsoft.com/office/drawing/2014/main" id="{93AA9376-FF63-B3D5-950E-C95FA4DE6993}"/>
                </a:ext>
              </a:extLst>
            </p:cNvPr>
            <p:cNvSpPr/>
            <p:nvPr/>
          </p:nvSpPr>
          <p:spPr>
            <a:xfrm>
              <a:off x="21719702" y="8930148"/>
              <a:ext cx="435077" cy="435104"/>
            </a:xfrm>
            <a:custGeom>
              <a:avLst/>
              <a:gdLst>
                <a:gd name="connsiteX0" fmla="*/ 0 w 435077"/>
                <a:gd name="connsiteY0" fmla="*/ 435077 h 435104"/>
                <a:gd name="connsiteX1" fmla="*/ 217512 w 435077"/>
                <a:gd name="connsiteY1" fmla="*/ 435077 h 435104"/>
                <a:gd name="connsiteX2" fmla="*/ 217512 w 435077"/>
                <a:gd name="connsiteY2" fmla="*/ 217566 h 435104"/>
                <a:gd name="connsiteX3" fmla="*/ 0 w 435077"/>
                <a:gd name="connsiteY3" fmla="*/ 435077 h 435104"/>
                <a:gd name="connsiteX4" fmla="*/ 217512 w 435077"/>
                <a:gd name="connsiteY4" fmla="*/ 0 h 435104"/>
                <a:gd name="connsiteX5" fmla="*/ 0 w 435077"/>
                <a:gd name="connsiteY5" fmla="*/ 0 h 435104"/>
                <a:gd name="connsiteX6" fmla="*/ 217512 w 435077"/>
                <a:gd name="connsiteY6" fmla="*/ 217539 h 435104"/>
                <a:gd name="connsiteX7" fmla="*/ 217512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12" y="435077"/>
                  </a:lnTo>
                  <a:lnTo>
                    <a:pt x="217512" y="217566"/>
                  </a:lnTo>
                  <a:lnTo>
                    <a:pt x="0" y="435077"/>
                  </a:lnTo>
                  <a:close/>
                  <a:moveTo>
                    <a:pt x="217512" y="0"/>
                  </a:moveTo>
                  <a:lnTo>
                    <a:pt x="0" y="0"/>
                  </a:lnTo>
                  <a:lnTo>
                    <a:pt x="217512" y="217539"/>
                  </a:lnTo>
                  <a:lnTo>
                    <a:pt x="217512"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786" name="Freeform: Shape 785">
              <a:extLst>
                <a:ext uri="{FF2B5EF4-FFF2-40B4-BE49-F238E27FC236}">
                  <a16:creationId xmlns:a16="http://schemas.microsoft.com/office/drawing/2014/main" id="{8F614B3A-C015-DFB6-285B-898E46CA3F25}"/>
                </a:ext>
              </a:extLst>
            </p:cNvPr>
            <p:cNvSpPr/>
            <p:nvPr/>
          </p:nvSpPr>
          <p:spPr>
            <a:xfrm>
              <a:off x="20849520" y="893014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787" name="Freeform: Shape 786">
              <a:extLst>
                <a:ext uri="{FF2B5EF4-FFF2-40B4-BE49-F238E27FC236}">
                  <a16:creationId xmlns:a16="http://schemas.microsoft.com/office/drawing/2014/main" id="{BD81D957-799E-17A9-ED2C-2A77D4E62BD8}"/>
                </a:ext>
              </a:extLst>
            </p:cNvPr>
            <p:cNvSpPr/>
            <p:nvPr/>
          </p:nvSpPr>
          <p:spPr>
            <a:xfrm>
              <a:off x="22589856" y="893014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27 h 435077"/>
                <a:gd name="connsiteX5" fmla="*/ 435077 w 435077"/>
                <a:gd name="connsiteY5" fmla="*/ 217566 h 435077"/>
                <a:gd name="connsiteX6" fmla="*/ 217539 w 435077"/>
                <a:gd name="connsiteY6" fmla="*/ 27 h 435077"/>
                <a:gd name="connsiteX7" fmla="*/ 435077 w 435077"/>
                <a:gd name="connsiteY7" fmla="*/ 27 h 435077"/>
                <a:gd name="connsiteX8" fmla="*/ 217539 w 435077"/>
                <a:gd name="connsiteY8" fmla="*/ 435077 h 435077"/>
                <a:gd name="connsiteX9" fmla="*/ 435077 w 435077"/>
                <a:gd name="connsiteY9" fmla="*/ 217566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66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27"/>
                  </a:moveTo>
                  <a:lnTo>
                    <a:pt x="435077" y="217566"/>
                  </a:lnTo>
                  <a:lnTo>
                    <a:pt x="217539" y="27"/>
                  </a:lnTo>
                  <a:lnTo>
                    <a:pt x="435077" y="27"/>
                  </a:lnTo>
                  <a:close/>
                  <a:moveTo>
                    <a:pt x="217539" y="435077"/>
                  </a:moveTo>
                  <a:lnTo>
                    <a:pt x="435077" y="217566"/>
                  </a:lnTo>
                  <a:lnTo>
                    <a:pt x="435077" y="435077"/>
                  </a:lnTo>
                  <a:lnTo>
                    <a:pt x="217539" y="435077"/>
                  </a:lnTo>
                  <a:close/>
                  <a:moveTo>
                    <a:pt x="217539" y="435077"/>
                  </a:moveTo>
                  <a:lnTo>
                    <a:pt x="0" y="217566"/>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788" name="Freeform: Shape 787">
              <a:extLst>
                <a:ext uri="{FF2B5EF4-FFF2-40B4-BE49-F238E27FC236}">
                  <a16:creationId xmlns:a16="http://schemas.microsoft.com/office/drawing/2014/main" id="{2740DEBB-A0A8-F750-427B-B02AB69826E4}"/>
                </a:ext>
              </a:extLst>
            </p:cNvPr>
            <p:cNvSpPr/>
            <p:nvPr/>
          </p:nvSpPr>
          <p:spPr>
            <a:xfrm>
              <a:off x="23460039" y="8930148"/>
              <a:ext cx="435077" cy="435077"/>
            </a:xfrm>
            <a:custGeom>
              <a:avLst/>
              <a:gdLst>
                <a:gd name="connsiteX0" fmla="*/ 371339 w 435077"/>
                <a:gd name="connsiteY0" fmla="*/ 63739 h 435077"/>
                <a:gd name="connsiteX1" fmla="*/ 435077 w 435077"/>
                <a:gd name="connsiteY1" fmla="*/ 217539 h 435077"/>
                <a:gd name="connsiteX2" fmla="*/ 217701 w 435077"/>
                <a:gd name="connsiteY2" fmla="*/ 217539 h 435077"/>
                <a:gd name="connsiteX3" fmla="*/ 371339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48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39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39"/>
                  </a:moveTo>
                  <a:cubicBezTo>
                    <a:pt x="412154" y="104527"/>
                    <a:pt x="435077" y="159864"/>
                    <a:pt x="435077" y="217539"/>
                  </a:cubicBezTo>
                  <a:lnTo>
                    <a:pt x="217701" y="217539"/>
                  </a:lnTo>
                  <a:cubicBezTo>
                    <a:pt x="275322" y="217593"/>
                    <a:pt x="330605" y="240516"/>
                    <a:pt x="371339" y="281277"/>
                  </a:cubicBezTo>
                  <a:cubicBezTo>
                    <a:pt x="412154" y="322066"/>
                    <a:pt x="435077" y="377402"/>
                    <a:pt x="435077" y="435077"/>
                  </a:cubicBezTo>
                  <a:lnTo>
                    <a:pt x="217539" y="435077"/>
                  </a:lnTo>
                  <a:lnTo>
                    <a:pt x="0" y="435077"/>
                  </a:lnTo>
                  <a:cubicBezTo>
                    <a:pt x="0" y="377402"/>
                    <a:pt x="22895" y="322066"/>
                    <a:pt x="63712" y="281277"/>
                  </a:cubicBezTo>
                  <a:cubicBezTo>
                    <a:pt x="104472" y="240516"/>
                    <a:pt x="159727" y="217593"/>
                    <a:pt x="217348" y="217539"/>
                  </a:cubicBezTo>
                  <a:lnTo>
                    <a:pt x="0" y="217539"/>
                  </a:lnTo>
                  <a:cubicBezTo>
                    <a:pt x="0" y="159864"/>
                    <a:pt x="22895" y="104527"/>
                    <a:pt x="63712" y="63739"/>
                  </a:cubicBezTo>
                  <a:cubicBezTo>
                    <a:pt x="104501" y="22923"/>
                    <a:pt x="159836" y="0"/>
                    <a:pt x="217539" y="0"/>
                  </a:cubicBezTo>
                  <a:cubicBezTo>
                    <a:pt x="275213" y="0"/>
                    <a:pt x="330550" y="22923"/>
                    <a:pt x="371339" y="63739"/>
                  </a:cubicBezTo>
                  <a:close/>
                </a:path>
              </a:pathLst>
            </a:custGeom>
            <a:grpFill/>
            <a:ln w="27192" cap="flat">
              <a:noFill/>
              <a:prstDash val="solid"/>
              <a:miter/>
            </a:ln>
          </p:spPr>
          <p:txBody>
            <a:bodyPr rtlCol="0" anchor="ctr"/>
            <a:lstStyle/>
            <a:p>
              <a:endParaRPr lang="uk-UA" sz="900"/>
            </a:p>
          </p:txBody>
        </p:sp>
        <p:sp>
          <p:nvSpPr>
            <p:cNvPr id="789" name="Freeform: Shape 788">
              <a:extLst>
                <a:ext uri="{FF2B5EF4-FFF2-40B4-BE49-F238E27FC236}">
                  <a16:creationId xmlns:a16="http://schemas.microsoft.com/office/drawing/2014/main" id="{8292D2C3-5BC2-E7C1-EE3A-9803026FEBFF}"/>
                </a:ext>
              </a:extLst>
            </p:cNvPr>
            <p:cNvSpPr/>
            <p:nvPr/>
          </p:nvSpPr>
          <p:spPr>
            <a:xfrm>
              <a:off x="24330194" y="893014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790" name="Freeform: Shape 789">
              <a:extLst>
                <a:ext uri="{FF2B5EF4-FFF2-40B4-BE49-F238E27FC236}">
                  <a16:creationId xmlns:a16="http://schemas.microsoft.com/office/drawing/2014/main" id="{5EC22BBD-CAAA-34CD-9A92-41E2AFEFABA1}"/>
                </a:ext>
              </a:extLst>
            </p:cNvPr>
            <p:cNvSpPr/>
            <p:nvPr/>
          </p:nvSpPr>
          <p:spPr>
            <a:xfrm>
              <a:off x="835769" y="9800303"/>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791" name="Freeform: Shape 790">
              <a:extLst>
                <a:ext uri="{FF2B5EF4-FFF2-40B4-BE49-F238E27FC236}">
                  <a16:creationId xmlns:a16="http://schemas.microsoft.com/office/drawing/2014/main" id="{8988E27F-E847-9F2A-846D-98495EF9B7E6}"/>
                </a:ext>
              </a:extLst>
            </p:cNvPr>
            <p:cNvSpPr/>
            <p:nvPr/>
          </p:nvSpPr>
          <p:spPr>
            <a:xfrm>
              <a:off x="-34398" y="9800303"/>
              <a:ext cx="435063" cy="435077"/>
            </a:xfrm>
            <a:custGeom>
              <a:avLst/>
              <a:gdLst>
                <a:gd name="connsiteX0" fmla="*/ 435064 w 435063"/>
                <a:gd name="connsiteY0" fmla="*/ 435077 h 435077"/>
                <a:gd name="connsiteX1" fmla="*/ 435064 w 435063"/>
                <a:gd name="connsiteY1" fmla="*/ 217566 h 435077"/>
                <a:gd name="connsiteX2" fmla="*/ 435064 w 435063"/>
                <a:gd name="connsiteY2" fmla="*/ 27 h 435077"/>
                <a:gd name="connsiteX3" fmla="*/ 217552 w 435063"/>
                <a:gd name="connsiteY3" fmla="*/ 27 h 435077"/>
                <a:gd name="connsiteX4" fmla="*/ 435064 w 435063"/>
                <a:gd name="connsiteY4" fmla="*/ 217566 h 435077"/>
                <a:gd name="connsiteX5" fmla="*/ 217552 w 435063"/>
                <a:gd name="connsiteY5" fmla="*/ 435077 h 435077"/>
                <a:gd name="connsiteX6" fmla="*/ 435064 w 435063"/>
                <a:gd name="connsiteY6" fmla="*/ 435077 h 435077"/>
                <a:gd name="connsiteX7" fmla="*/ 0 w 435063"/>
                <a:gd name="connsiteY7" fmla="*/ 217539 h 435077"/>
                <a:gd name="connsiteX8" fmla="*/ 0 w 435063"/>
                <a:gd name="connsiteY8" fmla="*/ 0 h 435077"/>
                <a:gd name="connsiteX9" fmla="*/ 217525 w 435063"/>
                <a:gd name="connsiteY9" fmla="*/ 217539 h 435077"/>
                <a:gd name="connsiteX10" fmla="*/ 0 w 435063"/>
                <a:gd name="connsiteY10" fmla="*/ 217539 h 435077"/>
                <a:gd name="connsiteX11" fmla="*/ 0 w 435063"/>
                <a:gd name="connsiteY11" fmla="*/ 435077 h 435077"/>
                <a:gd name="connsiteX12" fmla="*/ 0 w 435063"/>
                <a:gd name="connsiteY12" fmla="*/ 217566 h 435077"/>
                <a:gd name="connsiteX13" fmla="*/ 217525 w 435063"/>
                <a:gd name="connsiteY13" fmla="*/ 217566 h 435077"/>
                <a:gd name="connsiteX14" fmla="*/ 0 w 435063"/>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63" h="435077">
                  <a:moveTo>
                    <a:pt x="435064" y="435077"/>
                  </a:moveTo>
                  <a:lnTo>
                    <a:pt x="435064" y="217566"/>
                  </a:lnTo>
                  <a:lnTo>
                    <a:pt x="435064" y="27"/>
                  </a:lnTo>
                  <a:lnTo>
                    <a:pt x="217552" y="27"/>
                  </a:lnTo>
                  <a:lnTo>
                    <a:pt x="435064" y="217566"/>
                  </a:lnTo>
                  <a:lnTo>
                    <a:pt x="217552" y="435077"/>
                  </a:lnTo>
                  <a:lnTo>
                    <a:pt x="435064" y="435077"/>
                  </a:lnTo>
                  <a:close/>
                  <a:moveTo>
                    <a:pt x="0" y="217539"/>
                  </a:moveTo>
                  <a:lnTo>
                    <a:pt x="0" y="0"/>
                  </a:lnTo>
                  <a:lnTo>
                    <a:pt x="217525" y="217539"/>
                  </a:lnTo>
                  <a:lnTo>
                    <a:pt x="0" y="217539"/>
                  </a:lnTo>
                  <a:close/>
                  <a:moveTo>
                    <a:pt x="0" y="435077"/>
                  </a:moveTo>
                  <a:lnTo>
                    <a:pt x="0" y="217566"/>
                  </a:lnTo>
                  <a:lnTo>
                    <a:pt x="217525" y="217566"/>
                  </a:lnTo>
                  <a:lnTo>
                    <a:pt x="0" y="435077"/>
                  </a:lnTo>
                  <a:close/>
                </a:path>
              </a:pathLst>
            </a:custGeom>
            <a:grpFill/>
            <a:ln w="27192" cap="flat">
              <a:noFill/>
              <a:prstDash val="solid"/>
              <a:miter/>
            </a:ln>
          </p:spPr>
          <p:txBody>
            <a:bodyPr rtlCol="0" anchor="ctr"/>
            <a:lstStyle/>
            <a:p>
              <a:endParaRPr lang="uk-UA" sz="900"/>
            </a:p>
          </p:txBody>
        </p:sp>
        <p:sp>
          <p:nvSpPr>
            <p:cNvPr id="792" name="Freeform: Shape 791">
              <a:extLst>
                <a:ext uri="{FF2B5EF4-FFF2-40B4-BE49-F238E27FC236}">
                  <a16:creationId xmlns:a16="http://schemas.microsoft.com/office/drawing/2014/main" id="{7A83DAEB-19AA-A8EF-DFEB-DE242874F121}"/>
                </a:ext>
              </a:extLst>
            </p:cNvPr>
            <p:cNvSpPr/>
            <p:nvPr/>
          </p:nvSpPr>
          <p:spPr>
            <a:xfrm>
              <a:off x="1705924" y="9800330"/>
              <a:ext cx="435077" cy="435050"/>
            </a:xfrm>
            <a:custGeom>
              <a:avLst/>
              <a:gdLst>
                <a:gd name="connsiteX0" fmla="*/ 435077 w 435077"/>
                <a:gd name="connsiteY0" fmla="*/ 435050 h 435050"/>
                <a:gd name="connsiteX1" fmla="*/ 435077 w 435077"/>
                <a:gd name="connsiteY1" fmla="*/ 0 h 435050"/>
                <a:gd name="connsiteX2" fmla="*/ 217566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39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66" y="217539"/>
                  </a:lnTo>
                  <a:lnTo>
                    <a:pt x="435077" y="435050"/>
                  </a:lnTo>
                  <a:close/>
                  <a:moveTo>
                    <a:pt x="0" y="435050"/>
                  </a:moveTo>
                  <a:lnTo>
                    <a:pt x="0" y="0"/>
                  </a:lnTo>
                  <a:lnTo>
                    <a:pt x="217539" y="217539"/>
                  </a:lnTo>
                  <a:lnTo>
                    <a:pt x="0" y="435050"/>
                  </a:lnTo>
                  <a:close/>
                </a:path>
              </a:pathLst>
            </a:custGeom>
            <a:grpFill/>
            <a:ln w="27192" cap="flat">
              <a:noFill/>
              <a:prstDash val="solid"/>
              <a:miter/>
            </a:ln>
          </p:spPr>
          <p:txBody>
            <a:bodyPr rtlCol="0" anchor="ctr"/>
            <a:lstStyle/>
            <a:p>
              <a:endParaRPr lang="uk-UA" sz="900"/>
            </a:p>
          </p:txBody>
        </p:sp>
        <p:sp>
          <p:nvSpPr>
            <p:cNvPr id="793" name="Freeform: Shape 792">
              <a:extLst>
                <a:ext uri="{FF2B5EF4-FFF2-40B4-BE49-F238E27FC236}">
                  <a16:creationId xmlns:a16="http://schemas.microsoft.com/office/drawing/2014/main" id="{0D2CC30E-8C33-8A24-4367-C6DF230DAB32}"/>
                </a:ext>
              </a:extLst>
            </p:cNvPr>
            <p:cNvSpPr/>
            <p:nvPr/>
          </p:nvSpPr>
          <p:spPr>
            <a:xfrm>
              <a:off x="2576106" y="980030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3" y="113039"/>
                    <a:pt x="0" y="57702"/>
                    <a:pt x="0" y="0"/>
                  </a:cubicBezTo>
                  <a:lnTo>
                    <a:pt x="217539" y="0"/>
                  </a:lnTo>
                  <a:lnTo>
                    <a:pt x="435077" y="0"/>
                  </a:lnTo>
                  <a:cubicBezTo>
                    <a:pt x="435077" y="57702"/>
                    <a:pt x="412154" y="113039"/>
                    <a:pt x="371366" y="153827"/>
                  </a:cubicBezTo>
                  <a:cubicBezTo>
                    <a:pt x="330550" y="194642"/>
                    <a:pt x="275214" y="217539"/>
                    <a:pt x="217539" y="217539"/>
                  </a:cubicBezTo>
                  <a:cubicBezTo>
                    <a:pt x="159837" y="217539"/>
                    <a:pt x="104500" y="194642"/>
                    <a:pt x="63712" y="153827"/>
                  </a:cubicBezTo>
                  <a:close/>
                  <a:moveTo>
                    <a:pt x="63712" y="281277"/>
                  </a:moveTo>
                  <a:cubicBezTo>
                    <a:pt x="22923" y="322066"/>
                    <a:pt x="0" y="377402"/>
                    <a:pt x="0" y="435077"/>
                  </a:cubicBezTo>
                  <a:lnTo>
                    <a:pt x="217539" y="435077"/>
                  </a:lnTo>
                  <a:lnTo>
                    <a:pt x="435077" y="435077"/>
                  </a:lnTo>
                  <a:cubicBezTo>
                    <a:pt x="435077" y="377402"/>
                    <a:pt x="412154" y="322066"/>
                    <a:pt x="371366" y="281277"/>
                  </a:cubicBezTo>
                  <a:cubicBezTo>
                    <a:pt x="330550" y="240462"/>
                    <a:pt x="275214" y="217539"/>
                    <a:pt x="217539" y="217539"/>
                  </a:cubicBezTo>
                  <a:cubicBezTo>
                    <a:pt x="159837" y="217539"/>
                    <a:pt x="104500" y="240462"/>
                    <a:pt x="63712" y="281277"/>
                  </a:cubicBezTo>
                  <a:close/>
                </a:path>
              </a:pathLst>
            </a:custGeom>
            <a:grpFill/>
            <a:ln w="27192" cap="flat">
              <a:noFill/>
              <a:prstDash val="solid"/>
              <a:miter/>
            </a:ln>
          </p:spPr>
          <p:txBody>
            <a:bodyPr rtlCol="0" anchor="ctr"/>
            <a:lstStyle/>
            <a:p>
              <a:endParaRPr lang="uk-UA" sz="900"/>
            </a:p>
          </p:txBody>
        </p:sp>
        <p:sp>
          <p:nvSpPr>
            <p:cNvPr id="794" name="Freeform: Shape 793">
              <a:extLst>
                <a:ext uri="{FF2B5EF4-FFF2-40B4-BE49-F238E27FC236}">
                  <a16:creationId xmlns:a16="http://schemas.microsoft.com/office/drawing/2014/main" id="{7BD07ED0-8A0A-544D-6F07-850A58DEED9A}"/>
                </a:ext>
              </a:extLst>
            </p:cNvPr>
            <p:cNvSpPr/>
            <p:nvPr/>
          </p:nvSpPr>
          <p:spPr>
            <a:xfrm>
              <a:off x="4316416" y="9800303"/>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65 w 435077"/>
                <a:gd name="connsiteY4" fmla="*/ 435077 h 435077"/>
                <a:gd name="connsiteX5" fmla="*/ 217565 w 435077"/>
                <a:gd name="connsiteY5" fmla="*/ 0 h 435077"/>
                <a:gd name="connsiteX6" fmla="*/ 435077 w 435077"/>
                <a:gd name="connsiteY6" fmla="*/ 217566 h 435077"/>
                <a:gd name="connsiteX7" fmla="*/ 217565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65" y="435077"/>
                  </a:moveTo>
                  <a:lnTo>
                    <a:pt x="217565" y="0"/>
                  </a:lnTo>
                  <a:lnTo>
                    <a:pt x="435077" y="217566"/>
                  </a:lnTo>
                  <a:lnTo>
                    <a:pt x="217565" y="435077"/>
                  </a:lnTo>
                  <a:close/>
                </a:path>
              </a:pathLst>
            </a:custGeom>
            <a:grpFill/>
            <a:ln w="27192" cap="flat">
              <a:noFill/>
              <a:prstDash val="solid"/>
              <a:miter/>
            </a:ln>
          </p:spPr>
          <p:txBody>
            <a:bodyPr rtlCol="0" anchor="ctr"/>
            <a:lstStyle/>
            <a:p>
              <a:endParaRPr lang="uk-UA" sz="900"/>
            </a:p>
          </p:txBody>
        </p:sp>
        <p:sp>
          <p:nvSpPr>
            <p:cNvPr id="795" name="Freeform: Shape 794">
              <a:extLst>
                <a:ext uri="{FF2B5EF4-FFF2-40B4-BE49-F238E27FC236}">
                  <a16:creationId xmlns:a16="http://schemas.microsoft.com/office/drawing/2014/main" id="{52D3B7FA-96DC-AD38-7E6C-A335C9BA0537}"/>
                </a:ext>
              </a:extLst>
            </p:cNvPr>
            <p:cNvSpPr/>
            <p:nvPr/>
          </p:nvSpPr>
          <p:spPr>
            <a:xfrm>
              <a:off x="3446261" y="980030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6 w 435077"/>
                <a:gd name="connsiteY3" fmla="*/ 27 h 435077"/>
                <a:gd name="connsiteX4" fmla="*/ 435077 w 435077"/>
                <a:gd name="connsiteY4" fmla="*/ 217566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6" y="27"/>
                  </a:lnTo>
                  <a:lnTo>
                    <a:pt x="435077" y="217566"/>
                  </a:lnTo>
                  <a:lnTo>
                    <a:pt x="217566"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796" name="Freeform: Shape 795">
              <a:extLst>
                <a:ext uri="{FF2B5EF4-FFF2-40B4-BE49-F238E27FC236}">
                  <a16:creationId xmlns:a16="http://schemas.microsoft.com/office/drawing/2014/main" id="{C9B04D3B-FE20-FF4E-689F-2FD200A9CE33}"/>
                </a:ext>
              </a:extLst>
            </p:cNvPr>
            <p:cNvSpPr/>
            <p:nvPr/>
          </p:nvSpPr>
          <p:spPr>
            <a:xfrm>
              <a:off x="5186597" y="9800330"/>
              <a:ext cx="435077" cy="435050"/>
            </a:xfrm>
            <a:custGeom>
              <a:avLst/>
              <a:gdLst>
                <a:gd name="connsiteX0" fmla="*/ 435077 w 435077"/>
                <a:gd name="connsiteY0" fmla="*/ 435050 h 435050"/>
                <a:gd name="connsiteX1" fmla="*/ 435077 w 435077"/>
                <a:gd name="connsiteY1" fmla="*/ 0 h 435050"/>
                <a:gd name="connsiteX2" fmla="*/ 217566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39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66" y="217539"/>
                  </a:lnTo>
                  <a:lnTo>
                    <a:pt x="435077" y="435050"/>
                  </a:lnTo>
                  <a:close/>
                  <a:moveTo>
                    <a:pt x="0" y="435050"/>
                  </a:moveTo>
                  <a:lnTo>
                    <a:pt x="0" y="0"/>
                  </a:lnTo>
                  <a:lnTo>
                    <a:pt x="217539" y="217539"/>
                  </a:lnTo>
                  <a:lnTo>
                    <a:pt x="0" y="435050"/>
                  </a:lnTo>
                  <a:close/>
                </a:path>
              </a:pathLst>
            </a:custGeom>
            <a:grpFill/>
            <a:ln w="27192" cap="flat">
              <a:noFill/>
              <a:prstDash val="solid"/>
              <a:miter/>
            </a:ln>
          </p:spPr>
          <p:txBody>
            <a:bodyPr rtlCol="0" anchor="ctr"/>
            <a:lstStyle/>
            <a:p>
              <a:endParaRPr lang="uk-UA" sz="900"/>
            </a:p>
          </p:txBody>
        </p:sp>
        <p:sp>
          <p:nvSpPr>
            <p:cNvPr id="797" name="Freeform: Shape 796">
              <a:extLst>
                <a:ext uri="{FF2B5EF4-FFF2-40B4-BE49-F238E27FC236}">
                  <a16:creationId xmlns:a16="http://schemas.microsoft.com/office/drawing/2014/main" id="{BEA0A78D-0D6C-CA1A-E7D2-24B63E86F6D0}"/>
                </a:ext>
              </a:extLst>
            </p:cNvPr>
            <p:cNvSpPr/>
            <p:nvPr/>
          </p:nvSpPr>
          <p:spPr>
            <a:xfrm>
              <a:off x="6056752" y="980030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6" y="153827"/>
                  </a:cubicBezTo>
                  <a:cubicBezTo>
                    <a:pt x="330550" y="194642"/>
                    <a:pt x="275241" y="217539"/>
                    <a:pt x="217539" y="217539"/>
                  </a:cubicBezTo>
                  <a:cubicBezTo>
                    <a:pt x="159837"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5" y="322066"/>
                    <a:pt x="371366" y="281277"/>
                  </a:cubicBezTo>
                  <a:cubicBezTo>
                    <a:pt x="330550" y="240462"/>
                    <a:pt x="275241" y="217539"/>
                    <a:pt x="217539" y="217539"/>
                  </a:cubicBezTo>
                  <a:cubicBezTo>
                    <a:pt x="159837" y="217539"/>
                    <a:pt x="104501" y="240462"/>
                    <a:pt x="63712" y="281277"/>
                  </a:cubicBezTo>
                  <a:close/>
                </a:path>
              </a:pathLst>
            </a:custGeom>
            <a:grpFill/>
            <a:ln w="27192" cap="flat">
              <a:noFill/>
              <a:prstDash val="solid"/>
              <a:miter/>
            </a:ln>
          </p:spPr>
          <p:txBody>
            <a:bodyPr rtlCol="0" anchor="ctr"/>
            <a:lstStyle/>
            <a:p>
              <a:endParaRPr lang="uk-UA" sz="900"/>
            </a:p>
          </p:txBody>
        </p:sp>
        <p:sp>
          <p:nvSpPr>
            <p:cNvPr id="798" name="Freeform: Shape 797">
              <a:extLst>
                <a:ext uri="{FF2B5EF4-FFF2-40B4-BE49-F238E27FC236}">
                  <a16:creationId xmlns:a16="http://schemas.microsoft.com/office/drawing/2014/main" id="{1AD38E6F-890C-EFB8-4F4D-1CA2B3A0F15D}"/>
                </a:ext>
              </a:extLst>
            </p:cNvPr>
            <p:cNvSpPr/>
            <p:nvPr/>
          </p:nvSpPr>
          <p:spPr>
            <a:xfrm>
              <a:off x="7797062" y="9800303"/>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66 w 435077"/>
                <a:gd name="connsiteY4" fmla="*/ 435077 h 435077"/>
                <a:gd name="connsiteX5" fmla="*/ 217566 w 435077"/>
                <a:gd name="connsiteY5" fmla="*/ 0 h 435077"/>
                <a:gd name="connsiteX6" fmla="*/ 435077 w 435077"/>
                <a:gd name="connsiteY6" fmla="*/ 217566 h 435077"/>
                <a:gd name="connsiteX7" fmla="*/ 217566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66" y="435077"/>
                  </a:moveTo>
                  <a:lnTo>
                    <a:pt x="217566" y="0"/>
                  </a:lnTo>
                  <a:lnTo>
                    <a:pt x="435077" y="217566"/>
                  </a:lnTo>
                  <a:lnTo>
                    <a:pt x="217566" y="435077"/>
                  </a:lnTo>
                  <a:close/>
                </a:path>
              </a:pathLst>
            </a:custGeom>
            <a:grpFill/>
            <a:ln w="27192" cap="flat">
              <a:noFill/>
              <a:prstDash val="solid"/>
              <a:miter/>
            </a:ln>
          </p:spPr>
          <p:txBody>
            <a:bodyPr rtlCol="0" anchor="ctr"/>
            <a:lstStyle/>
            <a:p>
              <a:endParaRPr lang="uk-UA" sz="900"/>
            </a:p>
          </p:txBody>
        </p:sp>
        <p:sp>
          <p:nvSpPr>
            <p:cNvPr id="799" name="Freeform: Shape 798">
              <a:extLst>
                <a:ext uri="{FF2B5EF4-FFF2-40B4-BE49-F238E27FC236}">
                  <a16:creationId xmlns:a16="http://schemas.microsoft.com/office/drawing/2014/main" id="{B9EB5A2C-7715-3590-4EA7-89DF31E2225D}"/>
                </a:ext>
              </a:extLst>
            </p:cNvPr>
            <p:cNvSpPr/>
            <p:nvPr/>
          </p:nvSpPr>
          <p:spPr>
            <a:xfrm>
              <a:off x="6926907" y="980030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6 w 435077"/>
                <a:gd name="connsiteY3" fmla="*/ 27 h 435077"/>
                <a:gd name="connsiteX4" fmla="*/ 435077 w 435077"/>
                <a:gd name="connsiteY4" fmla="*/ 217566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6" y="27"/>
                  </a:lnTo>
                  <a:lnTo>
                    <a:pt x="435077" y="217566"/>
                  </a:lnTo>
                  <a:lnTo>
                    <a:pt x="217566"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800" name="Freeform: Shape 799">
              <a:extLst>
                <a:ext uri="{FF2B5EF4-FFF2-40B4-BE49-F238E27FC236}">
                  <a16:creationId xmlns:a16="http://schemas.microsoft.com/office/drawing/2014/main" id="{721AC778-A1F1-3B1C-DA2D-4CAD5A95BB41}"/>
                </a:ext>
              </a:extLst>
            </p:cNvPr>
            <p:cNvSpPr/>
            <p:nvPr/>
          </p:nvSpPr>
          <p:spPr>
            <a:xfrm>
              <a:off x="8667244" y="980033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1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1" y="217539"/>
                  </a:lnTo>
                  <a:lnTo>
                    <a:pt x="0" y="435050"/>
                  </a:lnTo>
                  <a:close/>
                </a:path>
              </a:pathLst>
            </a:custGeom>
            <a:grpFill/>
            <a:ln w="27192" cap="flat">
              <a:noFill/>
              <a:prstDash val="solid"/>
              <a:miter/>
            </a:ln>
          </p:spPr>
          <p:txBody>
            <a:bodyPr rtlCol="0" anchor="ctr"/>
            <a:lstStyle/>
            <a:p>
              <a:endParaRPr lang="uk-UA" sz="900"/>
            </a:p>
          </p:txBody>
        </p:sp>
        <p:sp>
          <p:nvSpPr>
            <p:cNvPr id="801" name="Freeform: Shape 800">
              <a:extLst>
                <a:ext uri="{FF2B5EF4-FFF2-40B4-BE49-F238E27FC236}">
                  <a16:creationId xmlns:a16="http://schemas.microsoft.com/office/drawing/2014/main" id="{85378905-E786-8B2F-3D81-8993AF8C144E}"/>
                </a:ext>
              </a:extLst>
            </p:cNvPr>
            <p:cNvSpPr/>
            <p:nvPr/>
          </p:nvSpPr>
          <p:spPr>
            <a:xfrm>
              <a:off x="9537399" y="9800303"/>
              <a:ext cx="435077" cy="435077"/>
            </a:xfrm>
            <a:custGeom>
              <a:avLst/>
              <a:gdLst>
                <a:gd name="connsiteX0" fmla="*/ 63711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1 w 435077"/>
                <a:gd name="connsiteY6" fmla="*/ 153827 h 435077"/>
                <a:gd name="connsiteX7" fmla="*/ 63711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11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1" y="153827"/>
                  </a:moveTo>
                  <a:cubicBezTo>
                    <a:pt x="22923" y="113039"/>
                    <a:pt x="0" y="57702"/>
                    <a:pt x="0" y="0"/>
                  </a:cubicBezTo>
                  <a:lnTo>
                    <a:pt x="217539" y="0"/>
                  </a:lnTo>
                  <a:lnTo>
                    <a:pt x="435077" y="0"/>
                  </a:lnTo>
                  <a:cubicBezTo>
                    <a:pt x="435077" y="57702"/>
                    <a:pt x="412155" y="113039"/>
                    <a:pt x="371366" y="153827"/>
                  </a:cubicBezTo>
                  <a:cubicBezTo>
                    <a:pt x="330550" y="194642"/>
                    <a:pt x="275214" y="217539"/>
                    <a:pt x="217539" y="217539"/>
                  </a:cubicBezTo>
                  <a:cubicBezTo>
                    <a:pt x="159836" y="217539"/>
                    <a:pt x="104500" y="194642"/>
                    <a:pt x="63711" y="153827"/>
                  </a:cubicBezTo>
                  <a:close/>
                  <a:moveTo>
                    <a:pt x="63711" y="281277"/>
                  </a:moveTo>
                  <a:cubicBezTo>
                    <a:pt x="22923" y="322066"/>
                    <a:pt x="0" y="377402"/>
                    <a:pt x="0" y="435077"/>
                  </a:cubicBezTo>
                  <a:lnTo>
                    <a:pt x="217539" y="435077"/>
                  </a:lnTo>
                  <a:lnTo>
                    <a:pt x="435077" y="435077"/>
                  </a:lnTo>
                  <a:cubicBezTo>
                    <a:pt x="435077" y="377402"/>
                    <a:pt x="412155" y="322066"/>
                    <a:pt x="371366" y="281277"/>
                  </a:cubicBezTo>
                  <a:cubicBezTo>
                    <a:pt x="330550" y="240462"/>
                    <a:pt x="275214" y="217539"/>
                    <a:pt x="217539" y="217539"/>
                  </a:cubicBezTo>
                  <a:cubicBezTo>
                    <a:pt x="159836" y="217539"/>
                    <a:pt x="104500" y="240462"/>
                    <a:pt x="63711" y="281277"/>
                  </a:cubicBezTo>
                  <a:close/>
                </a:path>
              </a:pathLst>
            </a:custGeom>
            <a:grpFill/>
            <a:ln w="27192" cap="flat">
              <a:noFill/>
              <a:prstDash val="solid"/>
              <a:miter/>
            </a:ln>
          </p:spPr>
          <p:txBody>
            <a:bodyPr rtlCol="0" anchor="ctr"/>
            <a:lstStyle/>
            <a:p>
              <a:endParaRPr lang="uk-UA" sz="900"/>
            </a:p>
          </p:txBody>
        </p:sp>
        <p:sp>
          <p:nvSpPr>
            <p:cNvPr id="802" name="Freeform: Shape 801">
              <a:extLst>
                <a:ext uri="{FF2B5EF4-FFF2-40B4-BE49-F238E27FC236}">
                  <a16:creationId xmlns:a16="http://schemas.microsoft.com/office/drawing/2014/main" id="{65FDD648-3B69-D578-C73A-D4C77F549E33}"/>
                </a:ext>
              </a:extLst>
            </p:cNvPr>
            <p:cNvSpPr/>
            <p:nvPr/>
          </p:nvSpPr>
          <p:spPr>
            <a:xfrm>
              <a:off x="11277709" y="9800303"/>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803" name="Freeform: Shape 802">
              <a:extLst>
                <a:ext uri="{FF2B5EF4-FFF2-40B4-BE49-F238E27FC236}">
                  <a16:creationId xmlns:a16="http://schemas.microsoft.com/office/drawing/2014/main" id="{01DA3794-B643-0356-312C-760688FFE052}"/>
                </a:ext>
              </a:extLst>
            </p:cNvPr>
            <p:cNvSpPr/>
            <p:nvPr/>
          </p:nvSpPr>
          <p:spPr>
            <a:xfrm>
              <a:off x="10407554" y="980030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1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11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1" y="217539"/>
                  </a:lnTo>
                  <a:lnTo>
                    <a:pt x="0" y="217539"/>
                  </a:lnTo>
                  <a:close/>
                  <a:moveTo>
                    <a:pt x="0" y="435077"/>
                  </a:moveTo>
                  <a:lnTo>
                    <a:pt x="0" y="217566"/>
                  </a:lnTo>
                  <a:lnTo>
                    <a:pt x="217511" y="217566"/>
                  </a:lnTo>
                  <a:lnTo>
                    <a:pt x="0" y="435077"/>
                  </a:lnTo>
                  <a:close/>
                </a:path>
              </a:pathLst>
            </a:custGeom>
            <a:grpFill/>
            <a:ln w="27192" cap="flat">
              <a:noFill/>
              <a:prstDash val="solid"/>
              <a:miter/>
            </a:ln>
          </p:spPr>
          <p:txBody>
            <a:bodyPr rtlCol="0" anchor="ctr"/>
            <a:lstStyle/>
            <a:p>
              <a:endParaRPr lang="uk-UA" sz="900"/>
            </a:p>
          </p:txBody>
        </p:sp>
        <p:sp>
          <p:nvSpPr>
            <p:cNvPr id="804" name="Freeform: Shape 803">
              <a:extLst>
                <a:ext uri="{FF2B5EF4-FFF2-40B4-BE49-F238E27FC236}">
                  <a16:creationId xmlns:a16="http://schemas.microsoft.com/office/drawing/2014/main" id="{D25F5A80-243C-AA91-3800-B0860F4AFA42}"/>
                </a:ext>
              </a:extLst>
            </p:cNvPr>
            <p:cNvSpPr/>
            <p:nvPr/>
          </p:nvSpPr>
          <p:spPr>
            <a:xfrm>
              <a:off x="12147891" y="980033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2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2" y="217539"/>
                  </a:lnTo>
                  <a:lnTo>
                    <a:pt x="0" y="435050"/>
                  </a:lnTo>
                  <a:close/>
                </a:path>
              </a:pathLst>
            </a:custGeom>
            <a:grpFill/>
            <a:ln w="27192" cap="flat">
              <a:noFill/>
              <a:prstDash val="solid"/>
              <a:miter/>
            </a:ln>
          </p:spPr>
          <p:txBody>
            <a:bodyPr rtlCol="0" anchor="ctr"/>
            <a:lstStyle/>
            <a:p>
              <a:endParaRPr lang="uk-UA" sz="900"/>
            </a:p>
          </p:txBody>
        </p:sp>
        <p:sp>
          <p:nvSpPr>
            <p:cNvPr id="805" name="Freeform: Shape 804">
              <a:extLst>
                <a:ext uri="{FF2B5EF4-FFF2-40B4-BE49-F238E27FC236}">
                  <a16:creationId xmlns:a16="http://schemas.microsoft.com/office/drawing/2014/main" id="{39D24B27-B0D5-7EC1-A831-74A3ABE6ADFC}"/>
                </a:ext>
              </a:extLst>
            </p:cNvPr>
            <p:cNvSpPr/>
            <p:nvPr/>
          </p:nvSpPr>
          <p:spPr>
            <a:xfrm>
              <a:off x="13018045" y="980030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4" y="113039"/>
                    <a:pt x="371365" y="153827"/>
                  </a:cubicBezTo>
                  <a:cubicBezTo>
                    <a:pt x="330550" y="194642"/>
                    <a:pt x="275241" y="217539"/>
                    <a:pt x="217539" y="217539"/>
                  </a:cubicBezTo>
                  <a:cubicBezTo>
                    <a:pt x="159836"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4" y="322066"/>
                    <a:pt x="371365" y="281277"/>
                  </a:cubicBezTo>
                  <a:cubicBezTo>
                    <a:pt x="330550" y="240462"/>
                    <a:pt x="275241" y="217539"/>
                    <a:pt x="217539" y="217539"/>
                  </a:cubicBezTo>
                  <a:cubicBezTo>
                    <a:pt x="159836" y="217539"/>
                    <a:pt x="104501" y="240462"/>
                    <a:pt x="63712" y="281277"/>
                  </a:cubicBezTo>
                  <a:close/>
                </a:path>
              </a:pathLst>
            </a:custGeom>
            <a:grpFill/>
            <a:ln w="27192" cap="flat">
              <a:noFill/>
              <a:prstDash val="solid"/>
              <a:miter/>
            </a:ln>
          </p:spPr>
          <p:txBody>
            <a:bodyPr rtlCol="0" anchor="ctr"/>
            <a:lstStyle/>
            <a:p>
              <a:endParaRPr lang="uk-UA" sz="900"/>
            </a:p>
          </p:txBody>
        </p:sp>
        <p:sp>
          <p:nvSpPr>
            <p:cNvPr id="806" name="Freeform: Shape 805">
              <a:extLst>
                <a:ext uri="{FF2B5EF4-FFF2-40B4-BE49-F238E27FC236}">
                  <a16:creationId xmlns:a16="http://schemas.microsoft.com/office/drawing/2014/main" id="{7EBBCDE8-C0E7-EECD-8A08-92D8A80DB1BA}"/>
                </a:ext>
              </a:extLst>
            </p:cNvPr>
            <p:cNvSpPr/>
            <p:nvPr/>
          </p:nvSpPr>
          <p:spPr>
            <a:xfrm>
              <a:off x="14758382" y="9800303"/>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807" name="Freeform: Shape 806">
              <a:extLst>
                <a:ext uri="{FF2B5EF4-FFF2-40B4-BE49-F238E27FC236}">
                  <a16:creationId xmlns:a16="http://schemas.microsoft.com/office/drawing/2014/main" id="{6BC4ACB9-3874-465A-DE6C-5C1C35CD25A4}"/>
                </a:ext>
              </a:extLst>
            </p:cNvPr>
            <p:cNvSpPr/>
            <p:nvPr/>
          </p:nvSpPr>
          <p:spPr>
            <a:xfrm>
              <a:off x="13888200" y="980030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5 w 435077"/>
                <a:gd name="connsiteY3" fmla="*/ 27 h 435077"/>
                <a:gd name="connsiteX4" fmla="*/ 435077 w 435077"/>
                <a:gd name="connsiteY4" fmla="*/ 217566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5" y="27"/>
                  </a:lnTo>
                  <a:lnTo>
                    <a:pt x="435077" y="217566"/>
                  </a:lnTo>
                  <a:lnTo>
                    <a:pt x="217565"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808" name="Freeform: Shape 807">
              <a:extLst>
                <a:ext uri="{FF2B5EF4-FFF2-40B4-BE49-F238E27FC236}">
                  <a16:creationId xmlns:a16="http://schemas.microsoft.com/office/drawing/2014/main" id="{75D12808-2032-182E-C713-18C2D426BFB1}"/>
                </a:ext>
              </a:extLst>
            </p:cNvPr>
            <p:cNvSpPr/>
            <p:nvPr/>
          </p:nvSpPr>
          <p:spPr>
            <a:xfrm>
              <a:off x="15628565" y="980033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0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0" y="217539"/>
                  </a:lnTo>
                  <a:lnTo>
                    <a:pt x="0" y="435050"/>
                  </a:lnTo>
                  <a:close/>
                </a:path>
              </a:pathLst>
            </a:custGeom>
            <a:grpFill/>
            <a:ln w="27192" cap="flat">
              <a:noFill/>
              <a:prstDash val="solid"/>
              <a:miter/>
            </a:ln>
          </p:spPr>
          <p:txBody>
            <a:bodyPr rtlCol="0" anchor="ctr"/>
            <a:lstStyle/>
            <a:p>
              <a:endParaRPr lang="uk-UA" sz="900"/>
            </a:p>
          </p:txBody>
        </p:sp>
        <p:sp>
          <p:nvSpPr>
            <p:cNvPr id="809" name="Freeform: Shape 808">
              <a:extLst>
                <a:ext uri="{FF2B5EF4-FFF2-40B4-BE49-F238E27FC236}">
                  <a16:creationId xmlns:a16="http://schemas.microsoft.com/office/drawing/2014/main" id="{6FE926C6-F414-DBBB-7A0B-D02D3E5EB3D7}"/>
                </a:ext>
              </a:extLst>
            </p:cNvPr>
            <p:cNvSpPr/>
            <p:nvPr/>
          </p:nvSpPr>
          <p:spPr>
            <a:xfrm>
              <a:off x="16498719" y="9800303"/>
              <a:ext cx="435077" cy="435077"/>
            </a:xfrm>
            <a:custGeom>
              <a:avLst/>
              <a:gdLst>
                <a:gd name="connsiteX0" fmla="*/ 63710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0 w 435077"/>
                <a:gd name="connsiteY6" fmla="*/ 153827 h 435077"/>
                <a:gd name="connsiteX7" fmla="*/ 63710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77 h 435077"/>
                <a:gd name="connsiteX12" fmla="*/ 217539 w 435077"/>
                <a:gd name="connsiteY12" fmla="*/ 217539 h 435077"/>
                <a:gd name="connsiteX13" fmla="*/ 63710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7"/>
                  </a:moveTo>
                  <a:cubicBezTo>
                    <a:pt x="22895" y="113039"/>
                    <a:pt x="0" y="57702"/>
                    <a:pt x="0" y="0"/>
                  </a:cubicBezTo>
                  <a:lnTo>
                    <a:pt x="217539" y="0"/>
                  </a:lnTo>
                  <a:lnTo>
                    <a:pt x="435077" y="0"/>
                  </a:lnTo>
                  <a:cubicBezTo>
                    <a:pt x="435077" y="57702"/>
                    <a:pt x="412154" y="113039"/>
                    <a:pt x="371339" y="153827"/>
                  </a:cubicBezTo>
                  <a:cubicBezTo>
                    <a:pt x="330550" y="194642"/>
                    <a:pt x="275213" y="217539"/>
                    <a:pt x="217539" y="217539"/>
                  </a:cubicBezTo>
                  <a:cubicBezTo>
                    <a:pt x="159836" y="217539"/>
                    <a:pt x="104499" y="194642"/>
                    <a:pt x="63710" y="153827"/>
                  </a:cubicBezTo>
                  <a:close/>
                  <a:moveTo>
                    <a:pt x="63710" y="281277"/>
                  </a:moveTo>
                  <a:cubicBezTo>
                    <a:pt x="22895" y="322066"/>
                    <a:pt x="0" y="377402"/>
                    <a:pt x="0" y="435077"/>
                  </a:cubicBezTo>
                  <a:lnTo>
                    <a:pt x="217539" y="435077"/>
                  </a:lnTo>
                  <a:lnTo>
                    <a:pt x="435077" y="435077"/>
                  </a:lnTo>
                  <a:cubicBezTo>
                    <a:pt x="435077" y="377402"/>
                    <a:pt x="412154" y="322066"/>
                    <a:pt x="371339" y="281277"/>
                  </a:cubicBezTo>
                  <a:cubicBezTo>
                    <a:pt x="330550" y="240462"/>
                    <a:pt x="275213" y="217539"/>
                    <a:pt x="217539" y="217539"/>
                  </a:cubicBezTo>
                  <a:cubicBezTo>
                    <a:pt x="159836" y="217539"/>
                    <a:pt x="104499" y="240462"/>
                    <a:pt x="63710" y="281277"/>
                  </a:cubicBezTo>
                  <a:close/>
                </a:path>
              </a:pathLst>
            </a:custGeom>
            <a:grpFill/>
            <a:ln w="27192" cap="flat">
              <a:noFill/>
              <a:prstDash val="solid"/>
              <a:miter/>
            </a:ln>
          </p:spPr>
          <p:txBody>
            <a:bodyPr rtlCol="0" anchor="ctr"/>
            <a:lstStyle/>
            <a:p>
              <a:endParaRPr lang="uk-UA" sz="900"/>
            </a:p>
          </p:txBody>
        </p:sp>
        <p:sp>
          <p:nvSpPr>
            <p:cNvPr id="810" name="Freeform: Shape 809">
              <a:extLst>
                <a:ext uri="{FF2B5EF4-FFF2-40B4-BE49-F238E27FC236}">
                  <a16:creationId xmlns:a16="http://schemas.microsoft.com/office/drawing/2014/main" id="{A271D5A4-997A-70D9-5092-A511EC385DDE}"/>
                </a:ext>
              </a:extLst>
            </p:cNvPr>
            <p:cNvSpPr/>
            <p:nvPr/>
          </p:nvSpPr>
          <p:spPr>
            <a:xfrm>
              <a:off x="18239029" y="9800303"/>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811" name="Freeform: Shape 810">
              <a:extLst>
                <a:ext uri="{FF2B5EF4-FFF2-40B4-BE49-F238E27FC236}">
                  <a16:creationId xmlns:a16="http://schemas.microsoft.com/office/drawing/2014/main" id="{EFF7AE83-15FC-580E-E270-37BE9491EB5B}"/>
                </a:ext>
              </a:extLst>
            </p:cNvPr>
            <p:cNvSpPr/>
            <p:nvPr/>
          </p:nvSpPr>
          <p:spPr>
            <a:xfrm>
              <a:off x="17368874" y="980030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0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10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0" y="217539"/>
                  </a:lnTo>
                  <a:lnTo>
                    <a:pt x="0" y="217539"/>
                  </a:lnTo>
                  <a:close/>
                  <a:moveTo>
                    <a:pt x="0" y="435077"/>
                  </a:moveTo>
                  <a:lnTo>
                    <a:pt x="0" y="217566"/>
                  </a:lnTo>
                  <a:lnTo>
                    <a:pt x="217510" y="217566"/>
                  </a:lnTo>
                  <a:lnTo>
                    <a:pt x="0" y="435077"/>
                  </a:lnTo>
                  <a:close/>
                </a:path>
              </a:pathLst>
            </a:custGeom>
            <a:grpFill/>
            <a:ln w="27192" cap="flat">
              <a:noFill/>
              <a:prstDash val="solid"/>
              <a:miter/>
            </a:ln>
          </p:spPr>
          <p:txBody>
            <a:bodyPr rtlCol="0" anchor="ctr"/>
            <a:lstStyle/>
            <a:p>
              <a:endParaRPr lang="uk-UA" sz="900"/>
            </a:p>
          </p:txBody>
        </p:sp>
        <p:sp>
          <p:nvSpPr>
            <p:cNvPr id="812" name="Freeform: Shape 811">
              <a:extLst>
                <a:ext uri="{FF2B5EF4-FFF2-40B4-BE49-F238E27FC236}">
                  <a16:creationId xmlns:a16="http://schemas.microsoft.com/office/drawing/2014/main" id="{D415FF5E-09F4-97BB-1AC7-4D98BE5FC9F6}"/>
                </a:ext>
              </a:extLst>
            </p:cNvPr>
            <p:cNvSpPr/>
            <p:nvPr/>
          </p:nvSpPr>
          <p:spPr>
            <a:xfrm>
              <a:off x="19109210" y="9800303"/>
              <a:ext cx="435077" cy="435077"/>
            </a:xfrm>
            <a:custGeom>
              <a:avLst/>
              <a:gdLst>
                <a:gd name="connsiteX0" fmla="*/ 435077 w 435077"/>
                <a:gd name="connsiteY0" fmla="*/ 435077 h 435077"/>
                <a:gd name="connsiteX1" fmla="*/ 435077 w 435077"/>
                <a:gd name="connsiteY1" fmla="*/ 0 h 435077"/>
                <a:gd name="connsiteX2" fmla="*/ 217539 w 435077"/>
                <a:gd name="connsiteY2" fmla="*/ 217566 h 435077"/>
                <a:gd name="connsiteX3" fmla="*/ 435077 w 435077"/>
                <a:gd name="connsiteY3" fmla="*/ 435077 h 435077"/>
                <a:gd name="connsiteX4" fmla="*/ 0 w 435077"/>
                <a:gd name="connsiteY4" fmla="*/ 435077 h 435077"/>
                <a:gd name="connsiteX5" fmla="*/ 0 w 435077"/>
                <a:gd name="connsiteY5" fmla="*/ 0 h 435077"/>
                <a:gd name="connsiteX6" fmla="*/ 217512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66"/>
                  </a:lnTo>
                  <a:lnTo>
                    <a:pt x="435077" y="435077"/>
                  </a:lnTo>
                  <a:close/>
                  <a:moveTo>
                    <a:pt x="0" y="435077"/>
                  </a:moveTo>
                  <a:lnTo>
                    <a:pt x="0" y="0"/>
                  </a:lnTo>
                  <a:lnTo>
                    <a:pt x="217512" y="217566"/>
                  </a:lnTo>
                  <a:lnTo>
                    <a:pt x="0" y="435077"/>
                  </a:lnTo>
                  <a:close/>
                </a:path>
              </a:pathLst>
            </a:custGeom>
            <a:grpFill/>
            <a:ln w="27192" cap="flat">
              <a:noFill/>
              <a:prstDash val="solid"/>
              <a:miter/>
            </a:ln>
          </p:spPr>
          <p:txBody>
            <a:bodyPr rtlCol="0" anchor="ctr"/>
            <a:lstStyle/>
            <a:p>
              <a:endParaRPr lang="uk-UA" sz="900"/>
            </a:p>
          </p:txBody>
        </p:sp>
        <p:sp>
          <p:nvSpPr>
            <p:cNvPr id="813" name="Freeform: Shape 812">
              <a:extLst>
                <a:ext uri="{FF2B5EF4-FFF2-40B4-BE49-F238E27FC236}">
                  <a16:creationId xmlns:a16="http://schemas.microsoft.com/office/drawing/2014/main" id="{482EC2C3-61F5-6346-BC42-305807F8314D}"/>
                </a:ext>
              </a:extLst>
            </p:cNvPr>
            <p:cNvSpPr/>
            <p:nvPr/>
          </p:nvSpPr>
          <p:spPr>
            <a:xfrm>
              <a:off x="19979365" y="980030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4" y="113039"/>
                    <a:pt x="371365" y="153827"/>
                  </a:cubicBezTo>
                  <a:cubicBezTo>
                    <a:pt x="330550" y="194642"/>
                    <a:pt x="275241" y="217539"/>
                    <a:pt x="217539" y="217539"/>
                  </a:cubicBezTo>
                  <a:cubicBezTo>
                    <a:pt x="159836"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4" y="322066"/>
                    <a:pt x="371365" y="281277"/>
                  </a:cubicBezTo>
                  <a:cubicBezTo>
                    <a:pt x="330550" y="240462"/>
                    <a:pt x="275241" y="217539"/>
                    <a:pt x="217539" y="217539"/>
                  </a:cubicBezTo>
                  <a:cubicBezTo>
                    <a:pt x="159836" y="217539"/>
                    <a:pt x="104501" y="240462"/>
                    <a:pt x="63712" y="281277"/>
                  </a:cubicBezTo>
                  <a:close/>
                </a:path>
              </a:pathLst>
            </a:custGeom>
            <a:grpFill/>
            <a:ln w="27192" cap="flat">
              <a:noFill/>
              <a:prstDash val="solid"/>
              <a:miter/>
            </a:ln>
          </p:spPr>
          <p:txBody>
            <a:bodyPr rtlCol="0" anchor="ctr"/>
            <a:lstStyle/>
            <a:p>
              <a:endParaRPr lang="uk-UA" sz="900"/>
            </a:p>
          </p:txBody>
        </p:sp>
        <p:sp>
          <p:nvSpPr>
            <p:cNvPr id="814" name="Freeform: Shape 813">
              <a:extLst>
                <a:ext uri="{FF2B5EF4-FFF2-40B4-BE49-F238E27FC236}">
                  <a16:creationId xmlns:a16="http://schemas.microsoft.com/office/drawing/2014/main" id="{B251C04B-181E-05BD-11FB-6CEF388E8B73}"/>
                </a:ext>
              </a:extLst>
            </p:cNvPr>
            <p:cNvSpPr/>
            <p:nvPr/>
          </p:nvSpPr>
          <p:spPr>
            <a:xfrm>
              <a:off x="21719702" y="9800303"/>
              <a:ext cx="435077" cy="435077"/>
            </a:xfrm>
            <a:custGeom>
              <a:avLst/>
              <a:gdLst>
                <a:gd name="connsiteX0" fmla="*/ 0 w 435077"/>
                <a:gd name="connsiteY0" fmla="*/ 435077 h 435077"/>
                <a:gd name="connsiteX1" fmla="*/ 0 w 435077"/>
                <a:gd name="connsiteY1" fmla="*/ 0 h 435077"/>
                <a:gd name="connsiteX2" fmla="*/ 217512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12"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815" name="Freeform: Shape 814">
              <a:extLst>
                <a:ext uri="{FF2B5EF4-FFF2-40B4-BE49-F238E27FC236}">
                  <a16:creationId xmlns:a16="http://schemas.microsoft.com/office/drawing/2014/main" id="{B8C21C73-BCA6-EAFA-9BA3-05D21ADDC427}"/>
                </a:ext>
              </a:extLst>
            </p:cNvPr>
            <p:cNvSpPr/>
            <p:nvPr/>
          </p:nvSpPr>
          <p:spPr>
            <a:xfrm>
              <a:off x="20849520" y="980030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5 w 435077"/>
                <a:gd name="connsiteY3" fmla="*/ 27 h 435077"/>
                <a:gd name="connsiteX4" fmla="*/ 435077 w 435077"/>
                <a:gd name="connsiteY4" fmla="*/ 217566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5" y="27"/>
                  </a:lnTo>
                  <a:lnTo>
                    <a:pt x="435077" y="217566"/>
                  </a:lnTo>
                  <a:lnTo>
                    <a:pt x="217565"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816" name="Freeform: Shape 815">
              <a:extLst>
                <a:ext uri="{FF2B5EF4-FFF2-40B4-BE49-F238E27FC236}">
                  <a16:creationId xmlns:a16="http://schemas.microsoft.com/office/drawing/2014/main" id="{A5F8B83F-F335-8124-82E0-E0E894BB8F58}"/>
                </a:ext>
              </a:extLst>
            </p:cNvPr>
            <p:cNvSpPr/>
            <p:nvPr/>
          </p:nvSpPr>
          <p:spPr>
            <a:xfrm>
              <a:off x="22589856" y="9800303"/>
              <a:ext cx="435077" cy="435077"/>
            </a:xfrm>
            <a:custGeom>
              <a:avLst/>
              <a:gdLst>
                <a:gd name="connsiteX0" fmla="*/ 435077 w 435077"/>
                <a:gd name="connsiteY0" fmla="*/ 435077 h 435077"/>
                <a:gd name="connsiteX1" fmla="*/ 435077 w 435077"/>
                <a:gd name="connsiteY1" fmla="*/ 0 h 435077"/>
                <a:gd name="connsiteX2" fmla="*/ 217567 w 435077"/>
                <a:gd name="connsiteY2" fmla="*/ 217566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7" y="217566"/>
                  </a:lnTo>
                  <a:lnTo>
                    <a:pt x="435077" y="435077"/>
                  </a:lnTo>
                  <a:close/>
                  <a:moveTo>
                    <a:pt x="0" y="435077"/>
                  </a:moveTo>
                  <a:lnTo>
                    <a:pt x="0" y="0"/>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817" name="Freeform: Shape 816">
              <a:extLst>
                <a:ext uri="{FF2B5EF4-FFF2-40B4-BE49-F238E27FC236}">
                  <a16:creationId xmlns:a16="http://schemas.microsoft.com/office/drawing/2014/main" id="{6B8E8762-6EA8-24BE-BEF2-89AA78C9F0FA}"/>
                </a:ext>
              </a:extLst>
            </p:cNvPr>
            <p:cNvSpPr/>
            <p:nvPr/>
          </p:nvSpPr>
          <p:spPr>
            <a:xfrm>
              <a:off x="23460039" y="980030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895" y="113039"/>
                    <a:pt x="0" y="57702"/>
                    <a:pt x="0" y="0"/>
                  </a:cubicBezTo>
                  <a:lnTo>
                    <a:pt x="217539" y="0"/>
                  </a:lnTo>
                  <a:lnTo>
                    <a:pt x="435077" y="0"/>
                  </a:lnTo>
                  <a:cubicBezTo>
                    <a:pt x="435077" y="57702"/>
                    <a:pt x="412154" y="113039"/>
                    <a:pt x="371339" y="153827"/>
                  </a:cubicBezTo>
                  <a:cubicBezTo>
                    <a:pt x="330550" y="194642"/>
                    <a:pt x="275213" y="217539"/>
                    <a:pt x="217539" y="217539"/>
                  </a:cubicBezTo>
                  <a:cubicBezTo>
                    <a:pt x="159836" y="217539"/>
                    <a:pt x="104501" y="194642"/>
                    <a:pt x="63712" y="153827"/>
                  </a:cubicBezTo>
                  <a:close/>
                  <a:moveTo>
                    <a:pt x="63712" y="281277"/>
                  </a:moveTo>
                  <a:cubicBezTo>
                    <a:pt x="22895" y="322066"/>
                    <a:pt x="0" y="377402"/>
                    <a:pt x="0" y="435077"/>
                  </a:cubicBezTo>
                  <a:lnTo>
                    <a:pt x="217539" y="435077"/>
                  </a:lnTo>
                  <a:lnTo>
                    <a:pt x="435077" y="435077"/>
                  </a:lnTo>
                  <a:cubicBezTo>
                    <a:pt x="435077" y="377402"/>
                    <a:pt x="412154" y="322066"/>
                    <a:pt x="371339" y="281277"/>
                  </a:cubicBezTo>
                  <a:cubicBezTo>
                    <a:pt x="330550" y="240462"/>
                    <a:pt x="275213" y="217539"/>
                    <a:pt x="217539" y="217539"/>
                  </a:cubicBezTo>
                  <a:cubicBezTo>
                    <a:pt x="159836" y="217539"/>
                    <a:pt x="104501" y="240462"/>
                    <a:pt x="63712" y="281277"/>
                  </a:cubicBezTo>
                  <a:close/>
                </a:path>
              </a:pathLst>
            </a:custGeom>
            <a:grpFill/>
            <a:ln w="27192" cap="flat">
              <a:noFill/>
              <a:prstDash val="solid"/>
              <a:miter/>
            </a:ln>
          </p:spPr>
          <p:txBody>
            <a:bodyPr rtlCol="0" anchor="ctr"/>
            <a:lstStyle/>
            <a:p>
              <a:endParaRPr lang="uk-UA" sz="900"/>
            </a:p>
          </p:txBody>
        </p:sp>
        <p:sp>
          <p:nvSpPr>
            <p:cNvPr id="818" name="Freeform: Shape 817">
              <a:extLst>
                <a:ext uri="{FF2B5EF4-FFF2-40B4-BE49-F238E27FC236}">
                  <a16:creationId xmlns:a16="http://schemas.microsoft.com/office/drawing/2014/main" id="{073F88B0-F6D4-3CD4-3960-F724EE8BC608}"/>
                </a:ext>
              </a:extLst>
            </p:cNvPr>
            <p:cNvSpPr/>
            <p:nvPr/>
          </p:nvSpPr>
          <p:spPr>
            <a:xfrm>
              <a:off x="24330194" y="980030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819" name="Freeform: Shape 818">
              <a:extLst>
                <a:ext uri="{FF2B5EF4-FFF2-40B4-BE49-F238E27FC236}">
                  <a16:creationId xmlns:a16="http://schemas.microsoft.com/office/drawing/2014/main" id="{9C4CBAC5-3DCF-602F-2A55-0A989B0BCFB5}"/>
                </a:ext>
              </a:extLst>
            </p:cNvPr>
            <p:cNvSpPr/>
            <p:nvPr/>
          </p:nvSpPr>
          <p:spPr>
            <a:xfrm>
              <a:off x="835742" y="1067045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820" name="Freeform: Shape 819">
              <a:extLst>
                <a:ext uri="{FF2B5EF4-FFF2-40B4-BE49-F238E27FC236}">
                  <a16:creationId xmlns:a16="http://schemas.microsoft.com/office/drawing/2014/main" id="{40EBF616-C628-356B-FEFE-E2BE0CBDC26A}"/>
                </a:ext>
              </a:extLst>
            </p:cNvPr>
            <p:cNvSpPr/>
            <p:nvPr/>
          </p:nvSpPr>
          <p:spPr>
            <a:xfrm>
              <a:off x="-34407" y="10670458"/>
              <a:ext cx="435072" cy="435077"/>
            </a:xfrm>
            <a:custGeom>
              <a:avLst/>
              <a:gdLst>
                <a:gd name="connsiteX0" fmla="*/ 371360 w 435072"/>
                <a:gd name="connsiteY0" fmla="*/ 63739 h 435077"/>
                <a:gd name="connsiteX1" fmla="*/ 435072 w 435072"/>
                <a:gd name="connsiteY1" fmla="*/ 217539 h 435077"/>
                <a:gd name="connsiteX2" fmla="*/ 217724 w 435072"/>
                <a:gd name="connsiteY2" fmla="*/ 217539 h 435077"/>
                <a:gd name="connsiteX3" fmla="*/ 371360 w 435072"/>
                <a:gd name="connsiteY3" fmla="*/ 281277 h 435077"/>
                <a:gd name="connsiteX4" fmla="*/ 435072 w 435072"/>
                <a:gd name="connsiteY4" fmla="*/ 435077 h 435077"/>
                <a:gd name="connsiteX5" fmla="*/ 217533 w 435072"/>
                <a:gd name="connsiteY5" fmla="*/ 435077 h 435077"/>
                <a:gd name="connsiteX6" fmla="*/ 5 w 435072"/>
                <a:gd name="connsiteY6" fmla="*/ 435077 h 435077"/>
                <a:gd name="connsiteX7" fmla="*/ 63720 w 435072"/>
                <a:gd name="connsiteY7" fmla="*/ 281277 h 435077"/>
                <a:gd name="connsiteX8" fmla="*/ 217370 w 435072"/>
                <a:gd name="connsiteY8" fmla="*/ 217539 h 435077"/>
                <a:gd name="connsiteX9" fmla="*/ 0 w 435072"/>
                <a:gd name="connsiteY9" fmla="*/ 217539 h 435077"/>
                <a:gd name="connsiteX10" fmla="*/ 63717 w 435072"/>
                <a:gd name="connsiteY10" fmla="*/ 63739 h 435077"/>
                <a:gd name="connsiteX11" fmla="*/ 217533 w 435072"/>
                <a:gd name="connsiteY11" fmla="*/ 0 h 435077"/>
                <a:gd name="connsiteX12" fmla="*/ 371360 w 435072"/>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2" h="435077">
                  <a:moveTo>
                    <a:pt x="371360" y="63739"/>
                  </a:moveTo>
                  <a:cubicBezTo>
                    <a:pt x="412149" y="104527"/>
                    <a:pt x="435072" y="159864"/>
                    <a:pt x="435072" y="217539"/>
                  </a:cubicBezTo>
                  <a:lnTo>
                    <a:pt x="217724" y="217539"/>
                  </a:lnTo>
                  <a:cubicBezTo>
                    <a:pt x="275344" y="217593"/>
                    <a:pt x="330599" y="240516"/>
                    <a:pt x="371360" y="281277"/>
                  </a:cubicBezTo>
                  <a:cubicBezTo>
                    <a:pt x="412176" y="322066"/>
                    <a:pt x="435072" y="377402"/>
                    <a:pt x="435072" y="435077"/>
                  </a:cubicBezTo>
                  <a:lnTo>
                    <a:pt x="217533" y="435077"/>
                  </a:lnTo>
                  <a:lnTo>
                    <a:pt x="5" y="435077"/>
                  </a:lnTo>
                  <a:cubicBezTo>
                    <a:pt x="5" y="377402"/>
                    <a:pt x="22923" y="322066"/>
                    <a:pt x="63720" y="281277"/>
                  </a:cubicBezTo>
                  <a:cubicBezTo>
                    <a:pt x="104476" y="240516"/>
                    <a:pt x="159750" y="217593"/>
                    <a:pt x="217370" y="217539"/>
                  </a:cubicBezTo>
                  <a:lnTo>
                    <a:pt x="0" y="217539"/>
                  </a:lnTo>
                  <a:cubicBezTo>
                    <a:pt x="0" y="159864"/>
                    <a:pt x="22921" y="104527"/>
                    <a:pt x="63717" y="63739"/>
                  </a:cubicBezTo>
                  <a:cubicBezTo>
                    <a:pt x="104514" y="22923"/>
                    <a:pt x="159858" y="0"/>
                    <a:pt x="217533" y="0"/>
                  </a:cubicBezTo>
                  <a:cubicBezTo>
                    <a:pt x="275236" y="0"/>
                    <a:pt x="330572" y="22923"/>
                    <a:pt x="371360" y="63739"/>
                  </a:cubicBezTo>
                  <a:close/>
                </a:path>
              </a:pathLst>
            </a:custGeom>
            <a:grpFill/>
            <a:ln w="27192" cap="flat">
              <a:noFill/>
              <a:prstDash val="solid"/>
              <a:miter/>
            </a:ln>
          </p:spPr>
          <p:txBody>
            <a:bodyPr rtlCol="0" anchor="ctr"/>
            <a:lstStyle/>
            <a:p>
              <a:endParaRPr lang="uk-UA" sz="900"/>
            </a:p>
          </p:txBody>
        </p:sp>
        <p:sp>
          <p:nvSpPr>
            <p:cNvPr id="821" name="Freeform: Shape 820">
              <a:extLst>
                <a:ext uri="{FF2B5EF4-FFF2-40B4-BE49-F238E27FC236}">
                  <a16:creationId xmlns:a16="http://schemas.microsoft.com/office/drawing/2014/main" id="{FB5E99E6-1100-4173-BE40-BD73CCCE9705}"/>
                </a:ext>
              </a:extLst>
            </p:cNvPr>
            <p:cNvSpPr/>
            <p:nvPr/>
          </p:nvSpPr>
          <p:spPr>
            <a:xfrm>
              <a:off x="1705924" y="1067045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822" name="Freeform: Shape 821">
              <a:extLst>
                <a:ext uri="{FF2B5EF4-FFF2-40B4-BE49-F238E27FC236}">
                  <a16:creationId xmlns:a16="http://schemas.microsoft.com/office/drawing/2014/main" id="{0C2BB366-99CA-03DE-E8BC-FB8D7865A6ED}"/>
                </a:ext>
              </a:extLst>
            </p:cNvPr>
            <p:cNvSpPr/>
            <p:nvPr/>
          </p:nvSpPr>
          <p:spPr>
            <a:xfrm>
              <a:off x="2576079" y="10670458"/>
              <a:ext cx="435104" cy="435077"/>
            </a:xfrm>
            <a:custGeom>
              <a:avLst/>
              <a:gdLst>
                <a:gd name="connsiteX0" fmla="*/ 217539 w 435104"/>
                <a:gd name="connsiteY0" fmla="*/ 0 h 435077"/>
                <a:gd name="connsiteX1" fmla="*/ 0 w 435104"/>
                <a:gd name="connsiteY1" fmla="*/ 0 h 435077"/>
                <a:gd name="connsiteX2" fmla="*/ 0 w 435104"/>
                <a:gd name="connsiteY2" fmla="*/ 217539 h 435077"/>
                <a:gd name="connsiteX3" fmla="*/ 217539 w 435104"/>
                <a:gd name="connsiteY3" fmla="*/ 0 h 435077"/>
                <a:gd name="connsiteX4" fmla="*/ 435104 w 435104"/>
                <a:gd name="connsiteY4" fmla="*/ 0 h 435077"/>
                <a:gd name="connsiteX5" fmla="*/ 435104 w 435104"/>
                <a:gd name="connsiteY5" fmla="*/ 217539 h 435077"/>
                <a:gd name="connsiteX6" fmla="*/ 217566 w 435104"/>
                <a:gd name="connsiteY6" fmla="*/ 0 h 435077"/>
                <a:gd name="connsiteX7" fmla="*/ 435104 w 435104"/>
                <a:gd name="connsiteY7" fmla="*/ 0 h 435077"/>
                <a:gd name="connsiteX8" fmla="*/ 217566 w 435104"/>
                <a:gd name="connsiteY8" fmla="*/ 435077 h 435077"/>
                <a:gd name="connsiteX9" fmla="*/ 435104 w 435104"/>
                <a:gd name="connsiteY9" fmla="*/ 217539 h 435077"/>
                <a:gd name="connsiteX10" fmla="*/ 435104 w 435104"/>
                <a:gd name="connsiteY10" fmla="*/ 435077 h 435077"/>
                <a:gd name="connsiteX11" fmla="*/ 217566 w 435104"/>
                <a:gd name="connsiteY11" fmla="*/ 435077 h 435077"/>
                <a:gd name="connsiteX12" fmla="*/ 217566 w 435104"/>
                <a:gd name="connsiteY12" fmla="*/ 435077 h 435077"/>
                <a:gd name="connsiteX13" fmla="*/ 27 w 435104"/>
                <a:gd name="connsiteY13" fmla="*/ 217539 h 435077"/>
                <a:gd name="connsiteX14" fmla="*/ 27 w 435104"/>
                <a:gd name="connsiteY14" fmla="*/ 435077 h 435077"/>
                <a:gd name="connsiteX15" fmla="*/ 217566 w 435104"/>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4" h="435077">
                  <a:moveTo>
                    <a:pt x="217539" y="0"/>
                  </a:moveTo>
                  <a:lnTo>
                    <a:pt x="0" y="0"/>
                  </a:lnTo>
                  <a:lnTo>
                    <a:pt x="0" y="217539"/>
                  </a:lnTo>
                  <a:lnTo>
                    <a:pt x="217539" y="0"/>
                  </a:lnTo>
                  <a:close/>
                  <a:moveTo>
                    <a:pt x="435104" y="0"/>
                  </a:moveTo>
                  <a:lnTo>
                    <a:pt x="435104" y="217539"/>
                  </a:lnTo>
                  <a:lnTo>
                    <a:pt x="217566" y="0"/>
                  </a:lnTo>
                  <a:lnTo>
                    <a:pt x="435104" y="0"/>
                  </a:lnTo>
                  <a:close/>
                  <a:moveTo>
                    <a:pt x="217566" y="435077"/>
                  </a:moveTo>
                  <a:lnTo>
                    <a:pt x="435104" y="217539"/>
                  </a:lnTo>
                  <a:lnTo>
                    <a:pt x="435104" y="435077"/>
                  </a:lnTo>
                  <a:lnTo>
                    <a:pt x="217566" y="435077"/>
                  </a:lnTo>
                  <a:close/>
                  <a:moveTo>
                    <a:pt x="217566" y="435077"/>
                  </a:moveTo>
                  <a:lnTo>
                    <a:pt x="27" y="217539"/>
                  </a:lnTo>
                  <a:lnTo>
                    <a:pt x="27" y="435077"/>
                  </a:lnTo>
                  <a:lnTo>
                    <a:pt x="217566" y="435077"/>
                  </a:lnTo>
                  <a:close/>
                </a:path>
              </a:pathLst>
            </a:custGeom>
            <a:grpFill/>
            <a:ln w="27192" cap="flat">
              <a:noFill/>
              <a:prstDash val="solid"/>
              <a:miter/>
            </a:ln>
          </p:spPr>
          <p:txBody>
            <a:bodyPr rtlCol="0" anchor="ctr"/>
            <a:lstStyle/>
            <a:p>
              <a:endParaRPr lang="uk-UA" sz="900"/>
            </a:p>
          </p:txBody>
        </p:sp>
        <p:sp>
          <p:nvSpPr>
            <p:cNvPr id="823" name="Freeform: Shape 822">
              <a:extLst>
                <a:ext uri="{FF2B5EF4-FFF2-40B4-BE49-F238E27FC236}">
                  <a16:creationId xmlns:a16="http://schemas.microsoft.com/office/drawing/2014/main" id="{6CEAC308-880D-8C77-54EC-5617422ADF2F}"/>
                </a:ext>
              </a:extLst>
            </p:cNvPr>
            <p:cNvSpPr/>
            <p:nvPr/>
          </p:nvSpPr>
          <p:spPr>
            <a:xfrm>
              <a:off x="4316416" y="1067045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824" name="Freeform: Shape 823">
              <a:extLst>
                <a:ext uri="{FF2B5EF4-FFF2-40B4-BE49-F238E27FC236}">
                  <a16:creationId xmlns:a16="http://schemas.microsoft.com/office/drawing/2014/main" id="{A5D7FA41-B85A-4411-A136-09231EDEDBD4}"/>
                </a:ext>
              </a:extLst>
            </p:cNvPr>
            <p:cNvSpPr/>
            <p:nvPr/>
          </p:nvSpPr>
          <p:spPr>
            <a:xfrm>
              <a:off x="3446261" y="10670458"/>
              <a:ext cx="435077" cy="435077"/>
            </a:xfrm>
            <a:custGeom>
              <a:avLst/>
              <a:gdLst>
                <a:gd name="connsiteX0" fmla="*/ 371366 w 435077"/>
                <a:gd name="connsiteY0" fmla="*/ 63739 h 435077"/>
                <a:gd name="connsiteX1" fmla="*/ 435077 w 435077"/>
                <a:gd name="connsiteY1" fmla="*/ 217539 h 435077"/>
                <a:gd name="connsiteX2" fmla="*/ 217702 w 435077"/>
                <a:gd name="connsiteY2" fmla="*/ 217539 h 435077"/>
                <a:gd name="connsiteX3" fmla="*/ 371366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6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39"/>
                  </a:moveTo>
                  <a:cubicBezTo>
                    <a:pt x="412154" y="104527"/>
                    <a:pt x="435077" y="159864"/>
                    <a:pt x="435077" y="217539"/>
                  </a:cubicBezTo>
                  <a:lnTo>
                    <a:pt x="217702" y="217539"/>
                  </a:lnTo>
                  <a:cubicBezTo>
                    <a:pt x="275350" y="217593"/>
                    <a:pt x="330605" y="240516"/>
                    <a:pt x="371366" y="281277"/>
                  </a:cubicBezTo>
                  <a:cubicBezTo>
                    <a:pt x="412154" y="322066"/>
                    <a:pt x="435077" y="377402"/>
                    <a:pt x="435077" y="435077"/>
                  </a:cubicBezTo>
                  <a:lnTo>
                    <a:pt x="217539" y="435077"/>
                  </a:lnTo>
                  <a:lnTo>
                    <a:pt x="0" y="435077"/>
                  </a:lnTo>
                  <a:cubicBezTo>
                    <a:pt x="0" y="377402"/>
                    <a:pt x="22923" y="322066"/>
                    <a:pt x="63712" y="281277"/>
                  </a:cubicBezTo>
                  <a:cubicBezTo>
                    <a:pt x="104473" y="240516"/>
                    <a:pt x="159728" y="217593"/>
                    <a:pt x="217376" y="217539"/>
                  </a:cubicBezTo>
                  <a:lnTo>
                    <a:pt x="0" y="217539"/>
                  </a:lnTo>
                  <a:cubicBezTo>
                    <a:pt x="0" y="159864"/>
                    <a:pt x="22923" y="104527"/>
                    <a:pt x="63712" y="63739"/>
                  </a:cubicBezTo>
                  <a:cubicBezTo>
                    <a:pt x="104500" y="22923"/>
                    <a:pt x="159837" y="0"/>
                    <a:pt x="217539" y="0"/>
                  </a:cubicBezTo>
                  <a:cubicBezTo>
                    <a:pt x="275241" y="0"/>
                    <a:pt x="330577" y="22923"/>
                    <a:pt x="371366" y="63739"/>
                  </a:cubicBezTo>
                  <a:close/>
                </a:path>
              </a:pathLst>
            </a:custGeom>
            <a:grpFill/>
            <a:ln w="27192" cap="flat">
              <a:noFill/>
              <a:prstDash val="solid"/>
              <a:miter/>
            </a:ln>
          </p:spPr>
          <p:txBody>
            <a:bodyPr rtlCol="0" anchor="ctr"/>
            <a:lstStyle/>
            <a:p>
              <a:endParaRPr lang="uk-UA" sz="900"/>
            </a:p>
          </p:txBody>
        </p:sp>
        <p:sp>
          <p:nvSpPr>
            <p:cNvPr id="825" name="Freeform: Shape 824">
              <a:extLst>
                <a:ext uri="{FF2B5EF4-FFF2-40B4-BE49-F238E27FC236}">
                  <a16:creationId xmlns:a16="http://schemas.microsoft.com/office/drawing/2014/main" id="{B1EFB2B2-7531-F8CA-F418-104888D753F8}"/>
                </a:ext>
              </a:extLst>
            </p:cNvPr>
            <p:cNvSpPr/>
            <p:nvPr/>
          </p:nvSpPr>
          <p:spPr>
            <a:xfrm>
              <a:off x="5186597" y="10670458"/>
              <a:ext cx="435077" cy="435104"/>
            </a:xfrm>
            <a:custGeom>
              <a:avLst/>
              <a:gdLst>
                <a:gd name="connsiteX0" fmla="*/ 0 w 435077"/>
                <a:gd name="connsiteY0" fmla="*/ 435077 h 435104"/>
                <a:gd name="connsiteX1" fmla="*/ 217512 w 435077"/>
                <a:gd name="connsiteY1" fmla="*/ 435077 h 435104"/>
                <a:gd name="connsiteX2" fmla="*/ 217512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12" y="435077"/>
                  </a:lnTo>
                  <a:lnTo>
                    <a:pt x="217512"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826" name="Freeform: Shape 825">
              <a:extLst>
                <a:ext uri="{FF2B5EF4-FFF2-40B4-BE49-F238E27FC236}">
                  <a16:creationId xmlns:a16="http://schemas.microsoft.com/office/drawing/2014/main" id="{565AD9AE-3AA6-2A7D-AE19-32B2B33024F8}"/>
                </a:ext>
              </a:extLst>
            </p:cNvPr>
            <p:cNvSpPr/>
            <p:nvPr/>
          </p:nvSpPr>
          <p:spPr>
            <a:xfrm>
              <a:off x="6056752" y="10670458"/>
              <a:ext cx="435077" cy="435077"/>
            </a:xfrm>
            <a:custGeom>
              <a:avLst/>
              <a:gdLst>
                <a:gd name="connsiteX0" fmla="*/ 217539 w 435077"/>
                <a:gd name="connsiteY0" fmla="*/ 0 h 435077"/>
                <a:gd name="connsiteX1" fmla="*/ 217539 w 435077"/>
                <a:gd name="connsiteY1" fmla="*/ 0 h 435077"/>
                <a:gd name="connsiteX2" fmla="*/ 0 w 435077"/>
                <a:gd name="connsiteY2" fmla="*/ 0 h 435077"/>
                <a:gd name="connsiteX3" fmla="*/ 0 w 435077"/>
                <a:gd name="connsiteY3" fmla="*/ 217539 h 435077"/>
                <a:gd name="connsiteX4" fmla="*/ 217539 w 435077"/>
                <a:gd name="connsiteY4" fmla="*/ 27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217539" y="0"/>
                  </a:lnTo>
                  <a:lnTo>
                    <a:pt x="0" y="0"/>
                  </a:lnTo>
                  <a:lnTo>
                    <a:pt x="0" y="217539"/>
                  </a:lnTo>
                  <a:lnTo>
                    <a:pt x="217539" y="27"/>
                  </a:lnTo>
                  <a:lnTo>
                    <a:pt x="435077" y="217539"/>
                  </a:lnTo>
                  <a:lnTo>
                    <a:pt x="217539" y="435077"/>
                  </a:lnTo>
                  <a:lnTo>
                    <a:pt x="0" y="217539"/>
                  </a:lnTo>
                  <a:lnTo>
                    <a:pt x="0" y="435077"/>
                  </a:lnTo>
                  <a:lnTo>
                    <a:pt x="217539" y="435077"/>
                  </a:lnTo>
                  <a:lnTo>
                    <a:pt x="435077" y="435077"/>
                  </a:lnTo>
                  <a:lnTo>
                    <a:pt x="435077" y="217539"/>
                  </a:lnTo>
                  <a:lnTo>
                    <a:pt x="435077" y="0"/>
                  </a:lnTo>
                  <a:lnTo>
                    <a:pt x="217539" y="0"/>
                  </a:lnTo>
                  <a:close/>
                </a:path>
              </a:pathLst>
            </a:custGeom>
            <a:grpFill/>
            <a:ln w="27192" cap="flat">
              <a:noFill/>
              <a:prstDash val="solid"/>
              <a:miter/>
            </a:ln>
          </p:spPr>
          <p:txBody>
            <a:bodyPr rtlCol="0" anchor="ctr"/>
            <a:lstStyle/>
            <a:p>
              <a:endParaRPr lang="uk-UA" sz="900"/>
            </a:p>
          </p:txBody>
        </p:sp>
        <p:sp>
          <p:nvSpPr>
            <p:cNvPr id="827" name="Freeform: Shape 826">
              <a:extLst>
                <a:ext uri="{FF2B5EF4-FFF2-40B4-BE49-F238E27FC236}">
                  <a16:creationId xmlns:a16="http://schemas.microsoft.com/office/drawing/2014/main" id="{46422B67-C5B9-4450-FF54-B2185459E477}"/>
                </a:ext>
              </a:extLst>
            </p:cNvPr>
            <p:cNvSpPr/>
            <p:nvPr/>
          </p:nvSpPr>
          <p:spPr>
            <a:xfrm>
              <a:off x="7797062" y="10670458"/>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27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66 h 435077"/>
                <a:gd name="connsiteX9" fmla="*/ 435077 w 435077"/>
                <a:gd name="connsiteY9" fmla="*/ 217566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27"/>
                  </a:lnTo>
                  <a:lnTo>
                    <a:pt x="435077" y="217539"/>
                  </a:lnTo>
                  <a:lnTo>
                    <a:pt x="435077" y="217539"/>
                  </a:lnTo>
                  <a:lnTo>
                    <a:pt x="435077" y="217539"/>
                  </a:lnTo>
                  <a:lnTo>
                    <a:pt x="435077" y="217566"/>
                  </a:lnTo>
                  <a:lnTo>
                    <a:pt x="435077" y="217566"/>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828" name="Freeform: Shape 827">
              <a:extLst>
                <a:ext uri="{FF2B5EF4-FFF2-40B4-BE49-F238E27FC236}">
                  <a16:creationId xmlns:a16="http://schemas.microsoft.com/office/drawing/2014/main" id="{9464D10F-B714-F3AC-03F0-8C4DDA8D6503}"/>
                </a:ext>
              </a:extLst>
            </p:cNvPr>
            <p:cNvSpPr/>
            <p:nvPr/>
          </p:nvSpPr>
          <p:spPr>
            <a:xfrm>
              <a:off x="6926907" y="10670458"/>
              <a:ext cx="435077" cy="435077"/>
            </a:xfrm>
            <a:custGeom>
              <a:avLst/>
              <a:gdLst>
                <a:gd name="connsiteX0" fmla="*/ 371366 w 435077"/>
                <a:gd name="connsiteY0" fmla="*/ 63739 h 435077"/>
                <a:gd name="connsiteX1" fmla="*/ 435077 w 435077"/>
                <a:gd name="connsiteY1" fmla="*/ 217539 h 435077"/>
                <a:gd name="connsiteX2" fmla="*/ 217702 w 435077"/>
                <a:gd name="connsiteY2" fmla="*/ 217539 h 435077"/>
                <a:gd name="connsiteX3" fmla="*/ 371366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6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39"/>
                  </a:moveTo>
                  <a:cubicBezTo>
                    <a:pt x="412155" y="104527"/>
                    <a:pt x="435077" y="159864"/>
                    <a:pt x="435077" y="217539"/>
                  </a:cubicBezTo>
                  <a:lnTo>
                    <a:pt x="217702" y="217539"/>
                  </a:lnTo>
                  <a:cubicBezTo>
                    <a:pt x="275350" y="217593"/>
                    <a:pt x="330605" y="240516"/>
                    <a:pt x="371366" y="281277"/>
                  </a:cubicBezTo>
                  <a:cubicBezTo>
                    <a:pt x="412155" y="322066"/>
                    <a:pt x="435077" y="377402"/>
                    <a:pt x="435077" y="435077"/>
                  </a:cubicBezTo>
                  <a:lnTo>
                    <a:pt x="217539" y="435077"/>
                  </a:lnTo>
                  <a:lnTo>
                    <a:pt x="0" y="435077"/>
                  </a:lnTo>
                  <a:cubicBezTo>
                    <a:pt x="0" y="377402"/>
                    <a:pt x="22924" y="322066"/>
                    <a:pt x="63712" y="281277"/>
                  </a:cubicBezTo>
                  <a:cubicBezTo>
                    <a:pt x="104473" y="240516"/>
                    <a:pt x="159728" y="217593"/>
                    <a:pt x="217376" y="217539"/>
                  </a:cubicBezTo>
                  <a:lnTo>
                    <a:pt x="0" y="217539"/>
                  </a:lnTo>
                  <a:cubicBezTo>
                    <a:pt x="0" y="159864"/>
                    <a:pt x="22924" y="104527"/>
                    <a:pt x="63712" y="63739"/>
                  </a:cubicBezTo>
                  <a:cubicBezTo>
                    <a:pt x="104501" y="22923"/>
                    <a:pt x="159837" y="0"/>
                    <a:pt x="217539" y="0"/>
                  </a:cubicBezTo>
                  <a:cubicBezTo>
                    <a:pt x="275241" y="0"/>
                    <a:pt x="330550" y="22923"/>
                    <a:pt x="371366" y="63739"/>
                  </a:cubicBezTo>
                  <a:close/>
                </a:path>
              </a:pathLst>
            </a:custGeom>
            <a:grpFill/>
            <a:ln w="27192" cap="flat">
              <a:noFill/>
              <a:prstDash val="solid"/>
              <a:miter/>
            </a:ln>
          </p:spPr>
          <p:txBody>
            <a:bodyPr rtlCol="0" anchor="ctr"/>
            <a:lstStyle/>
            <a:p>
              <a:endParaRPr lang="uk-UA" sz="900"/>
            </a:p>
          </p:txBody>
        </p:sp>
        <p:sp>
          <p:nvSpPr>
            <p:cNvPr id="829" name="Freeform: Shape 828">
              <a:extLst>
                <a:ext uri="{FF2B5EF4-FFF2-40B4-BE49-F238E27FC236}">
                  <a16:creationId xmlns:a16="http://schemas.microsoft.com/office/drawing/2014/main" id="{1183B84F-026F-FAFE-4AAC-AD4480F42BB7}"/>
                </a:ext>
              </a:extLst>
            </p:cNvPr>
            <p:cNvSpPr/>
            <p:nvPr/>
          </p:nvSpPr>
          <p:spPr>
            <a:xfrm>
              <a:off x="8667217" y="1067045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830" name="Freeform: Shape 829">
              <a:extLst>
                <a:ext uri="{FF2B5EF4-FFF2-40B4-BE49-F238E27FC236}">
                  <a16:creationId xmlns:a16="http://schemas.microsoft.com/office/drawing/2014/main" id="{981E742B-0645-2359-13BD-2FF05FD96E61}"/>
                </a:ext>
              </a:extLst>
            </p:cNvPr>
            <p:cNvSpPr/>
            <p:nvPr/>
          </p:nvSpPr>
          <p:spPr>
            <a:xfrm>
              <a:off x="9537371" y="1067045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p>
          </p:txBody>
        </p:sp>
        <p:sp>
          <p:nvSpPr>
            <p:cNvPr id="831" name="Freeform: Shape 830">
              <a:extLst>
                <a:ext uri="{FF2B5EF4-FFF2-40B4-BE49-F238E27FC236}">
                  <a16:creationId xmlns:a16="http://schemas.microsoft.com/office/drawing/2014/main" id="{F99D13F0-9173-E477-5F3C-C4001FF47B2F}"/>
                </a:ext>
              </a:extLst>
            </p:cNvPr>
            <p:cNvSpPr/>
            <p:nvPr/>
          </p:nvSpPr>
          <p:spPr>
            <a:xfrm>
              <a:off x="11277709" y="10670458"/>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27 h 435077"/>
                <a:gd name="connsiteX5" fmla="*/ 435049 w 435077"/>
                <a:gd name="connsiteY5" fmla="*/ 217539 h 435077"/>
                <a:gd name="connsiteX6" fmla="*/ 435077 w 435077"/>
                <a:gd name="connsiteY6" fmla="*/ 217539 h 435077"/>
                <a:gd name="connsiteX7" fmla="*/ 435049 w 435077"/>
                <a:gd name="connsiteY7" fmla="*/ 217539 h 435077"/>
                <a:gd name="connsiteX8" fmla="*/ 435077 w 435077"/>
                <a:gd name="connsiteY8" fmla="*/ 217566 h 435077"/>
                <a:gd name="connsiteX9" fmla="*/ 435049 w 435077"/>
                <a:gd name="connsiteY9" fmla="*/ 217566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27"/>
                  </a:lnTo>
                  <a:lnTo>
                    <a:pt x="435049" y="217539"/>
                  </a:lnTo>
                  <a:lnTo>
                    <a:pt x="435077" y="217539"/>
                  </a:lnTo>
                  <a:lnTo>
                    <a:pt x="435049" y="217539"/>
                  </a:lnTo>
                  <a:lnTo>
                    <a:pt x="435077" y="217566"/>
                  </a:lnTo>
                  <a:lnTo>
                    <a:pt x="435049" y="217566"/>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832" name="Freeform: Shape 831">
              <a:extLst>
                <a:ext uri="{FF2B5EF4-FFF2-40B4-BE49-F238E27FC236}">
                  <a16:creationId xmlns:a16="http://schemas.microsoft.com/office/drawing/2014/main" id="{6AB07FA8-46DB-41A7-BFDB-9EE22FFA3F40}"/>
                </a:ext>
              </a:extLst>
            </p:cNvPr>
            <p:cNvSpPr/>
            <p:nvPr/>
          </p:nvSpPr>
          <p:spPr>
            <a:xfrm>
              <a:off x="10407526" y="10670458"/>
              <a:ext cx="435104" cy="435077"/>
            </a:xfrm>
            <a:custGeom>
              <a:avLst/>
              <a:gdLst>
                <a:gd name="connsiteX0" fmla="*/ 371366 w 435104"/>
                <a:gd name="connsiteY0" fmla="*/ 63739 h 435077"/>
                <a:gd name="connsiteX1" fmla="*/ 435077 w 435104"/>
                <a:gd name="connsiteY1" fmla="*/ 217539 h 435077"/>
                <a:gd name="connsiteX2" fmla="*/ 217730 w 435104"/>
                <a:gd name="connsiteY2" fmla="*/ 217539 h 435077"/>
                <a:gd name="connsiteX3" fmla="*/ 371366 w 435104"/>
                <a:gd name="connsiteY3" fmla="*/ 281277 h 435077"/>
                <a:gd name="connsiteX4" fmla="*/ 435105 w 435104"/>
                <a:gd name="connsiteY4" fmla="*/ 435077 h 435077"/>
                <a:gd name="connsiteX5" fmla="*/ 217566 w 435104"/>
                <a:gd name="connsiteY5" fmla="*/ 435077 h 435077"/>
                <a:gd name="connsiteX6" fmla="*/ 27 w 435104"/>
                <a:gd name="connsiteY6" fmla="*/ 435077 h 435077"/>
                <a:gd name="connsiteX7" fmla="*/ 63739 w 435104"/>
                <a:gd name="connsiteY7" fmla="*/ 281277 h 435077"/>
                <a:gd name="connsiteX8" fmla="*/ 217376 w 435104"/>
                <a:gd name="connsiteY8" fmla="*/ 217539 h 435077"/>
                <a:gd name="connsiteX9" fmla="*/ 0 w 435104"/>
                <a:gd name="connsiteY9" fmla="*/ 217539 h 435077"/>
                <a:gd name="connsiteX10" fmla="*/ 63739 w 435104"/>
                <a:gd name="connsiteY10" fmla="*/ 63739 h 435077"/>
                <a:gd name="connsiteX11" fmla="*/ 217539 w 435104"/>
                <a:gd name="connsiteY11" fmla="*/ 0 h 435077"/>
                <a:gd name="connsiteX12" fmla="*/ 371366 w 435104"/>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4" h="435077">
                  <a:moveTo>
                    <a:pt x="371366" y="63739"/>
                  </a:moveTo>
                  <a:cubicBezTo>
                    <a:pt x="412182" y="104527"/>
                    <a:pt x="435077" y="159864"/>
                    <a:pt x="435077" y="217539"/>
                  </a:cubicBezTo>
                  <a:lnTo>
                    <a:pt x="217730" y="217539"/>
                  </a:lnTo>
                  <a:cubicBezTo>
                    <a:pt x="275350" y="217593"/>
                    <a:pt x="330632" y="240516"/>
                    <a:pt x="371366" y="281277"/>
                  </a:cubicBezTo>
                  <a:cubicBezTo>
                    <a:pt x="412182" y="322066"/>
                    <a:pt x="435105" y="377402"/>
                    <a:pt x="435105" y="435077"/>
                  </a:cubicBezTo>
                  <a:lnTo>
                    <a:pt x="217566" y="435077"/>
                  </a:lnTo>
                  <a:lnTo>
                    <a:pt x="27" y="435077"/>
                  </a:lnTo>
                  <a:cubicBezTo>
                    <a:pt x="27" y="377402"/>
                    <a:pt x="22924" y="322066"/>
                    <a:pt x="63739" y="281277"/>
                  </a:cubicBezTo>
                  <a:cubicBezTo>
                    <a:pt x="104501" y="240516"/>
                    <a:pt x="159755" y="217593"/>
                    <a:pt x="217376" y="217539"/>
                  </a:cubicBezTo>
                  <a:lnTo>
                    <a:pt x="0" y="217539"/>
                  </a:lnTo>
                  <a:cubicBezTo>
                    <a:pt x="0" y="159864"/>
                    <a:pt x="22924" y="104527"/>
                    <a:pt x="63739" y="63739"/>
                  </a:cubicBezTo>
                  <a:cubicBezTo>
                    <a:pt x="104527" y="22923"/>
                    <a:pt x="159864" y="0"/>
                    <a:pt x="217539" y="0"/>
                  </a:cubicBezTo>
                  <a:cubicBezTo>
                    <a:pt x="275241" y="0"/>
                    <a:pt x="330578" y="22923"/>
                    <a:pt x="371366" y="63739"/>
                  </a:cubicBezTo>
                  <a:close/>
                </a:path>
              </a:pathLst>
            </a:custGeom>
            <a:grpFill/>
            <a:ln w="27192" cap="flat">
              <a:noFill/>
              <a:prstDash val="solid"/>
              <a:miter/>
            </a:ln>
          </p:spPr>
          <p:txBody>
            <a:bodyPr rtlCol="0" anchor="ctr"/>
            <a:lstStyle/>
            <a:p>
              <a:endParaRPr lang="uk-UA" sz="900"/>
            </a:p>
          </p:txBody>
        </p:sp>
        <p:sp>
          <p:nvSpPr>
            <p:cNvPr id="833" name="Freeform: Shape 832">
              <a:extLst>
                <a:ext uri="{FF2B5EF4-FFF2-40B4-BE49-F238E27FC236}">
                  <a16:creationId xmlns:a16="http://schemas.microsoft.com/office/drawing/2014/main" id="{B2AB01CB-54E9-5996-2E71-DF3D627B93DF}"/>
                </a:ext>
              </a:extLst>
            </p:cNvPr>
            <p:cNvSpPr/>
            <p:nvPr/>
          </p:nvSpPr>
          <p:spPr>
            <a:xfrm>
              <a:off x="12147864" y="1067045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834" name="Freeform: Shape 833">
              <a:extLst>
                <a:ext uri="{FF2B5EF4-FFF2-40B4-BE49-F238E27FC236}">
                  <a16:creationId xmlns:a16="http://schemas.microsoft.com/office/drawing/2014/main" id="{FAFB29FF-401C-5949-11F2-71A18C816926}"/>
                </a:ext>
              </a:extLst>
            </p:cNvPr>
            <p:cNvSpPr/>
            <p:nvPr/>
          </p:nvSpPr>
          <p:spPr>
            <a:xfrm>
              <a:off x="13018045" y="1067045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835" name="Freeform: Shape 834">
              <a:extLst>
                <a:ext uri="{FF2B5EF4-FFF2-40B4-BE49-F238E27FC236}">
                  <a16:creationId xmlns:a16="http://schemas.microsoft.com/office/drawing/2014/main" id="{6B75025C-960D-C851-0C2E-5DC3BBC83A83}"/>
                </a:ext>
              </a:extLst>
            </p:cNvPr>
            <p:cNvSpPr/>
            <p:nvPr/>
          </p:nvSpPr>
          <p:spPr>
            <a:xfrm>
              <a:off x="14758328" y="1067045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836" name="Freeform: Shape 835">
              <a:extLst>
                <a:ext uri="{FF2B5EF4-FFF2-40B4-BE49-F238E27FC236}">
                  <a16:creationId xmlns:a16="http://schemas.microsoft.com/office/drawing/2014/main" id="{7C616A3F-F356-2BBF-636B-F5A90C0E66FB}"/>
                </a:ext>
              </a:extLst>
            </p:cNvPr>
            <p:cNvSpPr/>
            <p:nvPr/>
          </p:nvSpPr>
          <p:spPr>
            <a:xfrm>
              <a:off x="13888200" y="10670458"/>
              <a:ext cx="435077" cy="435077"/>
            </a:xfrm>
            <a:custGeom>
              <a:avLst/>
              <a:gdLst>
                <a:gd name="connsiteX0" fmla="*/ 371365 w 435077"/>
                <a:gd name="connsiteY0" fmla="*/ 63739 h 435077"/>
                <a:gd name="connsiteX1" fmla="*/ 435077 w 435077"/>
                <a:gd name="connsiteY1" fmla="*/ 217539 h 435077"/>
                <a:gd name="connsiteX2" fmla="*/ 217730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39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5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39"/>
                  </a:moveTo>
                  <a:cubicBezTo>
                    <a:pt x="412154" y="104527"/>
                    <a:pt x="435077" y="159864"/>
                    <a:pt x="435077" y="217539"/>
                  </a:cubicBezTo>
                  <a:lnTo>
                    <a:pt x="217730" y="217539"/>
                  </a:lnTo>
                  <a:cubicBezTo>
                    <a:pt x="275349" y="217593"/>
                    <a:pt x="330605" y="240516"/>
                    <a:pt x="371365" y="281277"/>
                  </a:cubicBezTo>
                  <a:cubicBezTo>
                    <a:pt x="412182" y="322066"/>
                    <a:pt x="435077" y="377402"/>
                    <a:pt x="435077" y="435077"/>
                  </a:cubicBezTo>
                  <a:lnTo>
                    <a:pt x="217539" y="435077"/>
                  </a:lnTo>
                  <a:lnTo>
                    <a:pt x="0" y="435077"/>
                  </a:lnTo>
                  <a:cubicBezTo>
                    <a:pt x="0" y="377402"/>
                    <a:pt x="22924" y="322066"/>
                    <a:pt x="63739" y="281277"/>
                  </a:cubicBezTo>
                  <a:cubicBezTo>
                    <a:pt x="104472" y="240516"/>
                    <a:pt x="159755" y="217593"/>
                    <a:pt x="217376" y="217539"/>
                  </a:cubicBezTo>
                  <a:lnTo>
                    <a:pt x="0" y="217539"/>
                  </a:lnTo>
                  <a:cubicBezTo>
                    <a:pt x="0" y="159864"/>
                    <a:pt x="22924" y="104527"/>
                    <a:pt x="63712" y="63739"/>
                  </a:cubicBezTo>
                  <a:cubicBezTo>
                    <a:pt x="104527" y="22923"/>
                    <a:pt x="159836" y="0"/>
                    <a:pt x="217539" y="0"/>
                  </a:cubicBezTo>
                  <a:cubicBezTo>
                    <a:pt x="275241" y="0"/>
                    <a:pt x="330577" y="22923"/>
                    <a:pt x="371365" y="63739"/>
                  </a:cubicBezTo>
                  <a:close/>
                </a:path>
              </a:pathLst>
            </a:custGeom>
            <a:grpFill/>
            <a:ln w="27192" cap="flat">
              <a:noFill/>
              <a:prstDash val="solid"/>
              <a:miter/>
            </a:ln>
          </p:spPr>
          <p:txBody>
            <a:bodyPr rtlCol="0" anchor="ctr"/>
            <a:lstStyle/>
            <a:p>
              <a:endParaRPr lang="uk-UA" sz="900"/>
            </a:p>
          </p:txBody>
        </p:sp>
        <p:sp>
          <p:nvSpPr>
            <p:cNvPr id="837" name="Freeform: Shape 836">
              <a:extLst>
                <a:ext uri="{FF2B5EF4-FFF2-40B4-BE49-F238E27FC236}">
                  <a16:creationId xmlns:a16="http://schemas.microsoft.com/office/drawing/2014/main" id="{163F10BB-F384-EAD8-F670-58A769531946}"/>
                </a:ext>
              </a:extLst>
            </p:cNvPr>
            <p:cNvSpPr/>
            <p:nvPr/>
          </p:nvSpPr>
          <p:spPr>
            <a:xfrm>
              <a:off x="15628536" y="1067045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838" name="Freeform: Shape 837">
              <a:extLst>
                <a:ext uri="{FF2B5EF4-FFF2-40B4-BE49-F238E27FC236}">
                  <a16:creationId xmlns:a16="http://schemas.microsoft.com/office/drawing/2014/main" id="{992ACDCE-C425-65B5-3476-AC9C9F53B26E}"/>
                </a:ext>
              </a:extLst>
            </p:cNvPr>
            <p:cNvSpPr/>
            <p:nvPr/>
          </p:nvSpPr>
          <p:spPr>
            <a:xfrm>
              <a:off x="16498691" y="10670458"/>
              <a:ext cx="435077" cy="435077"/>
            </a:xfrm>
            <a:custGeom>
              <a:avLst/>
              <a:gdLst>
                <a:gd name="connsiteX0" fmla="*/ 217567 w 435077"/>
                <a:gd name="connsiteY0" fmla="*/ 0 h 435077"/>
                <a:gd name="connsiteX1" fmla="*/ 217539 w 435077"/>
                <a:gd name="connsiteY1" fmla="*/ 0 h 435077"/>
                <a:gd name="connsiteX2" fmla="*/ 28 w 435077"/>
                <a:gd name="connsiteY2" fmla="*/ 0 h 435077"/>
                <a:gd name="connsiteX3" fmla="*/ 28 w 435077"/>
                <a:gd name="connsiteY3" fmla="*/ 217539 h 435077"/>
                <a:gd name="connsiteX4" fmla="*/ 217567 w 435077"/>
                <a:gd name="connsiteY4" fmla="*/ 27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67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67" y="0"/>
                  </a:moveTo>
                  <a:lnTo>
                    <a:pt x="217539" y="0"/>
                  </a:lnTo>
                  <a:lnTo>
                    <a:pt x="28" y="0"/>
                  </a:lnTo>
                  <a:lnTo>
                    <a:pt x="28" y="217539"/>
                  </a:lnTo>
                  <a:lnTo>
                    <a:pt x="217567" y="27"/>
                  </a:lnTo>
                  <a:lnTo>
                    <a:pt x="435077" y="217539"/>
                  </a:lnTo>
                  <a:lnTo>
                    <a:pt x="217539" y="435077"/>
                  </a:lnTo>
                  <a:lnTo>
                    <a:pt x="0" y="217539"/>
                  </a:lnTo>
                  <a:lnTo>
                    <a:pt x="0" y="435077"/>
                  </a:lnTo>
                  <a:lnTo>
                    <a:pt x="217539" y="435077"/>
                  </a:lnTo>
                  <a:lnTo>
                    <a:pt x="435077" y="435077"/>
                  </a:lnTo>
                  <a:lnTo>
                    <a:pt x="435077" y="217539"/>
                  </a:lnTo>
                  <a:lnTo>
                    <a:pt x="435077" y="0"/>
                  </a:lnTo>
                  <a:lnTo>
                    <a:pt x="217567" y="0"/>
                  </a:lnTo>
                  <a:close/>
                </a:path>
              </a:pathLst>
            </a:custGeom>
            <a:grpFill/>
            <a:ln w="27192" cap="flat">
              <a:noFill/>
              <a:prstDash val="solid"/>
              <a:miter/>
            </a:ln>
          </p:spPr>
          <p:txBody>
            <a:bodyPr rtlCol="0" anchor="ctr"/>
            <a:lstStyle/>
            <a:p>
              <a:endParaRPr lang="uk-UA" sz="900"/>
            </a:p>
          </p:txBody>
        </p:sp>
        <p:sp>
          <p:nvSpPr>
            <p:cNvPr id="839" name="Freeform: Shape 838">
              <a:extLst>
                <a:ext uri="{FF2B5EF4-FFF2-40B4-BE49-F238E27FC236}">
                  <a16:creationId xmlns:a16="http://schemas.microsoft.com/office/drawing/2014/main" id="{0D96C6FC-136B-675D-B474-8D5C9306BAED}"/>
                </a:ext>
              </a:extLst>
            </p:cNvPr>
            <p:cNvSpPr/>
            <p:nvPr/>
          </p:nvSpPr>
          <p:spPr>
            <a:xfrm>
              <a:off x="18239029" y="1067045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840" name="Freeform: Shape 839">
              <a:extLst>
                <a:ext uri="{FF2B5EF4-FFF2-40B4-BE49-F238E27FC236}">
                  <a16:creationId xmlns:a16="http://schemas.microsoft.com/office/drawing/2014/main" id="{0B73CA6E-88FB-4128-88D4-CF823FFEA121}"/>
                </a:ext>
              </a:extLst>
            </p:cNvPr>
            <p:cNvSpPr/>
            <p:nvPr/>
          </p:nvSpPr>
          <p:spPr>
            <a:xfrm>
              <a:off x="17368874" y="10670458"/>
              <a:ext cx="435077" cy="435077"/>
            </a:xfrm>
            <a:custGeom>
              <a:avLst/>
              <a:gdLst>
                <a:gd name="connsiteX0" fmla="*/ 371339 w 435077"/>
                <a:gd name="connsiteY0" fmla="*/ 63739 h 435077"/>
                <a:gd name="connsiteX1" fmla="*/ 435077 w 435077"/>
                <a:gd name="connsiteY1" fmla="*/ 217539 h 435077"/>
                <a:gd name="connsiteX2" fmla="*/ 217701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0 w 435077"/>
                <a:gd name="connsiteY7" fmla="*/ 281277 h 435077"/>
                <a:gd name="connsiteX8" fmla="*/ 217374 w 435077"/>
                <a:gd name="connsiteY8" fmla="*/ 217539 h 435077"/>
                <a:gd name="connsiteX9" fmla="*/ 0 w 435077"/>
                <a:gd name="connsiteY9" fmla="*/ 217539 h 435077"/>
                <a:gd name="connsiteX10" fmla="*/ 63710 w 435077"/>
                <a:gd name="connsiteY10" fmla="*/ 63739 h 435077"/>
                <a:gd name="connsiteX11" fmla="*/ 217539 w 435077"/>
                <a:gd name="connsiteY11" fmla="*/ 0 h 435077"/>
                <a:gd name="connsiteX12" fmla="*/ 371339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39"/>
                  </a:moveTo>
                  <a:cubicBezTo>
                    <a:pt x="412154" y="104527"/>
                    <a:pt x="435077" y="159864"/>
                    <a:pt x="435077" y="217539"/>
                  </a:cubicBezTo>
                  <a:lnTo>
                    <a:pt x="217701" y="217539"/>
                  </a:lnTo>
                  <a:cubicBezTo>
                    <a:pt x="275322" y="217593"/>
                    <a:pt x="330603" y="240516"/>
                    <a:pt x="371365" y="281277"/>
                  </a:cubicBezTo>
                  <a:cubicBezTo>
                    <a:pt x="412154" y="322066"/>
                    <a:pt x="435077" y="377402"/>
                    <a:pt x="435077" y="435077"/>
                  </a:cubicBezTo>
                  <a:lnTo>
                    <a:pt x="217539" y="435077"/>
                  </a:lnTo>
                  <a:lnTo>
                    <a:pt x="0" y="435077"/>
                  </a:lnTo>
                  <a:cubicBezTo>
                    <a:pt x="0" y="377402"/>
                    <a:pt x="22922" y="322066"/>
                    <a:pt x="63710" y="281277"/>
                  </a:cubicBezTo>
                  <a:cubicBezTo>
                    <a:pt x="104472" y="240516"/>
                    <a:pt x="159727" y="217593"/>
                    <a:pt x="217374" y="217539"/>
                  </a:cubicBezTo>
                  <a:lnTo>
                    <a:pt x="0" y="217539"/>
                  </a:lnTo>
                  <a:cubicBezTo>
                    <a:pt x="0" y="159864"/>
                    <a:pt x="22895" y="104527"/>
                    <a:pt x="63710" y="63739"/>
                  </a:cubicBezTo>
                  <a:cubicBezTo>
                    <a:pt x="104499" y="22923"/>
                    <a:pt x="159836" y="0"/>
                    <a:pt x="217539" y="0"/>
                  </a:cubicBezTo>
                  <a:cubicBezTo>
                    <a:pt x="275213" y="0"/>
                    <a:pt x="330550" y="22923"/>
                    <a:pt x="371339" y="63739"/>
                  </a:cubicBezTo>
                  <a:close/>
                </a:path>
              </a:pathLst>
            </a:custGeom>
            <a:grpFill/>
            <a:ln w="27192" cap="flat">
              <a:noFill/>
              <a:prstDash val="solid"/>
              <a:miter/>
            </a:ln>
          </p:spPr>
          <p:txBody>
            <a:bodyPr rtlCol="0" anchor="ctr"/>
            <a:lstStyle/>
            <a:p>
              <a:endParaRPr lang="uk-UA" sz="900"/>
            </a:p>
          </p:txBody>
        </p:sp>
        <p:sp>
          <p:nvSpPr>
            <p:cNvPr id="841" name="Freeform: Shape 840">
              <a:extLst>
                <a:ext uri="{FF2B5EF4-FFF2-40B4-BE49-F238E27FC236}">
                  <a16:creationId xmlns:a16="http://schemas.microsoft.com/office/drawing/2014/main" id="{70BE2C6E-8631-7372-F4C1-C5FCED230769}"/>
                </a:ext>
              </a:extLst>
            </p:cNvPr>
            <p:cNvSpPr/>
            <p:nvPr/>
          </p:nvSpPr>
          <p:spPr>
            <a:xfrm>
              <a:off x="19109184" y="1067045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65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65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65" y="435105"/>
                  </a:lnTo>
                  <a:lnTo>
                    <a:pt x="435077" y="217566"/>
                  </a:lnTo>
                  <a:lnTo>
                    <a:pt x="435077" y="435105"/>
                  </a:lnTo>
                  <a:close/>
                  <a:moveTo>
                    <a:pt x="435077" y="27"/>
                  </a:moveTo>
                  <a:lnTo>
                    <a:pt x="217565"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842" name="Freeform: Shape 841">
              <a:extLst>
                <a:ext uri="{FF2B5EF4-FFF2-40B4-BE49-F238E27FC236}">
                  <a16:creationId xmlns:a16="http://schemas.microsoft.com/office/drawing/2014/main" id="{2D831F2E-E248-B2C8-E9D9-688D45F31F9B}"/>
                </a:ext>
              </a:extLst>
            </p:cNvPr>
            <p:cNvSpPr/>
            <p:nvPr/>
          </p:nvSpPr>
          <p:spPr>
            <a:xfrm>
              <a:off x="19979365" y="1067045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843" name="Freeform: Shape 842">
              <a:extLst>
                <a:ext uri="{FF2B5EF4-FFF2-40B4-BE49-F238E27FC236}">
                  <a16:creationId xmlns:a16="http://schemas.microsoft.com/office/drawing/2014/main" id="{A2577CC0-89B2-A316-68BF-4C69D5AC4205}"/>
                </a:ext>
              </a:extLst>
            </p:cNvPr>
            <p:cNvSpPr/>
            <p:nvPr/>
          </p:nvSpPr>
          <p:spPr>
            <a:xfrm>
              <a:off x="21719675" y="1067045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844" name="Freeform: Shape 843">
              <a:extLst>
                <a:ext uri="{FF2B5EF4-FFF2-40B4-BE49-F238E27FC236}">
                  <a16:creationId xmlns:a16="http://schemas.microsoft.com/office/drawing/2014/main" id="{5914357D-1C70-7D3D-C7F9-DDF751B810F8}"/>
                </a:ext>
              </a:extLst>
            </p:cNvPr>
            <p:cNvSpPr/>
            <p:nvPr/>
          </p:nvSpPr>
          <p:spPr>
            <a:xfrm>
              <a:off x="20849520" y="10670458"/>
              <a:ext cx="435077" cy="435077"/>
            </a:xfrm>
            <a:custGeom>
              <a:avLst/>
              <a:gdLst>
                <a:gd name="connsiteX0" fmla="*/ 371365 w 435077"/>
                <a:gd name="connsiteY0" fmla="*/ 63739 h 435077"/>
                <a:gd name="connsiteX1" fmla="*/ 435077 w 435077"/>
                <a:gd name="connsiteY1" fmla="*/ 217539 h 435077"/>
                <a:gd name="connsiteX2" fmla="*/ 217701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5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39"/>
                  </a:moveTo>
                  <a:cubicBezTo>
                    <a:pt x="412154" y="104527"/>
                    <a:pt x="435077" y="159864"/>
                    <a:pt x="435077" y="217539"/>
                  </a:cubicBezTo>
                  <a:lnTo>
                    <a:pt x="217701" y="217539"/>
                  </a:lnTo>
                  <a:cubicBezTo>
                    <a:pt x="275349" y="217593"/>
                    <a:pt x="330605" y="240516"/>
                    <a:pt x="371365" y="281277"/>
                  </a:cubicBezTo>
                  <a:cubicBezTo>
                    <a:pt x="412154" y="322066"/>
                    <a:pt x="435077" y="377402"/>
                    <a:pt x="435077" y="435077"/>
                  </a:cubicBezTo>
                  <a:lnTo>
                    <a:pt x="217539" y="435077"/>
                  </a:lnTo>
                  <a:lnTo>
                    <a:pt x="0" y="435077"/>
                  </a:lnTo>
                  <a:cubicBezTo>
                    <a:pt x="0" y="377402"/>
                    <a:pt x="22924" y="322066"/>
                    <a:pt x="63712" y="281277"/>
                  </a:cubicBezTo>
                  <a:cubicBezTo>
                    <a:pt x="104472" y="240516"/>
                    <a:pt x="159755" y="217593"/>
                    <a:pt x="217376" y="217539"/>
                  </a:cubicBezTo>
                  <a:lnTo>
                    <a:pt x="0" y="217539"/>
                  </a:lnTo>
                  <a:cubicBezTo>
                    <a:pt x="0" y="159864"/>
                    <a:pt x="22924" y="104527"/>
                    <a:pt x="63712" y="63739"/>
                  </a:cubicBezTo>
                  <a:cubicBezTo>
                    <a:pt x="104501" y="22923"/>
                    <a:pt x="159836" y="0"/>
                    <a:pt x="217539" y="0"/>
                  </a:cubicBezTo>
                  <a:cubicBezTo>
                    <a:pt x="275241" y="0"/>
                    <a:pt x="330577" y="22923"/>
                    <a:pt x="371365" y="63739"/>
                  </a:cubicBezTo>
                  <a:close/>
                </a:path>
              </a:pathLst>
            </a:custGeom>
            <a:grpFill/>
            <a:ln w="27192" cap="flat">
              <a:noFill/>
              <a:prstDash val="solid"/>
              <a:miter/>
            </a:ln>
          </p:spPr>
          <p:txBody>
            <a:bodyPr rtlCol="0" anchor="ctr"/>
            <a:lstStyle/>
            <a:p>
              <a:endParaRPr lang="uk-UA" sz="900"/>
            </a:p>
          </p:txBody>
        </p:sp>
        <p:sp>
          <p:nvSpPr>
            <p:cNvPr id="845" name="Freeform: Shape 844">
              <a:extLst>
                <a:ext uri="{FF2B5EF4-FFF2-40B4-BE49-F238E27FC236}">
                  <a16:creationId xmlns:a16="http://schemas.microsoft.com/office/drawing/2014/main" id="{02B25895-4C8D-123C-EF5C-7E04B3F35FE8}"/>
                </a:ext>
              </a:extLst>
            </p:cNvPr>
            <p:cNvSpPr/>
            <p:nvPr/>
          </p:nvSpPr>
          <p:spPr>
            <a:xfrm>
              <a:off x="22589856" y="1067045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846" name="Freeform: Shape 845">
              <a:extLst>
                <a:ext uri="{FF2B5EF4-FFF2-40B4-BE49-F238E27FC236}">
                  <a16:creationId xmlns:a16="http://schemas.microsoft.com/office/drawing/2014/main" id="{8CCAC0CC-941E-26EE-F1A8-B04EA482872B}"/>
                </a:ext>
              </a:extLst>
            </p:cNvPr>
            <p:cNvSpPr/>
            <p:nvPr/>
          </p:nvSpPr>
          <p:spPr>
            <a:xfrm>
              <a:off x="23460011" y="10670458"/>
              <a:ext cx="435105" cy="435077"/>
            </a:xfrm>
            <a:custGeom>
              <a:avLst/>
              <a:gdLst>
                <a:gd name="connsiteX0" fmla="*/ 217539 w 435105"/>
                <a:gd name="connsiteY0" fmla="*/ 0 h 435077"/>
                <a:gd name="connsiteX1" fmla="*/ 0 w 435105"/>
                <a:gd name="connsiteY1" fmla="*/ 0 h 435077"/>
                <a:gd name="connsiteX2" fmla="*/ 0 w 435105"/>
                <a:gd name="connsiteY2" fmla="*/ 217539 h 435077"/>
                <a:gd name="connsiteX3" fmla="*/ 217539 w 435105"/>
                <a:gd name="connsiteY3" fmla="*/ 0 h 435077"/>
                <a:gd name="connsiteX4" fmla="*/ 435106 w 435105"/>
                <a:gd name="connsiteY4" fmla="*/ 27 h 435077"/>
                <a:gd name="connsiteX5" fmla="*/ 435106 w 435105"/>
                <a:gd name="connsiteY5" fmla="*/ 217566 h 435077"/>
                <a:gd name="connsiteX6" fmla="*/ 217567 w 435105"/>
                <a:gd name="connsiteY6" fmla="*/ 27 h 435077"/>
                <a:gd name="connsiteX7" fmla="*/ 435106 w 435105"/>
                <a:gd name="connsiteY7" fmla="*/ 27 h 435077"/>
                <a:gd name="connsiteX8" fmla="*/ 217567 w 435105"/>
                <a:gd name="connsiteY8" fmla="*/ 435077 h 435077"/>
                <a:gd name="connsiteX9" fmla="*/ 435106 w 435105"/>
                <a:gd name="connsiteY9" fmla="*/ 217566 h 435077"/>
                <a:gd name="connsiteX10" fmla="*/ 435106 w 435105"/>
                <a:gd name="connsiteY10" fmla="*/ 435077 h 435077"/>
                <a:gd name="connsiteX11" fmla="*/ 217567 w 435105"/>
                <a:gd name="connsiteY11" fmla="*/ 435077 h 435077"/>
                <a:gd name="connsiteX12" fmla="*/ 217567 w 435105"/>
                <a:gd name="connsiteY12" fmla="*/ 435077 h 435077"/>
                <a:gd name="connsiteX13" fmla="*/ 28 w 435105"/>
                <a:gd name="connsiteY13" fmla="*/ 217566 h 435077"/>
                <a:gd name="connsiteX14" fmla="*/ 28 w 435105"/>
                <a:gd name="connsiteY14" fmla="*/ 435077 h 435077"/>
                <a:gd name="connsiteX15" fmla="*/ 217567 w 435105"/>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5" h="435077">
                  <a:moveTo>
                    <a:pt x="217539" y="0"/>
                  </a:moveTo>
                  <a:lnTo>
                    <a:pt x="0" y="0"/>
                  </a:lnTo>
                  <a:lnTo>
                    <a:pt x="0" y="217539"/>
                  </a:lnTo>
                  <a:lnTo>
                    <a:pt x="217539" y="0"/>
                  </a:lnTo>
                  <a:close/>
                  <a:moveTo>
                    <a:pt x="435106" y="27"/>
                  </a:moveTo>
                  <a:lnTo>
                    <a:pt x="435106" y="217566"/>
                  </a:lnTo>
                  <a:lnTo>
                    <a:pt x="217567" y="27"/>
                  </a:lnTo>
                  <a:lnTo>
                    <a:pt x="435106" y="27"/>
                  </a:lnTo>
                  <a:close/>
                  <a:moveTo>
                    <a:pt x="217567" y="435077"/>
                  </a:moveTo>
                  <a:lnTo>
                    <a:pt x="435106" y="217566"/>
                  </a:lnTo>
                  <a:lnTo>
                    <a:pt x="435106" y="435077"/>
                  </a:lnTo>
                  <a:lnTo>
                    <a:pt x="217567" y="435077"/>
                  </a:lnTo>
                  <a:close/>
                  <a:moveTo>
                    <a:pt x="217567" y="435077"/>
                  </a:moveTo>
                  <a:lnTo>
                    <a:pt x="28" y="217566"/>
                  </a:lnTo>
                  <a:lnTo>
                    <a:pt x="28" y="435077"/>
                  </a:lnTo>
                  <a:lnTo>
                    <a:pt x="217567" y="435077"/>
                  </a:lnTo>
                  <a:close/>
                </a:path>
              </a:pathLst>
            </a:custGeom>
            <a:grpFill/>
            <a:ln w="27192" cap="flat">
              <a:noFill/>
              <a:prstDash val="solid"/>
              <a:miter/>
            </a:ln>
          </p:spPr>
          <p:txBody>
            <a:bodyPr rtlCol="0" anchor="ctr"/>
            <a:lstStyle/>
            <a:p>
              <a:endParaRPr lang="uk-UA" sz="900"/>
            </a:p>
          </p:txBody>
        </p:sp>
        <p:sp>
          <p:nvSpPr>
            <p:cNvPr id="847" name="Freeform: Shape 846">
              <a:extLst>
                <a:ext uri="{FF2B5EF4-FFF2-40B4-BE49-F238E27FC236}">
                  <a16:creationId xmlns:a16="http://schemas.microsoft.com/office/drawing/2014/main" id="{4AD90DCF-D825-FA67-CF33-E97297CA2460}"/>
                </a:ext>
              </a:extLst>
            </p:cNvPr>
            <p:cNvSpPr/>
            <p:nvPr/>
          </p:nvSpPr>
          <p:spPr>
            <a:xfrm>
              <a:off x="24330194" y="10670458"/>
              <a:ext cx="435077" cy="435077"/>
            </a:xfrm>
            <a:custGeom>
              <a:avLst/>
              <a:gdLst>
                <a:gd name="connsiteX0" fmla="*/ 371447 w 435077"/>
                <a:gd name="connsiteY0" fmla="*/ 63739 h 435077"/>
                <a:gd name="connsiteX1" fmla="*/ 435077 w 435077"/>
                <a:gd name="connsiteY1" fmla="*/ 217539 h 435077"/>
                <a:gd name="connsiteX2" fmla="*/ 217811 w 435077"/>
                <a:gd name="connsiteY2" fmla="*/ 217539 h 435077"/>
                <a:gd name="connsiteX3" fmla="*/ 371447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267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447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447" y="63739"/>
                  </a:moveTo>
                  <a:cubicBezTo>
                    <a:pt x="412235" y="104527"/>
                    <a:pt x="435077" y="159864"/>
                    <a:pt x="435077" y="217539"/>
                  </a:cubicBezTo>
                  <a:lnTo>
                    <a:pt x="217811" y="217539"/>
                  </a:lnTo>
                  <a:cubicBezTo>
                    <a:pt x="275459" y="217593"/>
                    <a:pt x="330658" y="240516"/>
                    <a:pt x="371447" y="281277"/>
                  </a:cubicBezTo>
                  <a:cubicBezTo>
                    <a:pt x="412235" y="322066"/>
                    <a:pt x="435077" y="377402"/>
                    <a:pt x="435077" y="435077"/>
                  </a:cubicBezTo>
                  <a:lnTo>
                    <a:pt x="217539" y="435077"/>
                  </a:lnTo>
                  <a:lnTo>
                    <a:pt x="0" y="435077"/>
                  </a:lnTo>
                  <a:cubicBezTo>
                    <a:pt x="0" y="377402"/>
                    <a:pt x="22924" y="322066"/>
                    <a:pt x="63712" y="281277"/>
                  </a:cubicBezTo>
                  <a:cubicBezTo>
                    <a:pt x="104472" y="240516"/>
                    <a:pt x="159727" y="217593"/>
                    <a:pt x="217267" y="217539"/>
                  </a:cubicBezTo>
                  <a:lnTo>
                    <a:pt x="0" y="217539"/>
                  </a:lnTo>
                  <a:cubicBezTo>
                    <a:pt x="0" y="159864"/>
                    <a:pt x="22924" y="104527"/>
                    <a:pt x="63712" y="63739"/>
                  </a:cubicBezTo>
                  <a:cubicBezTo>
                    <a:pt x="104501" y="22923"/>
                    <a:pt x="159836" y="0"/>
                    <a:pt x="217539" y="0"/>
                  </a:cubicBezTo>
                  <a:cubicBezTo>
                    <a:pt x="275186" y="0"/>
                    <a:pt x="330658" y="22923"/>
                    <a:pt x="371447" y="63739"/>
                  </a:cubicBezTo>
                  <a:close/>
                </a:path>
              </a:pathLst>
            </a:custGeom>
            <a:grpFill/>
            <a:ln w="27192" cap="flat">
              <a:noFill/>
              <a:prstDash val="solid"/>
              <a:miter/>
            </a:ln>
          </p:spPr>
          <p:txBody>
            <a:bodyPr rtlCol="0" anchor="ctr"/>
            <a:lstStyle/>
            <a:p>
              <a:endParaRPr lang="uk-UA" sz="900"/>
            </a:p>
          </p:txBody>
        </p:sp>
        <p:sp>
          <p:nvSpPr>
            <p:cNvPr id="848" name="Freeform: Shape 847">
              <a:extLst>
                <a:ext uri="{FF2B5EF4-FFF2-40B4-BE49-F238E27FC236}">
                  <a16:creationId xmlns:a16="http://schemas.microsoft.com/office/drawing/2014/main" id="{66A8367B-DAD2-1742-EB0E-5AF3E1092BDB}"/>
                </a:ext>
              </a:extLst>
            </p:cNvPr>
            <p:cNvSpPr/>
            <p:nvPr/>
          </p:nvSpPr>
          <p:spPr>
            <a:xfrm>
              <a:off x="835742" y="1154061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6 w 435077"/>
                <a:gd name="connsiteY3" fmla="*/ 27 h 435077"/>
                <a:gd name="connsiteX4" fmla="*/ 435077 w 435077"/>
                <a:gd name="connsiteY4" fmla="*/ 217566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6" y="27"/>
                  </a:lnTo>
                  <a:lnTo>
                    <a:pt x="435077" y="217566"/>
                  </a:lnTo>
                  <a:lnTo>
                    <a:pt x="217566"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849" name="Freeform: Shape 848">
              <a:extLst>
                <a:ext uri="{FF2B5EF4-FFF2-40B4-BE49-F238E27FC236}">
                  <a16:creationId xmlns:a16="http://schemas.microsoft.com/office/drawing/2014/main" id="{066E320C-EFC2-0A85-AD73-260C7579973E}"/>
                </a:ext>
              </a:extLst>
            </p:cNvPr>
            <p:cNvSpPr/>
            <p:nvPr/>
          </p:nvSpPr>
          <p:spPr>
            <a:xfrm>
              <a:off x="-34407" y="11540612"/>
              <a:ext cx="435072" cy="435077"/>
            </a:xfrm>
            <a:custGeom>
              <a:avLst/>
              <a:gdLst>
                <a:gd name="connsiteX0" fmla="*/ 63717 w 435072"/>
                <a:gd name="connsiteY0" fmla="*/ 153827 h 435077"/>
                <a:gd name="connsiteX1" fmla="*/ 0 w 435072"/>
                <a:gd name="connsiteY1" fmla="*/ 0 h 435077"/>
                <a:gd name="connsiteX2" fmla="*/ 217533 w 435072"/>
                <a:gd name="connsiteY2" fmla="*/ 0 h 435077"/>
                <a:gd name="connsiteX3" fmla="*/ 435072 w 435072"/>
                <a:gd name="connsiteY3" fmla="*/ 0 h 435077"/>
                <a:gd name="connsiteX4" fmla="*/ 371360 w 435072"/>
                <a:gd name="connsiteY4" fmla="*/ 153827 h 435077"/>
                <a:gd name="connsiteX5" fmla="*/ 217533 w 435072"/>
                <a:gd name="connsiteY5" fmla="*/ 217539 h 435077"/>
                <a:gd name="connsiteX6" fmla="*/ 63717 w 435072"/>
                <a:gd name="connsiteY6" fmla="*/ 153827 h 435077"/>
                <a:gd name="connsiteX7" fmla="*/ 63717 w 435072"/>
                <a:gd name="connsiteY7" fmla="*/ 281277 h 435077"/>
                <a:gd name="connsiteX8" fmla="*/ 0 w 435072"/>
                <a:gd name="connsiteY8" fmla="*/ 435077 h 435077"/>
                <a:gd name="connsiteX9" fmla="*/ 217533 w 435072"/>
                <a:gd name="connsiteY9" fmla="*/ 435077 h 435077"/>
                <a:gd name="connsiteX10" fmla="*/ 435072 w 435072"/>
                <a:gd name="connsiteY10" fmla="*/ 435077 h 435077"/>
                <a:gd name="connsiteX11" fmla="*/ 371360 w 435072"/>
                <a:gd name="connsiteY11" fmla="*/ 281277 h 435077"/>
                <a:gd name="connsiteX12" fmla="*/ 217533 w 435072"/>
                <a:gd name="connsiteY12" fmla="*/ 217539 h 435077"/>
                <a:gd name="connsiteX13" fmla="*/ 63717 w 435072"/>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2" h="435077">
                  <a:moveTo>
                    <a:pt x="63717" y="153827"/>
                  </a:moveTo>
                  <a:cubicBezTo>
                    <a:pt x="22921" y="113039"/>
                    <a:pt x="0" y="57702"/>
                    <a:pt x="0" y="0"/>
                  </a:cubicBezTo>
                  <a:lnTo>
                    <a:pt x="217533" y="0"/>
                  </a:lnTo>
                  <a:lnTo>
                    <a:pt x="435072" y="0"/>
                  </a:lnTo>
                  <a:cubicBezTo>
                    <a:pt x="435072" y="57702"/>
                    <a:pt x="412149" y="113039"/>
                    <a:pt x="371360" y="153827"/>
                  </a:cubicBezTo>
                  <a:cubicBezTo>
                    <a:pt x="330572" y="194642"/>
                    <a:pt x="275236" y="217539"/>
                    <a:pt x="217533" y="217539"/>
                  </a:cubicBezTo>
                  <a:cubicBezTo>
                    <a:pt x="159858" y="217539"/>
                    <a:pt x="104514" y="194642"/>
                    <a:pt x="63717" y="153827"/>
                  </a:cubicBezTo>
                  <a:close/>
                  <a:moveTo>
                    <a:pt x="63717" y="281277"/>
                  </a:moveTo>
                  <a:cubicBezTo>
                    <a:pt x="22921" y="322066"/>
                    <a:pt x="0" y="377402"/>
                    <a:pt x="0" y="435077"/>
                  </a:cubicBezTo>
                  <a:lnTo>
                    <a:pt x="217533" y="435077"/>
                  </a:lnTo>
                  <a:lnTo>
                    <a:pt x="435072" y="435077"/>
                  </a:lnTo>
                  <a:cubicBezTo>
                    <a:pt x="435072" y="377402"/>
                    <a:pt x="412149" y="322066"/>
                    <a:pt x="371360" y="281277"/>
                  </a:cubicBezTo>
                  <a:cubicBezTo>
                    <a:pt x="330572" y="240462"/>
                    <a:pt x="275236" y="217539"/>
                    <a:pt x="217533" y="217539"/>
                  </a:cubicBezTo>
                  <a:cubicBezTo>
                    <a:pt x="159858" y="217539"/>
                    <a:pt x="104514" y="240462"/>
                    <a:pt x="63717" y="281277"/>
                  </a:cubicBezTo>
                  <a:close/>
                </a:path>
              </a:pathLst>
            </a:custGeom>
            <a:grpFill/>
            <a:ln w="27192" cap="flat">
              <a:noFill/>
              <a:prstDash val="solid"/>
              <a:miter/>
            </a:ln>
          </p:spPr>
          <p:txBody>
            <a:bodyPr rtlCol="0" anchor="ctr"/>
            <a:lstStyle/>
            <a:p>
              <a:endParaRPr lang="uk-UA" sz="900"/>
            </a:p>
          </p:txBody>
        </p:sp>
        <p:sp>
          <p:nvSpPr>
            <p:cNvPr id="850" name="Freeform: Shape 849">
              <a:extLst>
                <a:ext uri="{FF2B5EF4-FFF2-40B4-BE49-F238E27FC236}">
                  <a16:creationId xmlns:a16="http://schemas.microsoft.com/office/drawing/2014/main" id="{DECA80C7-8482-0798-75C1-B541EA4BD1FC}"/>
                </a:ext>
              </a:extLst>
            </p:cNvPr>
            <p:cNvSpPr/>
            <p:nvPr/>
          </p:nvSpPr>
          <p:spPr>
            <a:xfrm>
              <a:off x="1705924" y="1154061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851" name="Freeform: Shape 850">
              <a:extLst>
                <a:ext uri="{FF2B5EF4-FFF2-40B4-BE49-F238E27FC236}">
                  <a16:creationId xmlns:a16="http://schemas.microsoft.com/office/drawing/2014/main" id="{685195F4-55B6-051B-2038-58E4346FC2A4}"/>
                </a:ext>
              </a:extLst>
            </p:cNvPr>
            <p:cNvSpPr/>
            <p:nvPr/>
          </p:nvSpPr>
          <p:spPr>
            <a:xfrm>
              <a:off x="2576106" y="1154064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2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2" y="217539"/>
                  </a:lnTo>
                  <a:lnTo>
                    <a:pt x="0" y="435050"/>
                  </a:lnTo>
                  <a:close/>
                </a:path>
              </a:pathLst>
            </a:custGeom>
            <a:grpFill/>
            <a:ln w="27192" cap="flat">
              <a:noFill/>
              <a:prstDash val="solid"/>
              <a:miter/>
            </a:ln>
          </p:spPr>
          <p:txBody>
            <a:bodyPr rtlCol="0" anchor="ctr"/>
            <a:lstStyle/>
            <a:p>
              <a:endParaRPr lang="uk-UA" sz="900"/>
            </a:p>
          </p:txBody>
        </p:sp>
        <p:sp>
          <p:nvSpPr>
            <p:cNvPr id="852" name="Freeform: Shape 851">
              <a:extLst>
                <a:ext uri="{FF2B5EF4-FFF2-40B4-BE49-F238E27FC236}">
                  <a16:creationId xmlns:a16="http://schemas.microsoft.com/office/drawing/2014/main" id="{81178811-395A-A1E9-0B97-04B6CA6DDA00}"/>
                </a:ext>
              </a:extLst>
            </p:cNvPr>
            <p:cNvSpPr/>
            <p:nvPr/>
          </p:nvSpPr>
          <p:spPr>
            <a:xfrm>
              <a:off x="4316416" y="1154061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5 w 435077"/>
                <a:gd name="connsiteY3" fmla="*/ 27 h 435077"/>
                <a:gd name="connsiteX4" fmla="*/ 435077 w 435077"/>
                <a:gd name="connsiteY4" fmla="*/ 217566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5" y="27"/>
                  </a:lnTo>
                  <a:lnTo>
                    <a:pt x="435077" y="217566"/>
                  </a:lnTo>
                  <a:lnTo>
                    <a:pt x="217565"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853" name="Freeform: Shape 852">
              <a:extLst>
                <a:ext uri="{FF2B5EF4-FFF2-40B4-BE49-F238E27FC236}">
                  <a16:creationId xmlns:a16="http://schemas.microsoft.com/office/drawing/2014/main" id="{D257D56F-37FE-D20E-2589-19A4C9CE4620}"/>
                </a:ext>
              </a:extLst>
            </p:cNvPr>
            <p:cNvSpPr/>
            <p:nvPr/>
          </p:nvSpPr>
          <p:spPr>
            <a:xfrm>
              <a:off x="3446261" y="1154061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3" y="113039"/>
                    <a:pt x="0" y="57702"/>
                    <a:pt x="0" y="0"/>
                  </a:cubicBezTo>
                  <a:lnTo>
                    <a:pt x="217539" y="0"/>
                  </a:lnTo>
                  <a:lnTo>
                    <a:pt x="435077" y="0"/>
                  </a:lnTo>
                  <a:cubicBezTo>
                    <a:pt x="435077" y="57702"/>
                    <a:pt x="412154" y="113039"/>
                    <a:pt x="371366" y="153827"/>
                  </a:cubicBezTo>
                  <a:cubicBezTo>
                    <a:pt x="330577" y="194642"/>
                    <a:pt x="275241" y="217539"/>
                    <a:pt x="217539" y="217539"/>
                  </a:cubicBezTo>
                  <a:cubicBezTo>
                    <a:pt x="159837" y="217539"/>
                    <a:pt x="104500" y="194642"/>
                    <a:pt x="63712" y="153827"/>
                  </a:cubicBezTo>
                  <a:close/>
                  <a:moveTo>
                    <a:pt x="63712" y="281277"/>
                  </a:moveTo>
                  <a:cubicBezTo>
                    <a:pt x="22923" y="322066"/>
                    <a:pt x="0" y="377402"/>
                    <a:pt x="0" y="435077"/>
                  </a:cubicBezTo>
                  <a:lnTo>
                    <a:pt x="217539" y="435077"/>
                  </a:lnTo>
                  <a:lnTo>
                    <a:pt x="435077" y="435077"/>
                  </a:lnTo>
                  <a:cubicBezTo>
                    <a:pt x="435077" y="377402"/>
                    <a:pt x="412154" y="322066"/>
                    <a:pt x="371366" y="281277"/>
                  </a:cubicBezTo>
                  <a:cubicBezTo>
                    <a:pt x="330577" y="240462"/>
                    <a:pt x="275241" y="217539"/>
                    <a:pt x="217539" y="217539"/>
                  </a:cubicBezTo>
                  <a:cubicBezTo>
                    <a:pt x="159837" y="217539"/>
                    <a:pt x="104500" y="240462"/>
                    <a:pt x="63712" y="281277"/>
                  </a:cubicBezTo>
                  <a:close/>
                </a:path>
              </a:pathLst>
            </a:custGeom>
            <a:grpFill/>
            <a:ln w="27192" cap="flat">
              <a:noFill/>
              <a:prstDash val="solid"/>
              <a:miter/>
            </a:ln>
          </p:spPr>
          <p:txBody>
            <a:bodyPr rtlCol="0" anchor="ctr"/>
            <a:lstStyle/>
            <a:p>
              <a:endParaRPr lang="uk-UA" sz="900"/>
            </a:p>
          </p:txBody>
        </p:sp>
        <p:sp>
          <p:nvSpPr>
            <p:cNvPr id="854" name="Freeform: Shape 853">
              <a:extLst>
                <a:ext uri="{FF2B5EF4-FFF2-40B4-BE49-F238E27FC236}">
                  <a16:creationId xmlns:a16="http://schemas.microsoft.com/office/drawing/2014/main" id="{B3080F7E-AC76-0A76-C468-051D51147DAA}"/>
                </a:ext>
              </a:extLst>
            </p:cNvPr>
            <p:cNvSpPr/>
            <p:nvPr/>
          </p:nvSpPr>
          <p:spPr>
            <a:xfrm>
              <a:off x="5186597" y="11540612"/>
              <a:ext cx="435077" cy="435077"/>
            </a:xfrm>
            <a:custGeom>
              <a:avLst/>
              <a:gdLst>
                <a:gd name="connsiteX0" fmla="*/ 0 w 435077"/>
                <a:gd name="connsiteY0" fmla="*/ 435077 h 435077"/>
                <a:gd name="connsiteX1" fmla="*/ 0 w 435077"/>
                <a:gd name="connsiteY1" fmla="*/ 0 h 435077"/>
                <a:gd name="connsiteX2" fmla="*/ 217512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12"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855" name="Freeform: Shape 854">
              <a:extLst>
                <a:ext uri="{FF2B5EF4-FFF2-40B4-BE49-F238E27FC236}">
                  <a16:creationId xmlns:a16="http://schemas.microsoft.com/office/drawing/2014/main" id="{B7DBEEFA-0ECA-AEB7-D384-40B389182C64}"/>
                </a:ext>
              </a:extLst>
            </p:cNvPr>
            <p:cNvSpPr/>
            <p:nvPr/>
          </p:nvSpPr>
          <p:spPr>
            <a:xfrm>
              <a:off x="6056752" y="1154064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2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2" y="217539"/>
                  </a:lnTo>
                  <a:lnTo>
                    <a:pt x="0" y="435050"/>
                  </a:lnTo>
                  <a:close/>
                </a:path>
              </a:pathLst>
            </a:custGeom>
            <a:grpFill/>
            <a:ln w="27192" cap="flat">
              <a:noFill/>
              <a:prstDash val="solid"/>
              <a:miter/>
            </a:ln>
          </p:spPr>
          <p:txBody>
            <a:bodyPr rtlCol="0" anchor="ctr"/>
            <a:lstStyle/>
            <a:p>
              <a:endParaRPr lang="uk-UA" sz="900"/>
            </a:p>
          </p:txBody>
        </p:sp>
        <p:sp>
          <p:nvSpPr>
            <p:cNvPr id="856" name="Freeform: Shape 855">
              <a:extLst>
                <a:ext uri="{FF2B5EF4-FFF2-40B4-BE49-F238E27FC236}">
                  <a16:creationId xmlns:a16="http://schemas.microsoft.com/office/drawing/2014/main" id="{41609813-4840-C755-8159-0A81D5D87637}"/>
                </a:ext>
              </a:extLst>
            </p:cNvPr>
            <p:cNvSpPr/>
            <p:nvPr/>
          </p:nvSpPr>
          <p:spPr>
            <a:xfrm>
              <a:off x="7797062" y="1154061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6 w 435077"/>
                <a:gd name="connsiteY3" fmla="*/ 27 h 435077"/>
                <a:gd name="connsiteX4" fmla="*/ 435077 w 435077"/>
                <a:gd name="connsiteY4" fmla="*/ 217566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6" y="27"/>
                  </a:lnTo>
                  <a:lnTo>
                    <a:pt x="435077" y="217566"/>
                  </a:lnTo>
                  <a:lnTo>
                    <a:pt x="217566"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857" name="Freeform: Shape 856">
              <a:extLst>
                <a:ext uri="{FF2B5EF4-FFF2-40B4-BE49-F238E27FC236}">
                  <a16:creationId xmlns:a16="http://schemas.microsoft.com/office/drawing/2014/main" id="{64152FFD-CBD4-6542-16D5-69DB9D19AFB9}"/>
                </a:ext>
              </a:extLst>
            </p:cNvPr>
            <p:cNvSpPr/>
            <p:nvPr/>
          </p:nvSpPr>
          <p:spPr>
            <a:xfrm>
              <a:off x="6926907" y="1154061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6" y="153827"/>
                  </a:cubicBezTo>
                  <a:cubicBezTo>
                    <a:pt x="330550" y="194642"/>
                    <a:pt x="275241" y="217539"/>
                    <a:pt x="217539" y="217539"/>
                  </a:cubicBezTo>
                  <a:cubicBezTo>
                    <a:pt x="159837"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5" y="322066"/>
                    <a:pt x="371366" y="281277"/>
                  </a:cubicBezTo>
                  <a:cubicBezTo>
                    <a:pt x="330550" y="240462"/>
                    <a:pt x="275241" y="217539"/>
                    <a:pt x="217539" y="217539"/>
                  </a:cubicBezTo>
                  <a:cubicBezTo>
                    <a:pt x="159837" y="217539"/>
                    <a:pt x="104501" y="240462"/>
                    <a:pt x="63712" y="281277"/>
                  </a:cubicBezTo>
                  <a:close/>
                </a:path>
              </a:pathLst>
            </a:custGeom>
            <a:grpFill/>
            <a:ln w="27192" cap="flat">
              <a:noFill/>
              <a:prstDash val="solid"/>
              <a:miter/>
            </a:ln>
          </p:spPr>
          <p:txBody>
            <a:bodyPr rtlCol="0" anchor="ctr"/>
            <a:lstStyle/>
            <a:p>
              <a:endParaRPr lang="uk-UA" sz="900"/>
            </a:p>
          </p:txBody>
        </p:sp>
        <p:sp>
          <p:nvSpPr>
            <p:cNvPr id="858" name="Freeform: Shape 857">
              <a:extLst>
                <a:ext uri="{FF2B5EF4-FFF2-40B4-BE49-F238E27FC236}">
                  <a16:creationId xmlns:a16="http://schemas.microsoft.com/office/drawing/2014/main" id="{A4BD122E-91D7-64AB-04DE-696B083D378F}"/>
                </a:ext>
              </a:extLst>
            </p:cNvPr>
            <p:cNvSpPr/>
            <p:nvPr/>
          </p:nvSpPr>
          <p:spPr>
            <a:xfrm>
              <a:off x="8667217" y="1154061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859" name="Freeform: Shape 858">
              <a:extLst>
                <a:ext uri="{FF2B5EF4-FFF2-40B4-BE49-F238E27FC236}">
                  <a16:creationId xmlns:a16="http://schemas.microsoft.com/office/drawing/2014/main" id="{168AC66E-8D5D-7C44-1867-894AB65F3E70}"/>
                </a:ext>
              </a:extLst>
            </p:cNvPr>
            <p:cNvSpPr/>
            <p:nvPr/>
          </p:nvSpPr>
          <p:spPr>
            <a:xfrm>
              <a:off x="9537399" y="1154064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1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1" y="217539"/>
                  </a:lnTo>
                  <a:lnTo>
                    <a:pt x="0" y="435050"/>
                  </a:lnTo>
                  <a:close/>
                </a:path>
              </a:pathLst>
            </a:custGeom>
            <a:grpFill/>
            <a:ln w="27192" cap="flat">
              <a:noFill/>
              <a:prstDash val="solid"/>
              <a:miter/>
            </a:ln>
          </p:spPr>
          <p:txBody>
            <a:bodyPr rtlCol="0" anchor="ctr"/>
            <a:lstStyle/>
            <a:p>
              <a:endParaRPr lang="uk-UA" sz="900"/>
            </a:p>
          </p:txBody>
        </p:sp>
        <p:sp>
          <p:nvSpPr>
            <p:cNvPr id="860" name="Freeform: Shape 859">
              <a:extLst>
                <a:ext uri="{FF2B5EF4-FFF2-40B4-BE49-F238E27FC236}">
                  <a16:creationId xmlns:a16="http://schemas.microsoft.com/office/drawing/2014/main" id="{D15C0B0B-D1D5-3B27-495B-FBF3993564A7}"/>
                </a:ext>
              </a:extLst>
            </p:cNvPr>
            <p:cNvSpPr/>
            <p:nvPr/>
          </p:nvSpPr>
          <p:spPr>
            <a:xfrm>
              <a:off x="11277709" y="1154061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0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10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0" y="217539"/>
                  </a:lnTo>
                  <a:lnTo>
                    <a:pt x="0" y="217539"/>
                  </a:lnTo>
                  <a:close/>
                  <a:moveTo>
                    <a:pt x="0" y="435077"/>
                  </a:moveTo>
                  <a:lnTo>
                    <a:pt x="0" y="217566"/>
                  </a:lnTo>
                  <a:lnTo>
                    <a:pt x="217510" y="217566"/>
                  </a:lnTo>
                  <a:lnTo>
                    <a:pt x="0" y="435077"/>
                  </a:lnTo>
                  <a:close/>
                </a:path>
              </a:pathLst>
            </a:custGeom>
            <a:grpFill/>
            <a:ln w="27192" cap="flat">
              <a:noFill/>
              <a:prstDash val="solid"/>
              <a:miter/>
            </a:ln>
          </p:spPr>
          <p:txBody>
            <a:bodyPr rtlCol="0" anchor="ctr"/>
            <a:lstStyle/>
            <a:p>
              <a:endParaRPr lang="uk-UA" sz="900"/>
            </a:p>
          </p:txBody>
        </p:sp>
        <p:sp>
          <p:nvSpPr>
            <p:cNvPr id="861" name="Freeform: Shape 860">
              <a:extLst>
                <a:ext uri="{FF2B5EF4-FFF2-40B4-BE49-F238E27FC236}">
                  <a16:creationId xmlns:a16="http://schemas.microsoft.com/office/drawing/2014/main" id="{F733F7C0-DE4A-9EC1-4B1E-AF0AE7537563}"/>
                </a:ext>
              </a:extLst>
            </p:cNvPr>
            <p:cNvSpPr/>
            <p:nvPr/>
          </p:nvSpPr>
          <p:spPr>
            <a:xfrm>
              <a:off x="10407526" y="11540612"/>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39 w 435077"/>
                <a:gd name="connsiteY6" fmla="*/ 153827 h 435077"/>
                <a:gd name="connsiteX7" fmla="*/ 63739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39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4" y="113039"/>
                    <a:pt x="0" y="57702"/>
                    <a:pt x="0" y="0"/>
                  </a:cubicBezTo>
                  <a:lnTo>
                    <a:pt x="217539" y="0"/>
                  </a:lnTo>
                  <a:lnTo>
                    <a:pt x="435077" y="0"/>
                  </a:lnTo>
                  <a:cubicBezTo>
                    <a:pt x="435077" y="57702"/>
                    <a:pt x="412182" y="113039"/>
                    <a:pt x="371366" y="153827"/>
                  </a:cubicBezTo>
                  <a:cubicBezTo>
                    <a:pt x="330578" y="194642"/>
                    <a:pt x="275241" y="217539"/>
                    <a:pt x="217539" y="217539"/>
                  </a:cubicBezTo>
                  <a:cubicBezTo>
                    <a:pt x="159864" y="217539"/>
                    <a:pt x="104527" y="194642"/>
                    <a:pt x="63739" y="153827"/>
                  </a:cubicBezTo>
                  <a:close/>
                  <a:moveTo>
                    <a:pt x="63739" y="281277"/>
                  </a:moveTo>
                  <a:cubicBezTo>
                    <a:pt x="22924" y="322066"/>
                    <a:pt x="0" y="377402"/>
                    <a:pt x="0" y="435077"/>
                  </a:cubicBezTo>
                  <a:lnTo>
                    <a:pt x="217539" y="435077"/>
                  </a:lnTo>
                  <a:lnTo>
                    <a:pt x="435077" y="435077"/>
                  </a:lnTo>
                  <a:cubicBezTo>
                    <a:pt x="435077" y="377402"/>
                    <a:pt x="412182" y="322066"/>
                    <a:pt x="371366" y="281277"/>
                  </a:cubicBezTo>
                  <a:cubicBezTo>
                    <a:pt x="330578" y="240462"/>
                    <a:pt x="275241" y="217539"/>
                    <a:pt x="217539" y="217539"/>
                  </a:cubicBezTo>
                  <a:cubicBezTo>
                    <a:pt x="159864" y="217539"/>
                    <a:pt x="104527" y="240462"/>
                    <a:pt x="63739" y="281277"/>
                  </a:cubicBezTo>
                  <a:close/>
                </a:path>
              </a:pathLst>
            </a:custGeom>
            <a:grpFill/>
            <a:ln w="27192" cap="flat">
              <a:noFill/>
              <a:prstDash val="solid"/>
              <a:miter/>
            </a:ln>
          </p:spPr>
          <p:txBody>
            <a:bodyPr rtlCol="0" anchor="ctr"/>
            <a:lstStyle/>
            <a:p>
              <a:endParaRPr lang="uk-UA" sz="900"/>
            </a:p>
          </p:txBody>
        </p:sp>
        <p:sp>
          <p:nvSpPr>
            <p:cNvPr id="862" name="Freeform: Shape 861">
              <a:extLst>
                <a:ext uri="{FF2B5EF4-FFF2-40B4-BE49-F238E27FC236}">
                  <a16:creationId xmlns:a16="http://schemas.microsoft.com/office/drawing/2014/main" id="{79A26B1F-147D-9BF5-D62F-F43BF4425214}"/>
                </a:ext>
              </a:extLst>
            </p:cNvPr>
            <p:cNvSpPr/>
            <p:nvPr/>
          </p:nvSpPr>
          <p:spPr>
            <a:xfrm>
              <a:off x="12147864" y="1154061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863" name="Freeform: Shape 862">
              <a:extLst>
                <a:ext uri="{FF2B5EF4-FFF2-40B4-BE49-F238E27FC236}">
                  <a16:creationId xmlns:a16="http://schemas.microsoft.com/office/drawing/2014/main" id="{EAA98FCB-9773-61BE-64DB-698EDF6C69E0}"/>
                </a:ext>
              </a:extLst>
            </p:cNvPr>
            <p:cNvSpPr/>
            <p:nvPr/>
          </p:nvSpPr>
          <p:spPr>
            <a:xfrm>
              <a:off x="13018045" y="1154064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2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2" y="217539"/>
                  </a:lnTo>
                  <a:lnTo>
                    <a:pt x="0" y="435050"/>
                  </a:lnTo>
                  <a:close/>
                </a:path>
              </a:pathLst>
            </a:custGeom>
            <a:grpFill/>
            <a:ln w="27192" cap="flat">
              <a:noFill/>
              <a:prstDash val="solid"/>
              <a:miter/>
            </a:ln>
          </p:spPr>
          <p:txBody>
            <a:bodyPr rtlCol="0" anchor="ctr"/>
            <a:lstStyle/>
            <a:p>
              <a:endParaRPr lang="uk-UA" sz="900"/>
            </a:p>
          </p:txBody>
        </p:sp>
        <p:sp>
          <p:nvSpPr>
            <p:cNvPr id="864" name="Freeform: Shape 863">
              <a:extLst>
                <a:ext uri="{FF2B5EF4-FFF2-40B4-BE49-F238E27FC236}">
                  <a16:creationId xmlns:a16="http://schemas.microsoft.com/office/drawing/2014/main" id="{C5181320-DBE8-E638-3EC7-C2999105FCB1}"/>
                </a:ext>
              </a:extLst>
            </p:cNvPr>
            <p:cNvSpPr/>
            <p:nvPr/>
          </p:nvSpPr>
          <p:spPr>
            <a:xfrm>
              <a:off x="14758355" y="11540612"/>
              <a:ext cx="435103" cy="435077"/>
            </a:xfrm>
            <a:custGeom>
              <a:avLst/>
              <a:gdLst>
                <a:gd name="connsiteX0" fmla="*/ 435104 w 435103"/>
                <a:gd name="connsiteY0" fmla="*/ 435077 h 435077"/>
                <a:gd name="connsiteX1" fmla="*/ 435104 w 435103"/>
                <a:gd name="connsiteY1" fmla="*/ 217566 h 435077"/>
                <a:gd name="connsiteX2" fmla="*/ 435104 w 435103"/>
                <a:gd name="connsiteY2" fmla="*/ 27 h 435077"/>
                <a:gd name="connsiteX3" fmla="*/ 217565 w 435103"/>
                <a:gd name="connsiteY3" fmla="*/ 27 h 435077"/>
                <a:gd name="connsiteX4" fmla="*/ 435104 w 435103"/>
                <a:gd name="connsiteY4" fmla="*/ 217566 h 435077"/>
                <a:gd name="connsiteX5" fmla="*/ 217565 w 435103"/>
                <a:gd name="connsiteY5" fmla="*/ 435077 h 435077"/>
                <a:gd name="connsiteX6" fmla="*/ 435104 w 435103"/>
                <a:gd name="connsiteY6" fmla="*/ 435077 h 435077"/>
                <a:gd name="connsiteX7" fmla="*/ 0 w 435103"/>
                <a:gd name="connsiteY7" fmla="*/ 217539 h 435077"/>
                <a:gd name="connsiteX8" fmla="*/ 0 w 435103"/>
                <a:gd name="connsiteY8" fmla="*/ 0 h 435077"/>
                <a:gd name="connsiteX9" fmla="*/ 217539 w 435103"/>
                <a:gd name="connsiteY9" fmla="*/ 217539 h 435077"/>
                <a:gd name="connsiteX10" fmla="*/ 0 w 435103"/>
                <a:gd name="connsiteY10" fmla="*/ 217539 h 435077"/>
                <a:gd name="connsiteX11" fmla="*/ 27 w 435103"/>
                <a:gd name="connsiteY11" fmla="*/ 435077 h 435077"/>
                <a:gd name="connsiteX12" fmla="*/ 27 w 435103"/>
                <a:gd name="connsiteY12" fmla="*/ 217566 h 435077"/>
                <a:gd name="connsiteX13" fmla="*/ 217539 w 435103"/>
                <a:gd name="connsiteY13" fmla="*/ 217566 h 435077"/>
                <a:gd name="connsiteX14" fmla="*/ 27 w 435103"/>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103" h="435077">
                  <a:moveTo>
                    <a:pt x="435104" y="435077"/>
                  </a:moveTo>
                  <a:lnTo>
                    <a:pt x="435104" y="217566"/>
                  </a:lnTo>
                  <a:lnTo>
                    <a:pt x="435104" y="27"/>
                  </a:lnTo>
                  <a:lnTo>
                    <a:pt x="217565" y="27"/>
                  </a:lnTo>
                  <a:lnTo>
                    <a:pt x="435104" y="217566"/>
                  </a:lnTo>
                  <a:lnTo>
                    <a:pt x="217565" y="435077"/>
                  </a:lnTo>
                  <a:lnTo>
                    <a:pt x="435104" y="435077"/>
                  </a:lnTo>
                  <a:close/>
                  <a:moveTo>
                    <a:pt x="0" y="217539"/>
                  </a:moveTo>
                  <a:lnTo>
                    <a:pt x="0" y="0"/>
                  </a:lnTo>
                  <a:lnTo>
                    <a:pt x="217539" y="217539"/>
                  </a:lnTo>
                  <a:lnTo>
                    <a:pt x="0" y="217539"/>
                  </a:lnTo>
                  <a:close/>
                  <a:moveTo>
                    <a:pt x="27" y="435077"/>
                  </a:moveTo>
                  <a:lnTo>
                    <a:pt x="27" y="217566"/>
                  </a:lnTo>
                  <a:lnTo>
                    <a:pt x="217539" y="217566"/>
                  </a:lnTo>
                  <a:lnTo>
                    <a:pt x="27" y="435077"/>
                  </a:lnTo>
                  <a:close/>
                </a:path>
              </a:pathLst>
            </a:custGeom>
            <a:grpFill/>
            <a:ln w="27192" cap="flat">
              <a:noFill/>
              <a:prstDash val="solid"/>
              <a:miter/>
            </a:ln>
          </p:spPr>
          <p:txBody>
            <a:bodyPr rtlCol="0" anchor="ctr"/>
            <a:lstStyle/>
            <a:p>
              <a:endParaRPr lang="uk-UA" sz="900"/>
            </a:p>
          </p:txBody>
        </p:sp>
        <p:sp>
          <p:nvSpPr>
            <p:cNvPr id="865" name="Freeform: Shape 864">
              <a:extLst>
                <a:ext uri="{FF2B5EF4-FFF2-40B4-BE49-F238E27FC236}">
                  <a16:creationId xmlns:a16="http://schemas.microsoft.com/office/drawing/2014/main" id="{03E88FDA-10DC-F597-1F16-1BB335D31A36}"/>
                </a:ext>
              </a:extLst>
            </p:cNvPr>
            <p:cNvSpPr/>
            <p:nvPr/>
          </p:nvSpPr>
          <p:spPr>
            <a:xfrm>
              <a:off x="13888200" y="1154061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4" y="113039"/>
                    <a:pt x="371365" y="153827"/>
                  </a:cubicBezTo>
                  <a:cubicBezTo>
                    <a:pt x="330577" y="194642"/>
                    <a:pt x="275241" y="217539"/>
                    <a:pt x="217539" y="217539"/>
                  </a:cubicBezTo>
                  <a:cubicBezTo>
                    <a:pt x="159836" y="217539"/>
                    <a:pt x="104527" y="194642"/>
                    <a:pt x="63712" y="153827"/>
                  </a:cubicBezTo>
                  <a:close/>
                  <a:moveTo>
                    <a:pt x="63712" y="281277"/>
                  </a:moveTo>
                  <a:cubicBezTo>
                    <a:pt x="22924" y="322066"/>
                    <a:pt x="0" y="377402"/>
                    <a:pt x="0" y="435077"/>
                  </a:cubicBezTo>
                  <a:lnTo>
                    <a:pt x="217539" y="435077"/>
                  </a:lnTo>
                  <a:lnTo>
                    <a:pt x="435077" y="435077"/>
                  </a:lnTo>
                  <a:cubicBezTo>
                    <a:pt x="435077" y="377402"/>
                    <a:pt x="412154" y="322066"/>
                    <a:pt x="371365" y="281277"/>
                  </a:cubicBezTo>
                  <a:cubicBezTo>
                    <a:pt x="330577" y="240462"/>
                    <a:pt x="275241" y="217539"/>
                    <a:pt x="217539" y="217539"/>
                  </a:cubicBezTo>
                  <a:cubicBezTo>
                    <a:pt x="159836" y="217539"/>
                    <a:pt x="104527" y="240462"/>
                    <a:pt x="63712" y="281277"/>
                  </a:cubicBezTo>
                  <a:close/>
                </a:path>
              </a:pathLst>
            </a:custGeom>
            <a:grpFill/>
            <a:ln w="27192" cap="flat">
              <a:noFill/>
              <a:prstDash val="solid"/>
              <a:miter/>
            </a:ln>
          </p:spPr>
          <p:txBody>
            <a:bodyPr rtlCol="0" anchor="ctr"/>
            <a:lstStyle/>
            <a:p>
              <a:endParaRPr lang="uk-UA" sz="900"/>
            </a:p>
          </p:txBody>
        </p:sp>
        <p:sp>
          <p:nvSpPr>
            <p:cNvPr id="866" name="Freeform: Shape 865">
              <a:extLst>
                <a:ext uri="{FF2B5EF4-FFF2-40B4-BE49-F238E27FC236}">
                  <a16:creationId xmlns:a16="http://schemas.microsoft.com/office/drawing/2014/main" id="{CEE12E79-22B3-904B-55EC-AA4128182F22}"/>
                </a:ext>
              </a:extLst>
            </p:cNvPr>
            <p:cNvSpPr/>
            <p:nvPr/>
          </p:nvSpPr>
          <p:spPr>
            <a:xfrm>
              <a:off x="15628536" y="1154061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867" name="Freeform: Shape 866">
              <a:extLst>
                <a:ext uri="{FF2B5EF4-FFF2-40B4-BE49-F238E27FC236}">
                  <a16:creationId xmlns:a16="http://schemas.microsoft.com/office/drawing/2014/main" id="{3E5565CA-8A4C-641A-EE58-C66A3EAF18A3}"/>
                </a:ext>
              </a:extLst>
            </p:cNvPr>
            <p:cNvSpPr/>
            <p:nvPr/>
          </p:nvSpPr>
          <p:spPr>
            <a:xfrm>
              <a:off x="16498719" y="1154064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0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0" y="217539"/>
                  </a:lnTo>
                  <a:lnTo>
                    <a:pt x="0" y="435050"/>
                  </a:lnTo>
                  <a:close/>
                </a:path>
              </a:pathLst>
            </a:custGeom>
            <a:grpFill/>
            <a:ln w="27192" cap="flat">
              <a:noFill/>
              <a:prstDash val="solid"/>
              <a:miter/>
            </a:ln>
          </p:spPr>
          <p:txBody>
            <a:bodyPr rtlCol="0" anchor="ctr"/>
            <a:lstStyle/>
            <a:p>
              <a:endParaRPr lang="uk-UA" sz="900"/>
            </a:p>
          </p:txBody>
        </p:sp>
        <p:sp>
          <p:nvSpPr>
            <p:cNvPr id="868" name="Freeform: Shape 867">
              <a:extLst>
                <a:ext uri="{FF2B5EF4-FFF2-40B4-BE49-F238E27FC236}">
                  <a16:creationId xmlns:a16="http://schemas.microsoft.com/office/drawing/2014/main" id="{343F0508-0CC9-5A1B-AC97-2D261884A003}"/>
                </a:ext>
              </a:extLst>
            </p:cNvPr>
            <p:cNvSpPr/>
            <p:nvPr/>
          </p:nvSpPr>
          <p:spPr>
            <a:xfrm>
              <a:off x="18239029" y="1154061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0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10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0" y="217539"/>
                  </a:lnTo>
                  <a:lnTo>
                    <a:pt x="0" y="217539"/>
                  </a:lnTo>
                  <a:close/>
                  <a:moveTo>
                    <a:pt x="0" y="435077"/>
                  </a:moveTo>
                  <a:lnTo>
                    <a:pt x="0" y="217566"/>
                  </a:lnTo>
                  <a:lnTo>
                    <a:pt x="217510" y="217566"/>
                  </a:lnTo>
                  <a:lnTo>
                    <a:pt x="0" y="435077"/>
                  </a:lnTo>
                  <a:close/>
                </a:path>
              </a:pathLst>
            </a:custGeom>
            <a:grpFill/>
            <a:ln w="27192" cap="flat">
              <a:noFill/>
              <a:prstDash val="solid"/>
              <a:miter/>
            </a:ln>
          </p:spPr>
          <p:txBody>
            <a:bodyPr rtlCol="0" anchor="ctr"/>
            <a:lstStyle/>
            <a:p>
              <a:endParaRPr lang="uk-UA" sz="900"/>
            </a:p>
          </p:txBody>
        </p:sp>
        <p:sp>
          <p:nvSpPr>
            <p:cNvPr id="869" name="Freeform: Shape 868">
              <a:extLst>
                <a:ext uri="{FF2B5EF4-FFF2-40B4-BE49-F238E27FC236}">
                  <a16:creationId xmlns:a16="http://schemas.microsoft.com/office/drawing/2014/main" id="{277E04C8-E1F7-47C8-FB1D-16F8961D191B}"/>
                </a:ext>
              </a:extLst>
            </p:cNvPr>
            <p:cNvSpPr/>
            <p:nvPr/>
          </p:nvSpPr>
          <p:spPr>
            <a:xfrm>
              <a:off x="17368874" y="11540612"/>
              <a:ext cx="435077" cy="435077"/>
            </a:xfrm>
            <a:custGeom>
              <a:avLst/>
              <a:gdLst>
                <a:gd name="connsiteX0" fmla="*/ 63710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0 w 435077"/>
                <a:gd name="connsiteY6" fmla="*/ 153827 h 435077"/>
                <a:gd name="connsiteX7" fmla="*/ 63710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77 h 435077"/>
                <a:gd name="connsiteX12" fmla="*/ 217539 w 435077"/>
                <a:gd name="connsiteY12" fmla="*/ 217539 h 435077"/>
                <a:gd name="connsiteX13" fmla="*/ 63710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7"/>
                  </a:moveTo>
                  <a:cubicBezTo>
                    <a:pt x="22895" y="113039"/>
                    <a:pt x="0" y="57702"/>
                    <a:pt x="0" y="0"/>
                  </a:cubicBezTo>
                  <a:lnTo>
                    <a:pt x="217539" y="0"/>
                  </a:lnTo>
                  <a:lnTo>
                    <a:pt x="435077" y="0"/>
                  </a:lnTo>
                  <a:cubicBezTo>
                    <a:pt x="435077" y="57702"/>
                    <a:pt x="412154" y="113039"/>
                    <a:pt x="371339" y="153827"/>
                  </a:cubicBezTo>
                  <a:cubicBezTo>
                    <a:pt x="330550" y="194642"/>
                    <a:pt x="275213" y="217539"/>
                    <a:pt x="217539" y="217539"/>
                  </a:cubicBezTo>
                  <a:cubicBezTo>
                    <a:pt x="159836" y="217539"/>
                    <a:pt x="104499" y="194642"/>
                    <a:pt x="63710" y="153827"/>
                  </a:cubicBezTo>
                  <a:close/>
                  <a:moveTo>
                    <a:pt x="63710" y="281277"/>
                  </a:moveTo>
                  <a:cubicBezTo>
                    <a:pt x="22895" y="322066"/>
                    <a:pt x="0" y="377402"/>
                    <a:pt x="0" y="435077"/>
                  </a:cubicBezTo>
                  <a:lnTo>
                    <a:pt x="217539" y="435077"/>
                  </a:lnTo>
                  <a:lnTo>
                    <a:pt x="435077" y="435077"/>
                  </a:lnTo>
                  <a:cubicBezTo>
                    <a:pt x="435077" y="377402"/>
                    <a:pt x="412154" y="322066"/>
                    <a:pt x="371339" y="281277"/>
                  </a:cubicBezTo>
                  <a:cubicBezTo>
                    <a:pt x="330550" y="240462"/>
                    <a:pt x="275213" y="217539"/>
                    <a:pt x="217539" y="217539"/>
                  </a:cubicBezTo>
                  <a:cubicBezTo>
                    <a:pt x="159836" y="217539"/>
                    <a:pt x="104499" y="240462"/>
                    <a:pt x="63710" y="281277"/>
                  </a:cubicBezTo>
                  <a:close/>
                </a:path>
              </a:pathLst>
            </a:custGeom>
            <a:grpFill/>
            <a:ln w="27192" cap="flat">
              <a:noFill/>
              <a:prstDash val="solid"/>
              <a:miter/>
            </a:ln>
          </p:spPr>
          <p:txBody>
            <a:bodyPr rtlCol="0" anchor="ctr"/>
            <a:lstStyle/>
            <a:p>
              <a:endParaRPr lang="uk-UA" sz="900"/>
            </a:p>
          </p:txBody>
        </p:sp>
        <p:sp>
          <p:nvSpPr>
            <p:cNvPr id="870" name="Freeform: Shape 869">
              <a:extLst>
                <a:ext uri="{FF2B5EF4-FFF2-40B4-BE49-F238E27FC236}">
                  <a16:creationId xmlns:a16="http://schemas.microsoft.com/office/drawing/2014/main" id="{A26681AA-DBE8-3502-D4D5-DD2DCCC6EF27}"/>
                </a:ext>
              </a:extLst>
            </p:cNvPr>
            <p:cNvSpPr/>
            <p:nvPr/>
          </p:nvSpPr>
          <p:spPr>
            <a:xfrm>
              <a:off x="19109184" y="1154061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871" name="Freeform: Shape 870">
              <a:extLst>
                <a:ext uri="{FF2B5EF4-FFF2-40B4-BE49-F238E27FC236}">
                  <a16:creationId xmlns:a16="http://schemas.microsoft.com/office/drawing/2014/main" id="{A8AB8852-F172-81E0-18FD-24898922F54C}"/>
                </a:ext>
              </a:extLst>
            </p:cNvPr>
            <p:cNvSpPr/>
            <p:nvPr/>
          </p:nvSpPr>
          <p:spPr>
            <a:xfrm>
              <a:off x="19979365" y="11540612"/>
              <a:ext cx="435077" cy="435077"/>
            </a:xfrm>
            <a:custGeom>
              <a:avLst/>
              <a:gdLst>
                <a:gd name="connsiteX0" fmla="*/ 435077 w 435077"/>
                <a:gd name="connsiteY0" fmla="*/ 435077 h 435077"/>
                <a:gd name="connsiteX1" fmla="*/ 435077 w 435077"/>
                <a:gd name="connsiteY1" fmla="*/ 0 h 435077"/>
                <a:gd name="connsiteX2" fmla="*/ 217539 w 435077"/>
                <a:gd name="connsiteY2" fmla="*/ 217566 h 435077"/>
                <a:gd name="connsiteX3" fmla="*/ 435077 w 435077"/>
                <a:gd name="connsiteY3" fmla="*/ 435077 h 435077"/>
                <a:gd name="connsiteX4" fmla="*/ 0 w 435077"/>
                <a:gd name="connsiteY4" fmla="*/ 435077 h 435077"/>
                <a:gd name="connsiteX5" fmla="*/ 0 w 435077"/>
                <a:gd name="connsiteY5" fmla="*/ 0 h 435077"/>
                <a:gd name="connsiteX6" fmla="*/ 217512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66"/>
                  </a:lnTo>
                  <a:lnTo>
                    <a:pt x="435077" y="435077"/>
                  </a:lnTo>
                  <a:close/>
                  <a:moveTo>
                    <a:pt x="0" y="435077"/>
                  </a:moveTo>
                  <a:lnTo>
                    <a:pt x="0" y="0"/>
                  </a:lnTo>
                  <a:lnTo>
                    <a:pt x="217512" y="217566"/>
                  </a:lnTo>
                  <a:lnTo>
                    <a:pt x="0" y="435077"/>
                  </a:lnTo>
                  <a:close/>
                </a:path>
              </a:pathLst>
            </a:custGeom>
            <a:grpFill/>
            <a:ln w="27192" cap="flat">
              <a:noFill/>
              <a:prstDash val="solid"/>
              <a:miter/>
            </a:ln>
          </p:spPr>
          <p:txBody>
            <a:bodyPr rtlCol="0" anchor="ctr"/>
            <a:lstStyle/>
            <a:p>
              <a:endParaRPr lang="uk-UA" sz="900"/>
            </a:p>
          </p:txBody>
        </p:sp>
        <p:sp>
          <p:nvSpPr>
            <p:cNvPr id="872" name="Freeform: Shape 871">
              <a:extLst>
                <a:ext uri="{FF2B5EF4-FFF2-40B4-BE49-F238E27FC236}">
                  <a16:creationId xmlns:a16="http://schemas.microsoft.com/office/drawing/2014/main" id="{27F3C37E-6D5B-8AFE-B231-6CC490CF5506}"/>
                </a:ext>
              </a:extLst>
            </p:cNvPr>
            <p:cNvSpPr/>
            <p:nvPr/>
          </p:nvSpPr>
          <p:spPr>
            <a:xfrm>
              <a:off x="21719675" y="1154061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5 w 435077"/>
                <a:gd name="connsiteY3" fmla="*/ 27 h 435077"/>
                <a:gd name="connsiteX4" fmla="*/ 435077 w 435077"/>
                <a:gd name="connsiteY4" fmla="*/ 217566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5" y="27"/>
                  </a:lnTo>
                  <a:lnTo>
                    <a:pt x="435077" y="217566"/>
                  </a:lnTo>
                  <a:lnTo>
                    <a:pt x="217565"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873" name="Freeform: Shape 872">
              <a:extLst>
                <a:ext uri="{FF2B5EF4-FFF2-40B4-BE49-F238E27FC236}">
                  <a16:creationId xmlns:a16="http://schemas.microsoft.com/office/drawing/2014/main" id="{F3462D6A-C8E6-EA95-884C-19E0A3E4CA0F}"/>
                </a:ext>
              </a:extLst>
            </p:cNvPr>
            <p:cNvSpPr/>
            <p:nvPr/>
          </p:nvSpPr>
          <p:spPr>
            <a:xfrm>
              <a:off x="20849520" y="1154061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4" y="113039"/>
                    <a:pt x="371365" y="153827"/>
                  </a:cubicBezTo>
                  <a:cubicBezTo>
                    <a:pt x="330577" y="194642"/>
                    <a:pt x="275241" y="217539"/>
                    <a:pt x="217539" y="217539"/>
                  </a:cubicBezTo>
                  <a:cubicBezTo>
                    <a:pt x="159836"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4" y="322066"/>
                    <a:pt x="371365" y="281277"/>
                  </a:cubicBezTo>
                  <a:cubicBezTo>
                    <a:pt x="330577" y="240462"/>
                    <a:pt x="275241" y="217539"/>
                    <a:pt x="217539" y="217539"/>
                  </a:cubicBezTo>
                  <a:cubicBezTo>
                    <a:pt x="159836" y="217539"/>
                    <a:pt x="104501" y="240462"/>
                    <a:pt x="63712" y="281277"/>
                  </a:cubicBezTo>
                  <a:close/>
                </a:path>
              </a:pathLst>
            </a:custGeom>
            <a:grpFill/>
            <a:ln w="27192" cap="flat">
              <a:noFill/>
              <a:prstDash val="solid"/>
              <a:miter/>
            </a:ln>
          </p:spPr>
          <p:txBody>
            <a:bodyPr rtlCol="0" anchor="ctr"/>
            <a:lstStyle/>
            <a:p>
              <a:endParaRPr lang="uk-UA" sz="900"/>
            </a:p>
          </p:txBody>
        </p:sp>
        <p:sp>
          <p:nvSpPr>
            <p:cNvPr id="874" name="Freeform: Shape 873">
              <a:extLst>
                <a:ext uri="{FF2B5EF4-FFF2-40B4-BE49-F238E27FC236}">
                  <a16:creationId xmlns:a16="http://schemas.microsoft.com/office/drawing/2014/main" id="{CBF52EBE-E692-1135-E68F-CC921828ABB7}"/>
                </a:ext>
              </a:extLst>
            </p:cNvPr>
            <p:cNvSpPr/>
            <p:nvPr/>
          </p:nvSpPr>
          <p:spPr>
            <a:xfrm>
              <a:off x="22589856" y="1154061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875" name="Freeform: Shape 874">
              <a:extLst>
                <a:ext uri="{FF2B5EF4-FFF2-40B4-BE49-F238E27FC236}">
                  <a16:creationId xmlns:a16="http://schemas.microsoft.com/office/drawing/2014/main" id="{376B18C8-378B-A4AF-3535-8F6B557F9A28}"/>
                </a:ext>
              </a:extLst>
            </p:cNvPr>
            <p:cNvSpPr/>
            <p:nvPr/>
          </p:nvSpPr>
          <p:spPr>
            <a:xfrm>
              <a:off x="23460011" y="11540612"/>
              <a:ext cx="435077" cy="435077"/>
            </a:xfrm>
            <a:custGeom>
              <a:avLst/>
              <a:gdLst>
                <a:gd name="connsiteX0" fmla="*/ 435077 w 435077"/>
                <a:gd name="connsiteY0" fmla="*/ 435077 h 435077"/>
                <a:gd name="connsiteX1" fmla="*/ 435077 w 435077"/>
                <a:gd name="connsiteY1" fmla="*/ 0 h 435077"/>
                <a:gd name="connsiteX2" fmla="*/ 217567 w 435077"/>
                <a:gd name="connsiteY2" fmla="*/ 217566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7" y="217566"/>
                  </a:lnTo>
                  <a:lnTo>
                    <a:pt x="435077" y="435077"/>
                  </a:lnTo>
                  <a:close/>
                  <a:moveTo>
                    <a:pt x="0" y="435077"/>
                  </a:moveTo>
                  <a:lnTo>
                    <a:pt x="0" y="0"/>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876" name="Freeform: Shape 875">
              <a:extLst>
                <a:ext uri="{FF2B5EF4-FFF2-40B4-BE49-F238E27FC236}">
                  <a16:creationId xmlns:a16="http://schemas.microsoft.com/office/drawing/2014/main" id="{F09783C2-B880-EC6B-B37C-0F7C52FEAFF2}"/>
                </a:ext>
              </a:extLst>
            </p:cNvPr>
            <p:cNvSpPr/>
            <p:nvPr/>
          </p:nvSpPr>
          <p:spPr>
            <a:xfrm>
              <a:off x="24330194" y="1154061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447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447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235" y="113039"/>
                    <a:pt x="371447" y="153827"/>
                  </a:cubicBezTo>
                  <a:cubicBezTo>
                    <a:pt x="330658" y="194642"/>
                    <a:pt x="275186" y="217539"/>
                    <a:pt x="217539" y="217539"/>
                  </a:cubicBezTo>
                  <a:cubicBezTo>
                    <a:pt x="159836" y="217539"/>
                    <a:pt x="104501" y="194642"/>
                    <a:pt x="63712" y="153827"/>
                  </a:cubicBezTo>
                  <a:close/>
                  <a:moveTo>
                    <a:pt x="63712" y="281277"/>
                  </a:moveTo>
                  <a:cubicBezTo>
                    <a:pt x="22924" y="322066"/>
                    <a:pt x="0" y="377402"/>
                    <a:pt x="0" y="435077"/>
                  </a:cubicBezTo>
                  <a:lnTo>
                    <a:pt x="217539" y="435077"/>
                  </a:lnTo>
                  <a:lnTo>
                    <a:pt x="435077" y="435077"/>
                  </a:lnTo>
                  <a:cubicBezTo>
                    <a:pt x="435077" y="377402"/>
                    <a:pt x="412235" y="322066"/>
                    <a:pt x="371447" y="281277"/>
                  </a:cubicBezTo>
                  <a:cubicBezTo>
                    <a:pt x="330658" y="240462"/>
                    <a:pt x="275186" y="217539"/>
                    <a:pt x="217539" y="217539"/>
                  </a:cubicBezTo>
                  <a:cubicBezTo>
                    <a:pt x="159836" y="217539"/>
                    <a:pt x="104501" y="240462"/>
                    <a:pt x="63712" y="281277"/>
                  </a:cubicBezTo>
                  <a:close/>
                </a:path>
              </a:pathLst>
            </a:custGeom>
            <a:grpFill/>
            <a:ln w="27192" cap="flat">
              <a:noFill/>
              <a:prstDash val="solid"/>
              <a:miter/>
            </a:ln>
          </p:spPr>
          <p:txBody>
            <a:bodyPr rtlCol="0" anchor="ctr"/>
            <a:lstStyle/>
            <a:p>
              <a:endParaRPr lang="uk-UA" sz="900"/>
            </a:p>
          </p:txBody>
        </p:sp>
        <p:sp>
          <p:nvSpPr>
            <p:cNvPr id="877" name="Freeform: Shape 876">
              <a:extLst>
                <a:ext uri="{FF2B5EF4-FFF2-40B4-BE49-F238E27FC236}">
                  <a16:creationId xmlns:a16="http://schemas.microsoft.com/office/drawing/2014/main" id="{AA003055-B0F0-4700-1D39-1453B010FABA}"/>
                </a:ext>
              </a:extLst>
            </p:cNvPr>
            <p:cNvSpPr/>
            <p:nvPr/>
          </p:nvSpPr>
          <p:spPr>
            <a:xfrm>
              <a:off x="835742" y="12410767"/>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p>
          </p:txBody>
        </p:sp>
        <p:sp>
          <p:nvSpPr>
            <p:cNvPr id="878" name="Freeform: Shape 877">
              <a:extLst>
                <a:ext uri="{FF2B5EF4-FFF2-40B4-BE49-F238E27FC236}">
                  <a16:creationId xmlns:a16="http://schemas.microsoft.com/office/drawing/2014/main" id="{D3C8A159-22AD-DDE1-9F76-2E0E62609B76}"/>
                </a:ext>
              </a:extLst>
            </p:cNvPr>
            <p:cNvSpPr/>
            <p:nvPr/>
          </p:nvSpPr>
          <p:spPr>
            <a:xfrm>
              <a:off x="-34409" y="12410767"/>
              <a:ext cx="435074" cy="435104"/>
            </a:xfrm>
            <a:custGeom>
              <a:avLst/>
              <a:gdLst>
                <a:gd name="connsiteX0" fmla="*/ 0 w 435074"/>
                <a:gd name="connsiteY0" fmla="*/ 435077 h 435104"/>
                <a:gd name="connsiteX1" fmla="*/ 217536 w 435074"/>
                <a:gd name="connsiteY1" fmla="*/ 435077 h 435104"/>
                <a:gd name="connsiteX2" fmla="*/ 217536 w 435074"/>
                <a:gd name="connsiteY2" fmla="*/ 217566 h 435104"/>
                <a:gd name="connsiteX3" fmla="*/ 0 w 435074"/>
                <a:gd name="connsiteY3" fmla="*/ 435077 h 435104"/>
                <a:gd name="connsiteX4" fmla="*/ 217536 w 435074"/>
                <a:gd name="connsiteY4" fmla="*/ 0 h 435104"/>
                <a:gd name="connsiteX5" fmla="*/ 3 w 435074"/>
                <a:gd name="connsiteY5" fmla="*/ 0 h 435104"/>
                <a:gd name="connsiteX6" fmla="*/ 217536 w 435074"/>
                <a:gd name="connsiteY6" fmla="*/ 217539 h 435104"/>
                <a:gd name="connsiteX7" fmla="*/ 217536 w 435074"/>
                <a:gd name="connsiteY7" fmla="*/ 0 h 435104"/>
                <a:gd name="connsiteX8" fmla="*/ 435075 w 435074"/>
                <a:gd name="connsiteY8" fmla="*/ 435105 h 435104"/>
                <a:gd name="connsiteX9" fmla="*/ 217536 w 435074"/>
                <a:gd name="connsiteY9" fmla="*/ 435105 h 435104"/>
                <a:gd name="connsiteX10" fmla="*/ 435075 w 435074"/>
                <a:gd name="connsiteY10" fmla="*/ 217566 h 435104"/>
                <a:gd name="connsiteX11" fmla="*/ 435075 w 435074"/>
                <a:gd name="connsiteY11" fmla="*/ 435105 h 435104"/>
                <a:gd name="connsiteX12" fmla="*/ 435075 w 435074"/>
                <a:gd name="connsiteY12" fmla="*/ 27 h 435104"/>
                <a:gd name="connsiteX13" fmla="*/ 217536 w 435074"/>
                <a:gd name="connsiteY13" fmla="*/ 27 h 435104"/>
                <a:gd name="connsiteX14" fmla="*/ 435075 w 435074"/>
                <a:gd name="connsiteY14" fmla="*/ 217539 h 435104"/>
                <a:gd name="connsiteX15" fmla="*/ 435075 w 435074"/>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4" h="435104">
                  <a:moveTo>
                    <a:pt x="0" y="435077"/>
                  </a:moveTo>
                  <a:lnTo>
                    <a:pt x="217536" y="435077"/>
                  </a:lnTo>
                  <a:lnTo>
                    <a:pt x="217536" y="217566"/>
                  </a:lnTo>
                  <a:lnTo>
                    <a:pt x="0" y="435077"/>
                  </a:lnTo>
                  <a:close/>
                  <a:moveTo>
                    <a:pt x="217536" y="0"/>
                  </a:moveTo>
                  <a:lnTo>
                    <a:pt x="3" y="0"/>
                  </a:lnTo>
                  <a:lnTo>
                    <a:pt x="217536" y="217539"/>
                  </a:lnTo>
                  <a:lnTo>
                    <a:pt x="217536" y="0"/>
                  </a:lnTo>
                  <a:close/>
                  <a:moveTo>
                    <a:pt x="435075" y="435105"/>
                  </a:moveTo>
                  <a:lnTo>
                    <a:pt x="217536" y="435105"/>
                  </a:lnTo>
                  <a:lnTo>
                    <a:pt x="435075" y="217566"/>
                  </a:lnTo>
                  <a:lnTo>
                    <a:pt x="435075" y="435105"/>
                  </a:lnTo>
                  <a:close/>
                  <a:moveTo>
                    <a:pt x="435075" y="27"/>
                  </a:moveTo>
                  <a:lnTo>
                    <a:pt x="217536" y="27"/>
                  </a:lnTo>
                  <a:lnTo>
                    <a:pt x="435075" y="217539"/>
                  </a:lnTo>
                  <a:lnTo>
                    <a:pt x="435075" y="27"/>
                  </a:lnTo>
                  <a:close/>
                </a:path>
              </a:pathLst>
            </a:custGeom>
            <a:grpFill/>
            <a:ln w="27192" cap="flat">
              <a:noFill/>
              <a:prstDash val="solid"/>
              <a:miter/>
            </a:ln>
          </p:spPr>
          <p:txBody>
            <a:bodyPr rtlCol="0" anchor="ctr"/>
            <a:lstStyle/>
            <a:p>
              <a:endParaRPr lang="uk-UA" sz="900"/>
            </a:p>
          </p:txBody>
        </p:sp>
        <p:sp>
          <p:nvSpPr>
            <p:cNvPr id="879" name="Freeform: Shape 878">
              <a:extLst>
                <a:ext uri="{FF2B5EF4-FFF2-40B4-BE49-F238E27FC236}">
                  <a16:creationId xmlns:a16="http://schemas.microsoft.com/office/drawing/2014/main" id="{8F3739C8-2357-07DF-C04B-EB3F73DA7FB7}"/>
                </a:ext>
              </a:extLst>
            </p:cNvPr>
            <p:cNvSpPr/>
            <p:nvPr/>
          </p:nvSpPr>
          <p:spPr>
            <a:xfrm>
              <a:off x="1705924" y="12410767"/>
              <a:ext cx="435077" cy="435077"/>
            </a:xfrm>
            <a:custGeom>
              <a:avLst/>
              <a:gdLst>
                <a:gd name="connsiteX0" fmla="*/ 371366 w 435077"/>
                <a:gd name="connsiteY0" fmla="*/ 63739 h 435077"/>
                <a:gd name="connsiteX1" fmla="*/ 435077 w 435077"/>
                <a:gd name="connsiteY1" fmla="*/ 217539 h 435077"/>
                <a:gd name="connsiteX2" fmla="*/ 217702 w 435077"/>
                <a:gd name="connsiteY2" fmla="*/ 217539 h 435077"/>
                <a:gd name="connsiteX3" fmla="*/ 371366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1 w 435077"/>
                <a:gd name="connsiteY7" fmla="*/ 281277 h 435077"/>
                <a:gd name="connsiteX8" fmla="*/ 217375 w 435077"/>
                <a:gd name="connsiteY8" fmla="*/ 217539 h 435077"/>
                <a:gd name="connsiteX9" fmla="*/ 0 w 435077"/>
                <a:gd name="connsiteY9" fmla="*/ 217539 h 435077"/>
                <a:gd name="connsiteX10" fmla="*/ 63711 w 435077"/>
                <a:gd name="connsiteY10" fmla="*/ 63739 h 435077"/>
                <a:gd name="connsiteX11" fmla="*/ 217539 w 435077"/>
                <a:gd name="connsiteY11" fmla="*/ 0 h 435077"/>
                <a:gd name="connsiteX12" fmla="*/ 371366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39"/>
                  </a:moveTo>
                  <a:cubicBezTo>
                    <a:pt x="412154" y="104527"/>
                    <a:pt x="435077" y="159864"/>
                    <a:pt x="435077" y="217539"/>
                  </a:cubicBezTo>
                  <a:lnTo>
                    <a:pt x="217702" y="217539"/>
                  </a:lnTo>
                  <a:cubicBezTo>
                    <a:pt x="275349" y="217593"/>
                    <a:pt x="330604" y="240516"/>
                    <a:pt x="371366" y="281277"/>
                  </a:cubicBezTo>
                  <a:cubicBezTo>
                    <a:pt x="412154" y="322066"/>
                    <a:pt x="435077" y="377402"/>
                    <a:pt x="435077" y="435077"/>
                  </a:cubicBezTo>
                  <a:lnTo>
                    <a:pt x="217539" y="435077"/>
                  </a:lnTo>
                  <a:lnTo>
                    <a:pt x="0" y="435077"/>
                  </a:lnTo>
                  <a:cubicBezTo>
                    <a:pt x="0" y="377402"/>
                    <a:pt x="22923" y="322066"/>
                    <a:pt x="63711" y="281277"/>
                  </a:cubicBezTo>
                  <a:cubicBezTo>
                    <a:pt x="104473" y="240516"/>
                    <a:pt x="159728" y="217593"/>
                    <a:pt x="217375" y="217539"/>
                  </a:cubicBezTo>
                  <a:lnTo>
                    <a:pt x="0" y="217539"/>
                  </a:lnTo>
                  <a:cubicBezTo>
                    <a:pt x="0" y="159864"/>
                    <a:pt x="22923" y="104527"/>
                    <a:pt x="63711" y="63739"/>
                  </a:cubicBezTo>
                  <a:cubicBezTo>
                    <a:pt x="104500" y="22923"/>
                    <a:pt x="159836" y="0"/>
                    <a:pt x="217539" y="0"/>
                  </a:cubicBezTo>
                  <a:cubicBezTo>
                    <a:pt x="275213" y="0"/>
                    <a:pt x="330550" y="22923"/>
                    <a:pt x="371366" y="63739"/>
                  </a:cubicBezTo>
                  <a:close/>
                </a:path>
              </a:pathLst>
            </a:custGeom>
            <a:grpFill/>
            <a:ln w="27192" cap="flat">
              <a:noFill/>
              <a:prstDash val="solid"/>
              <a:miter/>
            </a:ln>
          </p:spPr>
          <p:txBody>
            <a:bodyPr rtlCol="0" anchor="ctr"/>
            <a:lstStyle/>
            <a:p>
              <a:endParaRPr lang="uk-UA" sz="900"/>
            </a:p>
          </p:txBody>
        </p:sp>
        <p:sp>
          <p:nvSpPr>
            <p:cNvPr id="880" name="Freeform: Shape 879">
              <a:extLst>
                <a:ext uri="{FF2B5EF4-FFF2-40B4-BE49-F238E27FC236}">
                  <a16:creationId xmlns:a16="http://schemas.microsoft.com/office/drawing/2014/main" id="{CDB618F7-9B89-2584-BB6A-73F3D7806CA0}"/>
                </a:ext>
              </a:extLst>
            </p:cNvPr>
            <p:cNvSpPr/>
            <p:nvPr/>
          </p:nvSpPr>
          <p:spPr>
            <a:xfrm>
              <a:off x="2576079" y="12410767"/>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881" name="Freeform: Shape 880">
              <a:extLst>
                <a:ext uri="{FF2B5EF4-FFF2-40B4-BE49-F238E27FC236}">
                  <a16:creationId xmlns:a16="http://schemas.microsoft.com/office/drawing/2014/main" id="{3A8627F1-46C1-9E2F-45E4-5215F97A438B}"/>
                </a:ext>
              </a:extLst>
            </p:cNvPr>
            <p:cNvSpPr/>
            <p:nvPr/>
          </p:nvSpPr>
          <p:spPr>
            <a:xfrm>
              <a:off x="4316416" y="12410767"/>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882" name="Freeform: Shape 881">
              <a:extLst>
                <a:ext uri="{FF2B5EF4-FFF2-40B4-BE49-F238E27FC236}">
                  <a16:creationId xmlns:a16="http://schemas.microsoft.com/office/drawing/2014/main" id="{6401F82D-9D09-0115-CA9A-0FC2D2A254C2}"/>
                </a:ext>
              </a:extLst>
            </p:cNvPr>
            <p:cNvSpPr/>
            <p:nvPr/>
          </p:nvSpPr>
          <p:spPr>
            <a:xfrm>
              <a:off x="3446261" y="12410767"/>
              <a:ext cx="435077" cy="435104"/>
            </a:xfrm>
            <a:custGeom>
              <a:avLst/>
              <a:gdLst>
                <a:gd name="connsiteX0" fmla="*/ 0 w 435077"/>
                <a:gd name="connsiteY0" fmla="*/ 435077 h 435104"/>
                <a:gd name="connsiteX1" fmla="*/ 217512 w 435077"/>
                <a:gd name="connsiteY1" fmla="*/ 435077 h 435104"/>
                <a:gd name="connsiteX2" fmla="*/ 217512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12" y="435077"/>
                  </a:lnTo>
                  <a:lnTo>
                    <a:pt x="217512"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883" name="Freeform: Shape 882">
              <a:extLst>
                <a:ext uri="{FF2B5EF4-FFF2-40B4-BE49-F238E27FC236}">
                  <a16:creationId xmlns:a16="http://schemas.microsoft.com/office/drawing/2014/main" id="{89F5217B-EBCD-BE14-3414-5C37BC58D33C}"/>
                </a:ext>
              </a:extLst>
            </p:cNvPr>
            <p:cNvSpPr/>
            <p:nvPr/>
          </p:nvSpPr>
          <p:spPr>
            <a:xfrm>
              <a:off x="5186571" y="12410767"/>
              <a:ext cx="435103" cy="435077"/>
            </a:xfrm>
            <a:custGeom>
              <a:avLst/>
              <a:gdLst>
                <a:gd name="connsiteX0" fmla="*/ 371365 w 435103"/>
                <a:gd name="connsiteY0" fmla="*/ 63739 h 435077"/>
                <a:gd name="connsiteX1" fmla="*/ 435077 w 435103"/>
                <a:gd name="connsiteY1" fmla="*/ 217539 h 435077"/>
                <a:gd name="connsiteX2" fmla="*/ 217729 w 435103"/>
                <a:gd name="connsiteY2" fmla="*/ 217539 h 435077"/>
                <a:gd name="connsiteX3" fmla="*/ 371365 w 435103"/>
                <a:gd name="connsiteY3" fmla="*/ 281277 h 435077"/>
                <a:gd name="connsiteX4" fmla="*/ 435104 w 435103"/>
                <a:gd name="connsiteY4" fmla="*/ 435077 h 435077"/>
                <a:gd name="connsiteX5" fmla="*/ 217565 w 435103"/>
                <a:gd name="connsiteY5" fmla="*/ 435077 h 435077"/>
                <a:gd name="connsiteX6" fmla="*/ 27 w 435103"/>
                <a:gd name="connsiteY6" fmla="*/ 435077 h 435077"/>
                <a:gd name="connsiteX7" fmla="*/ 63739 w 435103"/>
                <a:gd name="connsiteY7" fmla="*/ 281277 h 435077"/>
                <a:gd name="connsiteX8" fmla="*/ 217375 w 435103"/>
                <a:gd name="connsiteY8" fmla="*/ 217539 h 435077"/>
                <a:gd name="connsiteX9" fmla="*/ 0 w 435103"/>
                <a:gd name="connsiteY9" fmla="*/ 217539 h 435077"/>
                <a:gd name="connsiteX10" fmla="*/ 63739 w 435103"/>
                <a:gd name="connsiteY10" fmla="*/ 63739 h 435077"/>
                <a:gd name="connsiteX11" fmla="*/ 217539 w 435103"/>
                <a:gd name="connsiteY11" fmla="*/ 0 h 435077"/>
                <a:gd name="connsiteX12" fmla="*/ 371365 w 435103"/>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3" h="435077">
                  <a:moveTo>
                    <a:pt x="371365" y="63739"/>
                  </a:moveTo>
                  <a:cubicBezTo>
                    <a:pt x="412181" y="104527"/>
                    <a:pt x="435077" y="159864"/>
                    <a:pt x="435077" y="217539"/>
                  </a:cubicBezTo>
                  <a:lnTo>
                    <a:pt x="217729" y="217539"/>
                  </a:lnTo>
                  <a:cubicBezTo>
                    <a:pt x="275349" y="217593"/>
                    <a:pt x="330632" y="240516"/>
                    <a:pt x="371365" y="281277"/>
                  </a:cubicBezTo>
                  <a:cubicBezTo>
                    <a:pt x="412181" y="322066"/>
                    <a:pt x="435104" y="377402"/>
                    <a:pt x="435104" y="435077"/>
                  </a:cubicBezTo>
                  <a:lnTo>
                    <a:pt x="217565" y="435077"/>
                  </a:lnTo>
                  <a:lnTo>
                    <a:pt x="27" y="435077"/>
                  </a:lnTo>
                  <a:cubicBezTo>
                    <a:pt x="27" y="377402"/>
                    <a:pt x="22923" y="322066"/>
                    <a:pt x="63739" y="281277"/>
                  </a:cubicBezTo>
                  <a:cubicBezTo>
                    <a:pt x="104500" y="240516"/>
                    <a:pt x="159755" y="217593"/>
                    <a:pt x="217375" y="217539"/>
                  </a:cubicBezTo>
                  <a:lnTo>
                    <a:pt x="0" y="217539"/>
                  </a:lnTo>
                  <a:cubicBezTo>
                    <a:pt x="0" y="159864"/>
                    <a:pt x="22923" y="104527"/>
                    <a:pt x="63739" y="63739"/>
                  </a:cubicBezTo>
                  <a:cubicBezTo>
                    <a:pt x="104527" y="22923"/>
                    <a:pt x="159864" y="0"/>
                    <a:pt x="217539" y="0"/>
                  </a:cubicBezTo>
                  <a:cubicBezTo>
                    <a:pt x="275240" y="0"/>
                    <a:pt x="330577" y="22923"/>
                    <a:pt x="371365" y="63739"/>
                  </a:cubicBezTo>
                  <a:close/>
                </a:path>
              </a:pathLst>
            </a:custGeom>
            <a:grpFill/>
            <a:ln w="27192" cap="flat">
              <a:noFill/>
              <a:prstDash val="solid"/>
              <a:miter/>
            </a:ln>
          </p:spPr>
          <p:txBody>
            <a:bodyPr rtlCol="0" anchor="ctr"/>
            <a:lstStyle/>
            <a:p>
              <a:endParaRPr lang="uk-UA" sz="900"/>
            </a:p>
          </p:txBody>
        </p:sp>
        <p:sp>
          <p:nvSpPr>
            <p:cNvPr id="884" name="Freeform: Shape 883">
              <a:extLst>
                <a:ext uri="{FF2B5EF4-FFF2-40B4-BE49-F238E27FC236}">
                  <a16:creationId xmlns:a16="http://schemas.microsoft.com/office/drawing/2014/main" id="{66FABDC6-DBA7-5735-9AB3-23BECFF64FF8}"/>
                </a:ext>
              </a:extLst>
            </p:cNvPr>
            <p:cNvSpPr/>
            <p:nvPr/>
          </p:nvSpPr>
          <p:spPr>
            <a:xfrm>
              <a:off x="6056725" y="12410767"/>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885" name="Freeform: Shape 884">
              <a:extLst>
                <a:ext uri="{FF2B5EF4-FFF2-40B4-BE49-F238E27FC236}">
                  <a16:creationId xmlns:a16="http://schemas.microsoft.com/office/drawing/2014/main" id="{6A84EA35-4709-7132-B0BA-66F1E472715B}"/>
                </a:ext>
              </a:extLst>
            </p:cNvPr>
            <p:cNvSpPr/>
            <p:nvPr/>
          </p:nvSpPr>
          <p:spPr>
            <a:xfrm>
              <a:off x="7797062" y="12410767"/>
              <a:ext cx="435077" cy="435077"/>
            </a:xfrm>
            <a:custGeom>
              <a:avLst/>
              <a:gdLst>
                <a:gd name="connsiteX0" fmla="*/ 217539 w 435077"/>
                <a:gd name="connsiteY0" fmla="*/ 0 h 435077"/>
                <a:gd name="connsiteX1" fmla="*/ 217539 w 435077"/>
                <a:gd name="connsiteY1" fmla="*/ 0 h 435077"/>
                <a:gd name="connsiteX2" fmla="*/ 0 w 435077"/>
                <a:gd name="connsiteY2" fmla="*/ 0 h 435077"/>
                <a:gd name="connsiteX3" fmla="*/ 0 w 435077"/>
                <a:gd name="connsiteY3" fmla="*/ 217539 h 435077"/>
                <a:gd name="connsiteX4" fmla="*/ 217539 w 435077"/>
                <a:gd name="connsiteY4" fmla="*/ 27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217539" y="0"/>
                  </a:lnTo>
                  <a:lnTo>
                    <a:pt x="0" y="0"/>
                  </a:lnTo>
                  <a:lnTo>
                    <a:pt x="0" y="217539"/>
                  </a:lnTo>
                  <a:lnTo>
                    <a:pt x="217539" y="27"/>
                  </a:lnTo>
                  <a:lnTo>
                    <a:pt x="435077" y="217539"/>
                  </a:lnTo>
                  <a:lnTo>
                    <a:pt x="217539" y="435077"/>
                  </a:lnTo>
                  <a:lnTo>
                    <a:pt x="0" y="217539"/>
                  </a:lnTo>
                  <a:lnTo>
                    <a:pt x="0" y="435077"/>
                  </a:lnTo>
                  <a:lnTo>
                    <a:pt x="217539" y="435077"/>
                  </a:lnTo>
                  <a:lnTo>
                    <a:pt x="435077" y="435077"/>
                  </a:lnTo>
                  <a:lnTo>
                    <a:pt x="435077" y="217539"/>
                  </a:lnTo>
                  <a:lnTo>
                    <a:pt x="435077" y="0"/>
                  </a:lnTo>
                  <a:lnTo>
                    <a:pt x="217539" y="0"/>
                  </a:lnTo>
                  <a:close/>
                </a:path>
              </a:pathLst>
            </a:custGeom>
            <a:grpFill/>
            <a:ln w="27192" cap="flat">
              <a:noFill/>
              <a:prstDash val="solid"/>
              <a:miter/>
            </a:ln>
          </p:spPr>
          <p:txBody>
            <a:bodyPr rtlCol="0" anchor="ctr"/>
            <a:lstStyle/>
            <a:p>
              <a:endParaRPr lang="uk-UA" sz="900"/>
            </a:p>
          </p:txBody>
        </p:sp>
        <p:sp>
          <p:nvSpPr>
            <p:cNvPr id="886" name="Freeform: Shape 885">
              <a:extLst>
                <a:ext uri="{FF2B5EF4-FFF2-40B4-BE49-F238E27FC236}">
                  <a16:creationId xmlns:a16="http://schemas.microsoft.com/office/drawing/2014/main" id="{75940753-3F75-4AD8-B598-451CA5DC6BA4}"/>
                </a:ext>
              </a:extLst>
            </p:cNvPr>
            <p:cNvSpPr/>
            <p:nvPr/>
          </p:nvSpPr>
          <p:spPr>
            <a:xfrm>
              <a:off x="6926907" y="12410767"/>
              <a:ext cx="435077" cy="435104"/>
            </a:xfrm>
            <a:custGeom>
              <a:avLst/>
              <a:gdLst>
                <a:gd name="connsiteX0" fmla="*/ 0 w 435077"/>
                <a:gd name="connsiteY0" fmla="*/ 435077 h 435104"/>
                <a:gd name="connsiteX1" fmla="*/ 217512 w 435077"/>
                <a:gd name="connsiteY1" fmla="*/ 435077 h 435104"/>
                <a:gd name="connsiteX2" fmla="*/ 217512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12" y="435077"/>
                  </a:lnTo>
                  <a:lnTo>
                    <a:pt x="217512"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887" name="Freeform: Shape 886">
              <a:extLst>
                <a:ext uri="{FF2B5EF4-FFF2-40B4-BE49-F238E27FC236}">
                  <a16:creationId xmlns:a16="http://schemas.microsoft.com/office/drawing/2014/main" id="{BA64853E-4A7C-3E46-74FF-2DA1D4FF63DF}"/>
                </a:ext>
              </a:extLst>
            </p:cNvPr>
            <p:cNvSpPr/>
            <p:nvPr/>
          </p:nvSpPr>
          <p:spPr>
            <a:xfrm>
              <a:off x="8667217" y="12410767"/>
              <a:ext cx="435077" cy="435077"/>
            </a:xfrm>
            <a:custGeom>
              <a:avLst/>
              <a:gdLst>
                <a:gd name="connsiteX0" fmla="*/ 371366 w 435077"/>
                <a:gd name="connsiteY0" fmla="*/ 63739 h 435077"/>
                <a:gd name="connsiteX1" fmla="*/ 435077 w 435077"/>
                <a:gd name="connsiteY1" fmla="*/ 217539 h 435077"/>
                <a:gd name="connsiteX2" fmla="*/ 217702 w 435077"/>
                <a:gd name="connsiteY2" fmla="*/ 217539 h 435077"/>
                <a:gd name="connsiteX3" fmla="*/ 371366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6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39"/>
                  </a:moveTo>
                  <a:cubicBezTo>
                    <a:pt x="412155" y="104527"/>
                    <a:pt x="435077" y="159864"/>
                    <a:pt x="435077" y="217539"/>
                  </a:cubicBezTo>
                  <a:lnTo>
                    <a:pt x="217702" y="217539"/>
                  </a:lnTo>
                  <a:cubicBezTo>
                    <a:pt x="275350" y="217593"/>
                    <a:pt x="330605" y="240516"/>
                    <a:pt x="371366" y="281277"/>
                  </a:cubicBezTo>
                  <a:cubicBezTo>
                    <a:pt x="412155" y="322066"/>
                    <a:pt x="435077" y="377402"/>
                    <a:pt x="435077" y="435077"/>
                  </a:cubicBezTo>
                  <a:lnTo>
                    <a:pt x="217539" y="435077"/>
                  </a:lnTo>
                  <a:lnTo>
                    <a:pt x="0" y="435077"/>
                  </a:lnTo>
                  <a:cubicBezTo>
                    <a:pt x="0" y="377402"/>
                    <a:pt x="22924" y="322066"/>
                    <a:pt x="63712" y="281277"/>
                  </a:cubicBezTo>
                  <a:cubicBezTo>
                    <a:pt x="104473" y="240516"/>
                    <a:pt x="159728" y="217593"/>
                    <a:pt x="217376" y="217539"/>
                  </a:cubicBezTo>
                  <a:lnTo>
                    <a:pt x="0" y="217539"/>
                  </a:lnTo>
                  <a:cubicBezTo>
                    <a:pt x="0" y="159864"/>
                    <a:pt x="22924" y="104527"/>
                    <a:pt x="63712" y="63739"/>
                  </a:cubicBezTo>
                  <a:cubicBezTo>
                    <a:pt x="104501" y="22923"/>
                    <a:pt x="159837" y="0"/>
                    <a:pt x="217539" y="0"/>
                  </a:cubicBezTo>
                  <a:cubicBezTo>
                    <a:pt x="275241" y="0"/>
                    <a:pt x="330550" y="22923"/>
                    <a:pt x="371366" y="63739"/>
                  </a:cubicBezTo>
                  <a:close/>
                </a:path>
              </a:pathLst>
            </a:custGeom>
            <a:grpFill/>
            <a:ln w="27192" cap="flat">
              <a:noFill/>
              <a:prstDash val="solid"/>
              <a:miter/>
            </a:ln>
          </p:spPr>
          <p:txBody>
            <a:bodyPr rtlCol="0" anchor="ctr"/>
            <a:lstStyle/>
            <a:p>
              <a:endParaRPr lang="uk-UA" sz="900"/>
            </a:p>
          </p:txBody>
        </p:sp>
        <p:sp>
          <p:nvSpPr>
            <p:cNvPr id="888" name="Freeform: Shape 887">
              <a:extLst>
                <a:ext uri="{FF2B5EF4-FFF2-40B4-BE49-F238E27FC236}">
                  <a16:creationId xmlns:a16="http://schemas.microsoft.com/office/drawing/2014/main" id="{0C6C7DDD-7264-657F-153C-34DDCE71C2FF}"/>
                </a:ext>
              </a:extLst>
            </p:cNvPr>
            <p:cNvSpPr/>
            <p:nvPr/>
          </p:nvSpPr>
          <p:spPr>
            <a:xfrm>
              <a:off x="9537371" y="12410767"/>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27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66 h 435077"/>
                <a:gd name="connsiteX9" fmla="*/ 435077 w 435077"/>
                <a:gd name="connsiteY9" fmla="*/ 217566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27"/>
                  </a:lnTo>
                  <a:lnTo>
                    <a:pt x="435077" y="217539"/>
                  </a:lnTo>
                  <a:lnTo>
                    <a:pt x="435077" y="217539"/>
                  </a:lnTo>
                  <a:lnTo>
                    <a:pt x="435077" y="217539"/>
                  </a:lnTo>
                  <a:lnTo>
                    <a:pt x="435077" y="217566"/>
                  </a:lnTo>
                  <a:lnTo>
                    <a:pt x="435077" y="217566"/>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889" name="Freeform: Shape 888">
              <a:extLst>
                <a:ext uri="{FF2B5EF4-FFF2-40B4-BE49-F238E27FC236}">
                  <a16:creationId xmlns:a16="http://schemas.microsoft.com/office/drawing/2014/main" id="{89AAC425-C82A-2A14-7931-378682A0977A}"/>
                </a:ext>
              </a:extLst>
            </p:cNvPr>
            <p:cNvSpPr/>
            <p:nvPr/>
          </p:nvSpPr>
          <p:spPr>
            <a:xfrm>
              <a:off x="11277681" y="12410767"/>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p>
          </p:txBody>
        </p:sp>
        <p:sp>
          <p:nvSpPr>
            <p:cNvPr id="890" name="Freeform: Shape 889">
              <a:extLst>
                <a:ext uri="{FF2B5EF4-FFF2-40B4-BE49-F238E27FC236}">
                  <a16:creationId xmlns:a16="http://schemas.microsoft.com/office/drawing/2014/main" id="{046DCB93-D9DB-49FD-09AA-E2CE013EE37F}"/>
                </a:ext>
              </a:extLst>
            </p:cNvPr>
            <p:cNvSpPr/>
            <p:nvPr/>
          </p:nvSpPr>
          <p:spPr>
            <a:xfrm>
              <a:off x="10407526" y="12410767"/>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891" name="Freeform: Shape 890">
              <a:extLst>
                <a:ext uri="{FF2B5EF4-FFF2-40B4-BE49-F238E27FC236}">
                  <a16:creationId xmlns:a16="http://schemas.microsoft.com/office/drawing/2014/main" id="{5EFC1650-8694-0F04-B350-08111344D814}"/>
                </a:ext>
              </a:extLst>
            </p:cNvPr>
            <p:cNvSpPr/>
            <p:nvPr/>
          </p:nvSpPr>
          <p:spPr>
            <a:xfrm>
              <a:off x="12147864" y="12410767"/>
              <a:ext cx="435077" cy="435077"/>
            </a:xfrm>
            <a:custGeom>
              <a:avLst/>
              <a:gdLst>
                <a:gd name="connsiteX0" fmla="*/ 371365 w 435077"/>
                <a:gd name="connsiteY0" fmla="*/ 63739 h 435077"/>
                <a:gd name="connsiteX1" fmla="*/ 435077 w 435077"/>
                <a:gd name="connsiteY1" fmla="*/ 217539 h 435077"/>
                <a:gd name="connsiteX2" fmla="*/ 217701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0 w 435077"/>
                <a:gd name="connsiteY7" fmla="*/ 281277 h 435077"/>
                <a:gd name="connsiteX8" fmla="*/ 217374 w 435077"/>
                <a:gd name="connsiteY8" fmla="*/ 217539 h 435077"/>
                <a:gd name="connsiteX9" fmla="*/ 0 w 435077"/>
                <a:gd name="connsiteY9" fmla="*/ 217539 h 435077"/>
                <a:gd name="connsiteX10" fmla="*/ 63710 w 435077"/>
                <a:gd name="connsiteY10" fmla="*/ 63739 h 435077"/>
                <a:gd name="connsiteX11" fmla="*/ 217539 w 435077"/>
                <a:gd name="connsiteY11" fmla="*/ 0 h 435077"/>
                <a:gd name="connsiteX12" fmla="*/ 371365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39"/>
                  </a:moveTo>
                  <a:cubicBezTo>
                    <a:pt x="412154" y="104527"/>
                    <a:pt x="435077" y="159864"/>
                    <a:pt x="435077" y="217539"/>
                  </a:cubicBezTo>
                  <a:lnTo>
                    <a:pt x="217701" y="217539"/>
                  </a:lnTo>
                  <a:cubicBezTo>
                    <a:pt x="275349" y="217593"/>
                    <a:pt x="330603" y="240516"/>
                    <a:pt x="371365" y="281277"/>
                  </a:cubicBezTo>
                  <a:cubicBezTo>
                    <a:pt x="412154" y="322066"/>
                    <a:pt x="435077" y="377402"/>
                    <a:pt x="435077" y="435077"/>
                  </a:cubicBezTo>
                  <a:lnTo>
                    <a:pt x="217539" y="435077"/>
                  </a:lnTo>
                  <a:lnTo>
                    <a:pt x="0" y="435077"/>
                  </a:lnTo>
                  <a:cubicBezTo>
                    <a:pt x="0" y="377402"/>
                    <a:pt x="22922" y="322066"/>
                    <a:pt x="63710" y="281277"/>
                  </a:cubicBezTo>
                  <a:cubicBezTo>
                    <a:pt x="104472" y="240516"/>
                    <a:pt x="159727" y="217593"/>
                    <a:pt x="217374" y="217539"/>
                  </a:cubicBezTo>
                  <a:lnTo>
                    <a:pt x="0" y="217539"/>
                  </a:lnTo>
                  <a:cubicBezTo>
                    <a:pt x="0" y="159864"/>
                    <a:pt x="22922" y="104527"/>
                    <a:pt x="63710" y="63739"/>
                  </a:cubicBezTo>
                  <a:cubicBezTo>
                    <a:pt x="104499" y="22923"/>
                    <a:pt x="159836" y="0"/>
                    <a:pt x="217539" y="0"/>
                  </a:cubicBezTo>
                  <a:cubicBezTo>
                    <a:pt x="275239" y="0"/>
                    <a:pt x="330549" y="22923"/>
                    <a:pt x="371365" y="63739"/>
                  </a:cubicBezTo>
                  <a:close/>
                </a:path>
              </a:pathLst>
            </a:custGeom>
            <a:grpFill/>
            <a:ln w="27192" cap="flat">
              <a:noFill/>
              <a:prstDash val="solid"/>
              <a:miter/>
            </a:ln>
          </p:spPr>
          <p:txBody>
            <a:bodyPr rtlCol="0" anchor="ctr"/>
            <a:lstStyle/>
            <a:p>
              <a:endParaRPr lang="uk-UA" sz="900"/>
            </a:p>
          </p:txBody>
        </p:sp>
        <p:sp>
          <p:nvSpPr>
            <p:cNvPr id="892" name="Freeform: Shape 891">
              <a:extLst>
                <a:ext uri="{FF2B5EF4-FFF2-40B4-BE49-F238E27FC236}">
                  <a16:creationId xmlns:a16="http://schemas.microsoft.com/office/drawing/2014/main" id="{747523A6-5DC4-E08D-B231-197883E0524A}"/>
                </a:ext>
              </a:extLst>
            </p:cNvPr>
            <p:cNvSpPr/>
            <p:nvPr/>
          </p:nvSpPr>
          <p:spPr>
            <a:xfrm>
              <a:off x="13018019" y="12410767"/>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27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66 h 435077"/>
                <a:gd name="connsiteX9" fmla="*/ 435077 w 435077"/>
                <a:gd name="connsiteY9" fmla="*/ 217566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27"/>
                  </a:lnTo>
                  <a:lnTo>
                    <a:pt x="435077" y="217539"/>
                  </a:lnTo>
                  <a:lnTo>
                    <a:pt x="435077" y="217539"/>
                  </a:lnTo>
                  <a:lnTo>
                    <a:pt x="435077" y="217539"/>
                  </a:lnTo>
                  <a:lnTo>
                    <a:pt x="435077" y="217566"/>
                  </a:lnTo>
                  <a:lnTo>
                    <a:pt x="435077" y="217566"/>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893" name="Freeform: Shape 892">
              <a:extLst>
                <a:ext uri="{FF2B5EF4-FFF2-40B4-BE49-F238E27FC236}">
                  <a16:creationId xmlns:a16="http://schemas.microsoft.com/office/drawing/2014/main" id="{D826CAA2-B899-9215-604F-D771F2720118}"/>
                </a:ext>
              </a:extLst>
            </p:cNvPr>
            <p:cNvSpPr/>
            <p:nvPr/>
          </p:nvSpPr>
          <p:spPr>
            <a:xfrm>
              <a:off x="14758355" y="12410767"/>
              <a:ext cx="435103" cy="435077"/>
            </a:xfrm>
            <a:custGeom>
              <a:avLst/>
              <a:gdLst>
                <a:gd name="connsiteX0" fmla="*/ 217539 w 435103"/>
                <a:gd name="connsiteY0" fmla="*/ 0 h 435077"/>
                <a:gd name="connsiteX1" fmla="*/ 0 w 435103"/>
                <a:gd name="connsiteY1" fmla="*/ 0 h 435077"/>
                <a:gd name="connsiteX2" fmla="*/ 0 w 435103"/>
                <a:gd name="connsiteY2" fmla="*/ 217539 h 435077"/>
                <a:gd name="connsiteX3" fmla="*/ 217539 w 435103"/>
                <a:gd name="connsiteY3" fmla="*/ 0 h 435077"/>
                <a:gd name="connsiteX4" fmla="*/ 435104 w 435103"/>
                <a:gd name="connsiteY4" fmla="*/ 0 h 435077"/>
                <a:gd name="connsiteX5" fmla="*/ 435104 w 435103"/>
                <a:gd name="connsiteY5" fmla="*/ 217539 h 435077"/>
                <a:gd name="connsiteX6" fmla="*/ 217565 w 435103"/>
                <a:gd name="connsiteY6" fmla="*/ 0 h 435077"/>
                <a:gd name="connsiteX7" fmla="*/ 435104 w 435103"/>
                <a:gd name="connsiteY7" fmla="*/ 0 h 435077"/>
                <a:gd name="connsiteX8" fmla="*/ 217565 w 435103"/>
                <a:gd name="connsiteY8" fmla="*/ 435077 h 435077"/>
                <a:gd name="connsiteX9" fmla="*/ 435104 w 435103"/>
                <a:gd name="connsiteY9" fmla="*/ 217539 h 435077"/>
                <a:gd name="connsiteX10" fmla="*/ 435104 w 435103"/>
                <a:gd name="connsiteY10" fmla="*/ 435077 h 435077"/>
                <a:gd name="connsiteX11" fmla="*/ 217565 w 435103"/>
                <a:gd name="connsiteY11" fmla="*/ 435077 h 435077"/>
                <a:gd name="connsiteX12" fmla="*/ 217565 w 435103"/>
                <a:gd name="connsiteY12" fmla="*/ 435077 h 435077"/>
                <a:gd name="connsiteX13" fmla="*/ 27 w 435103"/>
                <a:gd name="connsiteY13" fmla="*/ 217539 h 435077"/>
                <a:gd name="connsiteX14" fmla="*/ 27 w 435103"/>
                <a:gd name="connsiteY14" fmla="*/ 435077 h 435077"/>
                <a:gd name="connsiteX15" fmla="*/ 217565 w 435103"/>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3" h="435077">
                  <a:moveTo>
                    <a:pt x="217539" y="0"/>
                  </a:moveTo>
                  <a:lnTo>
                    <a:pt x="0" y="0"/>
                  </a:lnTo>
                  <a:lnTo>
                    <a:pt x="0" y="217539"/>
                  </a:lnTo>
                  <a:lnTo>
                    <a:pt x="217539" y="0"/>
                  </a:lnTo>
                  <a:close/>
                  <a:moveTo>
                    <a:pt x="435104" y="0"/>
                  </a:moveTo>
                  <a:lnTo>
                    <a:pt x="435104" y="217539"/>
                  </a:lnTo>
                  <a:lnTo>
                    <a:pt x="217565" y="0"/>
                  </a:lnTo>
                  <a:lnTo>
                    <a:pt x="435104" y="0"/>
                  </a:lnTo>
                  <a:close/>
                  <a:moveTo>
                    <a:pt x="217565" y="435077"/>
                  </a:moveTo>
                  <a:lnTo>
                    <a:pt x="435104" y="217539"/>
                  </a:lnTo>
                  <a:lnTo>
                    <a:pt x="435104" y="435077"/>
                  </a:lnTo>
                  <a:lnTo>
                    <a:pt x="217565" y="435077"/>
                  </a:lnTo>
                  <a:close/>
                  <a:moveTo>
                    <a:pt x="217565" y="435077"/>
                  </a:moveTo>
                  <a:lnTo>
                    <a:pt x="27" y="217539"/>
                  </a:lnTo>
                  <a:lnTo>
                    <a:pt x="27" y="435077"/>
                  </a:lnTo>
                  <a:lnTo>
                    <a:pt x="217565" y="435077"/>
                  </a:lnTo>
                  <a:close/>
                </a:path>
              </a:pathLst>
            </a:custGeom>
            <a:grpFill/>
            <a:ln w="27192" cap="flat">
              <a:noFill/>
              <a:prstDash val="solid"/>
              <a:miter/>
            </a:ln>
          </p:spPr>
          <p:txBody>
            <a:bodyPr rtlCol="0" anchor="ctr"/>
            <a:lstStyle/>
            <a:p>
              <a:endParaRPr lang="uk-UA" sz="900"/>
            </a:p>
          </p:txBody>
        </p:sp>
        <p:sp>
          <p:nvSpPr>
            <p:cNvPr id="894" name="Freeform: Shape 893">
              <a:extLst>
                <a:ext uri="{FF2B5EF4-FFF2-40B4-BE49-F238E27FC236}">
                  <a16:creationId xmlns:a16="http://schemas.microsoft.com/office/drawing/2014/main" id="{6D3E82C5-1D69-56A3-3A39-A6751F8B9043}"/>
                </a:ext>
              </a:extLst>
            </p:cNvPr>
            <p:cNvSpPr/>
            <p:nvPr/>
          </p:nvSpPr>
          <p:spPr>
            <a:xfrm>
              <a:off x="13888200" y="12410767"/>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895" name="Freeform: Shape 894">
              <a:extLst>
                <a:ext uri="{FF2B5EF4-FFF2-40B4-BE49-F238E27FC236}">
                  <a16:creationId xmlns:a16="http://schemas.microsoft.com/office/drawing/2014/main" id="{00BE9072-0B5A-16D3-1925-6A66DF361E96}"/>
                </a:ext>
              </a:extLst>
            </p:cNvPr>
            <p:cNvSpPr/>
            <p:nvPr/>
          </p:nvSpPr>
          <p:spPr>
            <a:xfrm>
              <a:off x="15628536" y="12410767"/>
              <a:ext cx="435077" cy="435077"/>
            </a:xfrm>
            <a:custGeom>
              <a:avLst/>
              <a:gdLst>
                <a:gd name="connsiteX0" fmla="*/ 371367 w 435077"/>
                <a:gd name="connsiteY0" fmla="*/ 63739 h 435077"/>
                <a:gd name="connsiteX1" fmla="*/ 435077 w 435077"/>
                <a:gd name="connsiteY1" fmla="*/ 217539 h 435077"/>
                <a:gd name="connsiteX2" fmla="*/ 217703 w 435077"/>
                <a:gd name="connsiteY2" fmla="*/ 217539 h 435077"/>
                <a:gd name="connsiteX3" fmla="*/ 371367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7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7" y="63739"/>
                  </a:moveTo>
                  <a:cubicBezTo>
                    <a:pt x="412155" y="104527"/>
                    <a:pt x="435077" y="159864"/>
                    <a:pt x="435077" y="217539"/>
                  </a:cubicBezTo>
                  <a:lnTo>
                    <a:pt x="217703" y="217539"/>
                  </a:lnTo>
                  <a:cubicBezTo>
                    <a:pt x="275351" y="217593"/>
                    <a:pt x="330605" y="240516"/>
                    <a:pt x="371367" y="281277"/>
                  </a:cubicBezTo>
                  <a:cubicBezTo>
                    <a:pt x="412155" y="322066"/>
                    <a:pt x="435077" y="377402"/>
                    <a:pt x="435077" y="435077"/>
                  </a:cubicBezTo>
                  <a:lnTo>
                    <a:pt x="217539" y="435077"/>
                  </a:lnTo>
                  <a:lnTo>
                    <a:pt x="0" y="435077"/>
                  </a:lnTo>
                  <a:cubicBezTo>
                    <a:pt x="0" y="377402"/>
                    <a:pt x="22924" y="322066"/>
                    <a:pt x="63712" y="281277"/>
                  </a:cubicBezTo>
                  <a:cubicBezTo>
                    <a:pt x="104474" y="240516"/>
                    <a:pt x="159728" y="217593"/>
                    <a:pt x="217376" y="217539"/>
                  </a:cubicBezTo>
                  <a:lnTo>
                    <a:pt x="0" y="217539"/>
                  </a:lnTo>
                  <a:cubicBezTo>
                    <a:pt x="0" y="159864"/>
                    <a:pt x="22924" y="104527"/>
                    <a:pt x="63712" y="63739"/>
                  </a:cubicBezTo>
                  <a:cubicBezTo>
                    <a:pt x="104501" y="22923"/>
                    <a:pt x="159836" y="0"/>
                    <a:pt x="217539" y="0"/>
                  </a:cubicBezTo>
                  <a:cubicBezTo>
                    <a:pt x="275241" y="0"/>
                    <a:pt x="330550" y="22923"/>
                    <a:pt x="371367" y="63739"/>
                  </a:cubicBezTo>
                  <a:close/>
                </a:path>
              </a:pathLst>
            </a:custGeom>
            <a:grpFill/>
            <a:ln w="27192" cap="flat">
              <a:noFill/>
              <a:prstDash val="solid"/>
              <a:miter/>
            </a:ln>
          </p:spPr>
          <p:txBody>
            <a:bodyPr rtlCol="0" anchor="ctr"/>
            <a:lstStyle/>
            <a:p>
              <a:endParaRPr lang="uk-UA" sz="900"/>
            </a:p>
          </p:txBody>
        </p:sp>
        <p:sp>
          <p:nvSpPr>
            <p:cNvPr id="896" name="Freeform: Shape 895">
              <a:extLst>
                <a:ext uri="{FF2B5EF4-FFF2-40B4-BE49-F238E27FC236}">
                  <a16:creationId xmlns:a16="http://schemas.microsoft.com/office/drawing/2014/main" id="{D1214826-1E6C-F5EC-8817-410A1A8CDB74}"/>
                </a:ext>
              </a:extLst>
            </p:cNvPr>
            <p:cNvSpPr/>
            <p:nvPr/>
          </p:nvSpPr>
          <p:spPr>
            <a:xfrm>
              <a:off x="16498665" y="12410767"/>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51 w 435077"/>
                <a:gd name="connsiteY7" fmla="*/ 217566 h 435077"/>
                <a:gd name="connsiteX8" fmla="*/ 435077 w 435077"/>
                <a:gd name="connsiteY8" fmla="*/ 217566 h 435077"/>
                <a:gd name="connsiteX9" fmla="*/ 435051 w 435077"/>
                <a:gd name="connsiteY9" fmla="*/ 217539 h 435077"/>
                <a:gd name="connsiteX10" fmla="*/ 435077 w 435077"/>
                <a:gd name="connsiteY10" fmla="*/ 217539 h 435077"/>
                <a:gd name="connsiteX11" fmla="*/ 435051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51" y="217566"/>
                  </a:lnTo>
                  <a:lnTo>
                    <a:pt x="435077" y="217566"/>
                  </a:lnTo>
                  <a:lnTo>
                    <a:pt x="435051" y="217539"/>
                  </a:lnTo>
                  <a:lnTo>
                    <a:pt x="435077" y="217539"/>
                  </a:lnTo>
                  <a:lnTo>
                    <a:pt x="435051"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897" name="Freeform: Shape 896">
              <a:extLst>
                <a:ext uri="{FF2B5EF4-FFF2-40B4-BE49-F238E27FC236}">
                  <a16:creationId xmlns:a16="http://schemas.microsoft.com/office/drawing/2014/main" id="{292D2B68-3EE1-40CC-52EB-CFC5289230C3}"/>
                </a:ext>
              </a:extLst>
            </p:cNvPr>
            <p:cNvSpPr/>
            <p:nvPr/>
          </p:nvSpPr>
          <p:spPr>
            <a:xfrm>
              <a:off x="18239029" y="12410767"/>
              <a:ext cx="435077" cy="435077"/>
            </a:xfrm>
            <a:custGeom>
              <a:avLst/>
              <a:gdLst>
                <a:gd name="connsiteX0" fmla="*/ 217539 w 435077"/>
                <a:gd name="connsiteY0" fmla="*/ 0 h 435077"/>
                <a:gd name="connsiteX1" fmla="*/ 217539 w 435077"/>
                <a:gd name="connsiteY1" fmla="*/ 0 h 435077"/>
                <a:gd name="connsiteX2" fmla="*/ 0 w 435077"/>
                <a:gd name="connsiteY2" fmla="*/ 0 h 435077"/>
                <a:gd name="connsiteX3" fmla="*/ 0 w 435077"/>
                <a:gd name="connsiteY3" fmla="*/ 217539 h 435077"/>
                <a:gd name="connsiteX4" fmla="*/ 217539 w 435077"/>
                <a:gd name="connsiteY4" fmla="*/ 27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217539" y="0"/>
                  </a:lnTo>
                  <a:lnTo>
                    <a:pt x="0" y="0"/>
                  </a:lnTo>
                  <a:lnTo>
                    <a:pt x="0" y="217539"/>
                  </a:lnTo>
                  <a:lnTo>
                    <a:pt x="217539" y="27"/>
                  </a:lnTo>
                  <a:lnTo>
                    <a:pt x="435077" y="217539"/>
                  </a:lnTo>
                  <a:lnTo>
                    <a:pt x="217539" y="435077"/>
                  </a:lnTo>
                  <a:lnTo>
                    <a:pt x="0" y="217539"/>
                  </a:lnTo>
                  <a:lnTo>
                    <a:pt x="0" y="435077"/>
                  </a:lnTo>
                  <a:lnTo>
                    <a:pt x="217539" y="435077"/>
                  </a:lnTo>
                  <a:lnTo>
                    <a:pt x="435077" y="435077"/>
                  </a:lnTo>
                  <a:lnTo>
                    <a:pt x="435077" y="217539"/>
                  </a:lnTo>
                  <a:lnTo>
                    <a:pt x="435077" y="0"/>
                  </a:lnTo>
                  <a:lnTo>
                    <a:pt x="217539" y="0"/>
                  </a:lnTo>
                  <a:close/>
                </a:path>
              </a:pathLst>
            </a:custGeom>
            <a:grpFill/>
            <a:ln w="27192" cap="flat">
              <a:noFill/>
              <a:prstDash val="solid"/>
              <a:miter/>
            </a:ln>
          </p:spPr>
          <p:txBody>
            <a:bodyPr rtlCol="0" anchor="ctr"/>
            <a:lstStyle/>
            <a:p>
              <a:endParaRPr lang="uk-UA" sz="900"/>
            </a:p>
          </p:txBody>
        </p:sp>
        <p:sp>
          <p:nvSpPr>
            <p:cNvPr id="898" name="Freeform: Shape 897">
              <a:extLst>
                <a:ext uri="{FF2B5EF4-FFF2-40B4-BE49-F238E27FC236}">
                  <a16:creationId xmlns:a16="http://schemas.microsoft.com/office/drawing/2014/main" id="{05BA7D3D-EC31-66C0-5D9E-4CF96E01BD6D}"/>
                </a:ext>
              </a:extLst>
            </p:cNvPr>
            <p:cNvSpPr/>
            <p:nvPr/>
          </p:nvSpPr>
          <p:spPr>
            <a:xfrm>
              <a:off x="17368846" y="12410767"/>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67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67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67" y="435105"/>
                  </a:lnTo>
                  <a:lnTo>
                    <a:pt x="435077" y="217566"/>
                  </a:lnTo>
                  <a:lnTo>
                    <a:pt x="435077" y="435105"/>
                  </a:lnTo>
                  <a:close/>
                  <a:moveTo>
                    <a:pt x="435077" y="27"/>
                  </a:moveTo>
                  <a:lnTo>
                    <a:pt x="217567"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899" name="Freeform: Shape 898">
              <a:extLst>
                <a:ext uri="{FF2B5EF4-FFF2-40B4-BE49-F238E27FC236}">
                  <a16:creationId xmlns:a16="http://schemas.microsoft.com/office/drawing/2014/main" id="{C6993C98-96D9-EA3F-8EFB-C1B2A2DE19DF}"/>
                </a:ext>
              </a:extLst>
            </p:cNvPr>
            <p:cNvSpPr/>
            <p:nvPr/>
          </p:nvSpPr>
          <p:spPr>
            <a:xfrm>
              <a:off x="19109184" y="12410767"/>
              <a:ext cx="435077" cy="435077"/>
            </a:xfrm>
            <a:custGeom>
              <a:avLst/>
              <a:gdLst>
                <a:gd name="connsiteX0" fmla="*/ 371365 w 435077"/>
                <a:gd name="connsiteY0" fmla="*/ 63739 h 435077"/>
                <a:gd name="connsiteX1" fmla="*/ 435077 w 435077"/>
                <a:gd name="connsiteY1" fmla="*/ 217539 h 435077"/>
                <a:gd name="connsiteX2" fmla="*/ 217701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0 w 435077"/>
                <a:gd name="connsiteY7" fmla="*/ 281277 h 435077"/>
                <a:gd name="connsiteX8" fmla="*/ 217374 w 435077"/>
                <a:gd name="connsiteY8" fmla="*/ 217539 h 435077"/>
                <a:gd name="connsiteX9" fmla="*/ 0 w 435077"/>
                <a:gd name="connsiteY9" fmla="*/ 217539 h 435077"/>
                <a:gd name="connsiteX10" fmla="*/ 63710 w 435077"/>
                <a:gd name="connsiteY10" fmla="*/ 63739 h 435077"/>
                <a:gd name="connsiteX11" fmla="*/ 217539 w 435077"/>
                <a:gd name="connsiteY11" fmla="*/ 0 h 435077"/>
                <a:gd name="connsiteX12" fmla="*/ 371365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39"/>
                  </a:moveTo>
                  <a:cubicBezTo>
                    <a:pt x="412154" y="104527"/>
                    <a:pt x="435077" y="159864"/>
                    <a:pt x="435077" y="217539"/>
                  </a:cubicBezTo>
                  <a:lnTo>
                    <a:pt x="217701" y="217539"/>
                  </a:lnTo>
                  <a:cubicBezTo>
                    <a:pt x="275349" y="217593"/>
                    <a:pt x="330603" y="240516"/>
                    <a:pt x="371365" y="281277"/>
                  </a:cubicBezTo>
                  <a:cubicBezTo>
                    <a:pt x="412154" y="322066"/>
                    <a:pt x="435077" y="377402"/>
                    <a:pt x="435077" y="435077"/>
                  </a:cubicBezTo>
                  <a:lnTo>
                    <a:pt x="217539" y="435077"/>
                  </a:lnTo>
                  <a:lnTo>
                    <a:pt x="0" y="435077"/>
                  </a:lnTo>
                  <a:cubicBezTo>
                    <a:pt x="0" y="377402"/>
                    <a:pt x="22922" y="322066"/>
                    <a:pt x="63710" y="281277"/>
                  </a:cubicBezTo>
                  <a:cubicBezTo>
                    <a:pt x="104472" y="240516"/>
                    <a:pt x="159755" y="217593"/>
                    <a:pt x="217374" y="217539"/>
                  </a:cubicBezTo>
                  <a:lnTo>
                    <a:pt x="0" y="217539"/>
                  </a:lnTo>
                  <a:cubicBezTo>
                    <a:pt x="0" y="159864"/>
                    <a:pt x="22922" y="104527"/>
                    <a:pt x="63710" y="63739"/>
                  </a:cubicBezTo>
                  <a:cubicBezTo>
                    <a:pt x="104527" y="22923"/>
                    <a:pt x="159836" y="0"/>
                    <a:pt x="217539" y="0"/>
                  </a:cubicBezTo>
                  <a:cubicBezTo>
                    <a:pt x="275241" y="0"/>
                    <a:pt x="330577" y="22923"/>
                    <a:pt x="371365" y="63739"/>
                  </a:cubicBezTo>
                  <a:close/>
                </a:path>
              </a:pathLst>
            </a:custGeom>
            <a:grpFill/>
            <a:ln w="27192" cap="flat">
              <a:noFill/>
              <a:prstDash val="solid"/>
              <a:miter/>
            </a:ln>
          </p:spPr>
          <p:txBody>
            <a:bodyPr rtlCol="0" anchor="ctr"/>
            <a:lstStyle/>
            <a:p>
              <a:endParaRPr lang="uk-UA" sz="900"/>
            </a:p>
          </p:txBody>
        </p:sp>
        <p:sp>
          <p:nvSpPr>
            <p:cNvPr id="900" name="Freeform: Shape 899">
              <a:extLst>
                <a:ext uri="{FF2B5EF4-FFF2-40B4-BE49-F238E27FC236}">
                  <a16:creationId xmlns:a16="http://schemas.microsoft.com/office/drawing/2014/main" id="{5679C052-BFAA-C16B-FA77-8A4E06D0E47D}"/>
                </a:ext>
              </a:extLst>
            </p:cNvPr>
            <p:cNvSpPr/>
            <p:nvPr/>
          </p:nvSpPr>
          <p:spPr>
            <a:xfrm>
              <a:off x="19979339" y="12410767"/>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901" name="Freeform: Shape 900">
              <a:extLst>
                <a:ext uri="{FF2B5EF4-FFF2-40B4-BE49-F238E27FC236}">
                  <a16:creationId xmlns:a16="http://schemas.microsoft.com/office/drawing/2014/main" id="{A1B814CC-6509-5451-243D-EC2ACDAE53D5}"/>
                </a:ext>
              </a:extLst>
            </p:cNvPr>
            <p:cNvSpPr/>
            <p:nvPr/>
          </p:nvSpPr>
          <p:spPr>
            <a:xfrm>
              <a:off x="21719675" y="12410767"/>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902" name="Freeform: Shape 901">
              <a:extLst>
                <a:ext uri="{FF2B5EF4-FFF2-40B4-BE49-F238E27FC236}">
                  <a16:creationId xmlns:a16="http://schemas.microsoft.com/office/drawing/2014/main" id="{BD9258AC-7FBA-AE75-4386-421D83F87371}"/>
                </a:ext>
              </a:extLst>
            </p:cNvPr>
            <p:cNvSpPr/>
            <p:nvPr/>
          </p:nvSpPr>
          <p:spPr>
            <a:xfrm>
              <a:off x="20849520" y="12410767"/>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903" name="Freeform: Shape 902">
              <a:extLst>
                <a:ext uri="{FF2B5EF4-FFF2-40B4-BE49-F238E27FC236}">
                  <a16:creationId xmlns:a16="http://schemas.microsoft.com/office/drawing/2014/main" id="{AB05B34C-DC2C-0100-FA95-8D5658F3D20C}"/>
                </a:ext>
              </a:extLst>
            </p:cNvPr>
            <p:cNvSpPr/>
            <p:nvPr/>
          </p:nvSpPr>
          <p:spPr>
            <a:xfrm>
              <a:off x="22589856" y="12410767"/>
              <a:ext cx="435077" cy="435077"/>
            </a:xfrm>
            <a:custGeom>
              <a:avLst/>
              <a:gdLst>
                <a:gd name="connsiteX0" fmla="*/ 371367 w 435077"/>
                <a:gd name="connsiteY0" fmla="*/ 63739 h 435077"/>
                <a:gd name="connsiteX1" fmla="*/ 435077 w 435077"/>
                <a:gd name="connsiteY1" fmla="*/ 217539 h 435077"/>
                <a:gd name="connsiteX2" fmla="*/ 217703 w 435077"/>
                <a:gd name="connsiteY2" fmla="*/ 217539 h 435077"/>
                <a:gd name="connsiteX3" fmla="*/ 371367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7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7" y="63739"/>
                  </a:moveTo>
                  <a:cubicBezTo>
                    <a:pt x="412155" y="104527"/>
                    <a:pt x="435077" y="159864"/>
                    <a:pt x="435077" y="217539"/>
                  </a:cubicBezTo>
                  <a:lnTo>
                    <a:pt x="217703" y="217539"/>
                  </a:lnTo>
                  <a:cubicBezTo>
                    <a:pt x="275351" y="217593"/>
                    <a:pt x="330605" y="240516"/>
                    <a:pt x="371367" y="281277"/>
                  </a:cubicBezTo>
                  <a:cubicBezTo>
                    <a:pt x="412155" y="322066"/>
                    <a:pt x="435077" y="377402"/>
                    <a:pt x="435077" y="435077"/>
                  </a:cubicBezTo>
                  <a:lnTo>
                    <a:pt x="217539" y="435077"/>
                  </a:lnTo>
                  <a:lnTo>
                    <a:pt x="0" y="435077"/>
                  </a:lnTo>
                  <a:cubicBezTo>
                    <a:pt x="0" y="377402"/>
                    <a:pt x="22924" y="322066"/>
                    <a:pt x="63712" y="281277"/>
                  </a:cubicBezTo>
                  <a:cubicBezTo>
                    <a:pt x="104474" y="240516"/>
                    <a:pt x="159728" y="217593"/>
                    <a:pt x="217376" y="217539"/>
                  </a:cubicBezTo>
                  <a:lnTo>
                    <a:pt x="0" y="217539"/>
                  </a:lnTo>
                  <a:cubicBezTo>
                    <a:pt x="0" y="159864"/>
                    <a:pt x="22924" y="104527"/>
                    <a:pt x="63712" y="63739"/>
                  </a:cubicBezTo>
                  <a:cubicBezTo>
                    <a:pt x="104501" y="22923"/>
                    <a:pt x="159838" y="0"/>
                    <a:pt x="217539" y="0"/>
                  </a:cubicBezTo>
                  <a:cubicBezTo>
                    <a:pt x="275215" y="0"/>
                    <a:pt x="330550" y="22923"/>
                    <a:pt x="371367" y="63739"/>
                  </a:cubicBezTo>
                  <a:close/>
                </a:path>
              </a:pathLst>
            </a:custGeom>
            <a:grpFill/>
            <a:ln w="27192" cap="flat">
              <a:noFill/>
              <a:prstDash val="solid"/>
              <a:miter/>
            </a:ln>
          </p:spPr>
          <p:txBody>
            <a:bodyPr rtlCol="0" anchor="ctr"/>
            <a:lstStyle/>
            <a:p>
              <a:endParaRPr lang="uk-UA" sz="900"/>
            </a:p>
          </p:txBody>
        </p:sp>
        <p:sp>
          <p:nvSpPr>
            <p:cNvPr id="904" name="Freeform: Shape 903">
              <a:extLst>
                <a:ext uri="{FF2B5EF4-FFF2-40B4-BE49-F238E27FC236}">
                  <a16:creationId xmlns:a16="http://schemas.microsoft.com/office/drawing/2014/main" id="{BB182626-1644-0D49-5DC6-437BD9FB120F}"/>
                </a:ext>
              </a:extLst>
            </p:cNvPr>
            <p:cNvSpPr/>
            <p:nvPr/>
          </p:nvSpPr>
          <p:spPr>
            <a:xfrm>
              <a:off x="23460011" y="12410767"/>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905" name="Freeform: Shape 904">
              <a:extLst>
                <a:ext uri="{FF2B5EF4-FFF2-40B4-BE49-F238E27FC236}">
                  <a16:creationId xmlns:a16="http://schemas.microsoft.com/office/drawing/2014/main" id="{364A555A-EA29-4781-8F1D-0DEB2A7E27DA}"/>
                </a:ext>
              </a:extLst>
            </p:cNvPr>
            <p:cNvSpPr/>
            <p:nvPr/>
          </p:nvSpPr>
          <p:spPr>
            <a:xfrm>
              <a:off x="24330194" y="12410767"/>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906" name="Freeform: Shape 905">
              <a:extLst>
                <a:ext uri="{FF2B5EF4-FFF2-40B4-BE49-F238E27FC236}">
                  <a16:creationId xmlns:a16="http://schemas.microsoft.com/office/drawing/2014/main" id="{55746F21-9251-F30D-8638-325D73FA1DBB}"/>
                </a:ext>
              </a:extLst>
            </p:cNvPr>
            <p:cNvSpPr/>
            <p:nvPr/>
          </p:nvSpPr>
          <p:spPr>
            <a:xfrm>
              <a:off x="835742" y="13280949"/>
              <a:ext cx="435077" cy="435050"/>
            </a:xfrm>
            <a:custGeom>
              <a:avLst/>
              <a:gdLst>
                <a:gd name="connsiteX0" fmla="*/ 435077 w 435077"/>
                <a:gd name="connsiteY0" fmla="*/ 435050 h 435050"/>
                <a:gd name="connsiteX1" fmla="*/ 435077 w 435077"/>
                <a:gd name="connsiteY1" fmla="*/ 0 h 435050"/>
                <a:gd name="connsiteX2" fmla="*/ 217566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39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66" y="217539"/>
                  </a:lnTo>
                  <a:lnTo>
                    <a:pt x="435077" y="435050"/>
                  </a:lnTo>
                  <a:close/>
                  <a:moveTo>
                    <a:pt x="0" y="435050"/>
                  </a:moveTo>
                  <a:lnTo>
                    <a:pt x="0" y="0"/>
                  </a:lnTo>
                  <a:lnTo>
                    <a:pt x="217539" y="217539"/>
                  </a:lnTo>
                  <a:lnTo>
                    <a:pt x="0" y="435050"/>
                  </a:lnTo>
                  <a:close/>
                </a:path>
              </a:pathLst>
            </a:custGeom>
            <a:grpFill/>
            <a:ln w="27192" cap="flat">
              <a:noFill/>
              <a:prstDash val="solid"/>
              <a:miter/>
            </a:ln>
          </p:spPr>
          <p:txBody>
            <a:bodyPr rtlCol="0" anchor="ctr"/>
            <a:lstStyle/>
            <a:p>
              <a:endParaRPr lang="uk-UA" sz="900"/>
            </a:p>
          </p:txBody>
        </p:sp>
        <p:sp>
          <p:nvSpPr>
            <p:cNvPr id="907" name="Freeform: Shape 906">
              <a:extLst>
                <a:ext uri="{FF2B5EF4-FFF2-40B4-BE49-F238E27FC236}">
                  <a16:creationId xmlns:a16="http://schemas.microsoft.com/office/drawing/2014/main" id="{56DCDC31-AA03-B8D4-9F61-85A3BF979F35}"/>
                </a:ext>
              </a:extLst>
            </p:cNvPr>
            <p:cNvSpPr/>
            <p:nvPr/>
          </p:nvSpPr>
          <p:spPr>
            <a:xfrm>
              <a:off x="-34412" y="1328092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908" name="Freeform: Shape 907">
              <a:extLst>
                <a:ext uri="{FF2B5EF4-FFF2-40B4-BE49-F238E27FC236}">
                  <a16:creationId xmlns:a16="http://schemas.microsoft.com/office/drawing/2014/main" id="{7D9E6879-EF83-C204-469F-3D7EA0C7834C}"/>
                </a:ext>
              </a:extLst>
            </p:cNvPr>
            <p:cNvSpPr/>
            <p:nvPr/>
          </p:nvSpPr>
          <p:spPr>
            <a:xfrm>
              <a:off x="1705924" y="13280922"/>
              <a:ext cx="435077" cy="435077"/>
            </a:xfrm>
            <a:custGeom>
              <a:avLst/>
              <a:gdLst>
                <a:gd name="connsiteX0" fmla="*/ 63711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1 w 435077"/>
                <a:gd name="connsiteY6" fmla="*/ 153827 h 435077"/>
                <a:gd name="connsiteX7" fmla="*/ 63711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11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1" y="153827"/>
                  </a:moveTo>
                  <a:cubicBezTo>
                    <a:pt x="22923" y="113039"/>
                    <a:pt x="0" y="57702"/>
                    <a:pt x="0" y="0"/>
                  </a:cubicBezTo>
                  <a:lnTo>
                    <a:pt x="217539" y="0"/>
                  </a:lnTo>
                  <a:lnTo>
                    <a:pt x="435077" y="0"/>
                  </a:lnTo>
                  <a:cubicBezTo>
                    <a:pt x="435077" y="57702"/>
                    <a:pt x="412154" y="113039"/>
                    <a:pt x="371366" y="153827"/>
                  </a:cubicBezTo>
                  <a:cubicBezTo>
                    <a:pt x="330550" y="194642"/>
                    <a:pt x="275213" y="217539"/>
                    <a:pt x="217539" y="217539"/>
                  </a:cubicBezTo>
                  <a:cubicBezTo>
                    <a:pt x="159836" y="217539"/>
                    <a:pt x="104500" y="194642"/>
                    <a:pt x="63711" y="153827"/>
                  </a:cubicBezTo>
                  <a:close/>
                  <a:moveTo>
                    <a:pt x="63711" y="281277"/>
                  </a:moveTo>
                  <a:cubicBezTo>
                    <a:pt x="22923" y="322066"/>
                    <a:pt x="0" y="377402"/>
                    <a:pt x="0" y="435077"/>
                  </a:cubicBezTo>
                  <a:lnTo>
                    <a:pt x="217539" y="435077"/>
                  </a:lnTo>
                  <a:lnTo>
                    <a:pt x="435077" y="435077"/>
                  </a:lnTo>
                  <a:cubicBezTo>
                    <a:pt x="435077" y="377402"/>
                    <a:pt x="412154" y="322066"/>
                    <a:pt x="371366" y="281277"/>
                  </a:cubicBezTo>
                  <a:cubicBezTo>
                    <a:pt x="330550" y="240462"/>
                    <a:pt x="275213" y="217539"/>
                    <a:pt x="217539" y="217539"/>
                  </a:cubicBezTo>
                  <a:cubicBezTo>
                    <a:pt x="159836" y="217539"/>
                    <a:pt x="104500" y="240462"/>
                    <a:pt x="63711" y="281277"/>
                  </a:cubicBezTo>
                  <a:close/>
                </a:path>
              </a:pathLst>
            </a:custGeom>
            <a:grpFill/>
            <a:ln w="27192" cap="flat">
              <a:noFill/>
              <a:prstDash val="solid"/>
              <a:miter/>
            </a:ln>
          </p:spPr>
          <p:txBody>
            <a:bodyPr rtlCol="0" anchor="ctr"/>
            <a:lstStyle/>
            <a:p>
              <a:endParaRPr lang="uk-UA" sz="900"/>
            </a:p>
          </p:txBody>
        </p:sp>
        <p:sp>
          <p:nvSpPr>
            <p:cNvPr id="909" name="Freeform: Shape 908">
              <a:extLst>
                <a:ext uri="{FF2B5EF4-FFF2-40B4-BE49-F238E27FC236}">
                  <a16:creationId xmlns:a16="http://schemas.microsoft.com/office/drawing/2014/main" id="{07B162CD-FBB7-FA52-B888-FC0E310824DB}"/>
                </a:ext>
              </a:extLst>
            </p:cNvPr>
            <p:cNvSpPr/>
            <p:nvPr/>
          </p:nvSpPr>
          <p:spPr>
            <a:xfrm>
              <a:off x="2576079" y="1328092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6 w 435077"/>
                <a:gd name="connsiteY3" fmla="*/ 27 h 435077"/>
                <a:gd name="connsiteX4" fmla="*/ 435077 w 435077"/>
                <a:gd name="connsiteY4" fmla="*/ 217566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6" y="27"/>
                  </a:lnTo>
                  <a:lnTo>
                    <a:pt x="435077" y="217566"/>
                  </a:lnTo>
                  <a:lnTo>
                    <a:pt x="217566"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910" name="Freeform: Shape 909">
              <a:extLst>
                <a:ext uri="{FF2B5EF4-FFF2-40B4-BE49-F238E27FC236}">
                  <a16:creationId xmlns:a16="http://schemas.microsoft.com/office/drawing/2014/main" id="{C725EEF1-8C3F-9953-298D-7533A00DEA27}"/>
                </a:ext>
              </a:extLst>
            </p:cNvPr>
            <p:cNvSpPr/>
            <p:nvPr/>
          </p:nvSpPr>
          <p:spPr>
            <a:xfrm>
              <a:off x="4316416" y="13280949"/>
              <a:ext cx="435077" cy="435050"/>
            </a:xfrm>
            <a:custGeom>
              <a:avLst/>
              <a:gdLst>
                <a:gd name="connsiteX0" fmla="*/ 435077 w 435077"/>
                <a:gd name="connsiteY0" fmla="*/ 435050 h 435050"/>
                <a:gd name="connsiteX1" fmla="*/ 435077 w 435077"/>
                <a:gd name="connsiteY1" fmla="*/ 0 h 435050"/>
                <a:gd name="connsiteX2" fmla="*/ 217565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39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65" y="217539"/>
                  </a:lnTo>
                  <a:lnTo>
                    <a:pt x="435077" y="435050"/>
                  </a:lnTo>
                  <a:close/>
                  <a:moveTo>
                    <a:pt x="0" y="435050"/>
                  </a:moveTo>
                  <a:lnTo>
                    <a:pt x="0" y="0"/>
                  </a:lnTo>
                  <a:lnTo>
                    <a:pt x="217539" y="217539"/>
                  </a:lnTo>
                  <a:lnTo>
                    <a:pt x="0" y="435050"/>
                  </a:lnTo>
                  <a:close/>
                </a:path>
              </a:pathLst>
            </a:custGeom>
            <a:grpFill/>
            <a:ln w="27192" cap="flat">
              <a:noFill/>
              <a:prstDash val="solid"/>
              <a:miter/>
            </a:ln>
          </p:spPr>
          <p:txBody>
            <a:bodyPr rtlCol="0" anchor="ctr"/>
            <a:lstStyle/>
            <a:p>
              <a:endParaRPr lang="uk-UA" sz="900"/>
            </a:p>
          </p:txBody>
        </p:sp>
        <p:sp>
          <p:nvSpPr>
            <p:cNvPr id="911" name="Freeform: Shape 910">
              <a:extLst>
                <a:ext uri="{FF2B5EF4-FFF2-40B4-BE49-F238E27FC236}">
                  <a16:creationId xmlns:a16="http://schemas.microsoft.com/office/drawing/2014/main" id="{7966E624-DDD5-CF2B-34AD-24AD5F9FC1E6}"/>
                </a:ext>
              </a:extLst>
            </p:cNvPr>
            <p:cNvSpPr/>
            <p:nvPr/>
          </p:nvSpPr>
          <p:spPr>
            <a:xfrm>
              <a:off x="3446261" y="1328092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912" name="Freeform: Shape 911">
              <a:extLst>
                <a:ext uri="{FF2B5EF4-FFF2-40B4-BE49-F238E27FC236}">
                  <a16:creationId xmlns:a16="http://schemas.microsoft.com/office/drawing/2014/main" id="{465BE256-9261-B9A4-691F-DB120CE5629E}"/>
                </a:ext>
              </a:extLst>
            </p:cNvPr>
            <p:cNvSpPr/>
            <p:nvPr/>
          </p:nvSpPr>
          <p:spPr>
            <a:xfrm>
              <a:off x="5186571" y="13280922"/>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39 w 435077"/>
                <a:gd name="connsiteY6" fmla="*/ 153827 h 435077"/>
                <a:gd name="connsiteX7" fmla="*/ 63739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77 h 435077"/>
                <a:gd name="connsiteX12" fmla="*/ 217539 w 435077"/>
                <a:gd name="connsiteY12" fmla="*/ 217539 h 435077"/>
                <a:gd name="connsiteX13" fmla="*/ 63739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3" y="113039"/>
                    <a:pt x="0" y="57702"/>
                    <a:pt x="0" y="0"/>
                  </a:cubicBezTo>
                  <a:lnTo>
                    <a:pt x="217539" y="0"/>
                  </a:lnTo>
                  <a:lnTo>
                    <a:pt x="435077" y="0"/>
                  </a:lnTo>
                  <a:cubicBezTo>
                    <a:pt x="435077" y="57702"/>
                    <a:pt x="412181" y="113039"/>
                    <a:pt x="371365" y="153827"/>
                  </a:cubicBezTo>
                  <a:cubicBezTo>
                    <a:pt x="330577" y="194642"/>
                    <a:pt x="275240" y="217539"/>
                    <a:pt x="217539" y="217539"/>
                  </a:cubicBezTo>
                  <a:cubicBezTo>
                    <a:pt x="159864" y="217539"/>
                    <a:pt x="104527" y="194642"/>
                    <a:pt x="63739" y="153827"/>
                  </a:cubicBezTo>
                  <a:close/>
                  <a:moveTo>
                    <a:pt x="63739" y="281277"/>
                  </a:moveTo>
                  <a:cubicBezTo>
                    <a:pt x="22923" y="322066"/>
                    <a:pt x="0" y="377402"/>
                    <a:pt x="0" y="435077"/>
                  </a:cubicBezTo>
                  <a:lnTo>
                    <a:pt x="217539" y="435077"/>
                  </a:lnTo>
                  <a:lnTo>
                    <a:pt x="435077" y="435077"/>
                  </a:lnTo>
                  <a:cubicBezTo>
                    <a:pt x="435077" y="377402"/>
                    <a:pt x="412181" y="322066"/>
                    <a:pt x="371365" y="281277"/>
                  </a:cubicBezTo>
                  <a:cubicBezTo>
                    <a:pt x="330577" y="240462"/>
                    <a:pt x="275240" y="217539"/>
                    <a:pt x="217539" y="217539"/>
                  </a:cubicBezTo>
                  <a:cubicBezTo>
                    <a:pt x="159864" y="217539"/>
                    <a:pt x="104527" y="240462"/>
                    <a:pt x="63739" y="281277"/>
                  </a:cubicBezTo>
                  <a:close/>
                </a:path>
              </a:pathLst>
            </a:custGeom>
            <a:grpFill/>
            <a:ln w="27192" cap="flat">
              <a:noFill/>
              <a:prstDash val="solid"/>
              <a:miter/>
            </a:ln>
          </p:spPr>
          <p:txBody>
            <a:bodyPr rtlCol="0" anchor="ctr"/>
            <a:lstStyle/>
            <a:p>
              <a:endParaRPr lang="uk-UA" sz="900"/>
            </a:p>
          </p:txBody>
        </p:sp>
        <p:sp>
          <p:nvSpPr>
            <p:cNvPr id="913" name="Freeform: Shape 912">
              <a:extLst>
                <a:ext uri="{FF2B5EF4-FFF2-40B4-BE49-F238E27FC236}">
                  <a16:creationId xmlns:a16="http://schemas.microsoft.com/office/drawing/2014/main" id="{A4474734-B927-2331-E630-FF7787B2BB08}"/>
                </a:ext>
              </a:extLst>
            </p:cNvPr>
            <p:cNvSpPr/>
            <p:nvPr/>
          </p:nvSpPr>
          <p:spPr>
            <a:xfrm>
              <a:off x="6056725" y="1328092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5 w 435077"/>
                <a:gd name="connsiteY3" fmla="*/ 27 h 435077"/>
                <a:gd name="connsiteX4" fmla="*/ 435077 w 435077"/>
                <a:gd name="connsiteY4" fmla="*/ 217566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5" y="27"/>
                  </a:lnTo>
                  <a:lnTo>
                    <a:pt x="435077" y="217566"/>
                  </a:lnTo>
                  <a:lnTo>
                    <a:pt x="217565"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914" name="Freeform: Shape 913">
              <a:extLst>
                <a:ext uri="{FF2B5EF4-FFF2-40B4-BE49-F238E27FC236}">
                  <a16:creationId xmlns:a16="http://schemas.microsoft.com/office/drawing/2014/main" id="{D1D8AFBA-962C-050D-5615-0EFCE926D760}"/>
                </a:ext>
              </a:extLst>
            </p:cNvPr>
            <p:cNvSpPr/>
            <p:nvPr/>
          </p:nvSpPr>
          <p:spPr>
            <a:xfrm>
              <a:off x="7797062" y="13280949"/>
              <a:ext cx="435077" cy="435050"/>
            </a:xfrm>
            <a:custGeom>
              <a:avLst/>
              <a:gdLst>
                <a:gd name="connsiteX0" fmla="*/ 435077 w 435077"/>
                <a:gd name="connsiteY0" fmla="*/ 435050 h 435050"/>
                <a:gd name="connsiteX1" fmla="*/ 435077 w 435077"/>
                <a:gd name="connsiteY1" fmla="*/ 0 h 435050"/>
                <a:gd name="connsiteX2" fmla="*/ 217566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39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66" y="217539"/>
                  </a:lnTo>
                  <a:lnTo>
                    <a:pt x="435077" y="435050"/>
                  </a:lnTo>
                  <a:close/>
                  <a:moveTo>
                    <a:pt x="0" y="435050"/>
                  </a:moveTo>
                  <a:lnTo>
                    <a:pt x="0" y="0"/>
                  </a:lnTo>
                  <a:lnTo>
                    <a:pt x="217539" y="217539"/>
                  </a:lnTo>
                  <a:lnTo>
                    <a:pt x="0" y="435050"/>
                  </a:lnTo>
                  <a:close/>
                </a:path>
              </a:pathLst>
            </a:custGeom>
            <a:grpFill/>
            <a:ln w="27192" cap="flat">
              <a:noFill/>
              <a:prstDash val="solid"/>
              <a:miter/>
            </a:ln>
          </p:spPr>
          <p:txBody>
            <a:bodyPr rtlCol="0" anchor="ctr"/>
            <a:lstStyle/>
            <a:p>
              <a:endParaRPr lang="uk-UA" sz="900"/>
            </a:p>
          </p:txBody>
        </p:sp>
        <p:sp>
          <p:nvSpPr>
            <p:cNvPr id="915" name="Freeform: Shape 914">
              <a:extLst>
                <a:ext uri="{FF2B5EF4-FFF2-40B4-BE49-F238E27FC236}">
                  <a16:creationId xmlns:a16="http://schemas.microsoft.com/office/drawing/2014/main" id="{FE3ED06A-2064-5EAA-146C-783A9AAE8626}"/>
                </a:ext>
              </a:extLst>
            </p:cNvPr>
            <p:cNvSpPr/>
            <p:nvPr/>
          </p:nvSpPr>
          <p:spPr>
            <a:xfrm>
              <a:off x="6926907" y="13280922"/>
              <a:ext cx="435077" cy="435077"/>
            </a:xfrm>
            <a:custGeom>
              <a:avLst/>
              <a:gdLst>
                <a:gd name="connsiteX0" fmla="*/ 0 w 435077"/>
                <a:gd name="connsiteY0" fmla="*/ 435077 h 435077"/>
                <a:gd name="connsiteX1" fmla="*/ 0 w 435077"/>
                <a:gd name="connsiteY1" fmla="*/ 0 h 435077"/>
                <a:gd name="connsiteX2" fmla="*/ 217512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12"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916" name="Freeform: Shape 915">
              <a:extLst>
                <a:ext uri="{FF2B5EF4-FFF2-40B4-BE49-F238E27FC236}">
                  <a16:creationId xmlns:a16="http://schemas.microsoft.com/office/drawing/2014/main" id="{004441B4-73E1-407A-F3AD-96809F087D43}"/>
                </a:ext>
              </a:extLst>
            </p:cNvPr>
            <p:cNvSpPr/>
            <p:nvPr/>
          </p:nvSpPr>
          <p:spPr>
            <a:xfrm>
              <a:off x="8667217" y="1328092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6" y="153827"/>
                  </a:cubicBezTo>
                  <a:cubicBezTo>
                    <a:pt x="330550" y="194642"/>
                    <a:pt x="275241" y="217539"/>
                    <a:pt x="217539" y="217539"/>
                  </a:cubicBezTo>
                  <a:cubicBezTo>
                    <a:pt x="159837"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5" y="322066"/>
                    <a:pt x="371366" y="281277"/>
                  </a:cubicBezTo>
                  <a:cubicBezTo>
                    <a:pt x="330550" y="240462"/>
                    <a:pt x="275241" y="217539"/>
                    <a:pt x="217539" y="217539"/>
                  </a:cubicBezTo>
                  <a:cubicBezTo>
                    <a:pt x="159837" y="217539"/>
                    <a:pt x="104501" y="240462"/>
                    <a:pt x="63712" y="281277"/>
                  </a:cubicBezTo>
                  <a:close/>
                </a:path>
              </a:pathLst>
            </a:custGeom>
            <a:grpFill/>
            <a:ln w="27192" cap="flat">
              <a:noFill/>
              <a:prstDash val="solid"/>
              <a:miter/>
            </a:ln>
          </p:spPr>
          <p:txBody>
            <a:bodyPr rtlCol="0" anchor="ctr"/>
            <a:lstStyle/>
            <a:p>
              <a:endParaRPr lang="uk-UA" sz="900"/>
            </a:p>
          </p:txBody>
        </p:sp>
        <p:sp>
          <p:nvSpPr>
            <p:cNvPr id="917" name="Freeform: Shape 916">
              <a:extLst>
                <a:ext uri="{FF2B5EF4-FFF2-40B4-BE49-F238E27FC236}">
                  <a16:creationId xmlns:a16="http://schemas.microsoft.com/office/drawing/2014/main" id="{8008CC53-5C73-63F0-BB31-E852005AA29C}"/>
                </a:ext>
              </a:extLst>
            </p:cNvPr>
            <p:cNvSpPr/>
            <p:nvPr/>
          </p:nvSpPr>
          <p:spPr>
            <a:xfrm>
              <a:off x="9537371" y="1328092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6 w 435077"/>
                <a:gd name="connsiteY3" fmla="*/ 27 h 435077"/>
                <a:gd name="connsiteX4" fmla="*/ 435077 w 435077"/>
                <a:gd name="connsiteY4" fmla="*/ 217566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6" y="27"/>
                  </a:lnTo>
                  <a:lnTo>
                    <a:pt x="435077" y="217566"/>
                  </a:lnTo>
                  <a:lnTo>
                    <a:pt x="217566"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918" name="Freeform: Shape 917">
              <a:extLst>
                <a:ext uri="{FF2B5EF4-FFF2-40B4-BE49-F238E27FC236}">
                  <a16:creationId xmlns:a16="http://schemas.microsoft.com/office/drawing/2014/main" id="{0F121CB7-19DB-3218-BD21-EF423BB19E06}"/>
                </a:ext>
              </a:extLst>
            </p:cNvPr>
            <p:cNvSpPr/>
            <p:nvPr/>
          </p:nvSpPr>
          <p:spPr>
            <a:xfrm>
              <a:off x="11277709" y="13280949"/>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0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0" y="217539"/>
                  </a:lnTo>
                  <a:lnTo>
                    <a:pt x="0" y="435050"/>
                  </a:lnTo>
                  <a:close/>
                </a:path>
              </a:pathLst>
            </a:custGeom>
            <a:grpFill/>
            <a:ln w="27192" cap="flat">
              <a:noFill/>
              <a:prstDash val="solid"/>
              <a:miter/>
            </a:ln>
          </p:spPr>
          <p:txBody>
            <a:bodyPr rtlCol="0" anchor="ctr"/>
            <a:lstStyle/>
            <a:p>
              <a:endParaRPr lang="uk-UA" sz="900"/>
            </a:p>
          </p:txBody>
        </p:sp>
        <p:sp>
          <p:nvSpPr>
            <p:cNvPr id="919" name="Freeform: Shape 918">
              <a:extLst>
                <a:ext uri="{FF2B5EF4-FFF2-40B4-BE49-F238E27FC236}">
                  <a16:creationId xmlns:a16="http://schemas.microsoft.com/office/drawing/2014/main" id="{B7A30BBC-2083-4D5B-97F7-FD6342074D11}"/>
                </a:ext>
              </a:extLst>
            </p:cNvPr>
            <p:cNvSpPr/>
            <p:nvPr/>
          </p:nvSpPr>
          <p:spPr>
            <a:xfrm>
              <a:off x="10407526" y="1328092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920" name="Freeform: Shape 919">
              <a:extLst>
                <a:ext uri="{FF2B5EF4-FFF2-40B4-BE49-F238E27FC236}">
                  <a16:creationId xmlns:a16="http://schemas.microsoft.com/office/drawing/2014/main" id="{6E272AA5-3A8C-7A36-BF63-22248048E4F8}"/>
                </a:ext>
              </a:extLst>
            </p:cNvPr>
            <p:cNvSpPr/>
            <p:nvPr/>
          </p:nvSpPr>
          <p:spPr>
            <a:xfrm>
              <a:off x="12147864" y="13280922"/>
              <a:ext cx="435077" cy="435077"/>
            </a:xfrm>
            <a:custGeom>
              <a:avLst/>
              <a:gdLst>
                <a:gd name="connsiteX0" fmla="*/ 63710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0 w 435077"/>
                <a:gd name="connsiteY6" fmla="*/ 153827 h 435077"/>
                <a:gd name="connsiteX7" fmla="*/ 63710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77 h 435077"/>
                <a:gd name="connsiteX12" fmla="*/ 217539 w 435077"/>
                <a:gd name="connsiteY12" fmla="*/ 217539 h 435077"/>
                <a:gd name="connsiteX13" fmla="*/ 63710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7"/>
                  </a:moveTo>
                  <a:cubicBezTo>
                    <a:pt x="22922" y="113039"/>
                    <a:pt x="0" y="57702"/>
                    <a:pt x="0" y="0"/>
                  </a:cubicBezTo>
                  <a:lnTo>
                    <a:pt x="217539" y="0"/>
                  </a:lnTo>
                  <a:lnTo>
                    <a:pt x="435077" y="0"/>
                  </a:lnTo>
                  <a:cubicBezTo>
                    <a:pt x="435077" y="57702"/>
                    <a:pt x="412154" y="113039"/>
                    <a:pt x="371365" y="153827"/>
                  </a:cubicBezTo>
                  <a:cubicBezTo>
                    <a:pt x="330549" y="194642"/>
                    <a:pt x="275239" y="217539"/>
                    <a:pt x="217539" y="217539"/>
                  </a:cubicBezTo>
                  <a:cubicBezTo>
                    <a:pt x="159836" y="217539"/>
                    <a:pt x="104499" y="194642"/>
                    <a:pt x="63710" y="153827"/>
                  </a:cubicBezTo>
                  <a:close/>
                  <a:moveTo>
                    <a:pt x="63710" y="281277"/>
                  </a:moveTo>
                  <a:cubicBezTo>
                    <a:pt x="22922" y="322066"/>
                    <a:pt x="0" y="377402"/>
                    <a:pt x="0" y="435077"/>
                  </a:cubicBezTo>
                  <a:lnTo>
                    <a:pt x="217539" y="435077"/>
                  </a:lnTo>
                  <a:lnTo>
                    <a:pt x="435077" y="435077"/>
                  </a:lnTo>
                  <a:cubicBezTo>
                    <a:pt x="435077" y="377402"/>
                    <a:pt x="412154" y="322066"/>
                    <a:pt x="371365" y="281277"/>
                  </a:cubicBezTo>
                  <a:cubicBezTo>
                    <a:pt x="330549" y="240462"/>
                    <a:pt x="275239" y="217539"/>
                    <a:pt x="217539" y="217539"/>
                  </a:cubicBezTo>
                  <a:cubicBezTo>
                    <a:pt x="159836" y="217539"/>
                    <a:pt x="104499" y="240462"/>
                    <a:pt x="63710" y="281277"/>
                  </a:cubicBezTo>
                  <a:close/>
                </a:path>
              </a:pathLst>
            </a:custGeom>
            <a:grpFill/>
            <a:ln w="27192" cap="flat">
              <a:noFill/>
              <a:prstDash val="solid"/>
              <a:miter/>
            </a:ln>
          </p:spPr>
          <p:txBody>
            <a:bodyPr rtlCol="0" anchor="ctr"/>
            <a:lstStyle/>
            <a:p>
              <a:endParaRPr lang="uk-UA" sz="900"/>
            </a:p>
          </p:txBody>
        </p:sp>
        <p:sp>
          <p:nvSpPr>
            <p:cNvPr id="921" name="Freeform: Shape 920">
              <a:extLst>
                <a:ext uri="{FF2B5EF4-FFF2-40B4-BE49-F238E27FC236}">
                  <a16:creationId xmlns:a16="http://schemas.microsoft.com/office/drawing/2014/main" id="{72B2F207-1125-69C2-FB3B-E72DC4A118A5}"/>
                </a:ext>
              </a:extLst>
            </p:cNvPr>
            <p:cNvSpPr/>
            <p:nvPr/>
          </p:nvSpPr>
          <p:spPr>
            <a:xfrm>
              <a:off x="13018019" y="1328092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5 w 435077"/>
                <a:gd name="connsiteY3" fmla="*/ 27 h 435077"/>
                <a:gd name="connsiteX4" fmla="*/ 435077 w 435077"/>
                <a:gd name="connsiteY4" fmla="*/ 217566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5" y="27"/>
                  </a:lnTo>
                  <a:lnTo>
                    <a:pt x="435077" y="217566"/>
                  </a:lnTo>
                  <a:lnTo>
                    <a:pt x="217565"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922" name="Freeform: Shape 921">
              <a:extLst>
                <a:ext uri="{FF2B5EF4-FFF2-40B4-BE49-F238E27FC236}">
                  <a16:creationId xmlns:a16="http://schemas.microsoft.com/office/drawing/2014/main" id="{06CBFB4C-DB22-1571-8870-2CD14A476F6A}"/>
                </a:ext>
              </a:extLst>
            </p:cNvPr>
            <p:cNvSpPr/>
            <p:nvPr/>
          </p:nvSpPr>
          <p:spPr>
            <a:xfrm>
              <a:off x="14758382" y="13280949"/>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2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2" y="217539"/>
                  </a:lnTo>
                  <a:lnTo>
                    <a:pt x="0" y="435050"/>
                  </a:lnTo>
                  <a:close/>
                </a:path>
              </a:pathLst>
            </a:custGeom>
            <a:grpFill/>
            <a:ln w="27192" cap="flat">
              <a:noFill/>
              <a:prstDash val="solid"/>
              <a:miter/>
            </a:ln>
          </p:spPr>
          <p:txBody>
            <a:bodyPr rtlCol="0" anchor="ctr"/>
            <a:lstStyle/>
            <a:p>
              <a:endParaRPr lang="uk-UA" sz="900"/>
            </a:p>
          </p:txBody>
        </p:sp>
        <p:sp>
          <p:nvSpPr>
            <p:cNvPr id="923" name="Freeform: Shape 922">
              <a:extLst>
                <a:ext uri="{FF2B5EF4-FFF2-40B4-BE49-F238E27FC236}">
                  <a16:creationId xmlns:a16="http://schemas.microsoft.com/office/drawing/2014/main" id="{A0B728FE-7873-F383-A484-791F277CF3F8}"/>
                </a:ext>
              </a:extLst>
            </p:cNvPr>
            <p:cNvSpPr/>
            <p:nvPr/>
          </p:nvSpPr>
          <p:spPr>
            <a:xfrm>
              <a:off x="13888200" y="1328092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924" name="Freeform: Shape 923">
              <a:extLst>
                <a:ext uri="{FF2B5EF4-FFF2-40B4-BE49-F238E27FC236}">
                  <a16:creationId xmlns:a16="http://schemas.microsoft.com/office/drawing/2014/main" id="{50CE9853-642C-F63F-83E9-CFD52B769394}"/>
                </a:ext>
              </a:extLst>
            </p:cNvPr>
            <p:cNvSpPr/>
            <p:nvPr/>
          </p:nvSpPr>
          <p:spPr>
            <a:xfrm>
              <a:off x="15628536" y="1328092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7" y="153827"/>
                  </a:cubicBezTo>
                  <a:cubicBezTo>
                    <a:pt x="330550" y="194642"/>
                    <a:pt x="275241" y="217539"/>
                    <a:pt x="217539" y="217539"/>
                  </a:cubicBezTo>
                  <a:cubicBezTo>
                    <a:pt x="159836"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5" y="322066"/>
                    <a:pt x="371367" y="281277"/>
                  </a:cubicBezTo>
                  <a:cubicBezTo>
                    <a:pt x="330550" y="240462"/>
                    <a:pt x="275241" y="217539"/>
                    <a:pt x="217539" y="217539"/>
                  </a:cubicBezTo>
                  <a:cubicBezTo>
                    <a:pt x="159836" y="217539"/>
                    <a:pt x="104501" y="240462"/>
                    <a:pt x="63712" y="281277"/>
                  </a:cubicBezTo>
                  <a:close/>
                </a:path>
              </a:pathLst>
            </a:custGeom>
            <a:grpFill/>
            <a:ln w="27192" cap="flat">
              <a:noFill/>
              <a:prstDash val="solid"/>
              <a:miter/>
            </a:ln>
          </p:spPr>
          <p:txBody>
            <a:bodyPr rtlCol="0" anchor="ctr"/>
            <a:lstStyle/>
            <a:p>
              <a:endParaRPr lang="uk-UA" sz="900"/>
            </a:p>
          </p:txBody>
        </p:sp>
        <p:sp>
          <p:nvSpPr>
            <p:cNvPr id="925" name="Freeform: Shape 924">
              <a:extLst>
                <a:ext uri="{FF2B5EF4-FFF2-40B4-BE49-F238E27FC236}">
                  <a16:creationId xmlns:a16="http://schemas.microsoft.com/office/drawing/2014/main" id="{D4876E03-0916-2D4B-0E5A-39186FC0E1E1}"/>
                </a:ext>
              </a:extLst>
            </p:cNvPr>
            <p:cNvSpPr/>
            <p:nvPr/>
          </p:nvSpPr>
          <p:spPr>
            <a:xfrm>
              <a:off x="16498691" y="1328092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7 w 435077"/>
                <a:gd name="connsiteY3" fmla="*/ 27 h 435077"/>
                <a:gd name="connsiteX4" fmla="*/ 435077 w 435077"/>
                <a:gd name="connsiteY4" fmla="*/ 217566 h 435077"/>
                <a:gd name="connsiteX5" fmla="*/ 217567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7" y="27"/>
                  </a:lnTo>
                  <a:lnTo>
                    <a:pt x="435077" y="217566"/>
                  </a:lnTo>
                  <a:lnTo>
                    <a:pt x="217567"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926" name="Freeform: Shape 925">
              <a:extLst>
                <a:ext uri="{FF2B5EF4-FFF2-40B4-BE49-F238E27FC236}">
                  <a16:creationId xmlns:a16="http://schemas.microsoft.com/office/drawing/2014/main" id="{B94BD52A-6DC7-4749-31F5-C2544375C55C}"/>
                </a:ext>
              </a:extLst>
            </p:cNvPr>
            <p:cNvSpPr/>
            <p:nvPr/>
          </p:nvSpPr>
          <p:spPr>
            <a:xfrm>
              <a:off x="18239029" y="13280949"/>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0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0" y="217539"/>
                  </a:lnTo>
                  <a:lnTo>
                    <a:pt x="0" y="435050"/>
                  </a:lnTo>
                  <a:close/>
                </a:path>
              </a:pathLst>
            </a:custGeom>
            <a:grpFill/>
            <a:ln w="27192" cap="flat">
              <a:noFill/>
              <a:prstDash val="solid"/>
              <a:miter/>
            </a:ln>
          </p:spPr>
          <p:txBody>
            <a:bodyPr rtlCol="0" anchor="ctr"/>
            <a:lstStyle/>
            <a:p>
              <a:endParaRPr lang="uk-UA" sz="900"/>
            </a:p>
          </p:txBody>
        </p:sp>
        <p:sp>
          <p:nvSpPr>
            <p:cNvPr id="927" name="Freeform: Shape 926">
              <a:extLst>
                <a:ext uri="{FF2B5EF4-FFF2-40B4-BE49-F238E27FC236}">
                  <a16:creationId xmlns:a16="http://schemas.microsoft.com/office/drawing/2014/main" id="{E8C2AB4E-E22C-BC81-81A2-1593E6F41F5D}"/>
                </a:ext>
              </a:extLst>
            </p:cNvPr>
            <p:cNvSpPr/>
            <p:nvPr/>
          </p:nvSpPr>
          <p:spPr>
            <a:xfrm>
              <a:off x="17368846" y="1328092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67 w 435077"/>
                <a:gd name="connsiteY4" fmla="*/ 435077 h 435077"/>
                <a:gd name="connsiteX5" fmla="*/ 217567 w 435077"/>
                <a:gd name="connsiteY5" fmla="*/ 0 h 435077"/>
                <a:gd name="connsiteX6" fmla="*/ 435077 w 435077"/>
                <a:gd name="connsiteY6" fmla="*/ 217566 h 435077"/>
                <a:gd name="connsiteX7" fmla="*/ 217567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67" y="435077"/>
                  </a:moveTo>
                  <a:lnTo>
                    <a:pt x="217567" y="0"/>
                  </a:lnTo>
                  <a:lnTo>
                    <a:pt x="435077" y="217566"/>
                  </a:lnTo>
                  <a:lnTo>
                    <a:pt x="217567" y="435077"/>
                  </a:lnTo>
                  <a:close/>
                </a:path>
              </a:pathLst>
            </a:custGeom>
            <a:grpFill/>
            <a:ln w="27192" cap="flat">
              <a:noFill/>
              <a:prstDash val="solid"/>
              <a:miter/>
            </a:ln>
          </p:spPr>
          <p:txBody>
            <a:bodyPr rtlCol="0" anchor="ctr"/>
            <a:lstStyle/>
            <a:p>
              <a:endParaRPr lang="uk-UA" sz="900"/>
            </a:p>
          </p:txBody>
        </p:sp>
        <p:sp>
          <p:nvSpPr>
            <p:cNvPr id="928" name="Freeform: Shape 927">
              <a:extLst>
                <a:ext uri="{FF2B5EF4-FFF2-40B4-BE49-F238E27FC236}">
                  <a16:creationId xmlns:a16="http://schemas.microsoft.com/office/drawing/2014/main" id="{6EFC5C09-F668-4FBF-CADD-925416081965}"/>
                </a:ext>
              </a:extLst>
            </p:cNvPr>
            <p:cNvSpPr/>
            <p:nvPr/>
          </p:nvSpPr>
          <p:spPr>
            <a:xfrm>
              <a:off x="19109184" y="13280922"/>
              <a:ext cx="435077" cy="435077"/>
            </a:xfrm>
            <a:custGeom>
              <a:avLst/>
              <a:gdLst>
                <a:gd name="connsiteX0" fmla="*/ 63710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0 w 435077"/>
                <a:gd name="connsiteY6" fmla="*/ 153827 h 435077"/>
                <a:gd name="connsiteX7" fmla="*/ 63710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77 h 435077"/>
                <a:gd name="connsiteX12" fmla="*/ 217539 w 435077"/>
                <a:gd name="connsiteY12" fmla="*/ 217539 h 435077"/>
                <a:gd name="connsiteX13" fmla="*/ 63710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7"/>
                  </a:moveTo>
                  <a:cubicBezTo>
                    <a:pt x="22922" y="113039"/>
                    <a:pt x="0" y="57702"/>
                    <a:pt x="0" y="0"/>
                  </a:cubicBezTo>
                  <a:lnTo>
                    <a:pt x="217539" y="0"/>
                  </a:lnTo>
                  <a:lnTo>
                    <a:pt x="435077" y="0"/>
                  </a:lnTo>
                  <a:cubicBezTo>
                    <a:pt x="435077" y="57702"/>
                    <a:pt x="412154" y="113039"/>
                    <a:pt x="371365" y="153827"/>
                  </a:cubicBezTo>
                  <a:cubicBezTo>
                    <a:pt x="330577" y="194642"/>
                    <a:pt x="275241" y="217539"/>
                    <a:pt x="217539" y="217539"/>
                  </a:cubicBezTo>
                  <a:cubicBezTo>
                    <a:pt x="159836" y="217539"/>
                    <a:pt x="104527" y="194642"/>
                    <a:pt x="63710" y="153827"/>
                  </a:cubicBezTo>
                  <a:close/>
                  <a:moveTo>
                    <a:pt x="63710" y="281277"/>
                  </a:moveTo>
                  <a:cubicBezTo>
                    <a:pt x="22922" y="322066"/>
                    <a:pt x="0" y="377402"/>
                    <a:pt x="0" y="435077"/>
                  </a:cubicBezTo>
                  <a:lnTo>
                    <a:pt x="217539" y="435077"/>
                  </a:lnTo>
                  <a:lnTo>
                    <a:pt x="435077" y="435077"/>
                  </a:lnTo>
                  <a:cubicBezTo>
                    <a:pt x="435077" y="377402"/>
                    <a:pt x="412154" y="322066"/>
                    <a:pt x="371365" y="281277"/>
                  </a:cubicBezTo>
                  <a:cubicBezTo>
                    <a:pt x="330577" y="240462"/>
                    <a:pt x="275241" y="217539"/>
                    <a:pt x="217539" y="217539"/>
                  </a:cubicBezTo>
                  <a:cubicBezTo>
                    <a:pt x="159836" y="217539"/>
                    <a:pt x="104527" y="240462"/>
                    <a:pt x="63710" y="281277"/>
                  </a:cubicBezTo>
                  <a:close/>
                </a:path>
              </a:pathLst>
            </a:custGeom>
            <a:grpFill/>
            <a:ln w="27192" cap="flat">
              <a:noFill/>
              <a:prstDash val="solid"/>
              <a:miter/>
            </a:ln>
          </p:spPr>
          <p:txBody>
            <a:bodyPr rtlCol="0" anchor="ctr"/>
            <a:lstStyle/>
            <a:p>
              <a:endParaRPr lang="uk-UA" sz="900"/>
            </a:p>
          </p:txBody>
        </p:sp>
        <p:sp>
          <p:nvSpPr>
            <p:cNvPr id="929" name="Freeform: Shape 928">
              <a:extLst>
                <a:ext uri="{FF2B5EF4-FFF2-40B4-BE49-F238E27FC236}">
                  <a16:creationId xmlns:a16="http://schemas.microsoft.com/office/drawing/2014/main" id="{03219D3D-12A4-EF4C-250A-ED88A84B9272}"/>
                </a:ext>
              </a:extLst>
            </p:cNvPr>
            <p:cNvSpPr/>
            <p:nvPr/>
          </p:nvSpPr>
          <p:spPr>
            <a:xfrm>
              <a:off x="19979339" y="1328092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5 w 435077"/>
                <a:gd name="connsiteY3" fmla="*/ 27 h 435077"/>
                <a:gd name="connsiteX4" fmla="*/ 435077 w 435077"/>
                <a:gd name="connsiteY4" fmla="*/ 217566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5" y="27"/>
                  </a:lnTo>
                  <a:lnTo>
                    <a:pt x="435077" y="217566"/>
                  </a:lnTo>
                  <a:lnTo>
                    <a:pt x="217565"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930" name="Freeform: Shape 929">
              <a:extLst>
                <a:ext uri="{FF2B5EF4-FFF2-40B4-BE49-F238E27FC236}">
                  <a16:creationId xmlns:a16="http://schemas.microsoft.com/office/drawing/2014/main" id="{F88FA794-B983-84C3-047D-303491B33427}"/>
                </a:ext>
              </a:extLst>
            </p:cNvPr>
            <p:cNvSpPr/>
            <p:nvPr/>
          </p:nvSpPr>
          <p:spPr>
            <a:xfrm>
              <a:off x="21719675" y="13280922"/>
              <a:ext cx="435077" cy="435077"/>
            </a:xfrm>
            <a:custGeom>
              <a:avLst/>
              <a:gdLst>
                <a:gd name="connsiteX0" fmla="*/ 435077 w 435077"/>
                <a:gd name="connsiteY0" fmla="*/ 435077 h 435077"/>
                <a:gd name="connsiteX1" fmla="*/ 435077 w 435077"/>
                <a:gd name="connsiteY1" fmla="*/ 0 h 435077"/>
                <a:gd name="connsiteX2" fmla="*/ 217565 w 435077"/>
                <a:gd name="connsiteY2" fmla="*/ 217566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66"/>
                  </a:lnTo>
                  <a:lnTo>
                    <a:pt x="435077" y="435077"/>
                  </a:lnTo>
                  <a:close/>
                  <a:moveTo>
                    <a:pt x="0" y="435077"/>
                  </a:moveTo>
                  <a:lnTo>
                    <a:pt x="0" y="0"/>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931" name="Freeform: Shape 930">
              <a:extLst>
                <a:ext uri="{FF2B5EF4-FFF2-40B4-BE49-F238E27FC236}">
                  <a16:creationId xmlns:a16="http://schemas.microsoft.com/office/drawing/2014/main" id="{72D1AAC0-571F-37CD-414B-DE8B4E8479B5}"/>
                </a:ext>
              </a:extLst>
            </p:cNvPr>
            <p:cNvSpPr/>
            <p:nvPr/>
          </p:nvSpPr>
          <p:spPr>
            <a:xfrm>
              <a:off x="20849520" y="1328092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932" name="Freeform: Shape 931">
              <a:extLst>
                <a:ext uri="{FF2B5EF4-FFF2-40B4-BE49-F238E27FC236}">
                  <a16:creationId xmlns:a16="http://schemas.microsoft.com/office/drawing/2014/main" id="{AC5D4A02-4165-FFA0-C97A-CC1BBB4B7867}"/>
                </a:ext>
              </a:extLst>
            </p:cNvPr>
            <p:cNvSpPr/>
            <p:nvPr/>
          </p:nvSpPr>
          <p:spPr>
            <a:xfrm>
              <a:off x="22589856" y="1328092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7" y="153827"/>
                  </a:cubicBezTo>
                  <a:cubicBezTo>
                    <a:pt x="330550" y="194642"/>
                    <a:pt x="275215" y="217539"/>
                    <a:pt x="217539" y="217539"/>
                  </a:cubicBezTo>
                  <a:cubicBezTo>
                    <a:pt x="159838"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5" y="322066"/>
                    <a:pt x="371367" y="281277"/>
                  </a:cubicBezTo>
                  <a:cubicBezTo>
                    <a:pt x="330550" y="240462"/>
                    <a:pt x="275215" y="217539"/>
                    <a:pt x="217539" y="217539"/>
                  </a:cubicBezTo>
                  <a:cubicBezTo>
                    <a:pt x="159838" y="217539"/>
                    <a:pt x="104501" y="240462"/>
                    <a:pt x="63712" y="281277"/>
                  </a:cubicBezTo>
                  <a:close/>
                </a:path>
              </a:pathLst>
            </a:custGeom>
            <a:grpFill/>
            <a:ln w="27192" cap="flat">
              <a:noFill/>
              <a:prstDash val="solid"/>
              <a:miter/>
            </a:ln>
          </p:spPr>
          <p:txBody>
            <a:bodyPr rtlCol="0" anchor="ctr"/>
            <a:lstStyle/>
            <a:p>
              <a:endParaRPr lang="uk-UA" sz="900"/>
            </a:p>
          </p:txBody>
        </p:sp>
        <p:sp>
          <p:nvSpPr>
            <p:cNvPr id="933" name="Freeform: Shape 932">
              <a:extLst>
                <a:ext uri="{FF2B5EF4-FFF2-40B4-BE49-F238E27FC236}">
                  <a16:creationId xmlns:a16="http://schemas.microsoft.com/office/drawing/2014/main" id="{6A1DC27C-5AD5-2989-50C6-E3A3C8BCFBC7}"/>
                </a:ext>
              </a:extLst>
            </p:cNvPr>
            <p:cNvSpPr/>
            <p:nvPr/>
          </p:nvSpPr>
          <p:spPr>
            <a:xfrm>
              <a:off x="23460011" y="1328092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7 w 435077"/>
                <a:gd name="connsiteY3" fmla="*/ 27 h 435077"/>
                <a:gd name="connsiteX4" fmla="*/ 435077 w 435077"/>
                <a:gd name="connsiteY4" fmla="*/ 217566 h 435077"/>
                <a:gd name="connsiteX5" fmla="*/ 217567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12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7" y="27"/>
                  </a:lnTo>
                  <a:lnTo>
                    <a:pt x="435077" y="217566"/>
                  </a:lnTo>
                  <a:lnTo>
                    <a:pt x="217567" y="435077"/>
                  </a:lnTo>
                  <a:lnTo>
                    <a:pt x="435077" y="435077"/>
                  </a:lnTo>
                  <a:close/>
                  <a:moveTo>
                    <a:pt x="0" y="217539"/>
                  </a:moveTo>
                  <a:lnTo>
                    <a:pt x="0" y="0"/>
                  </a:lnTo>
                  <a:lnTo>
                    <a:pt x="217512" y="217539"/>
                  </a:lnTo>
                  <a:lnTo>
                    <a:pt x="0" y="217539"/>
                  </a:lnTo>
                  <a:close/>
                  <a:moveTo>
                    <a:pt x="0" y="435077"/>
                  </a:moveTo>
                  <a:lnTo>
                    <a:pt x="0" y="217566"/>
                  </a:lnTo>
                  <a:lnTo>
                    <a:pt x="217512" y="217566"/>
                  </a:lnTo>
                  <a:lnTo>
                    <a:pt x="0" y="435077"/>
                  </a:lnTo>
                  <a:close/>
                </a:path>
              </a:pathLst>
            </a:custGeom>
            <a:grpFill/>
            <a:ln w="27192" cap="flat">
              <a:noFill/>
              <a:prstDash val="solid"/>
              <a:miter/>
            </a:ln>
          </p:spPr>
          <p:txBody>
            <a:bodyPr rtlCol="0" anchor="ctr"/>
            <a:lstStyle/>
            <a:p>
              <a:endParaRPr lang="uk-UA" sz="900"/>
            </a:p>
          </p:txBody>
        </p:sp>
        <p:sp>
          <p:nvSpPr>
            <p:cNvPr id="934" name="Freeform: Shape 933">
              <a:extLst>
                <a:ext uri="{FF2B5EF4-FFF2-40B4-BE49-F238E27FC236}">
                  <a16:creationId xmlns:a16="http://schemas.microsoft.com/office/drawing/2014/main" id="{2C928438-DEF2-E077-5F91-39AC656A9A47}"/>
                </a:ext>
              </a:extLst>
            </p:cNvPr>
            <p:cNvSpPr/>
            <p:nvPr/>
          </p:nvSpPr>
          <p:spPr>
            <a:xfrm>
              <a:off x="24330194" y="1328092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grpSp>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18416" y="160295"/>
            <a:ext cx="8569797" cy="4095750"/>
          </a:xfrm>
        </p:spPr>
        <p:txBody>
          <a:bodyPr/>
          <a:lstStyle>
            <a:lvl1pPr>
              <a:defRPr sz="8598" b="0" i="0">
                <a:solidFill>
                  <a:schemeClr val="tx1"/>
                </a:solidFill>
                <a:latin typeface="IBM Plex Sans Light" panose="020B0403050203000203" pitchFamily="34" charset="0"/>
              </a:defRPr>
            </a:lvl1pPr>
          </a:lstStyle>
          <a:p>
            <a:r>
              <a:rPr lang="en-US"/>
              <a:t>Click to edit Master title style</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1">
            <a:extLst>
              <a:ext uri="{FF2B5EF4-FFF2-40B4-BE49-F238E27FC236}">
                <a16:creationId xmlns:a16="http://schemas.microsoft.com/office/drawing/2014/main" id="{15E15240-CB4B-3EBC-59A0-A3009A53924C}"/>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
        <p:nvSpPr>
          <p:cNvPr id="3" name="TextBox 2">
            <a:extLst>
              <a:ext uri="{FF2B5EF4-FFF2-40B4-BE49-F238E27FC236}">
                <a16:creationId xmlns:a16="http://schemas.microsoft.com/office/drawing/2014/main" id="{7D3FEBEE-659C-27EB-080E-79CE71418AB0}"/>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rgbClr val="000000"/>
                </a:solidFill>
                <a:latin typeface="IBM Plex Sans" panose="020B0503050203000203" pitchFamily="34" charset="0"/>
                <a:ea typeface="+mj-ea"/>
                <a:cs typeface="+mj-cs"/>
                <a:sym typeface="IBM Plex Sans Light"/>
              </a:rPr>
              <a:t>#IBMTechXchange</a:t>
            </a:r>
          </a:p>
        </p:txBody>
      </p:sp>
    </p:spTree>
    <p:extLst>
      <p:ext uri="{BB962C8B-B14F-4D97-AF65-F5344CB8AC3E}">
        <p14:creationId xmlns:p14="http://schemas.microsoft.com/office/powerpoint/2010/main" val="1782223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87963" y="154800"/>
            <a:ext cx="8569797" cy="4416425"/>
          </a:xfrm>
        </p:spPr>
        <p:txBody>
          <a:bodyPr/>
          <a:lstStyle>
            <a:lvl1pPr>
              <a:defRPr sz="8398" b="0" i="0">
                <a:solidFill>
                  <a:schemeClr val="tx2"/>
                </a:solidFill>
                <a:latin typeface="IBM Plex Sans ExtLt" panose="020B0303050203000203" pitchFamily="34" charset="0"/>
              </a:defRPr>
            </a:lvl1pPr>
          </a:lstStyle>
          <a:p>
            <a:r>
              <a:rPr lang="en-US"/>
              <a:t>Click to edit Master title style</a:t>
            </a:r>
          </a:p>
        </p:txBody>
      </p:sp>
      <p:sp>
        <p:nvSpPr>
          <p:cNvPr id="3" name="Footer Placeholder 3">
            <a:extLst>
              <a:ext uri="{FF2B5EF4-FFF2-40B4-BE49-F238E27FC236}">
                <a16:creationId xmlns:a16="http://schemas.microsoft.com/office/drawing/2014/main" id="{B98A3D4B-A3E1-0D38-F80E-1D86FCFA4DAE}"/>
              </a:ext>
            </a:extLst>
          </p:cNvPr>
          <p:cNvSpPr>
            <a:spLocks noGrp="1"/>
          </p:cNvSpPr>
          <p:nvPr>
            <p:ph type="ftr" sz="quarter" idx="18"/>
          </p:nvPr>
        </p:nvSpPr>
        <p:spPr>
          <a:xfrm>
            <a:off x="287963" y="6408000"/>
            <a:ext cx="2477765" cy="190500"/>
          </a:xfrm>
        </p:spPr>
        <p:txBody>
          <a:bodyPr/>
          <a:lstStyle/>
          <a:p>
            <a:endParaRPr lang="en-US"/>
          </a:p>
        </p:txBody>
      </p:sp>
      <p:sp>
        <p:nvSpPr>
          <p:cNvPr id="6" name="Slide Number">
            <a:extLst>
              <a:ext uri="{FF2B5EF4-FFF2-40B4-BE49-F238E27FC236}">
                <a16:creationId xmlns:a16="http://schemas.microsoft.com/office/drawing/2014/main" id="{3CF46425-C9F2-46CE-AAEE-89D8A19E0F2E}"/>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623402387"/>
      </p:ext>
    </p:extLst>
  </p:cSld>
  <p:clrMapOvr>
    <a:masterClrMapping/>
  </p:clrMapOvr>
  <p:transition spd="med"/>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Large text, pattern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18416" y="160295"/>
            <a:ext cx="8569797" cy="4095750"/>
          </a:xfrm>
        </p:spPr>
        <p:txBody>
          <a:bodyPr/>
          <a:lstStyle>
            <a:lvl1pPr>
              <a:defRPr sz="8598" b="0" i="0">
                <a:solidFill>
                  <a:schemeClr val="bg1"/>
                </a:solidFill>
                <a:latin typeface="IBM Plex Sans Light" panose="020B0403050203000203" pitchFamily="34" charset="0"/>
              </a:defRPr>
            </a:lvl1pPr>
          </a:lstStyle>
          <a:p>
            <a:r>
              <a:rPr lang="en-US"/>
              <a:t>Click to edit Master title style</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bg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1">
            <a:extLst>
              <a:ext uri="{FF2B5EF4-FFF2-40B4-BE49-F238E27FC236}">
                <a16:creationId xmlns:a16="http://schemas.microsoft.com/office/drawing/2014/main" id="{15E15240-CB4B-3EBC-59A0-A3009A53924C}"/>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bg1"/>
                </a:solidFill>
                <a:latin typeface="IBM Plex Sans" panose="020B0503050203000203" pitchFamily="34" charset="0"/>
              </a:defRPr>
            </a:lvl1pPr>
          </a:lstStyle>
          <a:p>
            <a:r>
              <a:rPr lang="en-US"/>
              <a:t>IBM TechXchange | © 2024 IBM Corporation</a:t>
            </a:r>
          </a:p>
        </p:txBody>
      </p:sp>
      <p:grpSp>
        <p:nvGrpSpPr>
          <p:cNvPr id="3" name="Group 2">
            <a:extLst>
              <a:ext uri="{FF2B5EF4-FFF2-40B4-BE49-F238E27FC236}">
                <a16:creationId xmlns:a16="http://schemas.microsoft.com/office/drawing/2014/main" id="{E787949E-5876-7C39-AFF9-CE394382AD2F}"/>
              </a:ext>
            </a:extLst>
          </p:cNvPr>
          <p:cNvGrpSpPr>
            <a:grpSpLocks noChangeAspect="1"/>
          </p:cNvGrpSpPr>
          <p:nvPr userDrawn="1"/>
        </p:nvGrpSpPr>
        <p:grpSpPr>
          <a:xfrm>
            <a:off x="254136" y="251460"/>
            <a:ext cx="11683728" cy="6355080"/>
            <a:chOff x="-34412" y="228570"/>
            <a:chExt cx="24799683" cy="13487429"/>
          </a:xfrm>
          <a:solidFill>
            <a:srgbClr val="C6C6C6">
              <a:alpha val="15000"/>
            </a:srgbClr>
          </a:solidFill>
        </p:grpSpPr>
        <p:sp>
          <p:nvSpPr>
            <p:cNvPr id="6" name="Freeform: Shape 5">
              <a:extLst>
                <a:ext uri="{FF2B5EF4-FFF2-40B4-BE49-F238E27FC236}">
                  <a16:creationId xmlns:a16="http://schemas.microsoft.com/office/drawing/2014/main" id="{748F31A1-A288-0658-0711-E897B1F74B70}"/>
                </a:ext>
              </a:extLst>
            </p:cNvPr>
            <p:cNvSpPr/>
            <p:nvPr/>
          </p:nvSpPr>
          <p:spPr>
            <a:xfrm>
              <a:off x="835769" y="228598"/>
              <a:ext cx="435077" cy="435073"/>
            </a:xfrm>
            <a:custGeom>
              <a:avLst/>
              <a:gdLst>
                <a:gd name="connsiteX0" fmla="*/ 371366 w 435077"/>
                <a:gd name="connsiteY0" fmla="*/ 63716 h 435073"/>
                <a:gd name="connsiteX1" fmla="*/ 435077 w 435077"/>
                <a:gd name="connsiteY1" fmla="*/ 217539 h 435073"/>
                <a:gd name="connsiteX2" fmla="*/ 218925 w 435077"/>
                <a:gd name="connsiteY2" fmla="*/ 217539 h 435073"/>
                <a:gd name="connsiteX3" fmla="*/ 371366 w 435077"/>
                <a:gd name="connsiteY3" fmla="*/ 281249 h 435073"/>
                <a:gd name="connsiteX4" fmla="*/ 435077 w 435077"/>
                <a:gd name="connsiteY4" fmla="*/ 435073 h 435073"/>
                <a:gd name="connsiteX5" fmla="*/ 217539 w 435077"/>
                <a:gd name="connsiteY5" fmla="*/ 435073 h 435073"/>
                <a:gd name="connsiteX6" fmla="*/ 0 w 435077"/>
                <a:gd name="connsiteY6" fmla="*/ 435073 h 435073"/>
                <a:gd name="connsiteX7" fmla="*/ 63711 w 435077"/>
                <a:gd name="connsiteY7" fmla="*/ 281249 h 435073"/>
                <a:gd name="connsiteX8" fmla="*/ 216125 w 435077"/>
                <a:gd name="connsiteY8" fmla="*/ 217539 h 435073"/>
                <a:gd name="connsiteX9" fmla="*/ 0 w 435077"/>
                <a:gd name="connsiteY9" fmla="*/ 217539 h 435073"/>
                <a:gd name="connsiteX10" fmla="*/ 63711 w 435077"/>
                <a:gd name="connsiteY10" fmla="*/ 63716 h 435073"/>
                <a:gd name="connsiteX11" fmla="*/ 217539 w 435077"/>
                <a:gd name="connsiteY11" fmla="*/ 0 h 435073"/>
                <a:gd name="connsiteX12" fmla="*/ 371366 w 435077"/>
                <a:gd name="connsiteY12" fmla="*/ 63716 h 43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3">
                  <a:moveTo>
                    <a:pt x="371366" y="63716"/>
                  </a:moveTo>
                  <a:cubicBezTo>
                    <a:pt x="412154" y="104512"/>
                    <a:pt x="435077" y="159844"/>
                    <a:pt x="435077" y="217539"/>
                  </a:cubicBezTo>
                  <a:lnTo>
                    <a:pt x="218925" y="217539"/>
                  </a:lnTo>
                  <a:cubicBezTo>
                    <a:pt x="276138" y="217907"/>
                    <a:pt x="330903" y="240784"/>
                    <a:pt x="371366" y="281249"/>
                  </a:cubicBezTo>
                  <a:cubicBezTo>
                    <a:pt x="412154" y="322046"/>
                    <a:pt x="435077" y="377379"/>
                    <a:pt x="435077" y="435073"/>
                  </a:cubicBezTo>
                  <a:lnTo>
                    <a:pt x="217539" y="435073"/>
                  </a:lnTo>
                  <a:lnTo>
                    <a:pt x="0" y="435073"/>
                  </a:lnTo>
                  <a:cubicBezTo>
                    <a:pt x="0" y="377379"/>
                    <a:pt x="22923" y="322046"/>
                    <a:pt x="63711" y="281249"/>
                  </a:cubicBezTo>
                  <a:cubicBezTo>
                    <a:pt x="104174" y="240784"/>
                    <a:pt x="158939" y="217907"/>
                    <a:pt x="216125" y="217539"/>
                  </a:cubicBezTo>
                  <a:lnTo>
                    <a:pt x="0" y="217539"/>
                  </a:lnTo>
                  <a:cubicBezTo>
                    <a:pt x="0" y="159844"/>
                    <a:pt x="22923" y="104512"/>
                    <a:pt x="63711" y="63716"/>
                  </a:cubicBezTo>
                  <a:cubicBezTo>
                    <a:pt x="104500" y="22919"/>
                    <a:pt x="159836" y="0"/>
                    <a:pt x="217539" y="0"/>
                  </a:cubicBezTo>
                  <a:cubicBezTo>
                    <a:pt x="275213" y="0"/>
                    <a:pt x="330550" y="22919"/>
                    <a:pt x="371366" y="63716"/>
                  </a:cubicBezTo>
                  <a:close/>
                </a:path>
              </a:pathLst>
            </a:custGeom>
            <a:grpFill/>
            <a:ln w="27192" cap="flat">
              <a:noFill/>
              <a:prstDash val="solid"/>
              <a:miter/>
            </a:ln>
          </p:spPr>
          <p:txBody>
            <a:bodyPr rtlCol="0" anchor="ctr"/>
            <a:lstStyle/>
            <a:p>
              <a:endParaRPr lang="uk-UA" sz="900">
                <a:solidFill>
                  <a:schemeClr val="bg1"/>
                </a:solidFill>
              </a:endParaRPr>
            </a:p>
          </p:txBody>
        </p:sp>
        <p:sp>
          <p:nvSpPr>
            <p:cNvPr id="7" name="Freeform: Shape 6">
              <a:extLst>
                <a:ext uri="{FF2B5EF4-FFF2-40B4-BE49-F238E27FC236}">
                  <a16:creationId xmlns:a16="http://schemas.microsoft.com/office/drawing/2014/main" id="{E3902240-DEAE-8A4F-6B49-8099A1C9D084}"/>
                </a:ext>
              </a:extLst>
            </p:cNvPr>
            <p:cNvSpPr/>
            <p:nvPr/>
          </p:nvSpPr>
          <p:spPr>
            <a:xfrm>
              <a:off x="-34398" y="228598"/>
              <a:ext cx="435090" cy="435078"/>
            </a:xfrm>
            <a:custGeom>
              <a:avLst/>
              <a:gdLst>
                <a:gd name="connsiteX0" fmla="*/ 217525 w 435090"/>
                <a:gd name="connsiteY0" fmla="*/ 0 h 435078"/>
                <a:gd name="connsiteX1" fmla="*/ 0 w 435090"/>
                <a:gd name="connsiteY1" fmla="*/ 0 h 435078"/>
                <a:gd name="connsiteX2" fmla="*/ 0 w 435090"/>
                <a:gd name="connsiteY2" fmla="*/ 217539 h 435078"/>
                <a:gd name="connsiteX3" fmla="*/ 217525 w 435090"/>
                <a:gd name="connsiteY3" fmla="*/ 0 h 435078"/>
                <a:gd name="connsiteX4" fmla="*/ 435091 w 435090"/>
                <a:gd name="connsiteY4" fmla="*/ 0 h 435078"/>
                <a:gd name="connsiteX5" fmla="*/ 435091 w 435090"/>
                <a:gd name="connsiteY5" fmla="*/ 217539 h 435078"/>
                <a:gd name="connsiteX6" fmla="*/ 217552 w 435090"/>
                <a:gd name="connsiteY6" fmla="*/ 0 h 435078"/>
                <a:gd name="connsiteX7" fmla="*/ 435091 w 435090"/>
                <a:gd name="connsiteY7" fmla="*/ 0 h 435078"/>
                <a:gd name="connsiteX8" fmla="*/ 217552 w 435090"/>
                <a:gd name="connsiteY8" fmla="*/ 435079 h 435078"/>
                <a:gd name="connsiteX9" fmla="*/ 435091 w 435090"/>
                <a:gd name="connsiteY9" fmla="*/ 217539 h 435078"/>
                <a:gd name="connsiteX10" fmla="*/ 435091 w 435090"/>
                <a:gd name="connsiteY10" fmla="*/ 435079 h 435078"/>
                <a:gd name="connsiteX11" fmla="*/ 217552 w 435090"/>
                <a:gd name="connsiteY11" fmla="*/ 435079 h 435078"/>
                <a:gd name="connsiteX12" fmla="*/ 217552 w 435090"/>
                <a:gd name="connsiteY12" fmla="*/ 435079 h 435078"/>
                <a:gd name="connsiteX13" fmla="*/ 11 w 435090"/>
                <a:gd name="connsiteY13" fmla="*/ 217539 h 435078"/>
                <a:gd name="connsiteX14" fmla="*/ 11 w 435090"/>
                <a:gd name="connsiteY14" fmla="*/ 435079 h 435078"/>
                <a:gd name="connsiteX15" fmla="*/ 217552 w 435090"/>
                <a:gd name="connsiteY15" fmla="*/ 435079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90" h="435078">
                  <a:moveTo>
                    <a:pt x="217525" y="0"/>
                  </a:moveTo>
                  <a:lnTo>
                    <a:pt x="0" y="0"/>
                  </a:lnTo>
                  <a:lnTo>
                    <a:pt x="0" y="217539"/>
                  </a:lnTo>
                  <a:lnTo>
                    <a:pt x="217525" y="0"/>
                  </a:lnTo>
                  <a:close/>
                  <a:moveTo>
                    <a:pt x="435091" y="0"/>
                  </a:moveTo>
                  <a:lnTo>
                    <a:pt x="435091" y="217539"/>
                  </a:lnTo>
                  <a:lnTo>
                    <a:pt x="217552" y="0"/>
                  </a:lnTo>
                  <a:lnTo>
                    <a:pt x="435091" y="0"/>
                  </a:lnTo>
                  <a:close/>
                  <a:moveTo>
                    <a:pt x="217552" y="435079"/>
                  </a:moveTo>
                  <a:lnTo>
                    <a:pt x="435091" y="217539"/>
                  </a:lnTo>
                  <a:lnTo>
                    <a:pt x="435091" y="435079"/>
                  </a:lnTo>
                  <a:lnTo>
                    <a:pt x="217552" y="435079"/>
                  </a:lnTo>
                  <a:close/>
                  <a:moveTo>
                    <a:pt x="217552" y="435079"/>
                  </a:moveTo>
                  <a:lnTo>
                    <a:pt x="11" y="217539"/>
                  </a:lnTo>
                  <a:lnTo>
                    <a:pt x="11" y="435079"/>
                  </a:lnTo>
                  <a:lnTo>
                    <a:pt x="217552" y="435079"/>
                  </a:lnTo>
                  <a:close/>
                </a:path>
              </a:pathLst>
            </a:custGeom>
            <a:grpFill/>
            <a:ln w="27192" cap="flat">
              <a:noFill/>
              <a:prstDash val="solid"/>
              <a:miter/>
            </a:ln>
          </p:spPr>
          <p:txBody>
            <a:bodyPr rtlCol="0" anchor="ctr"/>
            <a:lstStyle/>
            <a:p>
              <a:endParaRPr lang="uk-UA" sz="900">
                <a:solidFill>
                  <a:schemeClr val="bg1"/>
                </a:solidFill>
              </a:endParaRPr>
            </a:p>
          </p:txBody>
        </p:sp>
        <p:sp>
          <p:nvSpPr>
            <p:cNvPr id="8" name="Freeform: Shape 7">
              <a:extLst>
                <a:ext uri="{FF2B5EF4-FFF2-40B4-BE49-F238E27FC236}">
                  <a16:creationId xmlns:a16="http://schemas.microsoft.com/office/drawing/2014/main" id="{ED2E9913-021B-9F2E-809B-4CCA73CD5227}"/>
                </a:ext>
              </a:extLst>
            </p:cNvPr>
            <p:cNvSpPr/>
            <p:nvPr/>
          </p:nvSpPr>
          <p:spPr>
            <a:xfrm>
              <a:off x="1705924" y="228598"/>
              <a:ext cx="435077" cy="435075"/>
            </a:xfrm>
            <a:custGeom>
              <a:avLst/>
              <a:gdLst>
                <a:gd name="connsiteX0" fmla="*/ 217539 w 435077"/>
                <a:gd name="connsiteY0" fmla="*/ 217533 h 435075"/>
                <a:gd name="connsiteX1" fmla="*/ 217539 w 435077"/>
                <a:gd name="connsiteY1" fmla="*/ 0 h 435075"/>
                <a:gd name="connsiteX2" fmla="*/ 0 w 435077"/>
                <a:gd name="connsiteY2" fmla="*/ 0 h 435075"/>
                <a:gd name="connsiteX3" fmla="*/ 217539 w 435077"/>
                <a:gd name="connsiteY3" fmla="*/ 217538 h 435075"/>
                <a:gd name="connsiteX4" fmla="*/ 0 w 435077"/>
                <a:gd name="connsiteY4" fmla="*/ 435076 h 435075"/>
                <a:gd name="connsiteX5" fmla="*/ 217539 w 435077"/>
                <a:gd name="connsiteY5" fmla="*/ 435076 h 435075"/>
                <a:gd name="connsiteX6" fmla="*/ 217539 w 435077"/>
                <a:gd name="connsiteY6" fmla="*/ 435071 h 435075"/>
                <a:gd name="connsiteX7" fmla="*/ 435077 w 435077"/>
                <a:gd name="connsiteY7" fmla="*/ 217543 h 435075"/>
                <a:gd name="connsiteX8" fmla="*/ 435077 w 435077"/>
                <a:gd name="connsiteY8" fmla="*/ 217543 h 435075"/>
                <a:gd name="connsiteX9" fmla="*/ 435077 w 435077"/>
                <a:gd name="connsiteY9" fmla="*/ 217538 h 435075"/>
                <a:gd name="connsiteX10" fmla="*/ 435077 w 435077"/>
                <a:gd name="connsiteY10" fmla="*/ 217533 h 435075"/>
                <a:gd name="connsiteX11" fmla="*/ 435077 w 435077"/>
                <a:gd name="connsiteY11" fmla="*/ 217533 h 435075"/>
                <a:gd name="connsiteX12" fmla="*/ 217539 w 435077"/>
                <a:gd name="connsiteY12" fmla="*/ 5 h 435075"/>
                <a:gd name="connsiteX13" fmla="*/ 217539 w 435077"/>
                <a:gd name="connsiteY13" fmla="*/ 217533 h 435075"/>
                <a:gd name="connsiteX14" fmla="*/ 217539 w 435077"/>
                <a:gd name="connsiteY14" fmla="*/ 217533 h 43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5">
                  <a:moveTo>
                    <a:pt x="217539" y="217533"/>
                  </a:moveTo>
                  <a:lnTo>
                    <a:pt x="217539" y="0"/>
                  </a:lnTo>
                  <a:lnTo>
                    <a:pt x="0" y="0"/>
                  </a:lnTo>
                  <a:lnTo>
                    <a:pt x="217539" y="217538"/>
                  </a:lnTo>
                  <a:lnTo>
                    <a:pt x="0" y="435076"/>
                  </a:lnTo>
                  <a:lnTo>
                    <a:pt x="217539" y="435076"/>
                  </a:lnTo>
                  <a:lnTo>
                    <a:pt x="217539" y="435071"/>
                  </a:lnTo>
                  <a:lnTo>
                    <a:pt x="435077" y="217543"/>
                  </a:lnTo>
                  <a:lnTo>
                    <a:pt x="435077" y="217543"/>
                  </a:lnTo>
                  <a:lnTo>
                    <a:pt x="435077" y="217538"/>
                  </a:lnTo>
                  <a:lnTo>
                    <a:pt x="435077" y="217533"/>
                  </a:lnTo>
                  <a:lnTo>
                    <a:pt x="435077" y="217533"/>
                  </a:lnTo>
                  <a:lnTo>
                    <a:pt x="217539" y="5"/>
                  </a:lnTo>
                  <a:lnTo>
                    <a:pt x="217539" y="217533"/>
                  </a:lnTo>
                  <a:lnTo>
                    <a:pt x="217539" y="217533"/>
                  </a:lnTo>
                  <a:close/>
                </a:path>
              </a:pathLst>
            </a:custGeom>
            <a:grpFill/>
            <a:ln w="27192" cap="flat">
              <a:noFill/>
              <a:prstDash val="solid"/>
              <a:miter/>
            </a:ln>
          </p:spPr>
          <p:txBody>
            <a:bodyPr rtlCol="0" anchor="ctr"/>
            <a:lstStyle/>
            <a:p>
              <a:endParaRPr lang="uk-UA" sz="900">
                <a:solidFill>
                  <a:schemeClr val="bg1"/>
                </a:solidFill>
              </a:endParaRPr>
            </a:p>
          </p:txBody>
        </p:sp>
        <p:sp>
          <p:nvSpPr>
            <p:cNvPr id="9" name="Freeform: Shape 8">
              <a:extLst>
                <a:ext uri="{FF2B5EF4-FFF2-40B4-BE49-F238E27FC236}">
                  <a16:creationId xmlns:a16="http://schemas.microsoft.com/office/drawing/2014/main" id="{01645AAA-3C06-85C5-975A-5224CB9F4FF2}"/>
                </a:ext>
              </a:extLst>
            </p:cNvPr>
            <p:cNvSpPr/>
            <p:nvPr/>
          </p:nvSpPr>
          <p:spPr>
            <a:xfrm>
              <a:off x="2576106" y="228598"/>
              <a:ext cx="435077" cy="435078"/>
            </a:xfrm>
            <a:custGeom>
              <a:avLst/>
              <a:gdLst>
                <a:gd name="connsiteX0" fmla="*/ 0 w 435077"/>
                <a:gd name="connsiteY0" fmla="*/ 435079 h 435078"/>
                <a:gd name="connsiteX1" fmla="*/ 217512 w 435077"/>
                <a:gd name="connsiteY1" fmla="*/ 435079 h 435078"/>
                <a:gd name="connsiteX2" fmla="*/ 217512 w 435077"/>
                <a:gd name="connsiteY2" fmla="*/ 217546 h 435078"/>
                <a:gd name="connsiteX3" fmla="*/ 0 w 435077"/>
                <a:gd name="connsiteY3" fmla="*/ 435079 h 435078"/>
                <a:gd name="connsiteX4" fmla="*/ 217539 w 435077"/>
                <a:gd name="connsiteY4" fmla="*/ 0 h 435078"/>
                <a:gd name="connsiteX5" fmla="*/ 0 w 435077"/>
                <a:gd name="connsiteY5" fmla="*/ 0 h 435078"/>
                <a:gd name="connsiteX6" fmla="*/ 217539 w 435077"/>
                <a:gd name="connsiteY6" fmla="*/ 217532 h 435078"/>
                <a:gd name="connsiteX7" fmla="*/ 217539 w 435077"/>
                <a:gd name="connsiteY7" fmla="*/ 0 h 435078"/>
                <a:gd name="connsiteX8" fmla="*/ 435077 w 435077"/>
                <a:gd name="connsiteY8" fmla="*/ 435079 h 435078"/>
                <a:gd name="connsiteX9" fmla="*/ 217539 w 435077"/>
                <a:gd name="connsiteY9" fmla="*/ 435079 h 435078"/>
                <a:gd name="connsiteX10" fmla="*/ 435077 w 435077"/>
                <a:gd name="connsiteY10" fmla="*/ 217546 h 435078"/>
                <a:gd name="connsiteX11" fmla="*/ 435077 w 435077"/>
                <a:gd name="connsiteY11" fmla="*/ 435079 h 435078"/>
                <a:gd name="connsiteX12" fmla="*/ 435077 w 435077"/>
                <a:gd name="connsiteY12" fmla="*/ 0 h 435078"/>
                <a:gd name="connsiteX13" fmla="*/ 217539 w 435077"/>
                <a:gd name="connsiteY13" fmla="*/ 0 h 435078"/>
                <a:gd name="connsiteX14" fmla="*/ 435077 w 435077"/>
                <a:gd name="connsiteY14" fmla="*/ 217532 h 435078"/>
                <a:gd name="connsiteX15" fmla="*/ 435077 w 435077"/>
                <a:gd name="connsiteY15"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8">
                  <a:moveTo>
                    <a:pt x="0" y="435079"/>
                  </a:moveTo>
                  <a:lnTo>
                    <a:pt x="217512" y="435079"/>
                  </a:lnTo>
                  <a:lnTo>
                    <a:pt x="217512" y="217546"/>
                  </a:lnTo>
                  <a:lnTo>
                    <a:pt x="0" y="435079"/>
                  </a:lnTo>
                  <a:close/>
                  <a:moveTo>
                    <a:pt x="217539" y="0"/>
                  </a:moveTo>
                  <a:lnTo>
                    <a:pt x="0" y="0"/>
                  </a:lnTo>
                  <a:lnTo>
                    <a:pt x="217539" y="217532"/>
                  </a:lnTo>
                  <a:lnTo>
                    <a:pt x="217539" y="0"/>
                  </a:lnTo>
                  <a:close/>
                  <a:moveTo>
                    <a:pt x="435077" y="435079"/>
                  </a:moveTo>
                  <a:lnTo>
                    <a:pt x="217539" y="435079"/>
                  </a:lnTo>
                  <a:lnTo>
                    <a:pt x="435077" y="217546"/>
                  </a:lnTo>
                  <a:lnTo>
                    <a:pt x="435077" y="435079"/>
                  </a:lnTo>
                  <a:close/>
                  <a:moveTo>
                    <a:pt x="435077" y="0"/>
                  </a:moveTo>
                  <a:lnTo>
                    <a:pt x="217539" y="0"/>
                  </a:lnTo>
                  <a:lnTo>
                    <a:pt x="435077" y="217532"/>
                  </a:lnTo>
                  <a:lnTo>
                    <a:pt x="435077" y="0"/>
                  </a:lnTo>
                  <a:close/>
                </a:path>
              </a:pathLst>
            </a:custGeom>
            <a:grpFill/>
            <a:ln w="27192" cap="flat">
              <a:noFill/>
              <a:prstDash val="solid"/>
              <a:miter/>
            </a:ln>
          </p:spPr>
          <p:txBody>
            <a:bodyPr rtlCol="0" anchor="ctr"/>
            <a:lstStyle/>
            <a:p>
              <a:endParaRPr lang="uk-UA" sz="900">
                <a:solidFill>
                  <a:schemeClr val="bg1"/>
                </a:solidFill>
              </a:endParaRPr>
            </a:p>
          </p:txBody>
        </p:sp>
        <p:sp>
          <p:nvSpPr>
            <p:cNvPr id="10" name="Freeform: Shape 9">
              <a:extLst>
                <a:ext uri="{FF2B5EF4-FFF2-40B4-BE49-F238E27FC236}">
                  <a16:creationId xmlns:a16="http://schemas.microsoft.com/office/drawing/2014/main" id="{DCE3E936-F1F9-64A7-8E6D-38491F5178AB}"/>
                </a:ext>
              </a:extLst>
            </p:cNvPr>
            <p:cNvSpPr/>
            <p:nvPr/>
          </p:nvSpPr>
          <p:spPr>
            <a:xfrm>
              <a:off x="4316416" y="228598"/>
              <a:ext cx="435103" cy="435073"/>
            </a:xfrm>
            <a:custGeom>
              <a:avLst/>
              <a:gdLst>
                <a:gd name="connsiteX0" fmla="*/ 371365 w 435103"/>
                <a:gd name="connsiteY0" fmla="*/ 63716 h 435073"/>
                <a:gd name="connsiteX1" fmla="*/ 435077 w 435103"/>
                <a:gd name="connsiteY1" fmla="*/ 217539 h 435073"/>
                <a:gd name="connsiteX2" fmla="*/ 218952 w 435103"/>
                <a:gd name="connsiteY2" fmla="*/ 217539 h 435073"/>
                <a:gd name="connsiteX3" fmla="*/ 371365 w 435103"/>
                <a:gd name="connsiteY3" fmla="*/ 281249 h 435073"/>
                <a:gd name="connsiteX4" fmla="*/ 435104 w 435103"/>
                <a:gd name="connsiteY4" fmla="*/ 435073 h 435073"/>
                <a:gd name="connsiteX5" fmla="*/ 217565 w 435103"/>
                <a:gd name="connsiteY5" fmla="*/ 435073 h 435073"/>
                <a:gd name="connsiteX6" fmla="*/ 27 w 435103"/>
                <a:gd name="connsiteY6" fmla="*/ 435073 h 435073"/>
                <a:gd name="connsiteX7" fmla="*/ 63739 w 435103"/>
                <a:gd name="connsiteY7" fmla="*/ 281249 h 435073"/>
                <a:gd name="connsiteX8" fmla="*/ 216151 w 435103"/>
                <a:gd name="connsiteY8" fmla="*/ 217539 h 435073"/>
                <a:gd name="connsiteX9" fmla="*/ 0 w 435103"/>
                <a:gd name="connsiteY9" fmla="*/ 217539 h 435073"/>
                <a:gd name="connsiteX10" fmla="*/ 63739 w 435103"/>
                <a:gd name="connsiteY10" fmla="*/ 63716 h 435073"/>
                <a:gd name="connsiteX11" fmla="*/ 217539 w 435103"/>
                <a:gd name="connsiteY11" fmla="*/ 0 h 435073"/>
                <a:gd name="connsiteX12" fmla="*/ 371365 w 435103"/>
                <a:gd name="connsiteY12" fmla="*/ 63716 h 43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3" h="435073">
                  <a:moveTo>
                    <a:pt x="371365" y="63716"/>
                  </a:moveTo>
                  <a:cubicBezTo>
                    <a:pt x="412181" y="104512"/>
                    <a:pt x="435077" y="159844"/>
                    <a:pt x="435077" y="217539"/>
                  </a:cubicBezTo>
                  <a:lnTo>
                    <a:pt x="218952" y="217539"/>
                  </a:lnTo>
                  <a:cubicBezTo>
                    <a:pt x="276138" y="217907"/>
                    <a:pt x="330903" y="240784"/>
                    <a:pt x="371365" y="281249"/>
                  </a:cubicBezTo>
                  <a:cubicBezTo>
                    <a:pt x="412181" y="322046"/>
                    <a:pt x="435104" y="377379"/>
                    <a:pt x="435104" y="435073"/>
                  </a:cubicBezTo>
                  <a:lnTo>
                    <a:pt x="217565" y="435073"/>
                  </a:lnTo>
                  <a:lnTo>
                    <a:pt x="27" y="435073"/>
                  </a:lnTo>
                  <a:cubicBezTo>
                    <a:pt x="27" y="377379"/>
                    <a:pt x="22923" y="322046"/>
                    <a:pt x="63739" y="281249"/>
                  </a:cubicBezTo>
                  <a:cubicBezTo>
                    <a:pt x="104201" y="240784"/>
                    <a:pt x="158966" y="217907"/>
                    <a:pt x="216151" y="217539"/>
                  </a:cubicBezTo>
                  <a:lnTo>
                    <a:pt x="0" y="217539"/>
                  </a:lnTo>
                  <a:cubicBezTo>
                    <a:pt x="0" y="159844"/>
                    <a:pt x="22923" y="104512"/>
                    <a:pt x="63739" y="63716"/>
                  </a:cubicBezTo>
                  <a:cubicBezTo>
                    <a:pt x="104527" y="22919"/>
                    <a:pt x="159864" y="0"/>
                    <a:pt x="217539" y="0"/>
                  </a:cubicBezTo>
                  <a:cubicBezTo>
                    <a:pt x="275240" y="0"/>
                    <a:pt x="330577" y="22919"/>
                    <a:pt x="371365" y="63716"/>
                  </a:cubicBezTo>
                  <a:close/>
                </a:path>
              </a:pathLst>
            </a:custGeom>
            <a:grpFill/>
            <a:ln w="27192" cap="flat">
              <a:noFill/>
              <a:prstDash val="solid"/>
              <a:miter/>
            </a:ln>
          </p:spPr>
          <p:txBody>
            <a:bodyPr rtlCol="0" anchor="ctr"/>
            <a:lstStyle/>
            <a:p>
              <a:endParaRPr lang="uk-UA" sz="900">
                <a:solidFill>
                  <a:schemeClr val="bg1"/>
                </a:solidFill>
              </a:endParaRPr>
            </a:p>
          </p:txBody>
        </p:sp>
        <p:sp>
          <p:nvSpPr>
            <p:cNvPr id="11" name="Freeform: Shape 10">
              <a:extLst>
                <a:ext uri="{FF2B5EF4-FFF2-40B4-BE49-F238E27FC236}">
                  <a16:creationId xmlns:a16="http://schemas.microsoft.com/office/drawing/2014/main" id="{6AC957CD-4E33-812E-CC35-BFCE683CCB3A}"/>
                </a:ext>
              </a:extLst>
            </p:cNvPr>
            <p:cNvSpPr/>
            <p:nvPr/>
          </p:nvSpPr>
          <p:spPr>
            <a:xfrm>
              <a:off x="3446261" y="228598"/>
              <a:ext cx="435077" cy="435078"/>
            </a:xfrm>
            <a:custGeom>
              <a:avLst/>
              <a:gdLst>
                <a:gd name="connsiteX0" fmla="*/ 217566 w 435077"/>
                <a:gd name="connsiteY0" fmla="*/ 0 h 435078"/>
                <a:gd name="connsiteX1" fmla="*/ 217539 w 435077"/>
                <a:gd name="connsiteY1" fmla="*/ 0 h 435078"/>
                <a:gd name="connsiteX2" fmla="*/ 27 w 435077"/>
                <a:gd name="connsiteY2" fmla="*/ 0 h 435078"/>
                <a:gd name="connsiteX3" fmla="*/ 27 w 435077"/>
                <a:gd name="connsiteY3" fmla="*/ 217539 h 435078"/>
                <a:gd name="connsiteX4" fmla="*/ 217539 w 435077"/>
                <a:gd name="connsiteY4" fmla="*/ 7 h 435078"/>
                <a:gd name="connsiteX5" fmla="*/ 435077 w 435077"/>
                <a:gd name="connsiteY5" fmla="*/ 217539 h 435078"/>
                <a:gd name="connsiteX6" fmla="*/ 217539 w 435077"/>
                <a:gd name="connsiteY6" fmla="*/ 435079 h 435078"/>
                <a:gd name="connsiteX7" fmla="*/ 0 w 435077"/>
                <a:gd name="connsiteY7" fmla="*/ 217539 h 435078"/>
                <a:gd name="connsiteX8" fmla="*/ 0 w 435077"/>
                <a:gd name="connsiteY8" fmla="*/ 435079 h 435078"/>
                <a:gd name="connsiteX9" fmla="*/ 217539 w 435077"/>
                <a:gd name="connsiteY9" fmla="*/ 435079 h 435078"/>
                <a:gd name="connsiteX10" fmla="*/ 435077 w 435077"/>
                <a:gd name="connsiteY10" fmla="*/ 435079 h 435078"/>
                <a:gd name="connsiteX11" fmla="*/ 435077 w 435077"/>
                <a:gd name="connsiteY11" fmla="*/ 217539 h 435078"/>
                <a:gd name="connsiteX12" fmla="*/ 435077 w 435077"/>
                <a:gd name="connsiteY12" fmla="*/ 0 h 435078"/>
                <a:gd name="connsiteX13" fmla="*/ 217566 w 435077"/>
                <a:gd name="connsiteY13"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8">
                  <a:moveTo>
                    <a:pt x="217566" y="0"/>
                  </a:moveTo>
                  <a:lnTo>
                    <a:pt x="217539" y="0"/>
                  </a:lnTo>
                  <a:lnTo>
                    <a:pt x="27" y="0"/>
                  </a:lnTo>
                  <a:lnTo>
                    <a:pt x="27" y="217539"/>
                  </a:lnTo>
                  <a:lnTo>
                    <a:pt x="217539" y="7"/>
                  </a:lnTo>
                  <a:lnTo>
                    <a:pt x="435077" y="217539"/>
                  </a:lnTo>
                  <a:lnTo>
                    <a:pt x="217539" y="435079"/>
                  </a:lnTo>
                  <a:lnTo>
                    <a:pt x="0" y="217539"/>
                  </a:lnTo>
                  <a:lnTo>
                    <a:pt x="0" y="435079"/>
                  </a:lnTo>
                  <a:lnTo>
                    <a:pt x="217539" y="435079"/>
                  </a:lnTo>
                  <a:lnTo>
                    <a:pt x="435077" y="435079"/>
                  </a:lnTo>
                  <a:lnTo>
                    <a:pt x="435077" y="217539"/>
                  </a:lnTo>
                  <a:lnTo>
                    <a:pt x="435077" y="0"/>
                  </a:lnTo>
                  <a:lnTo>
                    <a:pt x="217566" y="0"/>
                  </a:lnTo>
                  <a:close/>
                </a:path>
              </a:pathLst>
            </a:custGeom>
            <a:grpFill/>
            <a:ln w="27192" cap="flat">
              <a:noFill/>
              <a:prstDash val="solid"/>
              <a:miter/>
            </a:ln>
          </p:spPr>
          <p:txBody>
            <a:bodyPr rtlCol="0" anchor="ctr"/>
            <a:lstStyle/>
            <a:p>
              <a:endParaRPr lang="uk-UA" sz="900">
                <a:solidFill>
                  <a:schemeClr val="bg1"/>
                </a:solidFill>
              </a:endParaRPr>
            </a:p>
          </p:txBody>
        </p:sp>
        <p:sp>
          <p:nvSpPr>
            <p:cNvPr id="12" name="Freeform: Shape 11">
              <a:extLst>
                <a:ext uri="{FF2B5EF4-FFF2-40B4-BE49-F238E27FC236}">
                  <a16:creationId xmlns:a16="http://schemas.microsoft.com/office/drawing/2014/main" id="{6DEE4023-562C-1E8C-D053-5EE75006D4D3}"/>
                </a:ext>
              </a:extLst>
            </p:cNvPr>
            <p:cNvSpPr/>
            <p:nvPr/>
          </p:nvSpPr>
          <p:spPr>
            <a:xfrm>
              <a:off x="5186597" y="228598"/>
              <a:ext cx="435077" cy="435075"/>
            </a:xfrm>
            <a:custGeom>
              <a:avLst/>
              <a:gdLst>
                <a:gd name="connsiteX0" fmla="*/ 217539 w 435077"/>
                <a:gd name="connsiteY0" fmla="*/ 217540 h 435075"/>
                <a:gd name="connsiteX1" fmla="*/ 217539 w 435077"/>
                <a:gd name="connsiteY1" fmla="*/ 217537 h 435075"/>
                <a:gd name="connsiteX2" fmla="*/ 0 w 435077"/>
                <a:gd name="connsiteY2" fmla="*/ 0 h 435075"/>
                <a:gd name="connsiteX3" fmla="*/ 217539 w 435077"/>
                <a:gd name="connsiteY3" fmla="*/ 0 h 435075"/>
                <a:gd name="connsiteX4" fmla="*/ 217539 w 435077"/>
                <a:gd name="connsiteY4" fmla="*/ 5 h 435075"/>
                <a:gd name="connsiteX5" fmla="*/ 435077 w 435077"/>
                <a:gd name="connsiteY5" fmla="*/ 217533 h 435075"/>
                <a:gd name="connsiteX6" fmla="*/ 435077 w 435077"/>
                <a:gd name="connsiteY6" fmla="*/ 217533 h 435075"/>
                <a:gd name="connsiteX7" fmla="*/ 435077 w 435077"/>
                <a:gd name="connsiteY7" fmla="*/ 217538 h 435075"/>
                <a:gd name="connsiteX8" fmla="*/ 435077 w 435077"/>
                <a:gd name="connsiteY8" fmla="*/ 217542 h 435075"/>
                <a:gd name="connsiteX9" fmla="*/ 435077 w 435077"/>
                <a:gd name="connsiteY9" fmla="*/ 217542 h 435075"/>
                <a:gd name="connsiteX10" fmla="*/ 217539 w 435077"/>
                <a:gd name="connsiteY10" fmla="*/ 435071 h 435075"/>
                <a:gd name="connsiteX11" fmla="*/ 217539 w 435077"/>
                <a:gd name="connsiteY11" fmla="*/ 435076 h 435075"/>
                <a:gd name="connsiteX12" fmla="*/ 0 w 435077"/>
                <a:gd name="connsiteY12" fmla="*/ 435076 h 435075"/>
                <a:gd name="connsiteX13" fmla="*/ 217539 w 435077"/>
                <a:gd name="connsiteY13" fmla="*/ 217540 h 43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5">
                  <a:moveTo>
                    <a:pt x="217539" y="217540"/>
                  </a:moveTo>
                  <a:lnTo>
                    <a:pt x="217539" y="217537"/>
                  </a:lnTo>
                  <a:lnTo>
                    <a:pt x="0" y="0"/>
                  </a:lnTo>
                  <a:lnTo>
                    <a:pt x="217539" y="0"/>
                  </a:lnTo>
                  <a:lnTo>
                    <a:pt x="217539" y="5"/>
                  </a:lnTo>
                  <a:lnTo>
                    <a:pt x="435077" y="217533"/>
                  </a:lnTo>
                  <a:lnTo>
                    <a:pt x="435077" y="217533"/>
                  </a:lnTo>
                  <a:lnTo>
                    <a:pt x="435077" y="217538"/>
                  </a:lnTo>
                  <a:lnTo>
                    <a:pt x="435077" y="217542"/>
                  </a:lnTo>
                  <a:lnTo>
                    <a:pt x="435077" y="217542"/>
                  </a:lnTo>
                  <a:lnTo>
                    <a:pt x="217539" y="435071"/>
                  </a:lnTo>
                  <a:lnTo>
                    <a:pt x="217539" y="435076"/>
                  </a:lnTo>
                  <a:lnTo>
                    <a:pt x="0" y="435076"/>
                  </a:lnTo>
                  <a:lnTo>
                    <a:pt x="217539" y="217540"/>
                  </a:lnTo>
                  <a:close/>
                </a:path>
              </a:pathLst>
            </a:custGeom>
            <a:grpFill/>
            <a:ln w="27192" cap="flat">
              <a:noFill/>
              <a:prstDash val="solid"/>
              <a:miter/>
            </a:ln>
          </p:spPr>
          <p:txBody>
            <a:bodyPr rtlCol="0" anchor="ctr"/>
            <a:lstStyle/>
            <a:p>
              <a:endParaRPr lang="uk-UA" sz="900">
                <a:solidFill>
                  <a:schemeClr val="bg1"/>
                </a:solidFill>
              </a:endParaRPr>
            </a:p>
          </p:txBody>
        </p:sp>
        <p:sp>
          <p:nvSpPr>
            <p:cNvPr id="13" name="Freeform: Shape 12">
              <a:extLst>
                <a:ext uri="{FF2B5EF4-FFF2-40B4-BE49-F238E27FC236}">
                  <a16:creationId xmlns:a16="http://schemas.microsoft.com/office/drawing/2014/main" id="{5EABA1CB-E122-3344-36C8-B76C20DAA343}"/>
                </a:ext>
              </a:extLst>
            </p:cNvPr>
            <p:cNvSpPr/>
            <p:nvPr/>
          </p:nvSpPr>
          <p:spPr>
            <a:xfrm>
              <a:off x="6056752" y="228598"/>
              <a:ext cx="435077" cy="435078"/>
            </a:xfrm>
            <a:custGeom>
              <a:avLst/>
              <a:gdLst>
                <a:gd name="connsiteX0" fmla="*/ 0 w 435077"/>
                <a:gd name="connsiteY0" fmla="*/ 435079 h 435078"/>
                <a:gd name="connsiteX1" fmla="*/ 217539 w 435077"/>
                <a:gd name="connsiteY1" fmla="*/ 435079 h 435078"/>
                <a:gd name="connsiteX2" fmla="*/ 217539 w 435077"/>
                <a:gd name="connsiteY2" fmla="*/ 217546 h 435078"/>
                <a:gd name="connsiteX3" fmla="*/ 0 w 435077"/>
                <a:gd name="connsiteY3" fmla="*/ 435079 h 435078"/>
                <a:gd name="connsiteX4" fmla="*/ 217539 w 435077"/>
                <a:gd name="connsiteY4" fmla="*/ 0 h 435078"/>
                <a:gd name="connsiteX5" fmla="*/ 0 w 435077"/>
                <a:gd name="connsiteY5" fmla="*/ 0 h 435078"/>
                <a:gd name="connsiteX6" fmla="*/ 217539 w 435077"/>
                <a:gd name="connsiteY6" fmla="*/ 217532 h 435078"/>
                <a:gd name="connsiteX7" fmla="*/ 217539 w 435077"/>
                <a:gd name="connsiteY7" fmla="*/ 0 h 435078"/>
                <a:gd name="connsiteX8" fmla="*/ 435077 w 435077"/>
                <a:gd name="connsiteY8" fmla="*/ 435079 h 435078"/>
                <a:gd name="connsiteX9" fmla="*/ 217539 w 435077"/>
                <a:gd name="connsiteY9" fmla="*/ 435079 h 435078"/>
                <a:gd name="connsiteX10" fmla="*/ 435077 w 435077"/>
                <a:gd name="connsiteY10" fmla="*/ 217546 h 435078"/>
                <a:gd name="connsiteX11" fmla="*/ 435077 w 435077"/>
                <a:gd name="connsiteY11" fmla="*/ 435079 h 435078"/>
                <a:gd name="connsiteX12" fmla="*/ 435077 w 435077"/>
                <a:gd name="connsiteY12" fmla="*/ 0 h 435078"/>
                <a:gd name="connsiteX13" fmla="*/ 217539 w 435077"/>
                <a:gd name="connsiteY13" fmla="*/ 0 h 435078"/>
                <a:gd name="connsiteX14" fmla="*/ 435077 w 435077"/>
                <a:gd name="connsiteY14" fmla="*/ 217532 h 435078"/>
                <a:gd name="connsiteX15" fmla="*/ 435077 w 435077"/>
                <a:gd name="connsiteY15"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8">
                  <a:moveTo>
                    <a:pt x="0" y="435079"/>
                  </a:moveTo>
                  <a:lnTo>
                    <a:pt x="217539" y="435079"/>
                  </a:lnTo>
                  <a:lnTo>
                    <a:pt x="217539" y="217546"/>
                  </a:lnTo>
                  <a:lnTo>
                    <a:pt x="0" y="435079"/>
                  </a:lnTo>
                  <a:close/>
                  <a:moveTo>
                    <a:pt x="217539" y="0"/>
                  </a:moveTo>
                  <a:lnTo>
                    <a:pt x="0" y="0"/>
                  </a:lnTo>
                  <a:lnTo>
                    <a:pt x="217539" y="217532"/>
                  </a:lnTo>
                  <a:lnTo>
                    <a:pt x="217539" y="0"/>
                  </a:lnTo>
                  <a:close/>
                  <a:moveTo>
                    <a:pt x="435077" y="435079"/>
                  </a:moveTo>
                  <a:lnTo>
                    <a:pt x="217539" y="435079"/>
                  </a:lnTo>
                  <a:lnTo>
                    <a:pt x="435077" y="217546"/>
                  </a:lnTo>
                  <a:lnTo>
                    <a:pt x="435077" y="435079"/>
                  </a:lnTo>
                  <a:close/>
                  <a:moveTo>
                    <a:pt x="435077" y="0"/>
                  </a:moveTo>
                  <a:lnTo>
                    <a:pt x="217539" y="0"/>
                  </a:lnTo>
                  <a:lnTo>
                    <a:pt x="435077" y="217532"/>
                  </a:lnTo>
                  <a:lnTo>
                    <a:pt x="435077" y="0"/>
                  </a:lnTo>
                  <a:close/>
                </a:path>
              </a:pathLst>
            </a:custGeom>
            <a:grpFill/>
            <a:ln w="27192" cap="flat">
              <a:noFill/>
              <a:prstDash val="solid"/>
              <a:miter/>
            </a:ln>
          </p:spPr>
          <p:txBody>
            <a:bodyPr rtlCol="0" anchor="ctr"/>
            <a:lstStyle/>
            <a:p>
              <a:endParaRPr lang="uk-UA" sz="900">
                <a:solidFill>
                  <a:schemeClr val="bg1"/>
                </a:solidFill>
              </a:endParaRPr>
            </a:p>
          </p:txBody>
        </p:sp>
        <p:sp>
          <p:nvSpPr>
            <p:cNvPr id="14" name="Freeform: Shape 13">
              <a:extLst>
                <a:ext uri="{FF2B5EF4-FFF2-40B4-BE49-F238E27FC236}">
                  <a16:creationId xmlns:a16="http://schemas.microsoft.com/office/drawing/2014/main" id="{451E3584-FA0C-DC72-C1B1-D54F206864BB}"/>
                </a:ext>
              </a:extLst>
            </p:cNvPr>
            <p:cNvSpPr/>
            <p:nvPr/>
          </p:nvSpPr>
          <p:spPr>
            <a:xfrm>
              <a:off x="7797062" y="228598"/>
              <a:ext cx="435104" cy="435073"/>
            </a:xfrm>
            <a:custGeom>
              <a:avLst/>
              <a:gdLst>
                <a:gd name="connsiteX0" fmla="*/ 371366 w 435104"/>
                <a:gd name="connsiteY0" fmla="*/ 63716 h 435073"/>
                <a:gd name="connsiteX1" fmla="*/ 435077 w 435104"/>
                <a:gd name="connsiteY1" fmla="*/ 217539 h 435073"/>
                <a:gd name="connsiteX2" fmla="*/ 218953 w 435104"/>
                <a:gd name="connsiteY2" fmla="*/ 217539 h 435073"/>
                <a:gd name="connsiteX3" fmla="*/ 371366 w 435104"/>
                <a:gd name="connsiteY3" fmla="*/ 281249 h 435073"/>
                <a:gd name="connsiteX4" fmla="*/ 435105 w 435104"/>
                <a:gd name="connsiteY4" fmla="*/ 435073 h 435073"/>
                <a:gd name="connsiteX5" fmla="*/ 217566 w 435104"/>
                <a:gd name="connsiteY5" fmla="*/ 435073 h 435073"/>
                <a:gd name="connsiteX6" fmla="*/ 27 w 435104"/>
                <a:gd name="connsiteY6" fmla="*/ 435073 h 435073"/>
                <a:gd name="connsiteX7" fmla="*/ 63739 w 435104"/>
                <a:gd name="connsiteY7" fmla="*/ 281249 h 435073"/>
                <a:gd name="connsiteX8" fmla="*/ 216152 w 435104"/>
                <a:gd name="connsiteY8" fmla="*/ 217539 h 435073"/>
                <a:gd name="connsiteX9" fmla="*/ 0 w 435104"/>
                <a:gd name="connsiteY9" fmla="*/ 217539 h 435073"/>
                <a:gd name="connsiteX10" fmla="*/ 63739 w 435104"/>
                <a:gd name="connsiteY10" fmla="*/ 63716 h 435073"/>
                <a:gd name="connsiteX11" fmla="*/ 217539 w 435104"/>
                <a:gd name="connsiteY11" fmla="*/ 0 h 435073"/>
                <a:gd name="connsiteX12" fmla="*/ 371366 w 435104"/>
                <a:gd name="connsiteY12" fmla="*/ 63716 h 43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4" h="435073">
                  <a:moveTo>
                    <a:pt x="371366" y="63716"/>
                  </a:moveTo>
                  <a:cubicBezTo>
                    <a:pt x="412182" y="104512"/>
                    <a:pt x="435077" y="159844"/>
                    <a:pt x="435077" y="217539"/>
                  </a:cubicBezTo>
                  <a:lnTo>
                    <a:pt x="218953" y="217539"/>
                  </a:lnTo>
                  <a:cubicBezTo>
                    <a:pt x="276138" y="217907"/>
                    <a:pt x="330904" y="240784"/>
                    <a:pt x="371366" y="281249"/>
                  </a:cubicBezTo>
                  <a:cubicBezTo>
                    <a:pt x="412182" y="322046"/>
                    <a:pt x="435105" y="377379"/>
                    <a:pt x="435105" y="435073"/>
                  </a:cubicBezTo>
                  <a:lnTo>
                    <a:pt x="217566" y="435073"/>
                  </a:lnTo>
                  <a:lnTo>
                    <a:pt x="27" y="435073"/>
                  </a:lnTo>
                  <a:cubicBezTo>
                    <a:pt x="27" y="377379"/>
                    <a:pt x="22924" y="322046"/>
                    <a:pt x="63739" y="281249"/>
                  </a:cubicBezTo>
                  <a:cubicBezTo>
                    <a:pt x="104201" y="240784"/>
                    <a:pt x="158967" y="217907"/>
                    <a:pt x="216152" y="217539"/>
                  </a:cubicBezTo>
                  <a:lnTo>
                    <a:pt x="0" y="217539"/>
                  </a:lnTo>
                  <a:cubicBezTo>
                    <a:pt x="0" y="159844"/>
                    <a:pt x="22924" y="104512"/>
                    <a:pt x="63739" y="63716"/>
                  </a:cubicBezTo>
                  <a:cubicBezTo>
                    <a:pt x="104527" y="22919"/>
                    <a:pt x="159864" y="0"/>
                    <a:pt x="217539" y="0"/>
                  </a:cubicBezTo>
                  <a:cubicBezTo>
                    <a:pt x="275241" y="0"/>
                    <a:pt x="330578" y="22919"/>
                    <a:pt x="371366" y="63716"/>
                  </a:cubicBezTo>
                  <a:close/>
                </a:path>
              </a:pathLst>
            </a:custGeom>
            <a:grpFill/>
            <a:ln w="27192" cap="flat">
              <a:noFill/>
              <a:prstDash val="solid"/>
              <a:miter/>
            </a:ln>
          </p:spPr>
          <p:txBody>
            <a:bodyPr rtlCol="0" anchor="ctr"/>
            <a:lstStyle/>
            <a:p>
              <a:endParaRPr lang="uk-UA" sz="900">
                <a:solidFill>
                  <a:schemeClr val="bg1"/>
                </a:solidFill>
              </a:endParaRPr>
            </a:p>
          </p:txBody>
        </p:sp>
        <p:sp>
          <p:nvSpPr>
            <p:cNvPr id="15" name="Freeform: Shape 14">
              <a:extLst>
                <a:ext uri="{FF2B5EF4-FFF2-40B4-BE49-F238E27FC236}">
                  <a16:creationId xmlns:a16="http://schemas.microsoft.com/office/drawing/2014/main" id="{AC9380E4-C60A-88F9-710A-7DB5896E4887}"/>
                </a:ext>
              </a:extLst>
            </p:cNvPr>
            <p:cNvSpPr/>
            <p:nvPr/>
          </p:nvSpPr>
          <p:spPr>
            <a:xfrm>
              <a:off x="6926907" y="228598"/>
              <a:ext cx="435077" cy="435078"/>
            </a:xfrm>
            <a:custGeom>
              <a:avLst/>
              <a:gdLst>
                <a:gd name="connsiteX0" fmla="*/ 217539 w 435077"/>
                <a:gd name="connsiteY0" fmla="*/ 0 h 435078"/>
                <a:gd name="connsiteX1" fmla="*/ 0 w 435077"/>
                <a:gd name="connsiteY1" fmla="*/ 0 h 435078"/>
                <a:gd name="connsiteX2" fmla="*/ 0 w 435077"/>
                <a:gd name="connsiteY2" fmla="*/ 217539 h 435078"/>
                <a:gd name="connsiteX3" fmla="*/ 0 w 435077"/>
                <a:gd name="connsiteY3" fmla="*/ 435079 h 435078"/>
                <a:gd name="connsiteX4" fmla="*/ 217539 w 435077"/>
                <a:gd name="connsiteY4" fmla="*/ 435079 h 435078"/>
                <a:gd name="connsiteX5" fmla="*/ 435077 w 435077"/>
                <a:gd name="connsiteY5" fmla="*/ 435079 h 435078"/>
                <a:gd name="connsiteX6" fmla="*/ 435077 w 435077"/>
                <a:gd name="connsiteY6" fmla="*/ 217539 h 435078"/>
                <a:gd name="connsiteX7" fmla="*/ 435077 w 435077"/>
                <a:gd name="connsiteY7" fmla="*/ 0 h 435078"/>
                <a:gd name="connsiteX8" fmla="*/ 217539 w 435077"/>
                <a:gd name="connsiteY8" fmla="*/ 0 h 435078"/>
                <a:gd name="connsiteX9" fmla="*/ 217539 w 435077"/>
                <a:gd name="connsiteY9" fmla="*/ 0 h 435078"/>
                <a:gd name="connsiteX10" fmla="*/ 435077 w 435077"/>
                <a:gd name="connsiteY10" fmla="*/ 217539 h 435078"/>
                <a:gd name="connsiteX11" fmla="*/ 217539 w 435077"/>
                <a:gd name="connsiteY11" fmla="*/ 435079 h 435078"/>
                <a:gd name="connsiteX12" fmla="*/ 0 w 435077"/>
                <a:gd name="connsiteY12" fmla="*/ 217539 h 435078"/>
                <a:gd name="connsiteX13" fmla="*/ 217539 w 435077"/>
                <a:gd name="connsiteY13"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8">
                  <a:moveTo>
                    <a:pt x="217539" y="0"/>
                  </a:moveTo>
                  <a:lnTo>
                    <a:pt x="0" y="0"/>
                  </a:lnTo>
                  <a:lnTo>
                    <a:pt x="0" y="217539"/>
                  </a:lnTo>
                  <a:lnTo>
                    <a:pt x="0" y="435079"/>
                  </a:lnTo>
                  <a:lnTo>
                    <a:pt x="217539" y="435079"/>
                  </a:lnTo>
                  <a:lnTo>
                    <a:pt x="435077" y="435079"/>
                  </a:lnTo>
                  <a:lnTo>
                    <a:pt x="435077" y="217539"/>
                  </a:lnTo>
                  <a:lnTo>
                    <a:pt x="435077" y="0"/>
                  </a:lnTo>
                  <a:lnTo>
                    <a:pt x="217539" y="0"/>
                  </a:lnTo>
                  <a:close/>
                  <a:moveTo>
                    <a:pt x="217539" y="0"/>
                  </a:moveTo>
                  <a:lnTo>
                    <a:pt x="435077" y="217539"/>
                  </a:lnTo>
                  <a:lnTo>
                    <a:pt x="217539" y="435079"/>
                  </a:lnTo>
                  <a:lnTo>
                    <a:pt x="0" y="217539"/>
                  </a:lnTo>
                  <a:lnTo>
                    <a:pt x="217539" y="0"/>
                  </a:lnTo>
                  <a:close/>
                </a:path>
              </a:pathLst>
            </a:custGeom>
            <a:grpFill/>
            <a:ln w="27192" cap="flat">
              <a:noFill/>
              <a:prstDash val="solid"/>
              <a:miter/>
            </a:ln>
          </p:spPr>
          <p:txBody>
            <a:bodyPr rtlCol="0" anchor="ctr"/>
            <a:lstStyle/>
            <a:p>
              <a:endParaRPr lang="uk-UA" sz="900">
                <a:solidFill>
                  <a:schemeClr val="bg1"/>
                </a:solidFill>
              </a:endParaRPr>
            </a:p>
          </p:txBody>
        </p:sp>
        <p:sp>
          <p:nvSpPr>
            <p:cNvPr id="16" name="Freeform: Shape 15">
              <a:extLst>
                <a:ext uri="{FF2B5EF4-FFF2-40B4-BE49-F238E27FC236}">
                  <a16:creationId xmlns:a16="http://schemas.microsoft.com/office/drawing/2014/main" id="{D8BE1E46-49FF-0DCF-1998-94B74AA28098}"/>
                </a:ext>
              </a:extLst>
            </p:cNvPr>
            <p:cNvSpPr/>
            <p:nvPr/>
          </p:nvSpPr>
          <p:spPr>
            <a:xfrm>
              <a:off x="8667217" y="228598"/>
              <a:ext cx="435077" cy="435075"/>
            </a:xfrm>
            <a:custGeom>
              <a:avLst/>
              <a:gdLst>
                <a:gd name="connsiteX0" fmla="*/ 217539 w 435077"/>
                <a:gd name="connsiteY0" fmla="*/ 217540 h 435075"/>
                <a:gd name="connsiteX1" fmla="*/ 217539 w 435077"/>
                <a:gd name="connsiteY1" fmla="*/ 217537 h 435075"/>
                <a:gd name="connsiteX2" fmla="*/ 0 w 435077"/>
                <a:gd name="connsiteY2" fmla="*/ 0 h 435075"/>
                <a:gd name="connsiteX3" fmla="*/ 217539 w 435077"/>
                <a:gd name="connsiteY3" fmla="*/ 0 h 435075"/>
                <a:gd name="connsiteX4" fmla="*/ 217539 w 435077"/>
                <a:gd name="connsiteY4" fmla="*/ 5 h 435075"/>
                <a:gd name="connsiteX5" fmla="*/ 435077 w 435077"/>
                <a:gd name="connsiteY5" fmla="*/ 217533 h 435075"/>
                <a:gd name="connsiteX6" fmla="*/ 435077 w 435077"/>
                <a:gd name="connsiteY6" fmla="*/ 217533 h 435075"/>
                <a:gd name="connsiteX7" fmla="*/ 435077 w 435077"/>
                <a:gd name="connsiteY7" fmla="*/ 217538 h 435075"/>
                <a:gd name="connsiteX8" fmla="*/ 435077 w 435077"/>
                <a:gd name="connsiteY8" fmla="*/ 217542 h 435075"/>
                <a:gd name="connsiteX9" fmla="*/ 435077 w 435077"/>
                <a:gd name="connsiteY9" fmla="*/ 217542 h 435075"/>
                <a:gd name="connsiteX10" fmla="*/ 217539 w 435077"/>
                <a:gd name="connsiteY10" fmla="*/ 435071 h 435075"/>
                <a:gd name="connsiteX11" fmla="*/ 217539 w 435077"/>
                <a:gd name="connsiteY11" fmla="*/ 435076 h 435075"/>
                <a:gd name="connsiteX12" fmla="*/ 0 w 435077"/>
                <a:gd name="connsiteY12" fmla="*/ 435076 h 435075"/>
                <a:gd name="connsiteX13" fmla="*/ 217539 w 435077"/>
                <a:gd name="connsiteY13" fmla="*/ 217540 h 43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5">
                  <a:moveTo>
                    <a:pt x="217539" y="217540"/>
                  </a:moveTo>
                  <a:lnTo>
                    <a:pt x="217539" y="217537"/>
                  </a:lnTo>
                  <a:lnTo>
                    <a:pt x="0" y="0"/>
                  </a:lnTo>
                  <a:lnTo>
                    <a:pt x="217539" y="0"/>
                  </a:lnTo>
                  <a:lnTo>
                    <a:pt x="217539" y="5"/>
                  </a:lnTo>
                  <a:lnTo>
                    <a:pt x="435077" y="217533"/>
                  </a:lnTo>
                  <a:lnTo>
                    <a:pt x="435077" y="217533"/>
                  </a:lnTo>
                  <a:lnTo>
                    <a:pt x="435077" y="217538"/>
                  </a:lnTo>
                  <a:lnTo>
                    <a:pt x="435077" y="217542"/>
                  </a:lnTo>
                  <a:lnTo>
                    <a:pt x="435077" y="217542"/>
                  </a:lnTo>
                  <a:lnTo>
                    <a:pt x="217539" y="435071"/>
                  </a:lnTo>
                  <a:lnTo>
                    <a:pt x="217539" y="435076"/>
                  </a:lnTo>
                  <a:lnTo>
                    <a:pt x="0" y="435076"/>
                  </a:lnTo>
                  <a:lnTo>
                    <a:pt x="217539" y="217540"/>
                  </a:lnTo>
                  <a:close/>
                </a:path>
              </a:pathLst>
            </a:custGeom>
            <a:grpFill/>
            <a:ln w="27192" cap="flat">
              <a:noFill/>
              <a:prstDash val="solid"/>
              <a:miter/>
            </a:ln>
          </p:spPr>
          <p:txBody>
            <a:bodyPr rtlCol="0" anchor="ctr"/>
            <a:lstStyle/>
            <a:p>
              <a:endParaRPr lang="uk-UA" sz="900">
                <a:solidFill>
                  <a:schemeClr val="bg1"/>
                </a:solidFill>
              </a:endParaRPr>
            </a:p>
          </p:txBody>
        </p:sp>
        <p:sp>
          <p:nvSpPr>
            <p:cNvPr id="17" name="Freeform: Shape 16">
              <a:extLst>
                <a:ext uri="{FF2B5EF4-FFF2-40B4-BE49-F238E27FC236}">
                  <a16:creationId xmlns:a16="http://schemas.microsoft.com/office/drawing/2014/main" id="{1734D71D-0891-74FA-45A8-C9D59261DD61}"/>
                </a:ext>
              </a:extLst>
            </p:cNvPr>
            <p:cNvSpPr/>
            <p:nvPr/>
          </p:nvSpPr>
          <p:spPr>
            <a:xfrm>
              <a:off x="9537399" y="228598"/>
              <a:ext cx="435077" cy="435078"/>
            </a:xfrm>
            <a:custGeom>
              <a:avLst/>
              <a:gdLst>
                <a:gd name="connsiteX0" fmla="*/ 0 w 435077"/>
                <a:gd name="connsiteY0" fmla="*/ 435079 h 435078"/>
                <a:gd name="connsiteX1" fmla="*/ 217511 w 435077"/>
                <a:gd name="connsiteY1" fmla="*/ 435079 h 435078"/>
                <a:gd name="connsiteX2" fmla="*/ 217511 w 435077"/>
                <a:gd name="connsiteY2" fmla="*/ 217546 h 435078"/>
                <a:gd name="connsiteX3" fmla="*/ 0 w 435077"/>
                <a:gd name="connsiteY3" fmla="*/ 435079 h 435078"/>
                <a:gd name="connsiteX4" fmla="*/ 217511 w 435077"/>
                <a:gd name="connsiteY4" fmla="*/ 0 h 435078"/>
                <a:gd name="connsiteX5" fmla="*/ 0 w 435077"/>
                <a:gd name="connsiteY5" fmla="*/ 0 h 435078"/>
                <a:gd name="connsiteX6" fmla="*/ 217511 w 435077"/>
                <a:gd name="connsiteY6" fmla="*/ 217532 h 435078"/>
                <a:gd name="connsiteX7" fmla="*/ 217511 w 435077"/>
                <a:gd name="connsiteY7" fmla="*/ 0 h 435078"/>
                <a:gd name="connsiteX8" fmla="*/ 435077 w 435077"/>
                <a:gd name="connsiteY8" fmla="*/ 435079 h 435078"/>
                <a:gd name="connsiteX9" fmla="*/ 217539 w 435077"/>
                <a:gd name="connsiteY9" fmla="*/ 435079 h 435078"/>
                <a:gd name="connsiteX10" fmla="*/ 435077 w 435077"/>
                <a:gd name="connsiteY10" fmla="*/ 217546 h 435078"/>
                <a:gd name="connsiteX11" fmla="*/ 435077 w 435077"/>
                <a:gd name="connsiteY11" fmla="*/ 435079 h 435078"/>
                <a:gd name="connsiteX12" fmla="*/ 435077 w 435077"/>
                <a:gd name="connsiteY12" fmla="*/ 0 h 435078"/>
                <a:gd name="connsiteX13" fmla="*/ 217539 w 435077"/>
                <a:gd name="connsiteY13" fmla="*/ 0 h 435078"/>
                <a:gd name="connsiteX14" fmla="*/ 435077 w 435077"/>
                <a:gd name="connsiteY14" fmla="*/ 217532 h 435078"/>
                <a:gd name="connsiteX15" fmla="*/ 435077 w 435077"/>
                <a:gd name="connsiteY15"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8">
                  <a:moveTo>
                    <a:pt x="0" y="435079"/>
                  </a:moveTo>
                  <a:lnTo>
                    <a:pt x="217511" y="435079"/>
                  </a:lnTo>
                  <a:lnTo>
                    <a:pt x="217511" y="217546"/>
                  </a:lnTo>
                  <a:lnTo>
                    <a:pt x="0" y="435079"/>
                  </a:lnTo>
                  <a:close/>
                  <a:moveTo>
                    <a:pt x="217511" y="0"/>
                  </a:moveTo>
                  <a:lnTo>
                    <a:pt x="0" y="0"/>
                  </a:lnTo>
                  <a:lnTo>
                    <a:pt x="217511" y="217532"/>
                  </a:lnTo>
                  <a:lnTo>
                    <a:pt x="217511" y="0"/>
                  </a:lnTo>
                  <a:close/>
                  <a:moveTo>
                    <a:pt x="435077" y="435079"/>
                  </a:moveTo>
                  <a:lnTo>
                    <a:pt x="217539" y="435079"/>
                  </a:lnTo>
                  <a:lnTo>
                    <a:pt x="435077" y="217546"/>
                  </a:lnTo>
                  <a:lnTo>
                    <a:pt x="435077" y="435079"/>
                  </a:lnTo>
                  <a:close/>
                  <a:moveTo>
                    <a:pt x="435077" y="0"/>
                  </a:moveTo>
                  <a:lnTo>
                    <a:pt x="217539" y="0"/>
                  </a:lnTo>
                  <a:lnTo>
                    <a:pt x="435077" y="217532"/>
                  </a:lnTo>
                  <a:lnTo>
                    <a:pt x="435077" y="0"/>
                  </a:lnTo>
                  <a:close/>
                </a:path>
              </a:pathLst>
            </a:custGeom>
            <a:grpFill/>
            <a:ln w="27192" cap="flat">
              <a:noFill/>
              <a:prstDash val="solid"/>
              <a:miter/>
            </a:ln>
          </p:spPr>
          <p:txBody>
            <a:bodyPr rtlCol="0" anchor="ctr"/>
            <a:lstStyle/>
            <a:p>
              <a:endParaRPr lang="uk-UA" sz="900">
                <a:solidFill>
                  <a:schemeClr val="bg1"/>
                </a:solidFill>
              </a:endParaRPr>
            </a:p>
          </p:txBody>
        </p:sp>
        <p:sp>
          <p:nvSpPr>
            <p:cNvPr id="18" name="Freeform: Shape 17">
              <a:extLst>
                <a:ext uri="{FF2B5EF4-FFF2-40B4-BE49-F238E27FC236}">
                  <a16:creationId xmlns:a16="http://schemas.microsoft.com/office/drawing/2014/main" id="{6E417284-6EF3-12DD-2F32-792D989C7EB3}"/>
                </a:ext>
              </a:extLst>
            </p:cNvPr>
            <p:cNvSpPr/>
            <p:nvPr/>
          </p:nvSpPr>
          <p:spPr>
            <a:xfrm>
              <a:off x="11277709" y="228598"/>
              <a:ext cx="435077" cy="435073"/>
            </a:xfrm>
            <a:custGeom>
              <a:avLst/>
              <a:gdLst>
                <a:gd name="connsiteX0" fmla="*/ 371365 w 435077"/>
                <a:gd name="connsiteY0" fmla="*/ 63716 h 435073"/>
                <a:gd name="connsiteX1" fmla="*/ 435077 w 435077"/>
                <a:gd name="connsiteY1" fmla="*/ 217539 h 435073"/>
                <a:gd name="connsiteX2" fmla="*/ 218953 w 435077"/>
                <a:gd name="connsiteY2" fmla="*/ 217539 h 435073"/>
                <a:gd name="connsiteX3" fmla="*/ 371365 w 435077"/>
                <a:gd name="connsiteY3" fmla="*/ 281249 h 435073"/>
                <a:gd name="connsiteX4" fmla="*/ 435077 w 435077"/>
                <a:gd name="connsiteY4" fmla="*/ 435073 h 435073"/>
                <a:gd name="connsiteX5" fmla="*/ 217539 w 435077"/>
                <a:gd name="connsiteY5" fmla="*/ 435073 h 435073"/>
                <a:gd name="connsiteX6" fmla="*/ 0 w 435077"/>
                <a:gd name="connsiteY6" fmla="*/ 435073 h 435073"/>
                <a:gd name="connsiteX7" fmla="*/ 63710 w 435077"/>
                <a:gd name="connsiteY7" fmla="*/ 281249 h 435073"/>
                <a:gd name="connsiteX8" fmla="*/ 216151 w 435077"/>
                <a:gd name="connsiteY8" fmla="*/ 217539 h 435073"/>
                <a:gd name="connsiteX9" fmla="*/ 0 w 435077"/>
                <a:gd name="connsiteY9" fmla="*/ 217539 h 435073"/>
                <a:gd name="connsiteX10" fmla="*/ 63710 w 435077"/>
                <a:gd name="connsiteY10" fmla="*/ 63716 h 435073"/>
                <a:gd name="connsiteX11" fmla="*/ 217539 w 435077"/>
                <a:gd name="connsiteY11" fmla="*/ 0 h 435073"/>
                <a:gd name="connsiteX12" fmla="*/ 371365 w 435077"/>
                <a:gd name="connsiteY12" fmla="*/ 63716 h 43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3">
                  <a:moveTo>
                    <a:pt x="371365" y="63716"/>
                  </a:moveTo>
                  <a:cubicBezTo>
                    <a:pt x="412154" y="104512"/>
                    <a:pt x="435077" y="159844"/>
                    <a:pt x="435077" y="217539"/>
                  </a:cubicBezTo>
                  <a:lnTo>
                    <a:pt x="218953" y="217539"/>
                  </a:lnTo>
                  <a:cubicBezTo>
                    <a:pt x="276137" y="217907"/>
                    <a:pt x="330902" y="240784"/>
                    <a:pt x="371365" y="281249"/>
                  </a:cubicBezTo>
                  <a:cubicBezTo>
                    <a:pt x="412154" y="322046"/>
                    <a:pt x="435077" y="377379"/>
                    <a:pt x="435077" y="435073"/>
                  </a:cubicBezTo>
                  <a:lnTo>
                    <a:pt x="217539" y="435073"/>
                  </a:lnTo>
                  <a:lnTo>
                    <a:pt x="0" y="435073"/>
                  </a:lnTo>
                  <a:cubicBezTo>
                    <a:pt x="0" y="377379"/>
                    <a:pt x="22922" y="322046"/>
                    <a:pt x="63710" y="281249"/>
                  </a:cubicBezTo>
                  <a:cubicBezTo>
                    <a:pt x="104174" y="240784"/>
                    <a:pt x="158938" y="217907"/>
                    <a:pt x="216151" y="217539"/>
                  </a:cubicBezTo>
                  <a:lnTo>
                    <a:pt x="0" y="217539"/>
                  </a:lnTo>
                  <a:cubicBezTo>
                    <a:pt x="0" y="159844"/>
                    <a:pt x="22922" y="104512"/>
                    <a:pt x="63710" y="63716"/>
                  </a:cubicBezTo>
                  <a:cubicBezTo>
                    <a:pt x="104499" y="22919"/>
                    <a:pt x="159836" y="0"/>
                    <a:pt x="217539" y="0"/>
                  </a:cubicBezTo>
                  <a:cubicBezTo>
                    <a:pt x="275239" y="0"/>
                    <a:pt x="330549" y="22919"/>
                    <a:pt x="371365" y="63716"/>
                  </a:cubicBezTo>
                  <a:close/>
                </a:path>
              </a:pathLst>
            </a:custGeom>
            <a:grpFill/>
            <a:ln w="27192" cap="flat">
              <a:noFill/>
              <a:prstDash val="solid"/>
              <a:miter/>
            </a:ln>
          </p:spPr>
          <p:txBody>
            <a:bodyPr rtlCol="0" anchor="ctr"/>
            <a:lstStyle/>
            <a:p>
              <a:endParaRPr lang="uk-UA" sz="900">
                <a:solidFill>
                  <a:schemeClr val="bg1"/>
                </a:solidFill>
              </a:endParaRPr>
            </a:p>
          </p:txBody>
        </p:sp>
        <p:sp>
          <p:nvSpPr>
            <p:cNvPr id="19" name="Freeform: Shape 18">
              <a:extLst>
                <a:ext uri="{FF2B5EF4-FFF2-40B4-BE49-F238E27FC236}">
                  <a16:creationId xmlns:a16="http://schemas.microsoft.com/office/drawing/2014/main" id="{5A8FE65A-A209-28D0-BC63-10DA46E73BC5}"/>
                </a:ext>
              </a:extLst>
            </p:cNvPr>
            <p:cNvSpPr/>
            <p:nvPr/>
          </p:nvSpPr>
          <p:spPr>
            <a:xfrm>
              <a:off x="10407554" y="228598"/>
              <a:ext cx="435077" cy="435078"/>
            </a:xfrm>
            <a:custGeom>
              <a:avLst/>
              <a:gdLst>
                <a:gd name="connsiteX0" fmla="*/ 217539 w 435077"/>
                <a:gd name="connsiteY0" fmla="*/ 0 h 435078"/>
                <a:gd name="connsiteX1" fmla="*/ 0 w 435077"/>
                <a:gd name="connsiteY1" fmla="*/ 0 h 435078"/>
                <a:gd name="connsiteX2" fmla="*/ 0 w 435077"/>
                <a:gd name="connsiteY2" fmla="*/ 217539 h 435078"/>
                <a:gd name="connsiteX3" fmla="*/ 217539 w 435077"/>
                <a:gd name="connsiteY3" fmla="*/ 0 h 435078"/>
                <a:gd name="connsiteX4" fmla="*/ 435077 w 435077"/>
                <a:gd name="connsiteY4" fmla="*/ 0 h 435078"/>
                <a:gd name="connsiteX5" fmla="*/ 435077 w 435077"/>
                <a:gd name="connsiteY5" fmla="*/ 217539 h 435078"/>
                <a:gd name="connsiteX6" fmla="*/ 217539 w 435077"/>
                <a:gd name="connsiteY6" fmla="*/ 0 h 435078"/>
                <a:gd name="connsiteX7" fmla="*/ 435077 w 435077"/>
                <a:gd name="connsiteY7" fmla="*/ 0 h 435078"/>
                <a:gd name="connsiteX8" fmla="*/ 217539 w 435077"/>
                <a:gd name="connsiteY8" fmla="*/ 435079 h 435078"/>
                <a:gd name="connsiteX9" fmla="*/ 435077 w 435077"/>
                <a:gd name="connsiteY9" fmla="*/ 217539 h 435078"/>
                <a:gd name="connsiteX10" fmla="*/ 435077 w 435077"/>
                <a:gd name="connsiteY10" fmla="*/ 435079 h 435078"/>
                <a:gd name="connsiteX11" fmla="*/ 217539 w 435077"/>
                <a:gd name="connsiteY11" fmla="*/ 435079 h 435078"/>
                <a:gd name="connsiteX12" fmla="*/ 217539 w 435077"/>
                <a:gd name="connsiteY12" fmla="*/ 435079 h 435078"/>
                <a:gd name="connsiteX13" fmla="*/ 0 w 435077"/>
                <a:gd name="connsiteY13" fmla="*/ 217539 h 435078"/>
                <a:gd name="connsiteX14" fmla="*/ 0 w 435077"/>
                <a:gd name="connsiteY14" fmla="*/ 435079 h 435078"/>
                <a:gd name="connsiteX15" fmla="*/ 217539 w 435077"/>
                <a:gd name="connsiteY15" fmla="*/ 435079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8">
                  <a:moveTo>
                    <a:pt x="217539" y="0"/>
                  </a:moveTo>
                  <a:lnTo>
                    <a:pt x="0" y="0"/>
                  </a:lnTo>
                  <a:lnTo>
                    <a:pt x="0" y="217539"/>
                  </a:lnTo>
                  <a:lnTo>
                    <a:pt x="217539" y="0"/>
                  </a:lnTo>
                  <a:close/>
                  <a:moveTo>
                    <a:pt x="435077" y="0"/>
                  </a:moveTo>
                  <a:lnTo>
                    <a:pt x="435077" y="217539"/>
                  </a:lnTo>
                  <a:lnTo>
                    <a:pt x="217539" y="0"/>
                  </a:lnTo>
                  <a:lnTo>
                    <a:pt x="435077" y="0"/>
                  </a:lnTo>
                  <a:close/>
                  <a:moveTo>
                    <a:pt x="217539" y="435079"/>
                  </a:moveTo>
                  <a:lnTo>
                    <a:pt x="435077" y="217539"/>
                  </a:lnTo>
                  <a:lnTo>
                    <a:pt x="435077" y="435079"/>
                  </a:lnTo>
                  <a:lnTo>
                    <a:pt x="217539" y="435079"/>
                  </a:lnTo>
                  <a:close/>
                  <a:moveTo>
                    <a:pt x="217539" y="435079"/>
                  </a:moveTo>
                  <a:lnTo>
                    <a:pt x="0" y="217539"/>
                  </a:lnTo>
                  <a:lnTo>
                    <a:pt x="0" y="435079"/>
                  </a:lnTo>
                  <a:lnTo>
                    <a:pt x="217539" y="435079"/>
                  </a:lnTo>
                  <a:close/>
                </a:path>
              </a:pathLst>
            </a:custGeom>
            <a:grpFill/>
            <a:ln w="27192" cap="flat">
              <a:noFill/>
              <a:prstDash val="solid"/>
              <a:miter/>
            </a:ln>
          </p:spPr>
          <p:txBody>
            <a:bodyPr rtlCol="0" anchor="ctr"/>
            <a:lstStyle/>
            <a:p>
              <a:endParaRPr lang="uk-UA" sz="900">
                <a:solidFill>
                  <a:schemeClr val="bg1"/>
                </a:solidFill>
              </a:endParaRPr>
            </a:p>
          </p:txBody>
        </p:sp>
        <p:sp>
          <p:nvSpPr>
            <p:cNvPr id="20" name="Freeform: Shape 19">
              <a:extLst>
                <a:ext uri="{FF2B5EF4-FFF2-40B4-BE49-F238E27FC236}">
                  <a16:creationId xmlns:a16="http://schemas.microsoft.com/office/drawing/2014/main" id="{A7CE197A-54E0-B8EE-854F-AC349A4BCBD1}"/>
                </a:ext>
              </a:extLst>
            </p:cNvPr>
            <p:cNvSpPr/>
            <p:nvPr/>
          </p:nvSpPr>
          <p:spPr>
            <a:xfrm>
              <a:off x="12147836" y="228570"/>
              <a:ext cx="435077" cy="435076"/>
            </a:xfrm>
            <a:custGeom>
              <a:avLst/>
              <a:gdLst>
                <a:gd name="connsiteX0" fmla="*/ 217539 w 435077"/>
                <a:gd name="connsiteY0" fmla="*/ 217534 h 435076"/>
                <a:gd name="connsiteX1" fmla="*/ 217539 w 435077"/>
                <a:gd name="connsiteY1" fmla="*/ 0 h 435076"/>
                <a:gd name="connsiteX2" fmla="*/ 0 w 435077"/>
                <a:gd name="connsiteY2" fmla="*/ 0 h 435076"/>
                <a:gd name="connsiteX3" fmla="*/ 217539 w 435077"/>
                <a:gd name="connsiteY3" fmla="*/ 217538 h 435076"/>
                <a:gd name="connsiteX4" fmla="*/ 0 w 435077"/>
                <a:gd name="connsiteY4" fmla="*/ 435077 h 435076"/>
                <a:gd name="connsiteX5" fmla="*/ 217539 w 435077"/>
                <a:gd name="connsiteY5" fmla="*/ 435077 h 435076"/>
                <a:gd name="connsiteX6" fmla="*/ 217539 w 435077"/>
                <a:gd name="connsiteY6" fmla="*/ 435071 h 435076"/>
                <a:gd name="connsiteX7" fmla="*/ 435077 w 435077"/>
                <a:gd name="connsiteY7" fmla="*/ 217543 h 435076"/>
                <a:gd name="connsiteX8" fmla="*/ 435077 w 435077"/>
                <a:gd name="connsiteY8" fmla="*/ 217543 h 435076"/>
                <a:gd name="connsiteX9" fmla="*/ 435077 w 435077"/>
                <a:gd name="connsiteY9" fmla="*/ 217538 h 435076"/>
                <a:gd name="connsiteX10" fmla="*/ 435077 w 435077"/>
                <a:gd name="connsiteY10" fmla="*/ 217534 h 435076"/>
                <a:gd name="connsiteX11" fmla="*/ 435077 w 435077"/>
                <a:gd name="connsiteY11" fmla="*/ 217534 h 435076"/>
                <a:gd name="connsiteX12" fmla="*/ 217539 w 435077"/>
                <a:gd name="connsiteY12" fmla="*/ 5 h 435076"/>
                <a:gd name="connsiteX13" fmla="*/ 217539 w 435077"/>
                <a:gd name="connsiteY13" fmla="*/ 217534 h 435076"/>
                <a:gd name="connsiteX14" fmla="*/ 217539 w 435077"/>
                <a:gd name="connsiteY14" fmla="*/ 217534 h 435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6">
                  <a:moveTo>
                    <a:pt x="217539" y="217534"/>
                  </a:moveTo>
                  <a:lnTo>
                    <a:pt x="217539" y="0"/>
                  </a:lnTo>
                  <a:lnTo>
                    <a:pt x="0" y="0"/>
                  </a:lnTo>
                  <a:lnTo>
                    <a:pt x="217539" y="217538"/>
                  </a:lnTo>
                  <a:lnTo>
                    <a:pt x="0" y="435077"/>
                  </a:lnTo>
                  <a:lnTo>
                    <a:pt x="217539" y="435077"/>
                  </a:lnTo>
                  <a:lnTo>
                    <a:pt x="217539" y="435071"/>
                  </a:lnTo>
                  <a:lnTo>
                    <a:pt x="435077" y="217543"/>
                  </a:lnTo>
                  <a:lnTo>
                    <a:pt x="435077" y="217543"/>
                  </a:lnTo>
                  <a:lnTo>
                    <a:pt x="435077" y="217538"/>
                  </a:lnTo>
                  <a:lnTo>
                    <a:pt x="435077" y="217534"/>
                  </a:lnTo>
                  <a:lnTo>
                    <a:pt x="435077" y="217534"/>
                  </a:lnTo>
                  <a:lnTo>
                    <a:pt x="217539" y="5"/>
                  </a:lnTo>
                  <a:lnTo>
                    <a:pt x="217539" y="217534"/>
                  </a:lnTo>
                  <a:lnTo>
                    <a:pt x="217539" y="217534"/>
                  </a:lnTo>
                  <a:close/>
                </a:path>
              </a:pathLst>
            </a:custGeom>
            <a:grpFill/>
            <a:ln w="27192" cap="flat">
              <a:noFill/>
              <a:prstDash val="solid"/>
              <a:miter/>
            </a:ln>
          </p:spPr>
          <p:txBody>
            <a:bodyPr rtlCol="0" anchor="ctr"/>
            <a:lstStyle/>
            <a:p>
              <a:endParaRPr lang="uk-UA" sz="900">
                <a:solidFill>
                  <a:schemeClr val="bg1"/>
                </a:solidFill>
              </a:endParaRPr>
            </a:p>
          </p:txBody>
        </p:sp>
        <p:sp>
          <p:nvSpPr>
            <p:cNvPr id="21" name="Freeform: Shape 20">
              <a:extLst>
                <a:ext uri="{FF2B5EF4-FFF2-40B4-BE49-F238E27FC236}">
                  <a16:creationId xmlns:a16="http://schemas.microsoft.com/office/drawing/2014/main" id="{2423A403-E5EB-FD2B-4AFB-45857D91C395}"/>
                </a:ext>
              </a:extLst>
            </p:cNvPr>
            <p:cNvSpPr/>
            <p:nvPr/>
          </p:nvSpPr>
          <p:spPr>
            <a:xfrm>
              <a:off x="13018045" y="228598"/>
              <a:ext cx="435077" cy="435078"/>
            </a:xfrm>
            <a:custGeom>
              <a:avLst/>
              <a:gdLst>
                <a:gd name="connsiteX0" fmla="*/ 0 w 435077"/>
                <a:gd name="connsiteY0" fmla="*/ 435079 h 435078"/>
                <a:gd name="connsiteX1" fmla="*/ 217539 w 435077"/>
                <a:gd name="connsiteY1" fmla="*/ 435079 h 435078"/>
                <a:gd name="connsiteX2" fmla="*/ 217539 w 435077"/>
                <a:gd name="connsiteY2" fmla="*/ 217546 h 435078"/>
                <a:gd name="connsiteX3" fmla="*/ 0 w 435077"/>
                <a:gd name="connsiteY3" fmla="*/ 435079 h 435078"/>
                <a:gd name="connsiteX4" fmla="*/ 217539 w 435077"/>
                <a:gd name="connsiteY4" fmla="*/ 0 h 435078"/>
                <a:gd name="connsiteX5" fmla="*/ 0 w 435077"/>
                <a:gd name="connsiteY5" fmla="*/ 0 h 435078"/>
                <a:gd name="connsiteX6" fmla="*/ 217539 w 435077"/>
                <a:gd name="connsiteY6" fmla="*/ 217532 h 435078"/>
                <a:gd name="connsiteX7" fmla="*/ 217539 w 435077"/>
                <a:gd name="connsiteY7" fmla="*/ 0 h 435078"/>
                <a:gd name="connsiteX8" fmla="*/ 435077 w 435077"/>
                <a:gd name="connsiteY8" fmla="*/ 435079 h 435078"/>
                <a:gd name="connsiteX9" fmla="*/ 217539 w 435077"/>
                <a:gd name="connsiteY9" fmla="*/ 435079 h 435078"/>
                <a:gd name="connsiteX10" fmla="*/ 435077 w 435077"/>
                <a:gd name="connsiteY10" fmla="*/ 217546 h 435078"/>
                <a:gd name="connsiteX11" fmla="*/ 435077 w 435077"/>
                <a:gd name="connsiteY11" fmla="*/ 435079 h 435078"/>
                <a:gd name="connsiteX12" fmla="*/ 435077 w 435077"/>
                <a:gd name="connsiteY12" fmla="*/ 0 h 435078"/>
                <a:gd name="connsiteX13" fmla="*/ 217539 w 435077"/>
                <a:gd name="connsiteY13" fmla="*/ 0 h 435078"/>
                <a:gd name="connsiteX14" fmla="*/ 435077 w 435077"/>
                <a:gd name="connsiteY14" fmla="*/ 217532 h 435078"/>
                <a:gd name="connsiteX15" fmla="*/ 435077 w 435077"/>
                <a:gd name="connsiteY15"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8">
                  <a:moveTo>
                    <a:pt x="0" y="435079"/>
                  </a:moveTo>
                  <a:lnTo>
                    <a:pt x="217539" y="435079"/>
                  </a:lnTo>
                  <a:lnTo>
                    <a:pt x="217539" y="217546"/>
                  </a:lnTo>
                  <a:lnTo>
                    <a:pt x="0" y="435079"/>
                  </a:lnTo>
                  <a:close/>
                  <a:moveTo>
                    <a:pt x="217539" y="0"/>
                  </a:moveTo>
                  <a:lnTo>
                    <a:pt x="0" y="0"/>
                  </a:lnTo>
                  <a:lnTo>
                    <a:pt x="217539" y="217532"/>
                  </a:lnTo>
                  <a:lnTo>
                    <a:pt x="217539" y="0"/>
                  </a:lnTo>
                  <a:close/>
                  <a:moveTo>
                    <a:pt x="435077" y="435079"/>
                  </a:moveTo>
                  <a:lnTo>
                    <a:pt x="217539" y="435079"/>
                  </a:lnTo>
                  <a:lnTo>
                    <a:pt x="435077" y="217546"/>
                  </a:lnTo>
                  <a:lnTo>
                    <a:pt x="435077" y="435079"/>
                  </a:lnTo>
                  <a:close/>
                  <a:moveTo>
                    <a:pt x="435077" y="0"/>
                  </a:moveTo>
                  <a:lnTo>
                    <a:pt x="217539" y="0"/>
                  </a:lnTo>
                  <a:lnTo>
                    <a:pt x="435077" y="217532"/>
                  </a:lnTo>
                  <a:lnTo>
                    <a:pt x="435077" y="0"/>
                  </a:lnTo>
                  <a:close/>
                </a:path>
              </a:pathLst>
            </a:custGeom>
            <a:grpFill/>
            <a:ln w="27192" cap="flat">
              <a:noFill/>
              <a:prstDash val="solid"/>
              <a:miter/>
            </a:ln>
          </p:spPr>
          <p:txBody>
            <a:bodyPr rtlCol="0" anchor="ctr"/>
            <a:lstStyle/>
            <a:p>
              <a:endParaRPr lang="uk-UA" sz="900">
                <a:solidFill>
                  <a:schemeClr val="bg1"/>
                </a:solidFill>
              </a:endParaRPr>
            </a:p>
          </p:txBody>
        </p:sp>
        <p:sp>
          <p:nvSpPr>
            <p:cNvPr id="22" name="Freeform: Shape 21">
              <a:extLst>
                <a:ext uri="{FF2B5EF4-FFF2-40B4-BE49-F238E27FC236}">
                  <a16:creationId xmlns:a16="http://schemas.microsoft.com/office/drawing/2014/main" id="{722929B8-F7BA-0971-1A6F-003DFDE4B896}"/>
                </a:ext>
              </a:extLst>
            </p:cNvPr>
            <p:cNvSpPr/>
            <p:nvPr/>
          </p:nvSpPr>
          <p:spPr>
            <a:xfrm>
              <a:off x="14758382" y="228598"/>
              <a:ext cx="435077" cy="435073"/>
            </a:xfrm>
            <a:custGeom>
              <a:avLst/>
              <a:gdLst>
                <a:gd name="connsiteX0" fmla="*/ 371367 w 435077"/>
                <a:gd name="connsiteY0" fmla="*/ 63716 h 435073"/>
                <a:gd name="connsiteX1" fmla="*/ 435077 w 435077"/>
                <a:gd name="connsiteY1" fmla="*/ 217539 h 435073"/>
                <a:gd name="connsiteX2" fmla="*/ 218953 w 435077"/>
                <a:gd name="connsiteY2" fmla="*/ 217539 h 435073"/>
                <a:gd name="connsiteX3" fmla="*/ 371367 w 435077"/>
                <a:gd name="connsiteY3" fmla="*/ 281249 h 435073"/>
                <a:gd name="connsiteX4" fmla="*/ 435077 w 435077"/>
                <a:gd name="connsiteY4" fmla="*/ 435073 h 435073"/>
                <a:gd name="connsiteX5" fmla="*/ 217539 w 435077"/>
                <a:gd name="connsiteY5" fmla="*/ 435073 h 435073"/>
                <a:gd name="connsiteX6" fmla="*/ 0 w 435077"/>
                <a:gd name="connsiteY6" fmla="*/ 435073 h 435073"/>
                <a:gd name="connsiteX7" fmla="*/ 63712 w 435077"/>
                <a:gd name="connsiteY7" fmla="*/ 281249 h 435073"/>
                <a:gd name="connsiteX8" fmla="*/ 216125 w 435077"/>
                <a:gd name="connsiteY8" fmla="*/ 217539 h 435073"/>
                <a:gd name="connsiteX9" fmla="*/ 0 w 435077"/>
                <a:gd name="connsiteY9" fmla="*/ 217539 h 435073"/>
                <a:gd name="connsiteX10" fmla="*/ 63712 w 435077"/>
                <a:gd name="connsiteY10" fmla="*/ 63716 h 435073"/>
                <a:gd name="connsiteX11" fmla="*/ 217539 w 435077"/>
                <a:gd name="connsiteY11" fmla="*/ 0 h 435073"/>
                <a:gd name="connsiteX12" fmla="*/ 371367 w 435077"/>
                <a:gd name="connsiteY12" fmla="*/ 63716 h 43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3">
                  <a:moveTo>
                    <a:pt x="371367" y="63716"/>
                  </a:moveTo>
                  <a:cubicBezTo>
                    <a:pt x="412155" y="104512"/>
                    <a:pt x="435077" y="159844"/>
                    <a:pt x="435077" y="217539"/>
                  </a:cubicBezTo>
                  <a:lnTo>
                    <a:pt x="218953" y="217539"/>
                  </a:lnTo>
                  <a:cubicBezTo>
                    <a:pt x="276139" y="217907"/>
                    <a:pt x="330904" y="240784"/>
                    <a:pt x="371367" y="281249"/>
                  </a:cubicBezTo>
                  <a:cubicBezTo>
                    <a:pt x="412155" y="322046"/>
                    <a:pt x="435077" y="377379"/>
                    <a:pt x="435077" y="435073"/>
                  </a:cubicBezTo>
                  <a:lnTo>
                    <a:pt x="217539" y="435073"/>
                  </a:lnTo>
                  <a:lnTo>
                    <a:pt x="0" y="435073"/>
                  </a:lnTo>
                  <a:cubicBezTo>
                    <a:pt x="0" y="377379"/>
                    <a:pt x="22924" y="322046"/>
                    <a:pt x="63712" y="281249"/>
                  </a:cubicBezTo>
                  <a:cubicBezTo>
                    <a:pt x="104174" y="240784"/>
                    <a:pt x="158940" y="217907"/>
                    <a:pt x="216125" y="217539"/>
                  </a:cubicBezTo>
                  <a:lnTo>
                    <a:pt x="0" y="217539"/>
                  </a:lnTo>
                  <a:cubicBezTo>
                    <a:pt x="0" y="159844"/>
                    <a:pt x="22924" y="104512"/>
                    <a:pt x="63712" y="63716"/>
                  </a:cubicBezTo>
                  <a:cubicBezTo>
                    <a:pt x="104501" y="22919"/>
                    <a:pt x="159836" y="0"/>
                    <a:pt x="217539" y="0"/>
                  </a:cubicBezTo>
                  <a:cubicBezTo>
                    <a:pt x="275241" y="0"/>
                    <a:pt x="330550" y="22919"/>
                    <a:pt x="371367" y="63716"/>
                  </a:cubicBezTo>
                  <a:close/>
                </a:path>
              </a:pathLst>
            </a:custGeom>
            <a:grpFill/>
            <a:ln w="27192" cap="flat">
              <a:noFill/>
              <a:prstDash val="solid"/>
              <a:miter/>
            </a:ln>
          </p:spPr>
          <p:txBody>
            <a:bodyPr rtlCol="0" anchor="ctr"/>
            <a:lstStyle/>
            <a:p>
              <a:endParaRPr lang="uk-UA" sz="900">
                <a:solidFill>
                  <a:schemeClr val="bg1"/>
                </a:solidFill>
              </a:endParaRPr>
            </a:p>
          </p:txBody>
        </p:sp>
        <p:sp>
          <p:nvSpPr>
            <p:cNvPr id="23" name="Freeform: Shape 22">
              <a:extLst>
                <a:ext uri="{FF2B5EF4-FFF2-40B4-BE49-F238E27FC236}">
                  <a16:creationId xmlns:a16="http://schemas.microsoft.com/office/drawing/2014/main" id="{F63EDBFA-3B80-F786-0F8D-9E0BA58B6291}"/>
                </a:ext>
              </a:extLst>
            </p:cNvPr>
            <p:cNvSpPr/>
            <p:nvPr/>
          </p:nvSpPr>
          <p:spPr>
            <a:xfrm>
              <a:off x="13888200" y="228598"/>
              <a:ext cx="435077" cy="435078"/>
            </a:xfrm>
            <a:custGeom>
              <a:avLst/>
              <a:gdLst>
                <a:gd name="connsiteX0" fmla="*/ 217565 w 435077"/>
                <a:gd name="connsiteY0" fmla="*/ 0 h 435078"/>
                <a:gd name="connsiteX1" fmla="*/ 217539 w 435077"/>
                <a:gd name="connsiteY1" fmla="*/ 0 h 435078"/>
                <a:gd name="connsiteX2" fmla="*/ 27 w 435077"/>
                <a:gd name="connsiteY2" fmla="*/ 0 h 435078"/>
                <a:gd name="connsiteX3" fmla="*/ 27 w 435077"/>
                <a:gd name="connsiteY3" fmla="*/ 217539 h 435078"/>
                <a:gd name="connsiteX4" fmla="*/ 217565 w 435077"/>
                <a:gd name="connsiteY4" fmla="*/ 7 h 435078"/>
                <a:gd name="connsiteX5" fmla="*/ 435077 w 435077"/>
                <a:gd name="connsiteY5" fmla="*/ 217539 h 435078"/>
                <a:gd name="connsiteX6" fmla="*/ 217539 w 435077"/>
                <a:gd name="connsiteY6" fmla="*/ 435079 h 435078"/>
                <a:gd name="connsiteX7" fmla="*/ 0 w 435077"/>
                <a:gd name="connsiteY7" fmla="*/ 217539 h 435078"/>
                <a:gd name="connsiteX8" fmla="*/ 0 w 435077"/>
                <a:gd name="connsiteY8" fmla="*/ 435079 h 435078"/>
                <a:gd name="connsiteX9" fmla="*/ 217539 w 435077"/>
                <a:gd name="connsiteY9" fmla="*/ 435079 h 435078"/>
                <a:gd name="connsiteX10" fmla="*/ 435077 w 435077"/>
                <a:gd name="connsiteY10" fmla="*/ 435079 h 435078"/>
                <a:gd name="connsiteX11" fmla="*/ 435077 w 435077"/>
                <a:gd name="connsiteY11" fmla="*/ 217539 h 435078"/>
                <a:gd name="connsiteX12" fmla="*/ 435077 w 435077"/>
                <a:gd name="connsiteY12" fmla="*/ 0 h 435078"/>
                <a:gd name="connsiteX13" fmla="*/ 217565 w 435077"/>
                <a:gd name="connsiteY13"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8">
                  <a:moveTo>
                    <a:pt x="217565" y="0"/>
                  </a:moveTo>
                  <a:lnTo>
                    <a:pt x="217539" y="0"/>
                  </a:lnTo>
                  <a:lnTo>
                    <a:pt x="27" y="0"/>
                  </a:lnTo>
                  <a:lnTo>
                    <a:pt x="27" y="217539"/>
                  </a:lnTo>
                  <a:lnTo>
                    <a:pt x="217565" y="7"/>
                  </a:lnTo>
                  <a:lnTo>
                    <a:pt x="435077" y="217539"/>
                  </a:lnTo>
                  <a:lnTo>
                    <a:pt x="217539" y="435079"/>
                  </a:lnTo>
                  <a:lnTo>
                    <a:pt x="0" y="217539"/>
                  </a:lnTo>
                  <a:lnTo>
                    <a:pt x="0" y="435079"/>
                  </a:lnTo>
                  <a:lnTo>
                    <a:pt x="217539" y="435079"/>
                  </a:lnTo>
                  <a:lnTo>
                    <a:pt x="435077" y="435079"/>
                  </a:lnTo>
                  <a:lnTo>
                    <a:pt x="435077" y="217539"/>
                  </a:lnTo>
                  <a:lnTo>
                    <a:pt x="435077" y="0"/>
                  </a:lnTo>
                  <a:lnTo>
                    <a:pt x="217565" y="0"/>
                  </a:lnTo>
                  <a:close/>
                </a:path>
              </a:pathLst>
            </a:custGeom>
            <a:grpFill/>
            <a:ln w="27192" cap="flat">
              <a:noFill/>
              <a:prstDash val="solid"/>
              <a:miter/>
            </a:ln>
          </p:spPr>
          <p:txBody>
            <a:bodyPr rtlCol="0" anchor="ctr"/>
            <a:lstStyle/>
            <a:p>
              <a:endParaRPr lang="uk-UA" sz="900">
                <a:solidFill>
                  <a:schemeClr val="bg1"/>
                </a:solidFill>
              </a:endParaRPr>
            </a:p>
          </p:txBody>
        </p:sp>
        <p:sp>
          <p:nvSpPr>
            <p:cNvPr id="24" name="Freeform: Shape 23">
              <a:extLst>
                <a:ext uri="{FF2B5EF4-FFF2-40B4-BE49-F238E27FC236}">
                  <a16:creationId xmlns:a16="http://schemas.microsoft.com/office/drawing/2014/main" id="{2094E1F0-E22D-9B25-3683-F015F644F4EA}"/>
                </a:ext>
              </a:extLst>
            </p:cNvPr>
            <p:cNvSpPr/>
            <p:nvPr/>
          </p:nvSpPr>
          <p:spPr>
            <a:xfrm>
              <a:off x="15628536" y="228598"/>
              <a:ext cx="435077" cy="435075"/>
            </a:xfrm>
            <a:custGeom>
              <a:avLst/>
              <a:gdLst>
                <a:gd name="connsiteX0" fmla="*/ 217539 w 435077"/>
                <a:gd name="connsiteY0" fmla="*/ 217540 h 435075"/>
                <a:gd name="connsiteX1" fmla="*/ 217539 w 435077"/>
                <a:gd name="connsiteY1" fmla="*/ 217537 h 435075"/>
                <a:gd name="connsiteX2" fmla="*/ 0 w 435077"/>
                <a:gd name="connsiteY2" fmla="*/ 0 h 435075"/>
                <a:gd name="connsiteX3" fmla="*/ 217539 w 435077"/>
                <a:gd name="connsiteY3" fmla="*/ 0 h 435075"/>
                <a:gd name="connsiteX4" fmla="*/ 217539 w 435077"/>
                <a:gd name="connsiteY4" fmla="*/ 5 h 435075"/>
                <a:gd name="connsiteX5" fmla="*/ 435077 w 435077"/>
                <a:gd name="connsiteY5" fmla="*/ 217533 h 435075"/>
                <a:gd name="connsiteX6" fmla="*/ 435077 w 435077"/>
                <a:gd name="connsiteY6" fmla="*/ 217533 h 435075"/>
                <a:gd name="connsiteX7" fmla="*/ 435077 w 435077"/>
                <a:gd name="connsiteY7" fmla="*/ 217538 h 435075"/>
                <a:gd name="connsiteX8" fmla="*/ 435077 w 435077"/>
                <a:gd name="connsiteY8" fmla="*/ 217542 h 435075"/>
                <a:gd name="connsiteX9" fmla="*/ 435077 w 435077"/>
                <a:gd name="connsiteY9" fmla="*/ 217542 h 435075"/>
                <a:gd name="connsiteX10" fmla="*/ 217539 w 435077"/>
                <a:gd name="connsiteY10" fmla="*/ 435071 h 435075"/>
                <a:gd name="connsiteX11" fmla="*/ 217539 w 435077"/>
                <a:gd name="connsiteY11" fmla="*/ 435076 h 435075"/>
                <a:gd name="connsiteX12" fmla="*/ 0 w 435077"/>
                <a:gd name="connsiteY12" fmla="*/ 435076 h 435075"/>
                <a:gd name="connsiteX13" fmla="*/ 217539 w 435077"/>
                <a:gd name="connsiteY13" fmla="*/ 217540 h 43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5">
                  <a:moveTo>
                    <a:pt x="217539" y="217540"/>
                  </a:moveTo>
                  <a:lnTo>
                    <a:pt x="217539" y="217537"/>
                  </a:lnTo>
                  <a:lnTo>
                    <a:pt x="0" y="0"/>
                  </a:lnTo>
                  <a:lnTo>
                    <a:pt x="217539" y="0"/>
                  </a:lnTo>
                  <a:lnTo>
                    <a:pt x="217539" y="5"/>
                  </a:lnTo>
                  <a:lnTo>
                    <a:pt x="435077" y="217533"/>
                  </a:lnTo>
                  <a:lnTo>
                    <a:pt x="435077" y="217533"/>
                  </a:lnTo>
                  <a:lnTo>
                    <a:pt x="435077" y="217538"/>
                  </a:lnTo>
                  <a:lnTo>
                    <a:pt x="435077" y="217542"/>
                  </a:lnTo>
                  <a:lnTo>
                    <a:pt x="435077" y="217542"/>
                  </a:lnTo>
                  <a:lnTo>
                    <a:pt x="217539" y="435071"/>
                  </a:lnTo>
                  <a:lnTo>
                    <a:pt x="217539" y="435076"/>
                  </a:lnTo>
                  <a:lnTo>
                    <a:pt x="0" y="435076"/>
                  </a:lnTo>
                  <a:lnTo>
                    <a:pt x="217539" y="217540"/>
                  </a:lnTo>
                  <a:close/>
                </a:path>
              </a:pathLst>
            </a:custGeom>
            <a:grpFill/>
            <a:ln w="27192" cap="flat">
              <a:noFill/>
              <a:prstDash val="solid"/>
              <a:miter/>
            </a:ln>
          </p:spPr>
          <p:txBody>
            <a:bodyPr rtlCol="0" anchor="ctr"/>
            <a:lstStyle/>
            <a:p>
              <a:endParaRPr lang="uk-UA" sz="900">
                <a:solidFill>
                  <a:schemeClr val="bg1"/>
                </a:solidFill>
              </a:endParaRPr>
            </a:p>
          </p:txBody>
        </p:sp>
        <p:sp>
          <p:nvSpPr>
            <p:cNvPr id="25" name="Freeform: Shape 24">
              <a:extLst>
                <a:ext uri="{FF2B5EF4-FFF2-40B4-BE49-F238E27FC236}">
                  <a16:creationId xmlns:a16="http://schemas.microsoft.com/office/drawing/2014/main" id="{7D4C893C-92A6-9A6A-AF7C-B5919C387C19}"/>
                </a:ext>
              </a:extLst>
            </p:cNvPr>
            <p:cNvSpPr/>
            <p:nvPr/>
          </p:nvSpPr>
          <p:spPr>
            <a:xfrm>
              <a:off x="16498719" y="228598"/>
              <a:ext cx="435077" cy="435078"/>
            </a:xfrm>
            <a:custGeom>
              <a:avLst/>
              <a:gdLst>
                <a:gd name="connsiteX0" fmla="*/ 0 w 435077"/>
                <a:gd name="connsiteY0" fmla="*/ 435079 h 435078"/>
                <a:gd name="connsiteX1" fmla="*/ 217510 w 435077"/>
                <a:gd name="connsiteY1" fmla="*/ 435079 h 435078"/>
                <a:gd name="connsiteX2" fmla="*/ 217510 w 435077"/>
                <a:gd name="connsiteY2" fmla="*/ 217546 h 435078"/>
                <a:gd name="connsiteX3" fmla="*/ 0 w 435077"/>
                <a:gd name="connsiteY3" fmla="*/ 435079 h 435078"/>
                <a:gd name="connsiteX4" fmla="*/ 217510 w 435077"/>
                <a:gd name="connsiteY4" fmla="*/ 0 h 435078"/>
                <a:gd name="connsiteX5" fmla="*/ 0 w 435077"/>
                <a:gd name="connsiteY5" fmla="*/ 0 h 435078"/>
                <a:gd name="connsiteX6" fmla="*/ 217510 w 435077"/>
                <a:gd name="connsiteY6" fmla="*/ 217532 h 435078"/>
                <a:gd name="connsiteX7" fmla="*/ 217510 w 435077"/>
                <a:gd name="connsiteY7" fmla="*/ 0 h 435078"/>
                <a:gd name="connsiteX8" fmla="*/ 435077 w 435077"/>
                <a:gd name="connsiteY8" fmla="*/ 435079 h 435078"/>
                <a:gd name="connsiteX9" fmla="*/ 217539 w 435077"/>
                <a:gd name="connsiteY9" fmla="*/ 435079 h 435078"/>
                <a:gd name="connsiteX10" fmla="*/ 435077 w 435077"/>
                <a:gd name="connsiteY10" fmla="*/ 217546 h 435078"/>
                <a:gd name="connsiteX11" fmla="*/ 435077 w 435077"/>
                <a:gd name="connsiteY11" fmla="*/ 435079 h 435078"/>
                <a:gd name="connsiteX12" fmla="*/ 435077 w 435077"/>
                <a:gd name="connsiteY12" fmla="*/ 0 h 435078"/>
                <a:gd name="connsiteX13" fmla="*/ 217539 w 435077"/>
                <a:gd name="connsiteY13" fmla="*/ 0 h 435078"/>
                <a:gd name="connsiteX14" fmla="*/ 435077 w 435077"/>
                <a:gd name="connsiteY14" fmla="*/ 217532 h 435078"/>
                <a:gd name="connsiteX15" fmla="*/ 435077 w 435077"/>
                <a:gd name="connsiteY15"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8">
                  <a:moveTo>
                    <a:pt x="0" y="435079"/>
                  </a:moveTo>
                  <a:lnTo>
                    <a:pt x="217510" y="435079"/>
                  </a:lnTo>
                  <a:lnTo>
                    <a:pt x="217510" y="217546"/>
                  </a:lnTo>
                  <a:lnTo>
                    <a:pt x="0" y="435079"/>
                  </a:lnTo>
                  <a:close/>
                  <a:moveTo>
                    <a:pt x="217510" y="0"/>
                  </a:moveTo>
                  <a:lnTo>
                    <a:pt x="0" y="0"/>
                  </a:lnTo>
                  <a:lnTo>
                    <a:pt x="217510" y="217532"/>
                  </a:lnTo>
                  <a:lnTo>
                    <a:pt x="217510" y="0"/>
                  </a:lnTo>
                  <a:close/>
                  <a:moveTo>
                    <a:pt x="435077" y="435079"/>
                  </a:moveTo>
                  <a:lnTo>
                    <a:pt x="217539" y="435079"/>
                  </a:lnTo>
                  <a:lnTo>
                    <a:pt x="435077" y="217546"/>
                  </a:lnTo>
                  <a:lnTo>
                    <a:pt x="435077" y="435079"/>
                  </a:lnTo>
                  <a:close/>
                  <a:moveTo>
                    <a:pt x="435077" y="0"/>
                  </a:moveTo>
                  <a:lnTo>
                    <a:pt x="217539" y="0"/>
                  </a:lnTo>
                  <a:lnTo>
                    <a:pt x="435077" y="217532"/>
                  </a:lnTo>
                  <a:lnTo>
                    <a:pt x="435077" y="0"/>
                  </a:lnTo>
                  <a:close/>
                </a:path>
              </a:pathLst>
            </a:custGeom>
            <a:grpFill/>
            <a:ln w="27192" cap="flat">
              <a:noFill/>
              <a:prstDash val="solid"/>
              <a:miter/>
            </a:ln>
          </p:spPr>
          <p:txBody>
            <a:bodyPr rtlCol="0" anchor="ctr"/>
            <a:lstStyle/>
            <a:p>
              <a:endParaRPr lang="uk-UA" sz="900">
                <a:solidFill>
                  <a:schemeClr val="bg1"/>
                </a:solidFill>
              </a:endParaRPr>
            </a:p>
          </p:txBody>
        </p:sp>
        <p:sp>
          <p:nvSpPr>
            <p:cNvPr id="26" name="Freeform: Shape 25">
              <a:extLst>
                <a:ext uri="{FF2B5EF4-FFF2-40B4-BE49-F238E27FC236}">
                  <a16:creationId xmlns:a16="http://schemas.microsoft.com/office/drawing/2014/main" id="{CC6C1D05-DC23-9994-8D90-4B13D8C793D2}"/>
                </a:ext>
              </a:extLst>
            </p:cNvPr>
            <p:cNvSpPr/>
            <p:nvPr/>
          </p:nvSpPr>
          <p:spPr>
            <a:xfrm>
              <a:off x="18239029" y="228598"/>
              <a:ext cx="435077" cy="435073"/>
            </a:xfrm>
            <a:custGeom>
              <a:avLst/>
              <a:gdLst>
                <a:gd name="connsiteX0" fmla="*/ 371365 w 435077"/>
                <a:gd name="connsiteY0" fmla="*/ 63716 h 435073"/>
                <a:gd name="connsiteX1" fmla="*/ 435077 w 435077"/>
                <a:gd name="connsiteY1" fmla="*/ 217539 h 435073"/>
                <a:gd name="connsiteX2" fmla="*/ 218953 w 435077"/>
                <a:gd name="connsiteY2" fmla="*/ 217539 h 435073"/>
                <a:gd name="connsiteX3" fmla="*/ 371365 w 435077"/>
                <a:gd name="connsiteY3" fmla="*/ 281249 h 435073"/>
                <a:gd name="connsiteX4" fmla="*/ 435077 w 435077"/>
                <a:gd name="connsiteY4" fmla="*/ 435073 h 435073"/>
                <a:gd name="connsiteX5" fmla="*/ 217539 w 435077"/>
                <a:gd name="connsiteY5" fmla="*/ 435073 h 435073"/>
                <a:gd name="connsiteX6" fmla="*/ 0 w 435077"/>
                <a:gd name="connsiteY6" fmla="*/ 435073 h 435073"/>
                <a:gd name="connsiteX7" fmla="*/ 63710 w 435077"/>
                <a:gd name="connsiteY7" fmla="*/ 281249 h 435073"/>
                <a:gd name="connsiteX8" fmla="*/ 216151 w 435077"/>
                <a:gd name="connsiteY8" fmla="*/ 217539 h 435073"/>
                <a:gd name="connsiteX9" fmla="*/ 0 w 435077"/>
                <a:gd name="connsiteY9" fmla="*/ 217539 h 435073"/>
                <a:gd name="connsiteX10" fmla="*/ 63710 w 435077"/>
                <a:gd name="connsiteY10" fmla="*/ 63716 h 435073"/>
                <a:gd name="connsiteX11" fmla="*/ 217539 w 435077"/>
                <a:gd name="connsiteY11" fmla="*/ 0 h 435073"/>
                <a:gd name="connsiteX12" fmla="*/ 371365 w 435077"/>
                <a:gd name="connsiteY12" fmla="*/ 63716 h 43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3">
                  <a:moveTo>
                    <a:pt x="371365" y="63716"/>
                  </a:moveTo>
                  <a:cubicBezTo>
                    <a:pt x="412154" y="104512"/>
                    <a:pt x="435077" y="159844"/>
                    <a:pt x="435077" y="217539"/>
                  </a:cubicBezTo>
                  <a:lnTo>
                    <a:pt x="218953" y="217539"/>
                  </a:lnTo>
                  <a:cubicBezTo>
                    <a:pt x="276137" y="217907"/>
                    <a:pt x="330904" y="240784"/>
                    <a:pt x="371365" y="281249"/>
                  </a:cubicBezTo>
                  <a:cubicBezTo>
                    <a:pt x="412154" y="322046"/>
                    <a:pt x="435077" y="377379"/>
                    <a:pt x="435077" y="435073"/>
                  </a:cubicBezTo>
                  <a:lnTo>
                    <a:pt x="217539" y="435073"/>
                  </a:lnTo>
                  <a:lnTo>
                    <a:pt x="0" y="435073"/>
                  </a:lnTo>
                  <a:cubicBezTo>
                    <a:pt x="0" y="377379"/>
                    <a:pt x="22922" y="322046"/>
                    <a:pt x="63710" y="281249"/>
                  </a:cubicBezTo>
                  <a:cubicBezTo>
                    <a:pt x="104200" y="240784"/>
                    <a:pt x="158967" y="217907"/>
                    <a:pt x="216151" y="217539"/>
                  </a:cubicBezTo>
                  <a:lnTo>
                    <a:pt x="0" y="217539"/>
                  </a:lnTo>
                  <a:cubicBezTo>
                    <a:pt x="0" y="159844"/>
                    <a:pt x="22922" y="104512"/>
                    <a:pt x="63710" y="63716"/>
                  </a:cubicBezTo>
                  <a:cubicBezTo>
                    <a:pt x="104527" y="22919"/>
                    <a:pt x="159836" y="0"/>
                    <a:pt x="217539" y="0"/>
                  </a:cubicBezTo>
                  <a:cubicBezTo>
                    <a:pt x="275241" y="0"/>
                    <a:pt x="330577" y="22919"/>
                    <a:pt x="371365" y="63716"/>
                  </a:cubicBezTo>
                  <a:close/>
                </a:path>
              </a:pathLst>
            </a:custGeom>
            <a:grpFill/>
            <a:ln w="27192" cap="flat">
              <a:noFill/>
              <a:prstDash val="solid"/>
              <a:miter/>
            </a:ln>
          </p:spPr>
          <p:txBody>
            <a:bodyPr rtlCol="0" anchor="ctr"/>
            <a:lstStyle/>
            <a:p>
              <a:endParaRPr lang="uk-UA" sz="900">
                <a:solidFill>
                  <a:schemeClr val="bg1"/>
                </a:solidFill>
              </a:endParaRPr>
            </a:p>
          </p:txBody>
        </p:sp>
        <p:sp>
          <p:nvSpPr>
            <p:cNvPr id="27" name="Freeform: Shape 26">
              <a:extLst>
                <a:ext uri="{FF2B5EF4-FFF2-40B4-BE49-F238E27FC236}">
                  <a16:creationId xmlns:a16="http://schemas.microsoft.com/office/drawing/2014/main" id="{6C4D66F2-D260-13B1-DBF7-60E32D95153D}"/>
                </a:ext>
              </a:extLst>
            </p:cNvPr>
            <p:cNvSpPr/>
            <p:nvPr/>
          </p:nvSpPr>
          <p:spPr>
            <a:xfrm>
              <a:off x="17368874" y="228598"/>
              <a:ext cx="435077" cy="435078"/>
            </a:xfrm>
            <a:custGeom>
              <a:avLst/>
              <a:gdLst>
                <a:gd name="connsiteX0" fmla="*/ 217539 w 435077"/>
                <a:gd name="connsiteY0" fmla="*/ 0 h 435078"/>
                <a:gd name="connsiteX1" fmla="*/ 0 w 435077"/>
                <a:gd name="connsiteY1" fmla="*/ 0 h 435078"/>
                <a:gd name="connsiteX2" fmla="*/ 0 w 435077"/>
                <a:gd name="connsiteY2" fmla="*/ 217539 h 435078"/>
                <a:gd name="connsiteX3" fmla="*/ 217539 w 435077"/>
                <a:gd name="connsiteY3" fmla="*/ 0 h 435078"/>
                <a:gd name="connsiteX4" fmla="*/ 435077 w 435077"/>
                <a:gd name="connsiteY4" fmla="*/ 0 h 435078"/>
                <a:gd name="connsiteX5" fmla="*/ 435077 w 435077"/>
                <a:gd name="connsiteY5" fmla="*/ 217539 h 435078"/>
                <a:gd name="connsiteX6" fmla="*/ 217539 w 435077"/>
                <a:gd name="connsiteY6" fmla="*/ 0 h 435078"/>
                <a:gd name="connsiteX7" fmla="*/ 435077 w 435077"/>
                <a:gd name="connsiteY7" fmla="*/ 0 h 435078"/>
                <a:gd name="connsiteX8" fmla="*/ 217539 w 435077"/>
                <a:gd name="connsiteY8" fmla="*/ 435079 h 435078"/>
                <a:gd name="connsiteX9" fmla="*/ 435077 w 435077"/>
                <a:gd name="connsiteY9" fmla="*/ 217539 h 435078"/>
                <a:gd name="connsiteX10" fmla="*/ 435077 w 435077"/>
                <a:gd name="connsiteY10" fmla="*/ 435079 h 435078"/>
                <a:gd name="connsiteX11" fmla="*/ 217539 w 435077"/>
                <a:gd name="connsiteY11" fmla="*/ 435079 h 435078"/>
                <a:gd name="connsiteX12" fmla="*/ 217539 w 435077"/>
                <a:gd name="connsiteY12" fmla="*/ 435079 h 435078"/>
                <a:gd name="connsiteX13" fmla="*/ 0 w 435077"/>
                <a:gd name="connsiteY13" fmla="*/ 217539 h 435078"/>
                <a:gd name="connsiteX14" fmla="*/ 0 w 435077"/>
                <a:gd name="connsiteY14" fmla="*/ 435079 h 435078"/>
                <a:gd name="connsiteX15" fmla="*/ 217539 w 435077"/>
                <a:gd name="connsiteY15" fmla="*/ 435079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8">
                  <a:moveTo>
                    <a:pt x="217539" y="0"/>
                  </a:moveTo>
                  <a:lnTo>
                    <a:pt x="0" y="0"/>
                  </a:lnTo>
                  <a:lnTo>
                    <a:pt x="0" y="217539"/>
                  </a:lnTo>
                  <a:lnTo>
                    <a:pt x="217539" y="0"/>
                  </a:lnTo>
                  <a:close/>
                  <a:moveTo>
                    <a:pt x="435077" y="0"/>
                  </a:moveTo>
                  <a:lnTo>
                    <a:pt x="435077" y="217539"/>
                  </a:lnTo>
                  <a:lnTo>
                    <a:pt x="217539" y="0"/>
                  </a:lnTo>
                  <a:lnTo>
                    <a:pt x="435077" y="0"/>
                  </a:lnTo>
                  <a:close/>
                  <a:moveTo>
                    <a:pt x="217539" y="435079"/>
                  </a:moveTo>
                  <a:lnTo>
                    <a:pt x="435077" y="217539"/>
                  </a:lnTo>
                  <a:lnTo>
                    <a:pt x="435077" y="435079"/>
                  </a:lnTo>
                  <a:lnTo>
                    <a:pt x="217539" y="435079"/>
                  </a:lnTo>
                  <a:close/>
                  <a:moveTo>
                    <a:pt x="217539" y="435079"/>
                  </a:moveTo>
                  <a:lnTo>
                    <a:pt x="0" y="217539"/>
                  </a:lnTo>
                  <a:lnTo>
                    <a:pt x="0" y="435079"/>
                  </a:lnTo>
                  <a:lnTo>
                    <a:pt x="217539" y="435079"/>
                  </a:lnTo>
                  <a:close/>
                </a:path>
              </a:pathLst>
            </a:custGeom>
            <a:grpFill/>
            <a:ln w="27192" cap="flat">
              <a:noFill/>
              <a:prstDash val="solid"/>
              <a:miter/>
            </a:ln>
          </p:spPr>
          <p:txBody>
            <a:bodyPr rtlCol="0" anchor="ctr"/>
            <a:lstStyle/>
            <a:p>
              <a:endParaRPr lang="uk-UA" sz="900">
                <a:solidFill>
                  <a:schemeClr val="bg1"/>
                </a:solidFill>
              </a:endParaRPr>
            </a:p>
          </p:txBody>
        </p:sp>
        <p:sp>
          <p:nvSpPr>
            <p:cNvPr id="28" name="Freeform: Shape 27">
              <a:extLst>
                <a:ext uri="{FF2B5EF4-FFF2-40B4-BE49-F238E27FC236}">
                  <a16:creationId xmlns:a16="http://schemas.microsoft.com/office/drawing/2014/main" id="{7E49B427-6793-F3E2-862F-ED105B01822C}"/>
                </a:ext>
              </a:extLst>
            </p:cNvPr>
            <p:cNvSpPr/>
            <p:nvPr/>
          </p:nvSpPr>
          <p:spPr>
            <a:xfrm>
              <a:off x="19109210" y="228598"/>
              <a:ext cx="435077" cy="435075"/>
            </a:xfrm>
            <a:custGeom>
              <a:avLst/>
              <a:gdLst>
                <a:gd name="connsiteX0" fmla="*/ 217539 w 435077"/>
                <a:gd name="connsiteY0" fmla="*/ 217533 h 435075"/>
                <a:gd name="connsiteX1" fmla="*/ 217539 w 435077"/>
                <a:gd name="connsiteY1" fmla="*/ 0 h 435075"/>
                <a:gd name="connsiteX2" fmla="*/ 0 w 435077"/>
                <a:gd name="connsiteY2" fmla="*/ 0 h 435075"/>
                <a:gd name="connsiteX3" fmla="*/ 217539 w 435077"/>
                <a:gd name="connsiteY3" fmla="*/ 217538 h 435075"/>
                <a:gd name="connsiteX4" fmla="*/ 0 w 435077"/>
                <a:gd name="connsiteY4" fmla="*/ 435076 h 435075"/>
                <a:gd name="connsiteX5" fmla="*/ 217539 w 435077"/>
                <a:gd name="connsiteY5" fmla="*/ 435076 h 435075"/>
                <a:gd name="connsiteX6" fmla="*/ 217539 w 435077"/>
                <a:gd name="connsiteY6" fmla="*/ 435071 h 435075"/>
                <a:gd name="connsiteX7" fmla="*/ 435051 w 435077"/>
                <a:gd name="connsiteY7" fmla="*/ 217542 h 435075"/>
                <a:gd name="connsiteX8" fmla="*/ 435077 w 435077"/>
                <a:gd name="connsiteY8" fmla="*/ 217542 h 435075"/>
                <a:gd name="connsiteX9" fmla="*/ 435051 w 435077"/>
                <a:gd name="connsiteY9" fmla="*/ 217537 h 435075"/>
                <a:gd name="connsiteX10" fmla="*/ 435077 w 435077"/>
                <a:gd name="connsiteY10" fmla="*/ 217533 h 435075"/>
                <a:gd name="connsiteX11" fmla="*/ 435051 w 435077"/>
                <a:gd name="connsiteY11" fmla="*/ 217533 h 435075"/>
                <a:gd name="connsiteX12" fmla="*/ 217539 w 435077"/>
                <a:gd name="connsiteY12" fmla="*/ 4 h 435075"/>
                <a:gd name="connsiteX13" fmla="*/ 217539 w 435077"/>
                <a:gd name="connsiteY13" fmla="*/ 217533 h 435075"/>
                <a:gd name="connsiteX14" fmla="*/ 217539 w 435077"/>
                <a:gd name="connsiteY14" fmla="*/ 217533 h 43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5">
                  <a:moveTo>
                    <a:pt x="217539" y="217533"/>
                  </a:moveTo>
                  <a:lnTo>
                    <a:pt x="217539" y="0"/>
                  </a:lnTo>
                  <a:lnTo>
                    <a:pt x="0" y="0"/>
                  </a:lnTo>
                  <a:lnTo>
                    <a:pt x="217539" y="217538"/>
                  </a:lnTo>
                  <a:lnTo>
                    <a:pt x="0" y="435076"/>
                  </a:lnTo>
                  <a:lnTo>
                    <a:pt x="217539" y="435076"/>
                  </a:lnTo>
                  <a:lnTo>
                    <a:pt x="217539" y="435071"/>
                  </a:lnTo>
                  <a:lnTo>
                    <a:pt x="435051" y="217542"/>
                  </a:lnTo>
                  <a:lnTo>
                    <a:pt x="435077" y="217542"/>
                  </a:lnTo>
                  <a:lnTo>
                    <a:pt x="435051" y="217537"/>
                  </a:lnTo>
                  <a:lnTo>
                    <a:pt x="435077" y="217533"/>
                  </a:lnTo>
                  <a:lnTo>
                    <a:pt x="435051" y="217533"/>
                  </a:lnTo>
                  <a:lnTo>
                    <a:pt x="217539" y="4"/>
                  </a:lnTo>
                  <a:lnTo>
                    <a:pt x="217539" y="217533"/>
                  </a:lnTo>
                  <a:lnTo>
                    <a:pt x="217539" y="217533"/>
                  </a:lnTo>
                  <a:close/>
                </a:path>
              </a:pathLst>
            </a:custGeom>
            <a:grpFill/>
            <a:ln w="27192" cap="flat">
              <a:noFill/>
              <a:prstDash val="solid"/>
              <a:miter/>
            </a:ln>
          </p:spPr>
          <p:txBody>
            <a:bodyPr rtlCol="0" anchor="ctr"/>
            <a:lstStyle/>
            <a:p>
              <a:endParaRPr lang="uk-UA" sz="900">
                <a:solidFill>
                  <a:schemeClr val="bg1"/>
                </a:solidFill>
              </a:endParaRPr>
            </a:p>
          </p:txBody>
        </p:sp>
        <p:sp>
          <p:nvSpPr>
            <p:cNvPr id="29" name="Freeform: Shape 28">
              <a:extLst>
                <a:ext uri="{FF2B5EF4-FFF2-40B4-BE49-F238E27FC236}">
                  <a16:creationId xmlns:a16="http://schemas.microsoft.com/office/drawing/2014/main" id="{C72916F0-3F5F-8188-423A-BCBE44B2DF09}"/>
                </a:ext>
              </a:extLst>
            </p:cNvPr>
            <p:cNvSpPr/>
            <p:nvPr/>
          </p:nvSpPr>
          <p:spPr>
            <a:xfrm>
              <a:off x="19979365" y="228598"/>
              <a:ext cx="435077" cy="435067"/>
            </a:xfrm>
            <a:custGeom>
              <a:avLst/>
              <a:gdLst>
                <a:gd name="connsiteX0" fmla="*/ 0 w 435077"/>
                <a:gd name="connsiteY0" fmla="*/ 435068 h 435067"/>
                <a:gd name="connsiteX1" fmla="*/ 217539 w 435077"/>
                <a:gd name="connsiteY1" fmla="*/ 435068 h 435067"/>
                <a:gd name="connsiteX2" fmla="*/ 217539 w 435077"/>
                <a:gd name="connsiteY2" fmla="*/ 217535 h 435067"/>
                <a:gd name="connsiteX3" fmla="*/ 0 w 435077"/>
                <a:gd name="connsiteY3" fmla="*/ 435068 h 435067"/>
                <a:gd name="connsiteX4" fmla="*/ 217539 w 435077"/>
                <a:gd name="connsiteY4" fmla="*/ 0 h 435067"/>
                <a:gd name="connsiteX5" fmla="*/ 0 w 435077"/>
                <a:gd name="connsiteY5" fmla="*/ 0 h 435067"/>
                <a:gd name="connsiteX6" fmla="*/ 217539 w 435077"/>
                <a:gd name="connsiteY6" fmla="*/ 217532 h 435067"/>
                <a:gd name="connsiteX7" fmla="*/ 217539 w 435077"/>
                <a:gd name="connsiteY7" fmla="*/ 0 h 435067"/>
                <a:gd name="connsiteX8" fmla="*/ 435077 w 435077"/>
                <a:gd name="connsiteY8" fmla="*/ 435068 h 435067"/>
                <a:gd name="connsiteX9" fmla="*/ 217539 w 435077"/>
                <a:gd name="connsiteY9" fmla="*/ 435068 h 435067"/>
                <a:gd name="connsiteX10" fmla="*/ 435077 w 435077"/>
                <a:gd name="connsiteY10" fmla="*/ 217535 h 435067"/>
                <a:gd name="connsiteX11" fmla="*/ 435077 w 435077"/>
                <a:gd name="connsiteY11" fmla="*/ 435068 h 435067"/>
                <a:gd name="connsiteX12" fmla="*/ 435077 w 435077"/>
                <a:gd name="connsiteY12" fmla="*/ 0 h 435067"/>
                <a:gd name="connsiteX13" fmla="*/ 217539 w 435077"/>
                <a:gd name="connsiteY13" fmla="*/ 0 h 435067"/>
                <a:gd name="connsiteX14" fmla="*/ 435077 w 435077"/>
                <a:gd name="connsiteY14" fmla="*/ 217532 h 435067"/>
                <a:gd name="connsiteX15" fmla="*/ 435077 w 435077"/>
                <a:gd name="connsiteY15" fmla="*/ 0 h 435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67">
                  <a:moveTo>
                    <a:pt x="0" y="435068"/>
                  </a:moveTo>
                  <a:lnTo>
                    <a:pt x="217539" y="435068"/>
                  </a:lnTo>
                  <a:lnTo>
                    <a:pt x="217539" y="217535"/>
                  </a:lnTo>
                  <a:lnTo>
                    <a:pt x="0" y="435068"/>
                  </a:lnTo>
                  <a:close/>
                  <a:moveTo>
                    <a:pt x="217539" y="0"/>
                  </a:moveTo>
                  <a:lnTo>
                    <a:pt x="0" y="0"/>
                  </a:lnTo>
                  <a:lnTo>
                    <a:pt x="217539" y="217532"/>
                  </a:lnTo>
                  <a:lnTo>
                    <a:pt x="217539" y="0"/>
                  </a:lnTo>
                  <a:close/>
                  <a:moveTo>
                    <a:pt x="435077" y="435068"/>
                  </a:moveTo>
                  <a:lnTo>
                    <a:pt x="217539" y="435068"/>
                  </a:lnTo>
                  <a:lnTo>
                    <a:pt x="435077" y="217535"/>
                  </a:lnTo>
                  <a:lnTo>
                    <a:pt x="435077" y="435068"/>
                  </a:lnTo>
                  <a:close/>
                  <a:moveTo>
                    <a:pt x="435077" y="0"/>
                  </a:moveTo>
                  <a:lnTo>
                    <a:pt x="217539" y="0"/>
                  </a:lnTo>
                  <a:lnTo>
                    <a:pt x="435077" y="217532"/>
                  </a:lnTo>
                  <a:lnTo>
                    <a:pt x="435077" y="0"/>
                  </a:lnTo>
                  <a:close/>
                </a:path>
              </a:pathLst>
            </a:custGeom>
            <a:grpFill/>
            <a:ln w="27192" cap="flat">
              <a:noFill/>
              <a:prstDash val="solid"/>
              <a:miter/>
            </a:ln>
          </p:spPr>
          <p:txBody>
            <a:bodyPr rtlCol="0" anchor="ctr"/>
            <a:lstStyle/>
            <a:p>
              <a:endParaRPr lang="uk-UA" sz="900">
                <a:solidFill>
                  <a:schemeClr val="bg1"/>
                </a:solidFill>
              </a:endParaRPr>
            </a:p>
          </p:txBody>
        </p:sp>
        <p:sp>
          <p:nvSpPr>
            <p:cNvPr id="30" name="Freeform: Shape 29">
              <a:extLst>
                <a:ext uri="{FF2B5EF4-FFF2-40B4-BE49-F238E27FC236}">
                  <a16:creationId xmlns:a16="http://schemas.microsoft.com/office/drawing/2014/main" id="{0809FF90-8CA7-1245-C767-1038E84C8614}"/>
                </a:ext>
              </a:extLst>
            </p:cNvPr>
            <p:cNvSpPr/>
            <p:nvPr/>
          </p:nvSpPr>
          <p:spPr>
            <a:xfrm>
              <a:off x="21719702" y="228598"/>
              <a:ext cx="435077" cy="435073"/>
            </a:xfrm>
            <a:custGeom>
              <a:avLst/>
              <a:gdLst>
                <a:gd name="connsiteX0" fmla="*/ 371339 w 435077"/>
                <a:gd name="connsiteY0" fmla="*/ 63716 h 435073"/>
                <a:gd name="connsiteX1" fmla="*/ 435077 w 435077"/>
                <a:gd name="connsiteY1" fmla="*/ 217539 h 435073"/>
                <a:gd name="connsiteX2" fmla="*/ 218926 w 435077"/>
                <a:gd name="connsiteY2" fmla="*/ 217539 h 435073"/>
                <a:gd name="connsiteX3" fmla="*/ 371367 w 435077"/>
                <a:gd name="connsiteY3" fmla="*/ 281249 h 435073"/>
                <a:gd name="connsiteX4" fmla="*/ 435077 w 435077"/>
                <a:gd name="connsiteY4" fmla="*/ 435073 h 435073"/>
                <a:gd name="connsiteX5" fmla="*/ 217539 w 435077"/>
                <a:gd name="connsiteY5" fmla="*/ 435073 h 435073"/>
                <a:gd name="connsiteX6" fmla="*/ 0 w 435077"/>
                <a:gd name="connsiteY6" fmla="*/ 435073 h 435073"/>
                <a:gd name="connsiteX7" fmla="*/ 63712 w 435077"/>
                <a:gd name="connsiteY7" fmla="*/ 281249 h 435073"/>
                <a:gd name="connsiteX8" fmla="*/ 216125 w 435077"/>
                <a:gd name="connsiteY8" fmla="*/ 217539 h 435073"/>
                <a:gd name="connsiteX9" fmla="*/ 0 w 435077"/>
                <a:gd name="connsiteY9" fmla="*/ 217539 h 435073"/>
                <a:gd name="connsiteX10" fmla="*/ 63712 w 435077"/>
                <a:gd name="connsiteY10" fmla="*/ 63716 h 435073"/>
                <a:gd name="connsiteX11" fmla="*/ 217539 w 435077"/>
                <a:gd name="connsiteY11" fmla="*/ 0 h 435073"/>
                <a:gd name="connsiteX12" fmla="*/ 371339 w 435077"/>
                <a:gd name="connsiteY12" fmla="*/ 63716 h 43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3">
                  <a:moveTo>
                    <a:pt x="371339" y="63716"/>
                  </a:moveTo>
                  <a:cubicBezTo>
                    <a:pt x="412155" y="104512"/>
                    <a:pt x="435077" y="159844"/>
                    <a:pt x="435077" y="217539"/>
                  </a:cubicBezTo>
                  <a:lnTo>
                    <a:pt x="218926" y="217539"/>
                  </a:lnTo>
                  <a:cubicBezTo>
                    <a:pt x="276112" y="217907"/>
                    <a:pt x="330877" y="240784"/>
                    <a:pt x="371367" y="281249"/>
                  </a:cubicBezTo>
                  <a:cubicBezTo>
                    <a:pt x="412155" y="322046"/>
                    <a:pt x="435077" y="377379"/>
                    <a:pt x="435077" y="435073"/>
                  </a:cubicBezTo>
                  <a:lnTo>
                    <a:pt x="217539" y="435073"/>
                  </a:lnTo>
                  <a:lnTo>
                    <a:pt x="0" y="435073"/>
                  </a:lnTo>
                  <a:cubicBezTo>
                    <a:pt x="0" y="377379"/>
                    <a:pt x="22924" y="322046"/>
                    <a:pt x="63712" y="281249"/>
                  </a:cubicBezTo>
                  <a:cubicBezTo>
                    <a:pt x="104175" y="240784"/>
                    <a:pt x="158940" y="217907"/>
                    <a:pt x="216125" y="217539"/>
                  </a:cubicBezTo>
                  <a:lnTo>
                    <a:pt x="0" y="217539"/>
                  </a:lnTo>
                  <a:cubicBezTo>
                    <a:pt x="0" y="159844"/>
                    <a:pt x="22897" y="104512"/>
                    <a:pt x="63712" y="63716"/>
                  </a:cubicBezTo>
                  <a:cubicBezTo>
                    <a:pt x="104501" y="22919"/>
                    <a:pt x="159838" y="0"/>
                    <a:pt x="217539" y="0"/>
                  </a:cubicBezTo>
                  <a:cubicBezTo>
                    <a:pt x="275215" y="0"/>
                    <a:pt x="330550" y="22919"/>
                    <a:pt x="371339" y="63716"/>
                  </a:cubicBezTo>
                  <a:close/>
                </a:path>
              </a:pathLst>
            </a:custGeom>
            <a:grpFill/>
            <a:ln w="27192" cap="flat">
              <a:noFill/>
              <a:prstDash val="solid"/>
              <a:miter/>
            </a:ln>
          </p:spPr>
          <p:txBody>
            <a:bodyPr rtlCol="0" anchor="ctr"/>
            <a:lstStyle/>
            <a:p>
              <a:endParaRPr lang="uk-UA" sz="900">
                <a:solidFill>
                  <a:schemeClr val="bg1"/>
                </a:solidFill>
              </a:endParaRPr>
            </a:p>
          </p:txBody>
        </p:sp>
        <p:sp>
          <p:nvSpPr>
            <p:cNvPr id="31" name="Freeform: Shape 30">
              <a:extLst>
                <a:ext uri="{FF2B5EF4-FFF2-40B4-BE49-F238E27FC236}">
                  <a16:creationId xmlns:a16="http://schemas.microsoft.com/office/drawing/2014/main" id="{B92D25AD-C22F-56A4-2974-FAF592984C99}"/>
                </a:ext>
              </a:extLst>
            </p:cNvPr>
            <p:cNvSpPr/>
            <p:nvPr/>
          </p:nvSpPr>
          <p:spPr>
            <a:xfrm>
              <a:off x="20849520" y="228598"/>
              <a:ext cx="435103" cy="435078"/>
            </a:xfrm>
            <a:custGeom>
              <a:avLst/>
              <a:gdLst>
                <a:gd name="connsiteX0" fmla="*/ 217539 w 435103"/>
                <a:gd name="connsiteY0" fmla="*/ 0 h 435078"/>
                <a:gd name="connsiteX1" fmla="*/ 0 w 435103"/>
                <a:gd name="connsiteY1" fmla="*/ 0 h 435078"/>
                <a:gd name="connsiteX2" fmla="*/ 0 w 435103"/>
                <a:gd name="connsiteY2" fmla="*/ 217539 h 435078"/>
                <a:gd name="connsiteX3" fmla="*/ 217539 w 435103"/>
                <a:gd name="connsiteY3" fmla="*/ 0 h 435078"/>
                <a:gd name="connsiteX4" fmla="*/ 435104 w 435103"/>
                <a:gd name="connsiteY4" fmla="*/ 0 h 435078"/>
                <a:gd name="connsiteX5" fmla="*/ 435104 w 435103"/>
                <a:gd name="connsiteY5" fmla="*/ 217539 h 435078"/>
                <a:gd name="connsiteX6" fmla="*/ 217565 w 435103"/>
                <a:gd name="connsiteY6" fmla="*/ 0 h 435078"/>
                <a:gd name="connsiteX7" fmla="*/ 435104 w 435103"/>
                <a:gd name="connsiteY7" fmla="*/ 0 h 435078"/>
                <a:gd name="connsiteX8" fmla="*/ 217565 w 435103"/>
                <a:gd name="connsiteY8" fmla="*/ 435079 h 435078"/>
                <a:gd name="connsiteX9" fmla="*/ 435104 w 435103"/>
                <a:gd name="connsiteY9" fmla="*/ 217539 h 435078"/>
                <a:gd name="connsiteX10" fmla="*/ 435104 w 435103"/>
                <a:gd name="connsiteY10" fmla="*/ 435079 h 435078"/>
                <a:gd name="connsiteX11" fmla="*/ 217565 w 435103"/>
                <a:gd name="connsiteY11" fmla="*/ 435079 h 435078"/>
                <a:gd name="connsiteX12" fmla="*/ 217565 w 435103"/>
                <a:gd name="connsiteY12" fmla="*/ 435079 h 435078"/>
                <a:gd name="connsiteX13" fmla="*/ 27 w 435103"/>
                <a:gd name="connsiteY13" fmla="*/ 217539 h 435078"/>
                <a:gd name="connsiteX14" fmla="*/ 27 w 435103"/>
                <a:gd name="connsiteY14" fmla="*/ 435079 h 435078"/>
                <a:gd name="connsiteX15" fmla="*/ 217565 w 435103"/>
                <a:gd name="connsiteY15" fmla="*/ 435079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3" h="435078">
                  <a:moveTo>
                    <a:pt x="217539" y="0"/>
                  </a:moveTo>
                  <a:lnTo>
                    <a:pt x="0" y="0"/>
                  </a:lnTo>
                  <a:lnTo>
                    <a:pt x="0" y="217539"/>
                  </a:lnTo>
                  <a:lnTo>
                    <a:pt x="217539" y="0"/>
                  </a:lnTo>
                  <a:close/>
                  <a:moveTo>
                    <a:pt x="435104" y="0"/>
                  </a:moveTo>
                  <a:lnTo>
                    <a:pt x="435104" y="217539"/>
                  </a:lnTo>
                  <a:lnTo>
                    <a:pt x="217565" y="0"/>
                  </a:lnTo>
                  <a:lnTo>
                    <a:pt x="435104" y="0"/>
                  </a:lnTo>
                  <a:close/>
                  <a:moveTo>
                    <a:pt x="217565" y="435079"/>
                  </a:moveTo>
                  <a:lnTo>
                    <a:pt x="435104" y="217539"/>
                  </a:lnTo>
                  <a:lnTo>
                    <a:pt x="435104" y="435079"/>
                  </a:lnTo>
                  <a:lnTo>
                    <a:pt x="217565" y="435079"/>
                  </a:lnTo>
                  <a:close/>
                  <a:moveTo>
                    <a:pt x="217565" y="435079"/>
                  </a:moveTo>
                  <a:lnTo>
                    <a:pt x="27" y="217539"/>
                  </a:lnTo>
                  <a:lnTo>
                    <a:pt x="27" y="435079"/>
                  </a:lnTo>
                  <a:lnTo>
                    <a:pt x="217565" y="435079"/>
                  </a:lnTo>
                  <a:close/>
                </a:path>
              </a:pathLst>
            </a:custGeom>
            <a:grpFill/>
            <a:ln w="27192" cap="flat">
              <a:noFill/>
              <a:prstDash val="solid"/>
              <a:miter/>
            </a:ln>
          </p:spPr>
          <p:txBody>
            <a:bodyPr rtlCol="0" anchor="ctr"/>
            <a:lstStyle/>
            <a:p>
              <a:endParaRPr lang="uk-UA" sz="900">
                <a:solidFill>
                  <a:schemeClr val="bg1"/>
                </a:solidFill>
              </a:endParaRPr>
            </a:p>
          </p:txBody>
        </p:sp>
        <p:sp>
          <p:nvSpPr>
            <p:cNvPr id="32" name="Freeform: Shape 31">
              <a:extLst>
                <a:ext uri="{FF2B5EF4-FFF2-40B4-BE49-F238E27FC236}">
                  <a16:creationId xmlns:a16="http://schemas.microsoft.com/office/drawing/2014/main" id="{01905C17-2FA1-44B3-4179-4EDE6C59D668}"/>
                </a:ext>
              </a:extLst>
            </p:cNvPr>
            <p:cNvSpPr/>
            <p:nvPr/>
          </p:nvSpPr>
          <p:spPr>
            <a:xfrm>
              <a:off x="22589856" y="228598"/>
              <a:ext cx="435077" cy="435075"/>
            </a:xfrm>
            <a:custGeom>
              <a:avLst/>
              <a:gdLst>
                <a:gd name="connsiteX0" fmla="*/ 217539 w 435077"/>
                <a:gd name="connsiteY0" fmla="*/ 217533 h 435075"/>
                <a:gd name="connsiteX1" fmla="*/ 217539 w 435077"/>
                <a:gd name="connsiteY1" fmla="*/ 0 h 435075"/>
                <a:gd name="connsiteX2" fmla="*/ 0 w 435077"/>
                <a:gd name="connsiteY2" fmla="*/ 0 h 435075"/>
                <a:gd name="connsiteX3" fmla="*/ 217539 w 435077"/>
                <a:gd name="connsiteY3" fmla="*/ 217538 h 435075"/>
                <a:gd name="connsiteX4" fmla="*/ 0 w 435077"/>
                <a:gd name="connsiteY4" fmla="*/ 435076 h 435075"/>
                <a:gd name="connsiteX5" fmla="*/ 217539 w 435077"/>
                <a:gd name="connsiteY5" fmla="*/ 435076 h 435075"/>
                <a:gd name="connsiteX6" fmla="*/ 217539 w 435077"/>
                <a:gd name="connsiteY6" fmla="*/ 435071 h 435075"/>
                <a:gd name="connsiteX7" fmla="*/ 435077 w 435077"/>
                <a:gd name="connsiteY7" fmla="*/ 217542 h 435075"/>
                <a:gd name="connsiteX8" fmla="*/ 435077 w 435077"/>
                <a:gd name="connsiteY8" fmla="*/ 217542 h 435075"/>
                <a:gd name="connsiteX9" fmla="*/ 435077 w 435077"/>
                <a:gd name="connsiteY9" fmla="*/ 217537 h 435075"/>
                <a:gd name="connsiteX10" fmla="*/ 435077 w 435077"/>
                <a:gd name="connsiteY10" fmla="*/ 217533 h 435075"/>
                <a:gd name="connsiteX11" fmla="*/ 435077 w 435077"/>
                <a:gd name="connsiteY11" fmla="*/ 217533 h 435075"/>
                <a:gd name="connsiteX12" fmla="*/ 217539 w 435077"/>
                <a:gd name="connsiteY12" fmla="*/ 4 h 435075"/>
                <a:gd name="connsiteX13" fmla="*/ 217539 w 435077"/>
                <a:gd name="connsiteY13" fmla="*/ 217533 h 435075"/>
                <a:gd name="connsiteX14" fmla="*/ 217539 w 435077"/>
                <a:gd name="connsiteY14" fmla="*/ 217533 h 43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5">
                  <a:moveTo>
                    <a:pt x="217539" y="217533"/>
                  </a:moveTo>
                  <a:lnTo>
                    <a:pt x="217539" y="0"/>
                  </a:lnTo>
                  <a:lnTo>
                    <a:pt x="0" y="0"/>
                  </a:lnTo>
                  <a:lnTo>
                    <a:pt x="217539" y="217538"/>
                  </a:lnTo>
                  <a:lnTo>
                    <a:pt x="0" y="435076"/>
                  </a:lnTo>
                  <a:lnTo>
                    <a:pt x="217539" y="435076"/>
                  </a:lnTo>
                  <a:lnTo>
                    <a:pt x="217539" y="435071"/>
                  </a:lnTo>
                  <a:lnTo>
                    <a:pt x="435077" y="217542"/>
                  </a:lnTo>
                  <a:lnTo>
                    <a:pt x="435077" y="217542"/>
                  </a:lnTo>
                  <a:lnTo>
                    <a:pt x="435077" y="217537"/>
                  </a:lnTo>
                  <a:lnTo>
                    <a:pt x="435077" y="217533"/>
                  </a:lnTo>
                  <a:lnTo>
                    <a:pt x="435077" y="217533"/>
                  </a:lnTo>
                  <a:lnTo>
                    <a:pt x="217539" y="4"/>
                  </a:lnTo>
                  <a:lnTo>
                    <a:pt x="217539" y="217533"/>
                  </a:lnTo>
                  <a:lnTo>
                    <a:pt x="217539" y="217533"/>
                  </a:lnTo>
                  <a:close/>
                </a:path>
              </a:pathLst>
            </a:custGeom>
            <a:grpFill/>
            <a:ln w="27192" cap="flat">
              <a:noFill/>
              <a:prstDash val="solid"/>
              <a:miter/>
            </a:ln>
          </p:spPr>
          <p:txBody>
            <a:bodyPr rtlCol="0" anchor="ctr"/>
            <a:lstStyle/>
            <a:p>
              <a:endParaRPr lang="uk-UA" sz="900">
                <a:solidFill>
                  <a:schemeClr val="bg1"/>
                </a:solidFill>
              </a:endParaRPr>
            </a:p>
          </p:txBody>
        </p:sp>
        <p:sp>
          <p:nvSpPr>
            <p:cNvPr id="33" name="Freeform: Shape 32">
              <a:extLst>
                <a:ext uri="{FF2B5EF4-FFF2-40B4-BE49-F238E27FC236}">
                  <a16:creationId xmlns:a16="http://schemas.microsoft.com/office/drawing/2014/main" id="{DE6BE8FD-12DE-B50A-E0E0-1631DC9800D8}"/>
                </a:ext>
              </a:extLst>
            </p:cNvPr>
            <p:cNvSpPr/>
            <p:nvPr/>
          </p:nvSpPr>
          <p:spPr>
            <a:xfrm>
              <a:off x="23460039" y="228598"/>
              <a:ext cx="435077" cy="435067"/>
            </a:xfrm>
            <a:custGeom>
              <a:avLst/>
              <a:gdLst>
                <a:gd name="connsiteX0" fmla="*/ 0 w 435077"/>
                <a:gd name="connsiteY0" fmla="*/ 435065 h 435067"/>
                <a:gd name="connsiteX1" fmla="*/ 217510 w 435077"/>
                <a:gd name="connsiteY1" fmla="*/ 435068 h 435067"/>
                <a:gd name="connsiteX2" fmla="*/ 217510 w 435077"/>
                <a:gd name="connsiteY2" fmla="*/ 217535 h 435067"/>
                <a:gd name="connsiteX3" fmla="*/ 0 w 435077"/>
                <a:gd name="connsiteY3" fmla="*/ 435065 h 435067"/>
                <a:gd name="connsiteX4" fmla="*/ 217539 w 435077"/>
                <a:gd name="connsiteY4" fmla="*/ 0 h 435067"/>
                <a:gd name="connsiteX5" fmla="*/ 0 w 435077"/>
                <a:gd name="connsiteY5" fmla="*/ 0 h 435067"/>
                <a:gd name="connsiteX6" fmla="*/ 217539 w 435077"/>
                <a:gd name="connsiteY6" fmla="*/ 217532 h 435067"/>
                <a:gd name="connsiteX7" fmla="*/ 217539 w 435077"/>
                <a:gd name="connsiteY7" fmla="*/ 0 h 435067"/>
                <a:gd name="connsiteX8" fmla="*/ 435077 w 435077"/>
                <a:gd name="connsiteY8" fmla="*/ 435068 h 435067"/>
                <a:gd name="connsiteX9" fmla="*/ 217539 w 435077"/>
                <a:gd name="connsiteY9" fmla="*/ 435068 h 435067"/>
                <a:gd name="connsiteX10" fmla="*/ 435077 w 435077"/>
                <a:gd name="connsiteY10" fmla="*/ 217535 h 435067"/>
                <a:gd name="connsiteX11" fmla="*/ 435077 w 435077"/>
                <a:gd name="connsiteY11" fmla="*/ 435068 h 435067"/>
                <a:gd name="connsiteX12" fmla="*/ 435077 w 435077"/>
                <a:gd name="connsiteY12" fmla="*/ 0 h 435067"/>
                <a:gd name="connsiteX13" fmla="*/ 217539 w 435077"/>
                <a:gd name="connsiteY13" fmla="*/ 0 h 435067"/>
                <a:gd name="connsiteX14" fmla="*/ 435077 w 435077"/>
                <a:gd name="connsiteY14" fmla="*/ 217532 h 435067"/>
                <a:gd name="connsiteX15" fmla="*/ 435077 w 435077"/>
                <a:gd name="connsiteY15" fmla="*/ 0 h 435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67">
                  <a:moveTo>
                    <a:pt x="0" y="435065"/>
                  </a:moveTo>
                  <a:lnTo>
                    <a:pt x="217510" y="435068"/>
                  </a:lnTo>
                  <a:lnTo>
                    <a:pt x="217510" y="217535"/>
                  </a:lnTo>
                  <a:lnTo>
                    <a:pt x="0" y="435065"/>
                  </a:lnTo>
                  <a:close/>
                  <a:moveTo>
                    <a:pt x="217539" y="0"/>
                  </a:moveTo>
                  <a:lnTo>
                    <a:pt x="0" y="0"/>
                  </a:lnTo>
                  <a:lnTo>
                    <a:pt x="217539" y="217532"/>
                  </a:lnTo>
                  <a:lnTo>
                    <a:pt x="217539" y="0"/>
                  </a:lnTo>
                  <a:close/>
                  <a:moveTo>
                    <a:pt x="435077" y="435068"/>
                  </a:moveTo>
                  <a:lnTo>
                    <a:pt x="217539" y="435068"/>
                  </a:lnTo>
                  <a:lnTo>
                    <a:pt x="435077" y="217535"/>
                  </a:lnTo>
                  <a:lnTo>
                    <a:pt x="435077" y="435068"/>
                  </a:lnTo>
                  <a:close/>
                  <a:moveTo>
                    <a:pt x="435077" y="0"/>
                  </a:moveTo>
                  <a:lnTo>
                    <a:pt x="217539" y="0"/>
                  </a:lnTo>
                  <a:lnTo>
                    <a:pt x="435077" y="217532"/>
                  </a:lnTo>
                  <a:lnTo>
                    <a:pt x="435077" y="0"/>
                  </a:lnTo>
                  <a:close/>
                </a:path>
              </a:pathLst>
            </a:custGeom>
            <a:grpFill/>
            <a:ln w="27192" cap="flat">
              <a:noFill/>
              <a:prstDash val="solid"/>
              <a:miter/>
            </a:ln>
          </p:spPr>
          <p:txBody>
            <a:bodyPr rtlCol="0" anchor="ctr"/>
            <a:lstStyle/>
            <a:p>
              <a:endParaRPr lang="uk-UA" sz="900">
                <a:solidFill>
                  <a:schemeClr val="bg1"/>
                </a:solidFill>
              </a:endParaRPr>
            </a:p>
          </p:txBody>
        </p:sp>
        <p:sp>
          <p:nvSpPr>
            <p:cNvPr id="34" name="Freeform: Shape 33">
              <a:extLst>
                <a:ext uri="{FF2B5EF4-FFF2-40B4-BE49-F238E27FC236}">
                  <a16:creationId xmlns:a16="http://schemas.microsoft.com/office/drawing/2014/main" id="{6CB83ED5-766C-3A9B-2C45-C35ADEEEB967}"/>
                </a:ext>
              </a:extLst>
            </p:cNvPr>
            <p:cNvSpPr/>
            <p:nvPr/>
          </p:nvSpPr>
          <p:spPr>
            <a:xfrm>
              <a:off x="24330194" y="228598"/>
              <a:ext cx="435077" cy="435078"/>
            </a:xfrm>
            <a:custGeom>
              <a:avLst/>
              <a:gdLst>
                <a:gd name="connsiteX0" fmla="*/ 217539 w 435077"/>
                <a:gd name="connsiteY0" fmla="*/ 0 h 435078"/>
                <a:gd name="connsiteX1" fmla="*/ 0 w 435077"/>
                <a:gd name="connsiteY1" fmla="*/ 0 h 435078"/>
                <a:gd name="connsiteX2" fmla="*/ 0 w 435077"/>
                <a:gd name="connsiteY2" fmla="*/ 217539 h 435078"/>
                <a:gd name="connsiteX3" fmla="*/ 0 w 435077"/>
                <a:gd name="connsiteY3" fmla="*/ 435079 h 435078"/>
                <a:gd name="connsiteX4" fmla="*/ 217539 w 435077"/>
                <a:gd name="connsiteY4" fmla="*/ 435079 h 435078"/>
                <a:gd name="connsiteX5" fmla="*/ 435077 w 435077"/>
                <a:gd name="connsiteY5" fmla="*/ 435079 h 435078"/>
                <a:gd name="connsiteX6" fmla="*/ 435077 w 435077"/>
                <a:gd name="connsiteY6" fmla="*/ 217539 h 435078"/>
                <a:gd name="connsiteX7" fmla="*/ 435077 w 435077"/>
                <a:gd name="connsiteY7" fmla="*/ 0 h 435078"/>
                <a:gd name="connsiteX8" fmla="*/ 217539 w 435077"/>
                <a:gd name="connsiteY8" fmla="*/ 0 h 435078"/>
                <a:gd name="connsiteX9" fmla="*/ 217539 w 435077"/>
                <a:gd name="connsiteY9" fmla="*/ 0 h 435078"/>
                <a:gd name="connsiteX10" fmla="*/ 435077 w 435077"/>
                <a:gd name="connsiteY10" fmla="*/ 217539 h 435078"/>
                <a:gd name="connsiteX11" fmla="*/ 217539 w 435077"/>
                <a:gd name="connsiteY11" fmla="*/ 435079 h 435078"/>
                <a:gd name="connsiteX12" fmla="*/ 0 w 435077"/>
                <a:gd name="connsiteY12" fmla="*/ 217539 h 435078"/>
                <a:gd name="connsiteX13" fmla="*/ 217539 w 435077"/>
                <a:gd name="connsiteY13"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8">
                  <a:moveTo>
                    <a:pt x="217539" y="0"/>
                  </a:moveTo>
                  <a:lnTo>
                    <a:pt x="0" y="0"/>
                  </a:lnTo>
                  <a:lnTo>
                    <a:pt x="0" y="217539"/>
                  </a:lnTo>
                  <a:lnTo>
                    <a:pt x="0" y="435079"/>
                  </a:lnTo>
                  <a:lnTo>
                    <a:pt x="217539" y="435079"/>
                  </a:lnTo>
                  <a:lnTo>
                    <a:pt x="435077" y="435079"/>
                  </a:lnTo>
                  <a:lnTo>
                    <a:pt x="435077" y="217539"/>
                  </a:lnTo>
                  <a:lnTo>
                    <a:pt x="435077" y="0"/>
                  </a:lnTo>
                  <a:lnTo>
                    <a:pt x="217539" y="0"/>
                  </a:lnTo>
                  <a:close/>
                  <a:moveTo>
                    <a:pt x="217539" y="0"/>
                  </a:moveTo>
                  <a:lnTo>
                    <a:pt x="435077" y="217539"/>
                  </a:lnTo>
                  <a:lnTo>
                    <a:pt x="217539" y="435079"/>
                  </a:lnTo>
                  <a:lnTo>
                    <a:pt x="0" y="217539"/>
                  </a:lnTo>
                  <a:lnTo>
                    <a:pt x="217539" y="0"/>
                  </a:lnTo>
                  <a:close/>
                </a:path>
              </a:pathLst>
            </a:custGeom>
            <a:grpFill/>
            <a:ln w="27192" cap="flat">
              <a:noFill/>
              <a:prstDash val="solid"/>
              <a:miter/>
            </a:ln>
          </p:spPr>
          <p:txBody>
            <a:bodyPr rtlCol="0" anchor="ctr"/>
            <a:lstStyle/>
            <a:p>
              <a:endParaRPr lang="uk-UA" sz="900">
                <a:solidFill>
                  <a:schemeClr val="bg1"/>
                </a:solidFill>
              </a:endParaRPr>
            </a:p>
          </p:txBody>
        </p:sp>
        <p:sp>
          <p:nvSpPr>
            <p:cNvPr id="35" name="Freeform: Shape 34">
              <a:extLst>
                <a:ext uri="{FF2B5EF4-FFF2-40B4-BE49-F238E27FC236}">
                  <a16:creationId xmlns:a16="http://schemas.microsoft.com/office/drawing/2014/main" id="{A88C8C57-AC20-4199-B2E5-C3EDCFAA44A3}"/>
                </a:ext>
              </a:extLst>
            </p:cNvPr>
            <p:cNvSpPr/>
            <p:nvPr/>
          </p:nvSpPr>
          <p:spPr>
            <a:xfrm>
              <a:off x="835769" y="1098754"/>
              <a:ext cx="435077" cy="435077"/>
            </a:xfrm>
            <a:custGeom>
              <a:avLst/>
              <a:gdLst>
                <a:gd name="connsiteX0" fmla="*/ 63711 w 435077"/>
                <a:gd name="connsiteY0" fmla="*/ 153824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4 h 435077"/>
                <a:gd name="connsiteX5" fmla="*/ 217539 w 435077"/>
                <a:gd name="connsiteY5" fmla="*/ 217539 h 435077"/>
                <a:gd name="connsiteX6" fmla="*/ 63711 w 435077"/>
                <a:gd name="connsiteY6" fmla="*/ 153824 h 435077"/>
                <a:gd name="connsiteX7" fmla="*/ 63711 w 435077"/>
                <a:gd name="connsiteY7" fmla="*/ 281256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6 h 435077"/>
                <a:gd name="connsiteX12" fmla="*/ 217539 w 435077"/>
                <a:gd name="connsiteY12" fmla="*/ 217539 h 435077"/>
                <a:gd name="connsiteX13" fmla="*/ 63711 w 435077"/>
                <a:gd name="connsiteY13" fmla="*/ 281256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1" y="153824"/>
                  </a:moveTo>
                  <a:cubicBezTo>
                    <a:pt x="22923" y="113028"/>
                    <a:pt x="0" y="57697"/>
                    <a:pt x="0" y="0"/>
                  </a:cubicBezTo>
                  <a:lnTo>
                    <a:pt x="217539" y="0"/>
                  </a:lnTo>
                  <a:lnTo>
                    <a:pt x="435077" y="0"/>
                  </a:lnTo>
                  <a:cubicBezTo>
                    <a:pt x="435077" y="57697"/>
                    <a:pt x="412154" y="113028"/>
                    <a:pt x="371366" y="153824"/>
                  </a:cubicBezTo>
                  <a:cubicBezTo>
                    <a:pt x="330550" y="194621"/>
                    <a:pt x="275213" y="217539"/>
                    <a:pt x="217539" y="217539"/>
                  </a:cubicBezTo>
                  <a:cubicBezTo>
                    <a:pt x="159836" y="217539"/>
                    <a:pt x="104500" y="194621"/>
                    <a:pt x="63711" y="153824"/>
                  </a:cubicBezTo>
                  <a:close/>
                  <a:moveTo>
                    <a:pt x="63711" y="281256"/>
                  </a:moveTo>
                  <a:cubicBezTo>
                    <a:pt x="22923" y="322052"/>
                    <a:pt x="0" y="377383"/>
                    <a:pt x="0" y="435077"/>
                  </a:cubicBezTo>
                  <a:lnTo>
                    <a:pt x="217539" y="435077"/>
                  </a:lnTo>
                  <a:lnTo>
                    <a:pt x="435077" y="435077"/>
                  </a:lnTo>
                  <a:cubicBezTo>
                    <a:pt x="435077" y="377383"/>
                    <a:pt x="412154" y="322052"/>
                    <a:pt x="371366" y="281256"/>
                  </a:cubicBezTo>
                  <a:cubicBezTo>
                    <a:pt x="330550" y="240459"/>
                    <a:pt x="275213" y="217539"/>
                    <a:pt x="217539" y="217539"/>
                  </a:cubicBezTo>
                  <a:cubicBezTo>
                    <a:pt x="159836" y="217539"/>
                    <a:pt x="104500" y="240459"/>
                    <a:pt x="63711" y="281256"/>
                  </a:cubicBezTo>
                  <a:close/>
                </a:path>
              </a:pathLst>
            </a:custGeom>
            <a:grpFill/>
            <a:ln w="27192" cap="flat">
              <a:noFill/>
              <a:prstDash val="solid"/>
              <a:miter/>
            </a:ln>
          </p:spPr>
          <p:txBody>
            <a:bodyPr rtlCol="0" anchor="ctr"/>
            <a:lstStyle/>
            <a:p>
              <a:endParaRPr lang="uk-UA" sz="900">
                <a:solidFill>
                  <a:schemeClr val="bg1"/>
                </a:solidFill>
              </a:endParaRPr>
            </a:p>
          </p:txBody>
        </p:sp>
        <p:sp>
          <p:nvSpPr>
            <p:cNvPr id="36" name="Freeform: Shape 35">
              <a:extLst>
                <a:ext uri="{FF2B5EF4-FFF2-40B4-BE49-F238E27FC236}">
                  <a16:creationId xmlns:a16="http://schemas.microsoft.com/office/drawing/2014/main" id="{00DD1FBC-34F8-952B-C9D9-8CE65796A088}"/>
                </a:ext>
              </a:extLst>
            </p:cNvPr>
            <p:cNvSpPr/>
            <p:nvPr/>
          </p:nvSpPr>
          <p:spPr>
            <a:xfrm>
              <a:off x="-34398" y="1098754"/>
              <a:ext cx="435063" cy="435077"/>
            </a:xfrm>
            <a:custGeom>
              <a:avLst/>
              <a:gdLst>
                <a:gd name="connsiteX0" fmla="*/ 435064 w 435063"/>
                <a:gd name="connsiteY0" fmla="*/ 435077 h 435077"/>
                <a:gd name="connsiteX1" fmla="*/ 435064 w 435063"/>
                <a:gd name="connsiteY1" fmla="*/ 0 h 435077"/>
                <a:gd name="connsiteX2" fmla="*/ 217552 w 435063"/>
                <a:gd name="connsiteY2" fmla="*/ 217544 h 435077"/>
                <a:gd name="connsiteX3" fmla="*/ 435064 w 435063"/>
                <a:gd name="connsiteY3" fmla="*/ 435077 h 435077"/>
                <a:gd name="connsiteX4" fmla="*/ 0 w 435063"/>
                <a:gd name="connsiteY4" fmla="*/ 435077 h 435077"/>
                <a:gd name="connsiteX5" fmla="*/ 0 w 435063"/>
                <a:gd name="connsiteY5" fmla="*/ 3 h 435077"/>
                <a:gd name="connsiteX6" fmla="*/ 217525 w 435063"/>
                <a:gd name="connsiteY6" fmla="*/ 217544 h 435077"/>
                <a:gd name="connsiteX7" fmla="*/ 0 w 435063"/>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63" h="435077">
                  <a:moveTo>
                    <a:pt x="435064" y="435077"/>
                  </a:moveTo>
                  <a:lnTo>
                    <a:pt x="435064" y="0"/>
                  </a:lnTo>
                  <a:lnTo>
                    <a:pt x="217552" y="217544"/>
                  </a:lnTo>
                  <a:lnTo>
                    <a:pt x="435064" y="435077"/>
                  </a:lnTo>
                  <a:close/>
                  <a:moveTo>
                    <a:pt x="0" y="435077"/>
                  </a:moveTo>
                  <a:lnTo>
                    <a:pt x="0" y="3"/>
                  </a:lnTo>
                  <a:lnTo>
                    <a:pt x="217525" y="217544"/>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7" name="Freeform: Shape 36">
              <a:extLst>
                <a:ext uri="{FF2B5EF4-FFF2-40B4-BE49-F238E27FC236}">
                  <a16:creationId xmlns:a16="http://schemas.microsoft.com/office/drawing/2014/main" id="{7CAA168E-353D-1BF1-9237-89264F5BFA1C}"/>
                </a:ext>
              </a:extLst>
            </p:cNvPr>
            <p:cNvSpPr/>
            <p:nvPr/>
          </p:nvSpPr>
          <p:spPr>
            <a:xfrm>
              <a:off x="1705924" y="1098754"/>
              <a:ext cx="435077" cy="435077"/>
            </a:xfrm>
            <a:custGeom>
              <a:avLst/>
              <a:gdLst>
                <a:gd name="connsiteX0" fmla="*/ 435077 w 435077"/>
                <a:gd name="connsiteY0" fmla="*/ 435077 h 435077"/>
                <a:gd name="connsiteX1" fmla="*/ 435077 w 435077"/>
                <a:gd name="connsiteY1" fmla="*/ 217547 h 435077"/>
                <a:gd name="connsiteX2" fmla="*/ 435077 w 435077"/>
                <a:gd name="connsiteY2" fmla="*/ 16 h 435077"/>
                <a:gd name="connsiteX3" fmla="*/ 217566 w 435077"/>
                <a:gd name="connsiteY3" fmla="*/ 16 h 435077"/>
                <a:gd name="connsiteX4" fmla="*/ 435077 w 435077"/>
                <a:gd name="connsiteY4" fmla="*/ 217547 h 435077"/>
                <a:gd name="connsiteX5" fmla="*/ 217566 w 435077"/>
                <a:gd name="connsiteY5" fmla="*/ 435077 h 435077"/>
                <a:gd name="connsiteX6" fmla="*/ 435077 w 435077"/>
                <a:gd name="connsiteY6" fmla="*/ 435077 h 435077"/>
                <a:gd name="connsiteX7" fmla="*/ 0 w 435077"/>
                <a:gd name="connsiteY7" fmla="*/ 217531 h 435077"/>
                <a:gd name="connsiteX8" fmla="*/ 0 w 435077"/>
                <a:gd name="connsiteY8" fmla="*/ 0 h 435077"/>
                <a:gd name="connsiteX9" fmla="*/ 217539 w 435077"/>
                <a:gd name="connsiteY9" fmla="*/ 217531 h 435077"/>
                <a:gd name="connsiteX10" fmla="*/ 0 w 435077"/>
                <a:gd name="connsiteY10" fmla="*/ 217531 h 435077"/>
                <a:gd name="connsiteX11" fmla="*/ 0 w 435077"/>
                <a:gd name="connsiteY11" fmla="*/ 435072 h 435077"/>
                <a:gd name="connsiteX12" fmla="*/ 0 w 435077"/>
                <a:gd name="connsiteY12" fmla="*/ 217541 h 435077"/>
                <a:gd name="connsiteX13" fmla="*/ 217539 w 435077"/>
                <a:gd name="connsiteY13" fmla="*/ 217541 h 435077"/>
                <a:gd name="connsiteX14" fmla="*/ 0 w 435077"/>
                <a:gd name="connsiteY14" fmla="*/ 43507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47"/>
                  </a:lnTo>
                  <a:lnTo>
                    <a:pt x="435077" y="16"/>
                  </a:lnTo>
                  <a:lnTo>
                    <a:pt x="217566" y="16"/>
                  </a:lnTo>
                  <a:lnTo>
                    <a:pt x="435077" y="217547"/>
                  </a:lnTo>
                  <a:lnTo>
                    <a:pt x="217566" y="435077"/>
                  </a:lnTo>
                  <a:lnTo>
                    <a:pt x="435077" y="435077"/>
                  </a:lnTo>
                  <a:close/>
                  <a:moveTo>
                    <a:pt x="0" y="217531"/>
                  </a:moveTo>
                  <a:lnTo>
                    <a:pt x="0" y="0"/>
                  </a:lnTo>
                  <a:lnTo>
                    <a:pt x="217539" y="217531"/>
                  </a:lnTo>
                  <a:lnTo>
                    <a:pt x="0" y="217531"/>
                  </a:lnTo>
                  <a:close/>
                  <a:moveTo>
                    <a:pt x="0" y="435072"/>
                  </a:moveTo>
                  <a:lnTo>
                    <a:pt x="0" y="217541"/>
                  </a:lnTo>
                  <a:lnTo>
                    <a:pt x="217539" y="217541"/>
                  </a:lnTo>
                  <a:lnTo>
                    <a:pt x="0" y="435072"/>
                  </a:lnTo>
                  <a:close/>
                </a:path>
              </a:pathLst>
            </a:custGeom>
            <a:grpFill/>
            <a:ln w="27192" cap="flat">
              <a:noFill/>
              <a:prstDash val="solid"/>
              <a:miter/>
            </a:ln>
          </p:spPr>
          <p:txBody>
            <a:bodyPr rtlCol="0" anchor="ctr"/>
            <a:lstStyle/>
            <a:p>
              <a:endParaRPr lang="uk-UA" sz="900">
                <a:solidFill>
                  <a:schemeClr val="bg1"/>
                </a:solidFill>
              </a:endParaRPr>
            </a:p>
          </p:txBody>
        </p:sp>
        <p:sp>
          <p:nvSpPr>
            <p:cNvPr id="38" name="Freeform: Shape 37">
              <a:extLst>
                <a:ext uri="{FF2B5EF4-FFF2-40B4-BE49-F238E27FC236}">
                  <a16:creationId xmlns:a16="http://schemas.microsoft.com/office/drawing/2014/main" id="{E613B69F-C0F4-368E-9CB0-960FD0172315}"/>
                </a:ext>
              </a:extLst>
            </p:cNvPr>
            <p:cNvSpPr/>
            <p:nvPr/>
          </p:nvSpPr>
          <p:spPr>
            <a:xfrm>
              <a:off x="2576106" y="1098754"/>
              <a:ext cx="435077" cy="435077"/>
            </a:xfrm>
            <a:custGeom>
              <a:avLst/>
              <a:gdLst>
                <a:gd name="connsiteX0" fmla="*/ 217539 w 435077"/>
                <a:gd name="connsiteY0" fmla="*/ 435069 h 435077"/>
                <a:gd name="connsiteX1" fmla="*/ 217539 w 435077"/>
                <a:gd name="connsiteY1" fmla="*/ 0 h 435077"/>
                <a:gd name="connsiteX2" fmla="*/ 435077 w 435077"/>
                <a:gd name="connsiteY2" fmla="*/ 217541 h 435077"/>
                <a:gd name="connsiteX3" fmla="*/ 217539 w 435077"/>
                <a:gd name="connsiteY3" fmla="*/ 435069 h 435077"/>
                <a:gd name="connsiteX4" fmla="*/ 0 w 435077"/>
                <a:gd name="connsiteY4" fmla="*/ 435077 h 435077"/>
                <a:gd name="connsiteX5" fmla="*/ 0 w 435077"/>
                <a:gd name="connsiteY5" fmla="*/ 8 h 435077"/>
                <a:gd name="connsiteX6" fmla="*/ 217512 w 435077"/>
                <a:gd name="connsiteY6" fmla="*/ 217547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69"/>
                  </a:moveTo>
                  <a:lnTo>
                    <a:pt x="217539" y="0"/>
                  </a:lnTo>
                  <a:lnTo>
                    <a:pt x="435077" y="217541"/>
                  </a:lnTo>
                  <a:lnTo>
                    <a:pt x="217539" y="435069"/>
                  </a:lnTo>
                  <a:close/>
                  <a:moveTo>
                    <a:pt x="0" y="435077"/>
                  </a:moveTo>
                  <a:lnTo>
                    <a:pt x="0" y="8"/>
                  </a:lnTo>
                  <a:lnTo>
                    <a:pt x="217512" y="217547"/>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9" name="Freeform: Shape 38">
              <a:extLst>
                <a:ext uri="{FF2B5EF4-FFF2-40B4-BE49-F238E27FC236}">
                  <a16:creationId xmlns:a16="http://schemas.microsoft.com/office/drawing/2014/main" id="{ADA850FB-9B78-3A06-CA36-A70642829D96}"/>
                </a:ext>
              </a:extLst>
            </p:cNvPr>
            <p:cNvSpPr/>
            <p:nvPr/>
          </p:nvSpPr>
          <p:spPr>
            <a:xfrm>
              <a:off x="4316416" y="1098754"/>
              <a:ext cx="435077" cy="435077"/>
            </a:xfrm>
            <a:custGeom>
              <a:avLst/>
              <a:gdLst>
                <a:gd name="connsiteX0" fmla="*/ 63739 w 435077"/>
                <a:gd name="connsiteY0" fmla="*/ 153824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4 h 435077"/>
                <a:gd name="connsiteX5" fmla="*/ 217539 w 435077"/>
                <a:gd name="connsiteY5" fmla="*/ 217539 h 435077"/>
                <a:gd name="connsiteX6" fmla="*/ 63739 w 435077"/>
                <a:gd name="connsiteY6" fmla="*/ 153824 h 435077"/>
                <a:gd name="connsiteX7" fmla="*/ 63739 w 435077"/>
                <a:gd name="connsiteY7" fmla="*/ 281256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6 h 435077"/>
                <a:gd name="connsiteX12" fmla="*/ 217539 w 435077"/>
                <a:gd name="connsiteY12" fmla="*/ 217539 h 435077"/>
                <a:gd name="connsiteX13" fmla="*/ 63739 w 435077"/>
                <a:gd name="connsiteY13" fmla="*/ 281256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4"/>
                  </a:moveTo>
                  <a:cubicBezTo>
                    <a:pt x="22923" y="113028"/>
                    <a:pt x="0" y="57697"/>
                    <a:pt x="0" y="0"/>
                  </a:cubicBezTo>
                  <a:lnTo>
                    <a:pt x="217539" y="0"/>
                  </a:lnTo>
                  <a:lnTo>
                    <a:pt x="435077" y="0"/>
                  </a:lnTo>
                  <a:cubicBezTo>
                    <a:pt x="435077" y="57697"/>
                    <a:pt x="412181" y="113028"/>
                    <a:pt x="371365" y="153824"/>
                  </a:cubicBezTo>
                  <a:cubicBezTo>
                    <a:pt x="330577" y="194621"/>
                    <a:pt x="275240" y="217539"/>
                    <a:pt x="217539" y="217539"/>
                  </a:cubicBezTo>
                  <a:cubicBezTo>
                    <a:pt x="159864" y="217539"/>
                    <a:pt x="104527" y="194621"/>
                    <a:pt x="63739" y="153824"/>
                  </a:cubicBezTo>
                  <a:close/>
                  <a:moveTo>
                    <a:pt x="63739" y="281256"/>
                  </a:moveTo>
                  <a:cubicBezTo>
                    <a:pt x="22923" y="322052"/>
                    <a:pt x="0" y="377383"/>
                    <a:pt x="0" y="435077"/>
                  </a:cubicBezTo>
                  <a:lnTo>
                    <a:pt x="217539" y="435077"/>
                  </a:lnTo>
                  <a:lnTo>
                    <a:pt x="435077" y="435077"/>
                  </a:lnTo>
                  <a:cubicBezTo>
                    <a:pt x="435077" y="377383"/>
                    <a:pt x="412181" y="322052"/>
                    <a:pt x="371365" y="281256"/>
                  </a:cubicBezTo>
                  <a:cubicBezTo>
                    <a:pt x="330577" y="240459"/>
                    <a:pt x="275240" y="217539"/>
                    <a:pt x="217539" y="217539"/>
                  </a:cubicBezTo>
                  <a:cubicBezTo>
                    <a:pt x="159864" y="217539"/>
                    <a:pt x="104527" y="240459"/>
                    <a:pt x="63739" y="281256"/>
                  </a:cubicBezTo>
                  <a:close/>
                </a:path>
              </a:pathLst>
            </a:custGeom>
            <a:grpFill/>
            <a:ln w="27192" cap="flat">
              <a:noFill/>
              <a:prstDash val="solid"/>
              <a:miter/>
            </a:ln>
          </p:spPr>
          <p:txBody>
            <a:bodyPr rtlCol="0" anchor="ctr"/>
            <a:lstStyle/>
            <a:p>
              <a:endParaRPr lang="uk-UA" sz="900">
                <a:solidFill>
                  <a:schemeClr val="bg1"/>
                </a:solidFill>
              </a:endParaRPr>
            </a:p>
          </p:txBody>
        </p:sp>
        <p:sp>
          <p:nvSpPr>
            <p:cNvPr id="40" name="Freeform: Shape 39">
              <a:extLst>
                <a:ext uri="{FF2B5EF4-FFF2-40B4-BE49-F238E27FC236}">
                  <a16:creationId xmlns:a16="http://schemas.microsoft.com/office/drawing/2014/main" id="{10EE8845-D71A-08FB-3DB9-6487E41EA7E3}"/>
                </a:ext>
              </a:extLst>
            </p:cNvPr>
            <p:cNvSpPr/>
            <p:nvPr/>
          </p:nvSpPr>
          <p:spPr>
            <a:xfrm>
              <a:off x="3446261" y="1098754"/>
              <a:ext cx="435077" cy="435077"/>
            </a:xfrm>
            <a:custGeom>
              <a:avLst/>
              <a:gdLst>
                <a:gd name="connsiteX0" fmla="*/ 435077 w 435077"/>
                <a:gd name="connsiteY0" fmla="*/ 435077 h 435077"/>
                <a:gd name="connsiteX1" fmla="*/ 435077 w 435077"/>
                <a:gd name="connsiteY1" fmla="*/ 0 h 435077"/>
                <a:gd name="connsiteX2" fmla="*/ 217566 w 435077"/>
                <a:gd name="connsiteY2" fmla="*/ 217544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44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6" y="217544"/>
                  </a:lnTo>
                  <a:lnTo>
                    <a:pt x="435077" y="435077"/>
                  </a:lnTo>
                  <a:close/>
                  <a:moveTo>
                    <a:pt x="0" y="435077"/>
                  </a:moveTo>
                  <a:lnTo>
                    <a:pt x="0" y="3"/>
                  </a:lnTo>
                  <a:lnTo>
                    <a:pt x="217539" y="217544"/>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41" name="Freeform: Shape 40">
              <a:extLst>
                <a:ext uri="{FF2B5EF4-FFF2-40B4-BE49-F238E27FC236}">
                  <a16:creationId xmlns:a16="http://schemas.microsoft.com/office/drawing/2014/main" id="{D2014563-ACDE-76C8-6A32-E78F66D0B7E7}"/>
                </a:ext>
              </a:extLst>
            </p:cNvPr>
            <p:cNvSpPr/>
            <p:nvPr/>
          </p:nvSpPr>
          <p:spPr>
            <a:xfrm>
              <a:off x="5186597" y="1098754"/>
              <a:ext cx="435077" cy="435077"/>
            </a:xfrm>
            <a:custGeom>
              <a:avLst/>
              <a:gdLst>
                <a:gd name="connsiteX0" fmla="*/ 435077 w 435077"/>
                <a:gd name="connsiteY0" fmla="*/ 435077 h 435077"/>
                <a:gd name="connsiteX1" fmla="*/ 435077 w 435077"/>
                <a:gd name="connsiteY1" fmla="*/ 217547 h 435077"/>
                <a:gd name="connsiteX2" fmla="*/ 435077 w 435077"/>
                <a:gd name="connsiteY2" fmla="*/ 16 h 435077"/>
                <a:gd name="connsiteX3" fmla="*/ 217539 w 435077"/>
                <a:gd name="connsiteY3" fmla="*/ 16 h 435077"/>
                <a:gd name="connsiteX4" fmla="*/ 435077 w 435077"/>
                <a:gd name="connsiteY4" fmla="*/ 217547 h 435077"/>
                <a:gd name="connsiteX5" fmla="*/ 217539 w 435077"/>
                <a:gd name="connsiteY5" fmla="*/ 435077 h 435077"/>
                <a:gd name="connsiteX6" fmla="*/ 435077 w 435077"/>
                <a:gd name="connsiteY6" fmla="*/ 435077 h 435077"/>
                <a:gd name="connsiteX7" fmla="*/ 0 w 435077"/>
                <a:gd name="connsiteY7" fmla="*/ 217531 h 435077"/>
                <a:gd name="connsiteX8" fmla="*/ 0 w 435077"/>
                <a:gd name="connsiteY8" fmla="*/ 0 h 435077"/>
                <a:gd name="connsiteX9" fmla="*/ 217512 w 435077"/>
                <a:gd name="connsiteY9" fmla="*/ 217531 h 435077"/>
                <a:gd name="connsiteX10" fmla="*/ 0 w 435077"/>
                <a:gd name="connsiteY10" fmla="*/ 217531 h 435077"/>
                <a:gd name="connsiteX11" fmla="*/ 0 w 435077"/>
                <a:gd name="connsiteY11" fmla="*/ 435072 h 435077"/>
                <a:gd name="connsiteX12" fmla="*/ 0 w 435077"/>
                <a:gd name="connsiteY12" fmla="*/ 217541 h 435077"/>
                <a:gd name="connsiteX13" fmla="*/ 217512 w 435077"/>
                <a:gd name="connsiteY13" fmla="*/ 217541 h 435077"/>
                <a:gd name="connsiteX14" fmla="*/ 0 w 435077"/>
                <a:gd name="connsiteY14" fmla="*/ 43507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47"/>
                  </a:lnTo>
                  <a:lnTo>
                    <a:pt x="435077" y="16"/>
                  </a:lnTo>
                  <a:lnTo>
                    <a:pt x="217539" y="16"/>
                  </a:lnTo>
                  <a:lnTo>
                    <a:pt x="435077" y="217547"/>
                  </a:lnTo>
                  <a:lnTo>
                    <a:pt x="217539" y="435077"/>
                  </a:lnTo>
                  <a:lnTo>
                    <a:pt x="435077" y="435077"/>
                  </a:lnTo>
                  <a:close/>
                  <a:moveTo>
                    <a:pt x="0" y="217531"/>
                  </a:moveTo>
                  <a:lnTo>
                    <a:pt x="0" y="0"/>
                  </a:lnTo>
                  <a:lnTo>
                    <a:pt x="217512" y="217531"/>
                  </a:lnTo>
                  <a:lnTo>
                    <a:pt x="0" y="217531"/>
                  </a:lnTo>
                  <a:close/>
                  <a:moveTo>
                    <a:pt x="0" y="435072"/>
                  </a:moveTo>
                  <a:lnTo>
                    <a:pt x="0" y="217541"/>
                  </a:lnTo>
                  <a:lnTo>
                    <a:pt x="217512" y="217541"/>
                  </a:lnTo>
                  <a:lnTo>
                    <a:pt x="0" y="435072"/>
                  </a:lnTo>
                  <a:close/>
                </a:path>
              </a:pathLst>
            </a:custGeom>
            <a:grpFill/>
            <a:ln w="27192" cap="flat">
              <a:noFill/>
              <a:prstDash val="solid"/>
              <a:miter/>
            </a:ln>
          </p:spPr>
          <p:txBody>
            <a:bodyPr rtlCol="0" anchor="ctr"/>
            <a:lstStyle/>
            <a:p>
              <a:endParaRPr lang="uk-UA" sz="900">
                <a:solidFill>
                  <a:schemeClr val="bg1"/>
                </a:solidFill>
              </a:endParaRPr>
            </a:p>
          </p:txBody>
        </p:sp>
        <p:sp>
          <p:nvSpPr>
            <p:cNvPr id="42" name="Freeform: Shape 41">
              <a:extLst>
                <a:ext uri="{FF2B5EF4-FFF2-40B4-BE49-F238E27FC236}">
                  <a16:creationId xmlns:a16="http://schemas.microsoft.com/office/drawing/2014/main" id="{DFE10473-C15A-5DF3-EFA0-5EEA5044330A}"/>
                </a:ext>
              </a:extLst>
            </p:cNvPr>
            <p:cNvSpPr/>
            <p:nvPr/>
          </p:nvSpPr>
          <p:spPr>
            <a:xfrm>
              <a:off x="6056752" y="1098754"/>
              <a:ext cx="435077" cy="435077"/>
            </a:xfrm>
            <a:custGeom>
              <a:avLst/>
              <a:gdLst>
                <a:gd name="connsiteX0" fmla="*/ 217539 w 435077"/>
                <a:gd name="connsiteY0" fmla="*/ 435069 h 435077"/>
                <a:gd name="connsiteX1" fmla="*/ 217539 w 435077"/>
                <a:gd name="connsiteY1" fmla="*/ 0 h 435077"/>
                <a:gd name="connsiteX2" fmla="*/ 435077 w 435077"/>
                <a:gd name="connsiteY2" fmla="*/ 217541 h 435077"/>
                <a:gd name="connsiteX3" fmla="*/ 217539 w 435077"/>
                <a:gd name="connsiteY3" fmla="*/ 435069 h 435077"/>
                <a:gd name="connsiteX4" fmla="*/ 0 w 435077"/>
                <a:gd name="connsiteY4" fmla="*/ 435077 h 435077"/>
                <a:gd name="connsiteX5" fmla="*/ 0 w 435077"/>
                <a:gd name="connsiteY5" fmla="*/ 8 h 435077"/>
                <a:gd name="connsiteX6" fmla="*/ 217539 w 435077"/>
                <a:gd name="connsiteY6" fmla="*/ 217547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69"/>
                  </a:moveTo>
                  <a:lnTo>
                    <a:pt x="217539" y="0"/>
                  </a:lnTo>
                  <a:lnTo>
                    <a:pt x="435077" y="217541"/>
                  </a:lnTo>
                  <a:lnTo>
                    <a:pt x="217539" y="435069"/>
                  </a:lnTo>
                  <a:close/>
                  <a:moveTo>
                    <a:pt x="0" y="435077"/>
                  </a:moveTo>
                  <a:lnTo>
                    <a:pt x="0" y="8"/>
                  </a:lnTo>
                  <a:lnTo>
                    <a:pt x="217539" y="217547"/>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43" name="Freeform: Shape 42">
              <a:extLst>
                <a:ext uri="{FF2B5EF4-FFF2-40B4-BE49-F238E27FC236}">
                  <a16:creationId xmlns:a16="http://schemas.microsoft.com/office/drawing/2014/main" id="{1C629CF5-757D-318F-7796-FEFFA0458F3E}"/>
                </a:ext>
              </a:extLst>
            </p:cNvPr>
            <p:cNvSpPr/>
            <p:nvPr/>
          </p:nvSpPr>
          <p:spPr>
            <a:xfrm>
              <a:off x="7797062" y="1098754"/>
              <a:ext cx="435077" cy="435077"/>
            </a:xfrm>
            <a:custGeom>
              <a:avLst/>
              <a:gdLst>
                <a:gd name="connsiteX0" fmla="*/ 63739 w 435077"/>
                <a:gd name="connsiteY0" fmla="*/ 153824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4 h 435077"/>
                <a:gd name="connsiteX5" fmla="*/ 217539 w 435077"/>
                <a:gd name="connsiteY5" fmla="*/ 217539 h 435077"/>
                <a:gd name="connsiteX6" fmla="*/ 63739 w 435077"/>
                <a:gd name="connsiteY6" fmla="*/ 153824 h 435077"/>
                <a:gd name="connsiteX7" fmla="*/ 63739 w 435077"/>
                <a:gd name="connsiteY7" fmla="*/ 281256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6 h 435077"/>
                <a:gd name="connsiteX12" fmla="*/ 217539 w 435077"/>
                <a:gd name="connsiteY12" fmla="*/ 217539 h 435077"/>
                <a:gd name="connsiteX13" fmla="*/ 63739 w 435077"/>
                <a:gd name="connsiteY13" fmla="*/ 281256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4"/>
                  </a:moveTo>
                  <a:cubicBezTo>
                    <a:pt x="22924" y="113028"/>
                    <a:pt x="0" y="57697"/>
                    <a:pt x="0" y="0"/>
                  </a:cubicBezTo>
                  <a:lnTo>
                    <a:pt x="217539" y="0"/>
                  </a:lnTo>
                  <a:lnTo>
                    <a:pt x="435077" y="0"/>
                  </a:lnTo>
                  <a:cubicBezTo>
                    <a:pt x="435077" y="57697"/>
                    <a:pt x="412182" y="113028"/>
                    <a:pt x="371366" y="153824"/>
                  </a:cubicBezTo>
                  <a:cubicBezTo>
                    <a:pt x="330578" y="194621"/>
                    <a:pt x="275241" y="217539"/>
                    <a:pt x="217539" y="217539"/>
                  </a:cubicBezTo>
                  <a:cubicBezTo>
                    <a:pt x="159864" y="217539"/>
                    <a:pt x="104527" y="194621"/>
                    <a:pt x="63739" y="153824"/>
                  </a:cubicBezTo>
                  <a:close/>
                  <a:moveTo>
                    <a:pt x="63739" y="281256"/>
                  </a:moveTo>
                  <a:cubicBezTo>
                    <a:pt x="22924" y="322052"/>
                    <a:pt x="0" y="377383"/>
                    <a:pt x="0" y="435077"/>
                  </a:cubicBezTo>
                  <a:lnTo>
                    <a:pt x="217539" y="435077"/>
                  </a:lnTo>
                  <a:lnTo>
                    <a:pt x="435077" y="435077"/>
                  </a:lnTo>
                  <a:cubicBezTo>
                    <a:pt x="435077" y="377383"/>
                    <a:pt x="412182" y="322052"/>
                    <a:pt x="371366" y="281256"/>
                  </a:cubicBezTo>
                  <a:cubicBezTo>
                    <a:pt x="330578" y="240459"/>
                    <a:pt x="275241" y="217539"/>
                    <a:pt x="217539" y="217539"/>
                  </a:cubicBezTo>
                  <a:cubicBezTo>
                    <a:pt x="159864" y="217539"/>
                    <a:pt x="104527" y="240459"/>
                    <a:pt x="63739" y="281256"/>
                  </a:cubicBezTo>
                  <a:close/>
                </a:path>
              </a:pathLst>
            </a:custGeom>
            <a:grpFill/>
            <a:ln w="27192" cap="flat">
              <a:noFill/>
              <a:prstDash val="solid"/>
              <a:miter/>
            </a:ln>
          </p:spPr>
          <p:txBody>
            <a:bodyPr rtlCol="0" anchor="ctr"/>
            <a:lstStyle/>
            <a:p>
              <a:endParaRPr lang="uk-UA" sz="900">
                <a:solidFill>
                  <a:schemeClr val="bg1"/>
                </a:solidFill>
              </a:endParaRPr>
            </a:p>
          </p:txBody>
        </p:sp>
        <p:sp>
          <p:nvSpPr>
            <p:cNvPr id="44" name="Freeform: Shape 43">
              <a:extLst>
                <a:ext uri="{FF2B5EF4-FFF2-40B4-BE49-F238E27FC236}">
                  <a16:creationId xmlns:a16="http://schemas.microsoft.com/office/drawing/2014/main" id="{BF2B1145-987E-C499-1241-B10C1C8E4DB2}"/>
                </a:ext>
              </a:extLst>
            </p:cNvPr>
            <p:cNvSpPr/>
            <p:nvPr/>
          </p:nvSpPr>
          <p:spPr>
            <a:xfrm>
              <a:off x="6926907" y="1098754"/>
              <a:ext cx="435077" cy="435077"/>
            </a:xfrm>
            <a:custGeom>
              <a:avLst/>
              <a:gdLst>
                <a:gd name="connsiteX0" fmla="*/ 435077 w 435077"/>
                <a:gd name="connsiteY0" fmla="*/ 435077 h 435077"/>
                <a:gd name="connsiteX1" fmla="*/ 435077 w 435077"/>
                <a:gd name="connsiteY1" fmla="*/ 0 h 435077"/>
                <a:gd name="connsiteX2" fmla="*/ 217566 w 435077"/>
                <a:gd name="connsiteY2" fmla="*/ 217544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44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6" y="217544"/>
                  </a:lnTo>
                  <a:lnTo>
                    <a:pt x="435077" y="435077"/>
                  </a:lnTo>
                  <a:close/>
                  <a:moveTo>
                    <a:pt x="0" y="435077"/>
                  </a:moveTo>
                  <a:lnTo>
                    <a:pt x="0" y="3"/>
                  </a:lnTo>
                  <a:lnTo>
                    <a:pt x="217539" y="217544"/>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45" name="Freeform: Shape 44">
              <a:extLst>
                <a:ext uri="{FF2B5EF4-FFF2-40B4-BE49-F238E27FC236}">
                  <a16:creationId xmlns:a16="http://schemas.microsoft.com/office/drawing/2014/main" id="{3DE78B75-96FA-6D27-8974-525BE314806A}"/>
                </a:ext>
              </a:extLst>
            </p:cNvPr>
            <p:cNvSpPr/>
            <p:nvPr/>
          </p:nvSpPr>
          <p:spPr>
            <a:xfrm>
              <a:off x="8667217" y="1098754"/>
              <a:ext cx="435077" cy="435077"/>
            </a:xfrm>
            <a:custGeom>
              <a:avLst/>
              <a:gdLst>
                <a:gd name="connsiteX0" fmla="*/ 435077 w 435077"/>
                <a:gd name="connsiteY0" fmla="*/ 435077 h 435077"/>
                <a:gd name="connsiteX1" fmla="*/ 435077 w 435077"/>
                <a:gd name="connsiteY1" fmla="*/ 217547 h 435077"/>
                <a:gd name="connsiteX2" fmla="*/ 435077 w 435077"/>
                <a:gd name="connsiteY2" fmla="*/ 16 h 435077"/>
                <a:gd name="connsiteX3" fmla="*/ 217566 w 435077"/>
                <a:gd name="connsiteY3" fmla="*/ 16 h 435077"/>
                <a:gd name="connsiteX4" fmla="*/ 435077 w 435077"/>
                <a:gd name="connsiteY4" fmla="*/ 217547 h 435077"/>
                <a:gd name="connsiteX5" fmla="*/ 217566 w 435077"/>
                <a:gd name="connsiteY5" fmla="*/ 435077 h 435077"/>
                <a:gd name="connsiteX6" fmla="*/ 435077 w 435077"/>
                <a:gd name="connsiteY6" fmla="*/ 435077 h 435077"/>
                <a:gd name="connsiteX7" fmla="*/ 0 w 435077"/>
                <a:gd name="connsiteY7" fmla="*/ 217531 h 435077"/>
                <a:gd name="connsiteX8" fmla="*/ 0 w 435077"/>
                <a:gd name="connsiteY8" fmla="*/ 0 h 435077"/>
                <a:gd name="connsiteX9" fmla="*/ 217539 w 435077"/>
                <a:gd name="connsiteY9" fmla="*/ 217531 h 435077"/>
                <a:gd name="connsiteX10" fmla="*/ 0 w 435077"/>
                <a:gd name="connsiteY10" fmla="*/ 217531 h 435077"/>
                <a:gd name="connsiteX11" fmla="*/ 0 w 435077"/>
                <a:gd name="connsiteY11" fmla="*/ 435072 h 435077"/>
                <a:gd name="connsiteX12" fmla="*/ 0 w 435077"/>
                <a:gd name="connsiteY12" fmla="*/ 217541 h 435077"/>
                <a:gd name="connsiteX13" fmla="*/ 217539 w 435077"/>
                <a:gd name="connsiteY13" fmla="*/ 217541 h 435077"/>
                <a:gd name="connsiteX14" fmla="*/ 0 w 435077"/>
                <a:gd name="connsiteY14" fmla="*/ 43507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47"/>
                  </a:lnTo>
                  <a:lnTo>
                    <a:pt x="435077" y="16"/>
                  </a:lnTo>
                  <a:lnTo>
                    <a:pt x="217566" y="16"/>
                  </a:lnTo>
                  <a:lnTo>
                    <a:pt x="435077" y="217547"/>
                  </a:lnTo>
                  <a:lnTo>
                    <a:pt x="217566" y="435077"/>
                  </a:lnTo>
                  <a:lnTo>
                    <a:pt x="435077" y="435077"/>
                  </a:lnTo>
                  <a:close/>
                  <a:moveTo>
                    <a:pt x="0" y="217531"/>
                  </a:moveTo>
                  <a:lnTo>
                    <a:pt x="0" y="0"/>
                  </a:lnTo>
                  <a:lnTo>
                    <a:pt x="217539" y="217531"/>
                  </a:lnTo>
                  <a:lnTo>
                    <a:pt x="0" y="217531"/>
                  </a:lnTo>
                  <a:close/>
                  <a:moveTo>
                    <a:pt x="0" y="435072"/>
                  </a:moveTo>
                  <a:lnTo>
                    <a:pt x="0" y="217541"/>
                  </a:lnTo>
                  <a:lnTo>
                    <a:pt x="217539" y="217541"/>
                  </a:lnTo>
                  <a:lnTo>
                    <a:pt x="0" y="435072"/>
                  </a:lnTo>
                  <a:close/>
                </a:path>
              </a:pathLst>
            </a:custGeom>
            <a:grpFill/>
            <a:ln w="27192" cap="flat">
              <a:noFill/>
              <a:prstDash val="solid"/>
              <a:miter/>
            </a:ln>
          </p:spPr>
          <p:txBody>
            <a:bodyPr rtlCol="0" anchor="ctr"/>
            <a:lstStyle/>
            <a:p>
              <a:endParaRPr lang="uk-UA" sz="900">
                <a:solidFill>
                  <a:schemeClr val="bg1"/>
                </a:solidFill>
              </a:endParaRPr>
            </a:p>
          </p:txBody>
        </p:sp>
        <p:sp>
          <p:nvSpPr>
            <p:cNvPr id="46" name="Freeform: Shape 45">
              <a:extLst>
                <a:ext uri="{FF2B5EF4-FFF2-40B4-BE49-F238E27FC236}">
                  <a16:creationId xmlns:a16="http://schemas.microsoft.com/office/drawing/2014/main" id="{19DFF429-09D5-2FBF-FF9D-B14DF02A1B96}"/>
                </a:ext>
              </a:extLst>
            </p:cNvPr>
            <p:cNvSpPr/>
            <p:nvPr/>
          </p:nvSpPr>
          <p:spPr>
            <a:xfrm>
              <a:off x="9537399" y="1098754"/>
              <a:ext cx="435077" cy="435077"/>
            </a:xfrm>
            <a:custGeom>
              <a:avLst/>
              <a:gdLst>
                <a:gd name="connsiteX0" fmla="*/ 217539 w 435077"/>
                <a:gd name="connsiteY0" fmla="*/ 435069 h 435077"/>
                <a:gd name="connsiteX1" fmla="*/ 217539 w 435077"/>
                <a:gd name="connsiteY1" fmla="*/ 0 h 435077"/>
                <a:gd name="connsiteX2" fmla="*/ 435077 w 435077"/>
                <a:gd name="connsiteY2" fmla="*/ 217541 h 435077"/>
                <a:gd name="connsiteX3" fmla="*/ 217539 w 435077"/>
                <a:gd name="connsiteY3" fmla="*/ 435069 h 435077"/>
                <a:gd name="connsiteX4" fmla="*/ 0 w 435077"/>
                <a:gd name="connsiteY4" fmla="*/ 435077 h 435077"/>
                <a:gd name="connsiteX5" fmla="*/ 0 w 435077"/>
                <a:gd name="connsiteY5" fmla="*/ 8 h 435077"/>
                <a:gd name="connsiteX6" fmla="*/ 217539 w 435077"/>
                <a:gd name="connsiteY6" fmla="*/ 217547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69"/>
                  </a:moveTo>
                  <a:lnTo>
                    <a:pt x="217539" y="0"/>
                  </a:lnTo>
                  <a:lnTo>
                    <a:pt x="435077" y="217541"/>
                  </a:lnTo>
                  <a:lnTo>
                    <a:pt x="217539" y="435069"/>
                  </a:lnTo>
                  <a:close/>
                  <a:moveTo>
                    <a:pt x="0" y="435077"/>
                  </a:moveTo>
                  <a:lnTo>
                    <a:pt x="0" y="8"/>
                  </a:lnTo>
                  <a:lnTo>
                    <a:pt x="217539" y="217547"/>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47" name="Freeform: Shape 46">
              <a:extLst>
                <a:ext uri="{FF2B5EF4-FFF2-40B4-BE49-F238E27FC236}">
                  <a16:creationId xmlns:a16="http://schemas.microsoft.com/office/drawing/2014/main" id="{391DF034-0D81-1DFE-1969-71A42059FE95}"/>
                </a:ext>
              </a:extLst>
            </p:cNvPr>
            <p:cNvSpPr/>
            <p:nvPr/>
          </p:nvSpPr>
          <p:spPr>
            <a:xfrm>
              <a:off x="11277709" y="1098754"/>
              <a:ext cx="435077" cy="435077"/>
            </a:xfrm>
            <a:custGeom>
              <a:avLst/>
              <a:gdLst>
                <a:gd name="connsiteX0" fmla="*/ 63710 w 435077"/>
                <a:gd name="connsiteY0" fmla="*/ 153824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4 h 435077"/>
                <a:gd name="connsiteX5" fmla="*/ 217539 w 435077"/>
                <a:gd name="connsiteY5" fmla="*/ 217539 h 435077"/>
                <a:gd name="connsiteX6" fmla="*/ 63710 w 435077"/>
                <a:gd name="connsiteY6" fmla="*/ 153824 h 435077"/>
                <a:gd name="connsiteX7" fmla="*/ 63710 w 435077"/>
                <a:gd name="connsiteY7" fmla="*/ 281256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6 h 435077"/>
                <a:gd name="connsiteX12" fmla="*/ 217539 w 435077"/>
                <a:gd name="connsiteY12" fmla="*/ 217539 h 435077"/>
                <a:gd name="connsiteX13" fmla="*/ 63710 w 435077"/>
                <a:gd name="connsiteY13" fmla="*/ 281256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4"/>
                  </a:moveTo>
                  <a:cubicBezTo>
                    <a:pt x="22922" y="113028"/>
                    <a:pt x="0" y="57697"/>
                    <a:pt x="0" y="0"/>
                  </a:cubicBezTo>
                  <a:lnTo>
                    <a:pt x="217539" y="0"/>
                  </a:lnTo>
                  <a:lnTo>
                    <a:pt x="435077" y="0"/>
                  </a:lnTo>
                  <a:cubicBezTo>
                    <a:pt x="435077" y="57697"/>
                    <a:pt x="412154" y="113028"/>
                    <a:pt x="371365" y="153824"/>
                  </a:cubicBezTo>
                  <a:cubicBezTo>
                    <a:pt x="330549" y="194621"/>
                    <a:pt x="275239" y="217539"/>
                    <a:pt x="217539" y="217539"/>
                  </a:cubicBezTo>
                  <a:cubicBezTo>
                    <a:pt x="159836" y="217539"/>
                    <a:pt x="104499" y="194621"/>
                    <a:pt x="63710" y="153824"/>
                  </a:cubicBezTo>
                  <a:close/>
                  <a:moveTo>
                    <a:pt x="63710" y="281256"/>
                  </a:moveTo>
                  <a:cubicBezTo>
                    <a:pt x="22922" y="322052"/>
                    <a:pt x="0" y="377383"/>
                    <a:pt x="0" y="435077"/>
                  </a:cubicBezTo>
                  <a:lnTo>
                    <a:pt x="217539" y="435077"/>
                  </a:lnTo>
                  <a:lnTo>
                    <a:pt x="435077" y="435077"/>
                  </a:lnTo>
                  <a:cubicBezTo>
                    <a:pt x="435077" y="377383"/>
                    <a:pt x="412154" y="322052"/>
                    <a:pt x="371365" y="281256"/>
                  </a:cubicBezTo>
                  <a:cubicBezTo>
                    <a:pt x="330549" y="240459"/>
                    <a:pt x="275239" y="217539"/>
                    <a:pt x="217539" y="217539"/>
                  </a:cubicBezTo>
                  <a:cubicBezTo>
                    <a:pt x="159836" y="217539"/>
                    <a:pt x="104499" y="240459"/>
                    <a:pt x="63710" y="281256"/>
                  </a:cubicBezTo>
                  <a:close/>
                </a:path>
              </a:pathLst>
            </a:custGeom>
            <a:grpFill/>
            <a:ln w="27192" cap="flat">
              <a:noFill/>
              <a:prstDash val="solid"/>
              <a:miter/>
            </a:ln>
          </p:spPr>
          <p:txBody>
            <a:bodyPr rtlCol="0" anchor="ctr"/>
            <a:lstStyle/>
            <a:p>
              <a:endParaRPr lang="uk-UA" sz="900">
                <a:solidFill>
                  <a:schemeClr val="bg1"/>
                </a:solidFill>
              </a:endParaRPr>
            </a:p>
          </p:txBody>
        </p:sp>
        <p:sp>
          <p:nvSpPr>
            <p:cNvPr id="48" name="Freeform: Shape 47">
              <a:extLst>
                <a:ext uri="{FF2B5EF4-FFF2-40B4-BE49-F238E27FC236}">
                  <a16:creationId xmlns:a16="http://schemas.microsoft.com/office/drawing/2014/main" id="{8E2E9DF4-2675-D07D-2712-AB304F874475}"/>
                </a:ext>
              </a:extLst>
            </p:cNvPr>
            <p:cNvSpPr/>
            <p:nvPr/>
          </p:nvSpPr>
          <p:spPr>
            <a:xfrm>
              <a:off x="10407554" y="1098754"/>
              <a:ext cx="435077" cy="435077"/>
            </a:xfrm>
            <a:custGeom>
              <a:avLst/>
              <a:gdLst>
                <a:gd name="connsiteX0" fmla="*/ 435077 w 435077"/>
                <a:gd name="connsiteY0" fmla="*/ 435077 h 435077"/>
                <a:gd name="connsiteX1" fmla="*/ 435077 w 435077"/>
                <a:gd name="connsiteY1" fmla="*/ 0 h 435077"/>
                <a:gd name="connsiteX2" fmla="*/ 217539 w 435077"/>
                <a:gd name="connsiteY2" fmla="*/ 217544 h 435077"/>
                <a:gd name="connsiteX3" fmla="*/ 435077 w 435077"/>
                <a:gd name="connsiteY3" fmla="*/ 435077 h 435077"/>
                <a:gd name="connsiteX4" fmla="*/ 0 w 435077"/>
                <a:gd name="connsiteY4" fmla="*/ 435077 h 435077"/>
                <a:gd name="connsiteX5" fmla="*/ 0 w 435077"/>
                <a:gd name="connsiteY5" fmla="*/ 3 h 435077"/>
                <a:gd name="connsiteX6" fmla="*/ 217511 w 435077"/>
                <a:gd name="connsiteY6" fmla="*/ 217544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44"/>
                  </a:lnTo>
                  <a:lnTo>
                    <a:pt x="435077" y="435077"/>
                  </a:lnTo>
                  <a:close/>
                  <a:moveTo>
                    <a:pt x="0" y="435077"/>
                  </a:moveTo>
                  <a:lnTo>
                    <a:pt x="0" y="3"/>
                  </a:lnTo>
                  <a:lnTo>
                    <a:pt x="217511" y="217544"/>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49" name="Freeform: Shape 48">
              <a:extLst>
                <a:ext uri="{FF2B5EF4-FFF2-40B4-BE49-F238E27FC236}">
                  <a16:creationId xmlns:a16="http://schemas.microsoft.com/office/drawing/2014/main" id="{0F0DCED4-AE43-21A6-DD9B-B4AC987C3D1F}"/>
                </a:ext>
              </a:extLst>
            </p:cNvPr>
            <p:cNvSpPr/>
            <p:nvPr/>
          </p:nvSpPr>
          <p:spPr>
            <a:xfrm>
              <a:off x="12147864" y="1098754"/>
              <a:ext cx="435077" cy="435077"/>
            </a:xfrm>
            <a:custGeom>
              <a:avLst/>
              <a:gdLst>
                <a:gd name="connsiteX0" fmla="*/ 435077 w 435077"/>
                <a:gd name="connsiteY0" fmla="*/ 435077 h 435077"/>
                <a:gd name="connsiteX1" fmla="*/ 435077 w 435077"/>
                <a:gd name="connsiteY1" fmla="*/ 217547 h 435077"/>
                <a:gd name="connsiteX2" fmla="*/ 435077 w 435077"/>
                <a:gd name="connsiteY2" fmla="*/ 16 h 435077"/>
                <a:gd name="connsiteX3" fmla="*/ 217565 w 435077"/>
                <a:gd name="connsiteY3" fmla="*/ 16 h 435077"/>
                <a:gd name="connsiteX4" fmla="*/ 435077 w 435077"/>
                <a:gd name="connsiteY4" fmla="*/ 217547 h 435077"/>
                <a:gd name="connsiteX5" fmla="*/ 217565 w 435077"/>
                <a:gd name="connsiteY5" fmla="*/ 435077 h 435077"/>
                <a:gd name="connsiteX6" fmla="*/ 435077 w 435077"/>
                <a:gd name="connsiteY6" fmla="*/ 435077 h 435077"/>
                <a:gd name="connsiteX7" fmla="*/ 0 w 435077"/>
                <a:gd name="connsiteY7" fmla="*/ 217531 h 435077"/>
                <a:gd name="connsiteX8" fmla="*/ 0 w 435077"/>
                <a:gd name="connsiteY8" fmla="*/ 0 h 435077"/>
                <a:gd name="connsiteX9" fmla="*/ 217539 w 435077"/>
                <a:gd name="connsiteY9" fmla="*/ 217531 h 435077"/>
                <a:gd name="connsiteX10" fmla="*/ 0 w 435077"/>
                <a:gd name="connsiteY10" fmla="*/ 217531 h 435077"/>
                <a:gd name="connsiteX11" fmla="*/ 0 w 435077"/>
                <a:gd name="connsiteY11" fmla="*/ 435072 h 435077"/>
                <a:gd name="connsiteX12" fmla="*/ 0 w 435077"/>
                <a:gd name="connsiteY12" fmla="*/ 217541 h 435077"/>
                <a:gd name="connsiteX13" fmla="*/ 217539 w 435077"/>
                <a:gd name="connsiteY13" fmla="*/ 217541 h 435077"/>
                <a:gd name="connsiteX14" fmla="*/ 0 w 435077"/>
                <a:gd name="connsiteY14" fmla="*/ 43507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47"/>
                  </a:lnTo>
                  <a:lnTo>
                    <a:pt x="435077" y="16"/>
                  </a:lnTo>
                  <a:lnTo>
                    <a:pt x="217565" y="16"/>
                  </a:lnTo>
                  <a:lnTo>
                    <a:pt x="435077" y="217547"/>
                  </a:lnTo>
                  <a:lnTo>
                    <a:pt x="217565" y="435077"/>
                  </a:lnTo>
                  <a:lnTo>
                    <a:pt x="435077" y="435077"/>
                  </a:lnTo>
                  <a:close/>
                  <a:moveTo>
                    <a:pt x="0" y="217531"/>
                  </a:moveTo>
                  <a:lnTo>
                    <a:pt x="0" y="0"/>
                  </a:lnTo>
                  <a:lnTo>
                    <a:pt x="217539" y="217531"/>
                  </a:lnTo>
                  <a:lnTo>
                    <a:pt x="0" y="217531"/>
                  </a:lnTo>
                  <a:close/>
                  <a:moveTo>
                    <a:pt x="0" y="435072"/>
                  </a:moveTo>
                  <a:lnTo>
                    <a:pt x="0" y="217541"/>
                  </a:lnTo>
                  <a:lnTo>
                    <a:pt x="217539" y="217541"/>
                  </a:lnTo>
                  <a:lnTo>
                    <a:pt x="0" y="435072"/>
                  </a:lnTo>
                  <a:close/>
                </a:path>
              </a:pathLst>
            </a:custGeom>
            <a:grpFill/>
            <a:ln w="27192" cap="flat">
              <a:noFill/>
              <a:prstDash val="solid"/>
              <a:miter/>
            </a:ln>
          </p:spPr>
          <p:txBody>
            <a:bodyPr rtlCol="0" anchor="ctr"/>
            <a:lstStyle/>
            <a:p>
              <a:endParaRPr lang="uk-UA" sz="900">
                <a:solidFill>
                  <a:schemeClr val="bg1"/>
                </a:solidFill>
              </a:endParaRPr>
            </a:p>
          </p:txBody>
        </p:sp>
        <p:sp>
          <p:nvSpPr>
            <p:cNvPr id="50" name="Freeform: Shape 49">
              <a:extLst>
                <a:ext uri="{FF2B5EF4-FFF2-40B4-BE49-F238E27FC236}">
                  <a16:creationId xmlns:a16="http://schemas.microsoft.com/office/drawing/2014/main" id="{79A71A6F-7381-4A27-5347-D4202A5E32C5}"/>
                </a:ext>
              </a:extLst>
            </p:cNvPr>
            <p:cNvSpPr/>
            <p:nvPr/>
          </p:nvSpPr>
          <p:spPr>
            <a:xfrm>
              <a:off x="13018045" y="1098754"/>
              <a:ext cx="435077" cy="435077"/>
            </a:xfrm>
            <a:custGeom>
              <a:avLst/>
              <a:gdLst>
                <a:gd name="connsiteX0" fmla="*/ 217539 w 435077"/>
                <a:gd name="connsiteY0" fmla="*/ 435069 h 435077"/>
                <a:gd name="connsiteX1" fmla="*/ 217539 w 435077"/>
                <a:gd name="connsiteY1" fmla="*/ 0 h 435077"/>
                <a:gd name="connsiteX2" fmla="*/ 435077 w 435077"/>
                <a:gd name="connsiteY2" fmla="*/ 217541 h 435077"/>
                <a:gd name="connsiteX3" fmla="*/ 217539 w 435077"/>
                <a:gd name="connsiteY3" fmla="*/ 435069 h 435077"/>
                <a:gd name="connsiteX4" fmla="*/ 0 w 435077"/>
                <a:gd name="connsiteY4" fmla="*/ 435077 h 435077"/>
                <a:gd name="connsiteX5" fmla="*/ 0 w 435077"/>
                <a:gd name="connsiteY5" fmla="*/ 8 h 435077"/>
                <a:gd name="connsiteX6" fmla="*/ 217539 w 435077"/>
                <a:gd name="connsiteY6" fmla="*/ 217547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69"/>
                  </a:moveTo>
                  <a:lnTo>
                    <a:pt x="217539" y="0"/>
                  </a:lnTo>
                  <a:lnTo>
                    <a:pt x="435077" y="217541"/>
                  </a:lnTo>
                  <a:lnTo>
                    <a:pt x="217539" y="435069"/>
                  </a:lnTo>
                  <a:close/>
                  <a:moveTo>
                    <a:pt x="0" y="435077"/>
                  </a:moveTo>
                  <a:lnTo>
                    <a:pt x="0" y="8"/>
                  </a:lnTo>
                  <a:lnTo>
                    <a:pt x="217539" y="217547"/>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51" name="Freeform: Shape 50">
              <a:extLst>
                <a:ext uri="{FF2B5EF4-FFF2-40B4-BE49-F238E27FC236}">
                  <a16:creationId xmlns:a16="http://schemas.microsoft.com/office/drawing/2014/main" id="{8973D896-B394-5A82-438A-E7DF7D986942}"/>
                </a:ext>
              </a:extLst>
            </p:cNvPr>
            <p:cNvSpPr/>
            <p:nvPr/>
          </p:nvSpPr>
          <p:spPr>
            <a:xfrm>
              <a:off x="14758382" y="1098754"/>
              <a:ext cx="435077" cy="435077"/>
            </a:xfrm>
            <a:custGeom>
              <a:avLst/>
              <a:gdLst>
                <a:gd name="connsiteX0" fmla="*/ 63712 w 435077"/>
                <a:gd name="connsiteY0" fmla="*/ 153824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4 h 435077"/>
                <a:gd name="connsiteX5" fmla="*/ 217539 w 435077"/>
                <a:gd name="connsiteY5" fmla="*/ 217539 h 435077"/>
                <a:gd name="connsiteX6" fmla="*/ 63712 w 435077"/>
                <a:gd name="connsiteY6" fmla="*/ 153824 h 435077"/>
                <a:gd name="connsiteX7" fmla="*/ 63712 w 435077"/>
                <a:gd name="connsiteY7" fmla="*/ 281256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56 h 435077"/>
                <a:gd name="connsiteX12" fmla="*/ 217539 w 435077"/>
                <a:gd name="connsiteY12" fmla="*/ 217539 h 435077"/>
                <a:gd name="connsiteX13" fmla="*/ 63712 w 435077"/>
                <a:gd name="connsiteY13" fmla="*/ 281256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4"/>
                  </a:moveTo>
                  <a:cubicBezTo>
                    <a:pt x="22924" y="113028"/>
                    <a:pt x="0" y="57697"/>
                    <a:pt x="0" y="0"/>
                  </a:cubicBezTo>
                  <a:lnTo>
                    <a:pt x="217539" y="0"/>
                  </a:lnTo>
                  <a:lnTo>
                    <a:pt x="435077" y="0"/>
                  </a:lnTo>
                  <a:cubicBezTo>
                    <a:pt x="435077" y="57697"/>
                    <a:pt x="412155" y="113028"/>
                    <a:pt x="371367" y="153824"/>
                  </a:cubicBezTo>
                  <a:cubicBezTo>
                    <a:pt x="330550" y="194621"/>
                    <a:pt x="275241" y="217539"/>
                    <a:pt x="217539" y="217539"/>
                  </a:cubicBezTo>
                  <a:cubicBezTo>
                    <a:pt x="159836" y="217539"/>
                    <a:pt x="104501" y="194621"/>
                    <a:pt x="63712" y="153824"/>
                  </a:cubicBezTo>
                  <a:close/>
                  <a:moveTo>
                    <a:pt x="63712" y="281256"/>
                  </a:moveTo>
                  <a:cubicBezTo>
                    <a:pt x="22924" y="322052"/>
                    <a:pt x="0" y="377383"/>
                    <a:pt x="0" y="435077"/>
                  </a:cubicBezTo>
                  <a:lnTo>
                    <a:pt x="217539" y="435077"/>
                  </a:lnTo>
                  <a:lnTo>
                    <a:pt x="435077" y="435077"/>
                  </a:lnTo>
                  <a:cubicBezTo>
                    <a:pt x="435077" y="377383"/>
                    <a:pt x="412155" y="322052"/>
                    <a:pt x="371367" y="281256"/>
                  </a:cubicBezTo>
                  <a:cubicBezTo>
                    <a:pt x="330550" y="240459"/>
                    <a:pt x="275241" y="217539"/>
                    <a:pt x="217539" y="217539"/>
                  </a:cubicBezTo>
                  <a:cubicBezTo>
                    <a:pt x="159836" y="217539"/>
                    <a:pt x="104501" y="240459"/>
                    <a:pt x="63712" y="281256"/>
                  </a:cubicBezTo>
                  <a:close/>
                </a:path>
              </a:pathLst>
            </a:custGeom>
            <a:grpFill/>
            <a:ln w="27192" cap="flat">
              <a:noFill/>
              <a:prstDash val="solid"/>
              <a:miter/>
            </a:ln>
          </p:spPr>
          <p:txBody>
            <a:bodyPr rtlCol="0" anchor="ctr"/>
            <a:lstStyle/>
            <a:p>
              <a:endParaRPr lang="uk-UA" sz="900">
                <a:solidFill>
                  <a:schemeClr val="bg1"/>
                </a:solidFill>
              </a:endParaRPr>
            </a:p>
          </p:txBody>
        </p:sp>
        <p:sp>
          <p:nvSpPr>
            <p:cNvPr id="52" name="Freeform: Shape 51">
              <a:extLst>
                <a:ext uri="{FF2B5EF4-FFF2-40B4-BE49-F238E27FC236}">
                  <a16:creationId xmlns:a16="http://schemas.microsoft.com/office/drawing/2014/main" id="{A7EEA846-67A5-3E6A-90FA-FCE7A51A5E78}"/>
                </a:ext>
              </a:extLst>
            </p:cNvPr>
            <p:cNvSpPr/>
            <p:nvPr/>
          </p:nvSpPr>
          <p:spPr>
            <a:xfrm>
              <a:off x="13888200" y="1098754"/>
              <a:ext cx="435077" cy="435077"/>
            </a:xfrm>
            <a:custGeom>
              <a:avLst/>
              <a:gdLst>
                <a:gd name="connsiteX0" fmla="*/ 435077 w 435077"/>
                <a:gd name="connsiteY0" fmla="*/ 435077 h 435077"/>
                <a:gd name="connsiteX1" fmla="*/ 435077 w 435077"/>
                <a:gd name="connsiteY1" fmla="*/ 0 h 435077"/>
                <a:gd name="connsiteX2" fmla="*/ 217565 w 435077"/>
                <a:gd name="connsiteY2" fmla="*/ 217544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44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44"/>
                  </a:lnTo>
                  <a:lnTo>
                    <a:pt x="435077" y="435077"/>
                  </a:lnTo>
                  <a:close/>
                  <a:moveTo>
                    <a:pt x="0" y="435077"/>
                  </a:moveTo>
                  <a:lnTo>
                    <a:pt x="0" y="3"/>
                  </a:lnTo>
                  <a:lnTo>
                    <a:pt x="217539" y="217544"/>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53" name="Freeform: Shape 52">
              <a:extLst>
                <a:ext uri="{FF2B5EF4-FFF2-40B4-BE49-F238E27FC236}">
                  <a16:creationId xmlns:a16="http://schemas.microsoft.com/office/drawing/2014/main" id="{E9350975-DACE-0DAF-4258-BCE53F735A38}"/>
                </a:ext>
              </a:extLst>
            </p:cNvPr>
            <p:cNvSpPr/>
            <p:nvPr/>
          </p:nvSpPr>
          <p:spPr>
            <a:xfrm>
              <a:off x="15628536" y="1098754"/>
              <a:ext cx="435077" cy="435077"/>
            </a:xfrm>
            <a:custGeom>
              <a:avLst/>
              <a:gdLst>
                <a:gd name="connsiteX0" fmla="*/ 435077 w 435077"/>
                <a:gd name="connsiteY0" fmla="*/ 435077 h 435077"/>
                <a:gd name="connsiteX1" fmla="*/ 435077 w 435077"/>
                <a:gd name="connsiteY1" fmla="*/ 217547 h 435077"/>
                <a:gd name="connsiteX2" fmla="*/ 435077 w 435077"/>
                <a:gd name="connsiteY2" fmla="*/ 16 h 435077"/>
                <a:gd name="connsiteX3" fmla="*/ 217567 w 435077"/>
                <a:gd name="connsiteY3" fmla="*/ 16 h 435077"/>
                <a:gd name="connsiteX4" fmla="*/ 435077 w 435077"/>
                <a:gd name="connsiteY4" fmla="*/ 217547 h 435077"/>
                <a:gd name="connsiteX5" fmla="*/ 217567 w 435077"/>
                <a:gd name="connsiteY5" fmla="*/ 435077 h 435077"/>
                <a:gd name="connsiteX6" fmla="*/ 435077 w 435077"/>
                <a:gd name="connsiteY6" fmla="*/ 435077 h 435077"/>
                <a:gd name="connsiteX7" fmla="*/ 0 w 435077"/>
                <a:gd name="connsiteY7" fmla="*/ 217531 h 435077"/>
                <a:gd name="connsiteX8" fmla="*/ 0 w 435077"/>
                <a:gd name="connsiteY8" fmla="*/ 0 h 435077"/>
                <a:gd name="connsiteX9" fmla="*/ 217539 w 435077"/>
                <a:gd name="connsiteY9" fmla="*/ 217531 h 435077"/>
                <a:gd name="connsiteX10" fmla="*/ 0 w 435077"/>
                <a:gd name="connsiteY10" fmla="*/ 217531 h 435077"/>
                <a:gd name="connsiteX11" fmla="*/ 0 w 435077"/>
                <a:gd name="connsiteY11" fmla="*/ 435072 h 435077"/>
                <a:gd name="connsiteX12" fmla="*/ 0 w 435077"/>
                <a:gd name="connsiteY12" fmla="*/ 217541 h 435077"/>
                <a:gd name="connsiteX13" fmla="*/ 217539 w 435077"/>
                <a:gd name="connsiteY13" fmla="*/ 217541 h 435077"/>
                <a:gd name="connsiteX14" fmla="*/ 0 w 435077"/>
                <a:gd name="connsiteY14" fmla="*/ 43507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47"/>
                  </a:lnTo>
                  <a:lnTo>
                    <a:pt x="435077" y="16"/>
                  </a:lnTo>
                  <a:lnTo>
                    <a:pt x="217567" y="16"/>
                  </a:lnTo>
                  <a:lnTo>
                    <a:pt x="435077" y="217547"/>
                  </a:lnTo>
                  <a:lnTo>
                    <a:pt x="217567" y="435077"/>
                  </a:lnTo>
                  <a:lnTo>
                    <a:pt x="435077" y="435077"/>
                  </a:lnTo>
                  <a:close/>
                  <a:moveTo>
                    <a:pt x="0" y="217531"/>
                  </a:moveTo>
                  <a:lnTo>
                    <a:pt x="0" y="0"/>
                  </a:lnTo>
                  <a:lnTo>
                    <a:pt x="217539" y="217531"/>
                  </a:lnTo>
                  <a:lnTo>
                    <a:pt x="0" y="217531"/>
                  </a:lnTo>
                  <a:close/>
                  <a:moveTo>
                    <a:pt x="0" y="435072"/>
                  </a:moveTo>
                  <a:lnTo>
                    <a:pt x="0" y="217541"/>
                  </a:lnTo>
                  <a:lnTo>
                    <a:pt x="217539" y="217541"/>
                  </a:lnTo>
                  <a:lnTo>
                    <a:pt x="0" y="435072"/>
                  </a:lnTo>
                  <a:close/>
                </a:path>
              </a:pathLst>
            </a:custGeom>
            <a:grpFill/>
            <a:ln w="27192" cap="flat">
              <a:noFill/>
              <a:prstDash val="solid"/>
              <a:miter/>
            </a:ln>
          </p:spPr>
          <p:txBody>
            <a:bodyPr rtlCol="0" anchor="ctr"/>
            <a:lstStyle/>
            <a:p>
              <a:endParaRPr lang="uk-UA" sz="900">
                <a:solidFill>
                  <a:schemeClr val="bg1"/>
                </a:solidFill>
              </a:endParaRPr>
            </a:p>
          </p:txBody>
        </p:sp>
        <p:sp>
          <p:nvSpPr>
            <p:cNvPr id="54" name="Freeform: Shape 53">
              <a:extLst>
                <a:ext uri="{FF2B5EF4-FFF2-40B4-BE49-F238E27FC236}">
                  <a16:creationId xmlns:a16="http://schemas.microsoft.com/office/drawing/2014/main" id="{406A8E34-EE56-4789-E00C-1943A41C29AE}"/>
                </a:ext>
              </a:extLst>
            </p:cNvPr>
            <p:cNvSpPr/>
            <p:nvPr/>
          </p:nvSpPr>
          <p:spPr>
            <a:xfrm>
              <a:off x="16498719" y="1098754"/>
              <a:ext cx="435077" cy="435077"/>
            </a:xfrm>
            <a:custGeom>
              <a:avLst/>
              <a:gdLst>
                <a:gd name="connsiteX0" fmla="*/ 217539 w 435077"/>
                <a:gd name="connsiteY0" fmla="*/ 435069 h 435077"/>
                <a:gd name="connsiteX1" fmla="*/ 217539 w 435077"/>
                <a:gd name="connsiteY1" fmla="*/ 0 h 435077"/>
                <a:gd name="connsiteX2" fmla="*/ 435077 w 435077"/>
                <a:gd name="connsiteY2" fmla="*/ 217541 h 435077"/>
                <a:gd name="connsiteX3" fmla="*/ 217539 w 435077"/>
                <a:gd name="connsiteY3" fmla="*/ 435069 h 435077"/>
                <a:gd name="connsiteX4" fmla="*/ 0 w 435077"/>
                <a:gd name="connsiteY4" fmla="*/ 435077 h 435077"/>
                <a:gd name="connsiteX5" fmla="*/ 0 w 435077"/>
                <a:gd name="connsiteY5" fmla="*/ 8 h 435077"/>
                <a:gd name="connsiteX6" fmla="*/ 217539 w 435077"/>
                <a:gd name="connsiteY6" fmla="*/ 217547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69"/>
                  </a:moveTo>
                  <a:lnTo>
                    <a:pt x="217539" y="0"/>
                  </a:lnTo>
                  <a:lnTo>
                    <a:pt x="435077" y="217541"/>
                  </a:lnTo>
                  <a:lnTo>
                    <a:pt x="217539" y="435069"/>
                  </a:lnTo>
                  <a:close/>
                  <a:moveTo>
                    <a:pt x="0" y="435077"/>
                  </a:moveTo>
                  <a:lnTo>
                    <a:pt x="0" y="8"/>
                  </a:lnTo>
                  <a:lnTo>
                    <a:pt x="217539" y="217547"/>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55" name="Freeform: Shape 54">
              <a:extLst>
                <a:ext uri="{FF2B5EF4-FFF2-40B4-BE49-F238E27FC236}">
                  <a16:creationId xmlns:a16="http://schemas.microsoft.com/office/drawing/2014/main" id="{DB50D061-77DE-1D9E-015B-14A6B29547C8}"/>
                </a:ext>
              </a:extLst>
            </p:cNvPr>
            <p:cNvSpPr/>
            <p:nvPr/>
          </p:nvSpPr>
          <p:spPr>
            <a:xfrm>
              <a:off x="18239029" y="1098754"/>
              <a:ext cx="435077" cy="435077"/>
            </a:xfrm>
            <a:custGeom>
              <a:avLst/>
              <a:gdLst>
                <a:gd name="connsiteX0" fmla="*/ 63710 w 435077"/>
                <a:gd name="connsiteY0" fmla="*/ 153824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4 h 435077"/>
                <a:gd name="connsiteX5" fmla="*/ 217539 w 435077"/>
                <a:gd name="connsiteY5" fmla="*/ 217539 h 435077"/>
                <a:gd name="connsiteX6" fmla="*/ 63710 w 435077"/>
                <a:gd name="connsiteY6" fmla="*/ 153824 h 435077"/>
                <a:gd name="connsiteX7" fmla="*/ 63710 w 435077"/>
                <a:gd name="connsiteY7" fmla="*/ 281256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6 h 435077"/>
                <a:gd name="connsiteX12" fmla="*/ 217539 w 435077"/>
                <a:gd name="connsiteY12" fmla="*/ 217539 h 435077"/>
                <a:gd name="connsiteX13" fmla="*/ 63710 w 435077"/>
                <a:gd name="connsiteY13" fmla="*/ 281256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4"/>
                  </a:moveTo>
                  <a:cubicBezTo>
                    <a:pt x="22922" y="113028"/>
                    <a:pt x="0" y="57697"/>
                    <a:pt x="0" y="0"/>
                  </a:cubicBezTo>
                  <a:lnTo>
                    <a:pt x="217539" y="0"/>
                  </a:lnTo>
                  <a:lnTo>
                    <a:pt x="435077" y="0"/>
                  </a:lnTo>
                  <a:cubicBezTo>
                    <a:pt x="435077" y="57697"/>
                    <a:pt x="412154" y="113028"/>
                    <a:pt x="371365" y="153824"/>
                  </a:cubicBezTo>
                  <a:cubicBezTo>
                    <a:pt x="330577" y="194621"/>
                    <a:pt x="275241" y="217539"/>
                    <a:pt x="217539" y="217539"/>
                  </a:cubicBezTo>
                  <a:cubicBezTo>
                    <a:pt x="159836" y="217539"/>
                    <a:pt x="104527" y="194621"/>
                    <a:pt x="63710" y="153824"/>
                  </a:cubicBezTo>
                  <a:close/>
                  <a:moveTo>
                    <a:pt x="63710" y="281256"/>
                  </a:moveTo>
                  <a:cubicBezTo>
                    <a:pt x="22922" y="322052"/>
                    <a:pt x="0" y="377383"/>
                    <a:pt x="0" y="435077"/>
                  </a:cubicBezTo>
                  <a:lnTo>
                    <a:pt x="217539" y="435077"/>
                  </a:lnTo>
                  <a:lnTo>
                    <a:pt x="435077" y="435077"/>
                  </a:lnTo>
                  <a:cubicBezTo>
                    <a:pt x="435077" y="377383"/>
                    <a:pt x="412154" y="322052"/>
                    <a:pt x="371365" y="281256"/>
                  </a:cubicBezTo>
                  <a:cubicBezTo>
                    <a:pt x="330577" y="240459"/>
                    <a:pt x="275241" y="217539"/>
                    <a:pt x="217539" y="217539"/>
                  </a:cubicBezTo>
                  <a:cubicBezTo>
                    <a:pt x="159836" y="217539"/>
                    <a:pt x="104527" y="240459"/>
                    <a:pt x="63710" y="281256"/>
                  </a:cubicBezTo>
                  <a:close/>
                </a:path>
              </a:pathLst>
            </a:custGeom>
            <a:grpFill/>
            <a:ln w="27192" cap="flat">
              <a:noFill/>
              <a:prstDash val="solid"/>
              <a:miter/>
            </a:ln>
          </p:spPr>
          <p:txBody>
            <a:bodyPr rtlCol="0" anchor="ctr"/>
            <a:lstStyle/>
            <a:p>
              <a:endParaRPr lang="uk-UA" sz="900">
                <a:solidFill>
                  <a:schemeClr val="bg1"/>
                </a:solidFill>
              </a:endParaRPr>
            </a:p>
          </p:txBody>
        </p:sp>
        <p:sp>
          <p:nvSpPr>
            <p:cNvPr id="56" name="Freeform: Shape 55">
              <a:extLst>
                <a:ext uri="{FF2B5EF4-FFF2-40B4-BE49-F238E27FC236}">
                  <a16:creationId xmlns:a16="http://schemas.microsoft.com/office/drawing/2014/main" id="{DA7BC342-C3E9-DD39-6266-B27B575ACA8C}"/>
                </a:ext>
              </a:extLst>
            </p:cNvPr>
            <p:cNvSpPr/>
            <p:nvPr/>
          </p:nvSpPr>
          <p:spPr>
            <a:xfrm>
              <a:off x="17368874" y="1098754"/>
              <a:ext cx="435077" cy="435077"/>
            </a:xfrm>
            <a:custGeom>
              <a:avLst/>
              <a:gdLst>
                <a:gd name="connsiteX0" fmla="*/ 435077 w 435077"/>
                <a:gd name="connsiteY0" fmla="*/ 435077 h 435077"/>
                <a:gd name="connsiteX1" fmla="*/ 435077 w 435077"/>
                <a:gd name="connsiteY1" fmla="*/ 0 h 435077"/>
                <a:gd name="connsiteX2" fmla="*/ 217539 w 435077"/>
                <a:gd name="connsiteY2" fmla="*/ 217544 h 435077"/>
                <a:gd name="connsiteX3" fmla="*/ 435077 w 435077"/>
                <a:gd name="connsiteY3" fmla="*/ 435077 h 435077"/>
                <a:gd name="connsiteX4" fmla="*/ 0 w 435077"/>
                <a:gd name="connsiteY4" fmla="*/ 435077 h 435077"/>
                <a:gd name="connsiteX5" fmla="*/ 0 w 435077"/>
                <a:gd name="connsiteY5" fmla="*/ 3 h 435077"/>
                <a:gd name="connsiteX6" fmla="*/ 217510 w 435077"/>
                <a:gd name="connsiteY6" fmla="*/ 217544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44"/>
                  </a:lnTo>
                  <a:lnTo>
                    <a:pt x="435077" y="435077"/>
                  </a:lnTo>
                  <a:close/>
                  <a:moveTo>
                    <a:pt x="0" y="435077"/>
                  </a:moveTo>
                  <a:lnTo>
                    <a:pt x="0" y="3"/>
                  </a:lnTo>
                  <a:lnTo>
                    <a:pt x="217510" y="217544"/>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57" name="Freeform: Shape 56">
              <a:extLst>
                <a:ext uri="{FF2B5EF4-FFF2-40B4-BE49-F238E27FC236}">
                  <a16:creationId xmlns:a16="http://schemas.microsoft.com/office/drawing/2014/main" id="{86257CB5-8EE0-A208-C173-2EA0F5D80ABF}"/>
                </a:ext>
              </a:extLst>
            </p:cNvPr>
            <p:cNvSpPr/>
            <p:nvPr/>
          </p:nvSpPr>
          <p:spPr>
            <a:xfrm>
              <a:off x="19109210" y="1098754"/>
              <a:ext cx="435077" cy="435077"/>
            </a:xfrm>
            <a:custGeom>
              <a:avLst/>
              <a:gdLst>
                <a:gd name="connsiteX0" fmla="*/ 435077 w 435077"/>
                <a:gd name="connsiteY0" fmla="*/ 435077 h 435077"/>
                <a:gd name="connsiteX1" fmla="*/ 435077 w 435077"/>
                <a:gd name="connsiteY1" fmla="*/ 217547 h 435077"/>
                <a:gd name="connsiteX2" fmla="*/ 435077 w 435077"/>
                <a:gd name="connsiteY2" fmla="*/ 16 h 435077"/>
                <a:gd name="connsiteX3" fmla="*/ 217539 w 435077"/>
                <a:gd name="connsiteY3" fmla="*/ 16 h 435077"/>
                <a:gd name="connsiteX4" fmla="*/ 435077 w 435077"/>
                <a:gd name="connsiteY4" fmla="*/ 217547 h 435077"/>
                <a:gd name="connsiteX5" fmla="*/ 217539 w 435077"/>
                <a:gd name="connsiteY5" fmla="*/ 435077 h 435077"/>
                <a:gd name="connsiteX6" fmla="*/ 435077 w 435077"/>
                <a:gd name="connsiteY6" fmla="*/ 435077 h 435077"/>
                <a:gd name="connsiteX7" fmla="*/ 0 w 435077"/>
                <a:gd name="connsiteY7" fmla="*/ 217531 h 435077"/>
                <a:gd name="connsiteX8" fmla="*/ 0 w 435077"/>
                <a:gd name="connsiteY8" fmla="*/ 0 h 435077"/>
                <a:gd name="connsiteX9" fmla="*/ 217512 w 435077"/>
                <a:gd name="connsiteY9" fmla="*/ 217531 h 435077"/>
                <a:gd name="connsiteX10" fmla="*/ 0 w 435077"/>
                <a:gd name="connsiteY10" fmla="*/ 217531 h 435077"/>
                <a:gd name="connsiteX11" fmla="*/ 0 w 435077"/>
                <a:gd name="connsiteY11" fmla="*/ 435072 h 435077"/>
                <a:gd name="connsiteX12" fmla="*/ 0 w 435077"/>
                <a:gd name="connsiteY12" fmla="*/ 217541 h 435077"/>
                <a:gd name="connsiteX13" fmla="*/ 217512 w 435077"/>
                <a:gd name="connsiteY13" fmla="*/ 217541 h 435077"/>
                <a:gd name="connsiteX14" fmla="*/ 0 w 435077"/>
                <a:gd name="connsiteY14" fmla="*/ 43507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47"/>
                  </a:lnTo>
                  <a:lnTo>
                    <a:pt x="435077" y="16"/>
                  </a:lnTo>
                  <a:lnTo>
                    <a:pt x="217539" y="16"/>
                  </a:lnTo>
                  <a:lnTo>
                    <a:pt x="435077" y="217547"/>
                  </a:lnTo>
                  <a:lnTo>
                    <a:pt x="217539" y="435077"/>
                  </a:lnTo>
                  <a:lnTo>
                    <a:pt x="435077" y="435077"/>
                  </a:lnTo>
                  <a:close/>
                  <a:moveTo>
                    <a:pt x="0" y="217531"/>
                  </a:moveTo>
                  <a:lnTo>
                    <a:pt x="0" y="0"/>
                  </a:lnTo>
                  <a:lnTo>
                    <a:pt x="217512" y="217531"/>
                  </a:lnTo>
                  <a:lnTo>
                    <a:pt x="0" y="217531"/>
                  </a:lnTo>
                  <a:close/>
                  <a:moveTo>
                    <a:pt x="0" y="435072"/>
                  </a:moveTo>
                  <a:lnTo>
                    <a:pt x="0" y="217541"/>
                  </a:lnTo>
                  <a:lnTo>
                    <a:pt x="217512" y="217541"/>
                  </a:lnTo>
                  <a:lnTo>
                    <a:pt x="0" y="435072"/>
                  </a:lnTo>
                  <a:close/>
                </a:path>
              </a:pathLst>
            </a:custGeom>
            <a:grpFill/>
            <a:ln w="27192" cap="flat">
              <a:noFill/>
              <a:prstDash val="solid"/>
              <a:miter/>
            </a:ln>
          </p:spPr>
          <p:txBody>
            <a:bodyPr rtlCol="0" anchor="ctr"/>
            <a:lstStyle/>
            <a:p>
              <a:endParaRPr lang="uk-UA" sz="900">
                <a:solidFill>
                  <a:schemeClr val="bg1"/>
                </a:solidFill>
              </a:endParaRPr>
            </a:p>
          </p:txBody>
        </p:sp>
        <p:sp>
          <p:nvSpPr>
            <p:cNvPr id="58" name="Freeform: Shape 57">
              <a:extLst>
                <a:ext uri="{FF2B5EF4-FFF2-40B4-BE49-F238E27FC236}">
                  <a16:creationId xmlns:a16="http://schemas.microsoft.com/office/drawing/2014/main" id="{8BE01CCB-A722-2A16-F3F0-F5CCDB5531F1}"/>
                </a:ext>
              </a:extLst>
            </p:cNvPr>
            <p:cNvSpPr/>
            <p:nvPr/>
          </p:nvSpPr>
          <p:spPr>
            <a:xfrm>
              <a:off x="19979365" y="1098754"/>
              <a:ext cx="435077" cy="435077"/>
            </a:xfrm>
            <a:custGeom>
              <a:avLst/>
              <a:gdLst>
                <a:gd name="connsiteX0" fmla="*/ 217539 w 435077"/>
                <a:gd name="connsiteY0" fmla="*/ 435069 h 435077"/>
                <a:gd name="connsiteX1" fmla="*/ 217539 w 435077"/>
                <a:gd name="connsiteY1" fmla="*/ 0 h 435077"/>
                <a:gd name="connsiteX2" fmla="*/ 435077 w 435077"/>
                <a:gd name="connsiteY2" fmla="*/ 217541 h 435077"/>
                <a:gd name="connsiteX3" fmla="*/ 217539 w 435077"/>
                <a:gd name="connsiteY3" fmla="*/ 435069 h 435077"/>
                <a:gd name="connsiteX4" fmla="*/ 0 w 435077"/>
                <a:gd name="connsiteY4" fmla="*/ 435077 h 435077"/>
                <a:gd name="connsiteX5" fmla="*/ 0 w 435077"/>
                <a:gd name="connsiteY5" fmla="*/ 8 h 435077"/>
                <a:gd name="connsiteX6" fmla="*/ 217539 w 435077"/>
                <a:gd name="connsiteY6" fmla="*/ 217547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69"/>
                  </a:moveTo>
                  <a:lnTo>
                    <a:pt x="217539" y="0"/>
                  </a:lnTo>
                  <a:lnTo>
                    <a:pt x="435077" y="217541"/>
                  </a:lnTo>
                  <a:lnTo>
                    <a:pt x="217539" y="435069"/>
                  </a:lnTo>
                  <a:close/>
                  <a:moveTo>
                    <a:pt x="0" y="435077"/>
                  </a:moveTo>
                  <a:lnTo>
                    <a:pt x="0" y="8"/>
                  </a:lnTo>
                  <a:lnTo>
                    <a:pt x="217539" y="217547"/>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59" name="Freeform: Shape 58">
              <a:extLst>
                <a:ext uri="{FF2B5EF4-FFF2-40B4-BE49-F238E27FC236}">
                  <a16:creationId xmlns:a16="http://schemas.microsoft.com/office/drawing/2014/main" id="{F4B4F6AA-6638-8F96-2197-7C6A9042D3DE}"/>
                </a:ext>
              </a:extLst>
            </p:cNvPr>
            <p:cNvSpPr/>
            <p:nvPr/>
          </p:nvSpPr>
          <p:spPr>
            <a:xfrm>
              <a:off x="21719702" y="1098754"/>
              <a:ext cx="435077" cy="435077"/>
            </a:xfrm>
            <a:custGeom>
              <a:avLst/>
              <a:gdLst>
                <a:gd name="connsiteX0" fmla="*/ 63712 w 435077"/>
                <a:gd name="connsiteY0" fmla="*/ 153824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4 h 435077"/>
                <a:gd name="connsiteX5" fmla="*/ 217539 w 435077"/>
                <a:gd name="connsiteY5" fmla="*/ 217539 h 435077"/>
                <a:gd name="connsiteX6" fmla="*/ 63712 w 435077"/>
                <a:gd name="connsiteY6" fmla="*/ 153824 h 435077"/>
                <a:gd name="connsiteX7" fmla="*/ 63712 w 435077"/>
                <a:gd name="connsiteY7" fmla="*/ 281256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56 h 435077"/>
                <a:gd name="connsiteX12" fmla="*/ 217539 w 435077"/>
                <a:gd name="connsiteY12" fmla="*/ 217539 h 435077"/>
                <a:gd name="connsiteX13" fmla="*/ 63712 w 435077"/>
                <a:gd name="connsiteY13" fmla="*/ 281256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4"/>
                  </a:moveTo>
                  <a:cubicBezTo>
                    <a:pt x="22897" y="113028"/>
                    <a:pt x="0" y="57697"/>
                    <a:pt x="0" y="0"/>
                  </a:cubicBezTo>
                  <a:lnTo>
                    <a:pt x="217539" y="0"/>
                  </a:lnTo>
                  <a:lnTo>
                    <a:pt x="435077" y="0"/>
                  </a:lnTo>
                  <a:cubicBezTo>
                    <a:pt x="435077" y="57697"/>
                    <a:pt x="412155" y="113028"/>
                    <a:pt x="371339" y="153824"/>
                  </a:cubicBezTo>
                  <a:cubicBezTo>
                    <a:pt x="330550" y="194621"/>
                    <a:pt x="275215" y="217539"/>
                    <a:pt x="217539" y="217539"/>
                  </a:cubicBezTo>
                  <a:cubicBezTo>
                    <a:pt x="159838" y="217539"/>
                    <a:pt x="104501" y="194621"/>
                    <a:pt x="63712" y="153824"/>
                  </a:cubicBezTo>
                  <a:close/>
                  <a:moveTo>
                    <a:pt x="63712" y="281256"/>
                  </a:moveTo>
                  <a:cubicBezTo>
                    <a:pt x="22897" y="322052"/>
                    <a:pt x="0" y="377383"/>
                    <a:pt x="0" y="435077"/>
                  </a:cubicBezTo>
                  <a:lnTo>
                    <a:pt x="217539" y="435077"/>
                  </a:lnTo>
                  <a:lnTo>
                    <a:pt x="435077" y="435077"/>
                  </a:lnTo>
                  <a:cubicBezTo>
                    <a:pt x="435077" y="377383"/>
                    <a:pt x="412155" y="322052"/>
                    <a:pt x="371339" y="281256"/>
                  </a:cubicBezTo>
                  <a:cubicBezTo>
                    <a:pt x="330550" y="240459"/>
                    <a:pt x="275215" y="217539"/>
                    <a:pt x="217539" y="217539"/>
                  </a:cubicBezTo>
                  <a:cubicBezTo>
                    <a:pt x="159838" y="217539"/>
                    <a:pt x="104501" y="240459"/>
                    <a:pt x="63712" y="281256"/>
                  </a:cubicBezTo>
                  <a:close/>
                </a:path>
              </a:pathLst>
            </a:custGeom>
            <a:grpFill/>
            <a:ln w="27192" cap="flat">
              <a:noFill/>
              <a:prstDash val="solid"/>
              <a:miter/>
            </a:ln>
          </p:spPr>
          <p:txBody>
            <a:bodyPr rtlCol="0" anchor="ctr"/>
            <a:lstStyle/>
            <a:p>
              <a:endParaRPr lang="uk-UA" sz="900">
                <a:solidFill>
                  <a:schemeClr val="bg1"/>
                </a:solidFill>
              </a:endParaRPr>
            </a:p>
          </p:txBody>
        </p:sp>
        <p:sp>
          <p:nvSpPr>
            <p:cNvPr id="60" name="Freeform: Shape 59">
              <a:extLst>
                <a:ext uri="{FF2B5EF4-FFF2-40B4-BE49-F238E27FC236}">
                  <a16:creationId xmlns:a16="http://schemas.microsoft.com/office/drawing/2014/main" id="{1EDBB0C7-0D29-0DCC-EE5E-55373D6E399D}"/>
                </a:ext>
              </a:extLst>
            </p:cNvPr>
            <p:cNvSpPr/>
            <p:nvPr/>
          </p:nvSpPr>
          <p:spPr>
            <a:xfrm>
              <a:off x="20849520" y="1098754"/>
              <a:ext cx="435077" cy="435077"/>
            </a:xfrm>
            <a:custGeom>
              <a:avLst/>
              <a:gdLst>
                <a:gd name="connsiteX0" fmla="*/ 435077 w 435077"/>
                <a:gd name="connsiteY0" fmla="*/ 435077 h 435077"/>
                <a:gd name="connsiteX1" fmla="*/ 435077 w 435077"/>
                <a:gd name="connsiteY1" fmla="*/ 0 h 435077"/>
                <a:gd name="connsiteX2" fmla="*/ 217565 w 435077"/>
                <a:gd name="connsiteY2" fmla="*/ 217544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44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44"/>
                  </a:lnTo>
                  <a:lnTo>
                    <a:pt x="435077" y="435077"/>
                  </a:lnTo>
                  <a:close/>
                  <a:moveTo>
                    <a:pt x="0" y="435077"/>
                  </a:moveTo>
                  <a:lnTo>
                    <a:pt x="0" y="3"/>
                  </a:lnTo>
                  <a:lnTo>
                    <a:pt x="217539" y="217544"/>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61" name="Freeform: Shape 60">
              <a:extLst>
                <a:ext uri="{FF2B5EF4-FFF2-40B4-BE49-F238E27FC236}">
                  <a16:creationId xmlns:a16="http://schemas.microsoft.com/office/drawing/2014/main" id="{791DC09E-45EE-3C79-5C2D-1A29F34E4801}"/>
                </a:ext>
              </a:extLst>
            </p:cNvPr>
            <p:cNvSpPr/>
            <p:nvPr/>
          </p:nvSpPr>
          <p:spPr>
            <a:xfrm>
              <a:off x="22589856" y="1098754"/>
              <a:ext cx="435077" cy="435077"/>
            </a:xfrm>
            <a:custGeom>
              <a:avLst/>
              <a:gdLst>
                <a:gd name="connsiteX0" fmla="*/ 435077 w 435077"/>
                <a:gd name="connsiteY0" fmla="*/ 435077 h 435077"/>
                <a:gd name="connsiteX1" fmla="*/ 435077 w 435077"/>
                <a:gd name="connsiteY1" fmla="*/ 217547 h 435077"/>
                <a:gd name="connsiteX2" fmla="*/ 435077 w 435077"/>
                <a:gd name="connsiteY2" fmla="*/ 16 h 435077"/>
                <a:gd name="connsiteX3" fmla="*/ 217567 w 435077"/>
                <a:gd name="connsiteY3" fmla="*/ 16 h 435077"/>
                <a:gd name="connsiteX4" fmla="*/ 435077 w 435077"/>
                <a:gd name="connsiteY4" fmla="*/ 217547 h 435077"/>
                <a:gd name="connsiteX5" fmla="*/ 217567 w 435077"/>
                <a:gd name="connsiteY5" fmla="*/ 435077 h 435077"/>
                <a:gd name="connsiteX6" fmla="*/ 435077 w 435077"/>
                <a:gd name="connsiteY6" fmla="*/ 435077 h 435077"/>
                <a:gd name="connsiteX7" fmla="*/ 0 w 435077"/>
                <a:gd name="connsiteY7" fmla="*/ 217531 h 435077"/>
                <a:gd name="connsiteX8" fmla="*/ 0 w 435077"/>
                <a:gd name="connsiteY8" fmla="*/ 0 h 435077"/>
                <a:gd name="connsiteX9" fmla="*/ 217539 w 435077"/>
                <a:gd name="connsiteY9" fmla="*/ 217531 h 435077"/>
                <a:gd name="connsiteX10" fmla="*/ 0 w 435077"/>
                <a:gd name="connsiteY10" fmla="*/ 217531 h 435077"/>
                <a:gd name="connsiteX11" fmla="*/ 0 w 435077"/>
                <a:gd name="connsiteY11" fmla="*/ 435072 h 435077"/>
                <a:gd name="connsiteX12" fmla="*/ 0 w 435077"/>
                <a:gd name="connsiteY12" fmla="*/ 217541 h 435077"/>
                <a:gd name="connsiteX13" fmla="*/ 217539 w 435077"/>
                <a:gd name="connsiteY13" fmla="*/ 217541 h 435077"/>
                <a:gd name="connsiteX14" fmla="*/ 0 w 435077"/>
                <a:gd name="connsiteY14" fmla="*/ 43507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47"/>
                  </a:lnTo>
                  <a:lnTo>
                    <a:pt x="435077" y="16"/>
                  </a:lnTo>
                  <a:lnTo>
                    <a:pt x="217567" y="16"/>
                  </a:lnTo>
                  <a:lnTo>
                    <a:pt x="435077" y="217547"/>
                  </a:lnTo>
                  <a:lnTo>
                    <a:pt x="217567" y="435077"/>
                  </a:lnTo>
                  <a:lnTo>
                    <a:pt x="435077" y="435077"/>
                  </a:lnTo>
                  <a:close/>
                  <a:moveTo>
                    <a:pt x="0" y="217531"/>
                  </a:moveTo>
                  <a:lnTo>
                    <a:pt x="0" y="0"/>
                  </a:lnTo>
                  <a:lnTo>
                    <a:pt x="217539" y="217531"/>
                  </a:lnTo>
                  <a:lnTo>
                    <a:pt x="0" y="217531"/>
                  </a:lnTo>
                  <a:close/>
                  <a:moveTo>
                    <a:pt x="0" y="435072"/>
                  </a:moveTo>
                  <a:lnTo>
                    <a:pt x="0" y="217541"/>
                  </a:lnTo>
                  <a:lnTo>
                    <a:pt x="217539" y="217541"/>
                  </a:lnTo>
                  <a:lnTo>
                    <a:pt x="0" y="435072"/>
                  </a:lnTo>
                  <a:close/>
                </a:path>
              </a:pathLst>
            </a:custGeom>
            <a:grpFill/>
            <a:ln w="27192" cap="flat">
              <a:noFill/>
              <a:prstDash val="solid"/>
              <a:miter/>
            </a:ln>
          </p:spPr>
          <p:txBody>
            <a:bodyPr rtlCol="0" anchor="ctr"/>
            <a:lstStyle/>
            <a:p>
              <a:endParaRPr lang="uk-UA" sz="900">
                <a:solidFill>
                  <a:schemeClr val="bg1"/>
                </a:solidFill>
              </a:endParaRPr>
            </a:p>
          </p:txBody>
        </p:sp>
        <p:sp>
          <p:nvSpPr>
            <p:cNvPr id="62" name="Freeform: Shape 61">
              <a:extLst>
                <a:ext uri="{FF2B5EF4-FFF2-40B4-BE49-F238E27FC236}">
                  <a16:creationId xmlns:a16="http://schemas.microsoft.com/office/drawing/2014/main" id="{FA9E9B9F-3E7F-31CE-1A51-EF0CE315BE96}"/>
                </a:ext>
              </a:extLst>
            </p:cNvPr>
            <p:cNvSpPr/>
            <p:nvPr/>
          </p:nvSpPr>
          <p:spPr>
            <a:xfrm>
              <a:off x="23460039" y="1098754"/>
              <a:ext cx="435077" cy="435077"/>
            </a:xfrm>
            <a:custGeom>
              <a:avLst/>
              <a:gdLst>
                <a:gd name="connsiteX0" fmla="*/ 217539 w 435077"/>
                <a:gd name="connsiteY0" fmla="*/ 435069 h 435077"/>
                <a:gd name="connsiteX1" fmla="*/ 217539 w 435077"/>
                <a:gd name="connsiteY1" fmla="*/ 0 h 435077"/>
                <a:gd name="connsiteX2" fmla="*/ 435077 w 435077"/>
                <a:gd name="connsiteY2" fmla="*/ 217541 h 435077"/>
                <a:gd name="connsiteX3" fmla="*/ 217539 w 435077"/>
                <a:gd name="connsiteY3" fmla="*/ 435069 h 435077"/>
                <a:gd name="connsiteX4" fmla="*/ 0 w 435077"/>
                <a:gd name="connsiteY4" fmla="*/ 435077 h 435077"/>
                <a:gd name="connsiteX5" fmla="*/ 0 w 435077"/>
                <a:gd name="connsiteY5" fmla="*/ 8 h 435077"/>
                <a:gd name="connsiteX6" fmla="*/ 217539 w 435077"/>
                <a:gd name="connsiteY6" fmla="*/ 217547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69"/>
                  </a:moveTo>
                  <a:lnTo>
                    <a:pt x="217539" y="0"/>
                  </a:lnTo>
                  <a:lnTo>
                    <a:pt x="435077" y="217541"/>
                  </a:lnTo>
                  <a:lnTo>
                    <a:pt x="217539" y="435069"/>
                  </a:lnTo>
                  <a:close/>
                  <a:moveTo>
                    <a:pt x="0" y="435077"/>
                  </a:moveTo>
                  <a:lnTo>
                    <a:pt x="0" y="8"/>
                  </a:lnTo>
                  <a:lnTo>
                    <a:pt x="217539" y="217547"/>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63" name="Freeform: Shape 62">
              <a:extLst>
                <a:ext uri="{FF2B5EF4-FFF2-40B4-BE49-F238E27FC236}">
                  <a16:creationId xmlns:a16="http://schemas.microsoft.com/office/drawing/2014/main" id="{8D1D1EF4-DA4C-9C15-8080-D89F19EF4145}"/>
                </a:ext>
              </a:extLst>
            </p:cNvPr>
            <p:cNvSpPr/>
            <p:nvPr/>
          </p:nvSpPr>
          <p:spPr>
            <a:xfrm>
              <a:off x="24330194" y="1098754"/>
              <a:ext cx="435077" cy="435077"/>
            </a:xfrm>
            <a:custGeom>
              <a:avLst/>
              <a:gdLst>
                <a:gd name="connsiteX0" fmla="*/ 435077 w 435077"/>
                <a:gd name="connsiteY0" fmla="*/ 435077 h 435077"/>
                <a:gd name="connsiteX1" fmla="*/ 435077 w 435077"/>
                <a:gd name="connsiteY1" fmla="*/ 0 h 435077"/>
                <a:gd name="connsiteX2" fmla="*/ 217539 w 435077"/>
                <a:gd name="connsiteY2" fmla="*/ 217544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44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44"/>
                  </a:lnTo>
                  <a:lnTo>
                    <a:pt x="435077" y="435077"/>
                  </a:lnTo>
                  <a:close/>
                  <a:moveTo>
                    <a:pt x="0" y="435077"/>
                  </a:moveTo>
                  <a:lnTo>
                    <a:pt x="0" y="3"/>
                  </a:lnTo>
                  <a:lnTo>
                    <a:pt x="217539" y="217544"/>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64" name="Freeform: Shape 63">
              <a:extLst>
                <a:ext uri="{FF2B5EF4-FFF2-40B4-BE49-F238E27FC236}">
                  <a16:creationId xmlns:a16="http://schemas.microsoft.com/office/drawing/2014/main" id="{8157C486-36A3-3284-8570-3B188CC1F700}"/>
                </a:ext>
              </a:extLst>
            </p:cNvPr>
            <p:cNvSpPr/>
            <p:nvPr/>
          </p:nvSpPr>
          <p:spPr>
            <a:xfrm>
              <a:off x="835769" y="5449529"/>
              <a:ext cx="435077" cy="435077"/>
            </a:xfrm>
            <a:custGeom>
              <a:avLst/>
              <a:gdLst>
                <a:gd name="connsiteX0" fmla="*/ 371366 w 435077"/>
                <a:gd name="connsiteY0" fmla="*/ 63712 h 435077"/>
                <a:gd name="connsiteX1" fmla="*/ 435077 w 435077"/>
                <a:gd name="connsiteY1" fmla="*/ 217539 h 435077"/>
                <a:gd name="connsiteX2" fmla="*/ 217702 w 435077"/>
                <a:gd name="connsiteY2" fmla="*/ 217539 h 435077"/>
                <a:gd name="connsiteX3" fmla="*/ 371366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1 w 435077"/>
                <a:gd name="connsiteY7" fmla="*/ 281250 h 435077"/>
                <a:gd name="connsiteX8" fmla="*/ 217375 w 435077"/>
                <a:gd name="connsiteY8" fmla="*/ 217539 h 435077"/>
                <a:gd name="connsiteX9" fmla="*/ 0 w 435077"/>
                <a:gd name="connsiteY9" fmla="*/ 217539 h 435077"/>
                <a:gd name="connsiteX10" fmla="*/ 63711 w 435077"/>
                <a:gd name="connsiteY10" fmla="*/ 63712 h 435077"/>
                <a:gd name="connsiteX11" fmla="*/ 217539 w 435077"/>
                <a:gd name="connsiteY11" fmla="*/ 0 h 435077"/>
                <a:gd name="connsiteX12" fmla="*/ 371366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2"/>
                  </a:moveTo>
                  <a:cubicBezTo>
                    <a:pt x="412154" y="104527"/>
                    <a:pt x="435077" y="159837"/>
                    <a:pt x="435077" y="217539"/>
                  </a:cubicBezTo>
                  <a:lnTo>
                    <a:pt x="217702" y="217539"/>
                  </a:lnTo>
                  <a:cubicBezTo>
                    <a:pt x="275349" y="217593"/>
                    <a:pt x="330604" y="240489"/>
                    <a:pt x="371366" y="281250"/>
                  </a:cubicBezTo>
                  <a:cubicBezTo>
                    <a:pt x="412154" y="322066"/>
                    <a:pt x="435077" y="377375"/>
                    <a:pt x="435077" y="435077"/>
                  </a:cubicBezTo>
                  <a:lnTo>
                    <a:pt x="217539" y="435077"/>
                  </a:lnTo>
                  <a:lnTo>
                    <a:pt x="0" y="435077"/>
                  </a:lnTo>
                  <a:cubicBezTo>
                    <a:pt x="0" y="377375"/>
                    <a:pt x="22923" y="322066"/>
                    <a:pt x="63711" y="281250"/>
                  </a:cubicBezTo>
                  <a:cubicBezTo>
                    <a:pt x="104473" y="240489"/>
                    <a:pt x="159728" y="217593"/>
                    <a:pt x="217375" y="217539"/>
                  </a:cubicBezTo>
                  <a:lnTo>
                    <a:pt x="0" y="217539"/>
                  </a:lnTo>
                  <a:cubicBezTo>
                    <a:pt x="0" y="159837"/>
                    <a:pt x="22923" y="104527"/>
                    <a:pt x="63711" y="63712"/>
                  </a:cubicBezTo>
                  <a:cubicBezTo>
                    <a:pt x="104500" y="22923"/>
                    <a:pt x="159836" y="0"/>
                    <a:pt x="217539" y="0"/>
                  </a:cubicBezTo>
                  <a:cubicBezTo>
                    <a:pt x="275213" y="0"/>
                    <a:pt x="330550" y="22923"/>
                    <a:pt x="371366" y="63712"/>
                  </a:cubicBezTo>
                  <a:close/>
                </a:path>
              </a:pathLst>
            </a:custGeom>
            <a:grpFill/>
            <a:ln w="27192" cap="flat">
              <a:noFill/>
              <a:prstDash val="solid"/>
              <a:miter/>
            </a:ln>
          </p:spPr>
          <p:txBody>
            <a:bodyPr rtlCol="0" anchor="ctr"/>
            <a:lstStyle/>
            <a:p>
              <a:endParaRPr lang="uk-UA" sz="900">
                <a:solidFill>
                  <a:schemeClr val="bg1"/>
                </a:solidFill>
              </a:endParaRPr>
            </a:p>
          </p:txBody>
        </p:sp>
        <p:sp>
          <p:nvSpPr>
            <p:cNvPr id="65" name="Freeform: Shape 64">
              <a:extLst>
                <a:ext uri="{FF2B5EF4-FFF2-40B4-BE49-F238E27FC236}">
                  <a16:creationId xmlns:a16="http://schemas.microsoft.com/office/drawing/2014/main" id="{622662C1-09BD-8DAA-3BE9-D263F82E4DEA}"/>
                </a:ext>
              </a:extLst>
            </p:cNvPr>
            <p:cNvSpPr/>
            <p:nvPr/>
          </p:nvSpPr>
          <p:spPr>
            <a:xfrm>
              <a:off x="-34398" y="5449529"/>
              <a:ext cx="435090" cy="435077"/>
            </a:xfrm>
            <a:custGeom>
              <a:avLst/>
              <a:gdLst>
                <a:gd name="connsiteX0" fmla="*/ 217525 w 435090"/>
                <a:gd name="connsiteY0" fmla="*/ 0 h 435077"/>
                <a:gd name="connsiteX1" fmla="*/ 0 w 435090"/>
                <a:gd name="connsiteY1" fmla="*/ 0 h 435077"/>
                <a:gd name="connsiteX2" fmla="*/ 0 w 435090"/>
                <a:gd name="connsiteY2" fmla="*/ 217539 h 435077"/>
                <a:gd name="connsiteX3" fmla="*/ 217525 w 435090"/>
                <a:gd name="connsiteY3" fmla="*/ 0 h 435077"/>
                <a:gd name="connsiteX4" fmla="*/ 435091 w 435090"/>
                <a:gd name="connsiteY4" fmla="*/ 0 h 435077"/>
                <a:gd name="connsiteX5" fmla="*/ 435091 w 435090"/>
                <a:gd name="connsiteY5" fmla="*/ 217539 h 435077"/>
                <a:gd name="connsiteX6" fmla="*/ 217552 w 435090"/>
                <a:gd name="connsiteY6" fmla="*/ 0 h 435077"/>
                <a:gd name="connsiteX7" fmla="*/ 435091 w 435090"/>
                <a:gd name="connsiteY7" fmla="*/ 0 h 435077"/>
                <a:gd name="connsiteX8" fmla="*/ 217552 w 435090"/>
                <a:gd name="connsiteY8" fmla="*/ 435077 h 435077"/>
                <a:gd name="connsiteX9" fmla="*/ 435091 w 435090"/>
                <a:gd name="connsiteY9" fmla="*/ 217539 h 435077"/>
                <a:gd name="connsiteX10" fmla="*/ 435091 w 435090"/>
                <a:gd name="connsiteY10" fmla="*/ 435077 h 435077"/>
                <a:gd name="connsiteX11" fmla="*/ 217552 w 435090"/>
                <a:gd name="connsiteY11" fmla="*/ 435077 h 435077"/>
                <a:gd name="connsiteX12" fmla="*/ 217552 w 435090"/>
                <a:gd name="connsiteY12" fmla="*/ 435077 h 435077"/>
                <a:gd name="connsiteX13" fmla="*/ 11 w 435090"/>
                <a:gd name="connsiteY13" fmla="*/ 217539 h 435077"/>
                <a:gd name="connsiteX14" fmla="*/ 11 w 435090"/>
                <a:gd name="connsiteY14" fmla="*/ 435077 h 435077"/>
                <a:gd name="connsiteX15" fmla="*/ 217552 w 435090"/>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90" h="435077">
                  <a:moveTo>
                    <a:pt x="217525" y="0"/>
                  </a:moveTo>
                  <a:lnTo>
                    <a:pt x="0" y="0"/>
                  </a:lnTo>
                  <a:lnTo>
                    <a:pt x="0" y="217539"/>
                  </a:lnTo>
                  <a:lnTo>
                    <a:pt x="217525" y="0"/>
                  </a:lnTo>
                  <a:close/>
                  <a:moveTo>
                    <a:pt x="435091" y="0"/>
                  </a:moveTo>
                  <a:lnTo>
                    <a:pt x="435091" y="217539"/>
                  </a:lnTo>
                  <a:lnTo>
                    <a:pt x="217552" y="0"/>
                  </a:lnTo>
                  <a:lnTo>
                    <a:pt x="435091" y="0"/>
                  </a:lnTo>
                  <a:close/>
                  <a:moveTo>
                    <a:pt x="217552" y="435077"/>
                  </a:moveTo>
                  <a:lnTo>
                    <a:pt x="435091" y="217539"/>
                  </a:lnTo>
                  <a:lnTo>
                    <a:pt x="435091" y="435077"/>
                  </a:lnTo>
                  <a:lnTo>
                    <a:pt x="217552" y="435077"/>
                  </a:lnTo>
                  <a:close/>
                  <a:moveTo>
                    <a:pt x="217552" y="435077"/>
                  </a:moveTo>
                  <a:lnTo>
                    <a:pt x="11" y="217539"/>
                  </a:lnTo>
                  <a:lnTo>
                    <a:pt x="11" y="435077"/>
                  </a:lnTo>
                  <a:lnTo>
                    <a:pt x="217552"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66" name="Freeform: Shape 65">
              <a:extLst>
                <a:ext uri="{FF2B5EF4-FFF2-40B4-BE49-F238E27FC236}">
                  <a16:creationId xmlns:a16="http://schemas.microsoft.com/office/drawing/2014/main" id="{A5325DEA-FEE3-07F3-1C3B-8FC95817AE84}"/>
                </a:ext>
              </a:extLst>
            </p:cNvPr>
            <p:cNvSpPr/>
            <p:nvPr/>
          </p:nvSpPr>
          <p:spPr>
            <a:xfrm>
              <a:off x="1705924" y="544952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67" name="Freeform: Shape 66">
              <a:extLst>
                <a:ext uri="{FF2B5EF4-FFF2-40B4-BE49-F238E27FC236}">
                  <a16:creationId xmlns:a16="http://schemas.microsoft.com/office/drawing/2014/main" id="{81017002-5082-AD1C-2554-EB624FD42997}"/>
                </a:ext>
              </a:extLst>
            </p:cNvPr>
            <p:cNvSpPr/>
            <p:nvPr/>
          </p:nvSpPr>
          <p:spPr>
            <a:xfrm>
              <a:off x="2576106" y="5449529"/>
              <a:ext cx="435077" cy="435077"/>
            </a:xfrm>
            <a:custGeom>
              <a:avLst/>
              <a:gdLst>
                <a:gd name="connsiteX0" fmla="*/ 0 w 435077"/>
                <a:gd name="connsiteY0" fmla="*/ 435077 h 435077"/>
                <a:gd name="connsiteX1" fmla="*/ 217512 w 435077"/>
                <a:gd name="connsiteY1" fmla="*/ 435077 h 435077"/>
                <a:gd name="connsiteX2" fmla="*/ 217512 w 435077"/>
                <a:gd name="connsiteY2" fmla="*/ 217566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66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12" y="435077"/>
                  </a:lnTo>
                  <a:lnTo>
                    <a:pt x="217512" y="217566"/>
                  </a:lnTo>
                  <a:lnTo>
                    <a:pt x="0" y="435077"/>
                  </a:lnTo>
                  <a:close/>
                  <a:moveTo>
                    <a:pt x="217539" y="0"/>
                  </a:moveTo>
                  <a:lnTo>
                    <a:pt x="0" y="0"/>
                  </a:lnTo>
                  <a:lnTo>
                    <a:pt x="217539" y="217539"/>
                  </a:lnTo>
                  <a:lnTo>
                    <a:pt x="217539" y="0"/>
                  </a:lnTo>
                  <a:close/>
                  <a:moveTo>
                    <a:pt x="435077" y="435077"/>
                  </a:moveTo>
                  <a:lnTo>
                    <a:pt x="217539" y="435077"/>
                  </a:lnTo>
                  <a:lnTo>
                    <a:pt x="435077" y="217566"/>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solidFill>
                  <a:schemeClr val="bg1"/>
                </a:solidFill>
              </a:endParaRPr>
            </a:p>
          </p:txBody>
        </p:sp>
        <p:sp>
          <p:nvSpPr>
            <p:cNvPr id="68" name="Freeform: Shape 67">
              <a:extLst>
                <a:ext uri="{FF2B5EF4-FFF2-40B4-BE49-F238E27FC236}">
                  <a16:creationId xmlns:a16="http://schemas.microsoft.com/office/drawing/2014/main" id="{CA0AA150-9135-F781-B8A0-F6233CDB213A}"/>
                </a:ext>
              </a:extLst>
            </p:cNvPr>
            <p:cNvSpPr/>
            <p:nvPr/>
          </p:nvSpPr>
          <p:spPr>
            <a:xfrm>
              <a:off x="4316416" y="5449529"/>
              <a:ext cx="435103" cy="435077"/>
            </a:xfrm>
            <a:custGeom>
              <a:avLst/>
              <a:gdLst>
                <a:gd name="connsiteX0" fmla="*/ 371365 w 435103"/>
                <a:gd name="connsiteY0" fmla="*/ 63712 h 435077"/>
                <a:gd name="connsiteX1" fmla="*/ 435077 w 435103"/>
                <a:gd name="connsiteY1" fmla="*/ 217539 h 435077"/>
                <a:gd name="connsiteX2" fmla="*/ 217729 w 435103"/>
                <a:gd name="connsiteY2" fmla="*/ 217539 h 435077"/>
                <a:gd name="connsiteX3" fmla="*/ 371365 w 435103"/>
                <a:gd name="connsiteY3" fmla="*/ 281250 h 435077"/>
                <a:gd name="connsiteX4" fmla="*/ 435104 w 435103"/>
                <a:gd name="connsiteY4" fmla="*/ 435077 h 435077"/>
                <a:gd name="connsiteX5" fmla="*/ 217565 w 435103"/>
                <a:gd name="connsiteY5" fmla="*/ 435077 h 435077"/>
                <a:gd name="connsiteX6" fmla="*/ 27 w 435103"/>
                <a:gd name="connsiteY6" fmla="*/ 435077 h 435077"/>
                <a:gd name="connsiteX7" fmla="*/ 63739 w 435103"/>
                <a:gd name="connsiteY7" fmla="*/ 281250 h 435077"/>
                <a:gd name="connsiteX8" fmla="*/ 217375 w 435103"/>
                <a:gd name="connsiteY8" fmla="*/ 217539 h 435077"/>
                <a:gd name="connsiteX9" fmla="*/ 0 w 435103"/>
                <a:gd name="connsiteY9" fmla="*/ 217539 h 435077"/>
                <a:gd name="connsiteX10" fmla="*/ 63739 w 435103"/>
                <a:gd name="connsiteY10" fmla="*/ 63712 h 435077"/>
                <a:gd name="connsiteX11" fmla="*/ 217539 w 435103"/>
                <a:gd name="connsiteY11" fmla="*/ 0 h 435077"/>
                <a:gd name="connsiteX12" fmla="*/ 371365 w 435103"/>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3" h="435077">
                  <a:moveTo>
                    <a:pt x="371365" y="63712"/>
                  </a:moveTo>
                  <a:cubicBezTo>
                    <a:pt x="412181" y="104527"/>
                    <a:pt x="435077" y="159837"/>
                    <a:pt x="435077" y="217539"/>
                  </a:cubicBezTo>
                  <a:lnTo>
                    <a:pt x="217729" y="217539"/>
                  </a:lnTo>
                  <a:cubicBezTo>
                    <a:pt x="275349" y="217593"/>
                    <a:pt x="330632" y="240489"/>
                    <a:pt x="371365" y="281250"/>
                  </a:cubicBezTo>
                  <a:cubicBezTo>
                    <a:pt x="412181" y="322066"/>
                    <a:pt x="435104" y="377375"/>
                    <a:pt x="435104" y="435077"/>
                  </a:cubicBezTo>
                  <a:lnTo>
                    <a:pt x="217565" y="435077"/>
                  </a:lnTo>
                  <a:lnTo>
                    <a:pt x="27" y="435077"/>
                  </a:lnTo>
                  <a:cubicBezTo>
                    <a:pt x="27" y="377375"/>
                    <a:pt x="22923" y="322066"/>
                    <a:pt x="63739" y="281250"/>
                  </a:cubicBezTo>
                  <a:cubicBezTo>
                    <a:pt x="104500" y="240489"/>
                    <a:pt x="159755" y="217593"/>
                    <a:pt x="217375" y="217539"/>
                  </a:cubicBezTo>
                  <a:lnTo>
                    <a:pt x="0" y="217539"/>
                  </a:lnTo>
                  <a:cubicBezTo>
                    <a:pt x="0" y="159837"/>
                    <a:pt x="22923" y="104527"/>
                    <a:pt x="63739" y="63712"/>
                  </a:cubicBezTo>
                  <a:cubicBezTo>
                    <a:pt x="104527" y="22923"/>
                    <a:pt x="159864" y="0"/>
                    <a:pt x="217539" y="0"/>
                  </a:cubicBezTo>
                  <a:cubicBezTo>
                    <a:pt x="275240" y="0"/>
                    <a:pt x="330577" y="22923"/>
                    <a:pt x="371365" y="63712"/>
                  </a:cubicBezTo>
                  <a:close/>
                </a:path>
              </a:pathLst>
            </a:custGeom>
            <a:grpFill/>
            <a:ln w="27192" cap="flat">
              <a:noFill/>
              <a:prstDash val="solid"/>
              <a:miter/>
            </a:ln>
          </p:spPr>
          <p:txBody>
            <a:bodyPr rtlCol="0" anchor="ctr"/>
            <a:lstStyle/>
            <a:p>
              <a:endParaRPr lang="uk-UA" sz="900">
                <a:solidFill>
                  <a:schemeClr val="bg1"/>
                </a:solidFill>
              </a:endParaRPr>
            </a:p>
          </p:txBody>
        </p:sp>
        <p:sp>
          <p:nvSpPr>
            <p:cNvPr id="69" name="Freeform: Shape 68">
              <a:extLst>
                <a:ext uri="{FF2B5EF4-FFF2-40B4-BE49-F238E27FC236}">
                  <a16:creationId xmlns:a16="http://schemas.microsoft.com/office/drawing/2014/main" id="{B8BB65E0-A4C8-8C4A-A91D-18DB4B3B63CF}"/>
                </a:ext>
              </a:extLst>
            </p:cNvPr>
            <p:cNvSpPr/>
            <p:nvPr/>
          </p:nvSpPr>
          <p:spPr>
            <a:xfrm>
              <a:off x="3446261" y="5449529"/>
              <a:ext cx="435077" cy="435077"/>
            </a:xfrm>
            <a:custGeom>
              <a:avLst/>
              <a:gdLst>
                <a:gd name="connsiteX0" fmla="*/ 217566 w 435077"/>
                <a:gd name="connsiteY0" fmla="*/ 0 h 435077"/>
                <a:gd name="connsiteX1" fmla="*/ 217539 w 435077"/>
                <a:gd name="connsiteY1" fmla="*/ 0 h 435077"/>
                <a:gd name="connsiteX2" fmla="*/ 27 w 435077"/>
                <a:gd name="connsiteY2" fmla="*/ 0 h 435077"/>
                <a:gd name="connsiteX3" fmla="*/ 27 w 435077"/>
                <a:gd name="connsiteY3" fmla="*/ 217539 h 435077"/>
                <a:gd name="connsiteX4" fmla="*/ 217539 w 435077"/>
                <a:gd name="connsiteY4" fmla="*/ 0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66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66" y="0"/>
                  </a:moveTo>
                  <a:lnTo>
                    <a:pt x="217539" y="0"/>
                  </a:lnTo>
                  <a:lnTo>
                    <a:pt x="27" y="0"/>
                  </a:lnTo>
                  <a:lnTo>
                    <a:pt x="27" y="217539"/>
                  </a:lnTo>
                  <a:lnTo>
                    <a:pt x="217539" y="0"/>
                  </a:lnTo>
                  <a:lnTo>
                    <a:pt x="435077" y="217539"/>
                  </a:lnTo>
                  <a:lnTo>
                    <a:pt x="217539" y="435077"/>
                  </a:lnTo>
                  <a:lnTo>
                    <a:pt x="0" y="217539"/>
                  </a:lnTo>
                  <a:lnTo>
                    <a:pt x="0" y="435077"/>
                  </a:lnTo>
                  <a:lnTo>
                    <a:pt x="217539" y="435077"/>
                  </a:lnTo>
                  <a:lnTo>
                    <a:pt x="435077" y="435077"/>
                  </a:lnTo>
                  <a:lnTo>
                    <a:pt x="435077" y="217539"/>
                  </a:lnTo>
                  <a:lnTo>
                    <a:pt x="435077" y="0"/>
                  </a:lnTo>
                  <a:lnTo>
                    <a:pt x="217566" y="0"/>
                  </a:lnTo>
                  <a:close/>
                </a:path>
              </a:pathLst>
            </a:custGeom>
            <a:grpFill/>
            <a:ln w="27192" cap="flat">
              <a:noFill/>
              <a:prstDash val="solid"/>
              <a:miter/>
            </a:ln>
          </p:spPr>
          <p:txBody>
            <a:bodyPr rtlCol="0" anchor="ctr"/>
            <a:lstStyle/>
            <a:p>
              <a:endParaRPr lang="uk-UA" sz="900">
                <a:solidFill>
                  <a:schemeClr val="bg1"/>
                </a:solidFill>
              </a:endParaRPr>
            </a:p>
          </p:txBody>
        </p:sp>
        <p:sp>
          <p:nvSpPr>
            <p:cNvPr id="70" name="Freeform: Shape 69">
              <a:extLst>
                <a:ext uri="{FF2B5EF4-FFF2-40B4-BE49-F238E27FC236}">
                  <a16:creationId xmlns:a16="http://schemas.microsoft.com/office/drawing/2014/main" id="{E029D127-9735-F24A-E557-03C7101EA33F}"/>
                </a:ext>
              </a:extLst>
            </p:cNvPr>
            <p:cNvSpPr/>
            <p:nvPr/>
          </p:nvSpPr>
          <p:spPr>
            <a:xfrm>
              <a:off x="5186597" y="5449529"/>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0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39 h 435077"/>
                <a:gd name="connsiteX9" fmla="*/ 435077 w 435077"/>
                <a:gd name="connsiteY9" fmla="*/ 217539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0"/>
                  </a:lnTo>
                  <a:lnTo>
                    <a:pt x="435077" y="217539"/>
                  </a:lnTo>
                  <a:lnTo>
                    <a:pt x="435077" y="217539"/>
                  </a:lnTo>
                  <a:lnTo>
                    <a:pt x="435077" y="217539"/>
                  </a:lnTo>
                  <a:lnTo>
                    <a:pt x="435077" y="217539"/>
                  </a:lnTo>
                  <a:lnTo>
                    <a:pt x="435077" y="217539"/>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71" name="Freeform: Shape 70">
              <a:extLst>
                <a:ext uri="{FF2B5EF4-FFF2-40B4-BE49-F238E27FC236}">
                  <a16:creationId xmlns:a16="http://schemas.microsoft.com/office/drawing/2014/main" id="{9534F35C-01CD-9AE0-D6DF-3E82206A10A7}"/>
                </a:ext>
              </a:extLst>
            </p:cNvPr>
            <p:cNvSpPr/>
            <p:nvPr/>
          </p:nvSpPr>
          <p:spPr>
            <a:xfrm>
              <a:off x="6056752" y="5449529"/>
              <a:ext cx="435077" cy="435077"/>
            </a:xfrm>
            <a:custGeom>
              <a:avLst/>
              <a:gdLst>
                <a:gd name="connsiteX0" fmla="*/ 0 w 435077"/>
                <a:gd name="connsiteY0" fmla="*/ 435077 h 435077"/>
                <a:gd name="connsiteX1" fmla="*/ 217539 w 435077"/>
                <a:gd name="connsiteY1" fmla="*/ 435077 h 435077"/>
                <a:gd name="connsiteX2" fmla="*/ 217539 w 435077"/>
                <a:gd name="connsiteY2" fmla="*/ 217566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66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66"/>
                  </a:lnTo>
                  <a:lnTo>
                    <a:pt x="0" y="435077"/>
                  </a:lnTo>
                  <a:close/>
                  <a:moveTo>
                    <a:pt x="217539" y="0"/>
                  </a:moveTo>
                  <a:lnTo>
                    <a:pt x="0" y="0"/>
                  </a:lnTo>
                  <a:lnTo>
                    <a:pt x="217539" y="217539"/>
                  </a:lnTo>
                  <a:lnTo>
                    <a:pt x="217539" y="0"/>
                  </a:lnTo>
                  <a:close/>
                  <a:moveTo>
                    <a:pt x="435077" y="435077"/>
                  </a:moveTo>
                  <a:lnTo>
                    <a:pt x="217539" y="435077"/>
                  </a:lnTo>
                  <a:lnTo>
                    <a:pt x="435077" y="217566"/>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solidFill>
                  <a:schemeClr val="bg1"/>
                </a:solidFill>
              </a:endParaRPr>
            </a:p>
          </p:txBody>
        </p:sp>
        <p:sp>
          <p:nvSpPr>
            <p:cNvPr id="72" name="Freeform: Shape 71">
              <a:extLst>
                <a:ext uri="{FF2B5EF4-FFF2-40B4-BE49-F238E27FC236}">
                  <a16:creationId xmlns:a16="http://schemas.microsoft.com/office/drawing/2014/main" id="{AE32244E-88CD-7D0B-6D14-91FF93F1A341}"/>
                </a:ext>
              </a:extLst>
            </p:cNvPr>
            <p:cNvSpPr/>
            <p:nvPr/>
          </p:nvSpPr>
          <p:spPr>
            <a:xfrm>
              <a:off x="7797062" y="5449529"/>
              <a:ext cx="435104" cy="435077"/>
            </a:xfrm>
            <a:custGeom>
              <a:avLst/>
              <a:gdLst>
                <a:gd name="connsiteX0" fmla="*/ 371366 w 435104"/>
                <a:gd name="connsiteY0" fmla="*/ 63712 h 435077"/>
                <a:gd name="connsiteX1" fmla="*/ 435077 w 435104"/>
                <a:gd name="connsiteY1" fmla="*/ 217539 h 435077"/>
                <a:gd name="connsiteX2" fmla="*/ 217730 w 435104"/>
                <a:gd name="connsiteY2" fmla="*/ 217539 h 435077"/>
                <a:gd name="connsiteX3" fmla="*/ 371366 w 435104"/>
                <a:gd name="connsiteY3" fmla="*/ 281250 h 435077"/>
                <a:gd name="connsiteX4" fmla="*/ 435105 w 435104"/>
                <a:gd name="connsiteY4" fmla="*/ 435077 h 435077"/>
                <a:gd name="connsiteX5" fmla="*/ 217566 w 435104"/>
                <a:gd name="connsiteY5" fmla="*/ 435077 h 435077"/>
                <a:gd name="connsiteX6" fmla="*/ 27 w 435104"/>
                <a:gd name="connsiteY6" fmla="*/ 435077 h 435077"/>
                <a:gd name="connsiteX7" fmla="*/ 63739 w 435104"/>
                <a:gd name="connsiteY7" fmla="*/ 281250 h 435077"/>
                <a:gd name="connsiteX8" fmla="*/ 217376 w 435104"/>
                <a:gd name="connsiteY8" fmla="*/ 217539 h 435077"/>
                <a:gd name="connsiteX9" fmla="*/ 0 w 435104"/>
                <a:gd name="connsiteY9" fmla="*/ 217539 h 435077"/>
                <a:gd name="connsiteX10" fmla="*/ 63739 w 435104"/>
                <a:gd name="connsiteY10" fmla="*/ 63712 h 435077"/>
                <a:gd name="connsiteX11" fmla="*/ 217539 w 435104"/>
                <a:gd name="connsiteY11" fmla="*/ 0 h 435077"/>
                <a:gd name="connsiteX12" fmla="*/ 371366 w 435104"/>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4" h="435077">
                  <a:moveTo>
                    <a:pt x="371366" y="63712"/>
                  </a:moveTo>
                  <a:cubicBezTo>
                    <a:pt x="412182" y="104527"/>
                    <a:pt x="435077" y="159837"/>
                    <a:pt x="435077" y="217539"/>
                  </a:cubicBezTo>
                  <a:lnTo>
                    <a:pt x="217730" y="217539"/>
                  </a:lnTo>
                  <a:cubicBezTo>
                    <a:pt x="275350" y="217593"/>
                    <a:pt x="330632" y="240489"/>
                    <a:pt x="371366" y="281250"/>
                  </a:cubicBezTo>
                  <a:cubicBezTo>
                    <a:pt x="412182" y="322066"/>
                    <a:pt x="435105" y="377375"/>
                    <a:pt x="435105" y="435077"/>
                  </a:cubicBezTo>
                  <a:lnTo>
                    <a:pt x="217566" y="435077"/>
                  </a:lnTo>
                  <a:lnTo>
                    <a:pt x="27" y="435077"/>
                  </a:lnTo>
                  <a:cubicBezTo>
                    <a:pt x="27" y="377375"/>
                    <a:pt x="22924" y="322066"/>
                    <a:pt x="63739" y="281250"/>
                  </a:cubicBezTo>
                  <a:cubicBezTo>
                    <a:pt x="104501" y="240489"/>
                    <a:pt x="159755" y="217593"/>
                    <a:pt x="217376" y="217539"/>
                  </a:cubicBezTo>
                  <a:lnTo>
                    <a:pt x="0" y="217539"/>
                  </a:lnTo>
                  <a:cubicBezTo>
                    <a:pt x="0" y="159837"/>
                    <a:pt x="22924" y="104527"/>
                    <a:pt x="63739" y="63712"/>
                  </a:cubicBezTo>
                  <a:cubicBezTo>
                    <a:pt x="104527" y="22923"/>
                    <a:pt x="159864" y="0"/>
                    <a:pt x="217539" y="0"/>
                  </a:cubicBezTo>
                  <a:cubicBezTo>
                    <a:pt x="275241" y="0"/>
                    <a:pt x="330578" y="22923"/>
                    <a:pt x="371366" y="63712"/>
                  </a:cubicBezTo>
                  <a:close/>
                </a:path>
              </a:pathLst>
            </a:custGeom>
            <a:grpFill/>
            <a:ln w="27192" cap="flat">
              <a:noFill/>
              <a:prstDash val="solid"/>
              <a:miter/>
            </a:ln>
          </p:spPr>
          <p:txBody>
            <a:bodyPr rtlCol="0" anchor="ctr"/>
            <a:lstStyle/>
            <a:p>
              <a:endParaRPr lang="uk-UA" sz="900">
                <a:solidFill>
                  <a:schemeClr val="bg1"/>
                </a:solidFill>
              </a:endParaRPr>
            </a:p>
          </p:txBody>
        </p:sp>
        <p:sp>
          <p:nvSpPr>
            <p:cNvPr id="73" name="Freeform: Shape 72">
              <a:extLst>
                <a:ext uri="{FF2B5EF4-FFF2-40B4-BE49-F238E27FC236}">
                  <a16:creationId xmlns:a16="http://schemas.microsoft.com/office/drawing/2014/main" id="{70632FBD-73AF-0CD4-B847-E8DE05B5AFEB}"/>
                </a:ext>
              </a:extLst>
            </p:cNvPr>
            <p:cNvSpPr/>
            <p:nvPr/>
          </p:nvSpPr>
          <p:spPr>
            <a:xfrm>
              <a:off x="6926907" y="544952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solidFill>
                  <a:schemeClr val="bg1"/>
                </a:solidFill>
              </a:endParaRPr>
            </a:p>
          </p:txBody>
        </p:sp>
        <p:sp>
          <p:nvSpPr>
            <p:cNvPr id="74" name="Freeform: Shape 73">
              <a:extLst>
                <a:ext uri="{FF2B5EF4-FFF2-40B4-BE49-F238E27FC236}">
                  <a16:creationId xmlns:a16="http://schemas.microsoft.com/office/drawing/2014/main" id="{E7DC4D63-8803-0B05-2D5D-29CA15607E2B}"/>
                </a:ext>
              </a:extLst>
            </p:cNvPr>
            <p:cNvSpPr/>
            <p:nvPr/>
          </p:nvSpPr>
          <p:spPr>
            <a:xfrm>
              <a:off x="8667217" y="5449529"/>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0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39 h 435077"/>
                <a:gd name="connsiteX9" fmla="*/ 435077 w 435077"/>
                <a:gd name="connsiteY9" fmla="*/ 217539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0"/>
                  </a:lnTo>
                  <a:lnTo>
                    <a:pt x="435077" y="217539"/>
                  </a:lnTo>
                  <a:lnTo>
                    <a:pt x="435077" y="217539"/>
                  </a:lnTo>
                  <a:lnTo>
                    <a:pt x="435077" y="217539"/>
                  </a:lnTo>
                  <a:lnTo>
                    <a:pt x="435077" y="217539"/>
                  </a:lnTo>
                  <a:lnTo>
                    <a:pt x="435077" y="217539"/>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75" name="Freeform: Shape 74">
              <a:extLst>
                <a:ext uri="{FF2B5EF4-FFF2-40B4-BE49-F238E27FC236}">
                  <a16:creationId xmlns:a16="http://schemas.microsoft.com/office/drawing/2014/main" id="{D685DBD6-F01A-958A-59AC-B88C0932A560}"/>
                </a:ext>
              </a:extLst>
            </p:cNvPr>
            <p:cNvSpPr/>
            <p:nvPr/>
          </p:nvSpPr>
          <p:spPr>
            <a:xfrm>
              <a:off x="9537399" y="5449529"/>
              <a:ext cx="435077" cy="435077"/>
            </a:xfrm>
            <a:custGeom>
              <a:avLst/>
              <a:gdLst>
                <a:gd name="connsiteX0" fmla="*/ 0 w 435077"/>
                <a:gd name="connsiteY0" fmla="*/ 435077 h 435077"/>
                <a:gd name="connsiteX1" fmla="*/ 217511 w 435077"/>
                <a:gd name="connsiteY1" fmla="*/ 435077 h 435077"/>
                <a:gd name="connsiteX2" fmla="*/ 217511 w 435077"/>
                <a:gd name="connsiteY2" fmla="*/ 217539 h 435077"/>
                <a:gd name="connsiteX3" fmla="*/ 0 w 435077"/>
                <a:gd name="connsiteY3" fmla="*/ 435077 h 435077"/>
                <a:gd name="connsiteX4" fmla="*/ 217511 w 435077"/>
                <a:gd name="connsiteY4" fmla="*/ 0 h 435077"/>
                <a:gd name="connsiteX5" fmla="*/ 0 w 435077"/>
                <a:gd name="connsiteY5" fmla="*/ 0 h 435077"/>
                <a:gd name="connsiteX6" fmla="*/ 217511 w 435077"/>
                <a:gd name="connsiteY6" fmla="*/ 217539 h 435077"/>
                <a:gd name="connsiteX7" fmla="*/ 217511 w 435077"/>
                <a:gd name="connsiteY7" fmla="*/ 0 h 435077"/>
                <a:gd name="connsiteX8" fmla="*/ 435077 w 435077"/>
                <a:gd name="connsiteY8" fmla="*/ 435077 h 435077"/>
                <a:gd name="connsiteX9" fmla="*/ 217539 w 435077"/>
                <a:gd name="connsiteY9" fmla="*/ 435077 h 435077"/>
                <a:gd name="connsiteX10" fmla="*/ 435077 w 435077"/>
                <a:gd name="connsiteY10" fmla="*/ 217566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11" y="435077"/>
                  </a:lnTo>
                  <a:lnTo>
                    <a:pt x="217511" y="217539"/>
                  </a:lnTo>
                  <a:lnTo>
                    <a:pt x="0" y="435077"/>
                  </a:lnTo>
                  <a:close/>
                  <a:moveTo>
                    <a:pt x="217511" y="0"/>
                  </a:moveTo>
                  <a:lnTo>
                    <a:pt x="0" y="0"/>
                  </a:lnTo>
                  <a:lnTo>
                    <a:pt x="217511" y="217539"/>
                  </a:lnTo>
                  <a:lnTo>
                    <a:pt x="217511" y="0"/>
                  </a:lnTo>
                  <a:close/>
                  <a:moveTo>
                    <a:pt x="435077" y="435077"/>
                  </a:moveTo>
                  <a:lnTo>
                    <a:pt x="217539" y="435077"/>
                  </a:lnTo>
                  <a:lnTo>
                    <a:pt x="435077" y="217566"/>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solidFill>
                  <a:schemeClr val="bg1"/>
                </a:solidFill>
              </a:endParaRPr>
            </a:p>
          </p:txBody>
        </p:sp>
        <p:sp>
          <p:nvSpPr>
            <p:cNvPr id="76" name="Freeform: Shape 75">
              <a:extLst>
                <a:ext uri="{FF2B5EF4-FFF2-40B4-BE49-F238E27FC236}">
                  <a16:creationId xmlns:a16="http://schemas.microsoft.com/office/drawing/2014/main" id="{96DA0AE1-A468-B202-EE4C-3303BA108E2C}"/>
                </a:ext>
              </a:extLst>
            </p:cNvPr>
            <p:cNvSpPr/>
            <p:nvPr/>
          </p:nvSpPr>
          <p:spPr>
            <a:xfrm>
              <a:off x="11277709" y="5449529"/>
              <a:ext cx="435077" cy="435077"/>
            </a:xfrm>
            <a:custGeom>
              <a:avLst/>
              <a:gdLst>
                <a:gd name="connsiteX0" fmla="*/ 371365 w 435077"/>
                <a:gd name="connsiteY0" fmla="*/ 63712 h 435077"/>
                <a:gd name="connsiteX1" fmla="*/ 435077 w 435077"/>
                <a:gd name="connsiteY1" fmla="*/ 217539 h 435077"/>
                <a:gd name="connsiteX2" fmla="*/ 217701 w 435077"/>
                <a:gd name="connsiteY2" fmla="*/ 217539 h 435077"/>
                <a:gd name="connsiteX3" fmla="*/ 371365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0 w 435077"/>
                <a:gd name="connsiteY7" fmla="*/ 281250 h 435077"/>
                <a:gd name="connsiteX8" fmla="*/ 217374 w 435077"/>
                <a:gd name="connsiteY8" fmla="*/ 217539 h 435077"/>
                <a:gd name="connsiteX9" fmla="*/ 0 w 435077"/>
                <a:gd name="connsiteY9" fmla="*/ 217539 h 435077"/>
                <a:gd name="connsiteX10" fmla="*/ 63710 w 435077"/>
                <a:gd name="connsiteY10" fmla="*/ 63712 h 435077"/>
                <a:gd name="connsiteX11" fmla="*/ 217539 w 435077"/>
                <a:gd name="connsiteY11" fmla="*/ 0 h 435077"/>
                <a:gd name="connsiteX12" fmla="*/ 371365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12"/>
                  </a:moveTo>
                  <a:cubicBezTo>
                    <a:pt x="412154" y="104527"/>
                    <a:pt x="435077" y="159837"/>
                    <a:pt x="435077" y="217539"/>
                  </a:cubicBezTo>
                  <a:lnTo>
                    <a:pt x="217701" y="217539"/>
                  </a:lnTo>
                  <a:cubicBezTo>
                    <a:pt x="275349" y="217593"/>
                    <a:pt x="330603" y="240489"/>
                    <a:pt x="371365" y="281250"/>
                  </a:cubicBezTo>
                  <a:cubicBezTo>
                    <a:pt x="412154" y="322066"/>
                    <a:pt x="435077" y="377375"/>
                    <a:pt x="435077" y="435077"/>
                  </a:cubicBezTo>
                  <a:lnTo>
                    <a:pt x="217539" y="435077"/>
                  </a:lnTo>
                  <a:lnTo>
                    <a:pt x="0" y="435077"/>
                  </a:lnTo>
                  <a:cubicBezTo>
                    <a:pt x="0" y="377375"/>
                    <a:pt x="22922" y="322066"/>
                    <a:pt x="63710" y="281250"/>
                  </a:cubicBezTo>
                  <a:cubicBezTo>
                    <a:pt x="104472" y="240489"/>
                    <a:pt x="159727" y="217593"/>
                    <a:pt x="217374" y="217539"/>
                  </a:cubicBezTo>
                  <a:lnTo>
                    <a:pt x="0" y="217539"/>
                  </a:lnTo>
                  <a:cubicBezTo>
                    <a:pt x="0" y="159837"/>
                    <a:pt x="22922" y="104527"/>
                    <a:pt x="63710" y="63712"/>
                  </a:cubicBezTo>
                  <a:cubicBezTo>
                    <a:pt x="104499" y="22923"/>
                    <a:pt x="159836" y="0"/>
                    <a:pt x="217539" y="0"/>
                  </a:cubicBezTo>
                  <a:cubicBezTo>
                    <a:pt x="275239" y="0"/>
                    <a:pt x="330549" y="22923"/>
                    <a:pt x="371365" y="63712"/>
                  </a:cubicBezTo>
                  <a:close/>
                </a:path>
              </a:pathLst>
            </a:custGeom>
            <a:grpFill/>
            <a:ln w="27192" cap="flat">
              <a:noFill/>
              <a:prstDash val="solid"/>
              <a:miter/>
            </a:ln>
          </p:spPr>
          <p:txBody>
            <a:bodyPr rtlCol="0" anchor="ctr"/>
            <a:lstStyle/>
            <a:p>
              <a:endParaRPr lang="uk-UA" sz="900">
                <a:solidFill>
                  <a:schemeClr val="bg1"/>
                </a:solidFill>
              </a:endParaRPr>
            </a:p>
          </p:txBody>
        </p:sp>
        <p:sp>
          <p:nvSpPr>
            <p:cNvPr id="77" name="Freeform: Shape 76">
              <a:extLst>
                <a:ext uri="{FF2B5EF4-FFF2-40B4-BE49-F238E27FC236}">
                  <a16:creationId xmlns:a16="http://schemas.microsoft.com/office/drawing/2014/main" id="{6F810F24-9C79-8C2F-354B-F4699F43840F}"/>
                </a:ext>
              </a:extLst>
            </p:cNvPr>
            <p:cNvSpPr/>
            <p:nvPr/>
          </p:nvSpPr>
          <p:spPr>
            <a:xfrm>
              <a:off x="10407554" y="544952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78" name="Freeform: Shape 77">
              <a:extLst>
                <a:ext uri="{FF2B5EF4-FFF2-40B4-BE49-F238E27FC236}">
                  <a16:creationId xmlns:a16="http://schemas.microsoft.com/office/drawing/2014/main" id="{FB2AEC75-E597-D057-0F44-D88FF3E98117}"/>
                </a:ext>
              </a:extLst>
            </p:cNvPr>
            <p:cNvSpPr/>
            <p:nvPr/>
          </p:nvSpPr>
          <p:spPr>
            <a:xfrm>
              <a:off x="12147836" y="544952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79" name="Freeform: Shape 78">
              <a:extLst>
                <a:ext uri="{FF2B5EF4-FFF2-40B4-BE49-F238E27FC236}">
                  <a16:creationId xmlns:a16="http://schemas.microsoft.com/office/drawing/2014/main" id="{7B45A4F2-1CB9-642A-3CDA-C6CC9472B377}"/>
                </a:ext>
              </a:extLst>
            </p:cNvPr>
            <p:cNvSpPr/>
            <p:nvPr/>
          </p:nvSpPr>
          <p:spPr>
            <a:xfrm>
              <a:off x="13018045" y="5449529"/>
              <a:ext cx="435077" cy="435077"/>
            </a:xfrm>
            <a:custGeom>
              <a:avLst/>
              <a:gdLst>
                <a:gd name="connsiteX0" fmla="*/ 0 w 435077"/>
                <a:gd name="connsiteY0" fmla="*/ 435077 h 435077"/>
                <a:gd name="connsiteX1" fmla="*/ 217539 w 435077"/>
                <a:gd name="connsiteY1" fmla="*/ 435077 h 435077"/>
                <a:gd name="connsiteX2" fmla="*/ 217539 w 435077"/>
                <a:gd name="connsiteY2" fmla="*/ 217566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66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66"/>
                  </a:lnTo>
                  <a:lnTo>
                    <a:pt x="0" y="435077"/>
                  </a:lnTo>
                  <a:close/>
                  <a:moveTo>
                    <a:pt x="217539" y="0"/>
                  </a:moveTo>
                  <a:lnTo>
                    <a:pt x="0" y="0"/>
                  </a:lnTo>
                  <a:lnTo>
                    <a:pt x="217539" y="217539"/>
                  </a:lnTo>
                  <a:lnTo>
                    <a:pt x="217539" y="0"/>
                  </a:lnTo>
                  <a:close/>
                  <a:moveTo>
                    <a:pt x="435077" y="435077"/>
                  </a:moveTo>
                  <a:lnTo>
                    <a:pt x="217539" y="435077"/>
                  </a:lnTo>
                  <a:lnTo>
                    <a:pt x="435077" y="217566"/>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solidFill>
                  <a:schemeClr val="bg1"/>
                </a:solidFill>
              </a:endParaRPr>
            </a:p>
          </p:txBody>
        </p:sp>
        <p:sp>
          <p:nvSpPr>
            <p:cNvPr id="80" name="Freeform: Shape 79">
              <a:extLst>
                <a:ext uri="{FF2B5EF4-FFF2-40B4-BE49-F238E27FC236}">
                  <a16:creationId xmlns:a16="http://schemas.microsoft.com/office/drawing/2014/main" id="{078D8F70-0200-1DDB-7402-58417AA6770F}"/>
                </a:ext>
              </a:extLst>
            </p:cNvPr>
            <p:cNvSpPr/>
            <p:nvPr/>
          </p:nvSpPr>
          <p:spPr>
            <a:xfrm>
              <a:off x="14758382" y="5449529"/>
              <a:ext cx="435077" cy="435077"/>
            </a:xfrm>
            <a:custGeom>
              <a:avLst/>
              <a:gdLst>
                <a:gd name="connsiteX0" fmla="*/ 371367 w 435077"/>
                <a:gd name="connsiteY0" fmla="*/ 63712 h 435077"/>
                <a:gd name="connsiteX1" fmla="*/ 435077 w 435077"/>
                <a:gd name="connsiteY1" fmla="*/ 217539 h 435077"/>
                <a:gd name="connsiteX2" fmla="*/ 217703 w 435077"/>
                <a:gd name="connsiteY2" fmla="*/ 217539 h 435077"/>
                <a:gd name="connsiteX3" fmla="*/ 371367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7376 w 435077"/>
                <a:gd name="connsiteY8" fmla="*/ 217539 h 435077"/>
                <a:gd name="connsiteX9" fmla="*/ 0 w 435077"/>
                <a:gd name="connsiteY9" fmla="*/ 217539 h 435077"/>
                <a:gd name="connsiteX10" fmla="*/ 63712 w 435077"/>
                <a:gd name="connsiteY10" fmla="*/ 63712 h 435077"/>
                <a:gd name="connsiteX11" fmla="*/ 217539 w 435077"/>
                <a:gd name="connsiteY11" fmla="*/ 0 h 435077"/>
                <a:gd name="connsiteX12" fmla="*/ 371367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7" y="63712"/>
                  </a:moveTo>
                  <a:cubicBezTo>
                    <a:pt x="412155" y="104527"/>
                    <a:pt x="435077" y="159837"/>
                    <a:pt x="435077" y="217539"/>
                  </a:cubicBezTo>
                  <a:lnTo>
                    <a:pt x="217703" y="217539"/>
                  </a:lnTo>
                  <a:cubicBezTo>
                    <a:pt x="275351" y="217593"/>
                    <a:pt x="330605" y="240489"/>
                    <a:pt x="371367" y="281250"/>
                  </a:cubicBezTo>
                  <a:cubicBezTo>
                    <a:pt x="412155" y="322066"/>
                    <a:pt x="435077" y="377375"/>
                    <a:pt x="435077" y="435077"/>
                  </a:cubicBezTo>
                  <a:lnTo>
                    <a:pt x="217539" y="435077"/>
                  </a:lnTo>
                  <a:lnTo>
                    <a:pt x="0" y="435077"/>
                  </a:lnTo>
                  <a:cubicBezTo>
                    <a:pt x="0" y="377375"/>
                    <a:pt x="22924" y="322066"/>
                    <a:pt x="63712" y="281250"/>
                  </a:cubicBezTo>
                  <a:cubicBezTo>
                    <a:pt x="104474" y="240489"/>
                    <a:pt x="159728" y="217593"/>
                    <a:pt x="217376" y="217539"/>
                  </a:cubicBezTo>
                  <a:lnTo>
                    <a:pt x="0" y="217539"/>
                  </a:lnTo>
                  <a:cubicBezTo>
                    <a:pt x="0" y="159837"/>
                    <a:pt x="22924" y="104527"/>
                    <a:pt x="63712" y="63712"/>
                  </a:cubicBezTo>
                  <a:cubicBezTo>
                    <a:pt x="104501" y="22923"/>
                    <a:pt x="159836" y="0"/>
                    <a:pt x="217539" y="0"/>
                  </a:cubicBezTo>
                  <a:cubicBezTo>
                    <a:pt x="275241" y="0"/>
                    <a:pt x="330550" y="22923"/>
                    <a:pt x="371367" y="63712"/>
                  </a:cubicBezTo>
                  <a:close/>
                </a:path>
              </a:pathLst>
            </a:custGeom>
            <a:grpFill/>
            <a:ln w="27192" cap="flat">
              <a:noFill/>
              <a:prstDash val="solid"/>
              <a:miter/>
            </a:ln>
          </p:spPr>
          <p:txBody>
            <a:bodyPr rtlCol="0" anchor="ctr"/>
            <a:lstStyle/>
            <a:p>
              <a:endParaRPr lang="uk-UA" sz="900">
                <a:solidFill>
                  <a:schemeClr val="bg1"/>
                </a:solidFill>
              </a:endParaRPr>
            </a:p>
          </p:txBody>
        </p:sp>
        <p:sp>
          <p:nvSpPr>
            <p:cNvPr id="81" name="Freeform: Shape 80">
              <a:extLst>
                <a:ext uri="{FF2B5EF4-FFF2-40B4-BE49-F238E27FC236}">
                  <a16:creationId xmlns:a16="http://schemas.microsoft.com/office/drawing/2014/main" id="{F235B954-2D0F-5481-D6A0-5BB4B1D73BD9}"/>
                </a:ext>
              </a:extLst>
            </p:cNvPr>
            <p:cNvSpPr/>
            <p:nvPr/>
          </p:nvSpPr>
          <p:spPr>
            <a:xfrm>
              <a:off x="13888200" y="5449529"/>
              <a:ext cx="435077" cy="435077"/>
            </a:xfrm>
            <a:custGeom>
              <a:avLst/>
              <a:gdLst>
                <a:gd name="connsiteX0" fmla="*/ 217565 w 435077"/>
                <a:gd name="connsiteY0" fmla="*/ 0 h 435077"/>
                <a:gd name="connsiteX1" fmla="*/ 217539 w 435077"/>
                <a:gd name="connsiteY1" fmla="*/ 0 h 435077"/>
                <a:gd name="connsiteX2" fmla="*/ 27 w 435077"/>
                <a:gd name="connsiteY2" fmla="*/ 0 h 435077"/>
                <a:gd name="connsiteX3" fmla="*/ 27 w 435077"/>
                <a:gd name="connsiteY3" fmla="*/ 217539 h 435077"/>
                <a:gd name="connsiteX4" fmla="*/ 217565 w 435077"/>
                <a:gd name="connsiteY4" fmla="*/ 0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65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65" y="0"/>
                  </a:moveTo>
                  <a:lnTo>
                    <a:pt x="217539" y="0"/>
                  </a:lnTo>
                  <a:lnTo>
                    <a:pt x="27" y="0"/>
                  </a:lnTo>
                  <a:lnTo>
                    <a:pt x="27" y="217539"/>
                  </a:lnTo>
                  <a:lnTo>
                    <a:pt x="217565" y="0"/>
                  </a:lnTo>
                  <a:lnTo>
                    <a:pt x="435077" y="217539"/>
                  </a:lnTo>
                  <a:lnTo>
                    <a:pt x="217539" y="435077"/>
                  </a:lnTo>
                  <a:lnTo>
                    <a:pt x="0" y="217539"/>
                  </a:lnTo>
                  <a:lnTo>
                    <a:pt x="0" y="435077"/>
                  </a:lnTo>
                  <a:lnTo>
                    <a:pt x="217539" y="435077"/>
                  </a:lnTo>
                  <a:lnTo>
                    <a:pt x="435077" y="435077"/>
                  </a:lnTo>
                  <a:lnTo>
                    <a:pt x="435077" y="217539"/>
                  </a:lnTo>
                  <a:lnTo>
                    <a:pt x="435077" y="0"/>
                  </a:lnTo>
                  <a:lnTo>
                    <a:pt x="217565" y="0"/>
                  </a:lnTo>
                  <a:close/>
                </a:path>
              </a:pathLst>
            </a:custGeom>
            <a:grpFill/>
            <a:ln w="27192" cap="flat">
              <a:noFill/>
              <a:prstDash val="solid"/>
              <a:miter/>
            </a:ln>
          </p:spPr>
          <p:txBody>
            <a:bodyPr rtlCol="0" anchor="ctr"/>
            <a:lstStyle/>
            <a:p>
              <a:endParaRPr lang="uk-UA" sz="900">
                <a:solidFill>
                  <a:schemeClr val="bg1"/>
                </a:solidFill>
              </a:endParaRPr>
            </a:p>
          </p:txBody>
        </p:sp>
        <p:sp>
          <p:nvSpPr>
            <p:cNvPr id="82" name="Freeform: Shape 81">
              <a:extLst>
                <a:ext uri="{FF2B5EF4-FFF2-40B4-BE49-F238E27FC236}">
                  <a16:creationId xmlns:a16="http://schemas.microsoft.com/office/drawing/2014/main" id="{6E13BEAB-D1CA-E975-7A17-4A396C307B43}"/>
                </a:ext>
              </a:extLst>
            </p:cNvPr>
            <p:cNvSpPr/>
            <p:nvPr/>
          </p:nvSpPr>
          <p:spPr>
            <a:xfrm>
              <a:off x="15628536" y="5449529"/>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0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39 h 435077"/>
                <a:gd name="connsiteX9" fmla="*/ 435077 w 435077"/>
                <a:gd name="connsiteY9" fmla="*/ 217539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0"/>
                  </a:lnTo>
                  <a:lnTo>
                    <a:pt x="435077" y="217539"/>
                  </a:lnTo>
                  <a:lnTo>
                    <a:pt x="435077" y="217539"/>
                  </a:lnTo>
                  <a:lnTo>
                    <a:pt x="435077" y="217539"/>
                  </a:lnTo>
                  <a:lnTo>
                    <a:pt x="435077" y="217539"/>
                  </a:lnTo>
                  <a:lnTo>
                    <a:pt x="435077" y="217539"/>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83" name="Freeform: Shape 82">
              <a:extLst>
                <a:ext uri="{FF2B5EF4-FFF2-40B4-BE49-F238E27FC236}">
                  <a16:creationId xmlns:a16="http://schemas.microsoft.com/office/drawing/2014/main" id="{390C851E-41FB-50A5-3BB1-C37D7FF32B16}"/>
                </a:ext>
              </a:extLst>
            </p:cNvPr>
            <p:cNvSpPr/>
            <p:nvPr/>
          </p:nvSpPr>
          <p:spPr>
            <a:xfrm>
              <a:off x="16498719" y="5449529"/>
              <a:ext cx="435077" cy="435077"/>
            </a:xfrm>
            <a:custGeom>
              <a:avLst/>
              <a:gdLst>
                <a:gd name="connsiteX0" fmla="*/ 0 w 435077"/>
                <a:gd name="connsiteY0" fmla="*/ 435077 h 435077"/>
                <a:gd name="connsiteX1" fmla="*/ 217510 w 435077"/>
                <a:gd name="connsiteY1" fmla="*/ 435077 h 435077"/>
                <a:gd name="connsiteX2" fmla="*/ 217510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66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10" y="435077"/>
                  </a:lnTo>
                  <a:lnTo>
                    <a:pt x="217510" y="217539"/>
                  </a:lnTo>
                  <a:lnTo>
                    <a:pt x="0" y="435077"/>
                  </a:lnTo>
                  <a:close/>
                  <a:moveTo>
                    <a:pt x="217539" y="0"/>
                  </a:moveTo>
                  <a:lnTo>
                    <a:pt x="0" y="0"/>
                  </a:lnTo>
                  <a:lnTo>
                    <a:pt x="217539" y="217539"/>
                  </a:lnTo>
                  <a:lnTo>
                    <a:pt x="217539" y="0"/>
                  </a:lnTo>
                  <a:close/>
                  <a:moveTo>
                    <a:pt x="435077" y="435077"/>
                  </a:moveTo>
                  <a:lnTo>
                    <a:pt x="217539" y="435077"/>
                  </a:lnTo>
                  <a:lnTo>
                    <a:pt x="435077" y="217566"/>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solidFill>
                  <a:schemeClr val="bg1"/>
                </a:solidFill>
              </a:endParaRPr>
            </a:p>
          </p:txBody>
        </p:sp>
        <p:sp>
          <p:nvSpPr>
            <p:cNvPr id="84" name="Freeform: Shape 83">
              <a:extLst>
                <a:ext uri="{FF2B5EF4-FFF2-40B4-BE49-F238E27FC236}">
                  <a16:creationId xmlns:a16="http://schemas.microsoft.com/office/drawing/2014/main" id="{08791213-613C-C3C7-5FA3-E6BBE301DC11}"/>
                </a:ext>
              </a:extLst>
            </p:cNvPr>
            <p:cNvSpPr/>
            <p:nvPr/>
          </p:nvSpPr>
          <p:spPr>
            <a:xfrm>
              <a:off x="18239029" y="5449529"/>
              <a:ext cx="435077" cy="435077"/>
            </a:xfrm>
            <a:custGeom>
              <a:avLst/>
              <a:gdLst>
                <a:gd name="connsiteX0" fmla="*/ 371365 w 435077"/>
                <a:gd name="connsiteY0" fmla="*/ 63712 h 435077"/>
                <a:gd name="connsiteX1" fmla="*/ 435077 w 435077"/>
                <a:gd name="connsiteY1" fmla="*/ 217539 h 435077"/>
                <a:gd name="connsiteX2" fmla="*/ 217701 w 435077"/>
                <a:gd name="connsiteY2" fmla="*/ 217539 h 435077"/>
                <a:gd name="connsiteX3" fmla="*/ 371365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0 w 435077"/>
                <a:gd name="connsiteY7" fmla="*/ 281250 h 435077"/>
                <a:gd name="connsiteX8" fmla="*/ 217374 w 435077"/>
                <a:gd name="connsiteY8" fmla="*/ 217539 h 435077"/>
                <a:gd name="connsiteX9" fmla="*/ 0 w 435077"/>
                <a:gd name="connsiteY9" fmla="*/ 217539 h 435077"/>
                <a:gd name="connsiteX10" fmla="*/ 63710 w 435077"/>
                <a:gd name="connsiteY10" fmla="*/ 63712 h 435077"/>
                <a:gd name="connsiteX11" fmla="*/ 217539 w 435077"/>
                <a:gd name="connsiteY11" fmla="*/ 0 h 435077"/>
                <a:gd name="connsiteX12" fmla="*/ 371365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12"/>
                  </a:moveTo>
                  <a:cubicBezTo>
                    <a:pt x="412154" y="104527"/>
                    <a:pt x="435077" y="159837"/>
                    <a:pt x="435077" y="217539"/>
                  </a:cubicBezTo>
                  <a:lnTo>
                    <a:pt x="217701" y="217539"/>
                  </a:lnTo>
                  <a:cubicBezTo>
                    <a:pt x="275349" y="217593"/>
                    <a:pt x="330603" y="240489"/>
                    <a:pt x="371365" y="281250"/>
                  </a:cubicBezTo>
                  <a:cubicBezTo>
                    <a:pt x="412154" y="322066"/>
                    <a:pt x="435077" y="377375"/>
                    <a:pt x="435077" y="435077"/>
                  </a:cubicBezTo>
                  <a:lnTo>
                    <a:pt x="217539" y="435077"/>
                  </a:lnTo>
                  <a:lnTo>
                    <a:pt x="0" y="435077"/>
                  </a:lnTo>
                  <a:cubicBezTo>
                    <a:pt x="0" y="377375"/>
                    <a:pt x="22922" y="322066"/>
                    <a:pt x="63710" y="281250"/>
                  </a:cubicBezTo>
                  <a:cubicBezTo>
                    <a:pt x="104472" y="240489"/>
                    <a:pt x="159755" y="217593"/>
                    <a:pt x="217374" y="217539"/>
                  </a:cubicBezTo>
                  <a:lnTo>
                    <a:pt x="0" y="217539"/>
                  </a:lnTo>
                  <a:cubicBezTo>
                    <a:pt x="0" y="159837"/>
                    <a:pt x="22922" y="104527"/>
                    <a:pt x="63710" y="63712"/>
                  </a:cubicBezTo>
                  <a:cubicBezTo>
                    <a:pt x="104527" y="22923"/>
                    <a:pt x="159836" y="0"/>
                    <a:pt x="217539" y="0"/>
                  </a:cubicBezTo>
                  <a:cubicBezTo>
                    <a:pt x="275241" y="0"/>
                    <a:pt x="330577" y="22923"/>
                    <a:pt x="371365" y="63712"/>
                  </a:cubicBezTo>
                  <a:close/>
                </a:path>
              </a:pathLst>
            </a:custGeom>
            <a:grpFill/>
            <a:ln w="27192" cap="flat">
              <a:noFill/>
              <a:prstDash val="solid"/>
              <a:miter/>
            </a:ln>
          </p:spPr>
          <p:txBody>
            <a:bodyPr rtlCol="0" anchor="ctr"/>
            <a:lstStyle/>
            <a:p>
              <a:endParaRPr lang="uk-UA" sz="900">
                <a:solidFill>
                  <a:schemeClr val="bg1"/>
                </a:solidFill>
              </a:endParaRPr>
            </a:p>
          </p:txBody>
        </p:sp>
        <p:sp>
          <p:nvSpPr>
            <p:cNvPr id="85" name="Freeform: Shape 84">
              <a:extLst>
                <a:ext uri="{FF2B5EF4-FFF2-40B4-BE49-F238E27FC236}">
                  <a16:creationId xmlns:a16="http://schemas.microsoft.com/office/drawing/2014/main" id="{055CD346-B989-591B-0D4A-8E154754DD97}"/>
                </a:ext>
              </a:extLst>
            </p:cNvPr>
            <p:cNvSpPr/>
            <p:nvPr/>
          </p:nvSpPr>
          <p:spPr>
            <a:xfrm>
              <a:off x="17368874" y="544952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86" name="Freeform: Shape 85">
              <a:extLst>
                <a:ext uri="{FF2B5EF4-FFF2-40B4-BE49-F238E27FC236}">
                  <a16:creationId xmlns:a16="http://schemas.microsoft.com/office/drawing/2014/main" id="{68BF27CC-15F5-1997-B7E9-A69E5130D48F}"/>
                </a:ext>
              </a:extLst>
            </p:cNvPr>
            <p:cNvSpPr/>
            <p:nvPr/>
          </p:nvSpPr>
          <p:spPr>
            <a:xfrm>
              <a:off x="19109210" y="544952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51 w 435077"/>
                <a:gd name="connsiteY7" fmla="*/ 217539 h 435077"/>
                <a:gd name="connsiteX8" fmla="*/ 435077 w 435077"/>
                <a:gd name="connsiteY8" fmla="*/ 217539 h 435077"/>
                <a:gd name="connsiteX9" fmla="*/ 435051 w 435077"/>
                <a:gd name="connsiteY9" fmla="*/ 217539 h 435077"/>
                <a:gd name="connsiteX10" fmla="*/ 435077 w 435077"/>
                <a:gd name="connsiteY10" fmla="*/ 217539 h 435077"/>
                <a:gd name="connsiteX11" fmla="*/ 435051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51" y="217539"/>
                  </a:lnTo>
                  <a:lnTo>
                    <a:pt x="435077" y="217539"/>
                  </a:lnTo>
                  <a:lnTo>
                    <a:pt x="435051" y="217539"/>
                  </a:lnTo>
                  <a:lnTo>
                    <a:pt x="435077" y="217539"/>
                  </a:lnTo>
                  <a:lnTo>
                    <a:pt x="435051"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87" name="Freeform: Shape 86">
              <a:extLst>
                <a:ext uri="{FF2B5EF4-FFF2-40B4-BE49-F238E27FC236}">
                  <a16:creationId xmlns:a16="http://schemas.microsoft.com/office/drawing/2014/main" id="{1E15C531-00F2-D786-4354-F57244F1D97E}"/>
                </a:ext>
              </a:extLst>
            </p:cNvPr>
            <p:cNvSpPr/>
            <p:nvPr/>
          </p:nvSpPr>
          <p:spPr>
            <a:xfrm>
              <a:off x="19979365" y="5449529"/>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66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39" y="435077"/>
                  </a:lnTo>
                  <a:lnTo>
                    <a:pt x="435077" y="217566"/>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solidFill>
                  <a:schemeClr val="bg1"/>
                </a:solidFill>
              </a:endParaRPr>
            </a:p>
          </p:txBody>
        </p:sp>
        <p:sp>
          <p:nvSpPr>
            <p:cNvPr id="88" name="Freeform: Shape 87">
              <a:extLst>
                <a:ext uri="{FF2B5EF4-FFF2-40B4-BE49-F238E27FC236}">
                  <a16:creationId xmlns:a16="http://schemas.microsoft.com/office/drawing/2014/main" id="{20957669-16FF-037B-4D47-2697069D1A36}"/>
                </a:ext>
              </a:extLst>
            </p:cNvPr>
            <p:cNvSpPr/>
            <p:nvPr/>
          </p:nvSpPr>
          <p:spPr>
            <a:xfrm>
              <a:off x="21719702" y="5449529"/>
              <a:ext cx="435077" cy="435077"/>
            </a:xfrm>
            <a:custGeom>
              <a:avLst/>
              <a:gdLst>
                <a:gd name="connsiteX0" fmla="*/ 371339 w 435077"/>
                <a:gd name="connsiteY0" fmla="*/ 63712 h 435077"/>
                <a:gd name="connsiteX1" fmla="*/ 435077 w 435077"/>
                <a:gd name="connsiteY1" fmla="*/ 217539 h 435077"/>
                <a:gd name="connsiteX2" fmla="*/ 217703 w 435077"/>
                <a:gd name="connsiteY2" fmla="*/ 217539 h 435077"/>
                <a:gd name="connsiteX3" fmla="*/ 371367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7350 w 435077"/>
                <a:gd name="connsiteY8" fmla="*/ 217539 h 435077"/>
                <a:gd name="connsiteX9" fmla="*/ 0 w 435077"/>
                <a:gd name="connsiteY9" fmla="*/ 217539 h 435077"/>
                <a:gd name="connsiteX10" fmla="*/ 63712 w 435077"/>
                <a:gd name="connsiteY10" fmla="*/ 63712 h 435077"/>
                <a:gd name="connsiteX11" fmla="*/ 217539 w 435077"/>
                <a:gd name="connsiteY11" fmla="*/ 0 h 435077"/>
                <a:gd name="connsiteX12" fmla="*/ 371339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12"/>
                  </a:moveTo>
                  <a:cubicBezTo>
                    <a:pt x="412155" y="104527"/>
                    <a:pt x="435077" y="159837"/>
                    <a:pt x="435077" y="217539"/>
                  </a:cubicBezTo>
                  <a:lnTo>
                    <a:pt x="217703" y="217539"/>
                  </a:lnTo>
                  <a:cubicBezTo>
                    <a:pt x="275322" y="217593"/>
                    <a:pt x="330605" y="240489"/>
                    <a:pt x="371367" y="281250"/>
                  </a:cubicBezTo>
                  <a:cubicBezTo>
                    <a:pt x="412155" y="322066"/>
                    <a:pt x="435077" y="377375"/>
                    <a:pt x="435077" y="435077"/>
                  </a:cubicBezTo>
                  <a:lnTo>
                    <a:pt x="217539" y="435077"/>
                  </a:lnTo>
                  <a:lnTo>
                    <a:pt x="0" y="435077"/>
                  </a:lnTo>
                  <a:cubicBezTo>
                    <a:pt x="0" y="377375"/>
                    <a:pt x="22924" y="322066"/>
                    <a:pt x="63712" y="281250"/>
                  </a:cubicBezTo>
                  <a:cubicBezTo>
                    <a:pt x="104474" y="240489"/>
                    <a:pt x="159728" y="217593"/>
                    <a:pt x="217350" y="217539"/>
                  </a:cubicBezTo>
                  <a:lnTo>
                    <a:pt x="0" y="217539"/>
                  </a:lnTo>
                  <a:cubicBezTo>
                    <a:pt x="0" y="159837"/>
                    <a:pt x="22897" y="104527"/>
                    <a:pt x="63712" y="63712"/>
                  </a:cubicBezTo>
                  <a:cubicBezTo>
                    <a:pt x="104501" y="22923"/>
                    <a:pt x="159838" y="0"/>
                    <a:pt x="217539" y="0"/>
                  </a:cubicBezTo>
                  <a:cubicBezTo>
                    <a:pt x="275215" y="0"/>
                    <a:pt x="330550" y="22923"/>
                    <a:pt x="371339" y="63712"/>
                  </a:cubicBezTo>
                  <a:close/>
                </a:path>
              </a:pathLst>
            </a:custGeom>
            <a:grpFill/>
            <a:ln w="27192" cap="flat">
              <a:noFill/>
              <a:prstDash val="solid"/>
              <a:miter/>
            </a:ln>
          </p:spPr>
          <p:txBody>
            <a:bodyPr rtlCol="0" anchor="ctr"/>
            <a:lstStyle/>
            <a:p>
              <a:endParaRPr lang="uk-UA" sz="900">
                <a:solidFill>
                  <a:schemeClr val="bg1"/>
                </a:solidFill>
              </a:endParaRPr>
            </a:p>
          </p:txBody>
        </p:sp>
        <p:sp>
          <p:nvSpPr>
            <p:cNvPr id="89" name="Freeform: Shape 88">
              <a:extLst>
                <a:ext uri="{FF2B5EF4-FFF2-40B4-BE49-F238E27FC236}">
                  <a16:creationId xmlns:a16="http://schemas.microsoft.com/office/drawing/2014/main" id="{7C222123-5F82-1AC2-1C6C-FA971E177AD0}"/>
                </a:ext>
              </a:extLst>
            </p:cNvPr>
            <p:cNvSpPr/>
            <p:nvPr/>
          </p:nvSpPr>
          <p:spPr>
            <a:xfrm>
              <a:off x="20849520" y="5449529"/>
              <a:ext cx="435103" cy="435077"/>
            </a:xfrm>
            <a:custGeom>
              <a:avLst/>
              <a:gdLst>
                <a:gd name="connsiteX0" fmla="*/ 217539 w 435103"/>
                <a:gd name="connsiteY0" fmla="*/ 0 h 435077"/>
                <a:gd name="connsiteX1" fmla="*/ 0 w 435103"/>
                <a:gd name="connsiteY1" fmla="*/ 0 h 435077"/>
                <a:gd name="connsiteX2" fmla="*/ 0 w 435103"/>
                <a:gd name="connsiteY2" fmla="*/ 217539 h 435077"/>
                <a:gd name="connsiteX3" fmla="*/ 217539 w 435103"/>
                <a:gd name="connsiteY3" fmla="*/ 0 h 435077"/>
                <a:gd name="connsiteX4" fmla="*/ 435104 w 435103"/>
                <a:gd name="connsiteY4" fmla="*/ 0 h 435077"/>
                <a:gd name="connsiteX5" fmla="*/ 435104 w 435103"/>
                <a:gd name="connsiteY5" fmla="*/ 217539 h 435077"/>
                <a:gd name="connsiteX6" fmla="*/ 217565 w 435103"/>
                <a:gd name="connsiteY6" fmla="*/ 0 h 435077"/>
                <a:gd name="connsiteX7" fmla="*/ 435104 w 435103"/>
                <a:gd name="connsiteY7" fmla="*/ 0 h 435077"/>
                <a:gd name="connsiteX8" fmla="*/ 217565 w 435103"/>
                <a:gd name="connsiteY8" fmla="*/ 435077 h 435077"/>
                <a:gd name="connsiteX9" fmla="*/ 435104 w 435103"/>
                <a:gd name="connsiteY9" fmla="*/ 217539 h 435077"/>
                <a:gd name="connsiteX10" fmla="*/ 435104 w 435103"/>
                <a:gd name="connsiteY10" fmla="*/ 435077 h 435077"/>
                <a:gd name="connsiteX11" fmla="*/ 217565 w 435103"/>
                <a:gd name="connsiteY11" fmla="*/ 435077 h 435077"/>
                <a:gd name="connsiteX12" fmla="*/ 217565 w 435103"/>
                <a:gd name="connsiteY12" fmla="*/ 435077 h 435077"/>
                <a:gd name="connsiteX13" fmla="*/ 27 w 435103"/>
                <a:gd name="connsiteY13" fmla="*/ 217539 h 435077"/>
                <a:gd name="connsiteX14" fmla="*/ 27 w 435103"/>
                <a:gd name="connsiteY14" fmla="*/ 435077 h 435077"/>
                <a:gd name="connsiteX15" fmla="*/ 217565 w 435103"/>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3" h="435077">
                  <a:moveTo>
                    <a:pt x="217539" y="0"/>
                  </a:moveTo>
                  <a:lnTo>
                    <a:pt x="0" y="0"/>
                  </a:lnTo>
                  <a:lnTo>
                    <a:pt x="0" y="217539"/>
                  </a:lnTo>
                  <a:lnTo>
                    <a:pt x="217539" y="0"/>
                  </a:lnTo>
                  <a:close/>
                  <a:moveTo>
                    <a:pt x="435104" y="0"/>
                  </a:moveTo>
                  <a:lnTo>
                    <a:pt x="435104" y="217539"/>
                  </a:lnTo>
                  <a:lnTo>
                    <a:pt x="217565" y="0"/>
                  </a:lnTo>
                  <a:lnTo>
                    <a:pt x="435104" y="0"/>
                  </a:lnTo>
                  <a:close/>
                  <a:moveTo>
                    <a:pt x="217565" y="435077"/>
                  </a:moveTo>
                  <a:lnTo>
                    <a:pt x="435104" y="217539"/>
                  </a:lnTo>
                  <a:lnTo>
                    <a:pt x="435104" y="435077"/>
                  </a:lnTo>
                  <a:lnTo>
                    <a:pt x="217565" y="435077"/>
                  </a:lnTo>
                  <a:close/>
                  <a:moveTo>
                    <a:pt x="217565" y="435077"/>
                  </a:moveTo>
                  <a:lnTo>
                    <a:pt x="27" y="217539"/>
                  </a:lnTo>
                  <a:lnTo>
                    <a:pt x="27" y="435077"/>
                  </a:lnTo>
                  <a:lnTo>
                    <a:pt x="217565"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90" name="Freeform: Shape 89">
              <a:extLst>
                <a:ext uri="{FF2B5EF4-FFF2-40B4-BE49-F238E27FC236}">
                  <a16:creationId xmlns:a16="http://schemas.microsoft.com/office/drawing/2014/main" id="{C1EAD1AB-18B6-BBC7-2CCB-30202F6DB8C2}"/>
                </a:ext>
              </a:extLst>
            </p:cNvPr>
            <p:cNvSpPr/>
            <p:nvPr/>
          </p:nvSpPr>
          <p:spPr>
            <a:xfrm>
              <a:off x="22589856" y="544952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91" name="Freeform: Shape 90">
              <a:extLst>
                <a:ext uri="{FF2B5EF4-FFF2-40B4-BE49-F238E27FC236}">
                  <a16:creationId xmlns:a16="http://schemas.microsoft.com/office/drawing/2014/main" id="{D62AA7A6-1DE1-9EFE-F8E4-57EA703B456E}"/>
                </a:ext>
              </a:extLst>
            </p:cNvPr>
            <p:cNvSpPr/>
            <p:nvPr/>
          </p:nvSpPr>
          <p:spPr>
            <a:xfrm>
              <a:off x="23460039" y="5449529"/>
              <a:ext cx="435077" cy="435077"/>
            </a:xfrm>
            <a:custGeom>
              <a:avLst/>
              <a:gdLst>
                <a:gd name="connsiteX0" fmla="*/ 0 w 435077"/>
                <a:gd name="connsiteY0" fmla="*/ 435077 h 435077"/>
                <a:gd name="connsiteX1" fmla="*/ 217510 w 435077"/>
                <a:gd name="connsiteY1" fmla="*/ 435077 h 435077"/>
                <a:gd name="connsiteX2" fmla="*/ 217510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66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10" y="435077"/>
                  </a:lnTo>
                  <a:lnTo>
                    <a:pt x="217510" y="217539"/>
                  </a:lnTo>
                  <a:lnTo>
                    <a:pt x="0" y="435077"/>
                  </a:lnTo>
                  <a:close/>
                  <a:moveTo>
                    <a:pt x="217539" y="0"/>
                  </a:moveTo>
                  <a:lnTo>
                    <a:pt x="0" y="0"/>
                  </a:lnTo>
                  <a:lnTo>
                    <a:pt x="217539" y="217539"/>
                  </a:lnTo>
                  <a:lnTo>
                    <a:pt x="217539" y="0"/>
                  </a:lnTo>
                  <a:close/>
                  <a:moveTo>
                    <a:pt x="435077" y="435077"/>
                  </a:moveTo>
                  <a:lnTo>
                    <a:pt x="217539" y="435077"/>
                  </a:lnTo>
                  <a:lnTo>
                    <a:pt x="435077" y="217566"/>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solidFill>
                  <a:schemeClr val="bg1"/>
                </a:solidFill>
              </a:endParaRPr>
            </a:p>
          </p:txBody>
        </p:sp>
        <p:sp>
          <p:nvSpPr>
            <p:cNvPr id="92" name="Freeform: Shape 91">
              <a:extLst>
                <a:ext uri="{FF2B5EF4-FFF2-40B4-BE49-F238E27FC236}">
                  <a16:creationId xmlns:a16="http://schemas.microsoft.com/office/drawing/2014/main" id="{645DF68C-FB96-ABD2-2BFA-991066C6F511}"/>
                </a:ext>
              </a:extLst>
            </p:cNvPr>
            <p:cNvSpPr/>
            <p:nvPr/>
          </p:nvSpPr>
          <p:spPr>
            <a:xfrm>
              <a:off x="24330194" y="544952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solidFill>
                  <a:schemeClr val="bg1"/>
                </a:solidFill>
              </a:endParaRPr>
            </a:p>
          </p:txBody>
        </p:sp>
        <p:sp>
          <p:nvSpPr>
            <p:cNvPr id="93" name="Freeform: Shape 92">
              <a:extLst>
                <a:ext uri="{FF2B5EF4-FFF2-40B4-BE49-F238E27FC236}">
                  <a16:creationId xmlns:a16="http://schemas.microsoft.com/office/drawing/2014/main" id="{B044E2E6-8015-2E2F-BB96-EE524D88F9EA}"/>
                </a:ext>
              </a:extLst>
            </p:cNvPr>
            <p:cNvSpPr/>
            <p:nvPr/>
          </p:nvSpPr>
          <p:spPr>
            <a:xfrm>
              <a:off x="835769" y="6319683"/>
              <a:ext cx="435077" cy="435077"/>
            </a:xfrm>
            <a:custGeom>
              <a:avLst/>
              <a:gdLst>
                <a:gd name="connsiteX0" fmla="*/ 63711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1 w 435077"/>
                <a:gd name="connsiteY6" fmla="*/ 153827 h 435077"/>
                <a:gd name="connsiteX7" fmla="*/ 63711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1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1" y="153827"/>
                  </a:moveTo>
                  <a:cubicBezTo>
                    <a:pt x="22923" y="113038"/>
                    <a:pt x="0" y="57702"/>
                    <a:pt x="0" y="0"/>
                  </a:cubicBezTo>
                  <a:lnTo>
                    <a:pt x="217539" y="0"/>
                  </a:lnTo>
                  <a:lnTo>
                    <a:pt x="435077" y="0"/>
                  </a:lnTo>
                  <a:cubicBezTo>
                    <a:pt x="435077" y="57702"/>
                    <a:pt x="412154" y="113038"/>
                    <a:pt x="371366" y="153827"/>
                  </a:cubicBezTo>
                  <a:cubicBezTo>
                    <a:pt x="330550" y="194616"/>
                    <a:pt x="275213" y="217539"/>
                    <a:pt x="217539" y="217539"/>
                  </a:cubicBezTo>
                  <a:cubicBezTo>
                    <a:pt x="159836" y="217539"/>
                    <a:pt x="104500" y="194616"/>
                    <a:pt x="63711" y="153827"/>
                  </a:cubicBezTo>
                  <a:close/>
                  <a:moveTo>
                    <a:pt x="63711" y="281250"/>
                  </a:moveTo>
                  <a:cubicBezTo>
                    <a:pt x="22923" y="322066"/>
                    <a:pt x="0" y="377375"/>
                    <a:pt x="0" y="435077"/>
                  </a:cubicBezTo>
                  <a:lnTo>
                    <a:pt x="217539" y="435077"/>
                  </a:lnTo>
                  <a:lnTo>
                    <a:pt x="435077" y="435077"/>
                  </a:lnTo>
                  <a:cubicBezTo>
                    <a:pt x="435077" y="377375"/>
                    <a:pt x="412154" y="322066"/>
                    <a:pt x="371366" y="281250"/>
                  </a:cubicBezTo>
                  <a:cubicBezTo>
                    <a:pt x="330550" y="240462"/>
                    <a:pt x="275213" y="217539"/>
                    <a:pt x="217539" y="217539"/>
                  </a:cubicBezTo>
                  <a:cubicBezTo>
                    <a:pt x="159836" y="217539"/>
                    <a:pt x="104500" y="240462"/>
                    <a:pt x="63711" y="281250"/>
                  </a:cubicBezTo>
                  <a:close/>
                </a:path>
              </a:pathLst>
            </a:custGeom>
            <a:grpFill/>
            <a:ln w="27192" cap="flat">
              <a:noFill/>
              <a:prstDash val="solid"/>
              <a:miter/>
            </a:ln>
          </p:spPr>
          <p:txBody>
            <a:bodyPr rtlCol="0" anchor="ctr"/>
            <a:lstStyle/>
            <a:p>
              <a:endParaRPr lang="uk-UA" sz="900">
                <a:solidFill>
                  <a:schemeClr val="bg1"/>
                </a:solidFill>
              </a:endParaRPr>
            </a:p>
          </p:txBody>
        </p:sp>
        <p:sp>
          <p:nvSpPr>
            <p:cNvPr id="94" name="Freeform: Shape 93">
              <a:extLst>
                <a:ext uri="{FF2B5EF4-FFF2-40B4-BE49-F238E27FC236}">
                  <a16:creationId xmlns:a16="http://schemas.microsoft.com/office/drawing/2014/main" id="{2EF312FF-94D3-60F9-A6C5-9603ECC1B926}"/>
                </a:ext>
              </a:extLst>
            </p:cNvPr>
            <p:cNvSpPr/>
            <p:nvPr/>
          </p:nvSpPr>
          <p:spPr>
            <a:xfrm>
              <a:off x="-34393" y="6319683"/>
              <a:ext cx="435085" cy="435077"/>
            </a:xfrm>
            <a:custGeom>
              <a:avLst/>
              <a:gdLst>
                <a:gd name="connsiteX0" fmla="*/ 435086 w 435085"/>
                <a:gd name="connsiteY0" fmla="*/ 435077 h 435077"/>
                <a:gd name="connsiteX1" fmla="*/ 435086 w 435085"/>
                <a:gd name="connsiteY1" fmla="*/ 0 h 435077"/>
                <a:gd name="connsiteX2" fmla="*/ 217547 w 435085"/>
                <a:gd name="connsiteY2" fmla="*/ 217539 h 435077"/>
                <a:gd name="connsiteX3" fmla="*/ 435086 w 435085"/>
                <a:gd name="connsiteY3" fmla="*/ 435077 h 435077"/>
                <a:gd name="connsiteX4" fmla="*/ 0 w 435085"/>
                <a:gd name="connsiteY4" fmla="*/ 435077 h 435077"/>
                <a:gd name="connsiteX5" fmla="*/ 0 w 435085"/>
                <a:gd name="connsiteY5" fmla="*/ 0 h 435077"/>
                <a:gd name="connsiteX6" fmla="*/ 217520 w 435085"/>
                <a:gd name="connsiteY6" fmla="*/ 217539 h 435077"/>
                <a:gd name="connsiteX7" fmla="*/ 0 w 435085"/>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85" h="435077">
                  <a:moveTo>
                    <a:pt x="435086" y="435077"/>
                  </a:moveTo>
                  <a:lnTo>
                    <a:pt x="435086" y="0"/>
                  </a:lnTo>
                  <a:lnTo>
                    <a:pt x="217547" y="217539"/>
                  </a:lnTo>
                  <a:lnTo>
                    <a:pt x="435086" y="435077"/>
                  </a:lnTo>
                  <a:close/>
                  <a:moveTo>
                    <a:pt x="0" y="435077"/>
                  </a:moveTo>
                  <a:lnTo>
                    <a:pt x="0" y="0"/>
                  </a:lnTo>
                  <a:lnTo>
                    <a:pt x="217520"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95" name="Freeform: Shape 94">
              <a:extLst>
                <a:ext uri="{FF2B5EF4-FFF2-40B4-BE49-F238E27FC236}">
                  <a16:creationId xmlns:a16="http://schemas.microsoft.com/office/drawing/2014/main" id="{E03DA2D7-6B2F-4162-E977-D1C784AF569A}"/>
                </a:ext>
              </a:extLst>
            </p:cNvPr>
            <p:cNvSpPr/>
            <p:nvPr/>
          </p:nvSpPr>
          <p:spPr>
            <a:xfrm>
              <a:off x="1705924" y="6319683"/>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6 w 435077"/>
                <a:gd name="connsiteY3" fmla="*/ 27 h 435077"/>
                <a:gd name="connsiteX4" fmla="*/ 435077 w 435077"/>
                <a:gd name="connsiteY4" fmla="*/ 217539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6" y="27"/>
                  </a:lnTo>
                  <a:lnTo>
                    <a:pt x="435077" y="217539"/>
                  </a:lnTo>
                  <a:lnTo>
                    <a:pt x="217566"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96" name="Freeform: Shape 95">
              <a:extLst>
                <a:ext uri="{FF2B5EF4-FFF2-40B4-BE49-F238E27FC236}">
                  <a16:creationId xmlns:a16="http://schemas.microsoft.com/office/drawing/2014/main" id="{2D63D0D2-F8A2-8F9B-AED3-EC5A8E7A0338}"/>
                </a:ext>
              </a:extLst>
            </p:cNvPr>
            <p:cNvSpPr/>
            <p:nvPr/>
          </p:nvSpPr>
          <p:spPr>
            <a:xfrm>
              <a:off x="2576106" y="6319683"/>
              <a:ext cx="435077" cy="435077"/>
            </a:xfrm>
            <a:custGeom>
              <a:avLst/>
              <a:gdLst>
                <a:gd name="connsiteX0" fmla="*/ 0 w 435077"/>
                <a:gd name="connsiteY0" fmla="*/ 435077 h 435077"/>
                <a:gd name="connsiteX1" fmla="*/ 0 w 435077"/>
                <a:gd name="connsiteY1" fmla="*/ 0 h 435077"/>
                <a:gd name="connsiteX2" fmla="*/ 217512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12"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97" name="Freeform: Shape 96">
              <a:extLst>
                <a:ext uri="{FF2B5EF4-FFF2-40B4-BE49-F238E27FC236}">
                  <a16:creationId xmlns:a16="http://schemas.microsoft.com/office/drawing/2014/main" id="{EF49F7B6-09BF-02F8-F6A9-2B08BACFAF2C}"/>
                </a:ext>
              </a:extLst>
            </p:cNvPr>
            <p:cNvSpPr/>
            <p:nvPr/>
          </p:nvSpPr>
          <p:spPr>
            <a:xfrm>
              <a:off x="4316416" y="6319683"/>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39 w 435077"/>
                <a:gd name="connsiteY6" fmla="*/ 153827 h 435077"/>
                <a:gd name="connsiteX7" fmla="*/ 63739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0 h 435077"/>
                <a:gd name="connsiteX12" fmla="*/ 217539 w 435077"/>
                <a:gd name="connsiteY12" fmla="*/ 217539 h 435077"/>
                <a:gd name="connsiteX13" fmla="*/ 63739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3" y="113038"/>
                    <a:pt x="0" y="57702"/>
                    <a:pt x="0" y="0"/>
                  </a:cubicBezTo>
                  <a:lnTo>
                    <a:pt x="217539" y="0"/>
                  </a:lnTo>
                  <a:lnTo>
                    <a:pt x="435077" y="0"/>
                  </a:lnTo>
                  <a:cubicBezTo>
                    <a:pt x="435077" y="57702"/>
                    <a:pt x="412181" y="113038"/>
                    <a:pt x="371365" y="153827"/>
                  </a:cubicBezTo>
                  <a:cubicBezTo>
                    <a:pt x="330577" y="194616"/>
                    <a:pt x="275240" y="217539"/>
                    <a:pt x="217539" y="217539"/>
                  </a:cubicBezTo>
                  <a:cubicBezTo>
                    <a:pt x="159864" y="217539"/>
                    <a:pt x="104527" y="194616"/>
                    <a:pt x="63739" y="153827"/>
                  </a:cubicBezTo>
                  <a:close/>
                  <a:moveTo>
                    <a:pt x="63739" y="281250"/>
                  </a:moveTo>
                  <a:cubicBezTo>
                    <a:pt x="22923" y="322066"/>
                    <a:pt x="0" y="377375"/>
                    <a:pt x="0" y="435077"/>
                  </a:cubicBezTo>
                  <a:lnTo>
                    <a:pt x="217539" y="435077"/>
                  </a:lnTo>
                  <a:lnTo>
                    <a:pt x="435077" y="435077"/>
                  </a:lnTo>
                  <a:cubicBezTo>
                    <a:pt x="435077" y="377375"/>
                    <a:pt x="412181" y="322066"/>
                    <a:pt x="371365" y="281250"/>
                  </a:cubicBezTo>
                  <a:cubicBezTo>
                    <a:pt x="330577" y="240462"/>
                    <a:pt x="275240" y="217539"/>
                    <a:pt x="217539" y="217539"/>
                  </a:cubicBezTo>
                  <a:cubicBezTo>
                    <a:pt x="159864" y="217539"/>
                    <a:pt x="104527" y="240462"/>
                    <a:pt x="63739" y="281250"/>
                  </a:cubicBezTo>
                  <a:close/>
                </a:path>
              </a:pathLst>
            </a:custGeom>
            <a:grpFill/>
            <a:ln w="27192" cap="flat">
              <a:noFill/>
              <a:prstDash val="solid"/>
              <a:miter/>
            </a:ln>
          </p:spPr>
          <p:txBody>
            <a:bodyPr rtlCol="0" anchor="ctr"/>
            <a:lstStyle/>
            <a:p>
              <a:endParaRPr lang="uk-UA" sz="900">
                <a:solidFill>
                  <a:schemeClr val="bg1"/>
                </a:solidFill>
              </a:endParaRPr>
            </a:p>
          </p:txBody>
        </p:sp>
        <p:sp>
          <p:nvSpPr>
            <p:cNvPr id="98" name="Freeform: Shape 97">
              <a:extLst>
                <a:ext uri="{FF2B5EF4-FFF2-40B4-BE49-F238E27FC236}">
                  <a16:creationId xmlns:a16="http://schemas.microsoft.com/office/drawing/2014/main" id="{E072252C-3219-B2F5-DE4C-5EA30C53AA84}"/>
                </a:ext>
              </a:extLst>
            </p:cNvPr>
            <p:cNvSpPr/>
            <p:nvPr/>
          </p:nvSpPr>
          <p:spPr>
            <a:xfrm>
              <a:off x="3446261" y="6319683"/>
              <a:ext cx="435077" cy="435077"/>
            </a:xfrm>
            <a:custGeom>
              <a:avLst/>
              <a:gdLst>
                <a:gd name="connsiteX0" fmla="*/ 435077 w 435077"/>
                <a:gd name="connsiteY0" fmla="*/ 435077 h 435077"/>
                <a:gd name="connsiteX1" fmla="*/ 435077 w 435077"/>
                <a:gd name="connsiteY1" fmla="*/ 0 h 435077"/>
                <a:gd name="connsiteX2" fmla="*/ 217566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6"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99" name="Freeform: Shape 98">
              <a:extLst>
                <a:ext uri="{FF2B5EF4-FFF2-40B4-BE49-F238E27FC236}">
                  <a16:creationId xmlns:a16="http://schemas.microsoft.com/office/drawing/2014/main" id="{3FAF6E9E-788C-0537-A146-8D8E2EF36996}"/>
                </a:ext>
              </a:extLst>
            </p:cNvPr>
            <p:cNvSpPr/>
            <p:nvPr/>
          </p:nvSpPr>
          <p:spPr>
            <a:xfrm>
              <a:off x="5186597" y="6319683"/>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39 w 435077"/>
                <a:gd name="connsiteY3" fmla="*/ 27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39" y="27"/>
                  </a:lnTo>
                  <a:lnTo>
                    <a:pt x="435077" y="217539"/>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00" name="Freeform: Shape 99">
              <a:extLst>
                <a:ext uri="{FF2B5EF4-FFF2-40B4-BE49-F238E27FC236}">
                  <a16:creationId xmlns:a16="http://schemas.microsoft.com/office/drawing/2014/main" id="{063091E6-7E9B-C553-EE80-D9C8C86FB12F}"/>
                </a:ext>
              </a:extLst>
            </p:cNvPr>
            <p:cNvSpPr/>
            <p:nvPr/>
          </p:nvSpPr>
          <p:spPr>
            <a:xfrm>
              <a:off x="6056752" y="6319683"/>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01" name="Freeform: Shape 100">
              <a:extLst>
                <a:ext uri="{FF2B5EF4-FFF2-40B4-BE49-F238E27FC236}">
                  <a16:creationId xmlns:a16="http://schemas.microsoft.com/office/drawing/2014/main" id="{133D0BF2-A8CF-7D95-A530-8141B95DEEB5}"/>
                </a:ext>
              </a:extLst>
            </p:cNvPr>
            <p:cNvSpPr/>
            <p:nvPr/>
          </p:nvSpPr>
          <p:spPr>
            <a:xfrm>
              <a:off x="7797062" y="6319683"/>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39 w 435077"/>
                <a:gd name="connsiteY6" fmla="*/ 153827 h 435077"/>
                <a:gd name="connsiteX7" fmla="*/ 63739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39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4" y="113038"/>
                    <a:pt x="0" y="57702"/>
                    <a:pt x="0" y="0"/>
                  </a:cubicBezTo>
                  <a:lnTo>
                    <a:pt x="217539" y="0"/>
                  </a:lnTo>
                  <a:lnTo>
                    <a:pt x="435077" y="0"/>
                  </a:lnTo>
                  <a:cubicBezTo>
                    <a:pt x="435077" y="57702"/>
                    <a:pt x="412182" y="113038"/>
                    <a:pt x="371366" y="153827"/>
                  </a:cubicBezTo>
                  <a:cubicBezTo>
                    <a:pt x="330578" y="194616"/>
                    <a:pt x="275241" y="217539"/>
                    <a:pt x="217539" y="217539"/>
                  </a:cubicBezTo>
                  <a:cubicBezTo>
                    <a:pt x="159864" y="217539"/>
                    <a:pt x="104527" y="194616"/>
                    <a:pt x="63739" y="153827"/>
                  </a:cubicBezTo>
                  <a:close/>
                  <a:moveTo>
                    <a:pt x="63739" y="281250"/>
                  </a:moveTo>
                  <a:cubicBezTo>
                    <a:pt x="22924" y="322066"/>
                    <a:pt x="0" y="377375"/>
                    <a:pt x="0" y="435077"/>
                  </a:cubicBezTo>
                  <a:lnTo>
                    <a:pt x="217539" y="435077"/>
                  </a:lnTo>
                  <a:lnTo>
                    <a:pt x="435077" y="435077"/>
                  </a:lnTo>
                  <a:cubicBezTo>
                    <a:pt x="435077" y="377375"/>
                    <a:pt x="412182" y="322066"/>
                    <a:pt x="371366" y="281250"/>
                  </a:cubicBezTo>
                  <a:cubicBezTo>
                    <a:pt x="330578" y="240462"/>
                    <a:pt x="275241" y="217539"/>
                    <a:pt x="217539" y="217539"/>
                  </a:cubicBezTo>
                  <a:cubicBezTo>
                    <a:pt x="159864" y="217539"/>
                    <a:pt x="104527" y="240462"/>
                    <a:pt x="63739" y="281250"/>
                  </a:cubicBezTo>
                  <a:close/>
                </a:path>
              </a:pathLst>
            </a:custGeom>
            <a:grpFill/>
            <a:ln w="27192" cap="flat">
              <a:noFill/>
              <a:prstDash val="solid"/>
              <a:miter/>
            </a:ln>
          </p:spPr>
          <p:txBody>
            <a:bodyPr rtlCol="0" anchor="ctr"/>
            <a:lstStyle/>
            <a:p>
              <a:endParaRPr lang="uk-UA" sz="900">
                <a:solidFill>
                  <a:schemeClr val="bg1"/>
                </a:solidFill>
              </a:endParaRPr>
            </a:p>
          </p:txBody>
        </p:sp>
        <p:sp>
          <p:nvSpPr>
            <p:cNvPr id="102" name="Freeform: Shape 101">
              <a:extLst>
                <a:ext uri="{FF2B5EF4-FFF2-40B4-BE49-F238E27FC236}">
                  <a16:creationId xmlns:a16="http://schemas.microsoft.com/office/drawing/2014/main" id="{A1FFAAC0-CDF2-D4FE-0AB4-74C99EC7286A}"/>
                </a:ext>
              </a:extLst>
            </p:cNvPr>
            <p:cNvSpPr/>
            <p:nvPr/>
          </p:nvSpPr>
          <p:spPr>
            <a:xfrm>
              <a:off x="6926907" y="6319683"/>
              <a:ext cx="435077" cy="435077"/>
            </a:xfrm>
            <a:custGeom>
              <a:avLst/>
              <a:gdLst>
                <a:gd name="connsiteX0" fmla="*/ 435077 w 435077"/>
                <a:gd name="connsiteY0" fmla="*/ 435077 h 435077"/>
                <a:gd name="connsiteX1" fmla="*/ 435077 w 435077"/>
                <a:gd name="connsiteY1" fmla="*/ 0 h 435077"/>
                <a:gd name="connsiteX2" fmla="*/ 217566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6"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03" name="Freeform: Shape 102">
              <a:extLst>
                <a:ext uri="{FF2B5EF4-FFF2-40B4-BE49-F238E27FC236}">
                  <a16:creationId xmlns:a16="http://schemas.microsoft.com/office/drawing/2014/main" id="{17A1682F-141F-EA99-0BE3-2B55FCBA2BBD}"/>
                </a:ext>
              </a:extLst>
            </p:cNvPr>
            <p:cNvSpPr/>
            <p:nvPr/>
          </p:nvSpPr>
          <p:spPr>
            <a:xfrm>
              <a:off x="8667217" y="6319683"/>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6 w 435077"/>
                <a:gd name="connsiteY3" fmla="*/ 27 h 435077"/>
                <a:gd name="connsiteX4" fmla="*/ 435077 w 435077"/>
                <a:gd name="connsiteY4" fmla="*/ 217539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6" y="27"/>
                  </a:lnTo>
                  <a:lnTo>
                    <a:pt x="435077" y="217539"/>
                  </a:lnTo>
                  <a:lnTo>
                    <a:pt x="217566"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04" name="Freeform: Shape 103">
              <a:extLst>
                <a:ext uri="{FF2B5EF4-FFF2-40B4-BE49-F238E27FC236}">
                  <a16:creationId xmlns:a16="http://schemas.microsoft.com/office/drawing/2014/main" id="{673CE0A0-73D1-AC4F-E666-2D0AF6B196E5}"/>
                </a:ext>
              </a:extLst>
            </p:cNvPr>
            <p:cNvSpPr/>
            <p:nvPr/>
          </p:nvSpPr>
          <p:spPr>
            <a:xfrm>
              <a:off x="9537399" y="6319683"/>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05" name="Freeform: Shape 104">
              <a:extLst>
                <a:ext uri="{FF2B5EF4-FFF2-40B4-BE49-F238E27FC236}">
                  <a16:creationId xmlns:a16="http://schemas.microsoft.com/office/drawing/2014/main" id="{B8FE893E-F939-68EB-A56D-B8EADE11662C}"/>
                </a:ext>
              </a:extLst>
            </p:cNvPr>
            <p:cNvSpPr/>
            <p:nvPr/>
          </p:nvSpPr>
          <p:spPr>
            <a:xfrm>
              <a:off x="11277709" y="6319683"/>
              <a:ext cx="435077" cy="435077"/>
            </a:xfrm>
            <a:custGeom>
              <a:avLst/>
              <a:gdLst>
                <a:gd name="connsiteX0" fmla="*/ 63710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0 w 435077"/>
                <a:gd name="connsiteY6" fmla="*/ 153827 h 435077"/>
                <a:gd name="connsiteX7" fmla="*/ 63710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0 h 435077"/>
                <a:gd name="connsiteX12" fmla="*/ 217539 w 435077"/>
                <a:gd name="connsiteY12" fmla="*/ 217539 h 435077"/>
                <a:gd name="connsiteX13" fmla="*/ 63710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7"/>
                  </a:moveTo>
                  <a:cubicBezTo>
                    <a:pt x="22922" y="113038"/>
                    <a:pt x="0" y="57702"/>
                    <a:pt x="0" y="0"/>
                  </a:cubicBezTo>
                  <a:lnTo>
                    <a:pt x="217539" y="0"/>
                  </a:lnTo>
                  <a:lnTo>
                    <a:pt x="435077" y="0"/>
                  </a:lnTo>
                  <a:cubicBezTo>
                    <a:pt x="435077" y="57702"/>
                    <a:pt x="412154" y="113038"/>
                    <a:pt x="371365" y="153827"/>
                  </a:cubicBezTo>
                  <a:cubicBezTo>
                    <a:pt x="330549" y="194616"/>
                    <a:pt x="275239" y="217539"/>
                    <a:pt x="217539" y="217539"/>
                  </a:cubicBezTo>
                  <a:cubicBezTo>
                    <a:pt x="159836" y="217539"/>
                    <a:pt x="104499" y="194616"/>
                    <a:pt x="63710" y="153827"/>
                  </a:cubicBezTo>
                  <a:close/>
                  <a:moveTo>
                    <a:pt x="63710" y="281250"/>
                  </a:moveTo>
                  <a:cubicBezTo>
                    <a:pt x="22922" y="322066"/>
                    <a:pt x="0" y="377375"/>
                    <a:pt x="0" y="435077"/>
                  </a:cubicBezTo>
                  <a:lnTo>
                    <a:pt x="217539" y="435077"/>
                  </a:lnTo>
                  <a:lnTo>
                    <a:pt x="435077" y="435077"/>
                  </a:lnTo>
                  <a:cubicBezTo>
                    <a:pt x="435077" y="377375"/>
                    <a:pt x="412154" y="322066"/>
                    <a:pt x="371365" y="281250"/>
                  </a:cubicBezTo>
                  <a:cubicBezTo>
                    <a:pt x="330549" y="240462"/>
                    <a:pt x="275239" y="217539"/>
                    <a:pt x="217539" y="217539"/>
                  </a:cubicBezTo>
                  <a:cubicBezTo>
                    <a:pt x="159836" y="217539"/>
                    <a:pt x="104499" y="240462"/>
                    <a:pt x="63710" y="281250"/>
                  </a:cubicBezTo>
                  <a:close/>
                </a:path>
              </a:pathLst>
            </a:custGeom>
            <a:grpFill/>
            <a:ln w="27192" cap="flat">
              <a:noFill/>
              <a:prstDash val="solid"/>
              <a:miter/>
            </a:ln>
          </p:spPr>
          <p:txBody>
            <a:bodyPr rtlCol="0" anchor="ctr"/>
            <a:lstStyle/>
            <a:p>
              <a:endParaRPr lang="uk-UA" sz="900">
                <a:solidFill>
                  <a:schemeClr val="bg1"/>
                </a:solidFill>
              </a:endParaRPr>
            </a:p>
          </p:txBody>
        </p:sp>
        <p:sp>
          <p:nvSpPr>
            <p:cNvPr id="106" name="Freeform: Shape 105">
              <a:extLst>
                <a:ext uri="{FF2B5EF4-FFF2-40B4-BE49-F238E27FC236}">
                  <a16:creationId xmlns:a16="http://schemas.microsoft.com/office/drawing/2014/main" id="{471D94B8-5780-5631-155F-A2BA9C5FB818}"/>
                </a:ext>
              </a:extLst>
            </p:cNvPr>
            <p:cNvSpPr/>
            <p:nvPr/>
          </p:nvSpPr>
          <p:spPr>
            <a:xfrm>
              <a:off x="10407554" y="631968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1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1"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07" name="Freeform: Shape 106">
              <a:extLst>
                <a:ext uri="{FF2B5EF4-FFF2-40B4-BE49-F238E27FC236}">
                  <a16:creationId xmlns:a16="http://schemas.microsoft.com/office/drawing/2014/main" id="{457E98C1-B7EA-69C5-B2D7-7B211083EA61}"/>
                </a:ext>
              </a:extLst>
            </p:cNvPr>
            <p:cNvSpPr/>
            <p:nvPr/>
          </p:nvSpPr>
          <p:spPr>
            <a:xfrm>
              <a:off x="12147864" y="6319683"/>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5 w 435077"/>
                <a:gd name="connsiteY3" fmla="*/ 27 h 435077"/>
                <a:gd name="connsiteX4" fmla="*/ 435077 w 435077"/>
                <a:gd name="connsiteY4" fmla="*/ 217539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5" y="27"/>
                  </a:lnTo>
                  <a:lnTo>
                    <a:pt x="435077" y="217539"/>
                  </a:lnTo>
                  <a:lnTo>
                    <a:pt x="217565"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08" name="Freeform: Shape 107">
              <a:extLst>
                <a:ext uri="{FF2B5EF4-FFF2-40B4-BE49-F238E27FC236}">
                  <a16:creationId xmlns:a16="http://schemas.microsoft.com/office/drawing/2014/main" id="{B7FE09AE-7F89-51CB-4617-BBDC98162C1A}"/>
                </a:ext>
              </a:extLst>
            </p:cNvPr>
            <p:cNvSpPr/>
            <p:nvPr/>
          </p:nvSpPr>
          <p:spPr>
            <a:xfrm>
              <a:off x="13018045" y="6319683"/>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09" name="Freeform: Shape 108">
              <a:extLst>
                <a:ext uri="{FF2B5EF4-FFF2-40B4-BE49-F238E27FC236}">
                  <a16:creationId xmlns:a16="http://schemas.microsoft.com/office/drawing/2014/main" id="{FC46A15E-62F8-2A52-22A0-1985B189A039}"/>
                </a:ext>
              </a:extLst>
            </p:cNvPr>
            <p:cNvSpPr/>
            <p:nvPr/>
          </p:nvSpPr>
          <p:spPr>
            <a:xfrm>
              <a:off x="14758382" y="631968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8"/>
                    <a:pt x="0" y="57702"/>
                    <a:pt x="0" y="0"/>
                  </a:cubicBezTo>
                  <a:lnTo>
                    <a:pt x="217539" y="0"/>
                  </a:lnTo>
                  <a:lnTo>
                    <a:pt x="435077" y="0"/>
                  </a:lnTo>
                  <a:cubicBezTo>
                    <a:pt x="435077" y="57702"/>
                    <a:pt x="412155" y="113038"/>
                    <a:pt x="371367" y="153827"/>
                  </a:cubicBezTo>
                  <a:cubicBezTo>
                    <a:pt x="330550" y="194616"/>
                    <a:pt x="275241" y="217539"/>
                    <a:pt x="217539" y="217539"/>
                  </a:cubicBezTo>
                  <a:cubicBezTo>
                    <a:pt x="159836" y="217539"/>
                    <a:pt x="104501" y="194616"/>
                    <a:pt x="63712" y="153827"/>
                  </a:cubicBezTo>
                  <a:close/>
                  <a:moveTo>
                    <a:pt x="63712" y="281250"/>
                  </a:moveTo>
                  <a:cubicBezTo>
                    <a:pt x="22924" y="322066"/>
                    <a:pt x="0" y="377375"/>
                    <a:pt x="0" y="435077"/>
                  </a:cubicBezTo>
                  <a:lnTo>
                    <a:pt x="217539" y="435077"/>
                  </a:lnTo>
                  <a:lnTo>
                    <a:pt x="435077" y="435077"/>
                  </a:lnTo>
                  <a:cubicBezTo>
                    <a:pt x="435077" y="377375"/>
                    <a:pt x="412155" y="322066"/>
                    <a:pt x="371367" y="281250"/>
                  </a:cubicBezTo>
                  <a:cubicBezTo>
                    <a:pt x="330550" y="240462"/>
                    <a:pt x="275241" y="217539"/>
                    <a:pt x="217539" y="217539"/>
                  </a:cubicBezTo>
                  <a:cubicBezTo>
                    <a:pt x="159836" y="217539"/>
                    <a:pt x="104501" y="240462"/>
                    <a:pt x="63712" y="281250"/>
                  </a:cubicBezTo>
                  <a:close/>
                </a:path>
              </a:pathLst>
            </a:custGeom>
            <a:grpFill/>
            <a:ln w="27192" cap="flat">
              <a:noFill/>
              <a:prstDash val="solid"/>
              <a:miter/>
            </a:ln>
          </p:spPr>
          <p:txBody>
            <a:bodyPr rtlCol="0" anchor="ctr"/>
            <a:lstStyle/>
            <a:p>
              <a:endParaRPr lang="uk-UA" sz="900">
                <a:solidFill>
                  <a:schemeClr val="bg1"/>
                </a:solidFill>
              </a:endParaRPr>
            </a:p>
          </p:txBody>
        </p:sp>
        <p:sp>
          <p:nvSpPr>
            <p:cNvPr id="110" name="Freeform: Shape 109">
              <a:extLst>
                <a:ext uri="{FF2B5EF4-FFF2-40B4-BE49-F238E27FC236}">
                  <a16:creationId xmlns:a16="http://schemas.microsoft.com/office/drawing/2014/main" id="{06C63570-FEAE-8A09-0B5F-9699249A8FA7}"/>
                </a:ext>
              </a:extLst>
            </p:cNvPr>
            <p:cNvSpPr/>
            <p:nvPr/>
          </p:nvSpPr>
          <p:spPr>
            <a:xfrm>
              <a:off x="13888227" y="631968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2"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11" name="Freeform: Shape 110">
              <a:extLst>
                <a:ext uri="{FF2B5EF4-FFF2-40B4-BE49-F238E27FC236}">
                  <a16:creationId xmlns:a16="http://schemas.microsoft.com/office/drawing/2014/main" id="{0CB267A3-BC54-F16C-165B-08046091C69A}"/>
                </a:ext>
              </a:extLst>
            </p:cNvPr>
            <p:cNvSpPr/>
            <p:nvPr/>
          </p:nvSpPr>
          <p:spPr>
            <a:xfrm>
              <a:off x="15628536" y="6319683"/>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7 w 435077"/>
                <a:gd name="connsiteY3" fmla="*/ 27 h 435077"/>
                <a:gd name="connsiteX4" fmla="*/ 435077 w 435077"/>
                <a:gd name="connsiteY4" fmla="*/ 217539 h 435077"/>
                <a:gd name="connsiteX5" fmla="*/ 217567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7" y="27"/>
                  </a:lnTo>
                  <a:lnTo>
                    <a:pt x="435077" y="217539"/>
                  </a:lnTo>
                  <a:lnTo>
                    <a:pt x="217567"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12" name="Freeform: Shape 111">
              <a:extLst>
                <a:ext uri="{FF2B5EF4-FFF2-40B4-BE49-F238E27FC236}">
                  <a16:creationId xmlns:a16="http://schemas.microsoft.com/office/drawing/2014/main" id="{66F9CAF4-99E5-85F9-7EF2-D9C653F92A44}"/>
                </a:ext>
              </a:extLst>
            </p:cNvPr>
            <p:cNvSpPr/>
            <p:nvPr/>
          </p:nvSpPr>
          <p:spPr>
            <a:xfrm>
              <a:off x="16498719" y="6319683"/>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13" name="Freeform: Shape 112">
              <a:extLst>
                <a:ext uri="{FF2B5EF4-FFF2-40B4-BE49-F238E27FC236}">
                  <a16:creationId xmlns:a16="http://schemas.microsoft.com/office/drawing/2014/main" id="{3A42FAC6-C5B8-1C45-5BC7-2F6C26FE40F0}"/>
                </a:ext>
              </a:extLst>
            </p:cNvPr>
            <p:cNvSpPr/>
            <p:nvPr/>
          </p:nvSpPr>
          <p:spPr>
            <a:xfrm>
              <a:off x="18239029" y="6319683"/>
              <a:ext cx="435077" cy="435077"/>
            </a:xfrm>
            <a:custGeom>
              <a:avLst/>
              <a:gdLst>
                <a:gd name="connsiteX0" fmla="*/ 63710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0 w 435077"/>
                <a:gd name="connsiteY6" fmla="*/ 153827 h 435077"/>
                <a:gd name="connsiteX7" fmla="*/ 63710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0 h 435077"/>
                <a:gd name="connsiteX12" fmla="*/ 217539 w 435077"/>
                <a:gd name="connsiteY12" fmla="*/ 217539 h 435077"/>
                <a:gd name="connsiteX13" fmla="*/ 63710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7"/>
                  </a:moveTo>
                  <a:cubicBezTo>
                    <a:pt x="22922" y="113038"/>
                    <a:pt x="0" y="57702"/>
                    <a:pt x="0" y="0"/>
                  </a:cubicBezTo>
                  <a:lnTo>
                    <a:pt x="217539" y="0"/>
                  </a:lnTo>
                  <a:lnTo>
                    <a:pt x="435077" y="0"/>
                  </a:lnTo>
                  <a:cubicBezTo>
                    <a:pt x="435077" y="57702"/>
                    <a:pt x="412154" y="113038"/>
                    <a:pt x="371365" y="153827"/>
                  </a:cubicBezTo>
                  <a:cubicBezTo>
                    <a:pt x="330577" y="194616"/>
                    <a:pt x="275241" y="217539"/>
                    <a:pt x="217539" y="217539"/>
                  </a:cubicBezTo>
                  <a:cubicBezTo>
                    <a:pt x="159836" y="217539"/>
                    <a:pt x="104527" y="194616"/>
                    <a:pt x="63710" y="153827"/>
                  </a:cubicBezTo>
                  <a:close/>
                  <a:moveTo>
                    <a:pt x="63710" y="281250"/>
                  </a:moveTo>
                  <a:cubicBezTo>
                    <a:pt x="22922" y="322066"/>
                    <a:pt x="0" y="377375"/>
                    <a:pt x="0" y="435077"/>
                  </a:cubicBezTo>
                  <a:lnTo>
                    <a:pt x="217539" y="435077"/>
                  </a:lnTo>
                  <a:lnTo>
                    <a:pt x="435077" y="435077"/>
                  </a:lnTo>
                  <a:cubicBezTo>
                    <a:pt x="435077" y="377375"/>
                    <a:pt x="412154" y="322066"/>
                    <a:pt x="371365" y="281250"/>
                  </a:cubicBezTo>
                  <a:cubicBezTo>
                    <a:pt x="330577" y="240462"/>
                    <a:pt x="275241" y="217539"/>
                    <a:pt x="217539" y="217539"/>
                  </a:cubicBezTo>
                  <a:cubicBezTo>
                    <a:pt x="159836" y="217539"/>
                    <a:pt x="104527" y="240462"/>
                    <a:pt x="63710" y="281250"/>
                  </a:cubicBezTo>
                  <a:close/>
                </a:path>
              </a:pathLst>
            </a:custGeom>
            <a:grpFill/>
            <a:ln w="27192" cap="flat">
              <a:noFill/>
              <a:prstDash val="solid"/>
              <a:miter/>
            </a:ln>
          </p:spPr>
          <p:txBody>
            <a:bodyPr rtlCol="0" anchor="ctr"/>
            <a:lstStyle/>
            <a:p>
              <a:endParaRPr lang="uk-UA" sz="900">
                <a:solidFill>
                  <a:schemeClr val="bg1"/>
                </a:solidFill>
              </a:endParaRPr>
            </a:p>
          </p:txBody>
        </p:sp>
        <p:sp>
          <p:nvSpPr>
            <p:cNvPr id="114" name="Freeform: Shape 113">
              <a:extLst>
                <a:ext uri="{FF2B5EF4-FFF2-40B4-BE49-F238E27FC236}">
                  <a16:creationId xmlns:a16="http://schemas.microsoft.com/office/drawing/2014/main" id="{AA8C4562-D6A0-63BD-190F-1F32ACBE6FB7}"/>
                </a:ext>
              </a:extLst>
            </p:cNvPr>
            <p:cNvSpPr/>
            <p:nvPr/>
          </p:nvSpPr>
          <p:spPr>
            <a:xfrm>
              <a:off x="17368874" y="631968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0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0"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15" name="Freeform: Shape 114">
              <a:extLst>
                <a:ext uri="{FF2B5EF4-FFF2-40B4-BE49-F238E27FC236}">
                  <a16:creationId xmlns:a16="http://schemas.microsoft.com/office/drawing/2014/main" id="{BA446F68-56D0-27C9-7A2F-5DA768B01622}"/>
                </a:ext>
              </a:extLst>
            </p:cNvPr>
            <p:cNvSpPr/>
            <p:nvPr/>
          </p:nvSpPr>
          <p:spPr>
            <a:xfrm>
              <a:off x="19109210" y="6319683"/>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39 w 435077"/>
                <a:gd name="connsiteY3" fmla="*/ 27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39" y="27"/>
                  </a:lnTo>
                  <a:lnTo>
                    <a:pt x="435077" y="217539"/>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16" name="Freeform: Shape 115">
              <a:extLst>
                <a:ext uri="{FF2B5EF4-FFF2-40B4-BE49-F238E27FC236}">
                  <a16:creationId xmlns:a16="http://schemas.microsoft.com/office/drawing/2014/main" id="{88EEBDFB-2A43-01ED-B39C-7AADF06F286E}"/>
                </a:ext>
              </a:extLst>
            </p:cNvPr>
            <p:cNvSpPr/>
            <p:nvPr/>
          </p:nvSpPr>
          <p:spPr>
            <a:xfrm>
              <a:off x="19979365" y="6319683"/>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17" name="Freeform: Shape 116">
              <a:extLst>
                <a:ext uri="{FF2B5EF4-FFF2-40B4-BE49-F238E27FC236}">
                  <a16:creationId xmlns:a16="http://schemas.microsoft.com/office/drawing/2014/main" id="{4634CA77-E3BB-75DF-9F4C-EE28D718AAE7}"/>
                </a:ext>
              </a:extLst>
            </p:cNvPr>
            <p:cNvSpPr/>
            <p:nvPr/>
          </p:nvSpPr>
          <p:spPr>
            <a:xfrm>
              <a:off x="21719702" y="631968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897" y="113038"/>
                    <a:pt x="0" y="57702"/>
                    <a:pt x="0" y="0"/>
                  </a:cubicBezTo>
                  <a:lnTo>
                    <a:pt x="217539" y="0"/>
                  </a:lnTo>
                  <a:lnTo>
                    <a:pt x="435077" y="0"/>
                  </a:lnTo>
                  <a:cubicBezTo>
                    <a:pt x="435077" y="57702"/>
                    <a:pt x="412155" y="113038"/>
                    <a:pt x="371339" y="153827"/>
                  </a:cubicBezTo>
                  <a:cubicBezTo>
                    <a:pt x="330550" y="194616"/>
                    <a:pt x="275215" y="217539"/>
                    <a:pt x="217539" y="217539"/>
                  </a:cubicBezTo>
                  <a:cubicBezTo>
                    <a:pt x="159838" y="217539"/>
                    <a:pt x="104501" y="194616"/>
                    <a:pt x="63712" y="153827"/>
                  </a:cubicBezTo>
                  <a:close/>
                  <a:moveTo>
                    <a:pt x="63712" y="281250"/>
                  </a:moveTo>
                  <a:cubicBezTo>
                    <a:pt x="22897" y="322066"/>
                    <a:pt x="0" y="377375"/>
                    <a:pt x="0" y="435077"/>
                  </a:cubicBezTo>
                  <a:lnTo>
                    <a:pt x="217539" y="435077"/>
                  </a:lnTo>
                  <a:lnTo>
                    <a:pt x="435077" y="435077"/>
                  </a:lnTo>
                  <a:cubicBezTo>
                    <a:pt x="435077" y="377375"/>
                    <a:pt x="412155" y="322066"/>
                    <a:pt x="371339" y="281250"/>
                  </a:cubicBezTo>
                  <a:cubicBezTo>
                    <a:pt x="330550" y="240462"/>
                    <a:pt x="275215" y="217539"/>
                    <a:pt x="217539" y="217539"/>
                  </a:cubicBezTo>
                  <a:cubicBezTo>
                    <a:pt x="159838" y="217539"/>
                    <a:pt x="104501" y="240462"/>
                    <a:pt x="63712" y="281250"/>
                  </a:cubicBezTo>
                  <a:close/>
                </a:path>
              </a:pathLst>
            </a:custGeom>
            <a:grpFill/>
            <a:ln w="27192" cap="flat">
              <a:noFill/>
              <a:prstDash val="solid"/>
              <a:miter/>
            </a:ln>
          </p:spPr>
          <p:txBody>
            <a:bodyPr rtlCol="0" anchor="ctr"/>
            <a:lstStyle/>
            <a:p>
              <a:endParaRPr lang="uk-UA" sz="900">
                <a:solidFill>
                  <a:schemeClr val="bg1"/>
                </a:solidFill>
              </a:endParaRPr>
            </a:p>
          </p:txBody>
        </p:sp>
        <p:sp>
          <p:nvSpPr>
            <p:cNvPr id="118" name="Freeform: Shape 117">
              <a:extLst>
                <a:ext uri="{FF2B5EF4-FFF2-40B4-BE49-F238E27FC236}">
                  <a16:creationId xmlns:a16="http://schemas.microsoft.com/office/drawing/2014/main" id="{57E55ACB-0262-85FE-6890-F1BCE52366C8}"/>
                </a:ext>
              </a:extLst>
            </p:cNvPr>
            <p:cNvSpPr/>
            <p:nvPr/>
          </p:nvSpPr>
          <p:spPr>
            <a:xfrm>
              <a:off x="20849520" y="6319683"/>
              <a:ext cx="435077" cy="435077"/>
            </a:xfrm>
            <a:custGeom>
              <a:avLst/>
              <a:gdLst>
                <a:gd name="connsiteX0" fmla="*/ 435077 w 435077"/>
                <a:gd name="connsiteY0" fmla="*/ 435077 h 435077"/>
                <a:gd name="connsiteX1" fmla="*/ 435077 w 435077"/>
                <a:gd name="connsiteY1" fmla="*/ 0 h 435077"/>
                <a:gd name="connsiteX2" fmla="*/ 217565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19" name="Freeform: Shape 118">
              <a:extLst>
                <a:ext uri="{FF2B5EF4-FFF2-40B4-BE49-F238E27FC236}">
                  <a16:creationId xmlns:a16="http://schemas.microsoft.com/office/drawing/2014/main" id="{1C2591F2-5971-99C8-FFF4-A47A3746FAFE}"/>
                </a:ext>
              </a:extLst>
            </p:cNvPr>
            <p:cNvSpPr/>
            <p:nvPr/>
          </p:nvSpPr>
          <p:spPr>
            <a:xfrm>
              <a:off x="22589856" y="6319683"/>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7 w 435077"/>
                <a:gd name="connsiteY3" fmla="*/ 27 h 435077"/>
                <a:gd name="connsiteX4" fmla="*/ 435077 w 435077"/>
                <a:gd name="connsiteY4" fmla="*/ 217539 h 435077"/>
                <a:gd name="connsiteX5" fmla="*/ 217567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7" y="27"/>
                  </a:lnTo>
                  <a:lnTo>
                    <a:pt x="435077" y="217539"/>
                  </a:lnTo>
                  <a:lnTo>
                    <a:pt x="217567"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20" name="Freeform: Shape 119">
              <a:extLst>
                <a:ext uri="{FF2B5EF4-FFF2-40B4-BE49-F238E27FC236}">
                  <a16:creationId xmlns:a16="http://schemas.microsoft.com/office/drawing/2014/main" id="{8E1FC9FD-2646-AD50-4A44-38F216EF6BB8}"/>
                </a:ext>
              </a:extLst>
            </p:cNvPr>
            <p:cNvSpPr/>
            <p:nvPr/>
          </p:nvSpPr>
          <p:spPr>
            <a:xfrm>
              <a:off x="23460039" y="6319683"/>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21" name="Freeform: Shape 120">
              <a:extLst>
                <a:ext uri="{FF2B5EF4-FFF2-40B4-BE49-F238E27FC236}">
                  <a16:creationId xmlns:a16="http://schemas.microsoft.com/office/drawing/2014/main" id="{1EF85BAA-65DE-B39D-BF82-60958007C0A3}"/>
                </a:ext>
              </a:extLst>
            </p:cNvPr>
            <p:cNvSpPr/>
            <p:nvPr/>
          </p:nvSpPr>
          <p:spPr>
            <a:xfrm>
              <a:off x="24330194" y="631968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22" name="Freeform: Shape 121">
              <a:extLst>
                <a:ext uri="{FF2B5EF4-FFF2-40B4-BE49-F238E27FC236}">
                  <a16:creationId xmlns:a16="http://schemas.microsoft.com/office/drawing/2014/main" id="{6125FF59-EBC2-E037-08BD-C96E9E4EA69A}"/>
                </a:ext>
              </a:extLst>
            </p:cNvPr>
            <p:cNvSpPr/>
            <p:nvPr/>
          </p:nvSpPr>
          <p:spPr>
            <a:xfrm>
              <a:off x="835769" y="196890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23" name="Freeform: Shape 122">
              <a:extLst>
                <a:ext uri="{FF2B5EF4-FFF2-40B4-BE49-F238E27FC236}">
                  <a16:creationId xmlns:a16="http://schemas.microsoft.com/office/drawing/2014/main" id="{D3245FAB-03E0-42B2-07E6-D5D7444EC075}"/>
                </a:ext>
              </a:extLst>
            </p:cNvPr>
            <p:cNvSpPr/>
            <p:nvPr/>
          </p:nvSpPr>
          <p:spPr>
            <a:xfrm>
              <a:off x="-34398" y="1968909"/>
              <a:ext cx="435063" cy="435077"/>
            </a:xfrm>
            <a:custGeom>
              <a:avLst/>
              <a:gdLst>
                <a:gd name="connsiteX0" fmla="*/ 0 w 435063"/>
                <a:gd name="connsiteY0" fmla="*/ 435075 h 435077"/>
                <a:gd name="connsiteX1" fmla="*/ 217525 w 435063"/>
                <a:gd name="connsiteY1" fmla="*/ 435075 h 435077"/>
                <a:gd name="connsiteX2" fmla="*/ 217525 w 435063"/>
                <a:gd name="connsiteY2" fmla="*/ 217547 h 435077"/>
                <a:gd name="connsiteX3" fmla="*/ 0 w 435063"/>
                <a:gd name="connsiteY3" fmla="*/ 435075 h 435077"/>
                <a:gd name="connsiteX4" fmla="*/ 217525 w 435063"/>
                <a:gd name="connsiteY4" fmla="*/ 0 h 435077"/>
                <a:gd name="connsiteX5" fmla="*/ 3 w 435063"/>
                <a:gd name="connsiteY5" fmla="*/ 0 h 435077"/>
                <a:gd name="connsiteX6" fmla="*/ 217525 w 435063"/>
                <a:gd name="connsiteY6" fmla="*/ 217528 h 435077"/>
                <a:gd name="connsiteX7" fmla="*/ 217525 w 435063"/>
                <a:gd name="connsiteY7" fmla="*/ 0 h 435077"/>
                <a:gd name="connsiteX8" fmla="*/ 435064 w 435063"/>
                <a:gd name="connsiteY8" fmla="*/ 435077 h 435077"/>
                <a:gd name="connsiteX9" fmla="*/ 217552 w 435063"/>
                <a:gd name="connsiteY9" fmla="*/ 435077 h 435077"/>
                <a:gd name="connsiteX10" fmla="*/ 435064 w 435063"/>
                <a:gd name="connsiteY10" fmla="*/ 217547 h 435077"/>
                <a:gd name="connsiteX11" fmla="*/ 435064 w 435063"/>
                <a:gd name="connsiteY11" fmla="*/ 435077 h 435077"/>
                <a:gd name="connsiteX12" fmla="*/ 435064 w 435063"/>
                <a:gd name="connsiteY12" fmla="*/ 3 h 435077"/>
                <a:gd name="connsiteX13" fmla="*/ 217552 w 435063"/>
                <a:gd name="connsiteY13" fmla="*/ 3 h 435077"/>
                <a:gd name="connsiteX14" fmla="*/ 435064 w 435063"/>
                <a:gd name="connsiteY14" fmla="*/ 217531 h 435077"/>
                <a:gd name="connsiteX15" fmla="*/ 435064 w 435063"/>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63" h="435077">
                  <a:moveTo>
                    <a:pt x="0" y="435075"/>
                  </a:moveTo>
                  <a:lnTo>
                    <a:pt x="217525" y="435075"/>
                  </a:lnTo>
                  <a:lnTo>
                    <a:pt x="217525" y="217547"/>
                  </a:lnTo>
                  <a:lnTo>
                    <a:pt x="0" y="435075"/>
                  </a:lnTo>
                  <a:close/>
                  <a:moveTo>
                    <a:pt x="217525" y="0"/>
                  </a:moveTo>
                  <a:lnTo>
                    <a:pt x="3" y="0"/>
                  </a:lnTo>
                  <a:lnTo>
                    <a:pt x="217525" y="217528"/>
                  </a:lnTo>
                  <a:lnTo>
                    <a:pt x="217525" y="0"/>
                  </a:lnTo>
                  <a:close/>
                  <a:moveTo>
                    <a:pt x="435064" y="435077"/>
                  </a:moveTo>
                  <a:lnTo>
                    <a:pt x="217552" y="435077"/>
                  </a:lnTo>
                  <a:lnTo>
                    <a:pt x="435064" y="217547"/>
                  </a:lnTo>
                  <a:lnTo>
                    <a:pt x="435064" y="435077"/>
                  </a:lnTo>
                  <a:close/>
                  <a:moveTo>
                    <a:pt x="435064" y="3"/>
                  </a:moveTo>
                  <a:lnTo>
                    <a:pt x="217552" y="3"/>
                  </a:lnTo>
                  <a:lnTo>
                    <a:pt x="435064" y="217531"/>
                  </a:lnTo>
                  <a:lnTo>
                    <a:pt x="435064" y="3"/>
                  </a:lnTo>
                  <a:close/>
                </a:path>
              </a:pathLst>
            </a:custGeom>
            <a:grpFill/>
            <a:ln w="27192" cap="flat">
              <a:noFill/>
              <a:prstDash val="solid"/>
              <a:miter/>
            </a:ln>
          </p:spPr>
          <p:txBody>
            <a:bodyPr rtlCol="0" anchor="ctr"/>
            <a:lstStyle/>
            <a:p>
              <a:endParaRPr lang="uk-UA" sz="900">
                <a:solidFill>
                  <a:schemeClr val="bg1"/>
                </a:solidFill>
              </a:endParaRPr>
            </a:p>
          </p:txBody>
        </p:sp>
        <p:sp>
          <p:nvSpPr>
            <p:cNvPr id="124" name="Freeform: Shape 123">
              <a:extLst>
                <a:ext uri="{FF2B5EF4-FFF2-40B4-BE49-F238E27FC236}">
                  <a16:creationId xmlns:a16="http://schemas.microsoft.com/office/drawing/2014/main" id="{1D69E4F7-DAF9-178E-1A23-C94A8DD750C1}"/>
                </a:ext>
              </a:extLst>
            </p:cNvPr>
            <p:cNvSpPr/>
            <p:nvPr/>
          </p:nvSpPr>
          <p:spPr>
            <a:xfrm>
              <a:off x="1705924" y="1968909"/>
              <a:ext cx="435077" cy="435077"/>
            </a:xfrm>
            <a:custGeom>
              <a:avLst/>
              <a:gdLst>
                <a:gd name="connsiteX0" fmla="*/ 371366 w 435077"/>
                <a:gd name="connsiteY0" fmla="*/ 63714 h 435077"/>
                <a:gd name="connsiteX1" fmla="*/ 435077 w 435077"/>
                <a:gd name="connsiteY1" fmla="*/ 217539 h 435077"/>
                <a:gd name="connsiteX2" fmla="*/ 217729 w 435077"/>
                <a:gd name="connsiteY2" fmla="*/ 217539 h 435077"/>
                <a:gd name="connsiteX3" fmla="*/ 371366 w 435077"/>
                <a:gd name="connsiteY3" fmla="*/ 281253 h 435077"/>
                <a:gd name="connsiteX4" fmla="*/ 435077 w 435077"/>
                <a:gd name="connsiteY4" fmla="*/ 435077 h 435077"/>
                <a:gd name="connsiteX5" fmla="*/ 217539 w 435077"/>
                <a:gd name="connsiteY5" fmla="*/ 435077 h 435077"/>
                <a:gd name="connsiteX6" fmla="*/ 0 w 435077"/>
                <a:gd name="connsiteY6" fmla="*/ 435077 h 435077"/>
                <a:gd name="connsiteX7" fmla="*/ 63711 w 435077"/>
                <a:gd name="connsiteY7" fmla="*/ 281253 h 435077"/>
                <a:gd name="connsiteX8" fmla="*/ 217375 w 435077"/>
                <a:gd name="connsiteY8" fmla="*/ 217539 h 435077"/>
                <a:gd name="connsiteX9" fmla="*/ 0 w 435077"/>
                <a:gd name="connsiteY9" fmla="*/ 217539 h 435077"/>
                <a:gd name="connsiteX10" fmla="*/ 63711 w 435077"/>
                <a:gd name="connsiteY10" fmla="*/ 63714 h 435077"/>
                <a:gd name="connsiteX11" fmla="*/ 217539 w 435077"/>
                <a:gd name="connsiteY11" fmla="*/ 0 h 435077"/>
                <a:gd name="connsiteX12" fmla="*/ 371366 w 435077"/>
                <a:gd name="connsiteY12" fmla="*/ 63714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4"/>
                  </a:moveTo>
                  <a:cubicBezTo>
                    <a:pt x="412154" y="104511"/>
                    <a:pt x="435077" y="159842"/>
                    <a:pt x="435077" y="217539"/>
                  </a:cubicBezTo>
                  <a:lnTo>
                    <a:pt x="217729" y="217539"/>
                  </a:lnTo>
                  <a:cubicBezTo>
                    <a:pt x="275349" y="217582"/>
                    <a:pt x="330604" y="240497"/>
                    <a:pt x="371366" y="281253"/>
                  </a:cubicBezTo>
                  <a:cubicBezTo>
                    <a:pt x="412154" y="322050"/>
                    <a:pt x="435077" y="377381"/>
                    <a:pt x="435077" y="435077"/>
                  </a:cubicBezTo>
                  <a:lnTo>
                    <a:pt x="217539" y="435077"/>
                  </a:lnTo>
                  <a:lnTo>
                    <a:pt x="0" y="435077"/>
                  </a:lnTo>
                  <a:cubicBezTo>
                    <a:pt x="0" y="377381"/>
                    <a:pt x="22923" y="322050"/>
                    <a:pt x="63711" y="281253"/>
                  </a:cubicBezTo>
                  <a:cubicBezTo>
                    <a:pt x="104473" y="240497"/>
                    <a:pt x="159755" y="217582"/>
                    <a:pt x="217375" y="217539"/>
                  </a:cubicBezTo>
                  <a:lnTo>
                    <a:pt x="0" y="217539"/>
                  </a:lnTo>
                  <a:cubicBezTo>
                    <a:pt x="0" y="159842"/>
                    <a:pt x="22923" y="104511"/>
                    <a:pt x="63711" y="63714"/>
                  </a:cubicBezTo>
                  <a:cubicBezTo>
                    <a:pt x="104527" y="22918"/>
                    <a:pt x="159836" y="0"/>
                    <a:pt x="217539" y="0"/>
                  </a:cubicBezTo>
                  <a:cubicBezTo>
                    <a:pt x="275241" y="0"/>
                    <a:pt x="330577" y="22918"/>
                    <a:pt x="371366" y="63714"/>
                  </a:cubicBezTo>
                  <a:close/>
                </a:path>
              </a:pathLst>
            </a:custGeom>
            <a:grpFill/>
            <a:ln w="27192" cap="flat">
              <a:noFill/>
              <a:prstDash val="solid"/>
              <a:miter/>
            </a:ln>
          </p:spPr>
          <p:txBody>
            <a:bodyPr rtlCol="0" anchor="ctr"/>
            <a:lstStyle/>
            <a:p>
              <a:endParaRPr lang="uk-UA" sz="900">
                <a:solidFill>
                  <a:schemeClr val="bg1"/>
                </a:solidFill>
              </a:endParaRPr>
            </a:p>
          </p:txBody>
        </p:sp>
        <p:sp>
          <p:nvSpPr>
            <p:cNvPr id="125" name="Freeform: Shape 124">
              <a:extLst>
                <a:ext uri="{FF2B5EF4-FFF2-40B4-BE49-F238E27FC236}">
                  <a16:creationId xmlns:a16="http://schemas.microsoft.com/office/drawing/2014/main" id="{12BF24A3-CBD4-36C9-2316-EE3DADFD7180}"/>
                </a:ext>
              </a:extLst>
            </p:cNvPr>
            <p:cNvSpPr/>
            <p:nvPr/>
          </p:nvSpPr>
          <p:spPr>
            <a:xfrm>
              <a:off x="2576106" y="1968909"/>
              <a:ext cx="435077" cy="435074"/>
            </a:xfrm>
            <a:custGeom>
              <a:avLst/>
              <a:gdLst>
                <a:gd name="connsiteX0" fmla="*/ 217539 w 435077"/>
                <a:gd name="connsiteY0" fmla="*/ 217533 h 435074"/>
                <a:gd name="connsiteX1" fmla="*/ 217539 w 435077"/>
                <a:gd name="connsiteY1" fmla="*/ 0 h 435074"/>
                <a:gd name="connsiteX2" fmla="*/ 0 w 435077"/>
                <a:gd name="connsiteY2" fmla="*/ 0 h 435074"/>
                <a:gd name="connsiteX3" fmla="*/ 217539 w 435077"/>
                <a:gd name="connsiteY3" fmla="*/ 217539 h 435074"/>
                <a:gd name="connsiteX4" fmla="*/ 0 w 435077"/>
                <a:gd name="connsiteY4" fmla="*/ 435075 h 435074"/>
                <a:gd name="connsiteX5" fmla="*/ 217539 w 435077"/>
                <a:gd name="connsiteY5" fmla="*/ 435075 h 435074"/>
                <a:gd name="connsiteX6" fmla="*/ 217539 w 435077"/>
                <a:gd name="connsiteY6" fmla="*/ 435072 h 435074"/>
                <a:gd name="connsiteX7" fmla="*/ 435050 w 435077"/>
                <a:gd name="connsiteY7" fmla="*/ 217541 h 435074"/>
                <a:gd name="connsiteX8" fmla="*/ 435077 w 435077"/>
                <a:gd name="connsiteY8" fmla="*/ 217541 h 435074"/>
                <a:gd name="connsiteX9" fmla="*/ 435077 w 435077"/>
                <a:gd name="connsiteY9" fmla="*/ 217536 h 435074"/>
                <a:gd name="connsiteX10" fmla="*/ 435077 w 435077"/>
                <a:gd name="connsiteY10" fmla="*/ 217533 h 435074"/>
                <a:gd name="connsiteX11" fmla="*/ 435050 w 435077"/>
                <a:gd name="connsiteY11" fmla="*/ 217533 h 435074"/>
                <a:gd name="connsiteX12" fmla="*/ 217539 w 435077"/>
                <a:gd name="connsiteY12" fmla="*/ 3 h 435074"/>
                <a:gd name="connsiteX13" fmla="*/ 217539 w 435077"/>
                <a:gd name="connsiteY13" fmla="*/ 217533 h 435074"/>
                <a:gd name="connsiteX14" fmla="*/ 217539 w 435077"/>
                <a:gd name="connsiteY14" fmla="*/ 217533 h 43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4">
                  <a:moveTo>
                    <a:pt x="217539" y="217533"/>
                  </a:moveTo>
                  <a:lnTo>
                    <a:pt x="217539" y="0"/>
                  </a:lnTo>
                  <a:lnTo>
                    <a:pt x="0" y="0"/>
                  </a:lnTo>
                  <a:lnTo>
                    <a:pt x="217539" y="217539"/>
                  </a:lnTo>
                  <a:lnTo>
                    <a:pt x="0" y="435075"/>
                  </a:lnTo>
                  <a:lnTo>
                    <a:pt x="217539" y="435075"/>
                  </a:lnTo>
                  <a:lnTo>
                    <a:pt x="217539" y="435072"/>
                  </a:lnTo>
                  <a:lnTo>
                    <a:pt x="435050" y="217541"/>
                  </a:lnTo>
                  <a:lnTo>
                    <a:pt x="435077" y="217541"/>
                  </a:lnTo>
                  <a:lnTo>
                    <a:pt x="435077" y="217536"/>
                  </a:lnTo>
                  <a:lnTo>
                    <a:pt x="435077" y="217533"/>
                  </a:lnTo>
                  <a:lnTo>
                    <a:pt x="435050" y="217533"/>
                  </a:lnTo>
                  <a:lnTo>
                    <a:pt x="217539" y="3"/>
                  </a:lnTo>
                  <a:lnTo>
                    <a:pt x="217539" y="217533"/>
                  </a:lnTo>
                  <a:lnTo>
                    <a:pt x="217539" y="217533"/>
                  </a:lnTo>
                  <a:close/>
                </a:path>
              </a:pathLst>
            </a:custGeom>
            <a:grpFill/>
            <a:ln w="27192" cap="flat">
              <a:noFill/>
              <a:prstDash val="solid"/>
              <a:miter/>
            </a:ln>
          </p:spPr>
          <p:txBody>
            <a:bodyPr rtlCol="0" anchor="ctr"/>
            <a:lstStyle/>
            <a:p>
              <a:endParaRPr lang="uk-UA" sz="900">
                <a:solidFill>
                  <a:schemeClr val="bg1"/>
                </a:solidFill>
              </a:endParaRPr>
            </a:p>
          </p:txBody>
        </p:sp>
        <p:sp>
          <p:nvSpPr>
            <p:cNvPr id="126" name="Freeform: Shape 125">
              <a:extLst>
                <a:ext uri="{FF2B5EF4-FFF2-40B4-BE49-F238E27FC236}">
                  <a16:creationId xmlns:a16="http://schemas.microsoft.com/office/drawing/2014/main" id="{164FBE66-D1A7-06E1-F44E-295FABE4BA2B}"/>
                </a:ext>
              </a:extLst>
            </p:cNvPr>
            <p:cNvSpPr/>
            <p:nvPr/>
          </p:nvSpPr>
          <p:spPr>
            <a:xfrm>
              <a:off x="4316416" y="1968909"/>
              <a:ext cx="435077" cy="435077"/>
            </a:xfrm>
            <a:custGeom>
              <a:avLst/>
              <a:gdLst>
                <a:gd name="connsiteX0" fmla="*/ 217565 w 435077"/>
                <a:gd name="connsiteY0" fmla="*/ 0 h 435077"/>
                <a:gd name="connsiteX1" fmla="*/ 217539 w 435077"/>
                <a:gd name="connsiteY1" fmla="*/ 0 h 435077"/>
                <a:gd name="connsiteX2" fmla="*/ 27 w 435077"/>
                <a:gd name="connsiteY2" fmla="*/ 0 h 435077"/>
                <a:gd name="connsiteX3" fmla="*/ 27 w 435077"/>
                <a:gd name="connsiteY3" fmla="*/ 217539 h 435077"/>
                <a:gd name="connsiteX4" fmla="*/ 217565 w 435077"/>
                <a:gd name="connsiteY4" fmla="*/ 5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65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65" y="0"/>
                  </a:moveTo>
                  <a:lnTo>
                    <a:pt x="217539" y="0"/>
                  </a:lnTo>
                  <a:lnTo>
                    <a:pt x="27" y="0"/>
                  </a:lnTo>
                  <a:lnTo>
                    <a:pt x="27" y="217539"/>
                  </a:lnTo>
                  <a:lnTo>
                    <a:pt x="217565" y="5"/>
                  </a:lnTo>
                  <a:lnTo>
                    <a:pt x="435077" y="217539"/>
                  </a:lnTo>
                  <a:lnTo>
                    <a:pt x="217539" y="435077"/>
                  </a:lnTo>
                  <a:lnTo>
                    <a:pt x="0" y="217539"/>
                  </a:lnTo>
                  <a:lnTo>
                    <a:pt x="0" y="435077"/>
                  </a:lnTo>
                  <a:lnTo>
                    <a:pt x="217539" y="435077"/>
                  </a:lnTo>
                  <a:lnTo>
                    <a:pt x="435077" y="435077"/>
                  </a:lnTo>
                  <a:lnTo>
                    <a:pt x="435077" y="217539"/>
                  </a:lnTo>
                  <a:lnTo>
                    <a:pt x="435077" y="0"/>
                  </a:lnTo>
                  <a:lnTo>
                    <a:pt x="217565" y="0"/>
                  </a:lnTo>
                  <a:close/>
                </a:path>
              </a:pathLst>
            </a:custGeom>
            <a:grpFill/>
            <a:ln w="27192" cap="flat">
              <a:noFill/>
              <a:prstDash val="solid"/>
              <a:miter/>
            </a:ln>
          </p:spPr>
          <p:txBody>
            <a:bodyPr rtlCol="0" anchor="ctr"/>
            <a:lstStyle/>
            <a:p>
              <a:endParaRPr lang="uk-UA" sz="900">
                <a:solidFill>
                  <a:schemeClr val="bg1"/>
                </a:solidFill>
              </a:endParaRPr>
            </a:p>
          </p:txBody>
        </p:sp>
        <p:sp>
          <p:nvSpPr>
            <p:cNvPr id="127" name="Freeform: Shape 126">
              <a:extLst>
                <a:ext uri="{FF2B5EF4-FFF2-40B4-BE49-F238E27FC236}">
                  <a16:creationId xmlns:a16="http://schemas.microsoft.com/office/drawing/2014/main" id="{0D70427F-531B-ED9A-33C1-4E9723A757DF}"/>
                </a:ext>
              </a:extLst>
            </p:cNvPr>
            <p:cNvSpPr/>
            <p:nvPr/>
          </p:nvSpPr>
          <p:spPr>
            <a:xfrm>
              <a:off x="3446261" y="1968909"/>
              <a:ext cx="435077" cy="435077"/>
            </a:xfrm>
            <a:custGeom>
              <a:avLst/>
              <a:gdLst>
                <a:gd name="connsiteX0" fmla="*/ 0 w 435077"/>
                <a:gd name="connsiteY0" fmla="*/ 435077 h 435077"/>
                <a:gd name="connsiteX1" fmla="*/ 217539 w 435077"/>
                <a:gd name="connsiteY1" fmla="*/ 435077 h 435077"/>
                <a:gd name="connsiteX2" fmla="*/ 217539 w 435077"/>
                <a:gd name="connsiteY2" fmla="*/ 217547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28 h 435077"/>
                <a:gd name="connsiteX7" fmla="*/ 217539 w 435077"/>
                <a:gd name="connsiteY7" fmla="*/ 0 h 435077"/>
                <a:gd name="connsiteX8" fmla="*/ 435077 w 435077"/>
                <a:gd name="connsiteY8" fmla="*/ 435077 h 435077"/>
                <a:gd name="connsiteX9" fmla="*/ 217566 w 435077"/>
                <a:gd name="connsiteY9" fmla="*/ 435077 h 435077"/>
                <a:gd name="connsiteX10" fmla="*/ 435077 w 435077"/>
                <a:gd name="connsiteY10" fmla="*/ 217547 h 435077"/>
                <a:gd name="connsiteX11" fmla="*/ 435077 w 435077"/>
                <a:gd name="connsiteY11" fmla="*/ 435077 h 435077"/>
                <a:gd name="connsiteX12" fmla="*/ 435077 w 435077"/>
                <a:gd name="connsiteY12" fmla="*/ 3 h 435077"/>
                <a:gd name="connsiteX13" fmla="*/ 217566 w 435077"/>
                <a:gd name="connsiteY13" fmla="*/ 3 h 435077"/>
                <a:gd name="connsiteX14" fmla="*/ 435077 w 435077"/>
                <a:gd name="connsiteY14" fmla="*/ 217531 h 435077"/>
                <a:gd name="connsiteX15" fmla="*/ 435077 w 435077"/>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47"/>
                  </a:lnTo>
                  <a:lnTo>
                    <a:pt x="0" y="435077"/>
                  </a:lnTo>
                  <a:close/>
                  <a:moveTo>
                    <a:pt x="217539" y="0"/>
                  </a:moveTo>
                  <a:lnTo>
                    <a:pt x="0" y="0"/>
                  </a:lnTo>
                  <a:lnTo>
                    <a:pt x="217539" y="217528"/>
                  </a:lnTo>
                  <a:lnTo>
                    <a:pt x="217539" y="0"/>
                  </a:lnTo>
                  <a:close/>
                  <a:moveTo>
                    <a:pt x="435077" y="435077"/>
                  </a:moveTo>
                  <a:lnTo>
                    <a:pt x="217566" y="435077"/>
                  </a:lnTo>
                  <a:lnTo>
                    <a:pt x="435077" y="217547"/>
                  </a:lnTo>
                  <a:lnTo>
                    <a:pt x="435077" y="435077"/>
                  </a:lnTo>
                  <a:close/>
                  <a:moveTo>
                    <a:pt x="435077" y="3"/>
                  </a:moveTo>
                  <a:lnTo>
                    <a:pt x="217566" y="3"/>
                  </a:lnTo>
                  <a:lnTo>
                    <a:pt x="435077" y="217531"/>
                  </a:lnTo>
                  <a:lnTo>
                    <a:pt x="435077" y="3"/>
                  </a:lnTo>
                  <a:close/>
                </a:path>
              </a:pathLst>
            </a:custGeom>
            <a:grpFill/>
            <a:ln w="27192" cap="flat">
              <a:noFill/>
              <a:prstDash val="solid"/>
              <a:miter/>
            </a:ln>
          </p:spPr>
          <p:txBody>
            <a:bodyPr rtlCol="0" anchor="ctr"/>
            <a:lstStyle/>
            <a:p>
              <a:endParaRPr lang="uk-UA" sz="900">
                <a:solidFill>
                  <a:schemeClr val="bg1"/>
                </a:solidFill>
              </a:endParaRPr>
            </a:p>
          </p:txBody>
        </p:sp>
        <p:sp>
          <p:nvSpPr>
            <p:cNvPr id="128" name="Freeform: Shape 127">
              <a:extLst>
                <a:ext uri="{FF2B5EF4-FFF2-40B4-BE49-F238E27FC236}">
                  <a16:creationId xmlns:a16="http://schemas.microsoft.com/office/drawing/2014/main" id="{8DB08B4B-B618-6B42-6F57-4E4FDA4F115D}"/>
                </a:ext>
              </a:extLst>
            </p:cNvPr>
            <p:cNvSpPr/>
            <p:nvPr/>
          </p:nvSpPr>
          <p:spPr>
            <a:xfrm>
              <a:off x="5186597" y="1968909"/>
              <a:ext cx="435077" cy="435077"/>
            </a:xfrm>
            <a:custGeom>
              <a:avLst/>
              <a:gdLst>
                <a:gd name="connsiteX0" fmla="*/ 371366 w 435077"/>
                <a:gd name="connsiteY0" fmla="*/ 63714 h 435077"/>
                <a:gd name="connsiteX1" fmla="*/ 435077 w 435077"/>
                <a:gd name="connsiteY1" fmla="*/ 217539 h 435077"/>
                <a:gd name="connsiteX2" fmla="*/ 217702 w 435077"/>
                <a:gd name="connsiteY2" fmla="*/ 217539 h 435077"/>
                <a:gd name="connsiteX3" fmla="*/ 371366 w 435077"/>
                <a:gd name="connsiteY3" fmla="*/ 281253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3 h 435077"/>
                <a:gd name="connsiteX8" fmla="*/ 217376 w 435077"/>
                <a:gd name="connsiteY8" fmla="*/ 217539 h 435077"/>
                <a:gd name="connsiteX9" fmla="*/ 0 w 435077"/>
                <a:gd name="connsiteY9" fmla="*/ 217539 h 435077"/>
                <a:gd name="connsiteX10" fmla="*/ 63712 w 435077"/>
                <a:gd name="connsiteY10" fmla="*/ 63714 h 435077"/>
                <a:gd name="connsiteX11" fmla="*/ 217539 w 435077"/>
                <a:gd name="connsiteY11" fmla="*/ 0 h 435077"/>
                <a:gd name="connsiteX12" fmla="*/ 371366 w 435077"/>
                <a:gd name="connsiteY12" fmla="*/ 63714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4"/>
                  </a:moveTo>
                  <a:cubicBezTo>
                    <a:pt x="412155" y="104511"/>
                    <a:pt x="435077" y="159842"/>
                    <a:pt x="435077" y="217539"/>
                  </a:cubicBezTo>
                  <a:lnTo>
                    <a:pt x="217702" y="217539"/>
                  </a:lnTo>
                  <a:cubicBezTo>
                    <a:pt x="275350" y="217582"/>
                    <a:pt x="330605" y="240497"/>
                    <a:pt x="371366" y="281253"/>
                  </a:cubicBezTo>
                  <a:cubicBezTo>
                    <a:pt x="412155" y="322050"/>
                    <a:pt x="435077" y="377381"/>
                    <a:pt x="435077" y="435077"/>
                  </a:cubicBezTo>
                  <a:lnTo>
                    <a:pt x="217539" y="435077"/>
                  </a:lnTo>
                  <a:lnTo>
                    <a:pt x="0" y="435077"/>
                  </a:lnTo>
                  <a:cubicBezTo>
                    <a:pt x="0" y="377381"/>
                    <a:pt x="22924" y="322050"/>
                    <a:pt x="63712" y="281253"/>
                  </a:cubicBezTo>
                  <a:cubicBezTo>
                    <a:pt x="104473" y="240497"/>
                    <a:pt x="159728" y="217582"/>
                    <a:pt x="217376" y="217539"/>
                  </a:cubicBezTo>
                  <a:lnTo>
                    <a:pt x="0" y="217539"/>
                  </a:lnTo>
                  <a:cubicBezTo>
                    <a:pt x="0" y="159842"/>
                    <a:pt x="22924" y="104511"/>
                    <a:pt x="63712" y="63714"/>
                  </a:cubicBezTo>
                  <a:cubicBezTo>
                    <a:pt x="104501" y="22918"/>
                    <a:pt x="159837" y="0"/>
                    <a:pt x="217539" y="0"/>
                  </a:cubicBezTo>
                  <a:cubicBezTo>
                    <a:pt x="275241" y="0"/>
                    <a:pt x="330550" y="22918"/>
                    <a:pt x="371366" y="63714"/>
                  </a:cubicBezTo>
                  <a:close/>
                </a:path>
              </a:pathLst>
            </a:custGeom>
            <a:grpFill/>
            <a:ln w="27192" cap="flat">
              <a:noFill/>
              <a:prstDash val="solid"/>
              <a:miter/>
            </a:ln>
          </p:spPr>
          <p:txBody>
            <a:bodyPr rtlCol="0" anchor="ctr"/>
            <a:lstStyle/>
            <a:p>
              <a:endParaRPr lang="uk-UA" sz="900">
                <a:solidFill>
                  <a:schemeClr val="bg1"/>
                </a:solidFill>
              </a:endParaRPr>
            </a:p>
          </p:txBody>
        </p:sp>
        <p:sp>
          <p:nvSpPr>
            <p:cNvPr id="129" name="Freeform: Shape 128">
              <a:extLst>
                <a:ext uri="{FF2B5EF4-FFF2-40B4-BE49-F238E27FC236}">
                  <a16:creationId xmlns:a16="http://schemas.microsoft.com/office/drawing/2014/main" id="{74652AA6-3AA6-4A9F-FB92-B8EAE0443B5A}"/>
                </a:ext>
              </a:extLst>
            </p:cNvPr>
            <p:cNvSpPr/>
            <p:nvPr/>
          </p:nvSpPr>
          <p:spPr>
            <a:xfrm>
              <a:off x="6056752" y="1968909"/>
              <a:ext cx="435077" cy="435074"/>
            </a:xfrm>
            <a:custGeom>
              <a:avLst/>
              <a:gdLst>
                <a:gd name="connsiteX0" fmla="*/ 217539 w 435077"/>
                <a:gd name="connsiteY0" fmla="*/ 217539 h 435074"/>
                <a:gd name="connsiteX1" fmla="*/ 217539 w 435077"/>
                <a:gd name="connsiteY1" fmla="*/ 217536 h 435074"/>
                <a:gd name="connsiteX2" fmla="*/ 0 w 435077"/>
                <a:gd name="connsiteY2" fmla="*/ 0 h 435074"/>
                <a:gd name="connsiteX3" fmla="*/ 217539 w 435077"/>
                <a:gd name="connsiteY3" fmla="*/ 0 h 435074"/>
                <a:gd name="connsiteX4" fmla="*/ 217539 w 435077"/>
                <a:gd name="connsiteY4" fmla="*/ 5 h 435074"/>
                <a:gd name="connsiteX5" fmla="*/ 435077 w 435077"/>
                <a:gd name="connsiteY5" fmla="*/ 217533 h 435074"/>
                <a:gd name="connsiteX6" fmla="*/ 435077 w 435077"/>
                <a:gd name="connsiteY6" fmla="*/ 217533 h 435074"/>
                <a:gd name="connsiteX7" fmla="*/ 435077 w 435077"/>
                <a:gd name="connsiteY7" fmla="*/ 217539 h 435074"/>
                <a:gd name="connsiteX8" fmla="*/ 435077 w 435077"/>
                <a:gd name="connsiteY8" fmla="*/ 217541 h 435074"/>
                <a:gd name="connsiteX9" fmla="*/ 435077 w 435077"/>
                <a:gd name="connsiteY9" fmla="*/ 217541 h 435074"/>
                <a:gd name="connsiteX10" fmla="*/ 217539 w 435077"/>
                <a:gd name="connsiteY10" fmla="*/ 435072 h 435074"/>
                <a:gd name="connsiteX11" fmla="*/ 217539 w 435077"/>
                <a:gd name="connsiteY11" fmla="*/ 435075 h 435074"/>
                <a:gd name="connsiteX12" fmla="*/ 0 w 435077"/>
                <a:gd name="connsiteY12" fmla="*/ 435075 h 435074"/>
                <a:gd name="connsiteX13" fmla="*/ 217539 w 435077"/>
                <a:gd name="connsiteY13" fmla="*/ 217539 h 43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4">
                  <a:moveTo>
                    <a:pt x="217539" y="217539"/>
                  </a:moveTo>
                  <a:lnTo>
                    <a:pt x="217539" y="217536"/>
                  </a:lnTo>
                  <a:lnTo>
                    <a:pt x="0" y="0"/>
                  </a:lnTo>
                  <a:lnTo>
                    <a:pt x="217539" y="0"/>
                  </a:lnTo>
                  <a:lnTo>
                    <a:pt x="217539" y="5"/>
                  </a:lnTo>
                  <a:lnTo>
                    <a:pt x="435077" y="217533"/>
                  </a:lnTo>
                  <a:lnTo>
                    <a:pt x="435077" y="217533"/>
                  </a:lnTo>
                  <a:lnTo>
                    <a:pt x="435077" y="217539"/>
                  </a:lnTo>
                  <a:lnTo>
                    <a:pt x="435077" y="217541"/>
                  </a:lnTo>
                  <a:lnTo>
                    <a:pt x="435077" y="217541"/>
                  </a:lnTo>
                  <a:lnTo>
                    <a:pt x="217539" y="435072"/>
                  </a:lnTo>
                  <a:lnTo>
                    <a:pt x="217539" y="435075"/>
                  </a:lnTo>
                  <a:lnTo>
                    <a:pt x="0" y="435075"/>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130" name="Freeform: Shape 129">
              <a:extLst>
                <a:ext uri="{FF2B5EF4-FFF2-40B4-BE49-F238E27FC236}">
                  <a16:creationId xmlns:a16="http://schemas.microsoft.com/office/drawing/2014/main" id="{1A49FCF4-46B1-9AC9-DCA3-FE2FB03F04FE}"/>
                </a:ext>
              </a:extLst>
            </p:cNvPr>
            <p:cNvSpPr/>
            <p:nvPr/>
          </p:nvSpPr>
          <p:spPr>
            <a:xfrm>
              <a:off x="7797062" y="196890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solidFill>
                  <a:schemeClr val="bg1"/>
                </a:solidFill>
              </a:endParaRPr>
            </a:p>
          </p:txBody>
        </p:sp>
        <p:sp>
          <p:nvSpPr>
            <p:cNvPr id="131" name="Freeform: Shape 130">
              <a:extLst>
                <a:ext uri="{FF2B5EF4-FFF2-40B4-BE49-F238E27FC236}">
                  <a16:creationId xmlns:a16="http://schemas.microsoft.com/office/drawing/2014/main" id="{A7BBCB2A-FBBF-0B97-7041-0D967DCA9A37}"/>
                </a:ext>
              </a:extLst>
            </p:cNvPr>
            <p:cNvSpPr/>
            <p:nvPr/>
          </p:nvSpPr>
          <p:spPr>
            <a:xfrm>
              <a:off x="6926907" y="1968909"/>
              <a:ext cx="435077" cy="435077"/>
            </a:xfrm>
            <a:custGeom>
              <a:avLst/>
              <a:gdLst>
                <a:gd name="connsiteX0" fmla="*/ 0 w 435077"/>
                <a:gd name="connsiteY0" fmla="*/ 435077 h 435077"/>
                <a:gd name="connsiteX1" fmla="*/ 217539 w 435077"/>
                <a:gd name="connsiteY1" fmla="*/ 435077 h 435077"/>
                <a:gd name="connsiteX2" fmla="*/ 217539 w 435077"/>
                <a:gd name="connsiteY2" fmla="*/ 217547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28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47 h 435077"/>
                <a:gd name="connsiteX11" fmla="*/ 435077 w 435077"/>
                <a:gd name="connsiteY11" fmla="*/ 435077 h 435077"/>
                <a:gd name="connsiteX12" fmla="*/ 435077 w 435077"/>
                <a:gd name="connsiteY12" fmla="*/ 3 h 435077"/>
                <a:gd name="connsiteX13" fmla="*/ 217539 w 435077"/>
                <a:gd name="connsiteY13" fmla="*/ 3 h 435077"/>
                <a:gd name="connsiteX14" fmla="*/ 435077 w 435077"/>
                <a:gd name="connsiteY14" fmla="*/ 217531 h 435077"/>
                <a:gd name="connsiteX15" fmla="*/ 435077 w 435077"/>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47"/>
                  </a:lnTo>
                  <a:lnTo>
                    <a:pt x="0" y="435077"/>
                  </a:lnTo>
                  <a:close/>
                  <a:moveTo>
                    <a:pt x="217539" y="0"/>
                  </a:moveTo>
                  <a:lnTo>
                    <a:pt x="0" y="0"/>
                  </a:lnTo>
                  <a:lnTo>
                    <a:pt x="217539" y="217528"/>
                  </a:lnTo>
                  <a:lnTo>
                    <a:pt x="217539" y="0"/>
                  </a:lnTo>
                  <a:close/>
                  <a:moveTo>
                    <a:pt x="435077" y="435077"/>
                  </a:moveTo>
                  <a:lnTo>
                    <a:pt x="217539" y="435077"/>
                  </a:lnTo>
                  <a:lnTo>
                    <a:pt x="435077" y="217547"/>
                  </a:lnTo>
                  <a:lnTo>
                    <a:pt x="435077" y="435077"/>
                  </a:lnTo>
                  <a:close/>
                  <a:moveTo>
                    <a:pt x="435077" y="3"/>
                  </a:moveTo>
                  <a:lnTo>
                    <a:pt x="217539" y="3"/>
                  </a:lnTo>
                  <a:lnTo>
                    <a:pt x="435077" y="217531"/>
                  </a:lnTo>
                  <a:lnTo>
                    <a:pt x="435077" y="3"/>
                  </a:lnTo>
                  <a:close/>
                </a:path>
              </a:pathLst>
            </a:custGeom>
            <a:grpFill/>
            <a:ln w="27192" cap="flat">
              <a:noFill/>
              <a:prstDash val="solid"/>
              <a:miter/>
            </a:ln>
          </p:spPr>
          <p:txBody>
            <a:bodyPr rtlCol="0" anchor="ctr"/>
            <a:lstStyle/>
            <a:p>
              <a:endParaRPr lang="uk-UA" sz="900">
                <a:solidFill>
                  <a:schemeClr val="bg1"/>
                </a:solidFill>
              </a:endParaRPr>
            </a:p>
          </p:txBody>
        </p:sp>
        <p:sp>
          <p:nvSpPr>
            <p:cNvPr id="132" name="Freeform: Shape 131">
              <a:extLst>
                <a:ext uri="{FF2B5EF4-FFF2-40B4-BE49-F238E27FC236}">
                  <a16:creationId xmlns:a16="http://schemas.microsoft.com/office/drawing/2014/main" id="{E534CDB1-0E36-9C00-4810-3FCD1617F659}"/>
                </a:ext>
              </a:extLst>
            </p:cNvPr>
            <p:cNvSpPr/>
            <p:nvPr/>
          </p:nvSpPr>
          <p:spPr>
            <a:xfrm>
              <a:off x="8667217" y="1968909"/>
              <a:ext cx="435104" cy="435077"/>
            </a:xfrm>
            <a:custGeom>
              <a:avLst/>
              <a:gdLst>
                <a:gd name="connsiteX0" fmla="*/ 371366 w 435104"/>
                <a:gd name="connsiteY0" fmla="*/ 63714 h 435077"/>
                <a:gd name="connsiteX1" fmla="*/ 435077 w 435104"/>
                <a:gd name="connsiteY1" fmla="*/ 217539 h 435077"/>
                <a:gd name="connsiteX2" fmla="*/ 217730 w 435104"/>
                <a:gd name="connsiteY2" fmla="*/ 217539 h 435077"/>
                <a:gd name="connsiteX3" fmla="*/ 371366 w 435104"/>
                <a:gd name="connsiteY3" fmla="*/ 281253 h 435077"/>
                <a:gd name="connsiteX4" fmla="*/ 435105 w 435104"/>
                <a:gd name="connsiteY4" fmla="*/ 435077 h 435077"/>
                <a:gd name="connsiteX5" fmla="*/ 217566 w 435104"/>
                <a:gd name="connsiteY5" fmla="*/ 435077 h 435077"/>
                <a:gd name="connsiteX6" fmla="*/ 27 w 435104"/>
                <a:gd name="connsiteY6" fmla="*/ 435077 h 435077"/>
                <a:gd name="connsiteX7" fmla="*/ 63739 w 435104"/>
                <a:gd name="connsiteY7" fmla="*/ 281253 h 435077"/>
                <a:gd name="connsiteX8" fmla="*/ 217376 w 435104"/>
                <a:gd name="connsiteY8" fmla="*/ 217539 h 435077"/>
                <a:gd name="connsiteX9" fmla="*/ 0 w 435104"/>
                <a:gd name="connsiteY9" fmla="*/ 217539 h 435077"/>
                <a:gd name="connsiteX10" fmla="*/ 63739 w 435104"/>
                <a:gd name="connsiteY10" fmla="*/ 63714 h 435077"/>
                <a:gd name="connsiteX11" fmla="*/ 217539 w 435104"/>
                <a:gd name="connsiteY11" fmla="*/ 0 h 435077"/>
                <a:gd name="connsiteX12" fmla="*/ 371366 w 435104"/>
                <a:gd name="connsiteY12" fmla="*/ 63714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4" h="435077">
                  <a:moveTo>
                    <a:pt x="371366" y="63714"/>
                  </a:moveTo>
                  <a:cubicBezTo>
                    <a:pt x="412182" y="104511"/>
                    <a:pt x="435077" y="159842"/>
                    <a:pt x="435077" y="217539"/>
                  </a:cubicBezTo>
                  <a:lnTo>
                    <a:pt x="217730" y="217539"/>
                  </a:lnTo>
                  <a:cubicBezTo>
                    <a:pt x="275350" y="217582"/>
                    <a:pt x="330632" y="240497"/>
                    <a:pt x="371366" y="281253"/>
                  </a:cubicBezTo>
                  <a:cubicBezTo>
                    <a:pt x="412182" y="322050"/>
                    <a:pt x="435105" y="377381"/>
                    <a:pt x="435105" y="435077"/>
                  </a:cubicBezTo>
                  <a:lnTo>
                    <a:pt x="217566" y="435077"/>
                  </a:lnTo>
                  <a:lnTo>
                    <a:pt x="27" y="435077"/>
                  </a:lnTo>
                  <a:cubicBezTo>
                    <a:pt x="27" y="377381"/>
                    <a:pt x="22924" y="322050"/>
                    <a:pt x="63739" y="281253"/>
                  </a:cubicBezTo>
                  <a:cubicBezTo>
                    <a:pt x="104501" y="240497"/>
                    <a:pt x="159755" y="217582"/>
                    <a:pt x="217376" y="217539"/>
                  </a:cubicBezTo>
                  <a:lnTo>
                    <a:pt x="0" y="217539"/>
                  </a:lnTo>
                  <a:cubicBezTo>
                    <a:pt x="0" y="159842"/>
                    <a:pt x="22924" y="104511"/>
                    <a:pt x="63739" y="63714"/>
                  </a:cubicBezTo>
                  <a:cubicBezTo>
                    <a:pt x="104527" y="22918"/>
                    <a:pt x="159864" y="0"/>
                    <a:pt x="217539" y="0"/>
                  </a:cubicBezTo>
                  <a:cubicBezTo>
                    <a:pt x="275241" y="0"/>
                    <a:pt x="330578" y="22918"/>
                    <a:pt x="371366" y="63714"/>
                  </a:cubicBezTo>
                  <a:close/>
                </a:path>
              </a:pathLst>
            </a:custGeom>
            <a:grpFill/>
            <a:ln w="27192" cap="flat">
              <a:noFill/>
              <a:prstDash val="solid"/>
              <a:miter/>
            </a:ln>
          </p:spPr>
          <p:txBody>
            <a:bodyPr rtlCol="0" anchor="ctr"/>
            <a:lstStyle/>
            <a:p>
              <a:endParaRPr lang="uk-UA" sz="900">
                <a:solidFill>
                  <a:schemeClr val="bg1"/>
                </a:solidFill>
              </a:endParaRPr>
            </a:p>
          </p:txBody>
        </p:sp>
        <p:sp>
          <p:nvSpPr>
            <p:cNvPr id="133" name="Freeform: Shape 132">
              <a:extLst>
                <a:ext uri="{FF2B5EF4-FFF2-40B4-BE49-F238E27FC236}">
                  <a16:creationId xmlns:a16="http://schemas.microsoft.com/office/drawing/2014/main" id="{5C079C36-A366-3D54-6E17-E6BCFE4A0606}"/>
                </a:ext>
              </a:extLst>
            </p:cNvPr>
            <p:cNvSpPr/>
            <p:nvPr/>
          </p:nvSpPr>
          <p:spPr>
            <a:xfrm>
              <a:off x="9537399" y="1968909"/>
              <a:ext cx="435077" cy="435074"/>
            </a:xfrm>
            <a:custGeom>
              <a:avLst/>
              <a:gdLst>
                <a:gd name="connsiteX0" fmla="*/ 217539 w 435077"/>
                <a:gd name="connsiteY0" fmla="*/ 217539 h 435074"/>
                <a:gd name="connsiteX1" fmla="*/ 217539 w 435077"/>
                <a:gd name="connsiteY1" fmla="*/ 217536 h 435074"/>
                <a:gd name="connsiteX2" fmla="*/ 0 w 435077"/>
                <a:gd name="connsiteY2" fmla="*/ 0 h 435074"/>
                <a:gd name="connsiteX3" fmla="*/ 217539 w 435077"/>
                <a:gd name="connsiteY3" fmla="*/ 0 h 435074"/>
                <a:gd name="connsiteX4" fmla="*/ 217539 w 435077"/>
                <a:gd name="connsiteY4" fmla="*/ 5 h 435074"/>
                <a:gd name="connsiteX5" fmla="*/ 435050 w 435077"/>
                <a:gd name="connsiteY5" fmla="*/ 217533 h 435074"/>
                <a:gd name="connsiteX6" fmla="*/ 435077 w 435077"/>
                <a:gd name="connsiteY6" fmla="*/ 217533 h 435074"/>
                <a:gd name="connsiteX7" fmla="*/ 435050 w 435077"/>
                <a:gd name="connsiteY7" fmla="*/ 217539 h 435074"/>
                <a:gd name="connsiteX8" fmla="*/ 435077 w 435077"/>
                <a:gd name="connsiteY8" fmla="*/ 217541 h 435074"/>
                <a:gd name="connsiteX9" fmla="*/ 435050 w 435077"/>
                <a:gd name="connsiteY9" fmla="*/ 217541 h 435074"/>
                <a:gd name="connsiteX10" fmla="*/ 217539 w 435077"/>
                <a:gd name="connsiteY10" fmla="*/ 435072 h 435074"/>
                <a:gd name="connsiteX11" fmla="*/ 217539 w 435077"/>
                <a:gd name="connsiteY11" fmla="*/ 435075 h 435074"/>
                <a:gd name="connsiteX12" fmla="*/ 0 w 435077"/>
                <a:gd name="connsiteY12" fmla="*/ 435075 h 435074"/>
                <a:gd name="connsiteX13" fmla="*/ 217539 w 435077"/>
                <a:gd name="connsiteY13" fmla="*/ 217539 h 43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4">
                  <a:moveTo>
                    <a:pt x="217539" y="217539"/>
                  </a:moveTo>
                  <a:lnTo>
                    <a:pt x="217539" y="217536"/>
                  </a:lnTo>
                  <a:lnTo>
                    <a:pt x="0" y="0"/>
                  </a:lnTo>
                  <a:lnTo>
                    <a:pt x="217539" y="0"/>
                  </a:lnTo>
                  <a:lnTo>
                    <a:pt x="217539" y="5"/>
                  </a:lnTo>
                  <a:lnTo>
                    <a:pt x="435050" y="217533"/>
                  </a:lnTo>
                  <a:lnTo>
                    <a:pt x="435077" y="217533"/>
                  </a:lnTo>
                  <a:lnTo>
                    <a:pt x="435050" y="217539"/>
                  </a:lnTo>
                  <a:lnTo>
                    <a:pt x="435077" y="217541"/>
                  </a:lnTo>
                  <a:lnTo>
                    <a:pt x="435050" y="217541"/>
                  </a:lnTo>
                  <a:lnTo>
                    <a:pt x="217539" y="435072"/>
                  </a:lnTo>
                  <a:lnTo>
                    <a:pt x="217539" y="435075"/>
                  </a:lnTo>
                  <a:lnTo>
                    <a:pt x="0" y="435075"/>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134" name="Freeform: Shape 133">
              <a:extLst>
                <a:ext uri="{FF2B5EF4-FFF2-40B4-BE49-F238E27FC236}">
                  <a16:creationId xmlns:a16="http://schemas.microsoft.com/office/drawing/2014/main" id="{14311269-CECF-F3C6-65C2-ECA67C254A72}"/>
                </a:ext>
              </a:extLst>
            </p:cNvPr>
            <p:cNvSpPr/>
            <p:nvPr/>
          </p:nvSpPr>
          <p:spPr>
            <a:xfrm>
              <a:off x="11277709" y="196890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35" name="Freeform: Shape 134">
              <a:extLst>
                <a:ext uri="{FF2B5EF4-FFF2-40B4-BE49-F238E27FC236}">
                  <a16:creationId xmlns:a16="http://schemas.microsoft.com/office/drawing/2014/main" id="{62B5D6D0-F6DE-2E39-3D16-450A0D759871}"/>
                </a:ext>
              </a:extLst>
            </p:cNvPr>
            <p:cNvSpPr/>
            <p:nvPr/>
          </p:nvSpPr>
          <p:spPr>
            <a:xfrm>
              <a:off x="10407554" y="1968909"/>
              <a:ext cx="435077" cy="435077"/>
            </a:xfrm>
            <a:custGeom>
              <a:avLst/>
              <a:gdLst>
                <a:gd name="connsiteX0" fmla="*/ 0 w 435077"/>
                <a:gd name="connsiteY0" fmla="*/ 435075 h 435077"/>
                <a:gd name="connsiteX1" fmla="*/ 217511 w 435077"/>
                <a:gd name="connsiteY1" fmla="*/ 435075 h 435077"/>
                <a:gd name="connsiteX2" fmla="*/ 217511 w 435077"/>
                <a:gd name="connsiteY2" fmla="*/ 217547 h 435077"/>
                <a:gd name="connsiteX3" fmla="*/ 0 w 435077"/>
                <a:gd name="connsiteY3" fmla="*/ 435075 h 435077"/>
                <a:gd name="connsiteX4" fmla="*/ 217511 w 435077"/>
                <a:gd name="connsiteY4" fmla="*/ 0 h 435077"/>
                <a:gd name="connsiteX5" fmla="*/ 0 w 435077"/>
                <a:gd name="connsiteY5" fmla="*/ 0 h 435077"/>
                <a:gd name="connsiteX6" fmla="*/ 217511 w 435077"/>
                <a:gd name="connsiteY6" fmla="*/ 217528 h 435077"/>
                <a:gd name="connsiteX7" fmla="*/ 217511 w 435077"/>
                <a:gd name="connsiteY7" fmla="*/ 0 h 435077"/>
                <a:gd name="connsiteX8" fmla="*/ 435077 w 435077"/>
                <a:gd name="connsiteY8" fmla="*/ 435077 h 435077"/>
                <a:gd name="connsiteX9" fmla="*/ 217539 w 435077"/>
                <a:gd name="connsiteY9" fmla="*/ 435077 h 435077"/>
                <a:gd name="connsiteX10" fmla="*/ 435077 w 435077"/>
                <a:gd name="connsiteY10" fmla="*/ 217547 h 435077"/>
                <a:gd name="connsiteX11" fmla="*/ 435077 w 435077"/>
                <a:gd name="connsiteY11" fmla="*/ 435077 h 435077"/>
                <a:gd name="connsiteX12" fmla="*/ 435077 w 435077"/>
                <a:gd name="connsiteY12" fmla="*/ 3 h 435077"/>
                <a:gd name="connsiteX13" fmla="*/ 217539 w 435077"/>
                <a:gd name="connsiteY13" fmla="*/ 3 h 435077"/>
                <a:gd name="connsiteX14" fmla="*/ 435077 w 435077"/>
                <a:gd name="connsiteY14" fmla="*/ 217531 h 435077"/>
                <a:gd name="connsiteX15" fmla="*/ 435077 w 435077"/>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5"/>
                  </a:moveTo>
                  <a:lnTo>
                    <a:pt x="217511" y="435075"/>
                  </a:lnTo>
                  <a:lnTo>
                    <a:pt x="217511" y="217547"/>
                  </a:lnTo>
                  <a:lnTo>
                    <a:pt x="0" y="435075"/>
                  </a:lnTo>
                  <a:close/>
                  <a:moveTo>
                    <a:pt x="217511" y="0"/>
                  </a:moveTo>
                  <a:lnTo>
                    <a:pt x="0" y="0"/>
                  </a:lnTo>
                  <a:lnTo>
                    <a:pt x="217511" y="217528"/>
                  </a:lnTo>
                  <a:lnTo>
                    <a:pt x="217511" y="0"/>
                  </a:lnTo>
                  <a:close/>
                  <a:moveTo>
                    <a:pt x="435077" y="435077"/>
                  </a:moveTo>
                  <a:lnTo>
                    <a:pt x="217539" y="435077"/>
                  </a:lnTo>
                  <a:lnTo>
                    <a:pt x="435077" y="217547"/>
                  </a:lnTo>
                  <a:lnTo>
                    <a:pt x="435077" y="435077"/>
                  </a:lnTo>
                  <a:close/>
                  <a:moveTo>
                    <a:pt x="435077" y="3"/>
                  </a:moveTo>
                  <a:lnTo>
                    <a:pt x="217539" y="3"/>
                  </a:lnTo>
                  <a:lnTo>
                    <a:pt x="435077" y="217531"/>
                  </a:lnTo>
                  <a:lnTo>
                    <a:pt x="435077" y="3"/>
                  </a:lnTo>
                  <a:close/>
                </a:path>
              </a:pathLst>
            </a:custGeom>
            <a:grpFill/>
            <a:ln w="27192" cap="flat">
              <a:noFill/>
              <a:prstDash val="solid"/>
              <a:miter/>
            </a:ln>
          </p:spPr>
          <p:txBody>
            <a:bodyPr rtlCol="0" anchor="ctr"/>
            <a:lstStyle/>
            <a:p>
              <a:endParaRPr lang="uk-UA" sz="900">
                <a:solidFill>
                  <a:schemeClr val="bg1"/>
                </a:solidFill>
              </a:endParaRPr>
            </a:p>
          </p:txBody>
        </p:sp>
        <p:sp>
          <p:nvSpPr>
            <p:cNvPr id="136" name="Freeform: Shape 135">
              <a:extLst>
                <a:ext uri="{FF2B5EF4-FFF2-40B4-BE49-F238E27FC236}">
                  <a16:creationId xmlns:a16="http://schemas.microsoft.com/office/drawing/2014/main" id="{00F46930-3ACF-D992-7058-263AF4B5267D}"/>
                </a:ext>
              </a:extLst>
            </p:cNvPr>
            <p:cNvSpPr/>
            <p:nvPr/>
          </p:nvSpPr>
          <p:spPr>
            <a:xfrm>
              <a:off x="12147864" y="1968909"/>
              <a:ext cx="435103" cy="435077"/>
            </a:xfrm>
            <a:custGeom>
              <a:avLst/>
              <a:gdLst>
                <a:gd name="connsiteX0" fmla="*/ 371365 w 435103"/>
                <a:gd name="connsiteY0" fmla="*/ 63714 h 435077"/>
                <a:gd name="connsiteX1" fmla="*/ 435077 w 435103"/>
                <a:gd name="connsiteY1" fmla="*/ 217539 h 435077"/>
                <a:gd name="connsiteX2" fmla="*/ 217728 w 435103"/>
                <a:gd name="connsiteY2" fmla="*/ 217539 h 435077"/>
                <a:gd name="connsiteX3" fmla="*/ 371365 w 435103"/>
                <a:gd name="connsiteY3" fmla="*/ 281253 h 435077"/>
                <a:gd name="connsiteX4" fmla="*/ 435104 w 435103"/>
                <a:gd name="connsiteY4" fmla="*/ 435077 h 435077"/>
                <a:gd name="connsiteX5" fmla="*/ 217565 w 435103"/>
                <a:gd name="connsiteY5" fmla="*/ 435077 h 435077"/>
                <a:gd name="connsiteX6" fmla="*/ 27 w 435103"/>
                <a:gd name="connsiteY6" fmla="*/ 435077 h 435077"/>
                <a:gd name="connsiteX7" fmla="*/ 63739 w 435103"/>
                <a:gd name="connsiteY7" fmla="*/ 281253 h 435077"/>
                <a:gd name="connsiteX8" fmla="*/ 217374 w 435103"/>
                <a:gd name="connsiteY8" fmla="*/ 217539 h 435077"/>
                <a:gd name="connsiteX9" fmla="*/ 0 w 435103"/>
                <a:gd name="connsiteY9" fmla="*/ 217539 h 435077"/>
                <a:gd name="connsiteX10" fmla="*/ 63739 w 435103"/>
                <a:gd name="connsiteY10" fmla="*/ 63714 h 435077"/>
                <a:gd name="connsiteX11" fmla="*/ 217539 w 435103"/>
                <a:gd name="connsiteY11" fmla="*/ 0 h 435077"/>
                <a:gd name="connsiteX12" fmla="*/ 371365 w 435103"/>
                <a:gd name="connsiteY12" fmla="*/ 63714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3" h="435077">
                  <a:moveTo>
                    <a:pt x="371365" y="63714"/>
                  </a:moveTo>
                  <a:cubicBezTo>
                    <a:pt x="412180" y="104511"/>
                    <a:pt x="435077" y="159842"/>
                    <a:pt x="435077" y="217539"/>
                  </a:cubicBezTo>
                  <a:lnTo>
                    <a:pt x="217728" y="217539"/>
                  </a:lnTo>
                  <a:cubicBezTo>
                    <a:pt x="275349" y="217582"/>
                    <a:pt x="330632" y="240497"/>
                    <a:pt x="371365" y="281253"/>
                  </a:cubicBezTo>
                  <a:cubicBezTo>
                    <a:pt x="412180" y="322050"/>
                    <a:pt x="435104" y="377381"/>
                    <a:pt x="435104" y="435077"/>
                  </a:cubicBezTo>
                  <a:lnTo>
                    <a:pt x="217565" y="435077"/>
                  </a:lnTo>
                  <a:lnTo>
                    <a:pt x="27" y="435077"/>
                  </a:lnTo>
                  <a:cubicBezTo>
                    <a:pt x="27" y="377381"/>
                    <a:pt x="22922" y="322050"/>
                    <a:pt x="63739" y="281253"/>
                  </a:cubicBezTo>
                  <a:cubicBezTo>
                    <a:pt x="104499" y="240497"/>
                    <a:pt x="159755" y="217582"/>
                    <a:pt x="217374" y="217539"/>
                  </a:cubicBezTo>
                  <a:lnTo>
                    <a:pt x="0" y="217539"/>
                  </a:lnTo>
                  <a:cubicBezTo>
                    <a:pt x="0" y="159842"/>
                    <a:pt x="22922" y="104511"/>
                    <a:pt x="63739" y="63714"/>
                  </a:cubicBezTo>
                  <a:cubicBezTo>
                    <a:pt x="104527" y="22918"/>
                    <a:pt x="159863" y="0"/>
                    <a:pt x="217539" y="0"/>
                  </a:cubicBezTo>
                  <a:cubicBezTo>
                    <a:pt x="275239" y="0"/>
                    <a:pt x="330577" y="22918"/>
                    <a:pt x="371365" y="63714"/>
                  </a:cubicBezTo>
                  <a:close/>
                </a:path>
              </a:pathLst>
            </a:custGeom>
            <a:grpFill/>
            <a:ln w="27192" cap="flat">
              <a:noFill/>
              <a:prstDash val="solid"/>
              <a:miter/>
            </a:ln>
          </p:spPr>
          <p:txBody>
            <a:bodyPr rtlCol="0" anchor="ctr"/>
            <a:lstStyle/>
            <a:p>
              <a:endParaRPr lang="uk-UA" sz="900">
                <a:solidFill>
                  <a:schemeClr val="bg1"/>
                </a:solidFill>
              </a:endParaRPr>
            </a:p>
          </p:txBody>
        </p:sp>
        <p:sp>
          <p:nvSpPr>
            <p:cNvPr id="137" name="Freeform: Shape 136">
              <a:extLst>
                <a:ext uri="{FF2B5EF4-FFF2-40B4-BE49-F238E27FC236}">
                  <a16:creationId xmlns:a16="http://schemas.microsoft.com/office/drawing/2014/main" id="{CC6267F4-432A-BBFC-CA90-5718676F2B75}"/>
                </a:ext>
              </a:extLst>
            </p:cNvPr>
            <p:cNvSpPr/>
            <p:nvPr/>
          </p:nvSpPr>
          <p:spPr>
            <a:xfrm>
              <a:off x="13017991" y="1968906"/>
              <a:ext cx="435077" cy="435077"/>
            </a:xfrm>
            <a:custGeom>
              <a:avLst/>
              <a:gdLst>
                <a:gd name="connsiteX0" fmla="*/ 217539 w 435077"/>
                <a:gd name="connsiteY0" fmla="*/ 217533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2 h 435077"/>
                <a:gd name="connsiteX7" fmla="*/ 435077 w 435077"/>
                <a:gd name="connsiteY7" fmla="*/ 217541 h 435077"/>
                <a:gd name="connsiteX8" fmla="*/ 435077 w 435077"/>
                <a:gd name="connsiteY8" fmla="*/ 217541 h 435077"/>
                <a:gd name="connsiteX9" fmla="*/ 435077 w 435077"/>
                <a:gd name="connsiteY9" fmla="*/ 217539 h 435077"/>
                <a:gd name="connsiteX10" fmla="*/ 435077 w 435077"/>
                <a:gd name="connsiteY10" fmla="*/ 217533 h 435077"/>
                <a:gd name="connsiteX11" fmla="*/ 435077 w 435077"/>
                <a:gd name="connsiteY11" fmla="*/ 217533 h 435077"/>
                <a:gd name="connsiteX12" fmla="*/ 217539 w 435077"/>
                <a:gd name="connsiteY12" fmla="*/ 5 h 435077"/>
                <a:gd name="connsiteX13" fmla="*/ 217539 w 435077"/>
                <a:gd name="connsiteY13" fmla="*/ 217533 h 435077"/>
                <a:gd name="connsiteX14" fmla="*/ 217539 w 435077"/>
                <a:gd name="connsiteY14" fmla="*/ 21753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3"/>
                  </a:moveTo>
                  <a:lnTo>
                    <a:pt x="217539" y="0"/>
                  </a:lnTo>
                  <a:lnTo>
                    <a:pt x="0" y="0"/>
                  </a:lnTo>
                  <a:lnTo>
                    <a:pt x="217539" y="217539"/>
                  </a:lnTo>
                  <a:lnTo>
                    <a:pt x="0" y="435077"/>
                  </a:lnTo>
                  <a:lnTo>
                    <a:pt x="217539" y="435077"/>
                  </a:lnTo>
                  <a:lnTo>
                    <a:pt x="217539" y="435072"/>
                  </a:lnTo>
                  <a:lnTo>
                    <a:pt x="435077" y="217541"/>
                  </a:lnTo>
                  <a:lnTo>
                    <a:pt x="435077" y="217541"/>
                  </a:lnTo>
                  <a:lnTo>
                    <a:pt x="435077" y="217539"/>
                  </a:lnTo>
                  <a:lnTo>
                    <a:pt x="435077" y="217533"/>
                  </a:lnTo>
                  <a:lnTo>
                    <a:pt x="435077" y="217533"/>
                  </a:lnTo>
                  <a:lnTo>
                    <a:pt x="217539" y="5"/>
                  </a:lnTo>
                  <a:lnTo>
                    <a:pt x="217539" y="217533"/>
                  </a:lnTo>
                  <a:lnTo>
                    <a:pt x="217539" y="217533"/>
                  </a:lnTo>
                  <a:close/>
                </a:path>
              </a:pathLst>
            </a:custGeom>
            <a:grpFill/>
            <a:ln w="27192" cap="flat">
              <a:noFill/>
              <a:prstDash val="solid"/>
              <a:miter/>
            </a:ln>
          </p:spPr>
          <p:txBody>
            <a:bodyPr rtlCol="0" anchor="ctr"/>
            <a:lstStyle/>
            <a:p>
              <a:endParaRPr lang="uk-UA" sz="900">
                <a:solidFill>
                  <a:schemeClr val="bg1"/>
                </a:solidFill>
              </a:endParaRPr>
            </a:p>
          </p:txBody>
        </p:sp>
        <p:sp>
          <p:nvSpPr>
            <p:cNvPr id="138" name="Freeform: Shape 137">
              <a:extLst>
                <a:ext uri="{FF2B5EF4-FFF2-40B4-BE49-F238E27FC236}">
                  <a16:creationId xmlns:a16="http://schemas.microsoft.com/office/drawing/2014/main" id="{8ED3852C-1765-4B0B-2DC2-EBA4FBA814BF}"/>
                </a:ext>
              </a:extLst>
            </p:cNvPr>
            <p:cNvSpPr/>
            <p:nvPr/>
          </p:nvSpPr>
          <p:spPr>
            <a:xfrm>
              <a:off x="14758382" y="1968909"/>
              <a:ext cx="435077" cy="435077"/>
            </a:xfrm>
            <a:custGeom>
              <a:avLst/>
              <a:gdLst>
                <a:gd name="connsiteX0" fmla="*/ 217539 w 435077"/>
                <a:gd name="connsiteY0" fmla="*/ 0 h 435077"/>
                <a:gd name="connsiteX1" fmla="*/ 217539 w 435077"/>
                <a:gd name="connsiteY1" fmla="*/ 0 h 435077"/>
                <a:gd name="connsiteX2" fmla="*/ 0 w 435077"/>
                <a:gd name="connsiteY2" fmla="*/ 0 h 435077"/>
                <a:gd name="connsiteX3" fmla="*/ 0 w 435077"/>
                <a:gd name="connsiteY3" fmla="*/ 217539 h 435077"/>
                <a:gd name="connsiteX4" fmla="*/ 217539 w 435077"/>
                <a:gd name="connsiteY4" fmla="*/ 5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217539" y="0"/>
                  </a:lnTo>
                  <a:lnTo>
                    <a:pt x="0" y="0"/>
                  </a:lnTo>
                  <a:lnTo>
                    <a:pt x="0" y="217539"/>
                  </a:lnTo>
                  <a:lnTo>
                    <a:pt x="217539" y="5"/>
                  </a:lnTo>
                  <a:lnTo>
                    <a:pt x="435077" y="217539"/>
                  </a:lnTo>
                  <a:lnTo>
                    <a:pt x="217539" y="435077"/>
                  </a:lnTo>
                  <a:lnTo>
                    <a:pt x="0" y="217539"/>
                  </a:lnTo>
                  <a:lnTo>
                    <a:pt x="0" y="435077"/>
                  </a:lnTo>
                  <a:lnTo>
                    <a:pt x="217539" y="435077"/>
                  </a:lnTo>
                  <a:lnTo>
                    <a:pt x="435077" y="435077"/>
                  </a:lnTo>
                  <a:lnTo>
                    <a:pt x="435077" y="217539"/>
                  </a:lnTo>
                  <a:lnTo>
                    <a:pt x="435077" y="0"/>
                  </a:lnTo>
                  <a:lnTo>
                    <a:pt x="217539" y="0"/>
                  </a:lnTo>
                  <a:close/>
                </a:path>
              </a:pathLst>
            </a:custGeom>
            <a:grpFill/>
            <a:ln w="27192" cap="flat">
              <a:noFill/>
              <a:prstDash val="solid"/>
              <a:miter/>
            </a:ln>
          </p:spPr>
          <p:txBody>
            <a:bodyPr rtlCol="0" anchor="ctr"/>
            <a:lstStyle/>
            <a:p>
              <a:endParaRPr lang="uk-UA" sz="900">
                <a:solidFill>
                  <a:schemeClr val="bg1"/>
                </a:solidFill>
              </a:endParaRPr>
            </a:p>
          </p:txBody>
        </p:sp>
        <p:sp>
          <p:nvSpPr>
            <p:cNvPr id="139" name="Freeform: Shape 138">
              <a:extLst>
                <a:ext uri="{FF2B5EF4-FFF2-40B4-BE49-F238E27FC236}">
                  <a16:creationId xmlns:a16="http://schemas.microsoft.com/office/drawing/2014/main" id="{6C493922-126B-BA82-51A8-4BC1891EAF10}"/>
                </a:ext>
              </a:extLst>
            </p:cNvPr>
            <p:cNvSpPr/>
            <p:nvPr/>
          </p:nvSpPr>
          <p:spPr>
            <a:xfrm>
              <a:off x="13888200" y="1968909"/>
              <a:ext cx="435077" cy="435077"/>
            </a:xfrm>
            <a:custGeom>
              <a:avLst/>
              <a:gdLst>
                <a:gd name="connsiteX0" fmla="*/ 0 w 435077"/>
                <a:gd name="connsiteY0" fmla="*/ 435077 h 435077"/>
                <a:gd name="connsiteX1" fmla="*/ 217539 w 435077"/>
                <a:gd name="connsiteY1" fmla="*/ 435077 h 435077"/>
                <a:gd name="connsiteX2" fmla="*/ 217539 w 435077"/>
                <a:gd name="connsiteY2" fmla="*/ 217547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28 h 435077"/>
                <a:gd name="connsiteX7" fmla="*/ 217539 w 435077"/>
                <a:gd name="connsiteY7" fmla="*/ 0 h 435077"/>
                <a:gd name="connsiteX8" fmla="*/ 435077 w 435077"/>
                <a:gd name="connsiteY8" fmla="*/ 435077 h 435077"/>
                <a:gd name="connsiteX9" fmla="*/ 217565 w 435077"/>
                <a:gd name="connsiteY9" fmla="*/ 435077 h 435077"/>
                <a:gd name="connsiteX10" fmla="*/ 435077 w 435077"/>
                <a:gd name="connsiteY10" fmla="*/ 217547 h 435077"/>
                <a:gd name="connsiteX11" fmla="*/ 435077 w 435077"/>
                <a:gd name="connsiteY11" fmla="*/ 435077 h 435077"/>
                <a:gd name="connsiteX12" fmla="*/ 435077 w 435077"/>
                <a:gd name="connsiteY12" fmla="*/ 3 h 435077"/>
                <a:gd name="connsiteX13" fmla="*/ 217565 w 435077"/>
                <a:gd name="connsiteY13" fmla="*/ 3 h 435077"/>
                <a:gd name="connsiteX14" fmla="*/ 435077 w 435077"/>
                <a:gd name="connsiteY14" fmla="*/ 217531 h 435077"/>
                <a:gd name="connsiteX15" fmla="*/ 435077 w 435077"/>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47"/>
                  </a:lnTo>
                  <a:lnTo>
                    <a:pt x="0" y="435077"/>
                  </a:lnTo>
                  <a:close/>
                  <a:moveTo>
                    <a:pt x="217539" y="0"/>
                  </a:moveTo>
                  <a:lnTo>
                    <a:pt x="0" y="0"/>
                  </a:lnTo>
                  <a:lnTo>
                    <a:pt x="217539" y="217528"/>
                  </a:lnTo>
                  <a:lnTo>
                    <a:pt x="217539" y="0"/>
                  </a:lnTo>
                  <a:close/>
                  <a:moveTo>
                    <a:pt x="435077" y="435077"/>
                  </a:moveTo>
                  <a:lnTo>
                    <a:pt x="217565" y="435077"/>
                  </a:lnTo>
                  <a:lnTo>
                    <a:pt x="435077" y="217547"/>
                  </a:lnTo>
                  <a:lnTo>
                    <a:pt x="435077" y="435077"/>
                  </a:lnTo>
                  <a:close/>
                  <a:moveTo>
                    <a:pt x="435077" y="3"/>
                  </a:moveTo>
                  <a:lnTo>
                    <a:pt x="217565" y="3"/>
                  </a:lnTo>
                  <a:lnTo>
                    <a:pt x="435077" y="217531"/>
                  </a:lnTo>
                  <a:lnTo>
                    <a:pt x="435077" y="3"/>
                  </a:lnTo>
                  <a:close/>
                </a:path>
              </a:pathLst>
            </a:custGeom>
            <a:grpFill/>
            <a:ln w="27192" cap="flat">
              <a:noFill/>
              <a:prstDash val="solid"/>
              <a:miter/>
            </a:ln>
          </p:spPr>
          <p:txBody>
            <a:bodyPr rtlCol="0" anchor="ctr"/>
            <a:lstStyle/>
            <a:p>
              <a:endParaRPr lang="uk-UA" sz="900">
                <a:solidFill>
                  <a:schemeClr val="bg1"/>
                </a:solidFill>
              </a:endParaRPr>
            </a:p>
          </p:txBody>
        </p:sp>
        <p:sp>
          <p:nvSpPr>
            <p:cNvPr id="140" name="Freeform: Shape 139">
              <a:extLst>
                <a:ext uri="{FF2B5EF4-FFF2-40B4-BE49-F238E27FC236}">
                  <a16:creationId xmlns:a16="http://schemas.microsoft.com/office/drawing/2014/main" id="{2C7B443F-E9A4-40FE-B35B-42FFABDE5EFA}"/>
                </a:ext>
              </a:extLst>
            </p:cNvPr>
            <p:cNvSpPr/>
            <p:nvPr/>
          </p:nvSpPr>
          <p:spPr>
            <a:xfrm>
              <a:off x="15628536" y="1968909"/>
              <a:ext cx="435077" cy="435077"/>
            </a:xfrm>
            <a:custGeom>
              <a:avLst/>
              <a:gdLst>
                <a:gd name="connsiteX0" fmla="*/ 371367 w 435077"/>
                <a:gd name="connsiteY0" fmla="*/ 63714 h 435077"/>
                <a:gd name="connsiteX1" fmla="*/ 435077 w 435077"/>
                <a:gd name="connsiteY1" fmla="*/ 217539 h 435077"/>
                <a:gd name="connsiteX2" fmla="*/ 217730 w 435077"/>
                <a:gd name="connsiteY2" fmla="*/ 217539 h 435077"/>
                <a:gd name="connsiteX3" fmla="*/ 371367 w 435077"/>
                <a:gd name="connsiteY3" fmla="*/ 281253 h 435077"/>
                <a:gd name="connsiteX4" fmla="*/ 435077 w 435077"/>
                <a:gd name="connsiteY4" fmla="*/ 435077 h 435077"/>
                <a:gd name="connsiteX5" fmla="*/ 217539 w 435077"/>
                <a:gd name="connsiteY5" fmla="*/ 435077 h 435077"/>
                <a:gd name="connsiteX6" fmla="*/ 0 w 435077"/>
                <a:gd name="connsiteY6" fmla="*/ 435077 h 435077"/>
                <a:gd name="connsiteX7" fmla="*/ 63739 w 435077"/>
                <a:gd name="connsiteY7" fmla="*/ 281253 h 435077"/>
                <a:gd name="connsiteX8" fmla="*/ 217376 w 435077"/>
                <a:gd name="connsiteY8" fmla="*/ 217539 h 435077"/>
                <a:gd name="connsiteX9" fmla="*/ 0 w 435077"/>
                <a:gd name="connsiteY9" fmla="*/ 217539 h 435077"/>
                <a:gd name="connsiteX10" fmla="*/ 63712 w 435077"/>
                <a:gd name="connsiteY10" fmla="*/ 63714 h 435077"/>
                <a:gd name="connsiteX11" fmla="*/ 217539 w 435077"/>
                <a:gd name="connsiteY11" fmla="*/ 0 h 435077"/>
                <a:gd name="connsiteX12" fmla="*/ 371367 w 435077"/>
                <a:gd name="connsiteY12" fmla="*/ 63714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7" y="63714"/>
                  </a:moveTo>
                  <a:cubicBezTo>
                    <a:pt x="412155" y="104511"/>
                    <a:pt x="435077" y="159842"/>
                    <a:pt x="435077" y="217539"/>
                  </a:cubicBezTo>
                  <a:lnTo>
                    <a:pt x="217730" y="217539"/>
                  </a:lnTo>
                  <a:cubicBezTo>
                    <a:pt x="275351" y="217582"/>
                    <a:pt x="330605" y="240497"/>
                    <a:pt x="371367" y="281253"/>
                  </a:cubicBezTo>
                  <a:cubicBezTo>
                    <a:pt x="412182" y="322050"/>
                    <a:pt x="435077" y="377381"/>
                    <a:pt x="435077" y="435077"/>
                  </a:cubicBezTo>
                  <a:lnTo>
                    <a:pt x="217539" y="435077"/>
                  </a:lnTo>
                  <a:lnTo>
                    <a:pt x="0" y="435077"/>
                  </a:lnTo>
                  <a:cubicBezTo>
                    <a:pt x="0" y="377381"/>
                    <a:pt x="22924" y="322050"/>
                    <a:pt x="63739" y="281253"/>
                  </a:cubicBezTo>
                  <a:cubicBezTo>
                    <a:pt x="104474" y="240497"/>
                    <a:pt x="159755" y="217582"/>
                    <a:pt x="217376" y="217539"/>
                  </a:cubicBezTo>
                  <a:lnTo>
                    <a:pt x="0" y="217539"/>
                  </a:lnTo>
                  <a:cubicBezTo>
                    <a:pt x="0" y="159842"/>
                    <a:pt x="22924" y="104511"/>
                    <a:pt x="63712" y="63714"/>
                  </a:cubicBezTo>
                  <a:cubicBezTo>
                    <a:pt x="104527" y="22918"/>
                    <a:pt x="159865" y="0"/>
                    <a:pt x="217539" y="0"/>
                  </a:cubicBezTo>
                  <a:cubicBezTo>
                    <a:pt x="275241" y="0"/>
                    <a:pt x="330578" y="22918"/>
                    <a:pt x="371367" y="63714"/>
                  </a:cubicBezTo>
                  <a:close/>
                </a:path>
              </a:pathLst>
            </a:custGeom>
            <a:grpFill/>
            <a:ln w="27192" cap="flat">
              <a:noFill/>
              <a:prstDash val="solid"/>
              <a:miter/>
            </a:ln>
          </p:spPr>
          <p:txBody>
            <a:bodyPr rtlCol="0" anchor="ctr"/>
            <a:lstStyle/>
            <a:p>
              <a:endParaRPr lang="uk-UA" sz="900">
                <a:solidFill>
                  <a:schemeClr val="bg1"/>
                </a:solidFill>
              </a:endParaRPr>
            </a:p>
          </p:txBody>
        </p:sp>
        <p:sp>
          <p:nvSpPr>
            <p:cNvPr id="141" name="Freeform: Shape 140">
              <a:extLst>
                <a:ext uri="{FF2B5EF4-FFF2-40B4-BE49-F238E27FC236}">
                  <a16:creationId xmlns:a16="http://schemas.microsoft.com/office/drawing/2014/main" id="{8793DEF9-F31B-B73B-5AB8-4946EB9079A9}"/>
                </a:ext>
              </a:extLst>
            </p:cNvPr>
            <p:cNvSpPr/>
            <p:nvPr/>
          </p:nvSpPr>
          <p:spPr>
            <a:xfrm>
              <a:off x="16498719" y="1968909"/>
              <a:ext cx="435077" cy="435074"/>
            </a:xfrm>
            <a:custGeom>
              <a:avLst/>
              <a:gdLst>
                <a:gd name="connsiteX0" fmla="*/ 217539 w 435077"/>
                <a:gd name="connsiteY0" fmla="*/ 217533 h 435074"/>
                <a:gd name="connsiteX1" fmla="*/ 217539 w 435077"/>
                <a:gd name="connsiteY1" fmla="*/ 0 h 435074"/>
                <a:gd name="connsiteX2" fmla="*/ 0 w 435077"/>
                <a:gd name="connsiteY2" fmla="*/ 0 h 435074"/>
                <a:gd name="connsiteX3" fmla="*/ 217539 w 435077"/>
                <a:gd name="connsiteY3" fmla="*/ 217539 h 435074"/>
                <a:gd name="connsiteX4" fmla="*/ 0 w 435077"/>
                <a:gd name="connsiteY4" fmla="*/ 435075 h 435074"/>
                <a:gd name="connsiteX5" fmla="*/ 217539 w 435077"/>
                <a:gd name="connsiteY5" fmla="*/ 435075 h 435074"/>
                <a:gd name="connsiteX6" fmla="*/ 217539 w 435077"/>
                <a:gd name="connsiteY6" fmla="*/ 435072 h 435074"/>
                <a:gd name="connsiteX7" fmla="*/ 435049 w 435077"/>
                <a:gd name="connsiteY7" fmla="*/ 217541 h 435074"/>
                <a:gd name="connsiteX8" fmla="*/ 435077 w 435077"/>
                <a:gd name="connsiteY8" fmla="*/ 217541 h 435074"/>
                <a:gd name="connsiteX9" fmla="*/ 435049 w 435077"/>
                <a:gd name="connsiteY9" fmla="*/ 217536 h 435074"/>
                <a:gd name="connsiteX10" fmla="*/ 435077 w 435077"/>
                <a:gd name="connsiteY10" fmla="*/ 217533 h 435074"/>
                <a:gd name="connsiteX11" fmla="*/ 435049 w 435077"/>
                <a:gd name="connsiteY11" fmla="*/ 217533 h 435074"/>
                <a:gd name="connsiteX12" fmla="*/ 217539 w 435077"/>
                <a:gd name="connsiteY12" fmla="*/ 3 h 435074"/>
                <a:gd name="connsiteX13" fmla="*/ 217539 w 435077"/>
                <a:gd name="connsiteY13" fmla="*/ 217533 h 435074"/>
                <a:gd name="connsiteX14" fmla="*/ 217539 w 435077"/>
                <a:gd name="connsiteY14" fmla="*/ 217533 h 43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4">
                  <a:moveTo>
                    <a:pt x="217539" y="217533"/>
                  </a:moveTo>
                  <a:lnTo>
                    <a:pt x="217539" y="0"/>
                  </a:lnTo>
                  <a:lnTo>
                    <a:pt x="0" y="0"/>
                  </a:lnTo>
                  <a:lnTo>
                    <a:pt x="217539" y="217539"/>
                  </a:lnTo>
                  <a:lnTo>
                    <a:pt x="0" y="435075"/>
                  </a:lnTo>
                  <a:lnTo>
                    <a:pt x="217539" y="435075"/>
                  </a:lnTo>
                  <a:lnTo>
                    <a:pt x="217539" y="435072"/>
                  </a:lnTo>
                  <a:lnTo>
                    <a:pt x="435049" y="217541"/>
                  </a:lnTo>
                  <a:lnTo>
                    <a:pt x="435077" y="217541"/>
                  </a:lnTo>
                  <a:lnTo>
                    <a:pt x="435049" y="217536"/>
                  </a:lnTo>
                  <a:lnTo>
                    <a:pt x="435077" y="217533"/>
                  </a:lnTo>
                  <a:lnTo>
                    <a:pt x="435049" y="217533"/>
                  </a:lnTo>
                  <a:lnTo>
                    <a:pt x="217539" y="3"/>
                  </a:lnTo>
                  <a:lnTo>
                    <a:pt x="217539" y="217533"/>
                  </a:lnTo>
                  <a:lnTo>
                    <a:pt x="217539" y="217533"/>
                  </a:lnTo>
                  <a:close/>
                </a:path>
              </a:pathLst>
            </a:custGeom>
            <a:grpFill/>
            <a:ln w="27192" cap="flat">
              <a:noFill/>
              <a:prstDash val="solid"/>
              <a:miter/>
            </a:ln>
          </p:spPr>
          <p:txBody>
            <a:bodyPr rtlCol="0" anchor="ctr"/>
            <a:lstStyle/>
            <a:p>
              <a:endParaRPr lang="uk-UA" sz="900">
                <a:solidFill>
                  <a:schemeClr val="bg1"/>
                </a:solidFill>
              </a:endParaRPr>
            </a:p>
          </p:txBody>
        </p:sp>
        <p:sp>
          <p:nvSpPr>
            <p:cNvPr id="142" name="Freeform: Shape 141">
              <a:extLst>
                <a:ext uri="{FF2B5EF4-FFF2-40B4-BE49-F238E27FC236}">
                  <a16:creationId xmlns:a16="http://schemas.microsoft.com/office/drawing/2014/main" id="{3B9C4C16-D33F-FE97-0224-9CAF3238564C}"/>
                </a:ext>
              </a:extLst>
            </p:cNvPr>
            <p:cNvSpPr/>
            <p:nvPr/>
          </p:nvSpPr>
          <p:spPr>
            <a:xfrm>
              <a:off x="18239029" y="196890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43" name="Freeform: Shape 142">
              <a:extLst>
                <a:ext uri="{FF2B5EF4-FFF2-40B4-BE49-F238E27FC236}">
                  <a16:creationId xmlns:a16="http://schemas.microsoft.com/office/drawing/2014/main" id="{AE9A9FE2-F261-5564-C140-B94C5A427902}"/>
                </a:ext>
              </a:extLst>
            </p:cNvPr>
            <p:cNvSpPr/>
            <p:nvPr/>
          </p:nvSpPr>
          <p:spPr>
            <a:xfrm>
              <a:off x="17368874" y="1968909"/>
              <a:ext cx="435077" cy="435077"/>
            </a:xfrm>
            <a:custGeom>
              <a:avLst/>
              <a:gdLst>
                <a:gd name="connsiteX0" fmla="*/ 0 w 435077"/>
                <a:gd name="connsiteY0" fmla="*/ 435077 h 435077"/>
                <a:gd name="connsiteX1" fmla="*/ 217539 w 435077"/>
                <a:gd name="connsiteY1" fmla="*/ 435077 h 435077"/>
                <a:gd name="connsiteX2" fmla="*/ 217539 w 435077"/>
                <a:gd name="connsiteY2" fmla="*/ 217547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28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47 h 435077"/>
                <a:gd name="connsiteX11" fmla="*/ 435077 w 435077"/>
                <a:gd name="connsiteY11" fmla="*/ 435077 h 435077"/>
                <a:gd name="connsiteX12" fmla="*/ 435077 w 435077"/>
                <a:gd name="connsiteY12" fmla="*/ 3 h 435077"/>
                <a:gd name="connsiteX13" fmla="*/ 217539 w 435077"/>
                <a:gd name="connsiteY13" fmla="*/ 3 h 435077"/>
                <a:gd name="connsiteX14" fmla="*/ 435077 w 435077"/>
                <a:gd name="connsiteY14" fmla="*/ 217531 h 435077"/>
                <a:gd name="connsiteX15" fmla="*/ 435077 w 435077"/>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47"/>
                  </a:lnTo>
                  <a:lnTo>
                    <a:pt x="0" y="435077"/>
                  </a:lnTo>
                  <a:close/>
                  <a:moveTo>
                    <a:pt x="217539" y="0"/>
                  </a:moveTo>
                  <a:lnTo>
                    <a:pt x="0" y="0"/>
                  </a:lnTo>
                  <a:lnTo>
                    <a:pt x="217539" y="217528"/>
                  </a:lnTo>
                  <a:lnTo>
                    <a:pt x="217539" y="0"/>
                  </a:lnTo>
                  <a:close/>
                  <a:moveTo>
                    <a:pt x="435077" y="435077"/>
                  </a:moveTo>
                  <a:lnTo>
                    <a:pt x="217539" y="435077"/>
                  </a:lnTo>
                  <a:lnTo>
                    <a:pt x="435077" y="217547"/>
                  </a:lnTo>
                  <a:lnTo>
                    <a:pt x="435077" y="435077"/>
                  </a:lnTo>
                  <a:close/>
                  <a:moveTo>
                    <a:pt x="435077" y="3"/>
                  </a:moveTo>
                  <a:lnTo>
                    <a:pt x="217539" y="3"/>
                  </a:lnTo>
                  <a:lnTo>
                    <a:pt x="435077" y="217531"/>
                  </a:lnTo>
                  <a:lnTo>
                    <a:pt x="435077" y="3"/>
                  </a:lnTo>
                  <a:close/>
                </a:path>
              </a:pathLst>
            </a:custGeom>
            <a:grpFill/>
            <a:ln w="27192" cap="flat">
              <a:noFill/>
              <a:prstDash val="solid"/>
              <a:miter/>
            </a:ln>
          </p:spPr>
          <p:txBody>
            <a:bodyPr rtlCol="0" anchor="ctr"/>
            <a:lstStyle/>
            <a:p>
              <a:endParaRPr lang="uk-UA" sz="900">
                <a:solidFill>
                  <a:schemeClr val="bg1"/>
                </a:solidFill>
              </a:endParaRPr>
            </a:p>
          </p:txBody>
        </p:sp>
        <p:sp>
          <p:nvSpPr>
            <p:cNvPr id="144" name="Freeform: Shape 143">
              <a:extLst>
                <a:ext uri="{FF2B5EF4-FFF2-40B4-BE49-F238E27FC236}">
                  <a16:creationId xmlns:a16="http://schemas.microsoft.com/office/drawing/2014/main" id="{D92CAFC0-F031-403E-D0A9-554CCC78BB7F}"/>
                </a:ext>
              </a:extLst>
            </p:cNvPr>
            <p:cNvSpPr/>
            <p:nvPr/>
          </p:nvSpPr>
          <p:spPr>
            <a:xfrm>
              <a:off x="19109210" y="1968909"/>
              <a:ext cx="435077" cy="435077"/>
            </a:xfrm>
            <a:custGeom>
              <a:avLst/>
              <a:gdLst>
                <a:gd name="connsiteX0" fmla="*/ 371339 w 435077"/>
                <a:gd name="connsiteY0" fmla="*/ 63714 h 435077"/>
                <a:gd name="connsiteX1" fmla="*/ 435077 w 435077"/>
                <a:gd name="connsiteY1" fmla="*/ 217539 h 435077"/>
                <a:gd name="connsiteX2" fmla="*/ 217701 w 435077"/>
                <a:gd name="connsiteY2" fmla="*/ 217539 h 435077"/>
                <a:gd name="connsiteX3" fmla="*/ 371365 w 435077"/>
                <a:gd name="connsiteY3" fmla="*/ 281253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3 h 435077"/>
                <a:gd name="connsiteX8" fmla="*/ 217376 w 435077"/>
                <a:gd name="connsiteY8" fmla="*/ 217539 h 435077"/>
                <a:gd name="connsiteX9" fmla="*/ 0 w 435077"/>
                <a:gd name="connsiteY9" fmla="*/ 217539 h 435077"/>
                <a:gd name="connsiteX10" fmla="*/ 63712 w 435077"/>
                <a:gd name="connsiteY10" fmla="*/ 63714 h 435077"/>
                <a:gd name="connsiteX11" fmla="*/ 217539 w 435077"/>
                <a:gd name="connsiteY11" fmla="*/ 0 h 435077"/>
                <a:gd name="connsiteX12" fmla="*/ 371339 w 435077"/>
                <a:gd name="connsiteY12" fmla="*/ 63714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14"/>
                  </a:moveTo>
                  <a:cubicBezTo>
                    <a:pt x="412154" y="104511"/>
                    <a:pt x="435077" y="159842"/>
                    <a:pt x="435077" y="217539"/>
                  </a:cubicBezTo>
                  <a:lnTo>
                    <a:pt x="217701" y="217539"/>
                  </a:lnTo>
                  <a:cubicBezTo>
                    <a:pt x="275322" y="217582"/>
                    <a:pt x="330605" y="240497"/>
                    <a:pt x="371365" y="281253"/>
                  </a:cubicBezTo>
                  <a:cubicBezTo>
                    <a:pt x="412154" y="322050"/>
                    <a:pt x="435077" y="377381"/>
                    <a:pt x="435077" y="435077"/>
                  </a:cubicBezTo>
                  <a:lnTo>
                    <a:pt x="217539" y="435077"/>
                  </a:lnTo>
                  <a:lnTo>
                    <a:pt x="0" y="435077"/>
                  </a:lnTo>
                  <a:cubicBezTo>
                    <a:pt x="0" y="377381"/>
                    <a:pt x="22924" y="322050"/>
                    <a:pt x="63712" y="281253"/>
                  </a:cubicBezTo>
                  <a:cubicBezTo>
                    <a:pt x="104472" y="240497"/>
                    <a:pt x="159728" y="217582"/>
                    <a:pt x="217376" y="217539"/>
                  </a:cubicBezTo>
                  <a:lnTo>
                    <a:pt x="0" y="217539"/>
                  </a:lnTo>
                  <a:cubicBezTo>
                    <a:pt x="0" y="159842"/>
                    <a:pt x="22895" y="104511"/>
                    <a:pt x="63712" y="63714"/>
                  </a:cubicBezTo>
                  <a:cubicBezTo>
                    <a:pt x="104501" y="22918"/>
                    <a:pt x="159836" y="0"/>
                    <a:pt x="217539" y="0"/>
                  </a:cubicBezTo>
                  <a:cubicBezTo>
                    <a:pt x="275215" y="0"/>
                    <a:pt x="330550" y="22918"/>
                    <a:pt x="371339" y="63714"/>
                  </a:cubicBezTo>
                  <a:close/>
                </a:path>
              </a:pathLst>
            </a:custGeom>
            <a:grpFill/>
            <a:ln w="27192" cap="flat">
              <a:noFill/>
              <a:prstDash val="solid"/>
              <a:miter/>
            </a:ln>
          </p:spPr>
          <p:txBody>
            <a:bodyPr rtlCol="0" anchor="ctr"/>
            <a:lstStyle/>
            <a:p>
              <a:endParaRPr lang="uk-UA" sz="900">
                <a:solidFill>
                  <a:schemeClr val="bg1"/>
                </a:solidFill>
              </a:endParaRPr>
            </a:p>
          </p:txBody>
        </p:sp>
        <p:sp>
          <p:nvSpPr>
            <p:cNvPr id="145" name="Freeform: Shape 144">
              <a:extLst>
                <a:ext uri="{FF2B5EF4-FFF2-40B4-BE49-F238E27FC236}">
                  <a16:creationId xmlns:a16="http://schemas.microsoft.com/office/drawing/2014/main" id="{D24D0D68-E744-EDB2-1927-4F3D3F825BCE}"/>
                </a:ext>
              </a:extLst>
            </p:cNvPr>
            <p:cNvSpPr/>
            <p:nvPr/>
          </p:nvSpPr>
          <p:spPr>
            <a:xfrm>
              <a:off x="19979365" y="1968909"/>
              <a:ext cx="435077" cy="435074"/>
            </a:xfrm>
            <a:custGeom>
              <a:avLst/>
              <a:gdLst>
                <a:gd name="connsiteX0" fmla="*/ 217539 w 435077"/>
                <a:gd name="connsiteY0" fmla="*/ 217533 h 435074"/>
                <a:gd name="connsiteX1" fmla="*/ 217539 w 435077"/>
                <a:gd name="connsiteY1" fmla="*/ 0 h 435074"/>
                <a:gd name="connsiteX2" fmla="*/ 0 w 435077"/>
                <a:gd name="connsiteY2" fmla="*/ 0 h 435074"/>
                <a:gd name="connsiteX3" fmla="*/ 217539 w 435077"/>
                <a:gd name="connsiteY3" fmla="*/ 217539 h 435074"/>
                <a:gd name="connsiteX4" fmla="*/ 0 w 435077"/>
                <a:gd name="connsiteY4" fmla="*/ 435075 h 435074"/>
                <a:gd name="connsiteX5" fmla="*/ 217539 w 435077"/>
                <a:gd name="connsiteY5" fmla="*/ 435075 h 435074"/>
                <a:gd name="connsiteX6" fmla="*/ 217539 w 435077"/>
                <a:gd name="connsiteY6" fmla="*/ 435072 h 435074"/>
                <a:gd name="connsiteX7" fmla="*/ 435051 w 435077"/>
                <a:gd name="connsiteY7" fmla="*/ 217541 h 435074"/>
                <a:gd name="connsiteX8" fmla="*/ 435077 w 435077"/>
                <a:gd name="connsiteY8" fmla="*/ 217541 h 435074"/>
                <a:gd name="connsiteX9" fmla="*/ 435077 w 435077"/>
                <a:gd name="connsiteY9" fmla="*/ 217536 h 435074"/>
                <a:gd name="connsiteX10" fmla="*/ 435077 w 435077"/>
                <a:gd name="connsiteY10" fmla="*/ 217533 h 435074"/>
                <a:gd name="connsiteX11" fmla="*/ 435077 w 435077"/>
                <a:gd name="connsiteY11" fmla="*/ 217533 h 435074"/>
                <a:gd name="connsiteX12" fmla="*/ 217539 w 435077"/>
                <a:gd name="connsiteY12" fmla="*/ 3 h 435074"/>
                <a:gd name="connsiteX13" fmla="*/ 217539 w 435077"/>
                <a:gd name="connsiteY13" fmla="*/ 217533 h 435074"/>
                <a:gd name="connsiteX14" fmla="*/ 217539 w 435077"/>
                <a:gd name="connsiteY14" fmla="*/ 217533 h 43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4">
                  <a:moveTo>
                    <a:pt x="217539" y="217533"/>
                  </a:moveTo>
                  <a:lnTo>
                    <a:pt x="217539" y="0"/>
                  </a:lnTo>
                  <a:lnTo>
                    <a:pt x="0" y="0"/>
                  </a:lnTo>
                  <a:lnTo>
                    <a:pt x="217539" y="217539"/>
                  </a:lnTo>
                  <a:lnTo>
                    <a:pt x="0" y="435075"/>
                  </a:lnTo>
                  <a:lnTo>
                    <a:pt x="217539" y="435075"/>
                  </a:lnTo>
                  <a:lnTo>
                    <a:pt x="217539" y="435072"/>
                  </a:lnTo>
                  <a:lnTo>
                    <a:pt x="435051" y="217541"/>
                  </a:lnTo>
                  <a:lnTo>
                    <a:pt x="435077" y="217541"/>
                  </a:lnTo>
                  <a:lnTo>
                    <a:pt x="435077" y="217536"/>
                  </a:lnTo>
                  <a:lnTo>
                    <a:pt x="435077" y="217533"/>
                  </a:lnTo>
                  <a:lnTo>
                    <a:pt x="435077" y="217533"/>
                  </a:lnTo>
                  <a:lnTo>
                    <a:pt x="217539" y="3"/>
                  </a:lnTo>
                  <a:lnTo>
                    <a:pt x="217539" y="217533"/>
                  </a:lnTo>
                  <a:lnTo>
                    <a:pt x="217539" y="217533"/>
                  </a:lnTo>
                  <a:close/>
                </a:path>
              </a:pathLst>
            </a:custGeom>
            <a:grpFill/>
            <a:ln w="27192" cap="flat">
              <a:noFill/>
              <a:prstDash val="solid"/>
              <a:miter/>
            </a:ln>
          </p:spPr>
          <p:txBody>
            <a:bodyPr rtlCol="0" anchor="ctr"/>
            <a:lstStyle/>
            <a:p>
              <a:endParaRPr lang="uk-UA" sz="900">
                <a:solidFill>
                  <a:schemeClr val="bg1"/>
                </a:solidFill>
              </a:endParaRPr>
            </a:p>
          </p:txBody>
        </p:sp>
        <p:sp>
          <p:nvSpPr>
            <p:cNvPr id="146" name="Freeform: Shape 145">
              <a:extLst>
                <a:ext uri="{FF2B5EF4-FFF2-40B4-BE49-F238E27FC236}">
                  <a16:creationId xmlns:a16="http://schemas.microsoft.com/office/drawing/2014/main" id="{D45EC9B2-6D71-C05E-E1AB-A92455C91083}"/>
                </a:ext>
              </a:extLst>
            </p:cNvPr>
            <p:cNvSpPr/>
            <p:nvPr/>
          </p:nvSpPr>
          <p:spPr>
            <a:xfrm>
              <a:off x="21719702" y="196890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47" name="Freeform: Shape 146">
              <a:extLst>
                <a:ext uri="{FF2B5EF4-FFF2-40B4-BE49-F238E27FC236}">
                  <a16:creationId xmlns:a16="http://schemas.microsoft.com/office/drawing/2014/main" id="{52BC080C-F242-A10B-33EA-28FC3DA9D111}"/>
                </a:ext>
              </a:extLst>
            </p:cNvPr>
            <p:cNvSpPr/>
            <p:nvPr/>
          </p:nvSpPr>
          <p:spPr>
            <a:xfrm>
              <a:off x="20849520" y="1968909"/>
              <a:ext cx="435077" cy="435077"/>
            </a:xfrm>
            <a:custGeom>
              <a:avLst/>
              <a:gdLst>
                <a:gd name="connsiteX0" fmla="*/ 0 w 435077"/>
                <a:gd name="connsiteY0" fmla="*/ 435077 h 435077"/>
                <a:gd name="connsiteX1" fmla="*/ 217539 w 435077"/>
                <a:gd name="connsiteY1" fmla="*/ 435077 h 435077"/>
                <a:gd name="connsiteX2" fmla="*/ 217539 w 435077"/>
                <a:gd name="connsiteY2" fmla="*/ 217547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28 h 435077"/>
                <a:gd name="connsiteX7" fmla="*/ 217539 w 435077"/>
                <a:gd name="connsiteY7" fmla="*/ 0 h 435077"/>
                <a:gd name="connsiteX8" fmla="*/ 435077 w 435077"/>
                <a:gd name="connsiteY8" fmla="*/ 435077 h 435077"/>
                <a:gd name="connsiteX9" fmla="*/ 217565 w 435077"/>
                <a:gd name="connsiteY9" fmla="*/ 435077 h 435077"/>
                <a:gd name="connsiteX10" fmla="*/ 435077 w 435077"/>
                <a:gd name="connsiteY10" fmla="*/ 217547 h 435077"/>
                <a:gd name="connsiteX11" fmla="*/ 435077 w 435077"/>
                <a:gd name="connsiteY11" fmla="*/ 435077 h 435077"/>
                <a:gd name="connsiteX12" fmla="*/ 435077 w 435077"/>
                <a:gd name="connsiteY12" fmla="*/ 3 h 435077"/>
                <a:gd name="connsiteX13" fmla="*/ 217565 w 435077"/>
                <a:gd name="connsiteY13" fmla="*/ 3 h 435077"/>
                <a:gd name="connsiteX14" fmla="*/ 435077 w 435077"/>
                <a:gd name="connsiteY14" fmla="*/ 217531 h 435077"/>
                <a:gd name="connsiteX15" fmla="*/ 435077 w 435077"/>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47"/>
                  </a:lnTo>
                  <a:lnTo>
                    <a:pt x="0" y="435077"/>
                  </a:lnTo>
                  <a:close/>
                  <a:moveTo>
                    <a:pt x="217539" y="0"/>
                  </a:moveTo>
                  <a:lnTo>
                    <a:pt x="0" y="0"/>
                  </a:lnTo>
                  <a:lnTo>
                    <a:pt x="217539" y="217528"/>
                  </a:lnTo>
                  <a:lnTo>
                    <a:pt x="217539" y="0"/>
                  </a:lnTo>
                  <a:close/>
                  <a:moveTo>
                    <a:pt x="435077" y="435077"/>
                  </a:moveTo>
                  <a:lnTo>
                    <a:pt x="217565" y="435077"/>
                  </a:lnTo>
                  <a:lnTo>
                    <a:pt x="435077" y="217547"/>
                  </a:lnTo>
                  <a:lnTo>
                    <a:pt x="435077" y="435077"/>
                  </a:lnTo>
                  <a:close/>
                  <a:moveTo>
                    <a:pt x="435077" y="3"/>
                  </a:moveTo>
                  <a:lnTo>
                    <a:pt x="217565" y="3"/>
                  </a:lnTo>
                  <a:lnTo>
                    <a:pt x="435077" y="217531"/>
                  </a:lnTo>
                  <a:lnTo>
                    <a:pt x="435077" y="3"/>
                  </a:lnTo>
                  <a:close/>
                </a:path>
              </a:pathLst>
            </a:custGeom>
            <a:grpFill/>
            <a:ln w="27192" cap="flat">
              <a:noFill/>
              <a:prstDash val="solid"/>
              <a:miter/>
            </a:ln>
          </p:spPr>
          <p:txBody>
            <a:bodyPr rtlCol="0" anchor="ctr"/>
            <a:lstStyle/>
            <a:p>
              <a:endParaRPr lang="uk-UA" sz="900">
                <a:solidFill>
                  <a:schemeClr val="bg1"/>
                </a:solidFill>
              </a:endParaRPr>
            </a:p>
          </p:txBody>
        </p:sp>
        <p:sp>
          <p:nvSpPr>
            <p:cNvPr id="148" name="Freeform: Shape 147">
              <a:extLst>
                <a:ext uri="{FF2B5EF4-FFF2-40B4-BE49-F238E27FC236}">
                  <a16:creationId xmlns:a16="http://schemas.microsoft.com/office/drawing/2014/main" id="{53B73A6F-BF88-75BE-3F78-BCBB3D17ED33}"/>
                </a:ext>
              </a:extLst>
            </p:cNvPr>
            <p:cNvSpPr/>
            <p:nvPr/>
          </p:nvSpPr>
          <p:spPr>
            <a:xfrm>
              <a:off x="22589856" y="1968909"/>
              <a:ext cx="435077" cy="435077"/>
            </a:xfrm>
            <a:custGeom>
              <a:avLst/>
              <a:gdLst>
                <a:gd name="connsiteX0" fmla="*/ 371367 w 435077"/>
                <a:gd name="connsiteY0" fmla="*/ 63714 h 435077"/>
                <a:gd name="connsiteX1" fmla="*/ 435077 w 435077"/>
                <a:gd name="connsiteY1" fmla="*/ 217539 h 435077"/>
                <a:gd name="connsiteX2" fmla="*/ 217703 w 435077"/>
                <a:gd name="connsiteY2" fmla="*/ 217539 h 435077"/>
                <a:gd name="connsiteX3" fmla="*/ 371367 w 435077"/>
                <a:gd name="connsiteY3" fmla="*/ 281253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3 h 435077"/>
                <a:gd name="connsiteX8" fmla="*/ 217376 w 435077"/>
                <a:gd name="connsiteY8" fmla="*/ 217539 h 435077"/>
                <a:gd name="connsiteX9" fmla="*/ 0 w 435077"/>
                <a:gd name="connsiteY9" fmla="*/ 217539 h 435077"/>
                <a:gd name="connsiteX10" fmla="*/ 63712 w 435077"/>
                <a:gd name="connsiteY10" fmla="*/ 63714 h 435077"/>
                <a:gd name="connsiteX11" fmla="*/ 217539 w 435077"/>
                <a:gd name="connsiteY11" fmla="*/ 0 h 435077"/>
                <a:gd name="connsiteX12" fmla="*/ 371367 w 435077"/>
                <a:gd name="connsiteY12" fmla="*/ 63714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7" y="63714"/>
                  </a:moveTo>
                  <a:cubicBezTo>
                    <a:pt x="412155" y="104511"/>
                    <a:pt x="435077" y="159842"/>
                    <a:pt x="435077" y="217539"/>
                  </a:cubicBezTo>
                  <a:lnTo>
                    <a:pt x="217703" y="217539"/>
                  </a:lnTo>
                  <a:cubicBezTo>
                    <a:pt x="275351" y="217582"/>
                    <a:pt x="330605" y="240497"/>
                    <a:pt x="371367" y="281253"/>
                  </a:cubicBezTo>
                  <a:cubicBezTo>
                    <a:pt x="412155" y="322050"/>
                    <a:pt x="435077" y="377381"/>
                    <a:pt x="435077" y="435077"/>
                  </a:cubicBezTo>
                  <a:lnTo>
                    <a:pt x="217539" y="435077"/>
                  </a:lnTo>
                  <a:lnTo>
                    <a:pt x="0" y="435077"/>
                  </a:lnTo>
                  <a:cubicBezTo>
                    <a:pt x="0" y="377381"/>
                    <a:pt x="22924" y="322050"/>
                    <a:pt x="63712" y="281253"/>
                  </a:cubicBezTo>
                  <a:cubicBezTo>
                    <a:pt x="104474" y="240497"/>
                    <a:pt x="159755" y="217582"/>
                    <a:pt x="217376" y="217539"/>
                  </a:cubicBezTo>
                  <a:lnTo>
                    <a:pt x="0" y="217539"/>
                  </a:lnTo>
                  <a:cubicBezTo>
                    <a:pt x="0" y="159842"/>
                    <a:pt x="22924" y="104511"/>
                    <a:pt x="63712" y="63714"/>
                  </a:cubicBezTo>
                  <a:cubicBezTo>
                    <a:pt x="104529" y="22918"/>
                    <a:pt x="159838" y="0"/>
                    <a:pt x="217539" y="0"/>
                  </a:cubicBezTo>
                  <a:cubicBezTo>
                    <a:pt x="275241" y="0"/>
                    <a:pt x="330578" y="22918"/>
                    <a:pt x="371367" y="63714"/>
                  </a:cubicBezTo>
                  <a:close/>
                </a:path>
              </a:pathLst>
            </a:custGeom>
            <a:grpFill/>
            <a:ln w="27192" cap="flat">
              <a:noFill/>
              <a:prstDash val="solid"/>
              <a:miter/>
            </a:ln>
          </p:spPr>
          <p:txBody>
            <a:bodyPr rtlCol="0" anchor="ctr"/>
            <a:lstStyle/>
            <a:p>
              <a:endParaRPr lang="uk-UA" sz="900">
                <a:solidFill>
                  <a:schemeClr val="bg1"/>
                </a:solidFill>
              </a:endParaRPr>
            </a:p>
          </p:txBody>
        </p:sp>
        <p:sp>
          <p:nvSpPr>
            <p:cNvPr id="149" name="Freeform: Shape 148">
              <a:extLst>
                <a:ext uri="{FF2B5EF4-FFF2-40B4-BE49-F238E27FC236}">
                  <a16:creationId xmlns:a16="http://schemas.microsoft.com/office/drawing/2014/main" id="{17CE7128-6123-8C45-B583-54295BC9EAD1}"/>
                </a:ext>
              </a:extLst>
            </p:cNvPr>
            <p:cNvSpPr/>
            <p:nvPr/>
          </p:nvSpPr>
          <p:spPr>
            <a:xfrm>
              <a:off x="23460039" y="1968909"/>
              <a:ext cx="435077" cy="435074"/>
            </a:xfrm>
            <a:custGeom>
              <a:avLst/>
              <a:gdLst>
                <a:gd name="connsiteX0" fmla="*/ 217539 w 435077"/>
                <a:gd name="connsiteY0" fmla="*/ 217533 h 435074"/>
                <a:gd name="connsiteX1" fmla="*/ 217539 w 435077"/>
                <a:gd name="connsiteY1" fmla="*/ 0 h 435074"/>
                <a:gd name="connsiteX2" fmla="*/ 0 w 435077"/>
                <a:gd name="connsiteY2" fmla="*/ 0 h 435074"/>
                <a:gd name="connsiteX3" fmla="*/ 217539 w 435077"/>
                <a:gd name="connsiteY3" fmla="*/ 217539 h 435074"/>
                <a:gd name="connsiteX4" fmla="*/ 0 w 435077"/>
                <a:gd name="connsiteY4" fmla="*/ 435075 h 435074"/>
                <a:gd name="connsiteX5" fmla="*/ 217510 w 435077"/>
                <a:gd name="connsiteY5" fmla="*/ 435075 h 435074"/>
                <a:gd name="connsiteX6" fmla="*/ 217510 w 435077"/>
                <a:gd name="connsiteY6" fmla="*/ 435072 h 435074"/>
                <a:gd name="connsiteX7" fmla="*/ 435049 w 435077"/>
                <a:gd name="connsiteY7" fmla="*/ 217541 h 435074"/>
                <a:gd name="connsiteX8" fmla="*/ 435077 w 435077"/>
                <a:gd name="connsiteY8" fmla="*/ 217541 h 435074"/>
                <a:gd name="connsiteX9" fmla="*/ 435049 w 435077"/>
                <a:gd name="connsiteY9" fmla="*/ 217536 h 435074"/>
                <a:gd name="connsiteX10" fmla="*/ 435049 w 435077"/>
                <a:gd name="connsiteY10" fmla="*/ 217533 h 435074"/>
                <a:gd name="connsiteX11" fmla="*/ 435049 w 435077"/>
                <a:gd name="connsiteY11" fmla="*/ 217533 h 435074"/>
                <a:gd name="connsiteX12" fmla="*/ 217539 w 435077"/>
                <a:gd name="connsiteY12" fmla="*/ 3 h 435074"/>
                <a:gd name="connsiteX13" fmla="*/ 217539 w 435077"/>
                <a:gd name="connsiteY13" fmla="*/ 217533 h 435074"/>
                <a:gd name="connsiteX14" fmla="*/ 217539 w 435077"/>
                <a:gd name="connsiteY14" fmla="*/ 217533 h 43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4">
                  <a:moveTo>
                    <a:pt x="217539" y="217533"/>
                  </a:moveTo>
                  <a:lnTo>
                    <a:pt x="217539" y="0"/>
                  </a:lnTo>
                  <a:lnTo>
                    <a:pt x="0" y="0"/>
                  </a:lnTo>
                  <a:lnTo>
                    <a:pt x="217539" y="217539"/>
                  </a:lnTo>
                  <a:lnTo>
                    <a:pt x="0" y="435075"/>
                  </a:lnTo>
                  <a:lnTo>
                    <a:pt x="217510" y="435075"/>
                  </a:lnTo>
                  <a:lnTo>
                    <a:pt x="217510" y="435072"/>
                  </a:lnTo>
                  <a:lnTo>
                    <a:pt x="435049" y="217541"/>
                  </a:lnTo>
                  <a:lnTo>
                    <a:pt x="435077" y="217541"/>
                  </a:lnTo>
                  <a:lnTo>
                    <a:pt x="435049" y="217536"/>
                  </a:lnTo>
                  <a:lnTo>
                    <a:pt x="435049" y="217533"/>
                  </a:lnTo>
                  <a:lnTo>
                    <a:pt x="435049" y="217533"/>
                  </a:lnTo>
                  <a:lnTo>
                    <a:pt x="217539" y="3"/>
                  </a:lnTo>
                  <a:lnTo>
                    <a:pt x="217539" y="217533"/>
                  </a:lnTo>
                  <a:lnTo>
                    <a:pt x="217539" y="217533"/>
                  </a:lnTo>
                  <a:close/>
                </a:path>
              </a:pathLst>
            </a:custGeom>
            <a:grpFill/>
            <a:ln w="27192" cap="flat">
              <a:noFill/>
              <a:prstDash val="solid"/>
              <a:miter/>
            </a:ln>
          </p:spPr>
          <p:txBody>
            <a:bodyPr rtlCol="0" anchor="ctr"/>
            <a:lstStyle/>
            <a:p>
              <a:endParaRPr lang="uk-UA" sz="900">
                <a:solidFill>
                  <a:schemeClr val="bg1"/>
                </a:solidFill>
              </a:endParaRPr>
            </a:p>
          </p:txBody>
        </p:sp>
        <p:sp>
          <p:nvSpPr>
            <p:cNvPr id="150" name="Freeform: Shape 149">
              <a:extLst>
                <a:ext uri="{FF2B5EF4-FFF2-40B4-BE49-F238E27FC236}">
                  <a16:creationId xmlns:a16="http://schemas.microsoft.com/office/drawing/2014/main" id="{2ECD62C6-9EDD-B4E0-0423-D0F9FE8A863F}"/>
                </a:ext>
              </a:extLst>
            </p:cNvPr>
            <p:cNvSpPr/>
            <p:nvPr/>
          </p:nvSpPr>
          <p:spPr>
            <a:xfrm>
              <a:off x="24330194" y="1968909"/>
              <a:ext cx="435077" cy="435077"/>
            </a:xfrm>
            <a:custGeom>
              <a:avLst/>
              <a:gdLst>
                <a:gd name="connsiteX0" fmla="*/ 0 w 435077"/>
                <a:gd name="connsiteY0" fmla="*/ 435077 h 435077"/>
                <a:gd name="connsiteX1" fmla="*/ 217539 w 435077"/>
                <a:gd name="connsiteY1" fmla="*/ 435077 h 435077"/>
                <a:gd name="connsiteX2" fmla="*/ 217539 w 435077"/>
                <a:gd name="connsiteY2" fmla="*/ 217547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28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47 h 435077"/>
                <a:gd name="connsiteX11" fmla="*/ 435077 w 435077"/>
                <a:gd name="connsiteY11" fmla="*/ 435077 h 435077"/>
                <a:gd name="connsiteX12" fmla="*/ 435077 w 435077"/>
                <a:gd name="connsiteY12" fmla="*/ 3 h 435077"/>
                <a:gd name="connsiteX13" fmla="*/ 217539 w 435077"/>
                <a:gd name="connsiteY13" fmla="*/ 3 h 435077"/>
                <a:gd name="connsiteX14" fmla="*/ 435077 w 435077"/>
                <a:gd name="connsiteY14" fmla="*/ 217531 h 435077"/>
                <a:gd name="connsiteX15" fmla="*/ 435077 w 435077"/>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47"/>
                  </a:lnTo>
                  <a:lnTo>
                    <a:pt x="0" y="435077"/>
                  </a:lnTo>
                  <a:close/>
                  <a:moveTo>
                    <a:pt x="217539" y="0"/>
                  </a:moveTo>
                  <a:lnTo>
                    <a:pt x="0" y="0"/>
                  </a:lnTo>
                  <a:lnTo>
                    <a:pt x="217539" y="217528"/>
                  </a:lnTo>
                  <a:lnTo>
                    <a:pt x="217539" y="0"/>
                  </a:lnTo>
                  <a:close/>
                  <a:moveTo>
                    <a:pt x="435077" y="435077"/>
                  </a:moveTo>
                  <a:lnTo>
                    <a:pt x="217539" y="435077"/>
                  </a:lnTo>
                  <a:lnTo>
                    <a:pt x="435077" y="217547"/>
                  </a:lnTo>
                  <a:lnTo>
                    <a:pt x="435077" y="435077"/>
                  </a:lnTo>
                  <a:close/>
                  <a:moveTo>
                    <a:pt x="435077" y="3"/>
                  </a:moveTo>
                  <a:lnTo>
                    <a:pt x="217539" y="3"/>
                  </a:lnTo>
                  <a:lnTo>
                    <a:pt x="435077" y="217531"/>
                  </a:lnTo>
                  <a:lnTo>
                    <a:pt x="435077" y="3"/>
                  </a:lnTo>
                  <a:close/>
                </a:path>
              </a:pathLst>
            </a:custGeom>
            <a:grpFill/>
            <a:ln w="27192" cap="flat">
              <a:noFill/>
              <a:prstDash val="solid"/>
              <a:miter/>
            </a:ln>
          </p:spPr>
          <p:txBody>
            <a:bodyPr rtlCol="0" anchor="ctr"/>
            <a:lstStyle/>
            <a:p>
              <a:endParaRPr lang="uk-UA" sz="900">
                <a:solidFill>
                  <a:schemeClr val="bg1"/>
                </a:solidFill>
              </a:endParaRPr>
            </a:p>
          </p:txBody>
        </p:sp>
        <p:sp>
          <p:nvSpPr>
            <p:cNvPr id="151" name="Freeform: Shape 150">
              <a:extLst>
                <a:ext uri="{FF2B5EF4-FFF2-40B4-BE49-F238E27FC236}">
                  <a16:creationId xmlns:a16="http://schemas.microsoft.com/office/drawing/2014/main" id="{CDD59645-7C47-621F-30E6-6EFCB11A28B8}"/>
                </a:ext>
              </a:extLst>
            </p:cNvPr>
            <p:cNvSpPr/>
            <p:nvPr/>
          </p:nvSpPr>
          <p:spPr>
            <a:xfrm>
              <a:off x="835769" y="2839064"/>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3 h 435077"/>
                <a:gd name="connsiteX6" fmla="*/ 217511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3"/>
                  </a:lnTo>
                  <a:lnTo>
                    <a:pt x="217511"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52" name="Freeform: Shape 151">
              <a:extLst>
                <a:ext uri="{FF2B5EF4-FFF2-40B4-BE49-F238E27FC236}">
                  <a16:creationId xmlns:a16="http://schemas.microsoft.com/office/drawing/2014/main" id="{DF1387B8-618A-44FB-7DD6-7C68771A0B96}"/>
                </a:ext>
              </a:extLst>
            </p:cNvPr>
            <p:cNvSpPr/>
            <p:nvPr/>
          </p:nvSpPr>
          <p:spPr>
            <a:xfrm>
              <a:off x="-34398" y="2839064"/>
              <a:ext cx="435090" cy="435077"/>
            </a:xfrm>
            <a:custGeom>
              <a:avLst/>
              <a:gdLst>
                <a:gd name="connsiteX0" fmla="*/ 0 w 435090"/>
                <a:gd name="connsiteY0" fmla="*/ 435077 h 435077"/>
                <a:gd name="connsiteX1" fmla="*/ 0 w 435090"/>
                <a:gd name="connsiteY1" fmla="*/ 0 h 435077"/>
                <a:gd name="connsiteX2" fmla="*/ 217525 w 435090"/>
                <a:gd name="connsiteY2" fmla="*/ 217539 h 435077"/>
                <a:gd name="connsiteX3" fmla="*/ 0 w 435090"/>
                <a:gd name="connsiteY3" fmla="*/ 435077 h 435077"/>
                <a:gd name="connsiteX4" fmla="*/ 217552 w 435090"/>
                <a:gd name="connsiteY4" fmla="*/ 435077 h 435077"/>
                <a:gd name="connsiteX5" fmla="*/ 217552 w 435090"/>
                <a:gd name="connsiteY5" fmla="*/ 0 h 435077"/>
                <a:gd name="connsiteX6" fmla="*/ 435091 w 435090"/>
                <a:gd name="connsiteY6" fmla="*/ 217539 h 435077"/>
                <a:gd name="connsiteX7" fmla="*/ 217552 w 435090"/>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90" h="435077">
                  <a:moveTo>
                    <a:pt x="0" y="435077"/>
                  </a:moveTo>
                  <a:lnTo>
                    <a:pt x="0" y="0"/>
                  </a:lnTo>
                  <a:lnTo>
                    <a:pt x="217525" y="217539"/>
                  </a:lnTo>
                  <a:lnTo>
                    <a:pt x="0" y="435077"/>
                  </a:lnTo>
                  <a:close/>
                  <a:moveTo>
                    <a:pt x="217552" y="435077"/>
                  </a:moveTo>
                  <a:lnTo>
                    <a:pt x="217552" y="0"/>
                  </a:lnTo>
                  <a:lnTo>
                    <a:pt x="435091" y="217539"/>
                  </a:lnTo>
                  <a:lnTo>
                    <a:pt x="217552"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53" name="Freeform: Shape 152">
              <a:extLst>
                <a:ext uri="{FF2B5EF4-FFF2-40B4-BE49-F238E27FC236}">
                  <a16:creationId xmlns:a16="http://schemas.microsoft.com/office/drawing/2014/main" id="{0DE533B4-0F1B-CAC7-9EFC-8D51B8AB92DF}"/>
                </a:ext>
              </a:extLst>
            </p:cNvPr>
            <p:cNvSpPr/>
            <p:nvPr/>
          </p:nvSpPr>
          <p:spPr>
            <a:xfrm>
              <a:off x="1705924" y="2839064"/>
              <a:ext cx="435077" cy="435077"/>
            </a:xfrm>
            <a:custGeom>
              <a:avLst/>
              <a:gdLst>
                <a:gd name="connsiteX0" fmla="*/ 63711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1 w 435077"/>
                <a:gd name="connsiteY6" fmla="*/ 153827 h 435077"/>
                <a:gd name="connsiteX7" fmla="*/ 63711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1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1" y="153827"/>
                  </a:moveTo>
                  <a:cubicBezTo>
                    <a:pt x="22923" y="113038"/>
                    <a:pt x="0" y="57694"/>
                    <a:pt x="0" y="0"/>
                  </a:cubicBezTo>
                  <a:lnTo>
                    <a:pt x="217539" y="0"/>
                  </a:lnTo>
                  <a:lnTo>
                    <a:pt x="435077" y="0"/>
                  </a:lnTo>
                  <a:cubicBezTo>
                    <a:pt x="435077" y="57694"/>
                    <a:pt x="412154" y="113038"/>
                    <a:pt x="371366" y="153827"/>
                  </a:cubicBezTo>
                  <a:cubicBezTo>
                    <a:pt x="330577" y="194616"/>
                    <a:pt x="275241" y="217539"/>
                    <a:pt x="217539" y="217539"/>
                  </a:cubicBezTo>
                  <a:cubicBezTo>
                    <a:pt x="159836" y="217539"/>
                    <a:pt x="104527" y="194616"/>
                    <a:pt x="63711" y="153827"/>
                  </a:cubicBezTo>
                  <a:close/>
                  <a:moveTo>
                    <a:pt x="63711" y="281250"/>
                  </a:moveTo>
                  <a:cubicBezTo>
                    <a:pt x="22923" y="322039"/>
                    <a:pt x="0" y="377375"/>
                    <a:pt x="0" y="435077"/>
                  </a:cubicBezTo>
                  <a:lnTo>
                    <a:pt x="217539" y="435077"/>
                  </a:lnTo>
                  <a:lnTo>
                    <a:pt x="435077" y="435077"/>
                  </a:lnTo>
                  <a:cubicBezTo>
                    <a:pt x="435077" y="377375"/>
                    <a:pt x="412154" y="322039"/>
                    <a:pt x="371366" y="281250"/>
                  </a:cubicBezTo>
                  <a:cubicBezTo>
                    <a:pt x="330577" y="240462"/>
                    <a:pt x="275241" y="217539"/>
                    <a:pt x="217539" y="217539"/>
                  </a:cubicBezTo>
                  <a:cubicBezTo>
                    <a:pt x="159836" y="217539"/>
                    <a:pt x="104527" y="240462"/>
                    <a:pt x="63711" y="281250"/>
                  </a:cubicBezTo>
                  <a:close/>
                </a:path>
              </a:pathLst>
            </a:custGeom>
            <a:grpFill/>
            <a:ln w="27192" cap="flat">
              <a:noFill/>
              <a:prstDash val="solid"/>
              <a:miter/>
            </a:ln>
          </p:spPr>
          <p:txBody>
            <a:bodyPr rtlCol="0" anchor="ctr"/>
            <a:lstStyle/>
            <a:p>
              <a:endParaRPr lang="uk-UA" sz="900">
                <a:solidFill>
                  <a:schemeClr val="bg1"/>
                </a:solidFill>
              </a:endParaRPr>
            </a:p>
          </p:txBody>
        </p:sp>
        <p:sp>
          <p:nvSpPr>
            <p:cNvPr id="154" name="Freeform: Shape 153">
              <a:extLst>
                <a:ext uri="{FF2B5EF4-FFF2-40B4-BE49-F238E27FC236}">
                  <a16:creationId xmlns:a16="http://schemas.microsoft.com/office/drawing/2014/main" id="{10E8DA64-331D-D110-582D-17B2F555AE0B}"/>
                </a:ext>
              </a:extLst>
            </p:cNvPr>
            <p:cNvSpPr/>
            <p:nvPr/>
          </p:nvSpPr>
          <p:spPr>
            <a:xfrm>
              <a:off x="2576106" y="2839064"/>
              <a:ext cx="435077" cy="435077"/>
            </a:xfrm>
            <a:custGeom>
              <a:avLst/>
              <a:gdLst>
                <a:gd name="connsiteX0" fmla="*/ 435077 w 435077"/>
                <a:gd name="connsiteY0" fmla="*/ 435077 h 435077"/>
                <a:gd name="connsiteX1" fmla="*/ 435077 w 435077"/>
                <a:gd name="connsiteY1" fmla="*/ 217539 h 435077"/>
                <a:gd name="connsiteX2" fmla="*/ 435077 w 435077"/>
                <a:gd name="connsiteY2" fmla="*/ 14 h 435077"/>
                <a:gd name="connsiteX3" fmla="*/ 217539 w 435077"/>
                <a:gd name="connsiteY3" fmla="*/ 14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14"/>
                  </a:lnTo>
                  <a:lnTo>
                    <a:pt x="217539" y="14"/>
                  </a:lnTo>
                  <a:lnTo>
                    <a:pt x="435077" y="217539"/>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55" name="Freeform: Shape 154">
              <a:extLst>
                <a:ext uri="{FF2B5EF4-FFF2-40B4-BE49-F238E27FC236}">
                  <a16:creationId xmlns:a16="http://schemas.microsoft.com/office/drawing/2014/main" id="{DF06FF8F-E275-5DAB-4048-6C83C9D47F81}"/>
                </a:ext>
              </a:extLst>
            </p:cNvPr>
            <p:cNvSpPr/>
            <p:nvPr/>
          </p:nvSpPr>
          <p:spPr>
            <a:xfrm>
              <a:off x="4316442" y="2839064"/>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3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3"/>
                  </a:lnTo>
                  <a:lnTo>
                    <a:pt x="217512"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56" name="Freeform: Shape 155">
              <a:extLst>
                <a:ext uri="{FF2B5EF4-FFF2-40B4-BE49-F238E27FC236}">
                  <a16:creationId xmlns:a16="http://schemas.microsoft.com/office/drawing/2014/main" id="{8DFB9186-69AC-0479-CA45-EECA5F5B999C}"/>
                </a:ext>
              </a:extLst>
            </p:cNvPr>
            <p:cNvSpPr/>
            <p:nvPr/>
          </p:nvSpPr>
          <p:spPr>
            <a:xfrm>
              <a:off x="3446261" y="2839064"/>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57" name="Freeform: Shape 156">
              <a:extLst>
                <a:ext uri="{FF2B5EF4-FFF2-40B4-BE49-F238E27FC236}">
                  <a16:creationId xmlns:a16="http://schemas.microsoft.com/office/drawing/2014/main" id="{E138E7F9-43FB-400B-F2B2-CC4702FDF681}"/>
                </a:ext>
              </a:extLst>
            </p:cNvPr>
            <p:cNvSpPr/>
            <p:nvPr/>
          </p:nvSpPr>
          <p:spPr>
            <a:xfrm>
              <a:off x="5186597" y="283906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8"/>
                    <a:pt x="0" y="57694"/>
                    <a:pt x="0" y="0"/>
                  </a:cubicBezTo>
                  <a:lnTo>
                    <a:pt x="217539" y="0"/>
                  </a:lnTo>
                  <a:lnTo>
                    <a:pt x="435077" y="0"/>
                  </a:lnTo>
                  <a:cubicBezTo>
                    <a:pt x="435077" y="57694"/>
                    <a:pt x="412155" y="113038"/>
                    <a:pt x="371366" y="153827"/>
                  </a:cubicBezTo>
                  <a:cubicBezTo>
                    <a:pt x="330550" y="194616"/>
                    <a:pt x="275241" y="217539"/>
                    <a:pt x="217539" y="217539"/>
                  </a:cubicBezTo>
                  <a:cubicBezTo>
                    <a:pt x="159837" y="217539"/>
                    <a:pt x="104501" y="194616"/>
                    <a:pt x="63712" y="153827"/>
                  </a:cubicBezTo>
                  <a:close/>
                  <a:moveTo>
                    <a:pt x="63712" y="281250"/>
                  </a:moveTo>
                  <a:cubicBezTo>
                    <a:pt x="22924" y="322039"/>
                    <a:pt x="0" y="377375"/>
                    <a:pt x="0" y="435077"/>
                  </a:cubicBezTo>
                  <a:lnTo>
                    <a:pt x="217539" y="435077"/>
                  </a:lnTo>
                  <a:lnTo>
                    <a:pt x="435077" y="435077"/>
                  </a:lnTo>
                  <a:cubicBezTo>
                    <a:pt x="435077" y="377375"/>
                    <a:pt x="412155" y="322039"/>
                    <a:pt x="371366" y="281250"/>
                  </a:cubicBezTo>
                  <a:cubicBezTo>
                    <a:pt x="330550" y="240462"/>
                    <a:pt x="275241" y="217539"/>
                    <a:pt x="217539" y="217539"/>
                  </a:cubicBezTo>
                  <a:cubicBezTo>
                    <a:pt x="159837" y="217539"/>
                    <a:pt x="104501" y="240462"/>
                    <a:pt x="63712" y="281250"/>
                  </a:cubicBezTo>
                  <a:close/>
                </a:path>
              </a:pathLst>
            </a:custGeom>
            <a:grpFill/>
            <a:ln w="27192" cap="flat">
              <a:noFill/>
              <a:prstDash val="solid"/>
              <a:miter/>
            </a:ln>
          </p:spPr>
          <p:txBody>
            <a:bodyPr rtlCol="0" anchor="ctr"/>
            <a:lstStyle/>
            <a:p>
              <a:endParaRPr lang="uk-UA" sz="900">
                <a:solidFill>
                  <a:schemeClr val="bg1"/>
                </a:solidFill>
              </a:endParaRPr>
            </a:p>
          </p:txBody>
        </p:sp>
        <p:sp>
          <p:nvSpPr>
            <p:cNvPr id="158" name="Freeform: Shape 157">
              <a:extLst>
                <a:ext uri="{FF2B5EF4-FFF2-40B4-BE49-F238E27FC236}">
                  <a16:creationId xmlns:a16="http://schemas.microsoft.com/office/drawing/2014/main" id="{73B5318F-AAC9-6A69-7C88-6A91DADC0C1A}"/>
                </a:ext>
              </a:extLst>
            </p:cNvPr>
            <p:cNvSpPr/>
            <p:nvPr/>
          </p:nvSpPr>
          <p:spPr>
            <a:xfrm>
              <a:off x="6056752" y="2839064"/>
              <a:ext cx="435077" cy="435077"/>
            </a:xfrm>
            <a:custGeom>
              <a:avLst/>
              <a:gdLst>
                <a:gd name="connsiteX0" fmla="*/ 435077 w 435077"/>
                <a:gd name="connsiteY0" fmla="*/ 435077 h 435077"/>
                <a:gd name="connsiteX1" fmla="*/ 435077 w 435077"/>
                <a:gd name="connsiteY1" fmla="*/ 217539 h 435077"/>
                <a:gd name="connsiteX2" fmla="*/ 435077 w 435077"/>
                <a:gd name="connsiteY2" fmla="*/ 14 h 435077"/>
                <a:gd name="connsiteX3" fmla="*/ 217539 w 435077"/>
                <a:gd name="connsiteY3" fmla="*/ 14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14"/>
                  </a:lnTo>
                  <a:lnTo>
                    <a:pt x="217539" y="14"/>
                  </a:lnTo>
                  <a:lnTo>
                    <a:pt x="435077" y="217539"/>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59" name="Freeform: Shape 158">
              <a:extLst>
                <a:ext uri="{FF2B5EF4-FFF2-40B4-BE49-F238E27FC236}">
                  <a16:creationId xmlns:a16="http://schemas.microsoft.com/office/drawing/2014/main" id="{93AD8DA6-56D8-2520-B0B0-3A574029C2FB}"/>
                </a:ext>
              </a:extLst>
            </p:cNvPr>
            <p:cNvSpPr/>
            <p:nvPr/>
          </p:nvSpPr>
          <p:spPr>
            <a:xfrm>
              <a:off x="7797089" y="2839064"/>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3 h 435077"/>
                <a:gd name="connsiteX6" fmla="*/ 217511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3"/>
                  </a:lnTo>
                  <a:lnTo>
                    <a:pt x="217511"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60" name="Freeform: Shape 159">
              <a:extLst>
                <a:ext uri="{FF2B5EF4-FFF2-40B4-BE49-F238E27FC236}">
                  <a16:creationId xmlns:a16="http://schemas.microsoft.com/office/drawing/2014/main" id="{BAC45418-617D-63E9-1629-04109F1AF5F7}"/>
                </a:ext>
              </a:extLst>
            </p:cNvPr>
            <p:cNvSpPr/>
            <p:nvPr/>
          </p:nvSpPr>
          <p:spPr>
            <a:xfrm>
              <a:off x="6926907" y="2839064"/>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61" name="Freeform: Shape 160">
              <a:extLst>
                <a:ext uri="{FF2B5EF4-FFF2-40B4-BE49-F238E27FC236}">
                  <a16:creationId xmlns:a16="http://schemas.microsoft.com/office/drawing/2014/main" id="{2F11B8A4-5352-70D0-3508-AD6600257606}"/>
                </a:ext>
              </a:extLst>
            </p:cNvPr>
            <p:cNvSpPr/>
            <p:nvPr/>
          </p:nvSpPr>
          <p:spPr>
            <a:xfrm>
              <a:off x="8667217" y="2839064"/>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39 w 435077"/>
                <a:gd name="connsiteY6" fmla="*/ 153827 h 435077"/>
                <a:gd name="connsiteX7" fmla="*/ 63739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39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4" y="113038"/>
                    <a:pt x="0" y="57694"/>
                    <a:pt x="0" y="0"/>
                  </a:cubicBezTo>
                  <a:lnTo>
                    <a:pt x="217539" y="0"/>
                  </a:lnTo>
                  <a:lnTo>
                    <a:pt x="435077" y="0"/>
                  </a:lnTo>
                  <a:cubicBezTo>
                    <a:pt x="435077" y="57694"/>
                    <a:pt x="412182" y="113038"/>
                    <a:pt x="371366" y="153827"/>
                  </a:cubicBezTo>
                  <a:cubicBezTo>
                    <a:pt x="330578" y="194616"/>
                    <a:pt x="275241" y="217539"/>
                    <a:pt x="217539" y="217539"/>
                  </a:cubicBezTo>
                  <a:cubicBezTo>
                    <a:pt x="159864" y="217539"/>
                    <a:pt x="104527" y="194616"/>
                    <a:pt x="63739" y="153827"/>
                  </a:cubicBezTo>
                  <a:close/>
                  <a:moveTo>
                    <a:pt x="63739" y="281250"/>
                  </a:moveTo>
                  <a:cubicBezTo>
                    <a:pt x="22924" y="322039"/>
                    <a:pt x="0" y="377375"/>
                    <a:pt x="0" y="435077"/>
                  </a:cubicBezTo>
                  <a:lnTo>
                    <a:pt x="217539" y="435077"/>
                  </a:lnTo>
                  <a:lnTo>
                    <a:pt x="435077" y="435077"/>
                  </a:lnTo>
                  <a:cubicBezTo>
                    <a:pt x="435077" y="377375"/>
                    <a:pt x="412182" y="322039"/>
                    <a:pt x="371366" y="281250"/>
                  </a:cubicBezTo>
                  <a:cubicBezTo>
                    <a:pt x="330578" y="240462"/>
                    <a:pt x="275241" y="217539"/>
                    <a:pt x="217539" y="217539"/>
                  </a:cubicBezTo>
                  <a:cubicBezTo>
                    <a:pt x="159864" y="217539"/>
                    <a:pt x="104527" y="240462"/>
                    <a:pt x="63739" y="281250"/>
                  </a:cubicBezTo>
                  <a:close/>
                </a:path>
              </a:pathLst>
            </a:custGeom>
            <a:grpFill/>
            <a:ln w="27192" cap="flat">
              <a:noFill/>
              <a:prstDash val="solid"/>
              <a:miter/>
            </a:ln>
          </p:spPr>
          <p:txBody>
            <a:bodyPr rtlCol="0" anchor="ctr"/>
            <a:lstStyle/>
            <a:p>
              <a:endParaRPr lang="uk-UA" sz="900">
                <a:solidFill>
                  <a:schemeClr val="bg1"/>
                </a:solidFill>
              </a:endParaRPr>
            </a:p>
          </p:txBody>
        </p:sp>
        <p:sp>
          <p:nvSpPr>
            <p:cNvPr id="162" name="Freeform: Shape 161">
              <a:extLst>
                <a:ext uri="{FF2B5EF4-FFF2-40B4-BE49-F238E27FC236}">
                  <a16:creationId xmlns:a16="http://schemas.microsoft.com/office/drawing/2014/main" id="{56786F91-5093-8277-3916-FF4433635170}"/>
                </a:ext>
              </a:extLst>
            </p:cNvPr>
            <p:cNvSpPr/>
            <p:nvPr/>
          </p:nvSpPr>
          <p:spPr>
            <a:xfrm>
              <a:off x="9537399" y="2839064"/>
              <a:ext cx="435077" cy="435077"/>
            </a:xfrm>
            <a:custGeom>
              <a:avLst/>
              <a:gdLst>
                <a:gd name="connsiteX0" fmla="*/ 435077 w 435077"/>
                <a:gd name="connsiteY0" fmla="*/ 435077 h 435077"/>
                <a:gd name="connsiteX1" fmla="*/ 435077 w 435077"/>
                <a:gd name="connsiteY1" fmla="*/ 217539 h 435077"/>
                <a:gd name="connsiteX2" fmla="*/ 435077 w 435077"/>
                <a:gd name="connsiteY2" fmla="*/ 14 h 435077"/>
                <a:gd name="connsiteX3" fmla="*/ 217539 w 435077"/>
                <a:gd name="connsiteY3" fmla="*/ 14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1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1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14"/>
                  </a:lnTo>
                  <a:lnTo>
                    <a:pt x="217539" y="14"/>
                  </a:lnTo>
                  <a:lnTo>
                    <a:pt x="435077" y="217539"/>
                  </a:lnTo>
                  <a:lnTo>
                    <a:pt x="217539" y="435077"/>
                  </a:lnTo>
                  <a:lnTo>
                    <a:pt x="435077" y="435077"/>
                  </a:lnTo>
                  <a:close/>
                  <a:moveTo>
                    <a:pt x="0" y="217539"/>
                  </a:moveTo>
                  <a:lnTo>
                    <a:pt x="0" y="0"/>
                  </a:lnTo>
                  <a:lnTo>
                    <a:pt x="217511" y="217539"/>
                  </a:lnTo>
                  <a:lnTo>
                    <a:pt x="0" y="217539"/>
                  </a:lnTo>
                  <a:close/>
                  <a:moveTo>
                    <a:pt x="0" y="435077"/>
                  </a:moveTo>
                  <a:lnTo>
                    <a:pt x="0" y="217539"/>
                  </a:lnTo>
                  <a:lnTo>
                    <a:pt x="217511"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63" name="Freeform: Shape 162">
              <a:extLst>
                <a:ext uri="{FF2B5EF4-FFF2-40B4-BE49-F238E27FC236}">
                  <a16:creationId xmlns:a16="http://schemas.microsoft.com/office/drawing/2014/main" id="{2F195C75-7044-11B7-14BA-493795B98D09}"/>
                </a:ext>
              </a:extLst>
            </p:cNvPr>
            <p:cNvSpPr/>
            <p:nvPr/>
          </p:nvSpPr>
          <p:spPr>
            <a:xfrm>
              <a:off x="11277709" y="2839064"/>
              <a:ext cx="435077" cy="435077"/>
            </a:xfrm>
            <a:custGeom>
              <a:avLst/>
              <a:gdLst>
                <a:gd name="connsiteX0" fmla="*/ 435077 w 435077"/>
                <a:gd name="connsiteY0" fmla="*/ 435077 h 435077"/>
                <a:gd name="connsiteX1" fmla="*/ 435077 w 435077"/>
                <a:gd name="connsiteY1" fmla="*/ 0 h 435077"/>
                <a:gd name="connsiteX2" fmla="*/ 217565 w 435077"/>
                <a:gd name="connsiteY2" fmla="*/ 217539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39"/>
                  </a:lnTo>
                  <a:lnTo>
                    <a:pt x="435077" y="435077"/>
                  </a:lnTo>
                  <a:close/>
                  <a:moveTo>
                    <a:pt x="0" y="435077"/>
                  </a:moveTo>
                  <a:lnTo>
                    <a:pt x="0" y="3"/>
                  </a:lnTo>
                  <a:lnTo>
                    <a:pt x="217539"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64" name="Freeform: Shape 163">
              <a:extLst>
                <a:ext uri="{FF2B5EF4-FFF2-40B4-BE49-F238E27FC236}">
                  <a16:creationId xmlns:a16="http://schemas.microsoft.com/office/drawing/2014/main" id="{09D848EB-BE99-BA51-BCC2-60E3A346F641}"/>
                </a:ext>
              </a:extLst>
            </p:cNvPr>
            <p:cNvSpPr/>
            <p:nvPr/>
          </p:nvSpPr>
          <p:spPr>
            <a:xfrm>
              <a:off x="10407554" y="2839064"/>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65" name="Freeform: Shape 164">
              <a:extLst>
                <a:ext uri="{FF2B5EF4-FFF2-40B4-BE49-F238E27FC236}">
                  <a16:creationId xmlns:a16="http://schemas.microsoft.com/office/drawing/2014/main" id="{40E516DF-F067-D9B2-9D64-097E0AC45CAD}"/>
                </a:ext>
              </a:extLst>
            </p:cNvPr>
            <p:cNvSpPr/>
            <p:nvPr/>
          </p:nvSpPr>
          <p:spPr>
            <a:xfrm>
              <a:off x="12147864" y="2839064"/>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39 w 435077"/>
                <a:gd name="connsiteY6" fmla="*/ 153827 h 435077"/>
                <a:gd name="connsiteX7" fmla="*/ 63739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0 h 435077"/>
                <a:gd name="connsiteX12" fmla="*/ 217539 w 435077"/>
                <a:gd name="connsiteY12" fmla="*/ 217539 h 435077"/>
                <a:gd name="connsiteX13" fmla="*/ 63739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2" y="113038"/>
                    <a:pt x="0" y="57694"/>
                    <a:pt x="0" y="0"/>
                  </a:cubicBezTo>
                  <a:lnTo>
                    <a:pt x="217539" y="0"/>
                  </a:lnTo>
                  <a:lnTo>
                    <a:pt x="435077" y="0"/>
                  </a:lnTo>
                  <a:cubicBezTo>
                    <a:pt x="435077" y="57694"/>
                    <a:pt x="412180" y="113038"/>
                    <a:pt x="371365" y="153827"/>
                  </a:cubicBezTo>
                  <a:cubicBezTo>
                    <a:pt x="330577" y="194616"/>
                    <a:pt x="275239" y="217539"/>
                    <a:pt x="217539" y="217539"/>
                  </a:cubicBezTo>
                  <a:cubicBezTo>
                    <a:pt x="159863" y="217539"/>
                    <a:pt x="104527" y="194616"/>
                    <a:pt x="63739" y="153827"/>
                  </a:cubicBezTo>
                  <a:close/>
                  <a:moveTo>
                    <a:pt x="63739" y="281250"/>
                  </a:moveTo>
                  <a:cubicBezTo>
                    <a:pt x="22922" y="322039"/>
                    <a:pt x="0" y="377375"/>
                    <a:pt x="0" y="435077"/>
                  </a:cubicBezTo>
                  <a:lnTo>
                    <a:pt x="217539" y="435077"/>
                  </a:lnTo>
                  <a:lnTo>
                    <a:pt x="435077" y="435077"/>
                  </a:lnTo>
                  <a:cubicBezTo>
                    <a:pt x="435077" y="377375"/>
                    <a:pt x="412180" y="322039"/>
                    <a:pt x="371365" y="281250"/>
                  </a:cubicBezTo>
                  <a:cubicBezTo>
                    <a:pt x="330577" y="240462"/>
                    <a:pt x="275239" y="217539"/>
                    <a:pt x="217539" y="217539"/>
                  </a:cubicBezTo>
                  <a:cubicBezTo>
                    <a:pt x="159863" y="217539"/>
                    <a:pt x="104527" y="240462"/>
                    <a:pt x="63739" y="281250"/>
                  </a:cubicBezTo>
                  <a:close/>
                </a:path>
              </a:pathLst>
            </a:custGeom>
            <a:grpFill/>
            <a:ln w="27192" cap="flat">
              <a:noFill/>
              <a:prstDash val="solid"/>
              <a:miter/>
            </a:ln>
          </p:spPr>
          <p:txBody>
            <a:bodyPr rtlCol="0" anchor="ctr"/>
            <a:lstStyle/>
            <a:p>
              <a:endParaRPr lang="uk-UA" sz="900">
                <a:solidFill>
                  <a:schemeClr val="bg1"/>
                </a:solidFill>
              </a:endParaRPr>
            </a:p>
          </p:txBody>
        </p:sp>
        <p:sp>
          <p:nvSpPr>
            <p:cNvPr id="166" name="Freeform: Shape 165">
              <a:extLst>
                <a:ext uri="{FF2B5EF4-FFF2-40B4-BE49-F238E27FC236}">
                  <a16:creationId xmlns:a16="http://schemas.microsoft.com/office/drawing/2014/main" id="{D3AD36CD-D46C-4AEE-37FF-DF188FF9A971}"/>
                </a:ext>
              </a:extLst>
            </p:cNvPr>
            <p:cNvSpPr/>
            <p:nvPr/>
          </p:nvSpPr>
          <p:spPr>
            <a:xfrm>
              <a:off x="13018045" y="2839064"/>
              <a:ext cx="435077" cy="435077"/>
            </a:xfrm>
            <a:custGeom>
              <a:avLst/>
              <a:gdLst>
                <a:gd name="connsiteX0" fmla="*/ 435077 w 435077"/>
                <a:gd name="connsiteY0" fmla="*/ 435077 h 435077"/>
                <a:gd name="connsiteX1" fmla="*/ 435077 w 435077"/>
                <a:gd name="connsiteY1" fmla="*/ 217539 h 435077"/>
                <a:gd name="connsiteX2" fmla="*/ 435077 w 435077"/>
                <a:gd name="connsiteY2" fmla="*/ 14 h 435077"/>
                <a:gd name="connsiteX3" fmla="*/ 217539 w 435077"/>
                <a:gd name="connsiteY3" fmla="*/ 14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14"/>
                  </a:lnTo>
                  <a:lnTo>
                    <a:pt x="217539" y="14"/>
                  </a:lnTo>
                  <a:lnTo>
                    <a:pt x="435077" y="217539"/>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67" name="Freeform: Shape 166">
              <a:extLst>
                <a:ext uri="{FF2B5EF4-FFF2-40B4-BE49-F238E27FC236}">
                  <a16:creationId xmlns:a16="http://schemas.microsoft.com/office/drawing/2014/main" id="{9032A13C-A94E-B777-4AEA-063204EEC966}"/>
                </a:ext>
              </a:extLst>
            </p:cNvPr>
            <p:cNvSpPr/>
            <p:nvPr/>
          </p:nvSpPr>
          <p:spPr>
            <a:xfrm>
              <a:off x="14758382" y="2839064"/>
              <a:ext cx="435077" cy="435077"/>
            </a:xfrm>
            <a:custGeom>
              <a:avLst/>
              <a:gdLst>
                <a:gd name="connsiteX0" fmla="*/ 435077 w 435077"/>
                <a:gd name="connsiteY0" fmla="*/ 435077 h 435077"/>
                <a:gd name="connsiteX1" fmla="*/ 435077 w 435077"/>
                <a:gd name="connsiteY1" fmla="*/ 0 h 435077"/>
                <a:gd name="connsiteX2" fmla="*/ 217567 w 435077"/>
                <a:gd name="connsiteY2" fmla="*/ 217539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7" y="217539"/>
                  </a:lnTo>
                  <a:lnTo>
                    <a:pt x="435077" y="435077"/>
                  </a:lnTo>
                  <a:close/>
                  <a:moveTo>
                    <a:pt x="0" y="435077"/>
                  </a:moveTo>
                  <a:lnTo>
                    <a:pt x="0" y="3"/>
                  </a:lnTo>
                  <a:lnTo>
                    <a:pt x="217539"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68" name="Freeform: Shape 167">
              <a:extLst>
                <a:ext uri="{FF2B5EF4-FFF2-40B4-BE49-F238E27FC236}">
                  <a16:creationId xmlns:a16="http://schemas.microsoft.com/office/drawing/2014/main" id="{077AE9FB-5DFD-0AB8-F1E4-542AE28E8A8A}"/>
                </a:ext>
              </a:extLst>
            </p:cNvPr>
            <p:cNvSpPr/>
            <p:nvPr/>
          </p:nvSpPr>
          <p:spPr>
            <a:xfrm>
              <a:off x="13888200" y="2839064"/>
              <a:ext cx="435103" cy="435077"/>
            </a:xfrm>
            <a:custGeom>
              <a:avLst/>
              <a:gdLst>
                <a:gd name="connsiteX0" fmla="*/ 0 w 435103"/>
                <a:gd name="connsiteY0" fmla="*/ 435077 h 435077"/>
                <a:gd name="connsiteX1" fmla="*/ 0 w 435103"/>
                <a:gd name="connsiteY1" fmla="*/ 0 h 435077"/>
                <a:gd name="connsiteX2" fmla="*/ 217539 w 435103"/>
                <a:gd name="connsiteY2" fmla="*/ 217539 h 435077"/>
                <a:gd name="connsiteX3" fmla="*/ 0 w 435103"/>
                <a:gd name="connsiteY3" fmla="*/ 435077 h 435077"/>
                <a:gd name="connsiteX4" fmla="*/ 217565 w 435103"/>
                <a:gd name="connsiteY4" fmla="*/ 435077 h 435077"/>
                <a:gd name="connsiteX5" fmla="*/ 217565 w 435103"/>
                <a:gd name="connsiteY5" fmla="*/ 0 h 435077"/>
                <a:gd name="connsiteX6" fmla="*/ 435104 w 435103"/>
                <a:gd name="connsiteY6" fmla="*/ 217539 h 435077"/>
                <a:gd name="connsiteX7" fmla="*/ 217565 w 435103"/>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103" h="435077">
                  <a:moveTo>
                    <a:pt x="0" y="435077"/>
                  </a:moveTo>
                  <a:lnTo>
                    <a:pt x="0" y="0"/>
                  </a:lnTo>
                  <a:lnTo>
                    <a:pt x="217539" y="217539"/>
                  </a:lnTo>
                  <a:lnTo>
                    <a:pt x="0" y="435077"/>
                  </a:lnTo>
                  <a:close/>
                  <a:moveTo>
                    <a:pt x="217565" y="435077"/>
                  </a:moveTo>
                  <a:lnTo>
                    <a:pt x="217565" y="0"/>
                  </a:lnTo>
                  <a:lnTo>
                    <a:pt x="435104" y="217539"/>
                  </a:lnTo>
                  <a:lnTo>
                    <a:pt x="217565"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69" name="Freeform: Shape 168">
              <a:extLst>
                <a:ext uri="{FF2B5EF4-FFF2-40B4-BE49-F238E27FC236}">
                  <a16:creationId xmlns:a16="http://schemas.microsoft.com/office/drawing/2014/main" id="{8A2440D1-23FF-E8D9-9ED2-9C0263DB0644}"/>
                </a:ext>
              </a:extLst>
            </p:cNvPr>
            <p:cNvSpPr/>
            <p:nvPr/>
          </p:nvSpPr>
          <p:spPr>
            <a:xfrm>
              <a:off x="15628536" y="283906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8"/>
                    <a:pt x="0" y="57694"/>
                    <a:pt x="0" y="0"/>
                  </a:cubicBezTo>
                  <a:lnTo>
                    <a:pt x="217539" y="0"/>
                  </a:lnTo>
                  <a:lnTo>
                    <a:pt x="435077" y="0"/>
                  </a:lnTo>
                  <a:cubicBezTo>
                    <a:pt x="435077" y="57694"/>
                    <a:pt x="412155" y="113038"/>
                    <a:pt x="371367" y="153827"/>
                  </a:cubicBezTo>
                  <a:cubicBezTo>
                    <a:pt x="330578" y="194616"/>
                    <a:pt x="275241" y="217539"/>
                    <a:pt x="217539" y="217539"/>
                  </a:cubicBezTo>
                  <a:cubicBezTo>
                    <a:pt x="159865" y="217539"/>
                    <a:pt x="104527" y="194616"/>
                    <a:pt x="63712" y="153827"/>
                  </a:cubicBezTo>
                  <a:close/>
                  <a:moveTo>
                    <a:pt x="63712" y="281250"/>
                  </a:moveTo>
                  <a:cubicBezTo>
                    <a:pt x="22924" y="322039"/>
                    <a:pt x="0" y="377375"/>
                    <a:pt x="0" y="435077"/>
                  </a:cubicBezTo>
                  <a:lnTo>
                    <a:pt x="217539" y="435077"/>
                  </a:lnTo>
                  <a:lnTo>
                    <a:pt x="435077" y="435077"/>
                  </a:lnTo>
                  <a:cubicBezTo>
                    <a:pt x="435077" y="377375"/>
                    <a:pt x="412155" y="322039"/>
                    <a:pt x="371367" y="281250"/>
                  </a:cubicBezTo>
                  <a:cubicBezTo>
                    <a:pt x="330578" y="240462"/>
                    <a:pt x="275241" y="217539"/>
                    <a:pt x="217539" y="217539"/>
                  </a:cubicBezTo>
                  <a:cubicBezTo>
                    <a:pt x="159865" y="217539"/>
                    <a:pt x="104527" y="240462"/>
                    <a:pt x="63712" y="281250"/>
                  </a:cubicBezTo>
                  <a:close/>
                </a:path>
              </a:pathLst>
            </a:custGeom>
            <a:grpFill/>
            <a:ln w="27192" cap="flat">
              <a:noFill/>
              <a:prstDash val="solid"/>
              <a:miter/>
            </a:ln>
          </p:spPr>
          <p:txBody>
            <a:bodyPr rtlCol="0" anchor="ctr"/>
            <a:lstStyle/>
            <a:p>
              <a:endParaRPr lang="uk-UA" sz="900">
                <a:solidFill>
                  <a:schemeClr val="bg1"/>
                </a:solidFill>
              </a:endParaRPr>
            </a:p>
          </p:txBody>
        </p:sp>
        <p:sp>
          <p:nvSpPr>
            <p:cNvPr id="170" name="Freeform: Shape 169">
              <a:extLst>
                <a:ext uri="{FF2B5EF4-FFF2-40B4-BE49-F238E27FC236}">
                  <a16:creationId xmlns:a16="http://schemas.microsoft.com/office/drawing/2014/main" id="{2BECB4A5-39E9-0852-B855-3322423F268C}"/>
                </a:ext>
              </a:extLst>
            </p:cNvPr>
            <p:cNvSpPr/>
            <p:nvPr/>
          </p:nvSpPr>
          <p:spPr>
            <a:xfrm>
              <a:off x="16498719" y="2839064"/>
              <a:ext cx="435077" cy="435077"/>
            </a:xfrm>
            <a:custGeom>
              <a:avLst/>
              <a:gdLst>
                <a:gd name="connsiteX0" fmla="*/ 435077 w 435077"/>
                <a:gd name="connsiteY0" fmla="*/ 435077 h 435077"/>
                <a:gd name="connsiteX1" fmla="*/ 435077 w 435077"/>
                <a:gd name="connsiteY1" fmla="*/ 217539 h 435077"/>
                <a:gd name="connsiteX2" fmla="*/ 435077 w 435077"/>
                <a:gd name="connsiteY2" fmla="*/ 14 h 435077"/>
                <a:gd name="connsiteX3" fmla="*/ 217539 w 435077"/>
                <a:gd name="connsiteY3" fmla="*/ 14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0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0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14"/>
                  </a:lnTo>
                  <a:lnTo>
                    <a:pt x="217539" y="14"/>
                  </a:lnTo>
                  <a:lnTo>
                    <a:pt x="435077" y="217539"/>
                  </a:lnTo>
                  <a:lnTo>
                    <a:pt x="217539" y="435077"/>
                  </a:lnTo>
                  <a:lnTo>
                    <a:pt x="435077" y="435077"/>
                  </a:lnTo>
                  <a:close/>
                  <a:moveTo>
                    <a:pt x="0" y="217539"/>
                  </a:moveTo>
                  <a:lnTo>
                    <a:pt x="0" y="0"/>
                  </a:lnTo>
                  <a:lnTo>
                    <a:pt x="217510" y="217539"/>
                  </a:lnTo>
                  <a:lnTo>
                    <a:pt x="0" y="217539"/>
                  </a:lnTo>
                  <a:close/>
                  <a:moveTo>
                    <a:pt x="0" y="435077"/>
                  </a:moveTo>
                  <a:lnTo>
                    <a:pt x="0" y="217539"/>
                  </a:lnTo>
                  <a:lnTo>
                    <a:pt x="217510"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71" name="Freeform: Shape 170">
              <a:extLst>
                <a:ext uri="{FF2B5EF4-FFF2-40B4-BE49-F238E27FC236}">
                  <a16:creationId xmlns:a16="http://schemas.microsoft.com/office/drawing/2014/main" id="{26AA611C-D8EE-980F-E661-C144A857E328}"/>
                </a:ext>
              </a:extLst>
            </p:cNvPr>
            <p:cNvSpPr/>
            <p:nvPr/>
          </p:nvSpPr>
          <p:spPr>
            <a:xfrm>
              <a:off x="18239029" y="2839064"/>
              <a:ext cx="435077" cy="435077"/>
            </a:xfrm>
            <a:custGeom>
              <a:avLst/>
              <a:gdLst>
                <a:gd name="connsiteX0" fmla="*/ 435077 w 435077"/>
                <a:gd name="connsiteY0" fmla="*/ 435077 h 435077"/>
                <a:gd name="connsiteX1" fmla="*/ 435077 w 435077"/>
                <a:gd name="connsiteY1" fmla="*/ 0 h 435077"/>
                <a:gd name="connsiteX2" fmla="*/ 217565 w 435077"/>
                <a:gd name="connsiteY2" fmla="*/ 217539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39"/>
                  </a:lnTo>
                  <a:lnTo>
                    <a:pt x="435077" y="435077"/>
                  </a:lnTo>
                  <a:close/>
                  <a:moveTo>
                    <a:pt x="0" y="435077"/>
                  </a:moveTo>
                  <a:lnTo>
                    <a:pt x="0" y="3"/>
                  </a:lnTo>
                  <a:lnTo>
                    <a:pt x="217539"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72" name="Freeform: Shape 171">
              <a:extLst>
                <a:ext uri="{FF2B5EF4-FFF2-40B4-BE49-F238E27FC236}">
                  <a16:creationId xmlns:a16="http://schemas.microsoft.com/office/drawing/2014/main" id="{1E86AE16-B542-901E-578B-466985833B0A}"/>
                </a:ext>
              </a:extLst>
            </p:cNvPr>
            <p:cNvSpPr/>
            <p:nvPr/>
          </p:nvSpPr>
          <p:spPr>
            <a:xfrm>
              <a:off x="17368874" y="2839064"/>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73" name="Freeform: Shape 172">
              <a:extLst>
                <a:ext uri="{FF2B5EF4-FFF2-40B4-BE49-F238E27FC236}">
                  <a16:creationId xmlns:a16="http://schemas.microsoft.com/office/drawing/2014/main" id="{C05DAEA2-D790-44A1-AF5D-DF9B0160C7CC}"/>
                </a:ext>
              </a:extLst>
            </p:cNvPr>
            <p:cNvSpPr/>
            <p:nvPr/>
          </p:nvSpPr>
          <p:spPr>
            <a:xfrm>
              <a:off x="19109210" y="283906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895" y="113038"/>
                    <a:pt x="0" y="57694"/>
                    <a:pt x="0" y="0"/>
                  </a:cubicBezTo>
                  <a:lnTo>
                    <a:pt x="217539" y="0"/>
                  </a:lnTo>
                  <a:lnTo>
                    <a:pt x="435077" y="0"/>
                  </a:lnTo>
                  <a:cubicBezTo>
                    <a:pt x="435077" y="57694"/>
                    <a:pt x="412154" y="113038"/>
                    <a:pt x="371339" y="153827"/>
                  </a:cubicBezTo>
                  <a:cubicBezTo>
                    <a:pt x="330550" y="194616"/>
                    <a:pt x="275215" y="217539"/>
                    <a:pt x="217539" y="217539"/>
                  </a:cubicBezTo>
                  <a:cubicBezTo>
                    <a:pt x="159836" y="217539"/>
                    <a:pt x="104501" y="194616"/>
                    <a:pt x="63712" y="153827"/>
                  </a:cubicBezTo>
                  <a:close/>
                  <a:moveTo>
                    <a:pt x="63712" y="281250"/>
                  </a:moveTo>
                  <a:cubicBezTo>
                    <a:pt x="22895" y="322039"/>
                    <a:pt x="0" y="377375"/>
                    <a:pt x="0" y="435077"/>
                  </a:cubicBezTo>
                  <a:lnTo>
                    <a:pt x="217539" y="435077"/>
                  </a:lnTo>
                  <a:lnTo>
                    <a:pt x="435077" y="435077"/>
                  </a:lnTo>
                  <a:cubicBezTo>
                    <a:pt x="435077" y="377375"/>
                    <a:pt x="412154" y="322039"/>
                    <a:pt x="371339" y="281250"/>
                  </a:cubicBezTo>
                  <a:cubicBezTo>
                    <a:pt x="330550" y="240462"/>
                    <a:pt x="275215" y="217539"/>
                    <a:pt x="217539" y="217539"/>
                  </a:cubicBezTo>
                  <a:cubicBezTo>
                    <a:pt x="159836" y="217539"/>
                    <a:pt x="104501" y="240462"/>
                    <a:pt x="63712" y="281250"/>
                  </a:cubicBezTo>
                  <a:close/>
                </a:path>
              </a:pathLst>
            </a:custGeom>
            <a:grpFill/>
            <a:ln w="27192" cap="flat">
              <a:noFill/>
              <a:prstDash val="solid"/>
              <a:miter/>
            </a:ln>
          </p:spPr>
          <p:txBody>
            <a:bodyPr rtlCol="0" anchor="ctr"/>
            <a:lstStyle/>
            <a:p>
              <a:endParaRPr lang="uk-UA" sz="900">
                <a:solidFill>
                  <a:schemeClr val="bg1"/>
                </a:solidFill>
              </a:endParaRPr>
            </a:p>
          </p:txBody>
        </p:sp>
        <p:sp>
          <p:nvSpPr>
            <p:cNvPr id="174" name="Freeform: Shape 173">
              <a:extLst>
                <a:ext uri="{FF2B5EF4-FFF2-40B4-BE49-F238E27FC236}">
                  <a16:creationId xmlns:a16="http://schemas.microsoft.com/office/drawing/2014/main" id="{0515F0B8-C10A-0B62-1253-672D1D9C8044}"/>
                </a:ext>
              </a:extLst>
            </p:cNvPr>
            <p:cNvSpPr/>
            <p:nvPr/>
          </p:nvSpPr>
          <p:spPr>
            <a:xfrm>
              <a:off x="19979365" y="2839064"/>
              <a:ext cx="435077" cy="435077"/>
            </a:xfrm>
            <a:custGeom>
              <a:avLst/>
              <a:gdLst>
                <a:gd name="connsiteX0" fmla="*/ 435077 w 435077"/>
                <a:gd name="connsiteY0" fmla="*/ 435077 h 435077"/>
                <a:gd name="connsiteX1" fmla="*/ 435077 w 435077"/>
                <a:gd name="connsiteY1" fmla="*/ 217539 h 435077"/>
                <a:gd name="connsiteX2" fmla="*/ 435077 w 435077"/>
                <a:gd name="connsiteY2" fmla="*/ 14 h 435077"/>
                <a:gd name="connsiteX3" fmla="*/ 217539 w 435077"/>
                <a:gd name="connsiteY3" fmla="*/ 14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14"/>
                  </a:lnTo>
                  <a:lnTo>
                    <a:pt x="217539" y="14"/>
                  </a:lnTo>
                  <a:lnTo>
                    <a:pt x="435077" y="217539"/>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75" name="Freeform: Shape 174">
              <a:extLst>
                <a:ext uri="{FF2B5EF4-FFF2-40B4-BE49-F238E27FC236}">
                  <a16:creationId xmlns:a16="http://schemas.microsoft.com/office/drawing/2014/main" id="{0C5F2EAE-95F1-05E6-5A63-C3FA88C112C8}"/>
                </a:ext>
              </a:extLst>
            </p:cNvPr>
            <p:cNvSpPr/>
            <p:nvPr/>
          </p:nvSpPr>
          <p:spPr>
            <a:xfrm>
              <a:off x="21719702" y="2839064"/>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3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3"/>
                  </a:lnTo>
                  <a:lnTo>
                    <a:pt x="217512"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76" name="Freeform: Shape 175">
              <a:extLst>
                <a:ext uri="{FF2B5EF4-FFF2-40B4-BE49-F238E27FC236}">
                  <a16:creationId xmlns:a16="http://schemas.microsoft.com/office/drawing/2014/main" id="{3967789B-1451-3D33-73DE-5581E74CF147}"/>
                </a:ext>
              </a:extLst>
            </p:cNvPr>
            <p:cNvSpPr/>
            <p:nvPr/>
          </p:nvSpPr>
          <p:spPr>
            <a:xfrm>
              <a:off x="20849520" y="2839064"/>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65 w 435077"/>
                <a:gd name="connsiteY4" fmla="*/ 435077 h 435077"/>
                <a:gd name="connsiteX5" fmla="*/ 217565 w 435077"/>
                <a:gd name="connsiteY5" fmla="*/ 0 h 435077"/>
                <a:gd name="connsiteX6" fmla="*/ 435077 w 435077"/>
                <a:gd name="connsiteY6" fmla="*/ 217539 h 435077"/>
                <a:gd name="connsiteX7" fmla="*/ 217565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65" y="435077"/>
                  </a:moveTo>
                  <a:lnTo>
                    <a:pt x="217565" y="0"/>
                  </a:lnTo>
                  <a:lnTo>
                    <a:pt x="435077" y="217539"/>
                  </a:lnTo>
                  <a:lnTo>
                    <a:pt x="217565"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77" name="Freeform: Shape 176">
              <a:extLst>
                <a:ext uri="{FF2B5EF4-FFF2-40B4-BE49-F238E27FC236}">
                  <a16:creationId xmlns:a16="http://schemas.microsoft.com/office/drawing/2014/main" id="{03D30EF6-81AA-9313-3108-C9AE0CBF2CEB}"/>
                </a:ext>
              </a:extLst>
            </p:cNvPr>
            <p:cNvSpPr/>
            <p:nvPr/>
          </p:nvSpPr>
          <p:spPr>
            <a:xfrm>
              <a:off x="22589856" y="283906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8"/>
                    <a:pt x="0" y="57694"/>
                    <a:pt x="0" y="0"/>
                  </a:cubicBezTo>
                  <a:lnTo>
                    <a:pt x="217539" y="0"/>
                  </a:lnTo>
                  <a:lnTo>
                    <a:pt x="435077" y="0"/>
                  </a:lnTo>
                  <a:cubicBezTo>
                    <a:pt x="435077" y="57694"/>
                    <a:pt x="412155" y="113038"/>
                    <a:pt x="371367" y="153827"/>
                  </a:cubicBezTo>
                  <a:cubicBezTo>
                    <a:pt x="330578" y="194616"/>
                    <a:pt x="275241" y="217539"/>
                    <a:pt x="217539" y="217539"/>
                  </a:cubicBezTo>
                  <a:cubicBezTo>
                    <a:pt x="159838" y="217539"/>
                    <a:pt x="104529" y="194616"/>
                    <a:pt x="63712" y="153827"/>
                  </a:cubicBezTo>
                  <a:close/>
                  <a:moveTo>
                    <a:pt x="63712" y="281250"/>
                  </a:moveTo>
                  <a:cubicBezTo>
                    <a:pt x="22924" y="322039"/>
                    <a:pt x="0" y="377375"/>
                    <a:pt x="0" y="435077"/>
                  </a:cubicBezTo>
                  <a:lnTo>
                    <a:pt x="217539" y="435077"/>
                  </a:lnTo>
                  <a:lnTo>
                    <a:pt x="435077" y="435077"/>
                  </a:lnTo>
                  <a:cubicBezTo>
                    <a:pt x="435077" y="377375"/>
                    <a:pt x="412155" y="322039"/>
                    <a:pt x="371367" y="281250"/>
                  </a:cubicBezTo>
                  <a:cubicBezTo>
                    <a:pt x="330578" y="240462"/>
                    <a:pt x="275241" y="217539"/>
                    <a:pt x="217539" y="217539"/>
                  </a:cubicBezTo>
                  <a:cubicBezTo>
                    <a:pt x="159838" y="217539"/>
                    <a:pt x="104529" y="240462"/>
                    <a:pt x="63712" y="281250"/>
                  </a:cubicBezTo>
                  <a:close/>
                </a:path>
              </a:pathLst>
            </a:custGeom>
            <a:grpFill/>
            <a:ln w="27192" cap="flat">
              <a:noFill/>
              <a:prstDash val="solid"/>
              <a:miter/>
            </a:ln>
          </p:spPr>
          <p:txBody>
            <a:bodyPr rtlCol="0" anchor="ctr"/>
            <a:lstStyle/>
            <a:p>
              <a:endParaRPr lang="uk-UA" sz="900">
                <a:solidFill>
                  <a:schemeClr val="bg1"/>
                </a:solidFill>
              </a:endParaRPr>
            </a:p>
          </p:txBody>
        </p:sp>
        <p:sp>
          <p:nvSpPr>
            <p:cNvPr id="178" name="Freeform: Shape 177">
              <a:extLst>
                <a:ext uri="{FF2B5EF4-FFF2-40B4-BE49-F238E27FC236}">
                  <a16:creationId xmlns:a16="http://schemas.microsoft.com/office/drawing/2014/main" id="{EC75C642-4195-F8A1-8C31-88A3852F707D}"/>
                </a:ext>
              </a:extLst>
            </p:cNvPr>
            <p:cNvSpPr/>
            <p:nvPr/>
          </p:nvSpPr>
          <p:spPr>
            <a:xfrm>
              <a:off x="23460011" y="2839064"/>
              <a:ext cx="435105" cy="435077"/>
            </a:xfrm>
            <a:custGeom>
              <a:avLst/>
              <a:gdLst>
                <a:gd name="connsiteX0" fmla="*/ 435106 w 435105"/>
                <a:gd name="connsiteY0" fmla="*/ 435077 h 435077"/>
                <a:gd name="connsiteX1" fmla="*/ 435106 w 435105"/>
                <a:gd name="connsiteY1" fmla="*/ 217539 h 435077"/>
                <a:gd name="connsiteX2" fmla="*/ 435106 w 435105"/>
                <a:gd name="connsiteY2" fmla="*/ 14 h 435077"/>
                <a:gd name="connsiteX3" fmla="*/ 217567 w 435105"/>
                <a:gd name="connsiteY3" fmla="*/ 14 h 435077"/>
                <a:gd name="connsiteX4" fmla="*/ 435106 w 435105"/>
                <a:gd name="connsiteY4" fmla="*/ 217539 h 435077"/>
                <a:gd name="connsiteX5" fmla="*/ 217567 w 435105"/>
                <a:gd name="connsiteY5" fmla="*/ 435077 h 435077"/>
                <a:gd name="connsiteX6" fmla="*/ 435106 w 435105"/>
                <a:gd name="connsiteY6" fmla="*/ 435077 h 435077"/>
                <a:gd name="connsiteX7" fmla="*/ 0 w 435105"/>
                <a:gd name="connsiteY7" fmla="*/ 217539 h 435077"/>
                <a:gd name="connsiteX8" fmla="*/ 0 w 435105"/>
                <a:gd name="connsiteY8" fmla="*/ 0 h 435077"/>
                <a:gd name="connsiteX9" fmla="*/ 217539 w 435105"/>
                <a:gd name="connsiteY9" fmla="*/ 217539 h 435077"/>
                <a:gd name="connsiteX10" fmla="*/ 0 w 435105"/>
                <a:gd name="connsiteY10" fmla="*/ 217539 h 435077"/>
                <a:gd name="connsiteX11" fmla="*/ 0 w 435105"/>
                <a:gd name="connsiteY11" fmla="*/ 435077 h 435077"/>
                <a:gd name="connsiteX12" fmla="*/ 0 w 435105"/>
                <a:gd name="connsiteY12" fmla="*/ 217539 h 435077"/>
                <a:gd name="connsiteX13" fmla="*/ 217539 w 435105"/>
                <a:gd name="connsiteY13" fmla="*/ 217539 h 435077"/>
                <a:gd name="connsiteX14" fmla="*/ 0 w 435105"/>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105" h="435077">
                  <a:moveTo>
                    <a:pt x="435106" y="435077"/>
                  </a:moveTo>
                  <a:lnTo>
                    <a:pt x="435106" y="217539"/>
                  </a:lnTo>
                  <a:lnTo>
                    <a:pt x="435106" y="14"/>
                  </a:lnTo>
                  <a:lnTo>
                    <a:pt x="217567" y="14"/>
                  </a:lnTo>
                  <a:lnTo>
                    <a:pt x="435106" y="217539"/>
                  </a:lnTo>
                  <a:lnTo>
                    <a:pt x="217567" y="435077"/>
                  </a:lnTo>
                  <a:lnTo>
                    <a:pt x="435106"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79" name="Freeform: Shape 178">
              <a:extLst>
                <a:ext uri="{FF2B5EF4-FFF2-40B4-BE49-F238E27FC236}">
                  <a16:creationId xmlns:a16="http://schemas.microsoft.com/office/drawing/2014/main" id="{EFFAC151-8DDE-ABC3-C3B5-3B074C3C4A56}"/>
                </a:ext>
              </a:extLst>
            </p:cNvPr>
            <p:cNvSpPr/>
            <p:nvPr/>
          </p:nvSpPr>
          <p:spPr>
            <a:xfrm>
              <a:off x="24330194" y="2839064"/>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80" name="Freeform: Shape 179">
              <a:extLst>
                <a:ext uri="{FF2B5EF4-FFF2-40B4-BE49-F238E27FC236}">
                  <a16:creationId xmlns:a16="http://schemas.microsoft.com/office/drawing/2014/main" id="{F55E5727-6E47-9DD1-0639-49AA2B1E7617}"/>
                </a:ext>
              </a:extLst>
            </p:cNvPr>
            <p:cNvSpPr/>
            <p:nvPr/>
          </p:nvSpPr>
          <p:spPr>
            <a:xfrm>
              <a:off x="835769" y="3709219"/>
              <a:ext cx="435077" cy="435077"/>
            </a:xfrm>
            <a:custGeom>
              <a:avLst/>
              <a:gdLst>
                <a:gd name="connsiteX0" fmla="*/ 0 w 435077"/>
                <a:gd name="connsiteY0" fmla="*/ 435077 h 435077"/>
                <a:gd name="connsiteX1" fmla="*/ 217511 w 435077"/>
                <a:gd name="connsiteY1" fmla="*/ 435077 h 435077"/>
                <a:gd name="connsiteX2" fmla="*/ 217511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11" y="435077"/>
                  </a:lnTo>
                  <a:lnTo>
                    <a:pt x="217511"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solidFill>
                  <a:schemeClr val="bg1"/>
                </a:solidFill>
              </a:endParaRPr>
            </a:p>
          </p:txBody>
        </p:sp>
        <p:sp>
          <p:nvSpPr>
            <p:cNvPr id="181" name="Freeform: Shape 180">
              <a:extLst>
                <a:ext uri="{FF2B5EF4-FFF2-40B4-BE49-F238E27FC236}">
                  <a16:creationId xmlns:a16="http://schemas.microsoft.com/office/drawing/2014/main" id="{DBEEE338-09D4-E75F-9F6C-A27773B07A4E}"/>
                </a:ext>
              </a:extLst>
            </p:cNvPr>
            <p:cNvSpPr/>
            <p:nvPr/>
          </p:nvSpPr>
          <p:spPr>
            <a:xfrm>
              <a:off x="-34398" y="3709219"/>
              <a:ext cx="435063" cy="435077"/>
            </a:xfrm>
            <a:custGeom>
              <a:avLst/>
              <a:gdLst>
                <a:gd name="connsiteX0" fmla="*/ 217525 w 435063"/>
                <a:gd name="connsiteY0" fmla="*/ 217539 h 435077"/>
                <a:gd name="connsiteX1" fmla="*/ 217525 w 435063"/>
                <a:gd name="connsiteY1" fmla="*/ 0 h 435077"/>
                <a:gd name="connsiteX2" fmla="*/ 0 w 435063"/>
                <a:gd name="connsiteY2" fmla="*/ 0 h 435077"/>
                <a:gd name="connsiteX3" fmla="*/ 217525 w 435063"/>
                <a:gd name="connsiteY3" fmla="*/ 217539 h 435077"/>
                <a:gd name="connsiteX4" fmla="*/ 0 w 435063"/>
                <a:gd name="connsiteY4" fmla="*/ 435077 h 435077"/>
                <a:gd name="connsiteX5" fmla="*/ 217525 w 435063"/>
                <a:gd name="connsiteY5" fmla="*/ 435077 h 435077"/>
                <a:gd name="connsiteX6" fmla="*/ 217525 w 435063"/>
                <a:gd name="connsiteY6" fmla="*/ 435077 h 435077"/>
                <a:gd name="connsiteX7" fmla="*/ 435064 w 435063"/>
                <a:gd name="connsiteY7" fmla="*/ 217539 h 435077"/>
                <a:gd name="connsiteX8" fmla="*/ 435064 w 435063"/>
                <a:gd name="connsiteY8" fmla="*/ 217539 h 435077"/>
                <a:gd name="connsiteX9" fmla="*/ 435064 w 435063"/>
                <a:gd name="connsiteY9" fmla="*/ 217539 h 435077"/>
                <a:gd name="connsiteX10" fmla="*/ 435064 w 435063"/>
                <a:gd name="connsiteY10" fmla="*/ 217539 h 435077"/>
                <a:gd name="connsiteX11" fmla="*/ 435064 w 435063"/>
                <a:gd name="connsiteY11" fmla="*/ 217539 h 435077"/>
                <a:gd name="connsiteX12" fmla="*/ 217525 w 435063"/>
                <a:gd name="connsiteY12" fmla="*/ 0 h 435077"/>
                <a:gd name="connsiteX13" fmla="*/ 217525 w 435063"/>
                <a:gd name="connsiteY13" fmla="*/ 217539 h 435077"/>
                <a:gd name="connsiteX14" fmla="*/ 217525 w 435063"/>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63" h="435077">
                  <a:moveTo>
                    <a:pt x="217525" y="217539"/>
                  </a:moveTo>
                  <a:lnTo>
                    <a:pt x="217525" y="0"/>
                  </a:lnTo>
                  <a:lnTo>
                    <a:pt x="0" y="0"/>
                  </a:lnTo>
                  <a:lnTo>
                    <a:pt x="217525" y="217539"/>
                  </a:lnTo>
                  <a:lnTo>
                    <a:pt x="0" y="435077"/>
                  </a:lnTo>
                  <a:lnTo>
                    <a:pt x="217525" y="435077"/>
                  </a:lnTo>
                  <a:lnTo>
                    <a:pt x="217525" y="435077"/>
                  </a:lnTo>
                  <a:lnTo>
                    <a:pt x="435064" y="217539"/>
                  </a:lnTo>
                  <a:lnTo>
                    <a:pt x="435064" y="217539"/>
                  </a:lnTo>
                  <a:lnTo>
                    <a:pt x="435064" y="217539"/>
                  </a:lnTo>
                  <a:lnTo>
                    <a:pt x="435064" y="217539"/>
                  </a:lnTo>
                  <a:lnTo>
                    <a:pt x="435064" y="217539"/>
                  </a:lnTo>
                  <a:lnTo>
                    <a:pt x="217525" y="0"/>
                  </a:lnTo>
                  <a:lnTo>
                    <a:pt x="217525" y="217539"/>
                  </a:lnTo>
                  <a:lnTo>
                    <a:pt x="217525"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182" name="Freeform: Shape 181">
              <a:extLst>
                <a:ext uri="{FF2B5EF4-FFF2-40B4-BE49-F238E27FC236}">
                  <a16:creationId xmlns:a16="http://schemas.microsoft.com/office/drawing/2014/main" id="{D27A6A0D-04BE-63D6-3768-42D929C2DD18}"/>
                </a:ext>
              </a:extLst>
            </p:cNvPr>
            <p:cNvSpPr/>
            <p:nvPr/>
          </p:nvSpPr>
          <p:spPr>
            <a:xfrm>
              <a:off x="1705924" y="3709219"/>
              <a:ext cx="435104" cy="435077"/>
            </a:xfrm>
            <a:custGeom>
              <a:avLst/>
              <a:gdLst>
                <a:gd name="connsiteX0" fmla="*/ 217539 w 435104"/>
                <a:gd name="connsiteY0" fmla="*/ 0 h 435077"/>
                <a:gd name="connsiteX1" fmla="*/ 0 w 435104"/>
                <a:gd name="connsiteY1" fmla="*/ 0 h 435077"/>
                <a:gd name="connsiteX2" fmla="*/ 0 w 435104"/>
                <a:gd name="connsiteY2" fmla="*/ 217539 h 435077"/>
                <a:gd name="connsiteX3" fmla="*/ 217539 w 435104"/>
                <a:gd name="connsiteY3" fmla="*/ 0 h 435077"/>
                <a:gd name="connsiteX4" fmla="*/ 435104 w 435104"/>
                <a:gd name="connsiteY4" fmla="*/ 0 h 435077"/>
                <a:gd name="connsiteX5" fmla="*/ 435104 w 435104"/>
                <a:gd name="connsiteY5" fmla="*/ 217539 h 435077"/>
                <a:gd name="connsiteX6" fmla="*/ 217566 w 435104"/>
                <a:gd name="connsiteY6" fmla="*/ 0 h 435077"/>
                <a:gd name="connsiteX7" fmla="*/ 435104 w 435104"/>
                <a:gd name="connsiteY7" fmla="*/ 0 h 435077"/>
                <a:gd name="connsiteX8" fmla="*/ 217566 w 435104"/>
                <a:gd name="connsiteY8" fmla="*/ 435077 h 435077"/>
                <a:gd name="connsiteX9" fmla="*/ 435104 w 435104"/>
                <a:gd name="connsiteY9" fmla="*/ 217539 h 435077"/>
                <a:gd name="connsiteX10" fmla="*/ 435104 w 435104"/>
                <a:gd name="connsiteY10" fmla="*/ 435077 h 435077"/>
                <a:gd name="connsiteX11" fmla="*/ 217566 w 435104"/>
                <a:gd name="connsiteY11" fmla="*/ 435077 h 435077"/>
                <a:gd name="connsiteX12" fmla="*/ 217566 w 435104"/>
                <a:gd name="connsiteY12" fmla="*/ 435077 h 435077"/>
                <a:gd name="connsiteX13" fmla="*/ 27 w 435104"/>
                <a:gd name="connsiteY13" fmla="*/ 217539 h 435077"/>
                <a:gd name="connsiteX14" fmla="*/ 27 w 435104"/>
                <a:gd name="connsiteY14" fmla="*/ 435077 h 435077"/>
                <a:gd name="connsiteX15" fmla="*/ 217566 w 435104"/>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4" h="435077">
                  <a:moveTo>
                    <a:pt x="217539" y="0"/>
                  </a:moveTo>
                  <a:lnTo>
                    <a:pt x="0" y="0"/>
                  </a:lnTo>
                  <a:lnTo>
                    <a:pt x="0" y="217539"/>
                  </a:lnTo>
                  <a:lnTo>
                    <a:pt x="217539" y="0"/>
                  </a:lnTo>
                  <a:close/>
                  <a:moveTo>
                    <a:pt x="435104" y="0"/>
                  </a:moveTo>
                  <a:lnTo>
                    <a:pt x="435104" y="217539"/>
                  </a:lnTo>
                  <a:lnTo>
                    <a:pt x="217566" y="0"/>
                  </a:lnTo>
                  <a:lnTo>
                    <a:pt x="435104" y="0"/>
                  </a:lnTo>
                  <a:close/>
                  <a:moveTo>
                    <a:pt x="217566" y="435077"/>
                  </a:moveTo>
                  <a:lnTo>
                    <a:pt x="435104" y="217539"/>
                  </a:lnTo>
                  <a:lnTo>
                    <a:pt x="435104" y="435077"/>
                  </a:lnTo>
                  <a:lnTo>
                    <a:pt x="217566" y="435077"/>
                  </a:lnTo>
                  <a:close/>
                  <a:moveTo>
                    <a:pt x="217566" y="435077"/>
                  </a:moveTo>
                  <a:lnTo>
                    <a:pt x="27" y="217539"/>
                  </a:lnTo>
                  <a:lnTo>
                    <a:pt x="27" y="435077"/>
                  </a:lnTo>
                  <a:lnTo>
                    <a:pt x="217566"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83" name="Freeform: Shape 182">
              <a:extLst>
                <a:ext uri="{FF2B5EF4-FFF2-40B4-BE49-F238E27FC236}">
                  <a16:creationId xmlns:a16="http://schemas.microsoft.com/office/drawing/2014/main" id="{7D002844-A43F-C85A-03F4-A51CAA722DF0}"/>
                </a:ext>
              </a:extLst>
            </p:cNvPr>
            <p:cNvSpPr/>
            <p:nvPr/>
          </p:nvSpPr>
          <p:spPr>
            <a:xfrm>
              <a:off x="2576106" y="3709219"/>
              <a:ext cx="435077" cy="435077"/>
            </a:xfrm>
            <a:custGeom>
              <a:avLst/>
              <a:gdLst>
                <a:gd name="connsiteX0" fmla="*/ 371366 w 435077"/>
                <a:gd name="connsiteY0" fmla="*/ 63712 h 435077"/>
                <a:gd name="connsiteX1" fmla="*/ 435077 w 435077"/>
                <a:gd name="connsiteY1" fmla="*/ 217539 h 435077"/>
                <a:gd name="connsiteX2" fmla="*/ 218925 w 435077"/>
                <a:gd name="connsiteY2" fmla="*/ 217539 h 435077"/>
                <a:gd name="connsiteX3" fmla="*/ 371366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25 w 435077"/>
                <a:gd name="connsiteY8" fmla="*/ 217539 h 435077"/>
                <a:gd name="connsiteX9" fmla="*/ 0 w 435077"/>
                <a:gd name="connsiteY9" fmla="*/ 217539 h 435077"/>
                <a:gd name="connsiteX10" fmla="*/ 63712 w 435077"/>
                <a:gd name="connsiteY10" fmla="*/ 63712 h 435077"/>
                <a:gd name="connsiteX11" fmla="*/ 217539 w 435077"/>
                <a:gd name="connsiteY11" fmla="*/ 0 h 435077"/>
                <a:gd name="connsiteX12" fmla="*/ 371366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2"/>
                  </a:moveTo>
                  <a:cubicBezTo>
                    <a:pt x="412154" y="104500"/>
                    <a:pt x="435077" y="159837"/>
                    <a:pt x="435077" y="217539"/>
                  </a:cubicBezTo>
                  <a:lnTo>
                    <a:pt x="218925" y="217539"/>
                  </a:lnTo>
                  <a:cubicBezTo>
                    <a:pt x="276138" y="217892"/>
                    <a:pt x="330904" y="240788"/>
                    <a:pt x="371366" y="281250"/>
                  </a:cubicBezTo>
                  <a:cubicBezTo>
                    <a:pt x="412154" y="322039"/>
                    <a:pt x="435077" y="377375"/>
                    <a:pt x="435077" y="435077"/>
                  </a:cubicBezTo>
                  <a:lnTo>
                    <a:pt x="217539" y="435077"/>
                  </a:lnTo>
                  <a:lnTo>
                    <a:pt x="0" y="435077"/>
                  </a:lnTo>
                  <a:cubicBezTo>
                    <a:pt x="0" y="377375"/>
                    <a:pt x="22923" y="322039"/>
                    <a:pt x="63712" y="281250"/>
                  </a:cubicBezTo>
                  <a:cubicBezTo>
                    <a:pt x="104174" y="240788"/>
                    <a:pt x="158939" y="217892"/>
                    <a:pt x="216125" y="217539"/>
                  </a:cubicBezTo>
                  <a:lnTo>
                    <a:pt x="0" y="217539"/>
                  </a:lnTo>
                  <a:cubicBezTo>
                    <a:pt x="0" y="159837"/>
                    <a:pt x="22923" y="104500"/>
                    <a:pt x="63712" y="63712"/>
                  </a:cubicBezTo>
                  <a:cubicBezTo>
                    <a:pt x="104500" y="22923"/>
                    <a:pt x="159837" y="0"/>
                    <a:pt x="217539" y="0"/>
                  </a:cubicBezTo>
                  <a:cubicBezTo>
                    <a:pt x="275214" y="0"/>
                    <a:pt x="330550" y="22923"/>
                    <a:pt x="371366" y="63712"/>
                  </a:cubicBezTo>
                  <a:close/>
                </a:path>
              </a:pathLst>
            </a:custGeom>
            <a:grpFill/>
            <a:ln w="27192" cap="flat">
              <a:noFill/>
              <a:prstDash val="solid"/>
              <a:miter/>
            </a:ln>
          </p:spPr>
          <p:txBody>
            <a:bodyPr rtlCol="0" anchor="ctr"/>
            <a:lstStyle/>
            <a:p>
              <a:endParaRPr lang="uk-UA" sz="900">
                <a:solidFill>
                  <a:schemeClr val="bg1"/>
                </a:solidFill>
              </a:endParaRPr>
            </a:p>
          </p:txBody>
        </p:sp>
        <p:sp>
          <p:nvSpPr>
            <p:cNvPr id="184" name="Freeform: Shape 183">
              <a:extLst>
                <a:ext uri="{FF2B5EF4-FFF2-40B4-BE49-F238E27FC236}">
                  <a16:creationId xmlns:a16="http://schemas.microsoft.com/office/drawing/2014/main" id="{FD927672-BCBC-7272-AAA8-85BA0BA263AA}"/>
                </a:ext>
              </a:extLst>
            </p:cNvPr>
            <p:cNvSpPr/>
            <p:nvPr/>
          </p:nvSpPr>
          <p:spPr>
            <a:xfrm>
              <a:off x="4316442" y="3709219"/>
              <a:ext cx="435050" cy="435077"/>
            </a:xfrm>
            <a:custGeom>
              <a:avLst/>
              <a:gdLst>
                <a:gd name="connsiteX0" fmla="*/ 0 w 435050"/>
                <a:gd name="connsiteY0" fmla="*/ 435077 h 435077"/>
                <a:gd name="connsiteX1" fmla="*/ 217512 w 435050"/>
                <a:gd name="connsiteY1" fmla="*/ 435077 h 435077"/>
                <a:gd name="connsiteX2" fmla="*/ 217512 w 435050"/>
                <a:gd name="connsiteY2" fmla="*/ 217539 h 435077"/>
                <a:gd name="connsiteX3" fmla="*/ 0 w 435050"/>
                <a:gd name="connsiteY3" fmla="*/ 435077 h 435077"/>
                <a:gd name="connsiteX4" fmla="*/ 217512 w 435050"/>
                <a:gd name="connsiteY4" fmla="*/ 0 h 435077"/>
                <a:gd name="connsiteX5" fmla="*/ 0 w 435050"/>
                <a:gd name="connsiteY5" fmla="*/ 0 h 435077"/>
                <a:gd name="connsiteX6" fmla="*/ 217512 w 435050"/>
                <a:gd name="connsiteY6" fmla="*/ 217539 h 435077"/>
                <a:gd name="connsiteX7" fmla="*/ 217512 w 435050"/>
                <a:gd name="connsiteY7" fmla="*/ 0 h 435077"/>
                <a:gd name="connsiteX8" fmla="*/ 435051 w 435050"/>
                <a:gd name="connsiteY8" fmla="*/ 435077 h 435077"/>
                <a:gd name="connsiteX9" fmla="*/ 217539 w 435050"/>
                <a:gd name="connsiteY9" fmla="*/ 435077 h 435077"/>
                <a:gd name="connsiteX10" fmla="*/ 435051 w 435050"/>
                <a:gd name="connsiteY10" fmla="*/ 217539 h 435077"/>
                <a:gd name="connsiteX11" fmla="*/ 435051 w 435050"/>
                <a:gd name="connsiteY11" fmla="*/ 435077 h 435077"/>
                <a:gd name="connsiteX12" fmla="*/ 435051 w 435050"/>
                <a:gd name="connsiteY12" fmla="*/ 0 h 435077"/>
                <a:gd name="connsiteX13" fmla="*/ 217539 w 435050"/>
                <a:gd name="connsiteY13" fmla="*/ 0 h 435077"/>
                <a:gd name="connsiteX14" fmla="*/ 435051 w 435050"/>
                <a:gd name="connsiteY14" fmla="*/ 217539 h 435077"/>
                <a:gd name="connsiteX15" fmla="*/ 435051 w 435050"/>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50" h="435077">
                  <a:moveTo>
                    <a:pt x="0" y="435077"/>
                  </a:moveTo>
                  <a:lnTo>
                    <a:pt x="217512" y="435077"/>
                  </a:lnTo>
                  <a:lnTo>
                    <a:pt x="217512" y="217539"/>
                  </a:lnTo>
                  <a:lnTo>
                    <a:pt x="0" y="435077"/>
                  </a:lnTo>
                  <a:close/>
                  <a:moveTo>
                    <a:pt x="217512" y="0"/>
                  </a:moveTo>
                  <a:lnTo>
                    <a:pt x="0" y="0"/>
                  </a:lnTo>
                  <a:lnTo>
                    <a:pt x="217512" y="217539"/>
                  </a:lnTo>
                  <a:lnTo>
                    <a:pt x="217512" y="0"/>
                  </a:lnTo>
                  <a:close/>
                  <a:moveTo>
                    <a:pt x="435051" y="435077"/>
                  </a:moveTo>
                  <a:lnTo>
                    <a:pt x="217539" y="435077"/>
                  </a:lnTo>
                  <a:lnTo>
                    <a:pt x="435051" y="217539"/>
                  </a:lnTo>
                  <a:lnTo>
                    <a:pt x="435051" y="435077"/>
                  </a:lnTo>
                  <a:close/>
                  <a:moveTo>
                    <a:pt x="435051" y="0"/>
                  </a:moveTo>
                  <a:lnTo>
                    <a:pt x="217539" y="0"/>
                  </a:lnTo>
                  <a:lnTo>
                    <a:pt x="435051" y="217539"/>
                  </a:lnTo>
                  <a:lnTo>
                    <a:pt x="435051" y="0"/>
                  </a:lnTo>
                  <a:close/>
                </a:path>
              </a:pathLst>
            </a:custGeom>
            <a:grpFill/>
            <a:ln w="27192" cap="flat">
              <a:noFill/>
              <a:prstDash val="solid"/>
              <a:miter/>
            </a:ln>
          </p:spPr>
          <p:txBody>
            <a:bodyPr rtlCol="0" anchor="ctr"/>
            <a:lstStyle/>
            <a:p>
              <a:endParaRPr lang="uk-UA" sz="900">
                <a:solidFill>
                  <a:schemeClr val="bg1"/>
                </a:solidFill>
              </a:endParaRPr>
            </a:p>
          </p:txBody>
        </p:sp>
        <p:sp>
          <p:nvSpPr>
            <p:cNvPr id="185" name="Freeform: Shape 184">
              <a:extLst>
                <a:ext uri="{FF2B5EF4-FFF2-40B4-BE49-F238E27FC236}">
                  <a16:creationId xmlns:a16="http://schemas.microsoft.com/office/drawing/2014/main" id="{DC2DA49E-69E0-215C-BF44-03348F4A41DA}"/>
                </a:ext>
              </a:extLst>
            </p:cNvPr>
            <p:cNvSpPr/>
            <p:nvPr/>
          </p:nvSpPr>
          <p:spPr>
            <a:xfrm>
              <a:off x="3446261" y="370921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186" name="Freeform: Shape 185">
              <a:extLst>
                <a:ext uri="{FF2B5EF4-FFF2-40B4-BE49-F238E27FC236}">
                  <a16:creationId xmlns:a16="http://schemas.microsoft.com/office/drawing/2014/main" id="{7CD3AADB-88EC-F176-0976-79F51AE16028}"/>
                </a:ext>
              </a:extLst>
            </p:cNvPr>
            <p:cNvSpPr/>
            <p:nvPr/>
          </p:nvSpPr>
          <p:spPr>
            <a:xfrm>
              <a:off x="5186597" y="3709219"/>
              <a:ext cx="435077" cy="435077"/>
            </a:xfrm>
            <a:custGeom>
              <a:avLst/>
              <a:gdLst>
                <a:gd name="connsiteX0" fmla="*/ 217539 w 435077"/>
                <a:gd name="connsiteY0" fmla="*/ 0 h 435077"/>
                <a:gd name="connsiteX1" fmla="*/ 217539 w 435077"/>
                <a:gd name="connsiteY1" fmla="*/ 0 h 435077"/>
                <a:gd name="connsiteX2" fmla="*/ 0 w 435077"/>
                <a:gd name="connsiteY2" fmla="*/ 0 h 435077"/>
                <a:gd name="connsiteX3" fmla="*/ 0 w 435077"/>
                <a:gd name="connsiteY3" fmla="*/ 217539 h 435077"/>
                <a:gd name="connsiteX4" fmla="*/ 217539 w 435077"/>
                <a:gd name="connsiteY4" fmla="*/ 0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217539" y="0"/>
                  </a:lnTo>
                  <a:lnTo>
                    <a:pt x="0" y="0"/>
                  </a:lnTo>
                  <a:lnTo>
                    <a:pt x="0" y="217539"/>
                  </a:lnTo>
                  <a:lnTo>
                    <a:pt x="217539" y="0"/>
                  </a:lnTo>
                  <a:lnTo>
                    <a:pt x="435077" y="217539"/>
                  </a:lnTo>
                  <a:lnTo>
                    <a:pt x="217539" y="435077"/>
                  </a:lnTo>
                  <a:lnTo>
                    <a:pt x="0" y="217539"/>
                  </a:lnTo>
                  <a:lnTo>
                    <a:pt x="0" y="435077"/>
                  </a:lnTo>
                  <a:lnTo>
                    <a:pt x="217539" y="435077"/>
                  </a:lnTo>
                  <a:lnTo>
                    <a:pt x="435077" y="435077"/>
                  </a:lnTo>
                  <a:lnTo>
                    <a:pt x="435077" y="217539"/>
                  </a:lnTo>
                  <a:lnTo>
                    <a:pt x="435077" y="0"/>
                  </a:lnTo>
                  <a:lnTo>
                    <a:pt x="217539" y="0"/>
                  </a:lnTo>
                  <a:close/>
                </a:path>
              </a:pathLst>
            </a:custGeom>
            <a:grpFill/>
            <a:ln w="27192" cap="flat">
              <a:noFill/>
              <a:prstDash val="solid"/>
              <a:miter/>
            </a:ln>
          </p:spPr>
          <p:txBody>
            <a:bodyPr rtlCol="0" anchor="ctr"/>
            <a:lstStyle/>
            <a:p>
              <a:endParaRPr lang="uk-UA" sz="900">
                <a:solidFill>
                  <a:schemeClr val="bg1"/>
                </a:solidFill>
              </a:endParaRPr>
            </a:p>
          </p:txBody>
        </p:sp>
        <p:sp>
          <p:nvSpPr>
            <p:cNvPr id="187" name="Freeform: Shape 186">
              <a:extLst>
                <a:ext uri="{FF2B5EF4-FFF2-40B4-BE49-F238E27FC236}">
                  <a16:creationId xmlns:a16="http://schemas.microsoft.com/office/drawing/2014/main" id="{16448A05-01CB-F6A1-C022-658F199C3E93}"/>
                </a:ext>
              </a:extLst>
            </p:cNvPr>
            <p:cNvSpPr/>
            <p:nvPr/>
          </p:nvSpPr>
          <p:spPr>
            <a:xfrm>
              <a:off x="6056752" y="3709219"/>
              <a:ext cx="435077" cy="435077"/>
            </a:xfrm>
            <a:custGeom>
              <a:avLst/>
              <a:gdLst>
                <a:gd name="connsiteX0" fmla="*/ 371366 w 435077"/>
                <a:gd name="connsiteY0" fmla="*/ 63712 h 435077"/>
                <a:gd name="connsiteX1" fmla="*/ 435077 w 435077"/>
                <a:gd name="connsiteY1" fmla="*/ 217539 h 435077"/>
                <a:gd name="connsiteX2" fmla="*/ 218953 w 435077"/>
                <a:gd name="connsiteY2" fmla="*/ 217539 h 435077"/>
                <a:gd name="connsiteX3" fmla="*/ 371366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25 w 435077"/>
                <a:gd name="connsiteY8" fmla="*/ 217539 h 435077"/>
                <a:gd name="connsiteX9" fmla="*/ 0 w 435077"/>
                <a:gd name="connsiteY9" fmla="*/ 217539 h 435077"/>
                <a:gd name="connsiteX10" fmla="*/ 63712 w 435077"/>
                <a:gd name="connsiteY10" fmla="*/ 63712 h 435077"/>
                <a:gd name="connsiteX11" fmla="*/ 217539 w 435077"/>
                <a:gd name="connsiteY11" fmla="*/ 0 h 435077"/>
                <a:gd name="connsiteX12" fmla="*/ 371366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2"/>
                  </a:moveTo>
                  <a:cubicBezTo>
                    <a:pt x="412155" y="104500"/>
                    <a:pt x="435077" y="159837"/>
                    <a:pt x="435077" y="217539"/>
                  </a:cubicBezTo>
                  <a:lnTo>
                    <a:pt x="218953" y="217539"/>
                  </a:lnTo>
                  <a:cubicBezTo>
                    <a:pt x="276138" y="217892"/>
                    <a:pt x="330904" y="240788"/>
                    <a:pt x="371366" y="281250"/>
                  </a:cubicBezTo>
                  <a:cubicBezTo>
                    <a:pt x="412155" y="322039"/>
                    <a:pt x="435077" y="377375"/>
                    <a:pt x="435077" y="435077"/>
                  </a:cubicBezTo>
                  <a:lnTo>
                    <a:pt x="217539" y="435077"/>
                  </a:lnTo>
                  <a:lnTo>
                    <a:pt x="0" y="435077"/>
                  </a:lnTo>
                  <a:cubicBezTo>
                    <a:pt x="0" y="377375"/>
                    <a:pt x="22924" y="322039"/>
                    <a:pt x="63712" y="281250"/>
                  </a:cubicBezTo>
                  <a:cubicBezTo>
                    <a:pt x="104175" y="240788"/>
                    <a:pt x="158939" y="217892"/>
                    <a:pt x="216125" y="217539"/>
                  </a:cubicBezTo>
                  <a:lnTo>
                    <a:pt x="0" y="217539"/>
                  </a:lnTo>
                  <a:cubicBezTo>
                    <a:pt x="0" y="159837"/>
                    <a:pt x="22924" y="104500"/>
                    <a:pt x="63712" y="63712"/>
                  </a:cubicBezTo>
                  <a:cubicBezTo>
                    <a:pt x="104501" y="22923"/>
                    <a:pt x="159837" y="0"/>
                    <a:pt x="217539" y="0"/>
                  </a:cubicBezTo>
                  <a:cubicBezTo>
                    <a:pt x="275241" y="0"/>
                    <a:pt x="330550" y="22923"/>
                    <a:pt x="371366" y="63712"/>
                  </a:cubicBezTo>
                  <a:close/>
                </a:path>
              </a:pathLst>
            </a:custGeom>
            <a:grpFill/>
            <a:ln w="27192" cap="flat">
              <a:noFill/>
              <a:prstDash val="solid"/>
              <a:miter/>
            </a:ln>
          </p:spPr>
          <p:txBody>
            <a:bodyPr rtlCol="0" anchor="ctr"/>
            <a:lstStyle/>
            <a:p>
              <a:endParaRPr lang="uk-UA" sz="900">
                <a:solidFill>
                  <a:schemeClr val="bg1"/>
                </a:solidFill>
              </a:endParaRPr>
            </a:p>
          </p:txBody>
        </p:sp>
        <p:sp>
          <p:nvSpPr>
            <p:cNvPr id="188" name="Freeform: Shape 187">
              <a:extLst>
                <a:ext uri="{FF2B5EF4-FFF2-40B4-BE49-F238E27FC236}">
                  <a16:creationId xmlns:a16="http://schemas.microsoft.com/office/drawing/2014/main" id="{9162F9A2-C89C-75D2-44AD-F62F12D16BAF}"/>
                </a:ext>
              </a:extLst>
            </p:cNvPr>
            <p:cNvSpPr/>
            <p:nvPr/>
          </p:nvSpPr>
          <p:spPr>
            <a:xfrm>
              <a:off x="7797089" y="3709219"/>
              <a:ext cx="435050" cy="435077"/>
            </a:xfrm>
            <a:custGeom>
              <a:avLst/>
              <a:gdLst>
                <a:gd name="connsiteX0" fmla="*/ 0 w 435050"/>
                <a:gd name="connsiteY0" fmla="*/ 435077 h 435077"/>
                <a:gd name="connsiteX1" fmla="*/ 217511 w 435050"/>
                <a:gd name="connsiteY1" fmla="*/ 435077 h 435077"/>
                <a:gd name="connsiteX2" fmla="*/ 217511 w 435050"/>
                <a:gd name="connsiteY2" fmla="*/ 217539 h 435077"/>
                <a:gd name="connsiteX3" fmla="*/ 0 w 435050"/>
                <a:gd name="connsiteY3" fmla="*/ 435077 h 435077"/>
                <a:gd name="connsiteX4" fmla="*/ 217511 w 435050"/>
                <a:gd name="connsiteY4" fmla="*/ 0 h 435077"/>
                <a:gd name="connsiteX5" fmla="*/ 0 w 435050"/>
                <a:gd name="connsiteY5" fmla="*/ 0 h 435077"/>
                <a:gd name="connsiteX6" fmla="*/ 217511 w 435050"/>
                <a:gd name="connsiteY6" fmla="*/ 217539 h 435077"/>
                <a:gd name="connsiteX7" fmla="*/ 217511 w 435050"/>
                <a:gd name="connsiteY7" fmla="*/ 0 h 435077"/>
                <a:gd name="connsiteX8" fmla="*/ 435050 w 435050"/>
                <a:gd name="connsiteY8" fmla="*/ 435077 h 435077"/>
                <a:gd name="connsiteX9" fmla="*/ 217539 w 435050"/>
                <a:gd name="connsiteY9" fmla="*/ 435077 h 435077"/>
                <a:gd name="connsiteX10" fmla="*/ 435050 w 435050"/>
                <a:gd name="connsiteY10" fmla="*/ 217539 h 435077"/>
                <a:gd name="connsiteX11" fmla="*/ 435050 w 435050"/>
                <a:gd name="connsiteY11" fmla="*/ 435077 h 435077"/>
                <a:gd name="connsiteX12" fmla="*/ 435050 w 435050"/>
                <a:gd name="connsiteY12" fmla="*/ 0 h 435077"/>
                <a:gd name="connsiteX13" fmla="*/ 217539 w 435050"/>
                <a:gd name="connsiteY13" fmla="*/ 0 h 435077"/>
                <a:gd name="connsiteX14" fmla="*/ 435050 w 435050"/>
                <a:gd name="connsiteY14" fmla="*/ 217539 h 435077"/>
                <a:gd name="connsiteX15" fmla="*/ 435050 w 435050"/>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50" h="435077">
                  <a:moveTo>
                    <a:pt x="0" y="435077"/>
                  </a:moveTo>
                  <a:lnTo>
                    <a:pt x="217511" y="435077"/>
                  </a:lnTo>
                  <a:lnTo>
                    <a:pt x="217511" y="217539"/>
                  </a:lnTo>
                  <a:lnTo>
                    <a:pt x="0" y="435077"/>
                  </a:lnTo>
                  <a:close/>
                  <a:moveTo>
                    <a:pt x="217511" y="0"/>
                  </a:moveTo>
                  <a:lnTo>
                    <a:pt x="0" y="0"/>
                  </a:lnTo>
                  <a:lnTo>
                    <a:pt x="217511" y="217539"/>
                  </a:lnTo>
                  <a:lnTo>
                    <a:pt x="217511" y="0"/>
                  </a:lnTo>
                  <a:close/>
                  <a:moveTo>
                    <a:pt x="435050" y="435077"/>
                  </a:moveTo>
                  <a:lnTo>
                    <a:pt x="217539" y="435077"/>
                  </a:lnTo>
                  <a:lnTo>
                    <a:pt x="435050" y="217539"/>
                  </a:lnTo>
                  <a:lnTo>
                    <a:pt x="435050" y="435077"/>
                  </a:lnTo>
                  <a:close/>
                  <a:moveTo>
                    <a:pt x="435050" y="0"/>
                  </a:moveTo>
                  <a:lnTo>
                    <a:pt x="217539" y="0"/>
                  </a:lnTo>
                  <a:lnTo>
                    <a:pt x="435050" y="217539"/>
                  </a:lnTo>
                  <a:lnTo>
                    <a:pt x="435050" y="0"/>
                  </a:lnTo>
                  <a:close/>
                </a:path>
              </a:pathLst>
            </a:custGeom>
            <a:grpFill/>
            <a:ln w="27192" cap="flat">
              <a:noFill/>
              <a:prstDash val="solid"/>
              <a:miter/>
            </a:ln>
          </p:spPr>
          <p:txBody>
            <a:bodyPr rtlCol="0" anchor="ctr"/>
            <a:lstStyle/>
            <a:p>
              <a:endParaRPr lang="uk-UA" sz="900">
                <a:solidFill>
                  <a:schemeClr val="bg1"/>
                </a:solidFill>
              </a:endParaRPr>
            </a:p>
          </p:txBody>
        </p:sp>
        <p:sp>
          <p:nvSpPr>
            <p:cNvPr id="189" name="Freeform: Shape 188">
              <a:extLst>
                <a:ext uri="{FF2B5EF4-FFF2-40B4-BE49-F238E27FC236}">
                  <a16:creationId xmlns:a16="http://schemas.microsoft.com/office/drawing/2014/main" id="{A291F988-D45C-6688-598B-92E345842961}"/>
                </a:ext>
              </a:extLst>
            </p:cNvPr>
            <p:cNvSpPr/>
            <p:nvPr/>
          </p:nvSpPr>
          <p:spPr>
            <a:xfrm>
              <a:off x="6926907" y="3709219"/>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0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39 h 435077"/>
                <a:gd name="connsiteX9" fmla="*/ 435077 w 435077"/>
                <a:gd name="connsiteY9" fmla="*/ 217539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0"/>
                  </a:lnTo>
                  <a:lnTo>
                    <a:pt x="435077" y="217539"/>
                  </a:lnTo>
                  <a:lnTo>
                    <a:pt x="435077" y="217539"/>
                  </a:lnTo>
                  <a:lnTo>
                    <a:pt x="435077" y="217539"/>
                  </a:lnTo>
                  <a:lnTo>
                    <a:pt x="435077" y="217539"/>
                  </a:lnTo>
                  <a:lnTo>
                    <a:pt x="435077" y="217539"/>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190" name="Freeform: Shape 189">
              <a:extLst>
                <a:ext uri="{FF2B5EF4-FFF2-40B4-BE49-F238E27FC236}">
                  <a16:creationId xmlns:a16="http://schemas.microsoft.com/office/drawing/2014/main" id="{04C0D648-4258-E70D-1F1A-5AE9284BEB55}"/>
                </a:ext>
              </a:extLst>
            </p:cNvPr>
            <p:cNvSpPr/>
            <p:nvPr/>
          </p:nvSpPr>
          <p:spPr>
            <a:xfrm>
              <a:off x="8667217" y="370921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solidFill>
                  <a:schemeClr val="bg1"/>
                </a:solidFill>
              </a:endParaRPr>
            </a:p>
          </p:txBody>
        </p:sp>
        <p:sp>
          <p:nvSpPr>
            <p:cNvPr id="191" name="Freeform: Shape 190">
              <a:extLst>
                <a:ext uri="{FF2B5EF4-FFF2-40B4-BE49-F238E27FC236}">
                  <a16:creationId xmlns:a16="http://schemas.microsoft.com/office/drawing/2014/main" id="{2FD9AF72-D9DE-258C-57DC-C6B6886F5A51}"/>
                </a:ext>
              </a:extLst>
            </p:cNvPr>
            <p:cNvSpPr/>
            <p:nvPr/>
          </p:nvSpPr>
          <p:spPr>
            <a:xfrm>
              <a:off x="9537399" y="3709219"/>
              <a:ext cx="435077" cy="435077"/>
            </a:xfrm>
            <a:custGeom>
              <a:avLst/>
              <a:gdLst>
                <a:gd name="connsiteX0" fmla="*/ 371366 w 435077"/>
                <a:gd name="connsiteY0" fmla="*/ 63712 h 435077"/>
                <a:gd name="connsiteX1" fmla="*/ 435077 w 435077"/>
                <a:gd name="connsiteY1" fmla="*/ 217539 h 435077"/>
                <a:gd name="connsiteX2" fmla="*/ 218925 w 435077"/>
                <a:gd name="connsiteY2" fmla="*/ 217539 h 435077"/>
                <a:gd name="connsiteX3" fmla="*/ 371366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1 w 435077"/>
                <a:gd name="connsiteY7" fmla="*/ 281250 h 435077"/>
                <a:gd name="connsiteX8" fmla="*/ 216125 w 435077"/>
                <a:gd name="connsiteY8" fmla="*/ 217539 h 435077"/>
                <a:gd name="connsiteX9" fmla="*/ 0 w 435077"/>
                <a:gd name="connsiteY9" fmla="*/ 217539 h 435077"/>
                <a:gd name="connsiteX10" fmla="*/ 63711 w 435077"/>
                <a:gd name="connsiteY10" fmla="*/ 63712 h 435077"/>
                <a:gd name="connsiteX11" fmla="*/ 217539 w 435077"/>
                <a:gd name="connsiteY11" fmla="*/ 0 h 435077"/>
                <a:gd name="connsiteX12" fmla="*/ 371366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2"/>
                  </a:moveTo>
                  <a:cubicBezTo>
                    <a:pt x="412155" y="104500"/>
                    <a:pt x="435077" y="159837"/>
                    <a:pt x="435077" y="217539"/>
                  </a:cubicBezTo>
                  <a:lnTo>
                    <a:pt x="218925" y="217539"/>
                  </a:lnTo>
                  <a:cubicBezTo>
                    <a:pt x="276111" y="217892"/>
                    <a:pt x="330904" y="240788"/>
                    <a:pt x="371366" y="281250"/>
                  </a:cubicBezTo>
                  <a:cubicBezTo>
                    <a:pt x="412155" y="322039"/>
                    <a:pt x="435077" y="377375"/>
                    <a:pt x="435077" y="435077"/>
                  </a:cubicBezTo>
                  <a:lnTo>
                    <a:pt x="217539" y="435077"/>
                  </a:lnTo>
                  <a:lnTo>
                    <a:pt x="0" y="435077"/>
                  </a:lnTo>
                  <a:cubicBezTo>
                    <a:pt x="0" y="377375"/>
                    <a:pt x="22923" y="322039"/>
                    <a:pt x="63711" y="281250"/>
                  </a:cubicBezTo>
                  <a:cubicBezTo>
                    <a:pt x="104174" y="240788"/>
                    <a:pt x="158939" y="217892"/>
                    <a:pt x="216125" y="217539"/>
                  </a:cubicBezTo>
                  <a:lnTo>
                    <a:pt x="0" y="217539"/>
                  </a:lnTo>
                  <a:cubicBezTo>
                    <a:pt x="0" y="159837"/>
                    <a:pt x="22923" y="104500"/>
                    <a:pt x="63711" y="63712"/>
                  </a:cubicBezTo>
                  <a:cubicBezTo>
                    <a:pt x="104500" y="22923"/>
                    <a:pt x="159836" y="0"/>
                    <a:pt x="217539" y="0"/>
                  </a:cubicBezTo>
                  <a:cubicBezTo>
                    <a:pt x="275214" y="0"/>
                    <a:pt x="330550" y="22923"/>
                    <a:pt x="371366" y="63712"/>
                  </a:cubicBezTo>
                  <a:close/>
                </a:path>
              </a:pathLst>
            </a:custGeom>
            <a:grpFill/>
            <a:ln w="27192" cap="flat">
              <a:noFill/>
              <a:prstDash val="solid"/>
              <a:miter/>
            </a:ln>
          </p:spPr>
          <p:txBody>
            <a:bodyPr rtlCol="0" anchor="ctr"/>
            <a:lstStyle/>
            <a:p>
              <a:endParaRPr lang="uk-UA" sz="900">
                <a:solidFill>
                  <a:schemeClr val="bg1"/>
                </a:solidFill>
              </a:endParaRPr>
            </a:p>
          </p:txBody>
        </p:sp>
        <p:sp>
          <p:nvSpPr>
            <p:cNvPr id="192" name="Freeform: Shape 191">
              <a:extLst>
                <a:ext uri="{FF2B5EF4-FFF2-40B4-BE49-F238E27FC236}">
                  <a16:creationId xmlns:a16="http://schemas.microsoft.com/office/drawing/2014/main" id="{EB5DBEB7-8E6B-845C-800D-7826E15FC06A}"/>
                </a:ext>
              </a:extLst>
            </p:cNvPr>
            <p:cNvSpPr/>
            <p:nvPr/>
          </p:nvSpPr>
          <p:spPr>
            <a:xfrm>
              <a:off x="11277709" y="3709219"/>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solidFill>
                  <a:schemeClr val="bg1"/>
                </a:solidFill>
              </a:endParaRPr>
            </a:p>
          </p:txBody>
        </p:sp>
        <p:sp>
          <p:nvSpPr>
            <p:cNvPr id="193" name="Freeform: Shape 192">
              <a:extLst>
                <a:ext uri="{FF2B5EF4-FFF2-40B4-BE49-F238E27FC236}">
                  <a16:creationId xmlns:a16="http://schemas.microsoft.com/office/drawing/2014/main" id="{D62A22AB-7FBE-757F-EC7F-A95E7D09F440}"/>
                </a:ext>
              </a:extLst>
            </p:cNvPr>
            <p:cNvSpPr/>
            <p:nvPr/>
          </p:nvSpPr>
          <p:spPr>
            <a:xfrm>
              <a:off x="10407554" y="3709219"/>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0 h 435077"/>
                <a:gd name="connsiteX5" fmla="*/ 435050 w 435077"/>
                <a:gd name="connsiteY5" fmla="*/ 217539 h 435077"/>
                <a:gd name="connsiteX6" fmla="*/ 435077 w 435077"/>
                <a:gd name="connsiteY6" fmla="*/ 217539 h 435077"/>
                <a:gd name="connsiteX7" fmla="*/ 435050 w 435077"/>
                <a:gd name="connsiteY7" fmla="*/ 217539 h 435077"/>
                <a:gd name="connsiteX8" fmla="*/ 435077 w 435077"/>
                <a:gd name="connsiteY8" fmla="*/ 217539 h 435077"/>
                <a:gd name="connsiteX9" fmla="*/ 435050 w 435077"/>
                <a:gd name="connsiteY9" fmla="*/ 217539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0"/>
                  </a:lnTo>
                  <a:lnTo>
                    <a:pt x="435050" y="217539"/>
                  </a:lnTo>
                  <a:lnTo>
                    <a:pt x="435077" y="217539"/>
                  </a:lnTo>
                  <a:lnTo>
                    <a:pt x="435050" y="217539"/>
                  </a:lnTo>
                  <a:lnTo>
                    <a:pt x="435077" y="217539"/>
                  </a:lnTo>
                  <a:lnTo>
                    <a:pt x="435050" y="217539"/>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194" name="Freeform: Shape 193">
              <a:extLst>
                <a:ext uri="{FF2B5EF4-FFF2-40B4-BE49-F238E27FC236}">
                  <a16:creationId xmlns:a16="http://schemas.microsoft.com/office/drawing/2014/main" id="{8909CBE7-02A9-9E35-81F1-1D2A51403800}"/>
                </a:ext>
              </a:extLst>
            </p:cNvPr>
            <p:cNvSpPr/>
            <p:nvPr/>
          </p:nvSpPr>
          <p:spPr>
            <a:xfrm>
              <a:off x="12147864" y="3709219"/>
              <a:ext cx="435103" cy="435077"/>
            </a:xfrm>
            <a:custGeom>
              <a:avLst/>
              <a:gdLst>
                <a:gd name="connsiteX0" fmla="*/ 217539 w 435103"/>
                <a:gd name="connsiteY0" fmla="*/ 0 h 435077"/>
                <a:gd name="connsiteX1" fmla="*/ 0 w 435103"/>
                <a:gd name="connsiteY1" fmla="*/ 0 h 435077"/>
                <a:gd name="connsiteX2" fmla="*/ 0 w 435103"/>
                <a:gd name="connsiteY2" fmla="*/ 217539 h 435077"/>
                <a:gd name="connsiteX3" fmla="*/ 217539 w 435103"/>
                <a:gd name="connsiteY3" fmla="*/ 0 h 435077"/>
                <a:gd name="connsiteX4" fmla="*/ 435104 w 435103"/>
                <a:gd name="connsiteY4" fmla="*/ 0 h 435077"/>
                <a:gd name="connsiteX5" fmla="*/ 435104 w 435103"/>
                <a:gd name="connsiteY5" fmla="*/ 217539 h 435077"/>
                <a:gd name="connsiteX6" fmla="*/ 217565 w 435103"/>
                <a:gd name="connsiteY6" fmla="*/ 0 h 435077"/>
                <a:gd name="connsiteX7" fmla="*/ 435104 w 435103"/>
                <a:gd name="connsiteY7" fmla="*/ 0 h 435077"/>
                <a:gd name="connsiteX8" fmla="*/ 217565 w 435103"/>
                <a:gd name="connsiteY8" fmla="*/ 435077 h 435077"/>
                <a:gd name="connsiteX9" fmla="*/ 435104 w 435103"/>
                <a:gd name="connsiteY9" fmla="*/ 217539 h 435077"/>
                <a:gd name="connsiteX10" fmla="*/ 435104 w 435103"/>
                <a:gd name="connsiteY10" fmla="*/ 435077 h 435077"/>
                <a:gd name="connsiteX11" fmla="*/ 217565 w 435103"/>
                <a:gd name="connsiteY11" fmla="*/ 435077 h 435077"/>
                <a:gd name="connsiteX12" fmla="*/ 217565 w 435103"/>
                <a:gd name="connsiteY12" fmla="*/ 435077 h 435077"/>
                <a:gd name="connsiteX13" fmla="*/ 27 w 435103"/>
                <a:gd name="connsiteY13" fmla="*/ 217539 h 435077"/>
                <a:gd name="connsiteX14" fmla="*/ 27 w 435103"/>
                <a:gd name="connsiteY14" fmla="*/ 435077 h 435077"/>
                <a:gd name="connsiteX15" fmla="*/ 217565 w 435103"/>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3" h="435077">
                  <a:moveTo>
                    <a:pt x="217539" y="0"/>
                  </a:moveTo>
                  <a:lnTo>
                    <a:pt x="0" y="0"/>
                  </a:lnTo>
                  <a:lnTo>
                    <a:pt x="0" y="217539"/>
                  </a:lnTo>
                  <a:lnTo>
                    <a:pt x="217539" y="0"/>
                  </a:lnTo>
                  <a:close/>
                  <a:moveTo>
                    <a:pt x="435104" y="0"/>
                  </a:moveTo>
                  <a:lnTo>
                    <a:pt x="435104" y="217539"/>
                  </a:lnTo>
                  <a:lnTo>
                    <a:pt x="217565" y="0"/>
                  </a:lnTo>
                  <a:lnTo>
                    <a:pt x="435104" y="0"/>
                  </a:lnTo>
                  <a:close/>
                  <a:moveTo>
                    <a:pt x="217565" y="435077"/>
                  </a:moveTo>
                  <a:lnTo>
                    <a:pt x="435104" y="217539"/>
                  </a:lnTo>
                  <a:lnTo>
                    <a:pt x="435104" y="435077"/>
                  </a:lnTo>
                  <a:lnTo>
                    <a:pt x="217565" y="435077"/>
                  </a:lnTo>
                  <a:close/>
                  <a:moveTo>
                    <a:pt x="217565" y="435077"/>
                  </a:moveTo>
                  <a:lnTo>
                    <a:pt x="27" y="217539"/>
                  </a:lnTo>
                  <a:lnTo>
                    <a:pt x="27" y="435077"/>
                  </a:lnTo>
                  <a:lnTo>
                    <a:pt x="217565"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195" name="Freeform: Shape 194">
              <a:extLst>
                <a:ext uri="{FF2B5EF4-FFF2-40B4-BE49-F238E27FC236}">
                  <a16:creationId xmlns:a16="http://schemas.microsoft.com/office/drawing/2014/main" id="{7442BA50-A3C5-9BF3-3A5D-2BE7796009D6}"/>
                </a:ext>
              </a:extLst>
            </p:cNvPr>
            <p:cNvSpPr/>
            <p:nvPr/>
          </p:nvSpPr>
          <p:spPr>
            <a:xfrm>
              <a:off x="13018045" y="3709219"/>
              <a:ext cx="435077" cy="435077"/>
            </a:xfrm>
            <a:custGeom>
              <a:avLst/>
              <a:gdLst>
                <a:gd name="connsiteX0" fmla="*/ 371365 w 435077"/>
                <a:gd name="connsiteY0" fmla="*/ 63712 h 435077"/>
                <a:gd name="connsiteX1" fmla="*/ 435077 w 435077"/>
                <a:gd name="connsiteY1" fmla="*/ 217539 h 435077"/>
                <a:gd name="connsiteX2" fmla="*/ 218953 w 435077"/>
                <a:gd name="connsiteY2" fmla="*/ 217539 h 435077"/>
                <a:gd name="connsiteX3" fmla="*/ 371365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51 w 435077"/>
                <a:gd name="connsiteY8" fmla="*/ 217539 h 435077"/>
                <a:gd name="connsiteX9" fmla="*/ 0 w 435077"/>
                <a:gd name="connsiteY9" fmla="*/ 217539 h 435077"/>
                <a:gd name="connsiteX10" fmla="*/ 63712 w 435077"/>
                <a:gd name="connsiteY10" fmla="*/ 63712 h 435077"/>
                <a:gd name="connsiteX11" fmla="*/ 217539 w 435077"/>
                <a:gd name="connsiteY11" fmla="*/ 0 h 435077"/>
                <a:gd name="connsiteX12" fmla="*/ 371365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12"/>
                  </a:moveTo>
                  <a:cubicBezTo>
                    <a:pt x="412154" y="104500"/>
                    <a:pt x="435077" y="159837"/>
                    <a:pt x="435077" y="217539"/>
                  </a:cubicBezTo>
                  <a:lnTo>
                    <a:pt x="218953" y="217539"/>
                  </a:lnTo>
                  <a:cubicBezTo>
                    <a:pt x="276137" y="217892"/>
                    <a:pt x="330904" y="240788"/>
                    <a:pt x="371365" y="281250"/>
                  </a:cubicBezTo>
                  <a:cubicBezTo>
                    <a:pt x="412154" y="322039"/>
                    <a:pt x="435077" y="377375"/>
                    <a:pt x="435077" y="435077"/>
                  </a:cubicBezTo>
                  <a:lnTo>
                    <a:pt x="217539" y="435077"/>
                  </a:lnTo>
                  <a:lnTo>
                    <a:pt x="0" y="435077"/>
                  </a:lnTo>
                  <a:cubicBezTo>
                    <a:pt x="0" y="377375"/>
                    <a:pt x="22924" y="322039"/>
                    <a:pt x="63712" y="281250"/>
                  </a:cubicBezTo>
                  <a:cubicBezTo>
                    <a:pt x="104174" y="240788"/>
                    <a:pt x="158938" y="217892"/>
                    <a:pt x="216151" y="217539"/>
                  </a:cubicBezTo>
                  <a:lnTo>
                    <a:pt x="0" y="217539"/>
                  </a:lnTo>
                  <a:cubicBezTo>
                    <a:pt x="0" y="159837"/>
                    <a:pt x="22924" y="104500"/>
                    <a:pt x="63712" y="63712"/>
                  </a:cubicBezTo>
                  <a:cubicBezTo>
                    <a:pt x="104501" y="22923"/>
                    <a:pt x="159836" y="0"/>
                    <a:pt x="217539" y="0"/>
                  </a:cubicBezTo>
                  <a:cubicBezTo>
                    <a:pt x="275241" y="0"/>
                    <a:pt x="330550" y="22923"/>
                    <a:pt x="371365" y="63712"/>
                  </a:cubicBezTo>
                  <a:close/>
                </a:path>
              </a:pathLst>
            </a:custGeom>
            <a:grpFill/>
            <a:ln w="27192" cap="flat">
              <a:noFill/>
              <a:prstDash val="solid"/>
              <a:miter/>
            </a:ln>
          </p:spPr>
          <p:txBody>
            <a:bodyPr rtlCol="0" anchor="ctr"/>
            <a:lstStyle/>
            <a:p>
              <a:endParaRPr lang="uk-UA" sz="900">
                <a:solidFill>
                  <a:schemeClr val="bg1"/>
                </a:solidFill>
              </a:endParaRPr>
            </a:p>
          </p:txBody>
        </p:sp>
        <p:sp>
          <p:nvSpPr>
            <p:cNvPr id="196" name="Freeform: Shape 195">
              <a:extLst>
                <a:ext uri="{FF2B5EF4-FFF2-40B4-BE49-F238E27FC236}">
                  <a16:creationId xmlns:a16="http://schemas.microsoft.com/office/drawing/2014/main" id="{1FD1942C-99EB-CD14-A78E-14526F5235CD}"/>
                </a:ext>
              </a:extLst>
            </p:cNvPr>
            <p:cNvSpPr/>
            <p:nvPr/>
          </p:nvSpPr>
          <p:spPr>
            <a:xfrm>
              <a:off x="14758382" y="3709219"/>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solidFill>
                  <a:schemeClr val="bg1"/>
                </a:solidFill>
              </a:endParaRPr>
            </a:p>
          </p:txBody>
        </p:sp>
        <p:sp>
          <p:nvSpPr>
            <p:cNvPr id="197" name="Freeform: Shape 196">
              <a:extLst>
                <a:ext uri="{FF2B5EF4-FFF2-40B4-BE49-F238E27FC236}">
                  <a16:creationId xmlns:a16="http://schemas.microsoft.com/office/drawing/2014/main" id="{263BFCD2-23C7-9BF9-D9A3-147EB25EE7A5}"/>
                </a:ext>
              </a:extLst>
            </p:cNvPr>
            <p:cNvSpPr/>
            <p:nvPr/>
          </p:nvSpPr>
          <p:spPr>
            <a:xfrm>
              <a:off x="13888174" y="3709192"/>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198" name="Freeform: Shape 197">
              <a:extLst>
                <a:ext uri="{FF2B5EF4-FFF2-40B4-BE49-F238E27FC236}">
                  <a16:creationId xmlns:a16="http://schemas.microsoft.com/office/drawing/2014/main" id="{AD25AE0F-F9CD-1698-58F9-080CD945130E}"/>
                </a:ext>
              </a:extLst>
            </p:cNvPr>
            <p:cNvSpPr/>
            <p:nvPr/>
          </p:nvSpPr>
          <p:spPr>
            <a:xfrm>
              <a:off x="15628536" y="3709219"/>
              <a:ext cx="435077" cy="435077"/>
            </a:xfrm>
            <a:custGeom>
              <a:avLst/>
              <a:gdLst>
                <a:gd name="connsiteX0" fmla="*/ 217567 w 435077"/>
                <a:gd name="connsiteY0" fmla="*/ 0 h 435077"/>
                <a:gd name="connsiteX1" fmla="*/ 217539 w 435077"/>
                <a:gd name="connsiteY1" fmla="*/ 0 h 435077"/>
                <a:gd name="connsiteX2" fmla="*/ 28 w 435077"/>
                <a:gd name="connsiteY2" fmla="*/ 0 h 435077"/>
                <a:gd name="connsiteX3" fmla="*/ 28 w 435077"/>
                <a:gd name="connsiteY3" fmla="*/ 217539 h 435077"/>
                <a:gd name="connsiteX4" fmla="*/ 217567 w 435077"/>
                <a:gd name="connsiteY4" fmla="*/ 0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67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67" y="0"/>
                  </a:moveTo>
                  <a:lnTo>
                    <a:pt x="217539" y="0"/>
                  </a:lnTo>
                  <a:lnTo>
                    <a:pt x="28" y="0"/>
                  </a:lnTo>
                  <a:lnTo>
                    <a:pt x="28" y="217539"/>
                  </a:lnTo>
                  <a:lnTo>
                    <a:pt x="217567" y="0"/>
                  </a:lnTo>
                  <a:lnTo>
                    <a:pt x="435077" y="217539"/>
                  </a:lnTo>
                  <a:lnTo>
                    <a:pt x="217539" y="435077"/>
                  </a:lnTo>
                  <a:lnTo>
                    <a:pt x="0" y="217539"/>
                  </a:lnTo>
                  <a:lnTo>
                    <a:pt x="0" y="435077"/>
                  </a:lnTo>
                  <a:lnTo>
                    <a:pt x="217539" y="435077"/>
                  </a:lnTo>
                  <a:lnTo>
                    <a:pt x="435077" y="435077"/>
                  </a:lnTo>
                  <a:lnTo>
                    <a:pt x="435077" y="217539"/>
                  </a:lnTo>
                  <a:lnTo>
                    <a:pt x="435077" y="0"/>
                  </a:lnTo>
                  <a:lnTo>
                    <a:pt x="217567" y="0"/>
                  </a:lnTo>
                  <a:close/>
                </a:path>
              </a:pathLst>
            </a:custGeom>
            <a:grpFill/>
            <a:ln w="27192" cap="flat">
              <a:noFill/>
              <a:prstDash val="solid"/>
              <a:miter/>
            </a:ln>
          </p:spPr>
          <p:txBody>
            <a:bodyPr rtlCol="0" anchor="ctr"/>
            <a:lstStyle/>
            <a:p>
              <a:endParaRPr lang="uk-UA" sz="900">
                <a:solidFill>
                  <a:schemeClr val="bg1"/>
                </a:solidFill>
              </a:endParaRPr>
            </a:p>
          </p:txBody>
        </p:sp>
        <p:sp>
          <p:nvSpPr>
            <p:cNvPr id="199" name="Freeform: Shape 198">
              <a:extLst>
                <a:ext uri="{FF2B5EF4-FFF2-40B4-BE49-F238E27FC236}">
                  <a16:creationId xmlns:a16="http://schemas.microsoft.com/office/drawing/2014/main" id="{098FEF7E-B200-EFE0-A99D-685104ABDC34}"/>
                </a:ext>
              </a:extLst>
            </p:cNvPr>
            <p:cNvSpPr/>
            <p:nvPr/>
          </p:nvSpPr>
          <p:spPr>
            <a:xfrm>
              <a:off x="16498719" y="3709219"/>
              <a:ext cx="435077" cy="435077"/>
            </a:xfrm>
            <a:custGeom>
              <a:avLst/>
              <a:gdLst>
                <a:gd name="connsiteX0" fmla="*/ 371339 w 435077"/>
                <a:gd name="connsiteY0" fmla="*/ 63712 h 435077"/>
                <a:gd name="connsiteX1" fmla="*/ 435077 w 435077"/>
                <a:gd name="connsiteY1" fmla="*/ 217539 h 435077"/>
                <a:gd name="connsiteX2" fmla="*/ 218925 w 435077"/>
                <a:gd name="connsiteY2" fmla="*/ 217539 h 435077"/>
                <a:gd name="connsiteX3" fmla="*/ 371365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0 w 435077"/>
                <a:gd name="connsiteY7" fmla="*/ 281250 h 435077"/>
                <a:gd name="connsiteX8" fmla="*/ 216125 w 435077"/>
                <a:gd name="connsiteY8" fmla="*/ 217539 h 435077"/>
                <a:gd name="connsiteX9" fmla="*/ 0 w 435077"/>
                <a:gd name="connsiteY9" fmla="*/ 217539 h 435077"/>
                <a:gd name="connsiteX10" fmla="*/ 63710 w 435077"/>
                <a:gd name="connsiteY10" fmla="*/ 63712 h 435077"/>
                <a:gd name="connsiteX11" fmla="*/ 217539 w 435077"/>
                <a:gd name="connsiteY11" fmla="*/ 0 h 435077"/>
                <a:gd name="connsiteX12" fmla="*/ 371339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12"/>
                  </a:moveTo>
                  <a:cubicBezTo>
                    <a:pt x="412154" y="104500"/>
                    <a:pt x="435077" y="159837"/>
                    <a:pt x="435077" y="217539"/>
                  </a:cubicBezTo>
                  <a:lnTo>
                    <a:pt x="218925" y="217539"/>
                  </a:lnTo>
                  <a:cubicBezTo>
                    <a:pt x="276111" y="217892"/>
                    <a:pt x="330876" y="240788"/>
                    <a:pt x="371365" y="281250"/>
                  </a:cubicBezTo>
                  <a:cubicBezTo>
                    <a:pt x="412154" y="322039"/>
                    <a:pt x="435077" y="377375"/>
                    <a:pt x="435077" y="435077"/>
                  </a:cubicBezTo>
                  <a:lnTo>
                    <a:pt x="217539" y="435077"/>
                  </a:lnTo>
                  <a:lnTo>
                    <a:pt x="0" y="435077"/>
                  </a:lnTo>
                  <a:cubicBezTo>
                    <a:pt x="0" y="377375"/>
                    <a:pt x="22922" y="322039"/>
                    <a:pt x="63710" y="281250"/>
                  </a:cubicBezTo>
                  <a:cubicBezTo>
                    <a:pt x="104174" y="240788"/>
                    <a:pt x="158938" y="217892"/>
                    <a:pt x="216125" y="217539"/>
                  </a:cubicBezTo>
                  <a:lnTo>
                    <a:pt x="0" y="217539"/>
                  </a:lnTo>
                  <a:cubicBezTo>
                    <a:pt x="0" y="159837"/>
                    <a:pt x="22895" y="104500"/>
                    <a:pt x="63710" y="63712"/>
                  </a:cubicBezTo>
                  <a:cubicBezTo>
                    <a:pt x="104499" y="22923"/>
                    <a:pt x="159836" y="0"/>
                    <a:pt x="217539" y="0"/>
                  </a:cubicBezTo>
                  <a:cubicBezTo>
                    <a:pt x="275213" y="0"/>
                    <a:pt x="330550" y="22923"/>
                    <a:pt x="371339" y="63712"/>
                  </a:cubicBezTo>
                  <a:close/>
                </a:path>
              </a:pathLst>
            </a:custGeom>
            <a:grpFill/>
            <a:ln w="27192" cap="flat">
              <a:noFill/>
              <a:prstDash val="solid"/>
              <a:miter/>
            </a:ln>
          </p:spPr>
          <p:txBody>
            <a:bodyPr rtlCol="0" anchor="ctr"/>
            <a:lstStyle/>
            <a:p>
              <a:endParaRPr lang="uk-UA" sz="900">
                <a:solidFill>
                  <a:schemeClr val="bg1"/>
                </a:solidFill>
              </a:endParaRPr>
            </a:p>
          </p:txBody>
        </p:sp>
        <p:sp>
          <p:nvSpPr>
            <p:cNvPr id="200" name="Freeform: Shape 199">
              <a:extLst>
                <a:ext uri="{FF2B5EF4-FFF2-40B4-BE49-F238E27FC236}">
                  <a16:creationId xmlns:a16="http://schemas.microsoft.com/office/drawing/2014/main" id="{243A49E7-500B-5124-D577-D89ABB9DA693}"/>
                </a:ext>
              </a:extLst>
            </p:cNvPr>
            <p:cNvSpPr/>
            <p:nvPr/>
          </p:nvSpPr>
          <p:spPr>
            <a:xfrm>
              <a:off x="18239029" y="3709219"/>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65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65" y="0"/>
                  </a:lnTo>
                  <a:lnTo>
                    <a:pt x="435077" y="217539"/>
                  </a:lnTo>
                  <a:lnTo>
                    <a:pt x="435077" y="0"/>
                  </a:lnTo>
                  <a:close/>
                </a:path>
              </a:pathLst>
            </a:custGeom>
            <a:grpFill/>
            <a:ln w="27192" cap="flat">
              <a:noFill/>
              <a:prstDash val="solid"/>
              <a:miter/>
            </a:ln>
          </p:spPr>
          <p:txBody>
            <a:bodyPr rtlCol="0" anchor="ctr"/>
            <a:lstStyle/>
            <a:p>
              <a:endParaRPr lang="uk-UA" sz="900">
                <a:solidFill>
                  <a:schemeClr val="bg1"/>
                </a:solidFill>
              </a:endParaRPr>
            </a:p>
          </p:txBody>
        </p:sp>
        <p:sp>
          <p:nvSpPr>
            <p:cNvPr id="201" name="Freeform: Shape 200">
              <a:extLst>
                <a:ext uri="{FF2B5EF4-FFF2-40B4-BE49-F238E27FC236}">
                  <a16:creationId xmlns:a16="http://schemas.microsoft.com/office/drawing/2014/main" id="{43CB143B-CCDA-4DC8-58E0-DC70DF9F838D}"/>
                </a:ext>
              </a:extLst>
            </p:cNvPr>
            <p:cNvSpPr/>
            <p:nvPr/>
          </p:nvSpPr>
          <p:spPr>
            <a:xfrm>
              <a:off x="17368874" y="370921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202" name="Freeform: Shape 201">
              <a:extLst>
                <a:ext uri="{FF2B5EF4-FFF2-40B4-BE49-F238E27FC236}">
                  <a16:creationId xmlns:a16="http://schemas.microsoft.com/office/drawing/2014/main" id="{2CC6671E-C570-0E69-7C22-47AA396C3563}"/>
                </a:ext>
              </a:extLst>
            </p:cNvPr>
            <p:cNvSpPr/>
            <p:nvPr/>
          </p:nvSpPr>
          <p:spPr>
            <a:xfrm>
              <a:off x="19109210" y="370921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03" name="Freeform: Shape 202">
              <a:extLst>
                <a:ext uri="{FF2B5EF4-FFF2-40B4-BE49-F238E27FC236}">
                  <a16:creationId xmlns:a16="http://schemas.microsoft.com/office/drawing/2014/main" id="{5A63391C-E3E7-96AA-1972-3CA3C7ABC6E7}"/>
                </a:ext>
              </a:extLst>
            </p:cNvPr>
            <p:cNvSpPr/>
            <p:nvPr/>
          </p:nvSpPr>
          <p:spPr>
            <a:xfrm>
              <a:off x="19979365" y="3709219"/>
              <a:ext cx="435077" cy="435077"/>
            </a:xfrm>
            <a:custGeom>
              <a:avLst/>
              <a:gdLst>
                <a:gd name="connsiteX0" fmla="*/ 371365 w 435077"/>
                <a:gd name="connsiteY0" fmla="*/ 63712 h 435077"/>
                <a:gd name="connsiteX1" fmla="*/ 435077 w 435077"/>
                <a:gd name="connsiteY1" fmla="*/ 217539 h 435077"/>
                <a:gd name="connsiteX2" fmla="*/ 218953 w 435077"/>
                <a:gd name="connsiteY2" fmla="*/ 217539 h 435077"/>
                <a:gd name="connsiteX3" fmla="*/ 371365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25 w 435077"/>
                <a:gd name="connsiteY8" fmla="*/ 217539 h 435077"/>
                <a:gd name="connsiteX9" fmla="*/ 0 w 435077"/>
                <a:gd name="connsiteY9" fmla="*/ 217539 h 435077"/>
                <a:gd name="connsiteX10" fmla="*/ 63712 w 435077"/>
                <a:gd name="connsiteY10" fmla="*/ 63712 h 435077"/>
                <a:gd name="connsiteX11" fmla="*/ 217539 w 435077"/>
                <a:gd name="connsiteY11" fmla="*/ 0 h 435077"/>
                <a:gd name="connsiteX12" fmla="*/ 371365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12"/>
                  </a:moveTo>
                  <a:cubicBezTo>
                    <a:pt x="412154" y="104500"/>
                    <a:pt x="435077" y="159837"/>
                    <a:pt x="435077" y="217539"/>
                  </a:cubicBezTo>
                  <a:lnTo>
                    <a:pt x="218953" y="217539"/>
                  </a:lnTo>
                  <a:cubicBezTo>
                    <a:pt x="276139" y="217892"/>
                    <a:pt x="330904" y="240788"/>
                    <a:pt x="371365" y="281250"/>
                  </a:cubicBezTo>
                  <a:cubicBezTo>
                    <a:pt x="412154" y="322039"/>
                    <a:pt x="435077" y="377375"/>
                    <a:pt x="435077" y="435077"/>
                  </a:cubicBezTo>
                  <a:lnTo>
                    <a:pt x="217539" y="435077"/>
                  </a:lnTo>
                  <a:lnTo>
                    <a:pt x="0" y="435077"/>
                  </a:lnTo>
                  <a:cubicBezTo>
                    <a:pt x="0" y="377375"/>
                    <a:pt x="22924" y="322039"/>
                    <a:pt x="63712" y="281250"/>
                  </a:cubicBezTo>
                  <a:cubicBezTo>
                    <a:pt x="104174" y="240788"/>
                    <a:pt x="158940" y="217892"/>
                    <a:pt x="216125" y="217539"/>
                  </a:cubicBezTo>
                  <a:lnTo>
                    <a:pt x="0" y="217539"/>
                  </a:lnTo>
                  <a:cubicBezTo>
                    <a:pt x="0" y="159837"/>
                    <a:pt x="22924" y="104500"/>
                    <a:pt x="63712" y="63712"/>
                  </a:cubicBezTo>
                  <a:cubicBezTo>
                    <a:pt x="104501" y="22923"/>
                    <a:pt x="159836" y="0"/>
                    <a:pt x="217539" y="0"/>
                  </a:cubicBezTo>
                  <a:cubicBezTo>
                    <a:pt x="275241" y="0"/>
                    <a:pt x="330550" y="22923"/>
                    <a:pt x="371365" y="63712"/>
                  </a:cubicBezTo>
                  <a:close/>
                </a:path>
              </a:pathLst>
            </a:custGeom>
            <a:grpFill/>
            <a:ln w="27192" cap="flat">
              <a:noFill/>
              <a:prstDash val="solid"/>
              <a:miter/>
            </a:ln>
          </p:spPr>
          <p:txBody>
            <a:bodyPr rtlCol="0" anchor="ctr"/>
            <a:lstStyle/>
            <a:p>
              <a:endParaRPr lang="uk-UA" sz="900">
                <a:solidFill>
                  <a:schemeClr val="bg1"/>
                </a:solidFill>
              </a:endParaRPr>
            </a:p>
          </p:txBody>
        </p:sp>
        <p:sp>
          <p:nvSpPr>
            <p:cNvPr id="204" name="Freeform: Shape 203">
              <a:extLst>
                <a:ext uri="{FF2B5EF4-FFF2-40B4-BE49-F238E27FC236}">
                  <a16:creationId xmlns:a16="http://schemas.microsoft.com/office/drawing/2014/main" id="{C525159C-DA39-41AB-006C-C68310D7ECA9}"/>
                </a:ext>
              </a:extLst>
            </p:cNvPr>
            <p:cNvSpPr/>
            <p:nvPr/>
          </p:nvSpPr>
          <p:spPr>
            <a:xfrm>
              <a:off x="21719702" y="3709219"/>
              <a:ext cx="435077" cy="435077"/>
            </a:xfrm>
            <a:custGeom>
              <a:avLst/>
              <a:gdLst>
                <a:gd name="connsiteX0" fmla="*/ 0 w 435077"/>
                <a:gd name="connsiteY0" fmla="*/ 435077 h 435077"/>
                <a:gd name="connsiteX1" fmla="*/ 217512 w 435077"/>
                <a:gd name="connsiteY1" fmla="*/ 435077 h 435077"/>
                <a:gd name="connsiteX2" fmla="*/ 217512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12" y="435077"/>
                  </a:lnTo>
                  <a:lnTo>
                    <a:pt x="217512"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solidFill>
                  <a:schemeClr val="bg1"/>
                </a:solidFill>
              </a:endParaRPr>
            </a:p>
          </p:txBody>
        </p:sp>
        <p:sp>
          <p:nvSpPr>
            <p:cNvPr id="205" name="Freeform: Shape 204">
              <a:extLst>
                <a:ext uri="{FF2B5EF4-FFF2-40B4-BE49-F238E27FC236}">
                  <a16:creationId xmlns:a16="http://schemas.microsoft.com/office/drawing/2014/main" id="{976DF766-4774-4F8B-8499-016FB8FEF251}"/>
                </a:ext>
              </a:extLst>
            </p:cNvPr>
            <p:cNvSpPr/>
            <p:nvPr/>
          </p:nvSpPr>
          <p:spPr>
            <a:xfrm>
              <a:off x="20849520" y="370921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206" name="Freeform: Shape 205">
              <a:extLst>
                <a:ext uri="{FF2B5EF4-FFF2-40B4-BE49-F238E27FC236}">
                  <a16:creationId xmlns:a16="http://schemas.microsoft.com/office/drawing/2014/main" id="{57E6F4E4-E0A1-B4B3-3B3A-717B7D8A47E2}"/>
                </a:ext>
              </a:extLst>
            </p:cNvPr>
            <p:cNvSpPr/>
            <p:nvPr/>
          </p:nvSpPr>
          <p:spPr>
            <a:xfrm>
              <a:off x="22589856" y="370921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07" name="Freeform: Shape 206">
              <a:extLst>
                <a:ext uri="{FF2B5EF4-FFF2-40B4-BE49-F238E27FC236}">
                  <a16:creationId xmlns:a16="http://schemas.microsoft.com/office/drawing/2014/main" id="{DE63E59F-29EA-191A-9A73-ED31123F33F2}"/>
                </a:ext>
              </a:extLst>
            </p:cNvPr>
            <p:cNvSpPr/>
            <p:nvPr/>
          </p:nvSpPr>
          <p:spPr>
            <a:xfrm>
              <a:off x="23460039" y="3709219"/>
              <a:ext cx="435077" cy="435077"/>
            </a:xfrm>
            <a:custGeom>
              <a:avLst/>
              <a:gdLst>
                <a:gd name="connsiteX0" fmla="*/ 371339 w 435077"/>
                <a:gd name="connsiteY0" fmla="*/ 63712 h 435077"/>
                <a:gd name="connsiteX1" fmla="*/ 435077 w 435077"/>
                <a:gd name="connsiteY1" fmla="*/ 217539 h 435077"/>
                <a:gd name="connsiteX2" fmla="*/ 218925 w 435077"/>
                <a:gd name="connsiteY2" fmla="*/ 217539 h 435077"/>
                <a:gd name="connsiteX3" fmla="*/ 371339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25 w 435077"/>
                <a:gd name="connsiteY8" fmla="*/ 217539 h 435077"/>
                <a:gd name="connsiteX9" fmla="*/ 0 w 435077"/>
                <a:gd name="connsiteY9" fmla="*/ 217539 h 435077"/>
                <a:gd name="connsiteX10" fmla="*/ 63712 w 435077"/>
                <a:gd name="connsiteY10" fmla="*/ 63712 h 435077"/>
                <a:gd name="connsiteX11" fmla="*/ 217539 w 435077"/>
                <a:gd name="connsiteY11" fmla="*/ 0 h 435077"/>
                <a:gd name="connsiteX12" fmla="*/ 371339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12"/>
                  </a:moveTo>
                  <a:cubicBezTo>
                    <a:pt x="412154" y="104500"/>
                    <a:pt x="435077" y="159837"/>
                    <a:pt x="435077" y="217539"/>
                  </a:cubicBezTo>
                  <a:lnTo>
                    <a:pt x="218925" y="217539"/>
                  </a:lnTo>
                  <a:cubicBezTo>
                    <a:pt x="276111" y="217892"/>
                    <a:pt x="330876" y="240788"/>
                    <a:pt x="371339" y="281250"/>
                  </a:cubicBezTo>
                  <a:cubicBezTo>
                    <a:pt x="412154" y="322039"/>
                    <a:pt x="435077" y="377375"/>
                    <a:pt x="435077" y="435077"/>
                  </a:cubicBezTo>
                  <a:lnTo>
                    <a:pt x="217539" y="435077"/>
                  </a:lnTo>
                  <a:lnTo>
                    <a:pt x="0" y="435077"/>
                  </a:lnTo>
                  <a:cubicBezTo>
                    <a:pt x="0" y="377375"/>
                    <a:pt x="22895" y="322039"/>
                    <a:pt x="63712" y="281250"/>
                  </a:cubicBezTo>
                  <a:cubicBezTo>
                    <a:pt x="104174" y="240788"/>
                    <a:pt x="158938" y="217892"/>
                    <a:pt x="216125" y="217539"/>
                  </a:cubicBezTo>
                  <a:lnTo>
                    <a:pt x="0" y="217539"/>
                  </a:lnTo>
                  <a:cubicBezTo>
                    <a:pt x="0" y="159837"/>
                    <a:pt x="22895" y="104500"/>
                    <a:pt x="63712" y="63712"/>
                  </a:cubicBezTo>
                  <a:cubicBezTo>
                    <a:pt x="104501" y="22923"/>
                    <a:pt x="159836" y="0"/>
                    <a:pt x="217539" y="0"/>
                  </a:cubicBezTo>
                  <a:cubicBezTo>
                    <a:pt x="275213" y="0"/>
                    <a:pt x="330550" y="22923"/>
                    <a:pt x="371339" y="63712"/>
                  </a:cubicBezTo>
                  <a:close/>
                </a:path>
              </a:pathLst>
            </a:custGeom>
            <a:grpFill/>
            <a:ln w="27192" cap="flat">
              <a:noFill/>
              <a:prstDash val="solid"/>
              <a:miter/>
            </a:ln>
          </p:spPr>
          <p:txBody>
            <a:bodyPr rtlCol="0" anchor="ctr"/>
            <a:lstStyle/>
            <a:p>
              <a:endParaRPr lang="uk-UA" sz="900">
                <a:solidFill>
                  <a:schemeClr val="bg1"/>
                </a:solidFill>
              </a:endParaRPr>
            </a:p>
          </p:txBody>
        </p:sp>
        <p:sp>
          <p:nvSpPr>
            <p:cNvPr id="208" name="Freeform: Shape 207">
              <a:extLst>
                <a:ext uri="{FF2B5EF4-FFF2-40B4-BE49-F238E27FC236}">
                  <a16:creationId xmlns:a16="http://schemas.microsoft.com/office/drawing/2014/main" id="{8120F300-4036-35EA-C6F2-F8A27D14C77B}"/>
                </a:ext>
              </a:extLst>
            </p:cNvPr>
            <p:cNvSpPr/>
            <p:nvPr/>
          </p:nvSpPr>
          <p:spPr>
            <a:xfrm>
              <a:off x="24330194" y="370921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209" name="Freeform: Shape 208">
              <a:extLst>
                <a:ext uri="{FF2B5EF4-FFF2-40B4-BE49-F238E27FC236}">
                  <a16:creationId xmlns:a16="http://schemas.microsoft.com/office/drawing/2014/main" id="{F50BB731-BD41-4BC7-051F-B858E01C15E1}"/>
                </a:ext>
              </a:extLst>
            </p:cNvPr>
            <p:cNvSpPr/>
            <p:nvPr/>
          </p:nvSpPr>
          <p:spPr>
            <a:xfrm>
              <a:off x="835769" y="4579374"/>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10" name="Freeform: Shape 209">
              <a:extLst>
                <a:ext uri="{FF2B5EF4-FFF2-40B4-BE49-F238E27FC236}">
                  <a16:creationId xmlns:a16="http://schemas.microsoft.com/office/drawing/2014/main" id="{34210FB9-2715-E7CB-D25E-317AD9296FF9}"/>
                </a:ext>
              </a:extLst>
            </p:cNvPr>
            <p:cNvSpPr/>
            <p:nvPr/>
          </p:nvSpPr>
          <p:spPr>
            <a:xfrm>
              <a:off x="-34398" y="4579374"/>
              <a:ext cx="435063" cy="435077"/>
            </a:xfrm>
            <a:custGeom>
              <a:avLst/>
              <a:gdLst>
                <a:gd name="connsiteX0" fmla="*/ 435064 w 435063"/>
                <a:gd name="connsiteY0" fmla="*/ 435077 h 435077"/>
                <a:gd name="connsiteX1" fmla="*/ 435064 w 435063"/>
                <a:gd name="connsiteY1" fmla="*/ 217539 h 435077"/>
                <a:gd name="connsiteX2" fmla="*/ 435064 w 435063"/>
                <a:gd name="connsiteY2" fmla="*/ 27 h 435077"/>
                <a:gd name="connsiteX3" fmla="*/ 217552 w 435063"/>
                <a:gd name="connsiteY3" fmla="*/ 27 h 435077"/>
                <a:gd name="connsiteX4" fmla="*/ 435064 w 435063"/>
                <a:gd name="connsiteY4" fmla="*/ 217539 h 435077"/>
                <a:gd name="connsiteX5" fmla="*/ 217552 w 435063"/>
                <a:gd name="connsiteY5" fmla="*/ 435077 h 435077"/>
                <a:gd name="connsiteX6" fmla="*/ 435064 w 435063"/>
                <a:gd name="connsiteY6" fmla="*/ 435077 h 435077"/>
                <a:gd name="connsiteX7" fmla="*/ 0 w 435063"/>
                <a:gd name="connsiteY7" fmla="*/ 217539 h 435077"/>
                <a:gd name="connsiteX8" fmla="*/ 0 w 435063"/>
                <a:gd name="connsiteY8" fmla="*/ 0 h 435077"/>
                <a:gd name="connsiteX9" fmla="*/ 217525 w 435063"/>
                <a:gd name="connsiteY9" fmla="*/ 217539 h 435077"/>
                <a:gd name="connsiteX10" fmla="*/ 0 w 435063"/>
                <a:gd name="connsiteY10" fmla="*/ 217539 h 435077"/>
                <a:gd name="connsiteX11" fmla="*/ 0 w 435063"/>
                <a:gd name="connsiteY11" fmla="*/ 435077 h 435077"/>
                <a:gd name="connsiteX12" fmla="*/ 0 w 435063"/>
                <a:gd name="connsiteY12" fmla="*/ 217539 h 435077"/>
                <a:gd name="connsiteX13" fmla="*/ 217525 w 435063"/>
                <a:gd name="connsiteY13" fmla="*/ 217539 h 435077"/>
                <a:gd name="connsiteX14" fmla="*/ 0 w 435063"/>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63" h="435077">
                  <a:moveTo>
                    <a:pt x="435064" y="435077"/>
                  </a:moveTo>
                  <a:lnTo>
                    <a:pt x="435064" y="217539"/>
                  </a:lnTo>
                  <a:lnTo>
                    <a:pt x="435064" y="27"/>
                  </a:lnTo>
                  <a:lnTo>
                    <a:pt x="217552" y="27"/>
                  </a:lnTo>
                  <a:lnTo>
                    <a:pt x="435064" y="217539"/>
                  </a:lnTo>
                  <a:lnTo>
                    <a:pt x="217552" y="435077"/>
                  </a:lnTo>
                  <a:lnTo>
                    <a:pt x="435064" y="435077"/>
                  </a:lnTo>
                  <a:close/>
                  <a:moveTo>
                    <a:pt x="0" y="217539"/>
                  </a:moveTo>
                  <a:lnTo>
                    <a:pt x="0" y="0"/>
                  </a:lnTo>
                  <a:lnTo>
                    <a:pt x="217525" y="217539"/>
                  </a:lnTo>
                  <a:lnTo>
                    <a:pt x="0" y="217539"/>
                  </a:lnTo>
                  <a:close/>
                  <a:moveTo>
                    <a:pt x="0" y="435077"/>
                  </a:moveTo>
                  <a:lnTo>
                    <a:pt x="0" y="217539"/>
                  </a:lnTo>
                  <a:lnTo>
                    <a:pt x="217525"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11" name="Freeform: Shape 210">
              <a:extLst>
                <a:ext uri="{FF2B5EF4-FFF2-40B4-BE49-F238E27FC236}">
                  <a16:creationId xmlns:a16="http://schemas.microsoft.com/office/drawing/2014/main" id="{F1FDE67A-19A0-17C3-3C77-EF9C25B6BD19}"/>
                </a:ext>
              </a:extLst>
            </p:cNvPr>
            <p:cNvSpPr/>
            <p:nvPr/>
          </p:nvSpPr>
          <p:spPr>
            <a:xfrm>
              <a:off x="1705924" y="4579374"/>
              <a:ext cx="435077" cy="435077"/>
            </a:xfrm>
            <a:custGeom>
              <a:avLst/>
              <a:gdLst>
                <a:gd name="connsiteX0" fmla="*/ 435077 w 435077"/>
                <a:gd name="connsiteY0" fmla="*/ 435077 h 435077"/>
                <a:gd name="connsiteX1" fmla="*/ 435077 w 435077"/>
                <a:gd name="connsiteY1" fmla="*/ 0 h 435077"/>
                <a:gd name="connsiteX2" fmla="*/ 217566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6"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12" name="Freeform: Shape 211">
              <a:extLst>
                <a:ext uri="{FF2B5EF4-FFF2-40B4-BE49-F238E27FC236}">
                  <a16:creationId xmlns:a16="http://schemas.microsoft.com/office/drawing/2014/main" id="{3DDF1560-4F4F-917B-6C1F-081BE325C103}"/>
                </a:ext>
              </a:extLst>
            </p:cNvPr>
            <p:cNvSpPr/>
            <p:nvPr/>
          </p:nvSpPr>
          <p:spPr>
            <a:xfrm>
              <a:off x="2576106" y="457937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3" y="113038"/>
                    <a:pt x="0" y="57702"/>
                    <a:pt x="0" y="0"/>
                  </a:cubicBezTo>
                  <a:lnTo>
                    <a:pt x="217539" y="0"/>
                  </a:lnTo>
                  <a:lnTo>
                    <a:pt x="435077" y="0"/>
                  </a:lnTo>
                  <a:cubicBezTo>
                    <a:pt x="435077" y="57702"/>
                    <a:pt x="412154" y="113038"/>
                    <a:pt x="371366" y="153827"/>
                  </a:cubicBezTo>
                  <a:cubicBezTo>
                    <a:pt x="330550" y="194616"/>
                    <a:pt x="275214" y="217539"/>
                    <a:pt x="217539" y="217539"/>
                  </a:cubicBezTo>
                  <a:cubicBezTo>
                    <a:pt x="159837" y="217539"/>
                    <a:pt x="104500" y="194616"/>
                    <a:pt x="63712" y="153827"/>
                  </a:cubicBezTo>
                  <a:close/>
                  <a:moveTo>
                    <a:pt x="63712" y="281250"/>
                  </a:moveTo>
                  <a:cubicBezTo>
                    <a:pt x="22923" y="322066"/>
                    <a:pt x="0" y="377375"/>
                    <a:pt x="0" y="435077"/>
                  </a:cubicBezTo>
                  <a:lnTo>
                    <a:pt x="217539" y="435077"/>
                  </a:lnTo>
                  <a:lnTo>
                    <a:pt x="435077" y="435077"/>
                  </a:lnTo>
                  <a:cubicBezTo>
                    <a:pt x="435077" y="377375"/>
                    <a:pt x="412154" y="322066"/>
                    <a:pt x="371366" y="281250"/>
                  </a:cubicBezTo>
                  <a:cubicBezTo>
                    <a:pt x="330550" y="240462"/>
                    <a:pt x="275214" y="217539"/>
                    <a:pt x="217539" y="217539"/>
                  </a:cubicBezTo>
                  <a:cubicBezTo>
                    <a:pt x="159837" y="217539"/>
                    <a:pt x="104500" y="240462"/>
                    <a:pt x="63712" y="281250"/>
                  </a:cubicBezTo>
                  <a:close/>
                </a:path>
              </a:pathLst>
            </a:custGeom>
            <a:grpFill/>
            <a:ln w="27192" cap="flat">
              <a:noFill/>
              <a:prstDash val="solid"/>
              <a:miter/>
            </a:ln>
          </p:spPr>
          <p:txBody>
            <a:bodyPr rtlCol="0" anchor="ctr"/>
            <a:lstStyle/>
            <a:p>
              <a:endParaRPr lang="uk-UA" sz="900">
                <a:solidFill>
                  <a:schemeClr val="bg1"/>
                </a:solidFill>
              </a:endParaRPr>
            </a:p>
          </p:txBody>
        </p:sp>
        <p:sp>
          <p:nvSpPr>
            <p:cNvPr id="213" name="Freeform: Shape 212">
              <a:extLst>
                <a:ext uri="{FF2B5EF4-FFF2-40B4-BE49-F238E27FC236}">
                  <a16:creationId xmlns:a16="http://schemas.microsoft.com/office/drawing/2014/main" id="{FA96A067-8923-ABEC-634D-CC07C5432E64}"/>
                </a:ext>
              </a:extLst>
            </p:cNvPr>
            <p:cNvSpPr/>
            <p:nvPr/>
          </p:nvSpPr>
          <p:spPr>
            <a:xfrm>
              <a:off x="4316416" y="4579374"/>
              <a:ext cx="435077" cy="435077"/>
            </a:xfrm>
            <a:custGeom>
              <a:avLst/>
              <a:gdLst>
                <a:gd name="connsiteX0" fmla="*/ 217565 w 435077"/>
                <a:gd name="connsiteY0" fmla="*/ 435077 h 435077"/>
                <a:gd name="connsiteX1" fmla="*/ 217565 w 435077"/>
                <a:gd name="connsiteY1" fmla="*/ 0 h 435077"/>
                <a:gd name="connsiteX2" fmla="*/ 435077 w 435077"/>
                <a:gd name="connsiteY2" fmla="*/ 217539 h 435077"/>
                <a:gd name="connsiteX3" fmla="*/ 217565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65" y="435077"/>
                  </a:moveTo>
                  <a:lnTo>
                    <a:pt x="217565" y="0"/>
                  </a:lnTo>
                  <a:lnTo>
                    <a:pt x="435077" y="217539"/>
                  </a:lnTo>
                  <a:lnTo>
                    <a:pt x="217565"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14" name="Freeform: Shape 213">
              <a:extLst>
                <a:ext uri="{FF2B5EF4-FFF2-40B4-BE49-F238E27FC236}">
                  <a16:creationId xmlns:a16="http://schemas.microsoft.com/office/drawing/2014/main" id="{AE26D3DE-4669-25AC-C79D-F824E29CF39E}"/>
                </a:ext>
              </a:extLst>
            </p:cNvPr>
            <p:cNvSpPr/>
            <p:nvPr/>
          </p:nvSpPr>
          <p:spPr>
            <a:xfrm>
              <a:off x="3446261" y="4579374"/>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6 w 435077"/>
                <a:gd name="connsiteY3" fmla="*/ 27 h 435077"/>
                <a:gd name="connsiteX4" fmla="*/ 435077 w 435077"/>
                <a:gd name="connsiteY4" fmla="*/ 217539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6" y="27"/>
                  </a:lnTo>
                  <a:lnTo>
                    <a:pt x="435077" y="217539"/>
                  </a:lnTo>
                  <a:lnTo>
                    <a:pt x="217566"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15" name="Freeform: Shape 214">
              <a:extLst>
                <a:ext uri="{FF2B5EF4-FFF2-40B4-BE49-F238E27FC236}">
                  <a16:creationId xmlns:a16="http://schemas.microsoft.com/office/drawing/2014/main" id="{0F1F5298-E920-A58C-9B01-70C5C7B41446}"/>
                </a:ext>
              </a:extLst>
            </p:cNvPr>
            <p:cNvSpPr/>
            <p:nvPr/>
          </p:nvSpPr>
          <p:spPr>
            <a:xfrm>
              <a:off x="5186597" y="4579374"/>
              <a:ext cx="435077" cy="435077"/>
            </a:xfrm>
            <a:custGeom>
              <a:avLst/>
              <a:gdLst>
                <a:gd name="connsiteX0" fmla="*/ 435077 w 435077"/>
                <a:gd name="connsiteY0" fmla="*/ 435077 h 435077"/>
                <a:gd name="connsiteX1" fmla="*/ 435077 w 435077"/>
                <a:gd name="connsiteY1" fmla="*/ 0 h 435077"/>
                <a:gd name="connsiteX2" fmla="*/ 217566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6"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16" name="Freeform: Shape 215">
              <a:extLst>
                <a:ext uri="{FF2B5EF4-FFF2-40B4-BE49-F238E27FC236}">
                  <a16:creationId xmlns:a16="http://schemas.microsoft.com/office/drawing/2014/main" id="{98AE2493-0B99-09AB-7479-258B331C53CF}"/>
                </a:ext>
              </a:extLst>
            </p:cNvPr>
            <p:cNvSpPr/>
            <p:nvPr/>
          </p:nvSpPr>
          <p:spPr>
            <a:xfrm>
              <a:off x="6056752" y="457937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8"/>
                    <a:pt x="0" y="57702"/>
                    <a:pt x="0" y="0"/>
                  </a:cubicBezTo>
                  <a:lnTo>
                    <a:pt x="217539" y="0"/>
                  </a:lnTo>
                  <a:lnTo>
                    <a:pt x="435077" y="0"/>
                  </a:lnTo>
                  <a:cubicBezTo>
                    <a:pt x="435077" y="57702"/>
                    <a:pt x="412155" y="113038"/>
                    <a:pt x="371366" y="153827"/>
                  </a:cubicBezTo>
                  <a:cubicBezTo>
                    <a:pt x="330550" y="194616"/>
                    <a:pt x="275241" y="217539"/>
                    <a:pt x="217539" y="217539"/>
                  </a:cubicBezTo>
                  <a:cubicBezTo>
                    <a:pt x="159837" y="217539"/>
                    <a:pt x="104501" y="194616"/>
                    <a:pt x="63712" y="153827"/>
                  </a:cubicBezTo>
                  <a:close/>
                  <a:moveTo>
                    <a:pt x="63712" y="281250"/>
                  </a:moveTo>
                  <a:cubicBezTo>
                    <a:pt x="22924" y="322066"/>
                    <a:pt x="0" y="377375"/>
                    <a:pt x="0" y="435077"/>
                  </a:cubicBezTo>
                  <a:lnTo>
                    <a:pt x="217539" y="435077"/>
                  </a:lnTo>
                  <a:lnTo>
                    <a:pt x="435077" y="435077"/>
                  </a:lnTo>
                  <a:cubicBezTo>
                    <a:pt x="435077" y="377375"/>
                    <a:pt x="412155" y="322066"/>
                    <a:pt x="371366" y="281250"/>
                  </a:cubicBezTo>
                  <a:cubicBezTo>
                    <a:pt x="330550" y="240462"/>
                    <a:pt x="275241" y="217539"/>
                    <a:pt x="217539" y="217539"/>
                  </a:cubicBezTo>
                  <a:cubicBezTo>
                    <a:pt x="159837" y="217539"/>
                    <a:pt x="104501" y="240462"/>
                    <a:pt x="63712" y="281250"/>
                  </a:cubicBezTo>
                  <a:close/>
                </a:path>
              </a:pathLst>
            </a:custGeom>
            <a:grpFill/>
            <a:ln w="27192" cap="flat">
              <a:noFill/>
              <a:prstDash val="solid"/>
              <a:miter/>
            </a:ln>
          </p:spPr>
          <p:txBody>
            <a:bodyPr rtlCol="0" anchor="ctr"/>
            <a:lstStyle/>
            <a:p>
              <a:endParaRPr lang="uk-UA" sz="900">
                <a:solidFill>
                  <a:schemeClr val="bg1"/>
                </a:solidFill>
              </a:endParaRPr>
            </a:p>
          </p:txBody>
        </p:sp>
        <p:sp>
          <p:nvSpPr>
            <p:cNvPr id="217" name="Freeform: Shape 216">
              <a:extLst>
                <a:ext uri="{FF2B5EF4-FFF2-40B4-BE49-F238E27FC236}">
                  <a16:creationId xmlns:a16="http://schemas.microsoft.com/office/drawing/2014/main" id="{7A03552B-6A6D-1633-1AF2-AAF704F611EA}"/>
                </a:ext>
              </a:extLst>
            </p:cNvPr>
            <p:cNvSpPr/>
            <p:nvPr/>
          </p:nvSpPr>
          <p:spPr>
            <a:xfrm>
              <a:off x="7797062" y="4579374"/>
              <a:ext cx="435077" cy="435077"/>
            </a:xfrm>
            <a:custGeom>
              <a:avLst/>
              <a:gdLst>
                <a:gd name="connsiteX0" fmla="*/ 217566 w 435077"/>
                <a:gd name="connsiteY0" fmla="*/ 435077 h 435077"/>
                <a:gd name="connsiteX1" fmla="*/ 217566 w 435077"/>
                <a:gd name="connsiteY1" fmla="*/ 0 h 435077"/>
                <a:gd name="connsiteX2" fmla="*/ 435077 w 435077"/>
                <a:gd name="connsiteY2" fmla="*/ 217539 h 435077"/>
                <a:gd name="connsiteX3" fmla="*/ 217566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66" y="435077"/>
                  </a:moveTo>
                  <a:lnTo>
                    <a:pt x="217566" y="0"/>
                  </a:lnTo>
                  <a:lnTo>
                    <a:pt x="435077" y="217539"/>
                  </a:lnTo>
                  <a:lnTo>
                    <a:pt x="217566"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18" name="Freeform: Shape 217">
              <a:extLst>
                <a:ext uri="{FF2B5EF4-FFF2-40B4-BE49-F238E27FC236}">
                  <a16:creationId xmlns:a16="http://schemas.microsoft.com/office/drawing/2014/main" id="{A7B9F7F5-3F65-A09C-285F-411069BFF328}"/>
                </a:ext>
              </a:extLst>
            </p:cNvPr>
            <p:cNvSpPr/>
            <p:nvPr/>
          </p:nvSpPr>
          <p:spPr>
            <a:xfrm>
              <a:off x="6926907" y="4579374"/>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6 w 435077"/>
                <a:gd name="connsiteY3" fmla="*/ 27 h 435077"/>
                <a:gd name="connsiteX4" fmla="*/ 435077 w 435077"/>
                <a:gd name="connsiteY4" fmla="*/ 217539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6" y="27"/>
                  </a:lnTo>
                  <a:lnTo>
                    <a:pt x="435077" y="217539"/>
                  </a:lnTo>
                  <a:lnTo>
                    <a:pt x="217566"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19" name="Freeform: Shape 218">
              <a:extLst>
                <a:ext uri="{FF2B5EF4-FFF2-40B4-BE49-F238E27FC236}">
                  <a16:creationId xmlns:a16="http://schemas.microsoft.com/office/drawing/2014/main" id="{182A580E-14E8-A02A-867B-9D772939206A}"/>
                </a:ext>
              </a:extLst>
            </p:cNvPr>
            <p:cNvSpPr/>
            <p:nvPr/>
          </p:nvSpPr>
          <p:spPr>
            <a:xfrm>
              <a:off x="8667217" y="4579374"/>
              <a:ext cx="435104" cy="435077"/>
            </a:xfrm>
            <a:custGeom>
              <a:avLst/>
              <a:gdLst>
                <a:gd name="connsiteX0" fmla="*/ 435105 w 435104"/>
                <a:gd name="connsiteY0" fmla="*/ 435077 h 435077"/>
                <a:gd name="connsiteX1" fmla="*/ 435105 w 435104"/>
                <a:gd name="connsiteY1" fmla="*/ 0 h 435077"/>
                <a:gd name="connsiteX2" fmla="*/ 217566 w 435104"/>
                <a:gd name="connsiteY2" fmla="*/ 217539 h 435077"/>
                <a:gd name="connsiteX3" fmla="*/ 435105 w 435104"/>
                <a:gd name="connsiteY3" fmla="*/ 435077 h 435077"/>
                <a:gd name="connsiteX4" fmla="*/ 0 w 435104"/>
                <a:gd name="connsiteY4" fmla="*/ 435077 h 435077"/>
                <a:gd name="connsiteX5" fmla="*/ 0 w 435104"/>
                <a:gd name="connsiteY5" fmla="*/ 0 h 435077"/>
                <a:gd name="connsiteX6" fmla="*/ 217539 w 435104"/>
                <a:gd name="connsiteY6" fmla="*/ 217539 h 435077"/>
                <a:gd name="connsiteX7" fmla="*/ 0 w 435104"/>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104" h="435077">
                  <a:moveTo>
                    <a:pt x="435105" y="435077"/>
                  </a:moveTo>
                  <a:lnTo>
                    <a:pt x="435105" y="0"/>
                  </a:lnTo>
                  <a:lnTo>
                    <a:pt x="217566" y="217539"/>
                  </a:lnTo>
                  <a:lnTo>
                    <a:pt x="435105"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20" name="Freeform: Shape 219">
              <a:extLst>
                <a:ext uri="{FF2B5EF4-FFF2-40B4-BE49-F238E27FC236}">
                  <a16:creationId xmlns:a16="http://schemas.microsoft.com/office/drawing/2014/main" id="{87E4D78B-37AD-D05B-32E8-2BA17FF907A5}"/>
                </a:ext>
              </a:extLst>
            </p:cNvPr>
            <p:cNvSpPr/>
            <p:nvPr/>
          </p:nvSpPr>
          <p:spPr>
            <a:xfrm>
              <a:off x="9537399" y="4579374"/>
              <a:ext cx="435077" cy="435077"/>
            </a:xfrm>
            <a:custGeom>
              <a:avLst/>
              <a:gdLst>
                <a:gd name="connsiteX0" fmla="*/ 63711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1 w 435077"/>
                <a:gd name="connsiteY6" fmla="*/ 153827 h 435077"/>
                <a:gd name="connsiteX7" fmla="*/ 63711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1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1" y="153827"/>
                  </a:moveTo>
                  <a:cubicBezTo>
                    <a:pt x="22923" y="113038"/>
                    <a:pt x="0" y="57702"/>
                    <a:pt x="0" y="0"/>
                  </a:cubicBezTo>
                  <a:lnTo>
                    <a:pt x="217539" y="0"/>
                  </a:lnTo>
                  <a:lnTo>
                    <a:pt x="435077" y="0"/>
                  </a:lnTo>
                  <a:cubicBezTo>
                    <a:pt x="435077" y="57702"/>
                    <a:pt x="412155" y="113038"/>
                    <a:pt x="371366" y="153827"/>
                  </a:cubicBezTo>
                  <a:cubicBezTo>
                    <a:pt x="330550" y="194616"/>
                    <a:pt x="275214" y="217539"/>
                    <a:pt x="217539" y="217539"/>
                  </a:cubicBezTo>
                  <a:cubicBezTo>
                    <a:pt x="159836" y="217539"/>
                    <a:pt x="104500" y="194616"/>
                    <a:pt x="63711" y="153827"/>
                  </a:cubicBezTo>
                  <a:close/>
                  <a:moveTo>
                    <a:pt x="63711" y="281250"/>
                  </a:moveTo>
                  <a:cubicBezTo>
                    <a:pt x="22923" y="322066"/>
                    <a:pt x="0" y="377375"/>
                    <a:pt x="0" y="435077"/>
                  </a:cubicBezTo>
                  <a:lnTo>
                    <a:pt x="217539" y="435077"/>
                  </a:lnTo>
                  <a:lnTo>
                    <a:pt x="435077" y="435077"/>
                  </a:lnTo>
                  <a:cubicBezTo>
                    <a:pt x="435077" y="377375"/>
                    <a:pt x="412155" y="322066"/>
                    <a:pt x="371366" y="281250"/>
                  </a:cubicBezTo>
                  <a:cubicBezTo>
                    <a:pt x="330550" y="240462"/>
                    <a:pt x="275214" y="217539"/>
                    <a:pt x="217539" y="217539"/>
                  </a:cubicBezTo>
                  <a:cubicBezTo>
                    <a:pt x="159836" y="217539"/>
                    <a:pt x="104500" y="240462"/>
                    <a:pt x="63711" y="281250"/>
                  </a:cubicBezTo>
                  <a:close/>
                </a:path>
              </a:pathLst>
            </a:custGeom>
            <a:grpFill/>
            <a:ln w="27192" cap="flat">
              <a:noFill/>
              <a:prstDash val="solid"/>
              <a:miter/>
            </a:ln>
          </p:spPr>
          <p:txBody>
            <a:bodyPr rtlCol="0" anchor="ctr"/>
            <a:lstStyle/>
            <a:p>
              <a:endParaRPr lang="uk-UA" sz="900">
                <a:solidFill>
                  <a:schemeClr val="bg1"/>
                </a:solidFill>
              </a:endParaRPr>
            </a:p>
          </p:txBody>
        </p:sp>
        <p:sp>
          <p:nvSpPr>
            <p:cNvPr id="221" name="Freeform: Shape 220">
              <a:extLst>
                <a:ext uri="{FF2B5EF4-FFF2-40B4-BE49-F238E27FC236}">
                  <a16:creationId xmlns:a16="http://schemas.microsoft.com/office/drawing/2014/main" id="{2FDEB98D-4B6A-EAF1-F481-96C738075D2E}"/>
                </a:ext>
              </a:extLst>
            </p:cNvPr>
            <p:cNvSpPr/>
            <p:nvPr/>
          </p:nvSpPr>
          <p:spPr>
            <a:xfrm>
              <a:off x="11277709" y="4579374"/>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22" name="Freeform: Shape 221">
              <a:extLst>
                <a:ext uri="{FF2B5EF4-FFF2-40B4-BE49-F238E27FC236}">
                  <a16:creationId xmlns:a16="http://schemas.microsoft.com/office/drawing/2014/main" id="{4811B8F3-AB4C-030C-A74A-0B6938EB5EFF}"/>
                </a:ext>
              </a:extLst>
            </p:cNvPr>
            <p:cNvSpPr/>
            <p:nvPr/>
          </p:nvSpPr>
          <p:spPr>
            <a:xfrm>
              <a:off x="10407554" y="4579374"/>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39 w 435077"/>
                <a:gd name="connsiteY3" fmla="*/ 27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1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1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39" y="27"/>
                  </a:lnTo>
                  <a:lnTo>
                    <a:pt x="435077" y="217539"/>
                  </a:lnTo>
                  <a:lnTo>
                    <a:pt x="217539" y="435077"/>
                  </a:lnTo>
                  <a:lnTo>
                    <a:pt x="435077" y="435077"/>
                  </a:lnTo>
                  <a:close/>
                  <a:moveTo>
                    <a:pt x="0" y="217539"/>
                  </a:moveTo>
                  <a:lnTo>
                    <a:pt x="0" y="0"/>
                  </a:lnTo>
                  <a:lnTo>
                    <a:pt x="217511" y="217539"/>
                  </a:lnTo>
                  <a:lnTo>
                    <a:pt x="0" y="217539"/>
                  </a:lnTo>
                  <a:close/>
                  <a:moveTo>
                    <a:pt x="0" y="435077"/>
                  </a:moveTo>
                  <a:lnTo>
                    <a:pt x="0" y="217539"/>
                  </a:lnTo>
                  <a:lnTo>
                    <a:pt x="217511"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23" name="Freeform: Shape 222">
              <a:extLst>
                <a:ext uri="{FF2B5EF4-FFF2-40B4-BE49-F238E27FC236}">
                  <a16:creationId xmlns:a16="http://schemas.microsoft.com/office/drawing/2014/main" id="{E58BB161-F150-FBAA-6E25-A17D990A78C2}"/>
                </a:ext>
              </a:extLst>
            </p:cNvPr>
            <p:cNvSpPr/>
            <p:nvPr/>
          </p:nvSpPr>
          <p:spPr>
            <a:xfrm>
              <a:off x="12147891" y="4579374"/>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2"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24" name="Freeform: Shape 223">
              <a:extLst>
                <a:ext uri="{FF2B5EF4-FFF2-40B4-BE49-F238E27FC236}">
                  <a16:creationId xmlns:a16="http://schemas.microsoft.com/office/drawing/2014/main" id="{272B17A7-19CA-28F4-04B4-9353163AC71B}"/>
                </a:ext>
              </a:extLst>
            </p:cNvPr>
            <p:cNvSpPr/>
            <p:nvPr/>
          </p:nvSpPr>
          <p:spPr>
            <a:xfrm>
              <a:off x="13018045" y="457937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8"/>
                    <a:pt x="0" y="57702"/>
                    <a:pt x="0" y="0"/>
                  </a:cubicBezTo>
                  <a:lnTo>
                    <a:pt x="217539" y="0"/>
                  </a:lnTo>
                  <a:lnTo>
                    <a:pt x="435077" y="0"/>
                  </a:lnTo>
                  <a:cubicBezTo>
                    <a:pt x="435077" y="57702"/>
                    <a:pt x="412154" y="113038"/>
                    <a:pt x="371365" y="153827"/>
                  </a:cubicBezTo>
                  <a:cubicBezTo>
                    <a:pt x="330550" y="194616"/>
                    <a:pt x="275241" y="217539"/>
                    <a:pt x="217539" y="217539"/>
                  </a:cubicBezTo>
                  <a:cubicBezTo>
                    <a:pt x="159836" y="217539"/>
                    <a:pt x="104501" y="194616"/>
                    <a:pt x="63712" y="153827"/>
                  </a:cubicBezTo>
                  <a:close/>
                  <a:moveTo>
                    <a:pt x="63712" y="281250"/>
                  </a:moveTo>
                  <a:cubicBezTo>
                    <a:pt x="22924" y="322066"/>
                    <a:pt x="0" y="377375"/>
                    <a:pt x="0" y="435077"/>
                  </a:cubicBezTo>
                  <a:lnTo>
                    <a:pt x="217539" y="435077"/>
                  </a:lnTo>
                  <a:lnTo>
                    <a:pt x="435077" y="435077"/>
                  </a:lnTo>
                  <a:cubicBezTo>
                    <a:pt x="435077" y="377375"/>
                    <a:pt x="412154" y="322066"/>
                    <a:pt x="371365" y="281250"/>
                  </a:cubicBezTo>
                  <a:cubicBezTo>
                    <a:pt x="330550" y="240462"/>
                    <a:pt x="275241" y="217539"/>
                    <a:pt x="217539" y="217539"/>
                  </a:cubicBezTo>
                  <a:cubicBezTo>
                    <a:pt x="159836" y="217539"/>
                    <a:pt x="104501" y="240462"/>
                    <a:pt x="63712" y="281250"/>
                  </a:cubicBezTo>
                  <a:close/>
                </a:path>
              </a:pathLst>
            </a:custGeom>
            <a:grpFill/>
            <a:ln w="27192" cap="flat">
              <a:noFill/>
              <a:prstDash val="solid"/>
              <a:miter/>
            </a:ln>
          </p:spPr>
          <p:txBody>
            <a:bodyPr rtlCol="0" anchor="ctr"/>
            <a:lstStyle/>
            <a:p>
              <a:endParaRPr lang="uk-UA" sz="900">
                <a:solidFill>
                  <a:schemeClr val="bg1"/>
                </a:solidFill>
              </a:endParaRPr>
            </a:p>
          </p:txBody>
        </p:sp>
        <p:sp>
          <p:nvSpPr>
            <p:cNvPr id="225" name="Freeform: Shape 224">
              <a:extLst>
                <a:ext uri="{FF2B5EF4-FFF2-40B4-BE49-F238E27FC236}">
                  <a16:creationId xmlns:a16="http://schemas.microsoft.com/office/drawing/2014/main" id="{13B012E3-BE44-C8D5-C778-C42F66D39E5F}"/>
                </a:ext>
              </a:extLst>
            </p:cNvPr>
            <p:cNvSpPr/>
            <p:nvPr/>
          </p:nvSpPr>
          <p:spPr>
            <a:xfrm>
              <a:off x="14758382" y="4579374"/>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26" name="Freeform: Shape 225">
              <a:extLst>
                <a:ext uri="{FF2B5EF4-FFF2-40B4-BE49-F238E27FC236}">
                  <a16:creationId xmlns:a16="http://schemas.microsoft.com/office/drawing/2014/main" id="{94A0D686-EA7C-F028-1DB5-7716510E4F60}"/>
                </a:ext>
              </a:extLst>
            </p:cNvPr>
            <p:cNvSpPr/>
            <p:nvPr/>
          </p:nvSpPr>
          <p:spPr>
            <a:xfrm>
              <a:off x="13888200" y="4579374"/>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5 w 435077"/>
                <a:gd name="connsiteY3" fmla="*/ 27 h 435077"/>
                <a:gd name="connsiteX4" fmla="*/ 435077 w 435077"/>
                <a:gd name="connsiteY4" fmla="*/ 217539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5" y="27"/>
                  </a:lnTo>
                  <a:lnTo>
                    <a:pt x="435077" y="217539"/>
                  </a:lnTo>
                  <a:lnTo>
                    <a:pt x="217565"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27" name="Freeform: Shape 226">
              <a:extLst>
                <a:ext uri="{FF2B5EF4-FFF2-40B4-BE49-F238E27FC236}">
                  <a16:creationId xmlns:a16="http://schemas.microsoft.com/office/drawing/2014/main" id="{6523CE49-92DF-6F47-AFC7-FEC4DBDA8524}"/>
                </a:ext>
              </a:extLst>
            </p:cNvPr>
            <p:cNvSpPr/>
            <p:nvPr/>
          </p:nvSpPr>
          <p:spPr>
            <a:xfrm>
              <a:off x="15628565" y="4579374"/>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0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0"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28" name="Freeform: Shape 227">
              <a:extLst>
                <a:ext uri="{FF2B5EF4-FFF2-40B4-BE49-F238E27FC236}">
                  <a16:creationId xmlns:a16="http://schemas.microsoft.com/office/drawing/2014/main" id="{DFBAF60C-34E3-4BF2-B2A0-5F8E11617F3B}"/>
                </a:ext>
              </a:extLst>
            </p:cNvPr>
            <p:cNvSpPr/>
            <p:nvPr/>
          </p:nvSpPr>
          <p:spPr>
            <a:xfrm>
              <a:off x="16498719" y="4579374"/>
              <a:ext cx="435077" cy="435077"/>
            </a:xfrm>
            <a:custGeom>
              <a:avLst/>
              <a:gdLst>
                <a:gd name="connsiteX0" fmla="*/ 63710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0 w 435077"/>
                <a:gd name="connsiteY6" fmla="*/ 153827 h 435077"/>
                <a:gd name="connsiteX7" fmla="*/ 63710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50 h 435077"/>
                <a:gd name="connsiteX12" fmla="*/ 217539 w 435077"/>
                <a:gd name="connsiteY12" fmla="*/ 217539 h 435077"/>
                <a:gd name="connsiteX13" fmla="*/ 63710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7"/>
                  </a:moveTo>
                  <a:cubicBezTo>
                    <a:pt x="22895" y="113038"/>
                    <a:pt x="0" y="57702"/>
                    <a:pt x="0" y="0"/>
                  </a:cubicBezTo>
                  <a:lnTo>
                    <a:pt x="217539" y="0"/>
                  </a:lnTo>
                  <a:lnTo>
                    <a:pt x="435077" y="0"/>
                  </a:lnTo>
                  <a:cubicBezTo>
                    <a:pt x="435077" y="57702"/>
                    <a:pt x="412154" y="113038"/>
                    <a:pt x="371339" y="153827"/>
                  </a:cubicBezTo>
                  <a:cubicBezTo>
                    <a:pt x="330550" y="194616"/>
                    <a:pt x="275213" y="217539"/>
                    <a:pt x="217539" y="217539"/>
                  </a:cubicBezTo>
                  <a:cubicBezTo>
                    <a:pt x="159836" y="217539"/>
                    <a:pt x="104499" y="194616"/>
                    <a:pt x="63710" y="153827"/>
                  </a:cubicBezTo>
                  <a:close/>
                  <a:moveTo>
                    <a:pt x="63710" y="281250"/>
                  </a:moveTo>
                  <a:cubicBezTo>
                    <a:pt x="22895" y="322066"/>
                    <a:pt x="0" y="377375"/>
                    <a:pt x="0" y="435077"/>
                  </a:cubicBezTo>
                  <a:lnTo>
                    <a:pt x="217539" y="435077"/>
                  </a:lnTo>
                  <a:lnTo>
                    <a:pt x="435077" y="435077"/>
                  </a:lnTo>
                  <a:cubicBezTo>
                    <a:pt x="435077" y="377375"/>
                    <a:pt x="412154" y="322066"/>
                    <a:pt x="371339" y="281250"/>
                  </a:cubicBezTo>
                  <a:cubicBezTo>
                    <a:pt x="330550" y="240462"/>
                    <a:pt x="275213" y="217539"/>
                    <a:pt x="217539" y="217539"/>
                  </a:cubicBezTo>
                  <a:cubicBezTo>
                    <a:pt x="159836" y="217539"/>
                    <a:pt x="104499" y="240462"/>
                    <a:pt x="63710" y="281250"/>
                  </a:cubicBezTo>
                  <a:close/>
                </a:path>
              </a:pathLst>
            </a:custGeom>
            <a:grpFill/>
            <a:ln w="27192" cap="flat">
              <a:noFill/>
              <a:prstDash val="solid"/>
              <a:miter/>
            </a:ln>
          </p:spPr>
          <p:txBody>
            <a:bodyPr rtlCol="0" anchor="ctr"/>
            <a:lstStyle/>
            <a:p>
              <a:endParaRPr lang="uk-UA" sz="900">
                <a:solidFill>
                  <a:schemeClr val="bg1"/>
                </a:solidFill>
              </a:endParaRPr>
            </a:p>
          </p:txBody>
        </p:sp>
        <p:sp>
          <p:nvSpPr>
            <p:cNvPr id="229" name="Freeform: Shape 228">
              <a:extLst>
                <a:ext uri="{FF2B5EF4-FFF2-40B4-BE49-F238E27FC236}">
                  <a16:creationId xmlns:a16="http://schemas.microsoft.com/office/drawing/2014/main" id="{65BA4D5C-8249-5B14-598B-394106E3CDF2}"/>
                </a:ext>
              </a:extLst>
            </p:cNvPr>
            <p:cNvSpPr/>
            <p:nvPr/>
          </p:nvSpPr>
          <p:spPr>
            <a:xfrm>
              <a:off x="18239029" y="4579374"/>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30" name="Freeform: Shape 229">
              <a:extLst>
                <a:ext uri="{FF2B5EF4-FFF2-40B4-BE49-F238E27FC236}">
                  <a16:creationId xmlns:a16="http://schemas.microsoft.com/office/drawing/2014/main" id="{6992B157-23DD-CFE0-FC4F-75C40E85BD74}"/>
                </a:ext>
              </a:extLst>
            </p:cNvPr>
            <p:cNvSpPr/>
            <p:nvPr/>
          </p:nvSpPr>
          <p:spPr>
            <a:xfrm>
              <a:off x="17368874" y="4579374"/>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39 w 435077"/>
                <a:gd name="connsiteY3" fmla="*/ 27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0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0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39" y="27"/>
                  </a:lnTo>
                  <a:lnTo>
                    <a:pt x="435077" y="217539"/>
                  </a:lnTo>
                  <a:lnTo>
                    <a:pt x="217539" y="435077"/>
                  </a:lnTo>
                  <a:lnTo>
                    <a:pt x="435077" y="435077"/>
                  </a:lnTo>
                  <a:close/>
                  <a:moveTo>
                    <a:pt x="0" y="217539"/>
                  </a:moveTo>
                  <a:lnTo>
                    <a:pt x="0" y="0"/>
                  </a:lnTo>
                  <a:lnTo>
                    <a:pt x="217510" y="217539"/>
                  </a:lnTo>
                  <a:lnTo>
                    <a:pt x="0" y="217539"/>
                  </a:lnTo>
                  <a:close/>
                  <a:moveTo>
                    <a:pt x="0" y="435077"/>
                  </a:moveTo>
                  <a:lnTo>
                    <a:pt x="0" y="217539"/>
                  </a:lnTo>
                  <a:lnTo>
                    <a:pt x="217510"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31" name="Freeform: Shape 230">
              <a:extLst>
                <a:ext uri="{FF2B5EF4-FFF2-40B4-BE49-F238E27FC236}">
                  <a16:creationId xmlns:a16="http://schemas.microsoft.com/office/drawing/2014/main" id="{23377B14-B30B-1947-EC88-72323468F493}"/>
                </a:ext>
              </a:extLst>
            </p:cNvPr>
            <p:cNvSpPr/>
            <p:nvPr/>
          </p:nvSpPr>
          <p:spPr>
            <a:xfrm>
              <a:off x="19109210" y="4579374"/>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2"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32" name="Freeform: Shape 231">
              <a:extLst>
                <a:ext uri="{FF2B5EF4-FFF2-40B4-BE49-F238E27FC236}">
                  <a16:creationId xmlns:a16="http://schemas.microsoft.com/office/drawing/2014/main" id="{B5C2FEDD-BBF2-3A95-6FE9-27D27E9DCA82}"/>
                </a:ext>
              </a:extLst>
            </p:cNvPr>
            <p:cNvSpPr/>
            <p:nvPr/>
          </p:nvSpPr>
          <p:spPr>
            <a:xfrm>
              <a:off x="19979365" y="457937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8"/>
                    <a:pt x="0" y="57702"/>
                    <a:pt x="0" y="0"/>
                  </a:cubicBezTo>
                  <a:lnTo>
                    <a:pt x="217539" y="0"/>
                  </a:lnTo>
                  <a:lnTo>
                    <a:pt x="435077" y="0"/>
                  </a:lnTo>
                  <a:cubicBezTo>
                    <a:pt x="435077" y="57702"/>
                    <a:pt x="412154" y="113038"/>
                    <a:pt x="371365" y="153827"/>
                  </a:cubicBezTo>
                  <a:cubicBezTo>
                    <a:pt x="330550" y="194616"/>
                    <a:pt x="275241" y="217539"/>
                    <a:pt x="217539" y="217539"/>
                  </a:cubicBezTo>
                  <a:cubicBezTo>
                    <a:pt x="159836" y="217539"/>
                    <a:pt x="104501" y="194616"/>
                    <a:pt x="63712" y="153827"/>
                  </a:cubicBezTo>
                  <a:close/>
                  <a:moveTo>
                    <a:pt x="63712" y="281250"/>
                  </a:moveTo>
                  <a:cubicBezTo>
                    <a:pt x="22924" y="322066"/>
                    <a:pt x="0" y="377375"/>
                    <a:pt x="0" y="435077"/>
                  </a:cubicBezTo>
                  <a:lnTo>
                    <a:pt x="217539" y="435077"/>
                  </a:lnTo>
                  <a:lnTo>
                    <a:pt x="435077" y="435077"/>
                  </a:lnTo>
                  <a:cubicBezTo>
                    <a:pt x="435077" y="377375"/>
                    <a:pt x="412154" y="322066"/>
                    <a:pt x="371365" y="281250"/>
                  </a:cubicBezTo>
                  <a:cubicBezTo>
                    <a:pt x="330550" y="240462"/>
                    <a:pt x="275241" y="217539"/>
                    <a:pt x="217539" y="217539"/>
                  </a:cubicBezTo>
                  <a:cubicBezTo>
                    <a:pt x="159836" y="217539"/>
                    <a:pt x="104501" y="240462"/>
                    <a:pt x="63712" y="281250"/>
                  </a:cubicBezTo>
                  <a:close/>
                </a:path>
              </a:pathLst>
            </a:custGeom>
            <a:grpFill/>
            <a:ln w="27192" cap="flat">
              <a:noFill/>
              <a:prstDash val="solid"/>
              <a:miter/>
            </a:ln>
          </p:spPr>
          <p:txBody>
            <a:bodyPr rtlCol="0" anchor="ctr"/>
            <a:lstStyle/>
            <a:p>
              <a:endParaRPr lang="uk-UA" sz="900">
                <a:solidFill>
                  <a:schemeClr val="bg1"/>
                </a:solidFill>
              </a:endParaRPr>
            </a:p>
          </p:txBody>
        </p:sp>
        <p:sp>
          <p:nvSpPr>
            <p:cNvPr id="233" name="Freeform: Shape 232">
              <a:extLst>
                <a:ext uri="{FF2B5EF4-FFF2-40B4-BE49-F238E27FC236}">
                  <a16:creationId xmlns:a16="http://schemas.microsoft.com/office/drawing/2014/main" id="{C78DFC0D-DFCA-C239-659D-EDB7C53C61D7}"/>
                </a:ext>
              </a:extLst>
            </p:cNvPr>
            <p:cNvSpPr/>
            <p:nvPr/>
          </p:nvSpPr>
          <p:spPr>
            <a:xfrm>
              <a:off x="21719702" y="4579374"/>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0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0"/>
                  </a:lnTo>
                  <a:lnTo>
                    <a:pt x="217512"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34" name="Freeform: Shape 233">
              <a:extLst>
                <a:ext uri="{FF2B5EF4-FFF2-40B4-BE49-F238E27FC236}">
                  <a16:creationId xmlns:a16="http://schemas.microsoft.com/office/drawing/2014/main" id="{F4B00406-302A-6F76-D99B-5705E1D1FFF8}"/>
                </a:ext>
              </a:extLst>
            </p:cNvPr>
            <p:cNvSpPr/>
            <p:nvPr/>
          </p:nvSpPr>
          <p:spPr>
            <a:xfrm>
              <a:off x="20849520" y="4579374"/>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5 w 435077"/>
                <a:gd name="connsiteY3" fmla="*/ 27 h 435077"/>
                <a:gd name="connsiteX4" fmla="*/ 435077 w 435077"/>
                <a:gd name="connsiteY4" fmla="*/ 217539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5" y="27"/>
                  </a:lnTo>
                  <a:lnTo>
                    <a:pt x="435077" y="217539"/>
                  </a:lnTo>
                  <a:lnTo>
                    <a:pt x="217565"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35" name="Freeform: Shape 234">
              <a:extLst>
                <a:ext uri="{FF2B5EF4-FFF2-40B4-BE49-F238E27FC236}">
                  <a16:creationId xmlns:a16="http://schemas.microsoft.com/office/drawing/2014/main" id="{3C229242-6206-E5F2-B539-B89259F93A8A}"/>
                </a:ext>
              </a:extLst>
            </p:cNvPr>
            <p:cNvSpPr/>
            <p:nvPr/>
          </p:nvSpPr>
          <p:spPr>
            <a:xfrm>
              <a:off x="22589856" y="4579374"/>
              <a:ext cx="435077" cy="435077"/>
            </a:xfrm>
            <a:custGeom>
              <a:avLst/>
              <a:gdLst>
                <a:gd name="connsiteX0" fmla="*/ 435077 w 435077"/>
                <a:gd name="connsiteY0" fmla="*/ 435077 h 435077"/>
                <a:gd name="connsiteX1" fmla="*/ 435077 w 435077"/>
                <a:gd name="connsiteY1" fmla="*/ 0 h 435077"/>
                <a:gd name="connsiteX2" fmla="*/ 217567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7"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36" name="Freeform: Shape 235">
              <a:extLst>
                <a:ext uri="{FF2B5EF4-FFF2-40B4-BE49-F238E27FC236}">
                  <a16:creationId xmlns:a16="http://schemas.microsoft.com/office/drawing/2014/main" id="{6E529A83-4FDD-0610-A851-C8730D1D817B}"/>
                </a:ext>
              </a:extLst>
            </p:cNvPr>
            <p:cNvSpPr/>
            <p:nvPr/>
          </p:nvSpPr>
          <p:spPr>
            <a:xfrm>
              <a:off x="23460039" y="457937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895" y="113038"/>
                    <a:pt x="0" y="57702"/>
                    <a:pt x="0" y="0"/>
                  </a:cubicBezTo>
                  <a:lnTo>
                    <a:pt x="217539" y="0"/>
                  </a:lnTo>
                  <a:lnTo>
                    <a:pt x="435077" y="0"/>
                  </a:lnTo>
                  <a:cubicBezTo>
                    <a:pt x="435077" y="57702"/>
                    <a:pt x="412154" y="113038"/>
                    <a:pt x="371339" y="153827"/>
                  </a:cubicBezTo>
                  <a:cubicBezTo>
                    <a:pt x="330550" y="194616"/>
                    <a:pt x="275213" y="217539"/>
                    <a:pt x="217539" y="217539"/>
                  </a:cubicBezTo>
                  <a:cubicBezTo>
                    <a:pt x="159836" y="217539"/>
                    <a:pt x="104501" y="194616"/>
                    <a:pt x="63712" y="153827"/>
                  </a:cubicBezTo>
                  <a:close/>
                  <a:moveTo>
                    <a:pt x="63712" y="281250"/>
                  </a:moveTo>
                  <a:cubicBezTo>
                    <a:pt x="22895" y="322066"/>
                    <a:pt x="0" y="377375"/>
                    <a:pt x="0" y="435077"/>
                  </a:cubicBezTo>
                  <a:lnTo>
                    <a:pt x="217539" y="435077"/>
                  </a:lnTo>
                  <a:lnTo>
                    <a:pt x="435077" y="435077"/>
                  </a:lnTo>
                  <a:cubicBezTo>
                    <a:pt x="435077" y="377375"/>
                    <a:pt x="412154" y="322066"/>
                    <a:pt x="371339" y="281250"/>
                  </a:cubicBezTo>
                  <a:cubicBezTo>
                    <a:pt x="330550" y="240462"/>
                    <a:pt x="275213" y="217539"/>
                    <a:pt x="217539" y="217539"/>
                  </a:cubicBezTo>
                  <a:cubicBezTo>
                    <a:pt x="159836" y="217539"/>
                    <a:pt x="104501" y="240462"/>
                    <a:pt x="63712" y="281250"/>
                  </a:cubicBezTo>
                  <a:close/>
                </a:path>
              </a:pathLst>
            </a:custGeom>
            <a:grpFill/>
            <a:ln w="27192" cap="flat">
              <a:noFill/>
              <a:prstDash val="solid"/>
              <a:miter/>
            </a:ln>
          </p:spPr>
          <p:txBody>
            <a:bodyPr rtlCol="0" anchor="ctr"/>
            <a:lstStyle/>
            <a:p>
              <a:endParaRPr lang="uk-UA" sz="900">
                <a:solidFill>
                  <a:schemeClr val="bg1"/>
                </a:solidFill>
              </a:endParaRPr>
            </a:p>
          </p:txBody>
        </p:sp>
        <p:sp>
          <p:nvSpPr>
            <p:cNvPr id="237" name="Freeform: Shape 236">
              <a:extLst>
                <a:ext uri="{FF2B5EF4-FFF2-40B4-BE49-F238E27FC236}">
                  <a16:creationId xmlns:a16="http://schemas.microsoft.com/office/drawing/2014/main" id="{069509CA-74E3-B077-3B23-5971A5290B81}"/>
                </a:ext>
              </a:extLst>
            </p:cNvPr>
            <p:cNvSpPr/>
            <p:nvPr/>
          </p:nvSpPr>
          <p:spPr>
            <a:xfrm>
              <a:off x="24330194" y="4579374"/>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39 w 435077"/>
                <a:gd name="connsiteY3" fmla="*/ 27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39" y="27"/>
                  </a:lnTo>
                  <a:lnTo>
                    <a:pt x="435077" y="217539"/>
                  </a:lnTo>
                  <a:lnTo>
                    <a:pt x="217539"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38" name="Freeform: Shape 237">
              <a:extLst>
                <a:ext uri="{FF2B5EF4-FFF2-40B4-BE49-F238E27FC236}">
                  <a16:creationId xmlns:a16="http://schemas.microsoft.com/office/drawing/2014/main" id="{14D5C593-DEC1-8850-4490-F7643075BD95}"/>
                </a:ext>
              </a:extLst>
            </p:cNvPr>
            <p:cNvSpPr/>
            <p:nvPr/>
          </p:nvSpPr>
          <p:spPr>
            <a:xfrm>
              <a:off x="835769" y="718983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39" name="Freeform: Shape 238">
              <a:extLst>
                <a:ext uri="{FF2B5EF4-FFF2-40B4-BE49-F238E27FC236}">
                  <a16:creationId xmlns:a16="http://schemas.microsoft.com/office/drawing/2014/main" id="{9DC4D929-2359-69D2-F337-80D784FC3FEB}"/>
                </a:ext>
              </a:extLst>
            </p:cNvPr>
            <p:cNvSpPr/>
            <p:nvPr/>
          </p:nvSpPr>
          <p:spPr>
            <a:xfrm>
              <a:off x="-34398" y="7189838"/>
              <a:ext cx="435090" cy="435077"/>
            </a:xfrm>
            <a:custGeom>
              <a:avLst/>
              <a:gdLst>
                <a:gd name="connsiteX0" fmla="*/ 0 w 435090"/>
                <a:gd name="connsiteY0" fmla="*/ 435077 h 435077"/>
                <a:gd name="connsiteX1" fmla="*/ 217525 w 435090"/>
                <a:gd name="connsiteY1" fmla="*/ 435077 h 435077"/>
                <a:gd name="connsiteX2" fmla="*/ 217525 w 435090"/>
                <a:gd name="connsiteY2" fmla="*/ 217539 h 435077"/>
                <a:gd name="connsiteX3" fmla="*/ 0 w 435090"/>
                <a:gd name="connsiteY3" fmla="*/ 435077 h 435077"/>
                <a:gd name="connsiteX4" fmla="*/ 217525 w 435090"/>
                <a:gd name="connsiteY4" fmla="*/ 0 h 435077"/>
                <a:gd name="connsiteX5" fmla="*/ 3 w 435090"/>
                <a:gd name="connsiteY5" fmla="*/ 0 h 435077"/>
                <a:gd name="connsiteX6" fmla="*/ 217525 w 435090"/>
                <a:gd name="connsiteY6" fmla="*/ 217539 h 435077"/>
                <a:gd name="connsiteX7" fmla="*/ 217525 w 435090"/>
                <a:gd name="connsiteY7" fmla="*/ 0 h 435077"/>
                <a:gd name="connsiteX8" fmla="*/ 435091 w 435090"/>
                <a:gd name="connsiteY8" fmla="*/ 435077 h 435077"/>
                <a:gd name="connsiteX9" fmla="*/ 217552 w 435090"/>
                <a:gd name="connsiteY9" fmla="*/ 435077 h 435077"/>
                <a:gd name="connsiteX10" fmla="*/ 435091 w 435090"/>
                <a:gd name="connsiteY10" fmla="*/ 217539 h 435077"/>
                <a:gd name="connsiteX11" fmla="*/ 435091 w 435090"/>
                <a:gd name="connsiteY11" fmla="*/ 435077 h 435077"/>
                <a:gd name="connsiteX12" fmla="*/ 435091 w 435090"/>
                <a:gd name="connsiteY12" fmla="*/ 0 h 435077"/>
                <a:gd name="connsiteX13" fmla="*/ 217552 w 435090"/>
                <a:gd name="connsiteY13" fmla="*/ 0 h 435077"/>
                <a:gd name="connsiteX14" fmla="*/ 435091 w 435090"/>
                <a:gd name="connsiteY14" fmla="*/ 217539 h 435077"/>
                <a:gd name="connsiteX15" fmla="*/ 435091 w 435090"/>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90" h="435077">
                  <a:moveTo>
                    <a:pt x="0" y="435077"/>
                  </a:moveTo>
                  <a:lnTo>
                    <a:pt x="217525" y="435077"/>
                  </a:lnTo>
                  <a:lnTo>
                    <a:pt x="217525" y="217539"/>
                  </a:lnTo>
                  <a:lnTo>
                    <a:pt x="0" y="435077"/>
                  </a:lnTo>
                  <a:close/>
                  <a:moveTo>
                    <a:pt x="217525" y="0"/>
                  </a:moveTo>
                  <a:lnTo>
                    <a:pt x="3" y="0"/>
                  </a:lnTo>
                  <a:lnTo>
                    <a:pt x="217525" y="217539"/>
                  </a:lnTo>
                  <a:lnTo>
                    <a:pt x="217525" y="0"/>
                  </a:lnTo>
                  <a:close/>
                  <a:moveTo>
                    <a:pt x="435091" y="435077"/>
                  </a:moveTo>
                  <a:lnTo>
                    <a:pt x="217552" y="435077"/>
                  </a:lnTo>
                  <a:lnTo>
                    <a:pt x="435091" y="217539"/>
                  </a:lnTo>
                  <a:lnTo>
                    <a:pt x="435091" y="435077"/>
                  </a:lnTo>
                  <a:close/>
                  <a:moveTo>
                    <a:pt x="435091" y="0"/>
                  </a:moveTo>
                  <a:lnTo>
                    <a:pt x="217552" y="0"/>
                  </a:lnTo>
                  <a:lnTo>
                    <a:pt x="435091" y="217539"/>
                  </a:lnTo>
                  <a:lnTo>
                    <a:pt x="435091" y="0"/>
                  </a:lnTo>
                  <a:close/>
                </a:path>
              </a:pathLst>
            </a:custGeom>
            <a:grpFill/>
            <a:ln w="27192" cap="flat">
              <a:noFill/>
              <a:prstDash val="solid"/>
              <a:miter/>
            </a:ln>
          </p:spPr>
          <p:txBody>
            <a:bodyPr rtlCol="0" anchor="ctr"/>
            <a:lstStyle/>
            <a:p>
              <a:endParaRPr lang="uk-UA" sz="900">
                <a:solidFill>
                  <a:schemeClr val="bg1"/>
                </a:solidFill>
              </a:endParaRPr>
            </a:p>
          </p:txBody>
        </p:sp>
        <p:sp>
          <p:nvSpPr>
            <p:cNvPr id="240" name="Freeform: Shape 239">
              <a:extLst>
                <a:ext uri="{FF2B5EF4-FFF2-40B4-BE49-F238E27FC236}">
                  <a16:creationId xmlns:a16="http://schemas.microsoft.com/office/drawing/2014/main" id="{6480F02E-401B-2275-BC70-52144BD4F0CC}"/>
                </a:ext>
              </a:extLst>
            </p:cNvPr>
            <p:cNvSpPr/>
            <p:nvPr/>
          </p:nvSpPr>
          <p:spPr>
            <a:xfrm>
              <a:off x="1705924" y="7189838"/>
              <a:ext cx="435077" cy="435077"/>
            </a:xfrm>
            <a:custGeom>
              <a:avLst/>
              <a:gdLst>
                <a:gd name="connsiteX0" fmla="*/ 371366 w 435077"/>
                <a:gd name="connsiteY0" fmla="*/ 63711 h 435077"/>
                <a:gd name="connsiteX1" fmla="*/ 435077 w 435077"/>
                <a:gd name="connsiteY1" fmla="*/ 217539 h 435077"/>
                <a:gd name="connsiteX2" fmla="*/ 218952 w 435077"/>
                <a:gd name="connsiteY2" fmla="*/ 217539 h 435077"/>
                <a:gd name="connsiteX3" fmla="*/ 371366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1 w 435077"/>
                <a:gd name="connsiteY7" fmla="*/ 281250 h 435077"/>
                <a:gd name="connsiteX8" fmla="*/ 216152 w 435077"/>
                <a:gd name="connsiteY8" fmla="*/ 217539 h 435077"/>
                <a:gd name="connsiteX9" fmla="*/ 0 w 435077"/>
                <a:gd name="connsiteY9" fmla="*/ 217539 h 435077"/>
                <a:gd name="connsiteX10" fmla="*/ 63711 w 435077"/>
                <a:gd name="connsiteY10" fmla="*/ 63711 h 435077"/>
                <a:gd name="connsiteX11" fmla="*/ 217539 w 435077"/>
                <a:gd name="connsiteY11" fmla="*/ 0 h 435077"/>
                <a:gd name="connsiteX12" fmla="*/ 371366 w 435077"/>
                <a:gd name="connsiteY12" fmla="*/ 63711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1"/>
                  </a:moveTo>
                  <a:cubicBezTo>
                    <a:pt x="412154" y="104527"/>
                    <a:pt x="435077" y="159836"/>
                    <a:pt x="435077" y="217539"/>
                  </a:cubicBezTo>
                  <a:lnTo>
                    <a:pt x="218952" y="217539"/>
                  </a:lnTo>
                  <a:cubicBezTo>
                    <a:pt x="276138" y="217920"/>
                    <a:pt x="330903" y="240788"/>
                    <a:pt x="371366" y="281250"/>
                  </a:cubicBezTo>
                  <a:cubicBezTo>
                    <a:pt x="412154" y="322039"/>
                    <a:pt x="435077" y="377375"/>
                    <a:pt x="435077" y="435077"/>
                  </a:cubicBezTo>
                  <a:lnTo>
                    <a:pt x="217539" y="435077"/>
                  </a:lnTo>
                  <a:lnTo>
                    <a:pt x="0" y="435077"/>
                  </a:lnTo>
                  <a:cubicBezTo>
                    <a:pt x="0" y="377375"/>
                    <a:pt x="22923" y="322039"/>
                    <a:pt x="63711" y="281250"/>
                  </a:cubicBezTo>
                  <a:cubicBezTo>
                    <a:pt x="104201" y="240788"/>
                    <a:pt x="158966" y="217920"/>
                    <a:pt x="216152" y="217539"/>
                  </a:cubicBezTo>
                  <a:lnTo>
                    <a:pt x="0" y="217539"/>
                  </a:lnTo>
                  <a:cubicBezTo>
                    <a:pt x="0" y="159836"/>
                    <a:pt x="22923" y="104527"/>
                    <a:pt x="63711" y="63711"/>
                  </a:cubicBezTo>
                  <a:cubicBezTo>
                    <a:pt x="104527" y="22923"/>
                    <a:pt x="159836" y="0"/>
                    <a:pt x="217539" y="0"/>
                  </a:cubicBezTo>
                  <a:cubicBezTo>
                    <a:pt x="275241" y="0"/>
                    <a:pt x="330577" y="22923"/>
                    <a:pt x="371366" y="63711"/>
                  </a:cubicBezTo>
                  <a:close/>
                </a:path>
              </a:pathLst>
            </a:custGeom>
            <a:grpFill/>
            <a:ln w="27192" cap="flat">
              <a:noFill/>
              <a:prstDash val="solid"/>
              <a:miter/>
            </a:ln>
          </p:spPr>
          <p:txBody>
            <a:bodyPr rtlCol="0" anchor="ctr"/>
            <a:lstStyle/>
            <a:p>
              <a:endParaRPr lang="uk-UA" sz="900">
                <a:solidFill>
                  <a:schemeClr val="bg1"/>
                </a:solidFill>
              </a:endParaRPr>
            </a:p>
          </p:txBody>
        </p:sp>
        <p:sp>
          <p:nvSpPr>
            <p:cNvPr id="241" name="Freeform: Shape 240">
              <a:extLst>
                <a:ext uri="{FF2B5EF4-FFF2-40B4-BE49-F238E27FC236}">
                  <a16:creationId xmlns:a16="http://schemas.microsoft.com/office/drawing/2014/main" id="{2773E8F4-3190-CA5D-8C13-A693077DF392}"/>
                </a:ext>
              </a:extLst>
            </p:cNvPr>
            <p:cNvSpPr/>
            <p:nvPr/>
          </p:nvSpPr>
          <p:spPr>
            <a:xfrm>
              <a:off x="2576106" y="718983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50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50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50" y="217539"/>
                  </a:lnTo>
                  <a:lnTo>
                    <a:pt x="435077" y="217539"/>
                  </a:lnTo>
                  <a:lnTo>
                    <a:pt x="435077" y="217539"/>
                  </a:lnTo>
                  <a:lnTo>
                    <a:pt x="435077" y="217539"/>
                  </a:lnTo>
                  <a:lnTo>
                    <a:pt x="435050"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242" name="Freeform: Shape 241">
              <a:extLst>
                <a:ext uri="{FF2B5EF4-FFF2-40B4-BE49-F238E27FC236}">
                  <a16:creationId xmlns:a16="http://schemas.microsoft.com/office/drawing/2014/main" id="{5D4B4103-29BB-EE15-A876-879B4AE0000D}"/>
                </a:ext>
              </a:extLst>
            </p:cNvPr>
            <p:cNvSpPr/>
            <p:nvPr/>
          </p:nvSpPr>
          <p:spPr>
            <a:xfrm>
              <a:off x="4316416" y="7189838"/>
              <a:ext cx="435077" cy="435077"/>
            </a:xfrm>
            <a:custGeom>
              <a:avLst/>
              <a:gdLst>
                <a:gd name="connsiteX0" fmla="*/ 217565 w 435077"/>
                <a:gd name="connsiteY0" fmla="*/ 0 h 435077"/>
                <a:gd name="connsiteX1" fmla="*/ 217539 w 435077"/>
                <a:gd name="connsiteY1" fmla="*/ 0 h 435077"/>
                <a:gd name="connsiteX2" fmla="*/ 27 w 435077"/>
                <a:gd name="connsiteY2" fmla="*/ 0 h 435077"/>
                <a:gd name="connsiteX3" fmla="*/ 27 w 435077"/>
                <a:gd name="connsiteY3" fmla="*/ 217539 h 435077"/>
                <a:gd name="connsiteX4" fmla="*/ 217565 w 435077"/>
                <a:gd name="connsiteY4" fmla="*/ 0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65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65" y="0"/>
                  </a:moveTo>
                  <a:lnTo>
                    <a:pt x="217539" y="0"/>
                  </a:lnTo>
                  <a:lnTo>
                    <a:pt x="27" y="0"/>
                  </a:lnTo>
                  <a:lnTo>
                    <a:pt x="27" y="217539"/>
                  </a:lnTo>
                  <a:lnTo>
                    <a:pt x="217565" y="0"/>
                  </a:lnTo>
                  <a:lnTo>
                    <a:pt x="435077" y="217539"/>
                  </a:lnTo>
                  <a:lnTo>
                    <a:pt x="217539" y="435077"/>
                  </a:lnTo>
                  <a:lnTo>
                    <a:pt x="0" y="217539"/>
                  </a:lnTo>
                  <a:lnTo>
                    <a:pt x="0" y="435077"/>
                  </a:lnTo>
                  <a:lnTo>
                    <a:pt x="217539" y="435077"/>
                  </a:lnTo>
                  <a:lnTo>
                    <a:pt x="435077" y="435077"/>
                  </a:lnTo>
                  <a:lnTo>
                    <a:pt x="435077" y="217539"/>
                  </a:lnTo>
                  <a:lnTo>
                    <a:pt x="435077" y="0"/>
                  </a:lnTo>
                  <a:lnTo>
                    <a:pt x="217565" y="0"/>
                  </a:lnTo>
                  <a:close/>
                </a:path>
              </a:pathLst>
            </a:custGeom>
            <a:grpFill/>
            <a:ln w="27192" cap="flat">
              <a:noFill/>
              <a:prstDash val="solid"/>
              <a:miter/>
            </a:ln>
          </p:spPr>
          <p:txBody>
            <a:bodyPr rtlCol="0" anchor="ctr"/>
            <a:lstStyle/>
            <a:p>
              <a:endParaRPr lang="uk-UA" sz="900">
                <a:solidFill>
                  <a:schemeClr val="bg1"/>
                </a:solidFill>
              </a:endParaRPr>
            </a:p>
          </p:txBody>
        </p:sp>
        <p:sp>
          <p:nvSpPr>
            <p:cNvPr id="243" name="Freeform: Shape 242">
              <a:extLst>
                <a:ext uri="{FF2B5EF4-FFF2-40B4-BE49-F238E27FC236}">
                  <a16:creationId xmlns:a16="http://schemas.microsoft.com/office/drawing/2014/main" id="{6D170570-D51A-6C68-273B-E76C9C9462B3}"/>
                </a:ext>
              </a:extLst>
            </p:cNvPr>
            <p:cNvSpPr/>
            <p:nvPr/>
          </p:nvSpPr>
          <p:spPr>
            <a:xfrm>
              <a:off x="3446261" y="7189838"/>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66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66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66" y="435077"/>
                  </a:lnTo>
                  <a:lnTo>
                    <a:pt x="435077" y="217539"/>
                  </a:lnTo>
                  <a:lnTo>
                    <a:pt x="435077" y="435077"/>
                  </a:lnTo>
                  <a:close/>
                  <a:moveTo>
                    <a:pt x="435077" y="0"/>
                  </a:moveTo>
                  <a:lnTo>
                    <a:pt x="217566" y="0"/>
                  </a:lnTo>
                  <a:lnTo>
                    <a:pt x="435077" y="217539"/>
                  </a:lnTo>
                  <a:lnTo>
                    <a:pt x="435077" y="0"/>
                  </a:lnTo>
                  <a:close/>
                </a:path>
              </a:pathLst>
            </a:custGeom>
            <a:grpFill/>
            <a:ln w="27192" cap="flat">
              <a:noFill/>
              <a:prstDash val="solid"/>
              <a:miter/>
            </a:ln>
          </p:spPr>
          <p:txBody>
            <a:bodyPr rtlCol="0" anchor="ctr"/>
            <a:lstStyle/>
            <a:p>
              <a:endParaRPr lang="uk-UA" sz="900">
                <a:solidFill>
                  <a:schemeClr val="bg1"/>
                </a:solidFill>
              </a:endParaRPr>
            </a:p>
          </p:txBody>
        </p:sp>
        <p:sp>
          <p:nvSpPr>
            <p:cNvPr id="244" name="Freeform: Shape 243">
              <a:extLst>
                <a:ext uri="{FF2B5EF4-FFF2-40B4-BE49-F238E27FC236}">
                  <a16:creationId xmlns:a16="http://schemas.microsoft.com/office/drawing/2014/main" id="{3CA358EF-0C33-67AB-618F-466884438831}"/>
                </a:ext>
              </a:extLst>
            </p:cNvPr>
            <p:cNvSpPr/>
            <p:nvPr/>
          </p:nvSpPr>
          <p:spPr>
            <a:xfrm>
              <a:off x="5186597" y="7189838"/>
              <a:ext cx="435077" cy="435077"/>
            </a:xfrm>
            <a:custGeom>
              <a:avLst/>
              <a:gdLst>
                <a:gd name="connsiteX0" fmla="*/ 371366 w 435077"/>
                <a:gd name="connsiteY0" fmla="*/ 63711 h 435077"/>
                <a:gd name="connsiteX1" fmla="*/ 435077 w 435077"/>
                <a:gd name="connsiteY1" fmla="*/ 217539 h 435077"/>
                <a:gd name="connsiteX2" fmla="*/ 218953 w 435077"/>
                <a:gd name="connsiteY2" fmla="*/ 217539 h 435077"/>
                <a:gd name="connsiteX3" fmla="*/ 371366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25 w 435077"/>
                <a:gd name="connsiteY8" fmla="*/ 217539 h 435077"/>
                <a:gd name="connsiteX9" fmla="*/ 0 w 435077"/>
                <a:gd name="connsiteY9" fmla="*/ 217539 h 435077"/>
                <a:gd name="connsiteX10" fmla="*/ 63712 w 435077"/>
                <a:gd name="connsiteY10" fmla="*/ 63711 h 435077"/>
                <a:gd name="connsiteX11" fmla="*/ 217539 w 435077"/>
                <a:gd name="connsiteY11" fmla="*/ 0 h 435077"/>
                <a:gd name="connsiteX12" fmla="*/ 371366 w 435077"/>
                <a:gd name="connsiteY12" fmla="*/ 63711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1"/>
                  </a:moveTo>
                  <a:cubicBezTo>
                    <a:pt x="412155" y="104527"/>
                    <a:pt x="435077" y="159836"/>
                    <a:pt x="435077" y="217539"/>
                  </a:cubicBezTo>
                  <a:lnTo>
                    <a:pt x="218953" y="217539"/>
                  </a:lnTo>
                  <a:cubicBezTo>
                    <a:pt x="276138" y="217920"/>
                    <a:pt x="330904" y="240788"/>
                    <a:pt x="371366" y="281250"/>
                  </a:cubicBezTo>
                  <a:cubicBezTo>
                    <a:pt x="412155" y="322039"/>
                    <a:pt x="435077" y="377375"/>
                    <a:pt x="435077" y="435077"/>
                  </a:cubicBezTo>
                  <a:lnTo>
                    <a:pt x="217539" y="435077"/>
                  </a:lnTo>
                  <a:lnTo>
                    <a:pt x="0" y="435077"/>
                  </a:lnTo>
                  <a:cubicBezTo>
                    <a:pt x="0" y="377375"/>
                    <a:pt x="22924" y="322039"/>
                    <a:pt x="63712" y="281250"/>
                  </a:cubicBezTo>
                  <a:cubicBezTo>
                    <a:pt x="104175" y="240788"/>
                    <a:pt x="158939" y="217920"/>
                    <a:pt x="216125" y="217539"/>
                  </a:cubicBezTo>
                  <a:lnTo>
                    <a:pt x="0" y="217539"/>
                  </a:lnTo>
                  <a:cubicBezTo>
                    <a:pt x="0" y="159836"/>
                    <a:pt x="22924" y="104527"/>
                    <a:pt x="63712" y="63711"/>
                  </a:cubicBezTo>
                  <a:cubicBezTo>
                    <a:pt x="104501" y="22923"/>
                    <a:pt x="159837" y="0"/>
                    <a:pt x="217539" y="0"/>
                  </a:cubicBezTo>
                  <a:cubicBezTo>
                    <a:pt x="275241" y="0"/>
                    <a:pt x="330550" y="22923"/>
                    <a:pt x="371366" y="63711"/>
                  </a:cubicBezTo>
                  <a:close/>
                </a:path>
              </a:pathLst>
            </a:custGeom>
            <a:grpFill/>
            <a:ln w="27192" cap="flat">
              <a:noFill/>
              <a:prstDash val="solid"/>
              <a:miter/>
            </a:ln>
          </p:spPr>
          <p:txBody>
            <a:bodyPr rtlCol="0" anchor="ctr"/>
            <a:lstStyle/>
            <a:p>
              <a:endParaRPr lang="uk-UA" sz="900">
                <a:solidFill>
                  <a:schemeClr val="bg1"/>
                </a:solidFill>
              </a:endParaRPr>
            </a:p>
          </p:txBody>
        </p:sp>
        <p:sp>
          <p:nvSpPr>
            <p:cNvPr id="245" name="Freeform: Shape 244">
              <a:extLst>
                <a:ext uri="{FF2B5EF4-FFF2-40B4-BE49-F238E27FC236}">
                  <a16:creationId xmlns:a16="http://schemas.microsoft.com/office/drawing/2014/main" id="{3C92F9E4-676A-7493-5B61-58387A151295}"/>
                </a:ext>
              </a:extLst>
            </p:cNvPr>
            <p:cNvSpPr/>
            <p:nvPr/>
          </p:nvSpPr>
          <p:spPr>
            <a:xfrm>
              <a:off x="6056752" y="7189838"/>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0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39 h 435077"/>
                <a:gd name="connsiteX9" fmla="*/ 435077 w 435077"/>
                <a:gd name="connsiteY9" fmla="*/ 217539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0"/>
                  </a:lnTo>
                  <a:lnTo>
                    <a:pt x="435077" y="217539"/>
                  </a:lnTo>
                  <a:lnTo>
                    <a:pt x="435077" y="217539"/>
                  </a:lnTo>
                  <a:lnTo>
                    <a:pt x="435077" y="217539"/>
                  </a:lnTo>
                  <a:lnTo>
                    <a:pt x="435077" y="217539"/>
                  </a:lnTo>
                  <a:lnTo>
                    <a:pt x="435077" y="217539"/>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246" name="Freeform: Shape 245">
              <a:extLst>
                <a:ext uri="{FF2B5EF4-FFF2-40B4-BE49-F238E27FC236}">
                  <a16:creationId xmlns:a16="http://schemas.microsoft.com/office/drawing/2014/main" id="{0D9C676D-DAF6-25A0-8189-7C644A59FAF5}"/>
                </a:ext>
              </a:extLst>
            </p:cNvPr>
            <p:cNvSpPr/>
            <p:nvPr/>
          </p:nvSpPr>
          <p:spPr>
            <a:xfrm>
              <a:off x="7797062" y="718983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solidFill>
                  <a:schemeClr val="bg1"/>
                </a:solidFill>
              </a:endParaRPr>
            </a:p>
          </p:txBody>
        </p:sp>
        <p:sp>
          <p:nvSpPr>
            <p:cNvPr id="247" name="Freeform: Shape 246">
              <a:extLst>
                <a:ext uri="{FF2B5EF4-FFF2-40B4-BE49-F238E27FC236}">
                  <a16:creationId xmlns:a16="http://schemas.microsoft.com/office/drawing/2014/main" id="{31EAAE1C-562F-B188-BF4E-390098A59776}"/>
                </a:ext>
              </a:extLst>
            </p:cNvPr>
            <p:cNvSpPr/>
            <p:nvPr/>
          </p:nvSpPr>
          <p:spPr>
            <a:xfrm>
              <a:off x="6926907" y="7189838"/>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solidFill>
                  <a:schemeClr val="bg1"/>
                </a:solidFill>
              </a:endParaRPr>
            </a:p>
          </p:txBody>
        </p:sp>
        <p:sp>
          <p:nvSpPr>
            <p:cNvPr id="248" name="Freeform: Shape 247">
              <a:extLst>
                <a:ext uri="{FF2B5EF4-FFF2-40B4-BE49-F238E27FC236}">
                  <a16:creationId xmlns:a16="http://schemas.microsoft.com/office/drawing/2014/main" id="{E061909F-AF53-68C1-5DE7-B2C6B8B6E7D5}"/>
                </a:ext>
              </a:extLst>
            </p:cNvPr>
            <p:cNvSpPr/>
            <p:nvPr/>
          </p:nvSpPr>
          <p:spPr>
            <a:xfrm>
              <a:off x="8667217" y="7189838"/>
              <a:ext cx="435104" cy="435077"/>
            </a:xfrm>
            <a:custGeom>
              <a:avLst/>
              <a:gdLst>
                <a:gd name="connsiteX0" fmla="*/ 371366 w 435104"/>
                <a:gd name="connsiteY0" fmla="*/ 63711 h 435077"/>
                <a:gd name="connsiteX1" fmla="*/ 435077 w 435104"/>
                <a:gd name="connsiteY1" fmla="*/ 217539 h 435077"/>
                <a:gd name="connsiteX2" fmla="*/ 218953 w 435104"/>
                <a:gd name="connsiteY2" fmla="*/ 217539 h 435077"/>
                <a:gd name="connsiteX3" fmla="*/ 371366 w 435104"/>
                <a:gd name="connsiteY3" fmla="*/ 281250 h 435077"/>
                <a:gd name="connsiteX4" fmla="*/ 435105 w 435104"/>
                <a:gd name="connsiteY4" fmla="*/ 435077 h 435077"/>
                <a:gd name="connsiteX5" fmla="*/ 217566 w 435104"/>
                <a:gd name="connsiteY5" fmla="*/ 435077 h 435077"/>
                <a:gd name="connsiteX6" fmla="*/ 27 w 435104"/>
                <a:gd name="connsiteY6" fmla="*/ 435077 h 435077"/>
                <a:gd name="connsiteX7" fmla="*/ 63739 w 435104"/>
                <a:gd name="connsiteY7" fmla="*/ 281250 h 435077"/>
                <a:gd name="connsiteX8" fmla="*/ 216152 w 435104"/>
                <a:gd name="connsiteY8" fmla="*/ 217539 h 435077"/>
                <a:gd name="connsiteX9" fmla="*/ 0 w 435104"/>
                <a:gd name="connsiteY9" fmla="*/ 217539 h 435077"/>
                <a:gd name="connsiteX10" fmla="*/ 63739 w 435104"/>
                <a:gd name="connsiteY10" fmla="*/ 63711 h 435077"/>
                <a:gd name="connsiteX11" fmla="*/ 217539 w 435104"/>
                <a:gd name="connsiteY11" fmla="*/ 0 h 435077"/>
                <a:gd name="connsiteX12" fmla="*/ 371366 w 435104"/>
                <a:gd name="connsiteY12" fmla="*/ 63711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4" h="435077">
                  <a:moveTo>
                    <a:pt x="371366" y="63711"/>
                  </a:moveTo>
                  <a:cubicBezTo>
                    <a:pt x="412182" y="104527"/>
                    <a:pt x="435077" y="159836"/>
                    <a:pt x="435077" y="217539"/>
                  </a:cubicBezTo>
                  <a:lnTo>
                    <a:pt x="218953" y="217539"/>
                  </a:lnTo>
                  <a:cubicBezTo>
                    <a:pt x="276138" y="217920"/>
                    <a:pt x="330904" y="240788"/>
                    <a:pt x="371366" y="281250"/>
                  </a:cubicBezTo>
                  <a:cubicBezTo>
                    <a:pt x="412182" y="322039"/>
                    <a:pt x="435105" y="377375"/>
                    <a:pt x="435105" y="435077"/>
                  </a:cubicBezTo>
                  <a:lnTo>
                    <a:pt x="217566" y="435077"/>
                  </a:lnTo>
                  <a:lnTo>
                    <a:pt x="27" y="435077"/>
                  </a:lnTo>
                  <a:cubicBezTo>
                    <a:pt x="27" y="377375"/>
                    <a:pt x="22924" y="322039"/>
                    <a:pt x="63739" y="281250"/>
                  </a:cubicBezTo>
                  <a:cubicBezTo>
                    <a:pt x="104201" y="240788"/>
                    <a:pt x="158967" y="217920"/>
                    <a:pt x="216152" y="217539"/>
                  </a:cubicBezTo>
                  <a:lnTo>
                    <a:pt x="0" y="217539"/>
                  </a:lnTo>
                  <a:cubicBezTo>
                    <a:pt x="0" y="159836"/>
                    <a:pt x="22924" y="104527"/>
                    <a:pt x="63739" y="63711"/>
                  </a:cubicBezTo>
                  <a:cubicBezTo>
                    <a:pt x="104527" y="22923"/>
                    <a:pt x="159864" y="0"/>
                    <a:pt x="217539" y="0"/>
                  </a:cubicBezTo>
                  <a:cubicBezTo>
                    <a:pt x="275241" y="0"/>
                    <a:pt x="330578" y="22923"/>
                    <a:pt x="371366" y="63711"/>
                  </a:cubicBezTo>
                  <a:close/>
                </a:path>
              </a:pathLst>
            </a:custGeom>
            <a:grpFill/>
            <a:ln w="27192" cap="flat">
              <a:noFill/>
              <a:prstDash val="solid"/>
              <a:miter/>
            </a:ln>
          </p:spPr>
          <p:txBody>
            <a:bodyPr rtlCol="0" anchor="ctr"/>
            <a:lstStyle/>
            <a:p>
              <a:endParaRPr lang="uk-UA" sz="900">
                <a:solidFill>
                  <a:schemeClr val="bg1"/>
                </a:solidFill>
              </a:endParaRPr>
            </a:p>
          </p:txBody>
        </p:sp>
        <p:sp>
          <p:nvSpPr>
            <p:cNvPr id="249" name="Freeform: Shape 248">
              <a:extLst>
                <a:ext uri="{FF2B5EF4-FFF2-40B4-BE49-F238E27FC236}">
                  <a16:creationId xmlns:a16="http://schemas.microsoft.com/office/drawing/2014/main" id="{3E3A46E8-01DF-DAD1-ED0F-2C40B3B1F4CB}"/>
                </a:ext>
              </a:extLst>
            </p:cNvPr>
            <p:cNvSpPr/>
            <p:nvPr/>
          </p:nvSpPr>
          <p:spPr>
            <a:xfrm>
              <a:off x="9537399" y="7189838"/>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0 h 435077"/>
                <a:gd name="connsiteX5" fmla="*/ 435050 w 435077"/>
                <a:gd name="connsiteY5" fmla="*/ 217539 h 435077"/>
                <a:gd name="connsiteX6" fmla="*/ 435077 w 435077"/>
                <a:gd name="connsiteY6" fmla="*/ 217539 h 435077"/>
                <a:gd name="connsiteX7" fmla="*/ 435050 w 435077"/>
                <a:gd name="connsiteY7" fmla="*/ 217539 h 435077"/>
                <a:gd name="connsiteX8" fmla="*/ 435077 w 435077"/>
                <a:gd name="connsiteY8" fmla="*/ 217539 h 435077"/>
                <a:gd name="connsiteX9" fmla="*/ 435050 w 435077"/>
                <a:gd name="connsiteY9" fmla="*/ 217539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0"/>
                  </a:lnTo>
                  <a:lnTo>
                    <a:pt x="435050" y="217539"/>
                  </a:lnTo>
                  <a:lnTo>
                    <a:pt x="435077" y="217539"/>
                  </a:lnTo>
                  <a:lnTo>
                    <a:pt x="435050" y="217539"/>
                  </a:lnTo>
                  <a:lnTo>
                    <a:pt x="435077" y="217539"/>
                  </a:lnTo>
                  <a:lnTo>
                    <a:pt x="435050" y="217539"/>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250" name="Freeform: Shape 249">
              <a:extLst>
                <a:ext uri="{FF2B5EF4-FFF2-40B4-BE49-F238E27FC236}">
                  <a16:creationId xmlns:a16="http://schemas.microsoft.com/office/drawing/2014/main" id="{BD6FFCE3-76AA-B35E-E078-0B409BFA58B3}"/>
                </a:ext>
              </a:extLst>
            </p:cNvPr>
            <p:cNvSpPr/>
            <p:nvPr/>
          </p:nvSpPr>
          <p:spPr>
            <a:xfrm>
              <a:off x="11277709" y="718983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51" name="Freeform: Shape 250">
              <a:extLst>
                <a:ext uri="{FF2B5EF4-FFF2-40B4-BE49-F238E27FC236}">
                  <a16:creationId xmlns:a16="http://schemas.microsoft.com/office/drawing/2014/main" id="{0673B9B1-15E5-B74E-B039-2FE23F89C002}"/>
                </a:ext>
              </a:extLst>
            </p:cNvPr>
            <p:cNvSpPr/>
            <p:nvPr/>
          </p:nvSpPr>
          <p:spPr>
            <a:xfrm>
              <a:off x="10407554" y="7189838"/>
              <a:ext cx="435077" cy="435077"/>
            </a:xfrm>
            <a:custGeom>
              <a:avLst/>
              <a:gdLst>
                <a:gd name="connsiteX0" fmla="*/ 0 w 435077"/>
                <a:gd name="connsiteY0" fmla="*/ 435077 h 435077"/>
                <a:gd name="connsiteX1" fmla="*/ 217511 w 435077"/>
                <a:gd name="connsiteY1" fmla="*/ 435077 h 435077"/>
                <a:gd name="connsiteX2" fmla="*/ 217511 w 435077"/>
                <a:gd name="connsiteY2" fmla="*/ 217539 h 435077"/>
                <a:gd name="connsiteX3" fmla="*/ 0 w 435077"/>
                <a:gd name="connsiteY3" fmla="*/ 435077 h 435077"/>
                <a:gd name="connsiteX4" fmla="*/ 217511 w 435077"/>
                <a:gd name="connsiteY4" fmla="*/ 0 h 435077"/>
                <a:gd name="connsiteX5" fmla="*/ 0 w 435077"/>
                <a:gd name="connsiteY5" fmla="*/ 0 h 435077"/>
                <a:gd name="connsiteX6" fmla="*/ 217511 w 435077"/>
                <a:gd name="connsiteY6" fmla="*/ 217539 h 435077"/>
                <a:gd name="connsiteX7" fmla="*/ 217511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11" y="435077"/>
                  </a:lnTo>
                  <a:lnTo>
                    <a:pt x="217511" y="217539"/>
                  </a:lnTo>
                  <a:lnTo>
                    <a:pt x="0" y="435077"/>
                  </a:lnTo>
                  <a:close/>
                  <a:moveTo>
                    <a:pt x="217511" y="0"/>
                  </a:moveTo>
                  <a:lnTo>
                    <a:pt x="0" y="0"/>
                  </a:lnTo>
                  <a:lnTo>
                    <a:pt x="217511" y="217539"/>
                  </a:lnTo>
                  <a:lnTo>
                    <a:pt x="217511"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solidFill>
                  <a:schemeClr val="bg1"/>
                </a:solidFill>
              </a:endParaRPr>
            </a:p>
          </p:txBody>
        </p:sp>
        <p:sp>
          <p:nvSpPr>
            <p:cNvPr id="252" name="Freeform: Shape 251">
              <a:extLst>
                <a:ext uri="{FF2B5EF4-FFF2-40B4-BE49-F238E27FC236}">
                  <a16:creationId xmlns:a16="http://schemas.microsoft.com/office/drawing/2014/main" id="{66F7C7CD-939A-FCEA-7F27-48B3E8D48A62}"/>
                </a:ext>
              </a:extLst>
            </p:cNvPr>
            <p:cNvSpPr/>
            <p:nvPr/>
          </p:nvSpPr>
          <p:spPr>
            <a:xfrm>
              <a:off x="12147864" y="7189838"/>
              <a:ext cx="435103" cy="435077"/>
            </a:xfrm>
            <a:custGeom>
              <a:avLst/>
              <a:gdLst>
                <a:gd name="connsiteX0" fmla="*/ 371365 w 435103"/>
                <a:gd name="connsiteY0" fmla="*/ 63711 h 435077"/>
                <a:gd name="connsiteX1" fmla="*/ 435077 w 435103"/>
                <a:gd name="connsiteY1" fmla="*/ 217539 h 435077"/>
                <a:gd name="connsiteX2" fmla="*/ 218953 w 435103"/>
                <a:gd name="connsiteY2" fmla="*/ 217539 h 435077"/>
                <a:gd name="connsiteX3" fmla="*/ 371365 w 435103"/>
                <a:gd name="connsiteY3" fmla="*/ 281250 h 435077"/>
                <a:gd name="connsiteX4" fmla="*/ 435104 w 435103"/>
                <a:gd name="connsiteY4" fmla="*/ 435077 h 435077"/>
                <a:gd name="connsiteX5" fmla="*/ 217565 w 435103"/>
                <a:gd name="connsiteY5" fmla="*/ 435077 h 435077"/>
                <a:gd name="connsiteX6" fmla="*/ 27 w 435103"/>
                <a:gd name="connsiteY6" fmla="*/ 435077 h 435077"/>
                <a:gd name="connsiteX7" fmla="*/ 63739 w 435103"/>
                <a:gd name="connsiteY7" fmla="*/ 281250 h 435077"/>
                <a:gd name="connsiteX8" fmla="*/ 216151 w 435103"/>
                <a:gd name="connsiteY8" fmla="*/ 217539 h 435077"/>
                <a:gd name="connsiteX9" fmla="*/ 0 w 435103"/>
                <a:gd name="connsiteY9" fmla="*/ 217539 h 435077"/>
                <a:gd name="connsiteX10" fmla="*/ 63739 w 435103"/>
                <a:gd name="connsiteY10" fmla="*/ 63711 h 435077"/>
                <a:gd name="connsiteX11" fmla="*/ 217539 w 435103"/>
                <a:gd name="connsiteY11" fmla="*/ 0 h 435077"/>
                <a:gd name="connsiteX12" fmla="*/ 371365 w 435103"/>
                <a:gd name="connsiteY12" fmla="*/ 63711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3" h="435077">
                  <a:moveTo>
                    <a:pt x="371365" y="63711"/>
                  </a:moveTo>
                  <a:cubicBezTo>
                    <a:pt x="412180" y="104527"/>
                    <a:pt x="435077" y="159836"/>
                    <a:pt x="435077" y="217539"/>
                  </a:cubicBezTo>
                  <a:lnTo>
                    <a:pt x="218953" y="217539"/>
                  </a:lnTo>
                  <a:cubicBezTo>
                    <a:pt x="276137" y="217920"/>
                    <a:pt x="330902" y="240788"/>
                    <a:pt x="371365" y="281250"/>
                  </a:cubicBezTo>
                  <a:cubicBezTo>
                    <a:pt x="412180" y="322039"/>
                    <a:pt x="435104" y="377375"/>
                    <a:pt x="435104" y="435077"/>
                  </a:cubicBezTo>
                  <a:lnTo>
                    <a:pt x="217565" y="435077"/>
                  </a:lnTo>
                  <a:lnTo>
                    <a:pt x="27" y="435077"/>
                  </a:lnTo>
                  <a:cubicBezTo>
                    <a:pt x="27" y="377375"/>
                    <a:pt x="22922" y="322039"/>
                    <a:pt x="63739" y="281250"/>
                  </a:cubicBezTo>
                  <a:cubicBezTo>
                    <a:pt x="104200" y="240788"/>
                    <a:pt x="158965" y="217920"/>
                    <a:pt x="216151" y="217539"/>
                  </a:cubicBezTo>
                  <a:lnTo>
                    <a:pt x="0" y="217539"/>
                  </a:lnTo>
                  <a:cubicBezTo>
                    <a:pt x="0" y="159836"/>
                    <a:pt x="22922" y="104527"/>
                    <a:pt x="63739" y="63711"/>
                  </a:cubicBezTo>
                  <a:cubicBezTo>
                    <a:pt x="104527" y="22923"/>
                    <a:pt x="159863" y="0"/>
                    <a:pt x="217539" y="0"/>
                  </a:cubicBezTo>
                  <a:cubicBezTo>
                    <a:pt x="275239" y="0"/>
                    <a:pt x="330577" y="22923"/>
                    <a:pt x="371365" y="63711"/>
                  </a:cubicBezTo>
                  <a:close/>
                </a:path>
              </a:pathLst>
            </a:custGeom>
            <a:grpFill/>
            <a:ln w="27192" cap="flat">
              <a:noFill/>
              <a:prstDash val="solid"/>
              <a:miter/>
            </a:ln>
          </p:spPr>
          <p:txBody>
            <a:bodyPr rtlCol="0" anchor="ctr"/>
            <a:lstStyle/>
            <a:p>
              <a:endParaRPr lang="uk-UA" sz="900">
                <a:solidFill>
                  <a:schemeClr val="bg1"/>
                </a:solidFill>
              </a:endParaRPr>
            </a:p>
          </p:txBody>
        </p:sp>
        <p:sp>
          <p:nvSpPr>
            <p:cNvPr id="253" name="Freeform: Shape 252">
              <a:extLst>
                <a:ext uri="{FF2B5EF4-FFF2-40B4-BE49-F238E27FC236}">
                  <a16:creationId xmlns:a16="http://schemas.microsoft.com/office/drawing/2014/main" id="{48FAFDAC-D040-6F5B-98F0-EA563843871B}"/>
                </a:ext>
              </a:extLst>
            </p:cNvPr>
            <p:cNvSpPr/>
            <p:nvPr/>
          </p:nvSpPr>
          <p:spPr>
            <a:xfrm>
              <a:off x="13017991" y="7189811"/>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254" name="Freeform: Shape 253">
              <a:extLst>
                <a:ext uri="{FF2B5EF4-FFF2-40B4-BE49-F238E27FC236}">
                  <a16:creationId xmlns:a16="http://schemas.microsoft.com/office/drawing/2014/main" id="{795FA222-3493-42A7-695F-1584CC3B8CBF}"/>
                </a:ext>
              </a:extLst>
            </p:cNvPr>
            <p:cNvSpPr/>
            <p:nvPr/>
          </p:nvSpPr>
          <p:spPr>
            <a:xfrm>
              <a:off x="14758382" y="7189838"/>
              <a:ext cx="435077" cy="435077"/>
            </a:xfrm>
            <a:custGeom>
              <a:avLst/>
              <a:gdLst>
                <a:gd name="connsiteX0" fmla="*/ 217539 w 435077"/>
                <a:gd name="connsiteY0" fmla="*/ 0 h 435077"/>
                <a:gd name="connsiteX1" fmla="*/ 217539 w 435077"/>
                <a:gd name="connsiteY1" fmla="*/ 0 h 435077"/>
                <a:gd name="connsiteX2" fmla="*/ 0 w 435077"/>
                <a:gd name="connsiteY2" fmla="*/ 0 h 435077"/>
                <a:gd name="connsiteX3" fmla="*/ 0 w 435077"/>
                <a:gd name="connsiteY3" fmla="*/ 217539 h 435077"/>
                <a:gd name="connsiteX4" fmla="*/ 217539 w 435077"/>
                <a:gd name="connsiteY4" fmla="*/ 0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217539" y="0"/>
                  </a:lnTo>
                  <a:lnTo>
                    <a:pt x="0" y="0"/>
                  </a:lnTo>
                  <a:lnTo>
                    <a:pt x="0" y="217539"/>
                  </a:lnTo>
                  <a:lnTo>
                    <a:pt x="217539" y="0"/>
                  </a:lnTo>
                  <a:lnTo>
                    <a:pt x="435077" y="217539"/>
                  </a:lnTo>
                  <a:lnTo>
                    <a:pt x="217539" y="435077"/>
                  </a:lnTo>
                  <a:lnTo>
                    <a:pt x="0" y="217539"/>
                  </a:lnTo>
                  <a:lnTo>
                    <a:pt x="0" y="435077"/>
                  </a:lnTo>
                  <a:lnTo>
                    <a:pt x="217539" y="435077"/>
                  </a:lnTo>
                  <a:lnTo>
                    <a:pt x="435077" y="435077"/>
                  </a:lnTo>
                  <a:lnTo>
                    <a:pt x="435077" y="217539"/>
                  </a:lnTo>
                  <a:lnTo>
                    <a:pt x="435077" y="0"/>
                  </a:lnTo>
                  <a:lnTo>
                    <a:pt x="217539" y="0"/>
                  </a:lnTo>
                  <a:close/>
                </a:path>
              </a:pathLst>
            </a:custGeom>
            <a:grpFill/>
            <a:ln w="27192" cap="flat">
              <a:noFill/>
              <a:prstDash val="solid"/>
              <a:miter/>
            </a:ln>
          </p:spPr>
          <p:txBody>
            <a:bodyPr rtlCol="0" anchor="ctr"/>
            <a:lstStyle/>
            <a:p>
              <a:endParaRPr lang="uk-UA" sz="900">
                <a:solidFill>
                  <a:schemeClr val="bg1"/>
                </a:solidFill>
              </a:endParaRPr>
            </a:p>
          </p:txBody>
        </p:sp>
        <p:sp>
          <p:nvSpPr>
            <p:cNvPr id="255" name="Freeform: Shape 254">
              <a:extLst>
                <a:ext uri="{FF2B5EF4-FFF2-40B4-BE49-F238E27FC236}">
                  <a16:creationId xmlns:a16="http://schemas.microsoft.com/office/drawing/2014/main" id="{109E33D7-B077-522E-AFD0-FA35145B8A1D}"/>
                </a:ext>
              </a:extLst>
            </p:cNvPr>
            <p:cNvSpPr/>
            <p:nvPr/>
          </p:nvSpPr>
          <p:spPr>
            <a:xfrm>
              <a:off x="13888200" y="7189838"/>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65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65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65" y="435077"/>
                  </a:lnTo>
                  <a:lnTo>
                    <a:pt x="435077" y="217539"/>
                  </a:lnTo>
                  <a:lnTo>
                    <a:pt x="435077" y="435077"/>
                  </a:lnTo>
                  <a:close/>
                  <a:moveTo>
                    <a:pt x="435077" y="0"/>
                  </a:moveTo>
                  <a:lnTo>
                    <a:pt x="217565" y="0"/>
                  </a:lnTo>
                  <a:lnTo>
                    <a:pt x="435077" y="217539"/>
                  </a:lnTo>
                  <a:lnTo>
                    <a:pt x="435077" y="0"/>
                  </a:lnTo>
                  <a:close/>
                </a:path>
              </a:pathLst>
            </a:custGeom>
            <a:grpFill/>
            <a:ln w="27192" cap="flat">
              <a:noFill/>
              <a:prstDash val="solid"/>
              <a:miter/>
            </a:ln>
          </p:spPr>
          <p:txBody>
            <a:bodyPr rtlCol="0" anchor="ctr"/>
            <a:lstStyle/>
            <a:p>
              <a:endParaRPr lang="uk-UA" sz="900">
                <a:solidFill>
                  <a:schemeClr val="bg1"/>
                </a:solidFill>
              </a:endParaRPr>
            </a:p>
          </p:txBody>
        </p:sp>
        <p:sp>
          <p:nvSpPr>
            <p:cNvPr id="256" name="Freeform: Shape 255">
              <a:extLst>
                <a:ext uri="{FF2B5EF4-FFF2-40B4-BE49-F238E27FC236}">
                  <a16:creationId xmlns:a16="http://schemas.microsoft.com/office/drawing/2014/main" id="{07780E74-9A2F-9B80-0DA9-8562E70022D2}"/>
                </a:ext>
              </a:extLst>
            </p:cNvPr>
            <p:cNvSpPr/>
            <p:nvPr/>
          </p:nvSpPr>
          <p:spPr>
            <a:xfrm>
              <a:off x="15628536" y="7189838"/>
              <a:ext cx="435077" cy="435077"/>
            </a:xfrm>
            <a:custGeom>
              <a:avLst/>
              <a:gdLst>
                <a:gd name="connsiteX0" fmla="*/ 371367 w 435077"/>
                <a:gd name="connsiteY0" fmla="*/ 63711 h 435077"/>
                <a:gd name="connsiteX1" fmla="*/ 435077 w 435077"/>
                <a:gd name="connsiteY1" fmla="*/ 217539 h 435077"/>
                <a:gd name="connsiteX2" fmla="*/ 218953 w 435077"/>
                <a:gd name="connsiteY2" fmla="*/ 217539 h 435077"/>
                <a:gd name="connsiteX3" fmla="*/ 371367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39 w 435077"/>
                <a:gd name="connsiteY7" fmla="*/ 281250 h 435077"/>
                <a:gd name="connsiteX8" fmla="*/ 216153 w 435077"/>
                <a:gd name="connsiteY8" fmla="*/ 217539 h 435077"/>
                <a:gd name="connsiteX9" fmla="*/ 0 w 435077"/>
                <a:gd name="connsiteY9" fmla="*/ 217539 h 435077"/>
                <a:gd name="connsiteX10" fmla="*/ 63712 w 435077"/>
                <a:gd name="connsiteY10" fmla="*/ 63711 h 435077"/>
                <a:gd name="connsiteX11" fmla="*/ 217539 w 435077"/>
                <a:gd name="connsiteY11" fmla="*/ 0 h 435077"/>
                <a:gd name="connsiteX12" fmla="*/ 371367 w 435077"/>
                <a:gd name="connsiteY12" fmla="*/ 63711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7" y="63711"/>
                  </a:moveTo>
                  <a:cubicBezTo>
                    <a:pt x="412155" y="104527"/>
                    <a:pt x="435077" y="159836"/>
                    <a:pt x="435077" y="217539"/>
                  </a:cubicBezTo>
                  <a:lnTo>
                    <a:pt x="218953" y="217539"/>
                  </a:lnTo>
                  <a:cubicBezTo>
                    <a:pt x="276139" y="217920"/>
                    <a:pt x="330904" y="240788"/>
                    <a:pt x="371367" y="281250"/>
                  </a:cubicBezTo>
                  <a:cubicBezTo>
                    <a:pt x="412182" y="322039"/>
                    <a:pt x="435077" y="377375"/>
                    <a:pt x="435077" y="435077"/>
                  </a:cubicBezTo>
                  <a:lnTo>
                    <a:pt x="217539" y="435077"/>
                  </a:lnTo>
                  <a:lnTo>
                    <a:pt x="0" y="435077"/>
                  </a:lnTo>
                  <a:cubicBezTo>
                    <a:pt x="0" y="377375"/>
                    <a:pt x="22924" y="322039"/>
                    <a:pt x="63739" y="281250"/>
                  </a:cubicBezTo>
                  <a:cubicBezTo>
                    <a:pt x="104202" y="240788"/>
                    <a:pt x="158967" y="217920"/>
                    <a:pt x="216153" y="217539"/>
                  </a:cubicBezTo>
                  <a:lnTo>
                    <a:pt x="0" y="217539"/>
                  </a:lnTo>
                  <a:cubicBezTo>
                    <a:pt x="0" y="159836"/>
                    <a:pt x="22924" y="104527"/>
                    <a:pt x="63712" y="63711"/>
                  </a:cubicBezTo>
                  <a:cubicBezTo>
                    <a:pt x="104527" y="22923"/>
                    <a:pt x="159865" y="0"/>
                    <a:pt x="217539" y="0"/>
                  </a:cubicBezTo>
                  <a:cubicBezTo>
                    <a:pt x="275241" y="0"/>
                    <a:pt x="330578" y="22923"/>
                    <a:pt x="371367" y="63711"/>
                  </a:cubicBezTo>
                  <a:close/>
                </a:path>
              </a:pathLst>
            </a:custGeom>
            <a:grpFill/>
            <a:ln w="27192" cap="flat">
              <a:noFill/>
              <a:prstDash val="solid"/>
              <a:miter/>
            </a:ln>
          </p:spPr>
          <p:txBody>
            <a:bodyPr rtlCol="0" anchor="ctr"/>
            <a:lstStyle/>
            <a:p>
              <a:endParaRPr lang="uk-UA" sz="900">
                <a:solidFill>
                  <a:schemeClr val="bg1"/>
                </a:solidFill>
              </a:endParaRPr>
            </a:p>
          </p:txBody>
        </p:sp>
        <p:sp>
          <p:nvSpPr>
            <p:cNvPr id="257" name="Freeform: Shape 256">
              <a:extLst>
                <a:ext uri="{FF2B5EF4-FFF2-40B4-BE49-F238E27FC236}">
                  <a16:creationId xmlns:a16="http://schemas.microsoft.com/office/drawing/2014/main" id="{27831E10-CFEC-4A62-0141-C03B35AF42D4}"/>
                </a:ext>
              </a:extLst>
            </p:cNvPr>
            <p:cNvSpPr/>
            <p:nvPr/>
          </p:nvSpPr>
          <p:spPr>
            <a:xfrm>
              <a:off x="16498719" y="718983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49 w 435077"/>
                <a:gd name="connsiteY7" fmla="*/ 217539 h 435077"/>
                <a:gd name="connsiteX8" fmla="*/ 435077 w 435077"/>
                <a:gd name="connsiteY8" fmla="*/ 217539 h 435077"/>
                <a:gd name="connsiteX9" fmla="*/ 435049 w 435077"/>
                <a:gd name="connsiteY9" fmla="*/ 217539 h 435077"/>
                <a:gd name="connsiteX10" fmla="*/ 435077 w 435077"/>
                <a:gd name="connsiteY10" fmla="*/ 217539 h 435077"/>
                <a:gd name="connsiteX11" fmla="*/ 435049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49" y="217539"/>
                  </a:lnTo>
                  <a:lnTo>
                    <a:pt x="435077" y="217539"/>
                  </a:lnTo>
                  <a:lnTo>
                    <a:pt x="435049" y="217539"/>
                  </a:lnTo>
                  <a:lnTo>
                    <a:pt x="435077" y="217539"/>
                  </a:lnTo>
                  <a:lnTo>
                    <a:pt x="435049"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258" name="Freeform: Shape 257">
              <a:extLst>
                <a:ext uri="{FF2B5EF4-FFF2-40B4-BE49-F238E27FC236}">
                  <a16:creationId xmlns:a16="http://schemas.microsoft.com/office/drawing/2014/main" id="{8FF471B5-9678-70C0-D9C1-3D747423214C}"/>
                </a:ext>
              </a:extLst>
            </p:cNvPr>
            <p:cNvSpPr/>
            <p:nvPr/>
          </p:nvSpPr>
          <p:spPr>
            <a:xfrm>
              <a:off x="18239029" y="718983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59" name="Freeform: Shape 258">
              <a:extLst>
                <a:ext uri="{FF2B5EF4-FFF2-40B4-BE49-F238E27FC236}">
                  <a16:creationId xmlns:a16="http://schemas.microsoft.com/office/drawing/2014/main" id="{113CE4D6-0649-0B8E-2955-57A7EDBCF439}"/>
                </a:ext>
              </a:extLst>
            </p:cNvPr>
            <p:cNvSpPr/>
            <p:nvPr/>
          </p:nvSpPr>
          <p:spPr>
            <a:xfrm>
              <a:off x="17368874" y="7189838"/>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solidFill>
                  <a:schemeClr val="bg1"/>
                </a:solidFill>
              </a:endParaRPr>
            </a:p>
          </p:txBody>
        </p:sp>
        <p:sp>
          <p:nvSpPr>
            <p:cNvPr id="260" name="Freeform: Shape 259">
              <a:extLst>
                <a:ext uri="{FF2B5EF4-FFF2-40B4-BE49-F238E27FC236}">
                  <a16:creationId xmlns:a16="http://schemas.microsoft.com/office/drawing/2014/main" id="{F1B56048-B593-C6C9-9BA0-1307520AF32B}"/>
                </a:ext>
              </a:extLst>
            </p:cNvPr>
            <p:cNvSpPr/>
            <p:nvPr/>
          </p:nvSpPr>
          <p:spPr>
            <a:xfrm>
              <a:off x="19109210" y="7189838"/>
              <a:ext cx="435077" cy="435077"/>
            </a:xfrm>
            <a:custGeom>
              <a:avLst/>
              <a:gdLst>
                <a:gd name="connsiteX0" fmla="*/ 371339 w 435077"/>
                <a:gd name="connsiteY0" fmla="*/ 63711 h 435077"/>
                <a:gd name="connsiteX1" fmla="*/ 435077 w 435077"/>
                <a:gd name="connsiteY1" fmla="*/ 217539 h 435077"/>
                <a:gd name="connsiteX2" fmla="*/ 218926 w 435077"/>
                <a:gd name="connsiteY2" fmla="*/ 217539 h 435077"/>
                <a:gd name="connsiteX3" fmla="*/ 371365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25 w 435077"/>
                <a:gd name="connsiteY8" fmla="*/ 217539 h 435077"/>
                <a:gd name="connsiteX9" fmla="*/ 0 w 435077"/>
                <a:gd name="connsiteY9" fmla="*/ 217539 h 435077"/>
                <a:gd name="connsiteX10" fmla="*/ 63712 w 435077"/>
                <a:gd name="connsiteY10" fmla="*/ 63711 h 435077"/>
                <a:gd name="connsiteX11" fmla="*/ 217539 w 435077"/>
                <a:gd name="connsiteY11" fmla="*/ 0 h 435077"/>
                <a:gd name="connsiteX12" fmla="*/ 371339 w 435077"/>
                <a:gd name="connsiteY12" fmla="*/ 63711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11"/>
                  </a:moveTo>
                  <a:cubicBezTo>
                    <a:pt x="412154" y="104527"/>
                    <a:pt x="435077" y="159836"/>
                    <a:pt x="435077" y="217539"/>
                  </a:cubicBezTo>
                  <a:lnTo>
                    <a:pt x="218926" y="217539"/>
                  </a:lnTo>
                  <a:cubicBezTo>
                    <a:pt x="276111" y="217920"/>
                    <a:pt x="330877" y="240788"/>
                    <a:pt x="371365" y="281250"/>
                  </a:cubicBezTo>
                  <a:cubicBezTo>
                    <a:pt x="412154" y="322039"/>
                    <a:pt x="435077" y="377375"/>
                    <a:pt x="435077" y="435077"/>
                  </a:cubicBezTo>
                  <a:lnTo>
                    <a:pt x="217539" y="435077"/>
                  </a:lnTo>
                  <a:lnTo>
                    <a:pt x="0" y="435077"/>
                  </a:lnTo>
                  <a:cubicBezTo>
                    <a:pt x="0" y="377375"/>
                    <a:pt x="22924" y="322039"/>
                    <a:pt x="63712" y="281250"/>
                  </a:cubicBezTo>
                  <a:cubicBezTo>
                    <a:pt x="104174" y="240788"/>
                    <a:pt x="158940" y="217920"/>
                    <a:pt x="216125" y="217539"/>
                  </a:cubicBezTo>
                  <a:lnTo>
                    <a:pt x="0" y="217539"/>
                  </a:lnTo>
                  <a:cubicBezTo>
                    <a:pt x="0" y="159836"/>
                    <a:pt x="22895" y="104527"/>
                    <a:pt x="63712" y="63711"/>
                  </a:cubicBezTo>
                  <a:cubicBezTo>
                    <a:pt x="104501" y="22923"/>
                    <a:pt x="159836" y="0"/>
                    <a:pt x="217539" y="0"/>
                  </a:cubicBezTo>
                  <a:cubicBezTo>
                    <a:pt x="275215" y="0"/>
                    <a:pt x="330550" y="22923"/>
                    <a:pt x="371339" y="63711"/>
                  </a:cubicBezTo>
                  <a:close/>
                </a:path>
              </a:pathLst>
            </a:custGeom>
            <a:grpFill/>
            <a:ln w="27192" cap="flat">
              <a:noFill/>
              <a:prstDash val="solid"/>
              <a:miter/>
            </a:ln>
          </p:spPr>
          <p:txBody>
            <a:bodyPr rtlCol="0" anchor="ctr"/>
            <a:lstStyle/>
            <a:p>
              <a:endParaRPr lang="uk-UA" sz="900">
                <a:solidFill>
                  <a:schemeClr val="bg1"/>
                </a:solidFill>
              </a:endParaRPr>
            </a:p>
          </p:txBody>
        </p:sp>
        <p:sp>
          <p:nvSpPr>
            <p:cNvPr id="261" name="Freeform: Shape 260">
              <a:extLst>
                <a:ext uri="{FF2B5EF4-FFF2-40B4-BE49-F238E27FC236}">
                  <a16:creationId xmlns:a16="http://schemas.microsoft.com/office/drawing/2014/main" id="{80617A65-22F4-1EC4-0DDA-912836097304}"/>
                </a:ext>
              </a:extLst>
            </p:cNvPr>
            <p:cNvSpPr/>
            <p:nvPr/>
          </p:nvSpPr>
          <p:spPr>
            <a:xfrm>
              <a:off x="19979365" y="718983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51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51"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262" name="Freeform: Shape 261">
              <a:extLst>
                <a:ext uri="{FF2B5EF4-FFF2-40B4-BE49-F238E27FC236}">
                  <a16:creationId xmlns:a16="http://schemas.microsoft.com/office/drawing/2014/main" id="{98281A03-B8B8-C1CE-FCD5-318169E97869}"/>
                </a:ext>
              </a:extLst>
            </p:cNvPr>
            <p:cNvSpPr/>
            <p:nvPr/>
          </p:nvSpPr>
          <p:spPr>
            <a:xfrm>
              <a:off x="21719702" y="718983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63" name="Freeform: Shape 262">
              <a:extLst>
                <a:ext uri="{FF2B5EF4-FFF2-40B4-BE49-F238E27FC236}">
                  <a16:creationId xmlns:a16="http://schemas.microsoft.com/office/drawing/2014/main" id="{06B3F0FE-10C9-617E-48FD-3A13629B48D9}"/>
                </a:ext>
              </a:extLst>
            </p:cNvPr>
            <p:cNvSpPr/>
            <p:nvPr/>
          </p:nvSpPr>
          <p:spPr>
            <a:xfrm>
              <a:off x="20849520" y="7189838"/>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65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65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65" y="435077"/>
                  </a:lnTo>
                  <a:lnTo>
                    <a:pt x="435077" y="217539"/>
                  </a:lnTo>
                  <a:lnTo>
                    <a:pt x="435077" y="435077"/>
                  </a:lnTo>
                  <a:close/>
                  <a:moveTo>
                    <a:pt x="435077" y="0"/>
                  </a:moveTo>
                  <a:lnTo>
                    <a:pt x="217565" y="0"/>
                  </a:lnTo>
                  <a:lnTo>
                    <a:pt x="435077" y="217539"/>
                  </a:lnTo>
                  <a:lnTo>
                    <a:pt x="435077" y="0"/>
                  </a:lnTo>
                  <a:close/>
                </a:path>
              </a:pathLst>
            </a:custGeom>
            <a:grpFill/>
            <a:ln w="27192" cap="flat">
              <a:noFill/>
              <a:prstDash val="solid"/>
              <a:miter/>
            </a:ln>
          </p:spPr>
          <p:txBody>
            <a:bodyPr rtlCol="0" anchor="ctr"/>
            <a:lstStyle/>
            <a:p>
              <a:endParaRPr lang="uk-UA" sz="900">
                <a:solidFill>
                  <a:schemeClr val="bg1"/>
                </a:solidFill>
              </a:endParaRPr>
            </a:p>
          </p:txBody>
        </p:sp>
        <p:sp>
          <p:nvSpPr>
            <p:cNvPr id="264" name="Freeform: Shape 263">
              <a:extLst>
                <a:ext uri="{FF2B5EF4-FFF2-40B4-BE49-F238E27FC236}">
                  <a16:creationId xmlns:a16="http://schemas.microsoft.com/office/drawing/2014/main" id="{ED46BFB5-3542-4A89-ED03-571AAEB8AC0F}"/>
                </a:ext>
              </a:extLst>
            </p:cNvPr>
            <p:cNvSpPr/>
            <p:nvPr/>
          </p:nvSpPr>
          <p:spPr>
            <a:xfrm>
              <a:off x="22589856" y="7189838"/>
              <a:ext cx="435077" cy="435077"/>
            </a:xfrm>
            <a:custGeom>
              <a:avLst/>
              <a:gdLst>
                <a:gd name="connsiteX0" fmla="*/ 371367 w 435077"/>
                <a:gd name="connsiteY0" fmla="*/ 63711 h 435077"/>
                <a:gd name="connsiteX1" fmla="*/ 435077 w 435077"/>
                <a:gd name="connsiteY1" fmla="*/ 217539 h 435077"/>
                <a:gd name="connsiteX2" fmla="*/ 218953 w 435077"/>
                <a:gd name="connsiteY2" fmla="*/ 217539 h 435077"/>
                <a:gd name="connsiteX3" fmla="*/ 371367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53 w 435077"/>
                <a:gd name="connsiteY8" fmla="*/ 217539 h 435077"/>
                <a:gd name="connsiteX9" fmla="*/ 0 w 435077"/>
                <a:gd name="connsiteY9" fmla="*/ 217539 h 435077"/>
                <a:gd name="connsiteX10" fmla="*/ 63712 w 435077"/>
                <a:gd name="connsiteY10" fmla="*/ 63711 h 435077"/>
                <a:gd name="connsiteX11" fmla="*/ 217539 w 435077"/>
                <a:gd name="connsiteY11" fmla="*/ 0 h 435077"/>
                <a:gd name="connsiteX12" fmla="*/ 371367 w 435077"/>
                <a:gd name="connsiteY12" fmla="*/ 63711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7" y="63711"/>
                  </a:moveTo>
                  <a:cubicBezTo>
                    <a:pt x="412155" y="104527"/>
                    <a:pt x="435077" y="159836"/>
                    <a:pt x="435077" y="217539"/>
                  </a:cubicBezTo>
                  <a:lnTo>
                    <a:pt x="218953" y="217539"/>
                  </a:lnTo>
                  <a:cubicBezTo>
                    <a:pt x="276139" y="217920"/>
                    <a:pt x="330904" y="240788"/>
                    <a:pt x="371367" y="281250"/>
                  </a:cubicBezTo>
                  <a:cubicBezTo>
                    <a:pt x="412155" y="322039"/>
                    <a:pt x="435077" y="377375"/>
                    <a:pt x="435077" y="435077"/>
                  </a:cubicBezTo>
                  <a:lnTo>
                    <a:pt x="217539" y="435077"/>
                  </a:lnTo>
                  <a:lnTo>
                    <a:pt x="0" y="435077"/>
                  </a:lnTo>
                  <a:cubicBezTo>
                    <a:pt x="0" y="377375"/>
                    <a:pt x="22924" y="322039"/>
                    <a:pt x="63712" y="281250"/>
                  </a:cubicBezTo>
                  <a:cubicBezTo>
                    <a:pt x="104202" y="240788"/>
                    <a:pt x="158967" y="217920"/>
                    <a:pt x="216153" y="217539"/>
                  </a:cubicBezTo>
                  <a:lnTo>
                    <a:pt x="0" y="217539"/>
                  </a:lnTo>
                  <a:cubicBezTo>
                    <a:pt x="0" y="159836"/>
                    <a:pt x="22924" y="104527"/>
                    <a:pt x="63712" y="63711"/>
                  </a:cubicBezTo>
                  <a:cubicBezTo>
                    <a:pt x="104529" y="22923"/>
                    <a:pt x="159838" y="0"/>
                    <a:pt x="217539" y="0"/>
                  </a:cubicBezTo>
                  <a:cubicBezTo>
                    <a:pt x="275241" y="0"/>
                    <a:pt x="330578" y="22923"/>
                    <a:pt x="371367" y="63711"/>
                  </a:cubicBezTo>
                  <a:close/>
                </a:path>
              </a:pathLst>
            </a:custGeom>
            <a:grpFill/>
            <a:ln w="27192" cap="flat">
              <a:noFill/>
              <a:prstDash val="solid"/>
              <a:miter/>
            </a:ln>
          </p:spPr>
          <p:txBody>
            <a:bodyPr rtlCol="0" anchor="ctr"/>
            <a:lstStyle/>
            <a:p>
              <a:endParaRPr lang="uk-UA" sz="900">
                <a:solidFill>
                  <a:schemeClr val="bg1"/>
                </a:solidFill>
              </a:endParaRPr>
            </a:p>
          </p:txBody>
        </p:sp>
        <p:sp>
          <p:nvSpPr>
            <p:cNvPr id="265" name="Freeform: Shape 264">
              <a:extLst>
                <a:ext uri="{FF2B5EF4-FFF2-40B4-BE49-F238E27FC236}">
                  <a16:creationId xmlns:a16="http://schemas.microsoft.com/office/drawing/2014/main" id="{6599184E-8381-42DF-745D-1665EFF7BFB6}"/>
                </a:ext>
              </a:extLst>
            </p:cNvPr>
            <p:cNvSpPr/>
            <p:nvPr/>
          </p:nvSpPr>
          <p:spPr>
            <a:xfrm>
              <a:off x="23460039" y="718983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10 w 435077"/>
                <a:gd name="connsiteY5" fmla="*/ 435077 h 435077"/>
                <a:gd name="connsiteX6" fmla="*/ 217510 w 435077"/>
                <a:gd name="connsiteY6" fmla="*/ 435077 h 435077"/>
                <a:gd name="connsiteX7" fmla="*/ 435049 w 435077"/>
                <a:gd name="connsiteY7" fmla="*/ 217539 h 435077"/>
                <a:gd name="connsiteX8" fmla="*/ 435077 w 435077"/>
                <a:gd name="connsiteY8" fmla="*/ 217539 h 435077"/>
                <a:gd name="connsiteX9" fmla="*/ 435049 w 435077"/>
                <a:gd name="connsiteY9" fmla="*/ 217539 h 435077"/>
                <a:gd name="connsiteX10" fmla="*/ 435049 w 435077"/>
                <a:gd name="connsiteY10" fmla="*/ 217539 h 435077"/>
                <a:gd name="connsiteX11" fmla="*/ 435049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10" y="435077"/>
                  </a:lnTo>
                  <a:lnTo>
                    <a:pt x="217510" y="435077"/>
                  </a:lnTo>
                  <a:lnTo>
                    <a:pt x="435049" y="217539"/>
                  </a:lnTo>
                  <a:lnTo>
                    <a:pt x="435077" y="217539"/>
                  </a:lnTo>
                  <a:lnTo>
                    <a:pt x="435049" y="217539"/>
                  </a:lnTo>
                  <a:lnTo>
                    <a:pt x="435049" y="217539"/>
                  </a:lnTo>
                  <a:lnTo>
                    <a:pt x="435049"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266" name="Freeform: Shape 265">
              <a:extLst>
                <a:ext uri="{FF2B5EF4-FFF2-40B4-BE49-F238E27FC236}">
                  <a16:creationId xmlns:a16="http://schemas.microsoft.com/office/drawing/2014/main" id="{2535C708-7D03-3411-79E2-3C2F8DD2E42D}"/>
                </a:ext>
              </a:extLst>
            </p:cNvPr>
            <p:cNvSpPr/>
            <p:nvPr/>
          </p:nvSpPr>
          <p:spPr>
            <a:xfrm>
              <a:off x="24330194" y="7189838"/>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solidFill>
                  <a:schemeClr val="bg1"/>
                </a:solidFill>
              </a:endParaRPr>
            </a:p>
          </p:txBody>
        </p:sp>
        <p:sp>
          <p:nvSpPr>
            <p:cNvPr id="267" name="Freeform: Shape 266">
              <a:extLst>
                <a:ext uri="{FF2B5EF4-FFF2-40B4-BE49-F238E27FC236}">
                  <a16:creationId xmlns:a16="http://schemas.microsoft.com/office/drawing/2014/main" id="{1806D26D-8065-F515-8CF9-6402EE3071C8}"/>
                </a:ext>
              </a:extLst>
            </p:cNvPr>
            <p:cNvSpPr/>
            <p:nvPr/>
          </p:nvSpPr>
          <p:spPr>
            <a:xfrm>
              <a:off x="835769" y="805999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1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1"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68" name="Freeform: Shape 267">
              <a:extLst>
                <a:ext uri="{FF2B5EF4-FFF2-40B4-BE49-F238E27FC236}">
                  <a16:creationId xmlns:a16="http://schemas.microsoft.com/office/drawing/2014/main" id="{C4B485B1-2C19-DD7C-E41C-9C2CF6CBAA34}"/>
                </a:ext>
              </a:extLst>
            </p:cNvPr>
            <p:cNvSpPr/>
            <p:nvPr/>
          </p:nvSpPr>
          <p:spPr>
            <a:xfrm>
              <a:off x="-34398" y="8059993"/>
              <a:ext cx="435090" cy="435077"/>
            </a:xfrm>
            <a:custGeom>
              <a:avLst/>
              <a:gdLst>
                <a:gd name="connsiteX0" fmla="*/ 217552 w 435090"/>
                <a:gd name="connsiteY0" fmla="*/ 435077 h 435077"/>
                <a:gd name="connsiteX1" fmla="*/ 217552 w 435090"/>
                <a:gd name="connsiteY1" fmla="*/ 0 h 435077"/>
                <a:gd name="connsiteX2" fmla="*/ 435091 w 435090"/>
                <a:gd name="connsiteY2" fmla="*/ 217539 h 435077"/>
                <a:gd name="connsiteX3" fmla="*/ 217552 w 435090"/>
                <a:gd name="connsiteY3" fmla="*/ 435077 h 435077"/>
                <a:gd name="connsiteX4" fmla="*/ 0 w 435090"/>
                <a:gd name="connsiteY4" fmla="*/ 435077 h 435077"/>
                <a:gd name="connsiteX5" fmla="*/ 0 w 435090"/>
                <a:gd name="connsiteY5" fmla="*/ 27 h 435077"/>
                <a:gd name="connsiteX6" fmla="*/ 217525 w 435090"/>
                <a:gd name="connsiteY6" fmla="*/ 217566 h 435077"/>
                <a:gd name="connsiteX7" fmla="*/ 0 w 435090"/>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90" h="435077">
                  <a:moveTo>
                    <a:pt x="217552" y="435077"/>
                  </a:moveTo>
                  <a:lnTo>
                    <a:pt x="217552" y="0"/>
                  </a:lnTo>
                  <a:lnTo>
                    <a:pt x="435091" y="217539"/>
                  </a:lnTo>
                  <a:lnTo>
                    <a:pt x="217552" y="435077"/>
                  </a:lnTo>
                  <a:close/>
                  <a:moveTo>
                    <a:pt x="0" y="435077"/>
                  </a:moveTo>
                  <a:lnTo>
                    <a:pt x="0" y="27"/>
                  </a:lnTo>
                  <a:lnTo>
                    <a:pt x="217525"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69" name="Freeform: Shape 268">
              <a:extLst>
                <a:ext uri="{FF2B5EF4-FFF2-40B4-BE49-F238E27FC236}">
                  <a16:creationId xmlns:a16="http://schemas.microsoft.com/office/drawing/2014/main" id="{D9C5F67A-2F21-3C87-7F00-4AA94D404C45}"/>
                </a:ext>
              </a:extLst>
            </p:cNvPr>
            <p:cNvSpPr/>
            <p:nvPr/>
          </p:nvSpPr>
          <p:spPr>
            <a:xfrm>
              <a:off x="1705924" y="8059993"/>
              <a:ext cx="435077" cy="435077"/>
            </a:xfrm>
            <a:custGeom>
              <a:avLst/>
              <a:gdLst>
                <a:gd name="connsiteX0" fmla="*/ 63711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1 w 435077"/>
                <a:gd name="connsiteY6" fmla="*/ 153827 h 435077"/>
                <a:gd name="connsiteX7" fmla="*/ 63711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1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1" y="153827"/>
                  </a:moveTo>
                  <a:cubicBezTo>
                    <a:pt x="22923" y="113039"/>
                    <a:pt x="0" y="57702"/>
                    <a:pt x="0" y="0"/>
                  </a:cubicBezTo>
                  <a:lnTo>
                    <a:pt x="217539" y="0"/>
                  </a:lnTo>
                  <a:lnTo>
                    <a:pt x="435077" y="0"/>
                  </a:lnTo>
                  <a:cubicBezTo>
                    <a:pt x="435077" y="57702"/>
                    <a:pt x="412154" y="113039"/>
                    <a:pt x="371366" y="153827"/>
                  </a:cubicBezTo>
                  <a:cubicBezTo>
                    <a:pt x="330577" y="194616"/>
                    <a:pt x="275241" y="217539"/>
                    <a:pt x="217539" y="217539"/>
                  </a:cubicBezTo>
                  <a:cubicBezTo>
                    <a:pt x="159836" y="217539"/>
                    <a:pt x="104527" y="194616"/>
                    <a:pt x="63711" y="153827"/>
                  </a:cubicBezTo>
                  <a:close/>
                  <a:moveTo>
                    <a:pt x="63711" y="281250"/>
                  </a:moveTo>
                  <a:cubicBezTo>
                    <a:pt x="22923" y="322066"/>
                    <a:pt x="0" y="377402"/>
                    <a:pt x="0" y="435077"/>
                  </a:cubicBezTo>
                  <a:lnTo>
                    <a:pt x="217539" y="435077"/>
                  </a:lnTo>
                  <a:lnTo>
                    <a:pt x="435077" y="435077"/>
                  </a:lnTo>
                  <a:cubicBezTo>
                    <a:pt x="435077" y="377402"/>
                    <a:pt x="412154" y="322066"/>
                    <a:pt x="371366" y="281250"/>
                  </a:cubicBezTo>
                  <a:cubicBezTo>
                    <a:pt x="330577" y="240462"/>
                    <a:pt x="275241" y="217539"/>
                    <a:pt x="217539" y="217539"/>
                  </a:cubicBezTo>
                  <a:cubicBezTo>
                    <a:pt x="159836" y="217539"/>
                    <a:pt x="104527" y="240462"/>
                    <a:pt x="63711" y="281250"/>
                  </a:cubicBezTo>
                  <a:close/>
                </a:path>
              </a:pathLst>
            </a:custGeom>
            <a:grpFill/>
            <a:ln w="27192" cap="flat">
              <a:noFill/>
              <a:prstDash val="solid"/>
              <a:miter/>
            </a:ln>
          </p:spPr>
          <p:txBody>
            <a:bodyPr rtlCol="0" anchor="ctr"/>
            <a:lstStyle/>
            <a:p>
              <a:endParaRPr lang="uk-UA" sz="900">
                <a:solidFill>
                  <a:schemeClr val="bg1"/>
                </a:solidFill>
              </a:endParaRPr>
            </a:p>
          </p:txBody>
        </p:sp>
        <p:sp>
          <p:nvSpPr>
            <p:cNvPr id="270" name="Freeform: Shape 269">
              <a:extLst>
                <a:ext uri="{FF2B5EF4-FFF2-40B4-BE49-F238E27FC236}">
                  <a16:creationId xmlns:a16="http://schemas.microsoft.com/office/drawing/2014/main" id="{3E409AAD-E452-8729-E823-55FD9C9B5E80}"/>
                </a:ext>
              </a:extLst>
            </p:cNvPr>
            <p:cNvSpPr/>
            <p:nvPr/>
          </p:nvSpPr>
          <p:spPr>
            <a:xfrm>
              <a:off x="2576106" y="805999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71" name="Freeform: Shape 270">
              <a:extLst>
                <a:ext uri="{FF2B5EF4-FFF2-40B4-BE49-F238E27FC236}">
                  <a16:creationId xmlns:a16="http://schemas.microsoft.com/office/drawing/2014/main" id="{48206257-C177-E9F5-F6D6-B90C13D154CE}"/>
                </a:ext>
              </a:extLst>
            </p:cNvPr>
            <p:cNvSpPr/>
            <p:nvPr/>
          </p:nvSpPr>
          <p:spPr>
            <a:xfrm>
              <a:off x="4316416" y="8059993"/>
              <a:ext cx="435077" cy="435077"/>
            </a:xfrm>
            <a:custGeom>
              <a:avLst/>
              <a:gdLst>
                <a:gd name="connsiteX0" fmla="*/ 435077 w 435077"/>
                <a:gd name="connsiteY0" fmla="*/ 435077 h 435077"/>
                <a:gd name="connsiteX1" fmla="*/ 435077 w 435077"/>
                <a:gd name="connsiteY1" fmla="*/ 0 h 435077"/>
                <a:gd name="connsiteX2" fmla="*/ 217565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72" name="Freeform: Shape 271">
              <a:extLst>
                <a:ext uri="{FF2B5EF4-FFF2-40B4-BE49-F238E27FC236}">
                  <a16:creationId xmlns:a16="http://schemas.microsoft.com/office/drawing/2014/main" id="{48FBEA84-A691-AF7A-C689-5CD4C4C56F40}"/>
                </a:ext>
              </a:extLst>
            </p:cNvPr>
            <p:cNvSpPr/>
            <p:nvPr/>
          </p:nvSpPr>
          <p:spPr>
            <a:xfrm>
              <a:off x="3446261" y="8059993"/>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27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27"/>
                  </a:lnTo>
                  <a:lnTo>
                    <a:pt x="217539"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73" name="Freeform: Shape 272">
              <a:extLst>
                <a:ext uri="{FF2B5EF4-FFF2-40B4-BE49-F238E27FC236}">
                  <a16:creationId xmlns:a16="http://schemas.microsoft.com/office/drawing/2014/main" id="{F6B0AFEC-9A2D-0EF6-A472-8FD63CD3FCE2}"/>
                </a:ext>
              </a:extLst>
            </p:cNvPr>
            <p:cNvSpPr/>
            <p:nvPr/>
          </p:nvSpPr>
          <p:spPr>
            <a:xfrm>
              <a:off x="5186597" y="805999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6" y="153827"/>
                  </a:cubicBezTo>
                  <a:cubicBezTo>
                    <a:pt x="330550" y="194616"/>
                    <a:pt x="275241" y="217539"/>
                    <a:pt x="217539" y="217539"/>
                  </a:cubicBezTo>
                  <a:cubicBezTo>
                    <a:pt x="159837" y="217539"/>
                    <a:pt x="104501" y="194616"/>
                    <a:pt x="63712" y="153827"/>
                  </a:cubicBezTo>
                  <a:close/>
                  <a:moveTo>
                    <a:pt x="63712" y="281250"/>
                  </a:moveTo>
                  <a:cubicBezTo>
                    <a:pt x="22924" y="322066"/>
                    <a:pt x="0" y="377402"/>
                    <a:pt x="0" y="435077"/>
                  </a:cubicBezTo>
                  <a:lnTo>
                    <a:pt x="217539" y="435077"/>
                  </a:lnTo>
                  <a:lnTo>
                    <a:pt x="435077" y="435077"/>
                  </a:lnTo>
                  <a:cubicBezTo>
                    <a:pt x="435077" y="377402"/>
                    <a:pt x="412155" y="322066"/>
                    <a:pt x="371366" y="281250"/>
                  </a:cubicBezTo>
                  <a:cubicBezTo>
                    <a:pt x="330550" y="240462"/>
                    <a:pt x="275241" y="217539"/>
                    <a:pt x="217539" y="217539"/>
                  </a:cubicBezTo>
                  <a:cubicBezTo>
                    <a:pt x="159837" y="217539"/>
                    <a:pt x="104501" y="240462"/>
                    <a:pt x="63712" y="281250"/>
                  </a:cubicBezTo>
                  <a:close/>
                </a:path>
              </a:pathLst>
            </a:custGeom>
            <a:grpFill/>
            <a:ln w="27192" cap="flat">
              <a:noFill/>
              <a:prstDash val="solid"/>
              <a:miter/>
            </a:ln>
          </p:spPr>
          <p:txBody>
            <a:bodyPr rtlCol="0" anchor="ctr"/>
            <a:lstStyle/>
            <a:p>
              <a:endParaRPr lang="uk-UA" sz="900">
                <a:solidFill>
                  <a:schemeClr val="bg1"/>
                </a:solidFill>
              </a:endParaRPr>
            </a:p>
          </p:txBody>
        </p:sp>
        <p:sp>
          <p:nvSpPr>
            <p:cNvPr id="274" name="Freeform: Shape 273">
              <a:extLst>
                <a:ext uri="{FF2B5EF4-FFF2-40B4-BE49-F238E27FC236}">
                  <a16:creationId xmlns:a16="http://schemas.microsoft.com/office/drawing/2014/main" id="{846C56C6-05EB-D9B1-660E-D1FE8678761F}"/>
                </a:ext>
              </a:extLst>
            </p:cNvPr>
            <p:cNvSpPr/>
            <p:nvPr/>
          </p:nvSpPr>
          <p:spPr>
            <a:xfrm>
              <a:off x="6056752" y="805999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75" name="Freeform: Shape 274">
              <a:extLst>
                <a:ext uri="{FF2B5EF4-FFF2-40B4-BE49-F238E27FC236}">
                  <a16:creationId xmlns:a16="http://schemas.microsoft.com/office/drawing/2014/main" id="{DFEE5370-9C8F-6102-E73A-C9396B79209B}"/>
                </a:ext>
              </a:extLst>
            </p:cNvPr>
            <p:cNvSpPr/>
            <p:nvPr/>
          </p:nvSpPr>
          <p:spPr>
            <a:xfrm>
              <a:off x="7797062" y="8059993"/>
              <a:ext cx="435077" cy="435077"/>
            </a:xfrm>
            <a:custGeom>
              <a:avLst/>
              <a:gdLst>
                <a:gd name="connsiteX0" fmla="*/ 435077 w 435077"/>
                <a:gd name="connsiteY0" fmla="*/ 435077 h 435077"/>
                <a:gd name="connsiteX1" fmla="*/ 435077 w 435077"/>
                <a:gd name="connsiteY1" fmla="*/ 0 h 435077"/>
                <a:gd name="connsiteX2" fmla="*/ 217566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6"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76" name="Freeform: Shape 275">
              <a:extLst>
                <a:ext uri="{FF2B5EF4-FFF2-40B4-BE49-F238E27FC236}">
                  <a16:creationId xmlns:a16="http://schemas.microsoft.com/office/drawing/2014/main" id="{589DD3FA-F7EE-DB13-40FF-E65407A18FB1}"/>
                </a:ext>
              </a:extLst>
            </p:cNvPr>
            <p:cNvSpPr/>
            <p:nvPr/>
          </p:nvSpPr>
          <p:spPr>
            <a:xfrm>
              <a:off x="6926907" y="8059993"/>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27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27"/>
                  </a:lnTo>
                  <a:lnTo>
                    <a:pt x="217539"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77" name="Freeform: Shape 276">
              <a:extLst>
                <a:ext uri="{FF2B5EF4-FFF2-40B4-BE49-F238E27FC236}">
                  <a16:creationId xmlns:a16="http://schemas.microsoft.com/office/drawing/2014/main" id="{97AE84CD-1C85-E7FB-0134-1BDB5E27F985}"/>
                </a:ext>
              </a:extLst>
            </p:cNvPr>
            <p:cNvSpPr/>
            <p:nvPr/>
          </p:nvSpPr>
          <p:spPr>
            <a:xfrm>
              <a:off x="8667217" y="8059993"/>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39 w 435077"/>
                <a:gd name="connsiteY6" fmla="*/ 153827 h 435077"/>
                <a:gd name="connsiteX7" fmla="*/ 63739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39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4" y="113039"/>
                    <a:pt x="0" y="57702"/>
                    <a:pt x="0" y="0"/>
                  </a:cubicBezTo>
                  <a:lnTo>
                    <a:pt x="217539" y="0"/>
                  </a:lnTo>
                  <a:lnTo>
                    <a:pt x="435077" y="0"/>
                  </a:lnTo>
                  <a:cubicBezTo>
                    <a:pt x="435077" y="57702"/>
                    <a:pt x="412182" y="113039"/>
                    <a:pt x="371366" y="153827"/>
                  </a:cubicBezTo>
                  <a:cubicBezTo>
                    <a:pt x="330578" y="194616"/>
                    <a:pt x="275241" y="217539"/>
                    <a:pt x="217539" y="217539"/>
                  </a:cubicBezTo>
                  <a:cubicBezTo>
                    <a:pt x="159864" y="217539"/>
                    <a:pt x="104527" y="194616"/>
                    <a:pt x="63739" y="153827"/>
                  </a:cubicBezTo>
                  <a:close/>
                  <a:moveTo>
                    <a:pt x="63739" y="281250"/>
                  </a:moveTo>
                  <a:cubicBezTo>
                    <a:pt x="22924" y="322066"/>
                    <a:pt x="0" y="377402"/>
                    <a:pt x="0" y="435077"/>
                  </a:cubicBezTo>
                  <a:lnTo>
                    <a:pt x="217539" y="435077"/>
                  </a:lnTo>
                  <a:lnTo>
                    <a:pt x="435077" y="435077"/>
                  </a:lnTo>
                  <a:cubicBezTo>
                    <a:pt x="435077" y="377402"/>
                    <a:pt x="412182" y="322066"/>
                    <a:pt x="371366" y="281250"/>
                  </a:cubicBezTo>
                  <a:cubicBezTo>
                    <a:pt x="330578" y="240462"/>
                    <a:pt x="275241" y="217539"/>
                    <a:pt x="217539" y="217539"/>
                  </a:cubicBezTo>
                  <a:cubicBezTo>
                    <a:pt x="159864" y="217539"/>
                    <a:pt x="104527" y="240462"/>
                    <a:pt x="63739" y="281250"/>
                  </a:cubicBezTo>
                  <a:close/>
                </a:path>
              </a:pathLst>
            </a:custGeom>
            <a:grpFill/>
            <a:ln w="27192" cap="flat">
              <a:noFill/>
              <a:prstDash val="solid"/>
              <a:miter/>
            </a:ln>
          </p:spPr>
          <p:txBody>
            <a:bodyPr rtlCol="0" anchor="ctr"/>
            <a:lstStyle/>
            <a:p>
              <a:endParaRPr lang="uk-UA" sz="900">
                <a:solidFill>
                  <a:schemeClr val="bg1"/>
                </a:solidFill>
              </a:endParaRPr>
            </a:p>
          </p:txBody>
        </p:sp>
        <p:sp>
          <p:nvSpPr>
            <p:cNvPr id="278" name="Freeform: Shape 277">
              <a:extLst>
                <a:ext uri="{FF2B5EF4-FFF2-40B4-BE49-F238E27FC236}">
                  <a16:creationId xmlns:a16="http://schemas.microsoft.com/office/drawing/2014/main" id="{1BD8892B-D91A-80A7-857F-EEB6ABC15B34}"/>
                </a:ext>
              </a:extLst>
            </p:cNvPr>
            <p:cNvSpPr/>
            <p:nvPr/>
          </p:nvSpPr>
          <p:spPr>
            <a:xfrm>
              <a:off x="9537399" y="805999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1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1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1" y="217539"/>
                  </a:lnTo>
                  <a:lnTo>
                    <a:pt x="0" y="217539"/>
                  </a:lnTo>
                  <a:close/>
                  <a:moveTo>
                    <a:pt x="0" y="435077"/>
                  </a:moveTo>
                  <a:lnTo>
                    <a:pt x="0" y="217539"/>
                  </a:lnTo>
                  <a:lnTo>
                    <a:pt x="217511"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79" name="Freeform: Shape 278">
              <a:extLst>
                <a:ext uri="{FF2B5EF4-FFF2-40B4-BE49-F238E27FC236}">
                  <a16:creationId xmlns:a16="http://schemas.microsoft.com/office/drawing/2014/main" id="{CE516960-B56E-0394-B180-AD9F14B5329B}"/>
                </a:ext>
              </a:extLst>
            </p:cNvPr>
            <p:cNvSpPr/>
            <p:nvPr/>
          </p:nvSpPr>
          <p:spPr>
            <a:xfrm>
              <a:off x="11277709" y="805999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0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0"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80" name="Freeform: Shape 279">
              <a:extLst>
                <a:ext uri="{FF2B5EF4-FFF2-40B4-BE49-F238E27FC236}">
                  <a16:creationId xmlns:a16="http://schemas.microsoft.com/office/drawing/2014/main" id="{1FDE3508-EDAD-9049-33AD-09E9BA35926A}"/>
                </a:ext>
              </a:extLst>
            </p:cNvPr>
            <p:cNvSpPr/>
            <p:nvPr/>
          </p:nvSpPr>
          <p:spPr>
            <a:xfrm>
              <a:off x="10407554" y="8059993"/>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27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27"/>
                  </a:lnTo>
                  <a:lnTo>
                    <a:pt x="217539"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81" name="Freeform: Shape 280">
              <a:extLst>
                <a:ext uri="{FF2B5EF4-FFF2-40B4-BE49-F238E27FC236}">
                  <a16:creationId xmlns:a16="http://schemas.microsoft.com/office/drawing/2014/main" id="{04D54B80-C134-9A6B-972B-C0CF13911D54}"/>
                </a:ext>
              </a:extLst>
            </p:cNvPr>
            <p:cNvSpPr/>
            <p:nvPr/>
          </p:nvSpPr>
          <p:spPr>
            <a:xfrm>
              <a:off x="12147864" y="8059993"/>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39 w 435077"/>
                <a:gd name="connsiteY6" fmla="*/ 153827 h 435077"/>
                <a:gd name="connsiteX7" fmla="*/ 63739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0 h 435077"/>
                <a:gd name="connsiteX12" fmla="*/ 217539 w 435077"/>
                <a:gd name="connsiteY12" fmla="*/ 217539 h 435077"/>
                <a:gd name="connsiteX13" fmla="*/ 63739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2" y="113039"/>
                    <a:pt x="0" y="57702"/>
                    <a:pt x="0" y="0"/>
                  </a:cubicBezTo>
                  <a:lnTo>
                    <a:pt x="217539" y="0"/>
                  </a:lnTo>
                  <a:lnTo>
                    <a:pt x="435077" y="0"/>
                  </a:lnTo>
                  <a:cubicBezTo>
                    <a:pt x="435077" y="57702"/>
                    <a:pt x="412180" y="113039"/>
                    <a:pt x="371365" y="153827"/>
                  </a:cubicBezTo>
                  <a:cubicBezTo>
                    <a:pt x="330577" y="194616"/>
                    <a:pt x="275239" y="217539"/>
                    <a:pt x="217539" y="217539"/>
                  </a:cubicBezTo>
                  <a:cubicBezTo>
                    <a:pt x="159863" y="217539"/>
                    <a:pt x="104527" y="194616"/>
                    <a:pt x="63739" y="153827"/>
                  </a:cubicBezTo>
                  <a:close/>
                  <a:moveTo>
                    <a:pt x="63739" y="281250"/>
                  </a:moveTo>
                  <a:cubicBezTo>
                    <a:pt x="22922" y="322066"/>
                    <a:pt x="0" y="377402"/>
                    <a:pt x="0" y="435077"/>
                  </a:cubicBezTo>
                  <a:lnTo>
                    <a:pt x="217539" y="435077"/>
                  </a:lnTo>
                  <a:lnTo>
                    <a:pt x="435077" y="435077"/>
                  </a:lnTo>
                  <a:cubicBezTo>
                    <a:pt x="435077" y="377402"/>
                    <a:pt x="412180" y="322066"/>
                    <a:pt x="371365" y="281250"/>
                  </a:cubicBezTo>
                  <a:cubicBezTo>
                    <a:pt x="330577" y="240462"/>
                    <a:pt x="275239" y="217539"/>
                    <a:pt x="217539" y="217539"/>
                  </a:cubicBezTo>
                  <a:cubicBezTo>
                    <a:pt x="159863" y="217539"/>
                    <a:pt x="104527" y="240462"/>
                    <a:pt x="63739" y="281250"/>
                  </a:cubicBezTo>
                  <a:close/>
                </a:path>
              </a:pathLst>
            </a:custGeom>
            <a:grpFill/>
            <a:ln w="27192" cap="flat">
              <a:noFill/>
              <a:prstDash val="solid"/>
              <a:miter/>
            </a:ln>
          </p:spPr>
          <p:txBody>
            <a:bodyPr rtlCol="0" anchor="ctr"/>
            <a:lstStyle/>
            <a:p>
              <a:endParaRPr lang="uk-UA" sz="900">
                <a:solidFill>
                  <a:schemeClr val="bg1"/>
                </a:solidFill>
              </a:endParaRPr>
            </a:p>
          </p:txBody>
        </p:sp>
        <p:sp>
          <p:nvSpPr>
            <p:cNvPr id="282" name="Freeform: Shape 281">
              <a:extLst>
                <a:ext uri="{FF2B5EF4-FFF2-40B4-BE49-F238E27FC236}">
                  <a16:creationId xmlns:a16="http://schemas.microsoft.com/office/drawing/2014/main" id="{93A4D39C-7A85-4CBD-879E-8D2A0EDCC5C4}"/>
                </a:ext>
              </a:extLst>
            </p:cNvPr>
            <p:cNvSpPr/>
            <p:nvPr/>
          </p:nvSpPr>
          <p:spPr>
            <a:xfrm>
              <a:off x="13018045" y="805999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83" name="Freeform: Shape 282">
              <a:extLst>
                <a:ext uri="{FF2B5EF4-FFF2-40B4-BE49-F238E27FC236}">
                  <a16:creationId xmlns:a16="http://schemas.microsoft.com/office/drawing/2014/main" id="{A338F298-FEB1-E57A-0634-2CE9107D3D5C}"/>
                </a:ext>
              </a:extLst>
            </p:cNvPr>
            <p:cNvSpPr/>
            <p:nvPr/>
          </p:nvSpPr>
          <p:spPr>
            <a:xfrm>
              <a:off x="14758382" y="805999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2"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84" name="Freeform: Shape 283">
              <a:extLst>
                <a:ext uri="{FF2B5EF4-FFF2-40B4-BE49-F238E27FC236}">
                  <a16:creationId xmlns:a16="http://schemas.microsoft.com/office/drawing/2014/main" id="{4D45B50A-63F7-97DF-EBD8-4ACAE4D1E5E9}"/>
                </a:ext>
              </a:extLst>
            </p:cNvPr>
            <p:cNvSpPr/>
            <p:nvPr/>
          </p:nvSpPr>
          <p:spPr>
            <a:xfrm>
              <a:off x="13888200" y="8059993"/>
              <a:ext cx="435103" cy="435077"/>
            </a:xfrm>
            <a:custGeom>
              <a:avLst/>
              <a:gdLst>
                <a:gd name="connsiteX0" fmla="*/ 217565 w 435103"/>
                <a:gd name="connsiteY0" fmla="*/ 435077 h 435077"/>
                <a:gd name="connsiteX1" fmla="*/ 217565 w 435103"/>
                <a:gd name="connsiteY1" fmla="*/ 0 h 435077"/>
                <a:gd name="connsiteX2" fmla="*/ 435104 w 435103"/>
                <a:gd name="connsiteY2" fmla="*/ 217539 h 435077"/>
                <a:gd name="connsiteX3" fmla="*/ 217565 w 435103"/>
                <a:gd name="connsiteY3" fmla="*/ 435077 h 435077"/>
                <a:gd name="connsiteX4" fmla="*/ 0 w 435103"/>
                <a:gd name="connsiteY4" fmla="*/ 435077 h 435077"/>
                <a:gd name="connsiteX5" fmla="*/ 0 w 435103"/>
                <a:gd name="connsiteY5" fmla="*/ 27 h 435077"/>
                <a:gd name="connsiteX6" fmla="*/ 217539 w 435103"/>
                <a:gd name="connsiteY6" fmla="*/ 217566 h 435077"/>
                <a:gd name="connsiteX7" fmla="*/ 0 w 435103"/>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103" h="435077">
                  <a:moveTo>
                    <a:pt x="217565" y="435077"/>
                  </a:moveTo>
                  <a:lnTo>
                    <a:pt x="217565" y="0"/>
                  </a:lnTo>
                  <a:lnTo>
                    <a:pt x="435104" y="217539"/>
                  </a:lnTo>
                  <a:lnTo>
                    <a:pt x="217565" y="435077"/>
                  </a:lnTo>
                  <a:close/>
                  <a:moveTo>
                    <a:pt x="0" y="435077"/>
                  </a:moveTo>
                  <a:lnTo>
                    <a:pt x="0" y="27"/>
                  </a:lnTo>
                  <a:lnTo>
                    <a:pt x="217539"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85" name="Freeform: Shape 284">
              <a:extLst>
                <a:ext uri="{FF2B5EF4-FFF2-40B4-BE49-F238E27FC236}">
                  <a16:creationId xmlns:a16="http://schemas.microsoft.com/office/drawing/2014/main" id="{6E4DB89D-29D1-2692-8E8B-242BE9D5390C}"/>
                </a:ext>
              </a:extLst>
            </p:cNvPr>
            <p:cNvSpPr/>
            <p:nvPr/>
          </p:nvSpPr>
          <p:spPr>
            <a:xfrm>
              <a:off x="15628536" y="805999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7" y="153827"/>
                  </a:cubicBezTo>
                  <a:cubicBezTo>
                    <a:pt x="330578" y="194616"/>
                    <a:pt x="275241" y="217539"/>
                    <a:pt x="217539" y="217539"/>
                  </a:cubicBezTo>
                  <a:cubicBezTo>
                    <a:pt x="159865" y="217539"/>
                    <a:pt x="104527" y="194616"/>
                    <a:pt x="63712" y="153827"/>
                  </a:cubicBezTo>
                  <a:close/>
                  <a:moveTo>
                    <a:pt x="63712" y="281250"/>
                  </a:moveTo>
                  <a:cubicBezTo>
                    <a:pt x="22924" y="322066"/>
                    <a:pt x="0" y="377402"/>
                    <a:pt x="0" y="435077"/>
                  </a:cubicBezTo>
                  <a:lnTo>
                    <a:pt x="217539" y="435077"/>
                  </a:lnTo>
                  <a:lnTo>
                    <a:pt x="435077" y="435077"/>
                  </a:lnTo>
                  <a:cubicBezTo>
                    <a:pt x="435077" y="377402"/>
                    <a:pt x="412155" y="322066"/>
                    <a:pt x="371367" y="281250"/>
                  </a:cubicBezTo>
                  <a:cubicBezTo>
                    <a:pt x="330578" y="240462"/>
                    <a:pt x="275241" y="217539"/>
                    <a:pt x="217539" y="217539"/>
                  </a:cubicBezTo>
                  <a:cubicBezTo>
                    <a:pt x="159865" y="217539"/>
                    <a:pt x="104527" y="240462"/>
                    <a:pt x="63712" y="281250"/>
                  </a:cubicBezTo>
                  <a:close/>
                </a:path>
              </a:pathLst>
            </a:custGeom>
            <a:grpFill/>
            <a:ln w="27192" cap="flat">
              <a:noFill/>
              <a:prstDash val="solid"/>
              <a:miter/>
            </a:ln>
          </p:spPr>
          <p:txBody>
            <a:bodyPr rtlCol="0" anchor="ctr"/>
            <a:lstStyle/>
            <a:p>
              <a:endParaRPr lang="uk-UA" sz="900">
                <a:solidFill>
                  <a:schemeClr val="bg1"/>
                </a:solidFill>
              </a:endParaRPr>
            </a:p>
          </p:txBody>
        </p:sp>
        <p:sp>
          <p:nvSpPr>
            <p:cNvPr id="286" name="Freeform: Shape 285">
              <a:extLst>
                <a:ext uri="{FF2B5EF4-FFF2-40B4-BE49-F238E27FC236}">
                  <a16:creationId xmlns:a16="http://schemas.microsoft.com/office/drawing/2014/main" id="{68BF470E-7491-3A16-15CB-D923A1B72AE8}"/>
                </a:ext>
              </a:extLst>
            </p:cNvPr>
            <p:cNvSpPr/>
            <p:nvPr/>
          </p:nvSpPr>
          <p:spPr>
            <a:xfrm>
              <a:off x="16498719" y="805999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0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0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0" y="217539"/>
                  </a:lnTo>
                  <a:lnTo>
                    <a:pt x="0" y="217539"/>
                  </a:lnTo>
                  <a:close/>
                  <a:moveTo>
                    <a:pt x="0" y="435077"/>
                  </a:moveTo>
                  <a:lnTo>
                    <a:pt x="0" y="217539"/>
                  </a:lnTo>
                  <a:lnTo>
                    <a:pt x="217510"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87" name="Freeform: Shape 286">
              <a:extLst>
                <a:ext uri="{FF2B5EF4-FFF2-40B4-BE49-F238E27FC236}">
                  <a16:creationId xmlns:a16="http://schemas.microsoft.com/office/drawing/2014/main" id="{1F86149C-A3EF-E9BF-CC02-70F54F718645}"/>
                </a:ext>
              </a:extLst>
            </p:cNvPr>
            <p:cNvSpPr/>
            <p:nvPr/>
          </p:nvSpPr>
          <p:spPr>
            <a:xfrm>
              <a:off x="18239029" y="8059993"/>
              <a:ext cx="435077" cy="435077"/>
            </a:xfrm>
            <a:custGeom>
              <a:avLst/>
              <a:gdLst>
                <a:gd name="connsiteX0" fmla="*/ 435077 w 435077"/>
                <a:gd name="connsiteY0" fmla="*/ 435077 h 435077"/>
                <a:gd name="connsiteX1" fmla="*/ 435077 w 435077"/>
                <a:gd name="connsiteY1" fmla="*/ 0 h 435077"/>
                <a:gd name="connsiteX2" fmla="*/ 217565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88" name="Freeform: Shape 287">
              <a:extLst>
                <a:ext uri="{FF2B5EF4-FFF2-40B4-BE49-F238E27FC236}">
                  <a16:creationId xmlns:a16="http://schemas.microsoft.com/office/drawing/2014/main" id="{C43356F1-358F-891B-FB2B-1343945D6DBE}"/>
                </a:ext>
              </a:extLst>
            </p:cNvPr>
            <p:cNvSpPr/>
            <p:nvPr/>
          </p:nvSpPr>
          <p:spPr>
            <a:xfrm>
              <a:off x="17368874" y="8059993"/>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27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27"/>
                  </a:lnTo>
                  <a:lnTo>
                    <a:pt x="217539"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89" name="Freeform: Shape 288">
              <a:extLst>
                <a:ext uri="{FF2B5EF4-FFF2-40B4-BE49-F238E27FC236}">
                  <a16:creationId xmlns:a16="http://schemas.microsoft.com/office/drawing/2014/main" id="{6C9809AE-A24C-C819-F254-B9E0C99A54A0}"/>
                </a:ext>
              </a:extLst>
            </p:cNvPr>
            <p:cNvSpPr/>
            <p:nvPr/>
          </p:nvSpPr>
          <p:spPr>
            <a:xfrm>
              <a:off x="19109210" y="805999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895" y="113039"/>
                    <a:pt x="0" y="57702"/>
                    <a:pt x="0" y="0"/>
                  </a:cubicBezTo>
                  <a:lnTo>
                    <a:pt x="217539" y="0"/>
                  </a:lnTo>
                  <a:lnTo>
                    <a:pt x="435077" y="0"/>
                  </a:lnTo>
                  <a:cubicBezTo>
                    <a:pt x="435077" y="57702"/>
                    <a:pt x="412154" y="113039"/>
                    <a:pt x="371339" y="153827"/>
                  </a:cubicBezTo>
                  <a:cubicBezTo>
                    <a:pt x="330550" y="194616"/>
                    <a:pt x="275215" y="217539"/>
                    <a:pt x="217539" y="217539"/>
                  </a:cubicBezTo>
                  <a:cubicBezTo>
                    <a:pt x="159836" y="217539"/>
                    <a:pt x="104501" y="194616"/>
                    <a:pt x="63712" y="153827"/>
                  </a:cubicBezTo>
                  <a:close/>
                  <a:moveTo>
                    <a:pt x="63712" y="281250"/>
                  </a:moveTo>
                  <a:cubicBezTo>
                    <a:pt x="22895" y="322066"/>
                    <a:pt x="0" y="377402"/>
                    <a:pt x="0" y="435077"/>
                  </a:cubicBezTo>
                  <a:lnTo>
                    <a:pt x="217539" y="435077"/>
                  </a:lnTo>
                  <a:lnTo>
                    <a:pt x="435077" y="435077"/>
                  </a:lnTo>
                  <a:cubicBezTo>
                    <a:pt x="435077" y="377402"/>
                    <a:pt x="412154" y="322066"/>
                    <a:pt x="371339" y="281250"/>
                  </a:cubicBezTo>
                  <a:cubicBezTo>
                    <a:pt x="330550" y="240462"/>
                    <a:pt x="275215" y="217539"/>
                    <a:pt x="217539" y="217539"/>
                  </a:cubicBezTo>
                  <a:cubicBezTo>
                    <a:pt x="159836" y="217539"/>
                    <a:pt x="104501" y="240462"/>
                    <a:pt x="63712" y="281250"/>
                  </a:cubicBezTo>
                  <a:close/>
                </a:path>
              </a:pathLst>
            </a:custGeom>
            <a:grpFill/>
            <a:ln w="27192" cap="flat">
              <a:noFill/>
              <a:prstDash val="solid"/>
              <a:miter/>
            </a:ln>
          </p:spPr>
          <p:txBody>
            <a:bodyPr rtlCol="0" anchor="ctr"/>
            <a:lstStyle/>
            <a:p>
              <a:endParaRPr lang="uk-UA" sz="900">
                <a:solidFill>
                  <a:schemeClr val="bg1"/>
                </a:solidFill>
              </a:endParaRPr>
            </a:p>
          </p:txBody>
        </p:sp>
        <p:sp>
          <p:nvSpPr>
            <p:cNvPr id="290" name="Freeform: Shape 289">
              <a:extLst>
                <a:ext uri="{FF2B5EF4-FFF2-40B4-BE49-F238E27FC236}">
                  <a16:creationId xmlns:a16="http://schemas.microsoft.com/office/drawing/2014/main" id="{2467DC7F-0C17-0C24-7913-1655EE6D3E21}"/>
                </a:ext>
              </a:extLst>
            </p:cNvPr>
            <p:cNvSpPr/>
            <p:nvPr/>
          </p:nvSpPr>
          <p:spPr>
            <a:xfrm>
              <a:off x="19979365" y="805999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91" name="Freeform: Shape 290">
              <a:extLst>
                <a:ext uri="{FF2B5EF4-FFF2-40B4-BE49-F238E27FC236}">
                  <a16:creationId xmlns:a16="http://schemas.microsoft.com/office/drawing/2014/main" id="{51DFB981-9C2D-FB29-E258-D0D3505C76E7}"/>
                </a:ext>
              </a:extLst>
            </p:cNvPr>
            <p:cNvSpPr/>
            <p:nvPr/>
          </p:nvSpPr>
          <p:spPr>
            <a:xfrm>
              <a:off x="21719702" y="805999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2"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92" name="Freeform: Shape 291">
              <a:extLst>
                <a:ext uri="{FF2B5EF4-FFF2-40B4-BE49-F238E27FC236}">
                  <a16:creationId xmlns:a16="http://schemas.microsoft.com/office/drawing/2014/main" id="{BB9F65C0-5D72-C915-E9AD-AA0240DC1D76}"/>
                </a:ext>
              </a:extLst>
            </p:cNvPr>
            <p:cNvSpPr/>
            <p:nvPr/>
          </p:nvSpPr>
          <p:spPr>
            <a:xfrm>
              <a:off x="20849520" y="8059993"/>
              <a:ext cx="435077" cy="435077"/>
            </a:xfrm>
            <a:custGeom>
              <a:avLst/>
              <a:gdLst>
                <a:gd name="connsiteX0" fmla="*/ 217565 w 435077"/>
                <a:gd name="connsiteY0" fmla="*/ 435077 h 435077"/>
                <a:gd name="connsiteX1" fmla="*/ 217565 w 435077"/>
                <a:gd name="connsiteY1" fmla="*/ 0 h 435077"/>
                <a:gd name="connsiteX2" fmla="*/ 435077 w 435077"/>
                <a:gd name="connsiteY2" fmla="*/ 217539 h 435077"/>
                <a:gd name="connsiteX3" fmla="*/ 217565 w 435077"/>
                <a:gd name="connsiteY3" fmla="*/ 435077 h 435077"/>
                <a:gd name="connsiteX4" fmla="*/ 0 w 435077"/>
                <a:gd name="connsiteY4" fmla="*/ 435077 h 435077"/>
                <a:gd name="connsiteX5" fmla="*/ 0 w 435077"/>
                <a:gd name="connsiteY5" fmla="*/ 27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65" y="435077"/>
                  </a:moveTo>
                  <a:lnTo>
                    <a:pt x="217565" y="0"/>
                  </a:lnTo>
                  <a:lnTo>
                    <a:pt x="435077" y="217539"/>
                  </a:lnTo>
                  <a:lnTo>
                    <a:pt x="217565" y="435077"/>
                  </a:lnTo>
                  <a:close/>
                  <a:moveTo>
                    <a:pt x="0" y="435077"/>
                  </a:moveTo>
                  <a:lnTo>
                    <a:pt x="0" y="27"/>
                  </a:lnTo>
                  <a:lnTo>
                    <a:pt x="217539"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93" name="Freeform: Shape 292">
              <a:extLst>
                <a:ext uri="{FF2B5EF4-FFF2-40B4-BE49-F238E27FC236}">
                  <a16:creationId xmlns:a16="http://schemas.microsoft.com/office/drawing/2014/main" id="{9902B549-22A9-01AA-8F83-DD39CC6E3BB1}"/>
                </a:ext>
              </a:extLst>
            </p:cNvPr>
            <p:cNvSpPr/>
            <p:nvPr/>
          </p:nvSpPr>
          <p:spPr>
            <a:xfrm>
              <a:off x="22589856" y="805999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7" y="153827"/>
                  </a:cubicBezTo>
                  <a:cubicBezTo>
                    <a:pt x="330578" y="194616"/>
                    <a:pt x="275241" y="217539"/>
                    <a:pt x="217539" y="217539"/>
                  </a:cubicBezTo>
                  <a:cubicBezTo>
                    <a:pt x="159838" y="217539"/>
                    <a:pt x="104529" y="194616"/>
                    <a:pt x="63712" y="153827"/>
                  </a:cubicBezTo>
                  <a:close/>
                  <a:moveTo>
                    <a:pt x="63712" y="281250"/>
                  </a:moveTo>
                  <a:cubicBezTo>
                    <a:pt x="22924" y="322066"/>
                    <a:pt x="0" y="377402"/>
                    <a:pt x="0" y="435077"/>
                  </a:cubicBezTo>
                  <a:lnTo>
                    <a:pt x="217539" y="435077"/>
                  </a:lnTo>
                  <a:lnTo>
                    <a:pt x="435077" y="435077"/>
                  </a:lnTo>
                  <a:cubicBezTo>
                    <a:pt x="435077" y="377402"/>
                    <a:pt x="412155" y="322066"/>
                    <a:pt x="371367" y="281250"/>
                  </a:cubicBezTo>
                  <a:cubicBezTo>
                    <a:pt x="330578" y="240462"/>
                    <a:pt x="275241" y="217539"/>
                    <a:pt x="217539" y="217539"/>
                  </a:cubicBezTo>
                  <a:cubicBezTo>
                    <a:pt x="159838" y="217539"/>
                    <a:pt x="104529" y="240462"/>
                    <a:pt x="63712" y="281250"/>
                  </a:cubicBezTo>
                  <a:close/>
                </a:path>
              </a:pathLst>
            </a:custGeom>
            <a:grpFill/>
            <a:ln w="27192" cap="flat">
              <a:noFill/>
              <a:prstDash val="solid"/>
              <a:miter/>
            </a:ln>
          </p:spPr>
          <p:txBody>
            <a:bodyPr rtlCol="0" anchor="ctr"/>
            <a:lstStyle/>
            <a:p>
              <a:endParaRPr lang="uk-UA" sz="900">
                <a:solidFill>
                  <a:schemeClr val="bg1"/>
                </a:solidFill>
              </a:endParaRPr>
            </a:p>
          </p:txBody>
        </p:sp>
        <p:sp>
          <p:nvSpPr>
            <p:cNvPr id="294" name="Freeform: Shape 293">
              <a:extLst>
                <a:ext uri="{FF2B5EF4-FFF2-40B4-BE49-F238E27FC236}">
                  <a16:creationId xmlns:a16="http://schemas.microsoft.com/office/drawing/2014/main" id="{1F5CB98A-8B57-778B-E4B8-9647175C2C5E}"/>
                </a:ext>
              </a:extLst>
            </p:cNvPr>
            <p:cNvSpPr/>
            <p:nvPr/>
          </p:nvSpPr>
          <p:spPr>
            <a:xfrm>
              <a:off x="23460011" y="8059993"/>
              <a:ext cx="435105" cy="435077"/>
            </a:xfrm>
            <a:custGeom>
              <a:avLst/>
              <a:gdLst>
                <a:gd name="connsiteX0" fmla="*/ 435106 w 435105"/>
                <a:gd name="connsiteY0" fmla="*/ 435077 h 435077"/>
                <a:gd name="connsiteX1" fmla="*/ 435106 w 435105"/>
                <a:gd name="connsiteY1" fmla="*/ 217566 h 435077"/>
                <a:gd name="connsiteX2" fmla="*/ 435106 w 435105"/>
                <a:gd name="connsiteY2" fmla="*/ 27 h 435077"/>
                <a:gd name="connsiteX3" fmla="*/ 217567 w 435105"/>
                <a:gd name="connsiteY3" fmla="*/ 27 h 435077"/>
                <a:gd name="connsiteX4" fmla="*/ 435106 w 435105"/>
                <a:gd name="connsiteY4" fmla="*/ 217566 h 435077"/>
                <a:gd name="connsiteX5" fmla="*/ 217567 w 435105"/>
                <a:gd name="connsiteY5" fmla="*/ 435077 h 435077"/>
                <a:gd name="connsiteX6" fmla="*/ 435106 w 435105"/>
                <a:gd name="connsiteY6" fmla="*/ 435077 h 435077"/>
                <a:gd name="connsiteX7" fmla="*/ 0 w 435105"/>
                <a:gd name="connsiteY7" fmla="*/ 217539 h 435077"/>
                <a:gd name="connsiteX8" fmla="*/ 0 w 435105"/>
                <a:gd name="connsiteY8" fmla="*/ 0 h 435077"/>
                <a:gd name="connsiteX9" fmla="*/ 217539 w 435105"/>
                <a:gd name="connsiteY9" fmla="*/ 217539 h 435077"/>
                <a:gd name="connsiteX10" fmla="*/ 0 w 435105"/>
                <a:gd name="connsiteY10" fmla="*/ 217539 h 435077"/>
                <a:gd name="connsiteX11" fmla="*/ 0 w 435105"/>
                <a:gd name="connsiteY11" fmla="*/ 435077 h 435077"/>
                <a:gd name="connsiteX12" fmla="*/ 0 w 435105"/>
                <a:gd name="connsiteY12" fmla="*/ 217539 h 435077"/>
                <a:gd name="connsiteX13" fmla="*/ 217539 w 435105"/>
                <a:gd name="connsiteY13" fmla="*/ 217539 h 435077"/>
                <a:gd name="connsiteX14" fmla="*/ 0 w 435105"/>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105" h="435077">
                  <a:moveTo>
                    <a:pt x="435106" y="435077"/>
                  </a:moveTo>
                  <a:lnTo>
                    <a:pt x="435106" y="217566"/>
                  </a:lnTo>
                  <a:lnTo>
                    <a:pt x="435106" y="27"/>
                  </a:lnTo>
                  <a:lnTo>
                    <a:pt x="217567" y="27"/>
                  </a:lnTo>
                  <a:lnTo>
                    <a:pt x="435106" y="217566"/>
                  </a:lnTo>
                  <a:lnTo>
                    <a:pt x="217567" y="435077"/>
                  </a:lnTo>
                  <a:lnTo>
                    <a:pt x="435106"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95" name="Freeform: Shape 294">
              <a:extLst>
                <a:ext uri="{FF2B5EF4-FFF2-40B4-BE49-F238E27FC236}">
                  <a16:creationId xmlns:a16="http://schemas.microsoft.com/office/drawing/2014/main" id="{DFF37818-17C4-6D3B-857F-FA0B61BA6EE2}"/>
                </a:ext>
              </a:extLst>
            </p:cNvPr>
            <p:cNvSpPr/>
            <p:nvPr/>
          </p:nvSpPr>
          <p:spPr>
            <a:xfrm>
              <a:off x="24330194" y="8059993"/>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27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27"/>
                  </a:lnTo>
                  <a:lnTo>
                    <a:pt x="217539"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96" name="Freeform: Shape 295">
              <a:extLst>
                <a:ext uri="{FF2B5EF4-FFF2-40B4-BE49-F238E27FC236}">
                  <a16:creationId xmlns:a16="http://schemas.microsoft.com/office/drawing/2014/main" id="{CB0CEF15-88FB-4FC1-FEB0-25DDD0D84C55}"/>
                </a:ext>
              </a:extLst>
            </p:cNvPr>
            <p:cNvSpPr/>
            <p:nvPr/>
          </p:nvSpPr>
          <p:spPr>
            <a:xfrm>
              <a:off x="835769" y="8930148"/>
              <a:ext cx="435077" cy="435104"/>
            </a:xfrm>
            <a:custGeom>
              <a:avLst/>
              <a:gdLst>
                <a:gd name="connsiteX0" fmla="*/ 0 w 435077"/>
                <a:gd name="connsiteY0" fmla="*/ 435077 h 435104"/>
                <a:gd name="connsiteX1" fmla="*/ 217511 w 435077"/>
                <a:gd name="connsiteY1" fmla="*/ 435077 h 435104"/>
                <a:gd name="connsiteX2" fmla="*/ 217511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11" y="435077"/>
                  </a:lnTo>
                  <a:lnTo>
                    <a:pt x="217511"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solidFill>
                  <a:schemeClr val="bg1"/>
                </a:solidFill>
              </a:endParaRPr>
            </a:p>
          </p:txBody>
        </p:sp>
        <p:sp>
          <p:nvSpPr>
            <p:cNvPr id="297" name="Freeform: Shape 296">
              <a:extLst>
                <a:ext uri="{FF2B5EF4-FFF2-40B4-BE49-F238E27FC236}">
                  <a16:creationId xmlns:a16="http://schemas.microsoft.com/office/drawing/2014/main" id="{28F9EC96-C988-1222-BC77-DE1D9778E99B}"/>
                </a:ext>
              </a:extLst>
            </p:cNvPr>
            <p:cNvSpPr/>
            <p:nvPr/>
          </p:nvSpPr>
          <p:spPr>
            <a:xfrm>
              <a:off x="-34398" y="8930148"/>
              <a:ext cx="435063" cy="435077"/>
            </a:xfrm>
            <a:custGeom>
              <a:avLst/>
              <a:gdLst>
                <a:gd name="connsiteX0" fmla="*/ 217525 w 435063"/>
                <a:gd name="connsiteY0" fmla="*/ 217539 h 435077"/>
                <a:gd name="connsiteX1" fmla="*/ 217525 w 435063"/>
                <a:gd name="connsiteY1" fmla="*/ 0 h 435077"/>
                <a:gd name="connsiteX2" fmla="*/ 0 w 435063"/>
                <a:gd name="connsiteY2" fmla="*/ 0 h 435077"/>
                <a:gd name="connsiteX3" fmla="*/ 217525 w 435063"/>
                <a:gd name="connsiteY3" fmla="*/ 217539 h 435077"/>
                <a:gd name="connsiteX4" fmla="*/ 0 w 435063"/>
                <a:gd name="connsiteY4" fmla="*/ 435077 h 435077"/>
                <a:gd name="connsiteX5" fmla="*/ 217525 w 435063"/>
                <a:gd name="connsiteY5" fmla="*/ 435077 h 435077"/>
                <a:gd name="connsiteX6" fmla="*/ 217525 w 435063"/>
                <a:gd name="connsiteY6" fmla="*/ 435077 h 435077"/>
                <a:gd name="connsiteX7" fmla="*/ 435064 w 435063"/>
                <a:gd name="connsiteY7" fmla="*/ 217566 h 435077"/>
                <a:gd name="connsiteX8" fmla="*/ 435064 w 435063"/>
                <a:gd name="connsiteY8" fmla="*/ 217566 h 435077"/>
                <a:gd name="connsiteX9" fmla="*/ 435064 w 435063"/>
                <a:gd name="connsiteY9" fmla="*/ 217539 h 435077"/>
                <a:gd name="connsiteX10" fmla="*/ 435064 w 435063"/>
                <a:gd name="connsiteY10" fmla="*/ 217539 h 435077"/>
                <a:gd name="connsiteX11" fmla="*/ 435064 w 435063"/>
                <a:gd name="connsiteY11" fmla="*/ 217539 h 435077"/>
                <a:gd name="connsiteX12" fmla="*/ 217525 w 435063"/>
                <a:gd name="connsiteY12" fmla="*/ 27 h 435077"/>
                <a:gd name="connsiteX13" fmla="*/ 217525 w 435063"/>
                <a:gd name="connsiteY13" fmla="*/ 217539 h 435077"/>
                <a:gd name="connsiteX14" fmla="*/ 217525 w 435063"/>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63" h="435077">
                  <a:moveTo>
                    <a:pt x="217525" y="217539"/>
                  </a:moveTo>
                  <a:lnTo>
                    <a:pt x="217525" y="0"/>
                  </a:lnTo>
                  <a:lnTo>
                    <a:pt x="0" y="0"/>
                  </a:lnTo>
                  <a:lnTo>
                    <a:pt x="217525" y="217539"/>
                  </a:lnTo>
                  <a:lnTo>
                    <a:pt x="0" y="435077"/>
                  </a:lnTo>
                  <a:lnTo>
                    <a:pt x="217525" y="435077"/>
                  </a:lnTo>
                  <a:lnTo>
                    <a:pt x="217525" y="435077"/>
                  </a:lnTo>
                  <a:lnTo>
                    <a:pt x="435064" y="217566"/>
                  </a:lnTo>
                  <a:lnTo>
                    <a:pt x="435064" y="217566"/>
                  </a:lnTo>
                  <a:lnTo>
                    <a:pt x="435064" y="217539"/>
                  </a:lnTo>
                  <a:lnTo>
                    <a:pt x="435064" y="217539"/>
                  </a:lnTo>
                  <a:lnTo>
                    <a:pt x="435064" y="217539"/>
                  </a:lnTo>
                  <a:lnTo>
                    <a:pt x="217525" y="27"/>
                  </a:lnTo>
                  <a:lnTo>
                    <a:pt x="217525" y="217539"/>
                  </a:lnTo>
                  <a:lnTo>
                    <a:pt x="217525"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298" name="Freeform: Shape 297">
              <a:extLst>
                <a:ext uri="{FF2B5EF4-FFF2-40B4-BE49-F238E27FC236}">
                  <a16:creationId xmlns:a16="http://schemas.microsoft.com/office/drawing/2014/main" id="{9B74DBFE-75BC-4642-E426-6C7A39757628}"/>
                </a:ext>
              </a:extLst>
            </p:cNvPr>
            <p:cNvSpPr/>
            <p:nvPr/>
          </p:nvSpPr>
          <p:spPr>
            <a:xfrm>
              <a:off x="1705924" y="8930148"/>
              <a:ext cx="435104" cy="435077"/>
            </a:xfrm>
            <a:custGeom>
              <a:avLst/>
              <a:gdLst>
                <a:gd name="connsiteX0" fmla="*/ 217539 w 435104"/>
                <a:gd name="connsiteY0" fmla="*/ 0 h 435077"/>
                <a:gd name="connsiteX1" fmla="*/ 0 w 435104"/>
                <a:gd name="connsiteY1" fmla="*/ 0 h 435077"/>
                <a:gd name="connsiteX2" fmla="*/ 0 w 435104"/>
                <a:gd name="connsiteY2" fmla="*/ 217539 h 435077"/>
                <a:gd name="connsiteX3" fmla="*/ 217539 w 435104"/>
                <a:gd name="connsiteY3" fmla="*/ 0 h 435077"/>
                <a:gd name="connsiteX4" fmla="*/ 435104 w 435104"/>
                <a:gd name="connsiteY4" fmla="*/ 27 h 435077"/>
                <a:gd name="connsiteX5" fmla="*/ 435104 w 435104"/>
                <a:gd name="connsiteY5" fmla="*/ 217566 h 435077"/>
                <a:gd name="connsiteX6" fmla="*/ 217566 w 435104"/>
                <a:gd name="connsiteY6" fmla="*/ 27 h 435077"/>
                <a:gd name="connsiteX7" fmla="*/ 435104 w 435104"/>
                <a:gd name="connsiteY7" fmla="*/ 27 h 435077"/>
                <a:gd name="connsiteX8" fmla="*/ 217566 w 435104"/>
                <a:gd name="connsiteY8" fmla="*/ 435077 h 435077"/>
                <a:gd name="connsiteX9" fmla="*/ 435104 w 435104"/>
                <a:gd name="connsiteY9" fmla="*/ 217566 h 435077"/>
                <a:gd name="connsiteX10" fmla="*/ 435104 w 435104"/>
                <a:gd name="connsiteY10" fmla="*/ 435077 h 435077"/>
                <a:gd name="connsiteX11" fmla="*/ 217566 w 435104"/>
                <a:gd name="connsiteY11" fmla="*/ 435077 h 435077"/>
                <a:gd name="connsiteX12" fmla="*/ 217566 w 435104"/>
                <a:gd name="connsiteY12" fmla="*/ 435077 h 435077"/>
                <a:gd name="connsiteX13" fmla="*/ 27 w 435104"/>
                <a:gd name="connsiteY13" fmla="*/ 217566 h 435077"/>
                <a:gd name="connsiteX14" fmla="*/ 27 w 435104"/>
                <a:gd name="connsiteY14" fmla="*/ 435077 h 435077"/>
                <a:gd name="connsiteX15" fmla="*/ 217566 w 435104"/>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4" h="435077">
                  <a:moveTo>
                    <a:pt x="217539" y="0"/>
                  </a:moveTo>
                  <a:lnTo>
                    <a:pt x="0" y="0"/>
                  </a:lnTo>
                  <a:lnTo>
                    <a:pt x="0" y="217539"/>
                  </a:lnTo>
                  <a:lnTo>
                    <a:pt x="217539" y="0"/>
                  </a:lnTo>
                  <a:close/>
                  <a:moveTo>
                    <a:pt x="435104" y="27"/>
                  </a:moveTo>
                  <a:lnTo>
                    <a:pt x="435104" y="217566"/>
                  </a:lnTo>
                  <a:lnTo>
                    <a:pt x="217566" y="27"/>
                  </a:lnTo>
                  <a:lnTo>
                    <a:pt x="435104" y="27"/>
                  </a:lnTo>
                  <a:close/>
                  <a:moveTo>
                    <a:pt x="217566" y="435077"/>
                  </a:moveTo>
                  <a:lnTo>
                    <a:pt x="435104" y="217566"/>
                  </a:lnTo>
                  <a:lnTo>
                    <a:pt x="435104" y="435077"/>
                  </a:lnTo>
                  <a:lnTo>
                    <a:pt x="217566" y="435077"/>
                  </a:lnTo>
                  <a:close/>
                  <a:moveTo>
                    <a:pt x="217566" y="435077"/>
                  </a:moveTo>
                  <a:lnTo>
                    <a:pt x="27" y="217566"/>
                  </a:lnTo>
                  <a:lnTo>
                    <a:pt x="27" y="435077"/>
                  </a:lnTo>
                  <a:lnTo>
                    <a:pt x="217566"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299" name="Freeform: Shape 298">
              <a:extLst>
                <a:ext uri="{FF2B5EF4-FFF2-40B4-BE49-F238E27FC236}">
                  <a16:creationId xmlns:a16="http://schemas.microsoft.com/office/drawing/2014/main" id="{91D0DB6E-87CB-4DE3-6CED-50778164910B}"/>
                </a:ext>
              </a:extLst>
            </p:cNvPr>
            <p:cNvSpPr/>
            <p:nvPr/>
          </p:nvSpPr>
          <p:spPr>
            <a:xfrm>
              <a:off x="2576106" y="8930148"/>
              <a:ext cx="435077" cy="435077"/>
            </a:xfrm>
            <a:custGeom>
              <a:avLst/>
              <a:gdLst>
                <a:gd name="connsiteX0" fmla="*/ 371366 w 435077"/>
                <a:gd name="connsiteY0" fmla="*/ 63739 h 435077"/>
                <a:gd name="connsiteX1" fmla="*/ 435077 w 435077"/>
                <a:gd name="connsiteY1" fmla="*/ 217539 h 435077"/>
                <a:gd name="connsiteX2" fmla="*/ 217702 w 435077"/>
                <a:gd name="connsiteY2" fmla="*/ 217539 h 435077"/>
                <a:gd name="connsiteX3" fmla="*/ 371366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6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39"/>
                  </a:moveTo>
                  <a:cubicBezTo>
                    <a:pt x="412154" y="104527"/>
                    <a:pt x="435077" y="159864"/>
                    <a:pt x="435077" y="217539"/>
                  </a:cubicBezTo>
                  <a:lnTo>
                    <a:pt x="217702" y="217539"/>
                  </a:lnTo>
                  <a:cubicBezTo>
                    <a:pt x="275350" y="217593"/>
                    <a:pt x="330605" y="240516"/>
                    <a:pt x="371366" y="281277"/>
                  </a:cubicBezTo>
                  <a:cubicBezTo>
                    <a:pt x="412154" y="322066"/>
                    <a:pt x="435077" y="377402"/>
                    <a:pt x="435077" y="435077"/>
                  </a:cubicBezTo>
                  <a:lnTo>
                    <a:pt x="217539" y="435077"/>
                  </a:lnTo>
                  <a:lnTo>
                    <a:pt x="0" y="435077"/>
                  </a:lnTo>
                  <a:cubicBezTo>
                    <a:pt x="0" y="377402"/>
                    <a:pt x="22923" y="322066"/>
                    <a:pt x="63712" y="281277"/>
                  </a:cubicBezTo>
                  <a:cubicBezTo>
                    <a:pt x="104473" y="240516"/>
                    <a:pt x="159728" y="217593"/>
                    <a:pt x="217376" y="217539"/>
                  </a:cubicBezTo>
                  <a:lnTo>
                    <a:pt x="0" y="217539"/>
                  </a:lnTo>
                  <a:cubicBezTo>
                    <a:pt x="0" y="159864"/>
                    <a:pt x="22923" y="104527"/>
                    <a:pt x="63712" y="63739"/>
                  </a:cubicBezTo>
                  <a:cubicBezTo>
                    <a:pt x="104500" y="22923"/>
                    <a:pt x="159837" y="0"/>
                    <a:pt x="217539" y="0"/>
                  </a:cubicBezTo>
                  <a:cubicBezTo>
                    <a:pt x="275214" y="0"/>
                    <a:pt x="330550" y="22923"/>
                    <a:pt x="371366" y="63739"/>
                  </a:cubicBezTo>
                  <a:close/>
                </a:path>
              </a:pathLst>
            </a:custGeom>
            <a:grpFill/>
            <a:ln w="27192" cap="flat">
              <a:noFill/>
              <a:prstDash val="solid"/>
              <a:miter/>
            </a:ln>
          </p:spPr>
          <p:txBody>
            <a:bodyPr rtlCol="0" anchor="ctr"/>
            <a:lstStyle/>
            <a:p>
              <a:endParaRPr lang="uk-UA" sz="900">
                <a:solidFill>
                  <a:schemeClr val="bg1"/>
                </a:solidFill>
              </a:endParaRPr>
            </a:p>
          </p:txBody>
        </p:sp>
        <p:sp>
          <p:nvSpPr>
            <p:cNvPr id="300" name="Freeform: Shape 299">
              <a:extLst>
                <a:ext uri="{FF2B5EF4-FFF2-40B4-BE49-F238E27FC236}">
                  <a16:creationId xmlns:a16="http://schemas.microsoft.com/office/drawing/2014/main" id="{1CFDAF73-4C6F-636A-864E-C1F672192C6F}"/>
                </a:ext>
              </a:extLst>
            </p:cNvPr>
            <p:cNvSpPr/>
            <p:nvPr/>
          </p:nvSpPr>
          <p:spPr>
            <a:xfrm>
              <a:off x="4316442" y="8930148"/>
              <a:ext cx="435050" cy="435104"/>
            </a:xfrm>
            <a:custGeom>
              <a:avLst/>
              <a:gdLst>
                <a:gd name="connsiteX0" fmla="*/ 0 w 435050"/>
                <a:gd name="connsiteY0" fmla="*/ 435077 h 435104"/>
                <a:gd name="connsiteX1" fmla="*/ 217512 w 435050"/>
                <a:gd name="connsiteY1" fmla="*/ 435077 h 435104"/>
                <a:gd name="connsiteX2" fmla="*/ 217512 w 435050"/>
                <a:gd name="connsiteY2" fmla="*/ 217566 h 435104"/>
                <a:gd name="connsiteX3" fmla="*/ 0 w 435050"/>
                <a:gd name="connsiteY3" fmla="*/ 435077 h 435104"/>
                <a:gd name="connsiteX4" fmla="*/ 217512 w 435050"/>
                <a:gd name="connsiteY4" fmla="*/ 0 h 435104"/>
                <a:gd name="connsiteX5" fmla="*/ 0 w 435050"/>
                <a:gd name="connsiteY5" fmla="*/ 0 h 435104"/>
                <a:gd name="connsiteX6" fmla="*/ 217512 w 435050"/>
                <a:gd name="connsiteY6" fmla="*/ 217539 h 435104"/>
                <a:gd name="connsiteX7" fmla="*/ 217512 w 435050"/>
                <a:gd name="connsiteY7" fmla="*/ 0 h 435104"/>
                <a:gd name="connsiteX8" fmla="*/ 435051 w 435050"/>
                <a:gd name="connsiteY8" fmla="*/ 435105 h 435104"/>
                <a:gd name="connsiteX9" fmla="*/ 217539 w 435050"/>
                <a:gd name="connsiteY9" fmla="*/ 435105 h 435104"/>
                <a:gd name="connsiteX10" fmla="*/ 435051 w 435050"/>
                <a:gd name="connsiteY10" fmla="*/ 217566 h 435104"/>
                <a:gd name="connsiteX11" fmla="*/ 435051 w 435050"/>
                <a:gd name="connsiteY11" fmla="*/ 435105 h 435104"/>
                <a:gd name="connsiteX12" fmla="*/ 435051 w 435050"/>
                <a:gd name="connsiteY12" fmla="*/ 27 h 435104"/>
                <a:gd name="connsiteX13" fmla="*/ 217539 w 435050"/>
                <a:gd name="connsiteY13" fmla="*/ 27 h 435104"/>
                <a:gd name="connsiteX14" fmla="*/ 435051 w 435050"/>
                <a:gd name="connsiteY14" fmla="*/ 217539 h 435104"/>
                <a:gd name="connsiteX15" fmla="*/ 435051 w 435050"/>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50" h="435104">
                  <a:moveTo>
                    <a:pt x="0" y="435077"/>
                  </a:moveTo>
                  <a:lnTo>
                    <a:pt x="217512" y="435077"/>
                  </a:lnTo>
                  <a:lnTo>
                    <a:pt x="217512" y="217566"/>
                  </a:lnTo>
                  <a:lnTo>
                    <a:pt x="0" y="435077"/>
                  </a:lnTo>
                  <a:close/>
                  <a:moveTo>
                    <a:pt x="217512" y="0"/>
                  </a:moveTo>
                  <a:lnTo>
                    <a:pt x="0" y="0"/>
                  </a:lnTo>
                  <a:lnTo>
                    <a:pt x="217512" y="217539"/>
                  </a:lnTo>
                  <a:lnTo>
                    <a:pt x="217512" y="0"/>
                  </a:lnTo>
                  <a:close/>
                  <a:moveTo>
                    <a:pt x="435051" y="435105"/>
                  </a:moveTo>
                  <a:lnTo>
                    <a:pt x="217539" y="435105"/>
                  </a:lnTo>
                  <a:lnTo>
                    <a:pt x="435051" y="217566"/>
                  </a:lnTo>
                  <a:lnTo>
                    <a:pt x="435051" y="435105"/>
                  </a:lnTo>
                  <a:close/>
                  <a:moveTo>
                    <a:pt x="435051" y="27"/>
                  </a:moveTo>
                  <a:lnTo>
                    <a:pt x="217539" y="27"/>
                  </a:lnTo>
                  <a:lnTo>
                    <a:pt x="435051" y="217539"/>
                  </a:lnTo>
                  <a:lnTo>
                    <a:pt x="435051" y="27"/>
                  </a:lnTo>
                  <a:close/>
                </a:path>
              </a:pathLst>
            </a:custGeom>
            <a:grpFill/>
            <a:ln w="27192" cap="flat">
              <a:noFill/>
              <a:prstDash val="solid"/>
              <a:miter/>
            </a:ln>
          </p:spPr>
          <p:txBody>
            <a:bodyPr rtlCol="0" anchor="ctr"/>
            <a:lstStyle/>
            <a:p>
              <a:endParaRPr lang="uk-UA" sz="900">
                <a:solidFill>
                  <a:schemeClr val="bg1"/>
                </a:solidFill>
              </a:endParaRPr>
            </a:p>
          </p:txBody>
        </p:sp>
        <p:sp>
          <p:nvSpPr>
            <p:cNvPr id="301" name="Freeform: Shape 300">
              <a:extLst>
                <a:ext uri="{FF2B5EF4-FFF2-40B4-BE49-F238E27FC236}">
                  <a16:creationId xmlns:a16="http://schemas.microsoft.com/office/drawing/2014/main" id="{418776E1-1FED-9CC9-14E0-8E1A481B810C}"/>
                </a:ext>
              </a:extLst>
            </p:cNvPr>
            <p:cNvSpPr/>
            <p:nvPr/>
          </p:nvSpPr>
          <p:spPr>
            <a:xfrm>
              <a:off x="3446261" y="893014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302" name="Freeform: Shape 301">
              <a:extLst>
                <a:ext uri="{FF2B5EF4-FFF2-40B4-BE49-F238E27FC236}">
                  <a16:creationId xmlns:a16="http://schemas.microsoft.com/office/drawing/2014/main" id="{31B4E590-C2F5-0F37-714F-9CA161A3F477}"/>
                </a:ext>
              </a:extLst>
            </p:cNvPr>
            <p:cNvSpPr/>
            <p:nvPr/>
          </p:nvSpPr>
          <p:spPr>
            <a:xfrm>
              <a:off x="5186597" y="8930148"/>
              <a:ext cx="435077" cy="435077"/>
            </a:xfrm>
            <a:custGeom>
              <a:avLst/>
              <a:gdLst>
                <a:gd name="connsiteX0" fmla="*/ 217539 w 435077"/>
                <a:gd name="connsiteY0" fmla="*/ 0 h 435077"/>
                <a:gd name="connsiteX1" fmla="*/ 217539 w 435077"/>
                <a:gd name="connsiteY1" fmla="*/ 0 h 435077"/>
                <a:gd name="connsiteX2" fmla="*/ 0 w 435077"/>
                <a:gd name="connsiteY2" fmla="*/ 0 h 435077"/>
                <a:gd name="connsiteX3" fmla="*/ 0 w 435077"/>
                <a:gd name="connsiteY3" fmla="*/ 217539 h 435077"/>
                <a:gd name="connsiteX4" fmla="*/ 217539 w 435077"/>
                <a:gd name="connsiteY4" fmla="*/ 27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217539" y="0"/>
                  </a:lnTo>
                  <a:lnTo>
                    <a:pt x="0" y="0"/>
                  </a:lnTo>
                  <a:lnTo>
                    <a:pt x="0" y="217539"/>
                  </a:lnTo>
                  <a:lnTo>
                    <a:pt x="217539" y="27"/>
                  </a:lnTo>
                  <a:lnTo>
                    <a:pt x="435077" y="217539"/>
                  </a:lnTo>
                  <a:lnTo>
                    <a:pt x="217539" y="435077"/>
                  </a:lnTo>
                  <a:lnTo>
                    <a:pt x="0" y="217539"/>
                  </a:lnTo>
                  <a:lnTo>
                    <a:pt x="0" y="435077"/>
                  </a:lnTo>
                  <a:lnTo>
                    <a:pt x="217539" y="435077"/>
                  </a:lnTo>
                  <a:lnTo>
                    <a:pt x="435077" y="435077"/>
                  </a:lnTo>
                  <a:lnTo>
                    <a:pt x="435077" y="217539"/>
                  </a:lnTo>
                  <a:lnTo>
                    <a:pt x="435077" y="0"/>
                  </a:lnTo>
                  <a:lnTo>
                    <a:pt x="217539" y="0"/>
                  </a:lnTo>
                  <a:close/>
                </a:path>
              </a:pathLst>
            </a:custGeom>
            <a:grpFill/>
            <a:ln w="27192" cap="flat">
              <a:noFill/>
              <a:prstDash val="solid"/>
              <a:miter/>
            </a:ln>
          </p:spPr>
          <p:txBody>
            <a:bodyPr rtlCol="0" anchor="ctr"/>
            <a:lstStyle/>
            <a:p>
              <a:endParaRPr lang="uk-UA" sz="900">
                <a:solidFill>
                  <a:schemeClr val="bg1"/>
                </a:solidFill>
              </a:endParaRPr>
            </a:p>
          </p:txBody>
        </p:sp>
        <p:sp>
          <p:nvSpPr>
            <p:cNvPr id="303" name="Freeform: Shape 302">
              <a:extLst>
                <a:ext uri="{FF2B5EF4-FFF2-40B4-BE49-F238E27FC236}">
                  <a16:creationId xmlns:a16="http://schemas.microsoft.com/office/drawing/2014/main" id="{E96B6B02-8A83-3B76-5D8D-F7D867E52F7A}"/>
                </a:ext>
              </a:extLst>
            </p:cNvPr>
            <p:cNvSpPr/>
            <p:nvPr/>
          </p:nvSpPr>
          <p:spPr>
            <a:xfrm>
              <a:off x="6056752" y="8930148"/>
              <a:ext cx="435077" cy="435077"/>
            </a:xfrm>
            <a:custGeom>
              <a:avLst/>
              <a:gdLst>
                <a:gd name="connsiteX0" fmla="*/ 371366 w 435077"/>
                <a:gd name="connsiteY0" fmla="*/ 63739 h 435077"/>
                <a:gd name="connsiteX1" fmla="*/ 435077 w 435077"/>
                <a:gd name="connsiteY1" fmla="*/ 217539 h 435077"/>
                <a:gd name="connsiteX2" fmla="*/ 217702 w 435077"/>
                <a:gd name="connsiteY2" fmla="*/ 217539 h 435077"/>
                <a:gd name="connsiteX3" fmla="*/ 371366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6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39"/>
                  </a:moveTo>
                  <a:cubicBezTo>
                    <a:pt x="412155" y="104527"/>
                    <a:pt x="435077" y="159864"/>
                    <a:pt x="435077" y="217539"/>
                  </a:cubicBezTo>
                  <a:lnTo>
                    <a:pt x="217702" y="217539"/>
                  </a:lnTo>
                  <a:cubicBezTo>
                    <a:pt x="275350" y="217593"/>
                    <a:pt x="330605" y="240516"/>
                    <a:pt x="371366" y="281277"/>
                  </a:cubicBezTo>
                  <a:cubicBezTo>
                    <a:pt x="412155" y="322066"/>
                    <a:pt x="435077" y="377402"/>
                    <a:pt x="435077" y="435077"/>
                  </a:cubicBezTo>
                  <a:lnTo>
                    <a:pt x="217539" y="435077"/>
                  </a:lnTo>
                  <a:lnTo>
                    <a:pt x="0" y="435077"/>
                  </a:lnTo>
                  <a:cubicBezTo>
                    <a:pt x="0" y="377402"/>
                    <a:pt x="22924" y="322066"/>
                    <a:pt x="63712" y="281277"/>
                  </a:cubicBezTo>
                  <a:cubicBezTo>
                    <a:pt x="104473" y="240516"/>
                    <a:pt x="159728" y="217593"/>
                    <a:pt x="217376" y="217539"/>
                  </a:cubicBezTo>
                  <a:lnTo>
                    <a:pt x="0" y="217539"/>
                  </a:lnTo>
                  <a:cubicBezTo>
                    <a:pt x="0" y="159864"/>
                    <a:pt x="22924" y="104527"/>
                    <a:pt x="63712" y="63739"/>
                  </a:cubicBezTo>
                  <a:cubicBezTo>
                    <a:pt x="104501" y="22923"/>
                    <a:pt x="159837" y="0"/>
                    <a:pt x="217539" y="0"/>
                  </a:cubicBezTo>
                  <a:cubicBezTo>
                    <a:pt x="275241" y="0"/>
                    <a:pt x="330550" y="22923"/>
                    <a:pt x="371366" y="63739"/>
                  </a:cubicBezTo>
                  <a:close/>
                </a:path>
              </a:pathLst>
            </a:custGeom>
            <a:grpFill/>
            <a:ln w="27192" cap="flat">
              <a:noFill/>
              <a:prstDash val="solid"/>
              <a:miter/>
            </a:ln>
          </p:spPr>
          <p:txBody>
            <a:bodyPr rtlCol="0" anchor="ctr"/>
            <a:lstStyle/>
            <a:p>
              <a:endParaRPr lang="uk-UA" sz="900">
                <a:solidFill>
                  <a:schemeClr val="bg1"/>
                </a:solidFill>
              </a:endParaRPr>
            </a:p>
          </p:txBody>
        </p:sp>
        <p:sp>
          <p:nvSpPr>
            <p:cNvPr id="304" name="Freeform: Shape 303">
              <a:extLst>
                <a:ext uri="{FF2B5EF4-FFF2-40B4-BE49-F238E27FC236}">
                  <a16:creationId xmlns:a16="http://schemas.microsoft.com/office/drawing/2014/main" id="{47F7E29E-D9FE-470D-2EBC-75008B0E5A56}"/>
                </a:ext>
              </a:extLst>
            </p:cNvPr>
            <p:cNvSpPr/>
            <p:nvPr/>
          </p:nvSpPr>
          <p:spPr>
            <a:xfrm>
              <a:off x="7797089" y="8930148"/>
              <a:ext cx="435050" cy="435104"/>
            </a:xfrm>
            <a:custGeom>
              <a:avLst/>
              <a:gdLst>
                <a:gd name="connsiteX0" fmla="*/ 0 w 435050"/>
                <a:gd name="connsiteY0" fmla="*/ 435077 h 435104"/>
                <a:gd name="connsiteX1" fmla="*/ 217511 w 435050"/>
                <a:gd name="connsiteY1" fmla="*/ 435077 h 435104"/>
                <a:gd name="connsiteX2" fmla="*/ 217511 w 435050"/>
                <a:gd name="connsiteY2" fmla="*/ 217566 h 435104"/>
                <a:gd name="connsiteX3" fmla="*/ 0 w 435050"/>
                <a:gd name="connsiteY3" fmla="*/ 435077 h 435104"/>
                <a:gd name="connsiteX4" fmla="*/ 217511 w 435050"/>
                <a:gd name="connsiteY4" fmla="*/ 0 h 435104"/>
                <a:gd name="connsiteX5" fmla="*/ 0 w 435050"/>
                <a:gd name="connsiteY5" fmla="*/ 0 h 435104"/>
                <a:gd name="connsiteX6" fmla="*/ 217511 w 435050"/>
                <a:gd name="connsiteY6" fmla="*/ 217539 h 435104"/>
                <a:gd name="connsiteX7" fmla="*/ 217511 w 435050"/>
                <a:gd name="connsiteY7" fmla="*/ 0 h 435104"/>
                <a:gd name="connsiteX8" fmla="*/ 435050 w 435050"/>
                <a:gd name="connsiteY8" fmla="*/ 435105 h 435104"/>
                <a:gd name="connsiteX9" fmla="*/ 217539 w 435050"/>
                <a:gd name="connsiteY9" fmla="*/ 435105 h 435104"/>
                <a:gd name="connsiteX10" fmla="*/ 435050 w 435050"/>
                <a:gd name="connsiteY10" fmla="*/ 217566 h 435104"/>
                <a:gd name="connsiteX11" fmla="*/ 435050 w 435050"/>
                <a:gd name="connsiteY11" fmla="*/ 435105 h 435104"/>
                <a:gd name="connsiteX12" fmla="*/ 435050 w 435050"/>
                <a:gd name="connsiteY12" fmla="*/ 27 h 435104"/>
                <a:gd name="connsiteX13" fmla="*/ 217539 w 435050"/>
                <a:gd name="connsiteY13" fmla="*/ 27 h 435104"/>
                <a:gd name="connsiteX14" fmla="*/ 435050 w 435050"/>
                <a:gd name="connsiteY14" fmla="*/ 217539 h 435104"/>
                <a:gd name="connsiteX15" fmla="*/ 435050 w 435050"/>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50" h="435104">
                  <a:moveTo>
                    <a:pt x="0" y="435077"/>
                  </a:moveTo>
                  <a:lnTo>
                    <a:pt x="217511" y="435077"/>
                  </a:lnTo>
                  <a:lnTo>
                    <a:pt x="217511" y="217566"/>
                  </a:lnTo>
                  <a:lnTo>
                    <a:pt x="0" y="435077"/>
                  </a:lnTo>
                  <a:close/>
                  <a:moveTo>
                    <a:pt x="217511" y="0"/>
                  </a:moveTo>
                  <a:lnTo>
                    <a:pt x="0" y="0"/>
                  </a:lnTo>
                  <a:lnTo>
                    <a:pt x="217511" y="217539"/>
                  </a:lnTo>
                  <a:lnTo>
                    <a:pt x="217511" y="0"/>
                  </a:lnTo>
                  <a:close/>
                  <a:moveTo>
                    <a:pt x="435050" y="435105"/>
                  </a:moveTo>
                  <a:lnTo>
                    <a:pt x="217539" y="435105"/>
                  </a:lnTo>
                  <a:lnTo>
                    <a:pt x="435050" y="217566"/>
                  </a:lnTo>
                  <a:lnTo>
                    <a:pt x="435050" y="435105"/>
                  </a:lnTo>
                  <a:close/>
                  <a:moveTo>
                    <a:pt x="435050" y="27"/>
                  </a:moveTo>
                  <a:lnTo>
                    <a:pt x="217539" y="27"/>
                  </a:lnTo>
                  <a:lnTo>
                    <a:pt x="435050" y="217539"/>
                  </a:lnTo>
                  <a:lnTo>
                    <a:pt x="435050" y="27"/>
                  </a:lnTo>
                  <a:close/>
                </a:path>
              </a:pathLst>
            </a:custGeom>
            <a:grpFill/>
            <a:ln w="27192" cap="flat">
              <a:noFill/>
              <a:prstDash val="solid"/>
              <a:miter/>
            </a:ln>
          </p:spPr>
          <p:txBody>
            <a:bodyPr rtlCol="0" anchor="ctr"/>
            <a:lstStyle/>
            <a:p>
              <a:endParaRPr lang="uk-UA" sz="900">
                <a:solidFill>
                  <a:schemeClr val="bg1"/>
                </a:solidFill>
              </a:endParaRPr>
            </a:p>
          </p:txBody>
        </p:sp>
        <p:sp>
          <p:nvSpPr>
            <p:cNvPr id="305" name="Freeform: Shape 304">
              <a:extLst>
                <a:ext uri="{FF2B5EF4-FFF2-40B4-BE49-F238E27FC236}">
                  <a16:creationId xmlns:a16="http://schemas.microsoft.com/office/drawing/2014/main" id="{A0EF2E33-655E-6367-CC9D-1A98D2340C33}"/>
                </a:ext>
              </a:extLst>
            </p:cNvPr>
            <p:cNvSpPr/>
            <p:nvPr/>
          </p:nvSpPr>
          <p:spPr>
            <a:xfrm>
              <a:off x="6926907" y="8930148"/>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27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66 h 435077"/>
                <a:gd name="connsiteX9" fmla="*/ 435077 w 435077"/>
                <a:gd name="connsiteY9" fmla="*/ 217566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27"/>
                  </a:lnTo>
                  <a:lnTo>
                    <a:pt x="435077" y="217539"/>
                  </a:lnTo>
                  <a:lnTo>
                    <a:pt x="435077" y="217539"/>
                  </a:lnTo>
                  <a:lnTo>
                    <a:pt x="435077" y="217539"/>
                  </a:lnTo>
                  <a:lnTo>
                    <a:pt x="435077" y="217566"/>
                  </a:lnTo>
                  <a:lnTo>
                    <a:pt x="435077" y="217566"/>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306" name="Freeform: Shape 305">
              <a:extLst>
                <a:ext uri="{FF2B5EF4-FFF2-40B4-BE49-F238E27FC236}">
                  <a16:creationId xmlns:a16="http://schemas.microsoft.com/office/drawing/2014/main" id="{5DADD265-44B7-13DF-2D08-3070A3B34287}"/>
                </a:ext>
              </a:extLst>
            </p:cNvPr>
            <p:cNvSpPr/>
            <p:nvPr/>
          </p:nvSpPr>
          <p:spPr>
            <a:xfrm>
              <a:off x="8667217" y="893014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solidFill>
                  <a:schemeClr val="bg1"/>
                </a:solidFill>
              </a:endParaRPr>
            </a:p>
          </p:txBody>
        </p:sp>
        <p:sp>
          <p:nvSpPr>
            <p:cNvPr id="307" name="Freeform: Shape 306">
              <a:extLst>
                <a:ext uri="{FF2B5EF4-FFF2-40B4-BE49-F238E27FC236}">
                  <a16:creationId xmlns:a16="http://schemas.microsoft.com/office/drawing/2014/main" id="{8ED5AC38-1B51-84A8-CDD2-493C136CAB5B}"/>
                </a:ext>
              </a:extLst>
            </p:cNvPr>
            <p:cNvSpPr/>
            <p:nvPr/>
          </p:nvSpPr>
          <p:spPr>
            <a:xfrm>
              <a:off x="9537399" y="8930148"/>
              <a:ext cx="435077" cy="435077"/>
            </a:xfrm>
            <a:custGeom>
              <a:avLst/>
              <a:gdLst>
                <a:gd name="connsiteX0" fmla="*/ 371366 w 435077"/>
                <a:gd name="connsiteY0" fmla="*/ 63739 h 435077"/>
                <a:gd name="connsiteX1" fmla="*/ 435077 w 435077"/>
                <a:gd name="connsiteY1" fmla="*/ 217539 h 435077"/>
                <a:gd name="connsiteX2" fmla="*/ 217702 w 435077"/>
                <a:gd name="connsiteY2" fmla="*/ 217539 h 435077"/>
                <a:gd name="connsiteX3" fmla="*/ 371366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1 w 435077"/>
                <a:gd name="connsiteY7" fmla="*/ 281277 h 435077"/>
                <a:gd name="connsiteX8" fmla="*/ 217375 w 435077"/>
                <a:gd name="connsiteY8" fmla="*/ 217539 h 435077"/>
                <a:gd name="connsiteX9" fmla="*/ 0 w 435077"/>
                <a:gd name="connsiteY9" fmla="*/ 217539 h 435077"/>
                <a:gd name="connsiteX10" fmla="*/ 63711 w 435077"/>
                <a:gd name="connsiteY10" fmla="*/ 63739 h 435077"/>
                <a:gd name="connsiteX11" fmla="*/ 217539 w 435077"/>
                <a:gd name="connsiteY11" fmla="*/ 0 h 435077"/>
                <a:gd name="connsiteX12" fmla="*/ 371366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39"/>
                  </a:moveTo>
                  <a:cubicBezTo>
                    <a:pt x="412155" y="104527"/>
                    <a:pt x="435077" y="159864"/>
                    <a:pt x="435077" y="217539"/>
                  </a:cubicBezTo>
                  <a:lnTo>
                    <a:pt x="217702" y="217539"/>
                  </a:lnTo>
                  <a:cubicBezTo>
                    <a:pt x="275322" y="217593"/>
                    <a:pt x="330604" y="240516"/>
                    <a:pt x="371366" y="281277"/>
                  </a:cubicBezTo>
                  <a:cubicBezTo>
                    <a:pt x="412155" y="322066"/>
                    <a:pt x="435077" y="377402"/>
                    <a:pt x="435077" y="435077"/>
                  </a:cubicBezTo>
                  <a:lnTo>
                    <a:pt x="217539" y="435077"/>
                  </a:lnTo>
                  <a:lnTo>
                    <a:pt x="0" y="435077"/>
                  </a:lnTo>
                  <a:cubicBezTo>
                    <a:pt x="0" y="377402"/>
                    <a:pt x="22923" y="322066"/>
                    <a:pt x="63711" y="281277"/>
                  </a:cubicBezTo>
                  <a:cubicBezTo>
                    <a:pt x="104473" y="240516"/>
                    <a:pt x="159728" y="217593"/>
                    <a:pt x="217375" y="217539"/>
                  </a:cubicBezTo>
                  <a:lnTo>
                    <a:pt x="0" y="217539"/>
                  </a:lnTo>
                  <a:cubicBezTo>
                    <a:pt x="0" y="159864"/>
                    <a:pt x="22923" y="104527"/>
                    <a:pt x="63711" y="63739"/>
                  </a:cubicBezTo>
                  <a:cubicBezTo>
                    <a:pt x="104500" y="22923"/>
                    <a:pt x="159836" y="0"/>
                    <a:pt x="217539" y="0"/>
                  </a:cubicBezTo>
                  <a:cubicBezTo>
                    <a:pt x="275214" y="0"/>
                    <a:pt x="330550" y="22923"/>
                    <a:pt x="371366" y="63739"/>
                  </a:cubicBezTo>
                  <a:close/>
                </a:path>
              </a:pathLst>
            </a:custGeom>
            <a:grpFill/>
            <a:ln w="27192" cap="flat">
              <a:noFill/>
              <a:prstDash val="solid"/>
              <a:miter/>
            </a:ln>
          </p:spPr>
          <p:txBody>
            <a:bodyPr rtlCol="0" anchor="ctr"/>
            <a:lstStyle/>
            <a:p>
              <a:endParaRPr lang="uk-UA" sz="900">
                <a:solidFill>
                  <a:schemeClr val="bg1"/>
                </a:solidFill>
              </a:endParaRPr>
            </a:p>
          </p:txBody>
        </p:sp>
        <p:sp>
          <p:nvSpPr>
            <p:cNvPr id="308" name="Freeform: Shape 307">
              <a:extLst>
                <a:ext uri="{FF2B5EF4-FFF2-40B4-BE49-F238E27FC236}">
                  <a16:creationId xmlns:a16="http://schemas.microsoft.com/office/drawing/2014/main" id="{E9AE34A6-0114-CFDA-CCD1-FE9E44A0F2C4}"/>
                </a:ext>
              </a:extLst>
            </p:cNvPr>
            <p:cNvSpPr/>
            <p:nvPr/>
          </p:nvSpPr>
          <p:spPr>
            <a:xfrm>
              <a:off x="11277709" y="893014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solidFill>
                  <a:schemeClr val="bg1"/>
                </a:solidFill>
              </a:endParaRPr>
            </a:p>
          </p:txBody>
        </p:sp>
        <p:sp>
          <p:nvSpPr>
            <p:cNvPr id="309" name="Freeform: Shape 308">
              <a:extLst>
                <a:ext uri="{FF2B5EF4-FFF2-40B4-BE49-F238E27FC236}">
                  <a16:creationId xmlns:a16="http://schemas.microsoft.com/office/drawing/2014/main" id="{03334361-F957-9B76-F7C7-F670E293D684}"/>
                </a:ext>
              </a:extLst>
            </p:cNvPr>
            <p:cNvSpPr/>
            <p:nvPr/>
          </p:nvSpPr>
          <p:spPr>
            <a:xfrm>
              <a:off x="10407554" y="8930148"/>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27 h 435077"/>
                <a:gd name="connsiteX5" fmla="*/ 435050 w 435077"/>
                <a:gd name="connsiteY5" fmla="*/ 217539 h 435077"/>
                <a:gd name="connsiteX6" fmla="*/ 435077 w 435077"/>
                <a:gd name="connsiteY6" fmla="*/ 217539 h 435077"/>
                <a:gd name="connsiteX7" fmla="*/ 435050 w 435077"/>
                <a:gd name="connsiteY7" fmla="*/ 217539 h 435077"/>
                <a:gd name="connsiteX8" fmla="*/ 435077 w 435077"/>
                <a:gd name="connsiteY8" fmla="*/ 217566 h 435077"/>
                <a:gd name="connsiteX9" fmla="*/ 435050 w 435077"/>
                <a:gd name="connsiteY9" fmla="*/ 217566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27"/>
                  </a:lnTo>
                  <a:lnTo>
                    <a:pt x="435050" y="217539"/>
                  </a:lnTo>
                  <a:lnTo>
                    <a:pt x="435077" y="217539"/>
                  </a:lnTo>
                  <a:lnTo>
                    <a:pt x="435050" y="217539"/>
                  </a:lnTo>
                  <a:lnTo>
                    <a:pt x="435077" y="217566"/>
                  </a:lnTo>
                  <a:lnTo>
                    <a:pt x="435050" y="217566"/>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310" name="Freeform: Shape 309">
              <a:extLst>
                <a:ext uri="{FF2B5EF4-FFF2-40B4-BE49-F238E27FC236}">
                  <a16:creationId xmlns:a16="http://schemas.microsoft.com/office/drawing/2014/main" id="{DE905CF5-8641-525A-17C0-267E5EDB0905}"/>
                </a:ext>
              </a:extLst>
            </p:cNvPr>
            <p:cNvSpPr/>
            <p:nvPr/>
          </p:nvSpPr>
          <p:spPr>
            <a:xfrm>
              <a:off x="12147864" y="8930148"/>
              <a:ext cx="435103" cy="435077"/>
            </a:xfrm>
            <a:custGeom>
              <a:avLst/>
              <a:gdLst>
                <a:gd name="connsiteX0" fmla="*/ 217539 w 435103"/>
                <a:gd name="connsiteY0" fmla="*/ 0 h 435077"/>
                <a:gd name="connsiteX1" fmla="*/ 0 w 435103"/>
                <a:gd name="connsiteY1" fmla="*/ 0 h 435077"/>
                <a:gd name="connsiteX2" fmla="*/ 0 w 435103"/>
                <a:gd name="connsiteY2" fmla="*/ 217539 h 435077"/>
                <a:gd name="connsiteX3" fmla="*/ 217539 w 435103"/>
                <a:gd name="connsiteY3" fmla="*/ 0 h 435077"/>
                <a:gd name="connsiteX4" fmla="*/ 435104 w 435103"/>
                <a:gd name="connsiteY4" fmla="*/ 27 h 435077"/>
                <a:gd name="connsiteX5" fmla="*/ 435104 w 435103"/>
                <a:gd name="connsiteY5" fmla="*/ 217566 h 435077"/>
                <a:gd name="connsiteX6" fmla="*/ 217565 w 435103"/>
                <a:gd name="connsiteY6" fmla="*/ 27 h 435077"/>
                <a:gd name="connsiteX7" fmla="*/ 435104 w 435103"/>
                <a:gd name="connsiteY7" fmla="*/ 27 h 435077"/>
                <a:gd name="connsiteX8" fmla="*/ 217565 w 435103"/>
                <a:gd name="connsiteY8" fmla="*/ 435077 h 435077"/>
                <a:gd name="connsiteX9" fmla="*/ 435104 w 435103"/>
                <a:gd name="connsiteY9" fmla="*/ 217566 h 435077"/>
                <a:gd name="connsiteX10" fmla="*/ 435104 w 435103"/>
                <a:gd name="connsiteY10" fmla="*/ 435077 h 435077"/>
                <a:gd name="connsiteX11" fmla="*/ 217565 w 435103"/>
                <a:gd name="connsiteY11" fmla="*/ 435077 h 435077"/>
                <a:gd name="connsiteX12" fmla="*/ 217565 w 435103"/>
                <a:gd name="connsiteY12" fmla="*/ 435077 h 435077"/>
                <a:gd name="connsiteX13" fmla="*/ 27 w 435103"/>
                <a:gd name="connsiteY13" fmla="*/ 217566 h 435077"/>
                <a:gd name="connsiteX14" fmla="*/ 27 w 435103"/>
                <a:gd name="connsiteY14" fmla="*/ 435077 h 435077"/>
                <a:gd name="connsiteX15" fmla="*/ 217565 w 435103"/>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3" h="435077">
                  <a:moveTo>
                    <a:pt x="217539" y="0"/>
                  </a:moveTo>
                  <a:lnTo>
                    <a:pt x="0" y="0"/>
                  </a:lnTo>
                  <a:lnTo>
                    <a:pt x="0" y="217539"/>
                  </a:lnTo>
                  <a:lnTo>
                    <a:pt x="217539" y="0"/>
                  </a:lnTo>
                  <a:close/>
                  <a:moveTo>
                    <a:pt x="435104" y="27"/>
                  </a:moveTo>
                  <a:lnTo>
                    <a:pt x="435104" y="217566"/>
                  </a:lnTo>
                  <a:lnTo>
                    <a:pt x="217565" y="27"/>
                  </a:lnTo>
                  <a:lnTo>
                    <a:pt x="435104" y="27"/>
                  </a:lnTo>
                  <a:close/>
                  <a:moveTo>
                    <a:pt x="217565" y="435077"/>
                  </a:moveTo>
                  <a:lnTo>
                    <a:pt x="435104" y="217566"/>
                  </a:lnTo>
                  <a:lnTo>
                    <a:pt x="435104" y="435077"/>
                  </a:lnTo>
                  <a:lnTo>
                    <a:pt x="217565" y="435077"/>
                  </a:lnTo>
                  <a:close/>
                  <a:moveTo>
                    <a:pt x="217565" y="435077"/>
                  </a:moveTo>
                  <a:lnTo>
                    <a:pt x="27" y="217566"/>
                  </a:lnTo>
                  <a:lnTo>
                    <a:pt x="27" y="435077"/>
                  </a:lnTo>
                  <a:lnTo>
                    <a:pt x="217565"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11" name="Freeform: Shape 310">
              <a:extLst>
                <a:ext uri="{FF2B5EF4-FFF2-40B4-BE49-F238E27FC236}">
                  <a16:creationId xmlns:a16="http://schemas.microsoft.com/office/drawing/2014/main" id="{EF43AEDE-CC2A-0835-E5A6-7A1E431E6D86}"/>
                </a:ext>
              </a:extLst>
            </p:cNvPr>
            <p:cNvSpPr/>
            <p:nvPr/>
          </p:nvSpPr>
          <p:spPr>
            <a:xfrm>
              <a:off x="13018045" y="8930148"/>
              <a:ext cx="435077" cy="435077"/>
            </a:xfrm>
            <a:custGeom>
              <a:avLst/>
              <a:gdLst>
                <a:gd name="connsiteX0" fmla="*/ 371365 w 435077"/>
                <a:gd name="connsiteY0" fmla="*/ 63739 h 435077"/>
                <a:gd name="connsiteX1" fmla="*/ 435077 w 435077"/>
                <a:gd name="connsiteY1" fmla="*/ 217539 h 435077"/>
                <a:gd name="connsiteX2" fmla="*/ 217701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5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39"/>
                  </a:moveTo>
                  <a:cubicBezTo>
                    <a:pt x="412154" y="104527"/>
                    <a:pt x="435077" y="159864"/>
                    <a:pt x="435077" y="217539"/>
                  </a:cubicBezTo>
                  <a:lnTo>
                    <a:pt x="217701" y="217539"/>
                  </a:lnTo>
                  <a:cubicBezTo>
                    <a:pt x="275349" y="217593"/>
                    <a:pt x="330605" y="240516"/>
                    <a:pt x="371365" y="281277"/>
                  </a:cubicBezTo>
                  <a:cubicBezTo>
                    <a:pt x="412154" y="322066"/>
                    <a:pt x="435077" y="377402"/>
                    <a:pt x="435077" y="435077"/>
                  </a:cubicBezTo>
                  <a:lnTo>
                    <a:pt x="217539" y="435077"/>
                  </a:lnTo>
                  <a:lnTo>
                    <a:pt x="0" y="435077"/>
                  </a:lnTo>
                  <a:cubicBezTo>
                    <a:pt x="0" y="377402"/>
                    <a:pt x="22924" y="322066"/>
                    <a:pt x="63712" y="281277"/>
                  </a:cubicBezTo>
                  <a:cubicBezTo>
                    <a:pt x="104472" y="240516"/>
                    <a:pt x="159728" y="217593"/>
                    <a:pt x="217376" y="217539"/>
                  </a:cubicBezTo>
                  <a:lnTo>
                    <a:pt x="0" y="217539"/>
                  </a:lnTo>
                  <a:cubicBezTo>
                    <a:pt x="0" y="159864"/>
                    <a:pt x="22924" y="104527"/>
                    <a:pt x="63712" y="63739"/>
                  </a:cubicBezTo>
                  <a:cubicBezTo>
                    <a:pt x="104501" y="22923"/>
                    <a:pt x="159836" y="0"/>
                    <a:pt x="217539" y="0"/>
                  </a:cubicBezTo>
                  <a:cubicBezTo>
                    <a:pt x="275241" y="0"/>
                    <a:pt x="330550" y="22923"/>
                    <a:pt x="371365" y="63739"/>
                  </a:cubicBezTo>
                  <a:close/>
                </a:path>
              </a:pathLst>
            </a:custGeom>
            <a:grpFill/>
            <a:ln w="27192" cap="flat">
              <a:noFill/>
              <a:prstDash val="solid"/>
              <a:miter/>
            </a:ln>
          </p:spPr>
          <p:txBody>
            <a:bodyPr rtlCol="0" anchor="ctr"/>
            <a:lstStyle/>
            <a:p>
              <a:endParaRPr lang="uk-UA" sz="900">
                <a:solidFill>
                  <a:schemeClr val="bg1"/>
                </a:solidFill>
              </a:endParaRPr>
            </a:p>
          </p:txBody>
        </p:sp>
        <p:sp>
          <p:nvSpPr>
            <p:cNvPr id="312" name="Freeform: Shape 311">
              <a:extLst>
                <a:ext uri="{FF2B5EF4-FFF2-40B4-BE49-F238E27FC236}">
                  <a16:creationId xmlns:a16="http://schemas.microsoft.com/office/drawing/2014/main" id="{363BACDC-604E-640D-B542-E96A928AE84D}"/>
                </a:ext>
              </a:extLst>
            </p:cNvPr>
            <p:cNvSpPr/>
            <p:nvPr/>
          </p:nvSpPr>
          <p:spPr>
            <a:xfrm>
              <a:off x="14758382" y="893014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solidFill>
                  <a:schemeClr val="bg1"/>
                </a:solidFill>
              </a:endParaRPr>
            </a:p>
          </p:txBody>
        </p:sp>
        <p:sp>
          <p:nvSpPr>
            <p:cNvPr id="313" name="Freeform: Shape 312">
              <a:extLst>
                <a:ext uri="{FF2B5EF4-FFF2-40B4-BE49-F238E27FC236}">
                  <a16:creationId xmlns:a16="http://schemas.microsoft.com/office/drawing/2014/main" id="{03947404-5EE3-2952-DC59-B9110AE0FD11}"/>
                </a:ext>
              </a:extLst>
            </p:cNvPr>
            <p:cNvSpPr/>
            <p:nvPr/>
          </p:nvSpPr>
          <p:spPr>
            <a:xfrm>
              <a:off x="13888174" y="893014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314" name="Freeform: Shape 313">
              <a:extLst>
                <a:ext uri="{FF2B5EF4-FFF2-40B4-BE49-F238E27FC236}">
                  <a16:creationId xmlns:a16="http://schemas.microsoft.com/office/drawing/2014/main" id="{D4A52663-170E-AB78-33F5-9455AB9A7CDD}"/>
                </a:ext>
              </a:extLst>
            </p:cNvPr>
            <p:cNvSpPr/>
            <p:nvPr/>
          </p:nvSpPr>
          <p:spPr>
            <a:xfrm>
              <a:off x="15628536" y="8930148"/>
              <a:ext cx="435077" cy="435077"/>
            </a:xfrm>
            <a:custGeom>
              <a:avLst/>
              <a:gdLst>
                <a:gd name="connsiteX0" fmla="*/ 217567 w 435077"/>
                <a:gd name="connsiteY0" fmla="*/ 0 h 435077"/>
                <a:gd name="connsiteX1" fmla="*/ 217539 w 435077"/>
                <a:gd name="connsiteY1" fmla="*/ 0 h 435077"/>
                <a:gd name="connsiteX2" fmla="*/ 28 w 435077"/>
                <a:gd name="connsiteY2" fmla="*/ 0 h 435077"/>
                <a:gd name="connsiteX3" fmla="*/ 28 w 435077"/>
                <a:gd name="connsiteY3" fmla="*/ 217539 h 435077"/>
                <a:gd name="connsiteX4" fmla="*/ 217567 w 435077"/>
                <a:gd name="connsiteY4" fmla="*/ 27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67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67" y="0"/>
                  </a:moveTo>
                  <a:lnTo>
                    <a:pt x="217539" y="0"/>
                  </a:lnTo>
                  <a:lnTo>
                    <a:pt x="28" y="0"/>
                  </a:lnTo>
                  <a:lnTo>
                    <a:pt x="28" y="217539"/>
                  </a:lnTo>
                  <a:lnTo>
                    <a:pt x="217567" y="27"/>
                  </a:lnTo>
                  <a:lnTo>
                    <a:pt x="435077" y="217539"/>
                  </a:lnTo>
                  <a:lnTo>
                    <a:pt x="217539" y="435077"/>
                  </a:lnTo>
                  <a:lnTo>
                    <a:pt x="0" y="217539"/>
                  </a:lnTo>
                  <a:lnTo>
                    <a:pt x="0" y="435077"/>
                  </a:lnTo>
                  <a:lnTo>
                    <a:pt x="217539" y="435077"/>
                  </a:lnTo>
                  <a:lnTo>
                    <a:pt x="435077" y="435077"/>
                  </a:lnTo>
                  <a:lnTo>
                    <a:pt x="435077" y="217539"/>
                  </a:lnTo>
                  <a:lnTo>
                    <a:pt x="435077" y="0"/>
                  </a:lnTo>
                  <a:lnTo>
                    <a:pt x="217567" y="0"/>
                  </a:lnTo>
                  <a:close/>
                </a:path>
              </a:pathLst>
            </a:custGeom>
            <a:grpFill/>
            <a:ln w="27192" cap="flat">
              <a:noFill/>
              <a:prstDash val="solid"/>
              <a:miter/>
            </a:ln>
          </p:spPr>
          <p:txBody>
            <a:bodyPr rtlCol="0" anchor="ctr"/>
            <a:lstStyle/>
            <a:p>
              <a:endParaRPr lang="uk-UA" sz="900">
                <a:solidFill>
                  <a:schemeClr val="bg1"/>
                </a:solidFill>
              </a:endParaRPr>
            </a:p>
          </p:txBody>
        </p:sp>
        <p:sp>
          <p:nvSpPr>
            <p:cNvPr id="315" name="Freeform: Shape 314">
              <a:extLst>
                <a:ext uri="{FF2B5EF4-FFF2-40B4-BE49-F238E27FC236}">
                  <a16:creationId xmlns:a16="http://schemas.microsoft.com/office/drawing/2014/main" id="{3E8CD250-032E-BE7B-1D1F-5BCA321B88C8}"/>
                </a:ext>
              </a:extLst>
            </p:cNvPr>
            <p:cNvSpPr/>
            <p:nvPr/>
          </p:nvSpPr>
          <p:spPr>
            <a:xfrm>
              <a:off x="16498719" y="8930148"/>
              <a:ext cx="435077" cy="435077"/>
            </a:xfrm>
            <a:custGeom>
              <a:avLst/>
              <a:gdLst>
                <a:gd name="connsiteX0" fmla="*/ 371339 w 435077"/>
                <a:gd name="connsiteY0" fmla="*/ 63739 h 435077"/>
                <a:gd name="connsiteX1" fmla="*/ 435077 w 435077"/>
                <a:gd name="connsiteY1" fmla="*/ 217539 h 435077"/>
                <a:gd name="connsiteX2" fmla="*/ 217701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0 w 435077"/>
                <a:gd name="connsiteY7" fmla="*/ 281277 h 435077"/>
                <a:gd name="connsiteX8" fmla="*/ 217374 w 435077"/>
                <a:gd name="connsiteY8" fmla="*/ 217539 h 435077"/>
                <a:gd name="connsiteX9" fmla="*/ 0 w 435077"/>
                <a:gd name="connsiteY9" fmla="*/ 217539 h 435077"/>
                <a:gd name="connsiteX10" fmla="*/ 63710 w 435077"/>
                <a:gd name="connsiteY10" fmla="*/ 63739 h 435077"/>
                <a:gd name="connsiteX11" fmla="*/ 217539 w 435077"/>
                <a:gd name="connsiteY11" fmla="*/ 0 h 435077"/>
                <a:gd name="connsiteX12" fmla="*/ 371339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39"/>
                  </a:moveTo>
                  <a:cubicBezTo>
                    <a:pt x="412154" y="104527"/>
                    <a:pt x="435077" y="159864"/>
                    <a:pt x="435077" y="217539"/>
                  </a:cubicBezTo>
                  <a:lnTo>
                    <a:pt x="217701" y="217539"/>
                  </a:lnTo>
                  <a:cubicBezTo>
                    <a:pt x="275322" y="217593"/>
                    <a:pt x="330603" y="240516"/>
                    <a:pt x="371365" y="281277"/>
                  </a:cubicBezTo>
                  <a:cubicBezTo>
                    <a:pt x="412154" y="322066"/>
                    <a:pt x="435077" y="377402"/>
                    <a:pt x="435077" y="435077"/>
                  </a:cubicBezTo>
                  <a:lnTo>
                    <a:pt x="217539" y="435077"/>
                  </a:lnTo>
                  <a:lnTo>
                    <a:pt x="0" y="435077"/>
                  </a:lnTo>
                  <a:cubicBezTo>
                    <a:pt x="0" y="377402"/>
                    <a:pt x="22922" y="322066"/>
                    <a:pt x="63710" y="281277"/>
                  </a:cubicBezTo>
                  <a:cubicBezTo>
                    <a:pt x="104472" y="240516"/>
                    <a:pt x="159727" y="217593"/>
                    <a:pt x="217374" y="217539"/>
                  </a:cubicBezTo>
                  <a:lnTo>
                    <a:pt x="0" y="217539"/>
                  </a:lnTo>
                  <a:cubicBezTo>
                    <a:pt x="0" y="159864"/>
                    <a:pt x="22895" y="104527"/>
                    <a:pt x="63710" y="63739"/>
                  </a:cubicBezTo>
                  <a:cubicBezTo>
                    <a:pt x="104499" y="22923"/>
                    <a:pt x="159836" y="0"/>
                    <a:pt x="217539" y="0"/>
                  </a:cubicBezTo>
                  <a:cubicBezTo>
                    <a:pt x="275213" y="0"/>
                    <a:pt x="330550" y="22923"/>
                    <a:pt x="371339" y="63739"/>
                  </a:cubicBezTo>
                  <a:close/>
                </a:path>
              </a:pathLst>
            </a:custGeom>
            <a:grpFill/>
            <a:ln w="27192" cap="flat">
              <a:noFill/>
              <a:prstDash val="solid"/>
              <a:miter/>
            </a:ln>
          </p:spPr>
          <p:txBody>
            <a:bodyPr rtlCol="0" anchor="ctr"/>
            <a:lstStyle/>
            <a:p>
              <a:endParaRPr lang="uk-UA" sz="900">
                <a:solidFill>
                  <a:schemeClr val="bg1"/>
                </a:solidFill>
              </a:endParaRPr>
            </a:p>
          </p:txBody>
        </p:sp>
        <p:sp>
          <p:nvSpPr>
            <p:cNvPr id="316" name="Freeform: Shape 315">
              <a:extLst>
                <a:ext uri="{FF2B5EF4-FFF2-40B4-BE49-F238E27FC236}">
                  <a16:creationId xmlns:a16="http://schemas.microsoft.com/office/drawing/2014/main" id="{403D6D21-CDD7-3AA1-5378-C2B2F031CA22}"/>
                </a:ext>
              </a:extLst>
            </p:cNvPr>
            <p:cNvSpPr/>
            <p:nvPr/>
          </p:nvSpPr>
          <p:spPr>
            <a:xfrm>
              <a:off x="18239029" y="893014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solidFill>
                  <a:schemeClr val="bg1"/>
                </a:solidFill>
              </a:endParaRPr>
            </a:p>
          </p:txBody>
        </p:sp>
        <p:sp>
          <p:nvSpPr>
            <p:cNvPr id="317" name="Freeform: Shape 316">
              <a:extLst>
                <a:ext uri="{FF2B5EF4-FFF2-40B4-BE49-F238E27FC236}">
                  <a16:creationId xmlns:a16="http://schemas.microsoft.com/office/drawing/2014/main" id="{66A01B90-B39F-A2C6-315F-CB7A38D168C3}"/>
                </a:ext>
              </a:extLst>
            </p:cNvPr>
            <p:cNvSpPr/>
            <p:nvPr/>
          </p:nvSpPr>
          <p:spPr>
            <a:xfrm>
              <a:off x="17368874" y="893014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318" name="Freeform: Shape 317">
              <a:extLst>
                <a:ext uri="{FF2B5EF4-FFF2-40B4-BE49-F238E27FC236}">
                  <a16:creationId xmlns:a16="http://schemas.microsoft.com/office/drawing/2014/main" id="{119E78C0-8396-016D-E3C8-4161F3927CBB}"/>
                </a:ext>
              </a:extLst>
            </p:cNvPr>
            <p:cNvSpPr/>
            <p:nvPr/>
          </p:nvSpPr>
          <p:spPr>
            <a:xfrm>
              <a:off x="19109210" y="893014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27 h 435077"/>
                <a:gd name="connsiteX5" fmla="*/ 435077 w 435077"/>
                <a:gd name="connsiteY5" fmla="*/ 217566 h 435077"/>
                <a:gd name="connsiteX6" fmla="*/ 217539 w 435077"/>
                <a:gd name="connsiteY6" fmla="*/ 27 h 435077"/>
                <a:gd name="connsiteX7" fmla="*/ 435077 w 435077"/>
                <a:gd name="connsiteY7" fmla="*/ 27 h 435077"/>
                <a:gd name="connsiteX8" fmla="*/ 217539 w 435077"/>
                <a:gd name="connsiteY8" fmla="*/ 435077 h 435077"/>
                <a:gd name="connsiteX9" fmla="*/ 435077 w 435077"/>
                <a:gd name="connsiteY9" fmla="*/ 217566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66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27"/>
                  </a:moveTo>
                  <a:lnTo>
                    <a:pt x="435077" y="217566"/>
                  </a:lnTo>
                  <a:lnTo>
                    <a:pt x="217539" y="27"/>
                  </a:lnTo>
                  <a:lnTo>
                    <a:pt x="435077" y="27"/>
                  </a:lnTo>
                  <a:close/>
                  <a:moveTo>
                    <a:pt x="217539" y="435077"/>
                  </a:moveTo>
                  <a:lnTo>
                    <a:pt x="435077" y="217566"/>
                  </a:lnTo>
                  <a:lnTo>
                    <a:pt x="435077" y="435077"/>
                  </a:lnTo>
                  <a:lnTo>
                    <a:pt x="217539" y="435077"/>
                  </a:lnTo>
                  <a:close/>
                  <a:moveTo>
                    <a:pt x="217539" y="435077"/>
                  </a:moveTo>
                  <a:lnTo>
                    <a:pt x="0" y="217566"/>
                  </a:lnTo>
                  <a:lnTo>
                    <a:pt x="0" y="435077"/>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19" name="Freeform: Shape 318">
              <a:extLst>
                <a:ext uri="{FF2B5EF4-FFF2-40B4-BE49-F238E27FC236}">
                  <a16:creationId xmlns:a16="http://schemas.microsoft.com/office/drawing/2014/main" id="{7E121A1C-F0E5-AC7A-A5A1-67199E63A18C}"/>
                </a:ext>
              </a:extLst>
            </p:cNvPr>
            <p:cNvSpPr/>
            <p:nvPr/>
          </p:nvSpPr>
          <p:spPr>
            <a:xfrm>
              <a:off x="19979365" y="8930148"/>
              <a:ext cx="435077" cy="435077"/>
            </a:xfrm>
            <a:custGeom>
              <a:avLst/>
              <a:gdLst>
                <a:gd name="connsiteX0" fmla="*/ 371365 w 435077"/>
                <a:gd name="connsiteY0" fmla="*/ 63739 h 435077"/>
                <a:gd name="connsiteX1" fmla="*/ 435077 w 435077"/>
                <a:gd name="connsiteY1" fmla="*/ 217539 h 435077"/>
                <a:gd name="connsiteX2" fmla="*/ 217701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5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39"/>
                  </a:moveTo>
                  <a:cubicBezTo>
                    <a:pt x="412154" y="104527"/>
                    <a:pt x="435077" y="159864"/>
                    <a:pt x="435077" y="217539"/>
                  </a:cubicBezTo>
                  <a:lnTo>
                    <a:pt x="217701" y="217539"/>
                  </a:lnTo>
                  <a:cubicBezTo>
                    <a:pt x="275349" y="217593"/>
                    <a:pt x="330605" y="240516"/>
                    <a:pt x="371365" y="281277"/>
                  </a:cubicBezTo>
                  <a:cubicBezTo>
                    <a:pt x="412154" y="322066"/>
                    <a:pt x="435077" y="377402"/>
                    <a:pt x="435077" y="435077"/>
                  </a:cubicBezTo>
                  <a:lnTo>
                    <a:pt x="217539" y="435077"/>
                  </a:lnTo>
                  <a:lnTo>
                    <a:pt x="0" y="435077"/>
                  </a:lnTo>
                  <a:cubicBezTo>
                    <a:pt x="0" y="377402"/>
                    <a:pt x="22924" y="322066"/>
                    <a:pt x="63712" y="281277"/>
                  </a:cubicBezTo>
                  <a:cubicBezTo>
                    <a:pt x="104472" y="240516"/>
                    <a:pt x="159728" y="217593"/>
                    <a:pt x="217376" y="217539"/>
                  </a:cubicBezTo>
                  <a:lnTo>
                    <a:pt x="0" y="217539"/>
                  </a:lnTo>
                  <a:cubicBezTo>
                    <a:pt x="0" y="159864"/>
                    <a:pt x="22924" y="104527"/>
                    <a:pt x="63712" y="63739"/>
                  </a:cubicBezTo>
                  <a:cubicBezTo>
                    <a:pt x="104501" y="22923"/>
                    <a:pt x="159836" y="0"/>
                    <a:pt x="217539" y="0"/>
                  </a:cubicBezTo>
                  <a:cubicBezTo>
                    <a:pt x="275241" y="0"/>
                    <a:pt x="330550" y="22923"/>
                    <a:pt x="371365" y="63739"/>
                  </a:cubicBezTo>
                  <a:close/>
                </a:path>
              </a:pathLst>
            </a:custGeom>
            <a:grpFill/>
            <a:ln w="27192" cap="flat">
              <a:noFill/>
              <a:prstDash val="solid"/>
              <a:miter/>
            </a:ln>
          </p:spPr>
          <p:txBody>
            <a:bodyPr rtlCol="0" anchor="ctr"/>
            <a:lstStyle/>
            <a:p>
              <a:endParaRPr lang="uk-UA" sz="900">
                <a:solidFill>
                  <a:schemeClr val="bg1"/>
                </a:solidFill>
              </a:endParaRPr>
            </a:p>
          </p:txBody>
        </p:sp>
        <p:sp>
          <p:nvSpPr>
            <p:cNvPr id="320" name="Freeform: Shape 319">
              <a:extLst>
                <a:ext uri="{FF2B5EF4-FFF2-40B4-BE49-F238E27FC236}">
                  <a16:creationId xmlns:a16="http://schemas.microsoft.com/office/drawing/2014/main" id="{CD7F3344-DAB8-60B4-88C6-C23BA308B1E2}"/>
                </a:ext>
              </a:extLst>
            </p:cNvPr>
            <p:cNvSpPr/>
            <p:nvPr/>
          </p:nvSpPr>
          <p:spPr>
            <a:xfrm>
              <a:off x="21719702" y="8930148"/>
              <a:ext cx="435077" cy="435104"/>
            </a:xfrm>
            <a:custGeom>
              <a:avLst/>
              <a:gdLst>
                <a:gd name="connsiteX0" fmla="*/ 0 w 435077"/>
                <a:gd name="connsiteY0" fmla="*/ 435077 h 435104"/>
                <a:gd name="connsiteX1" fmla="*/ 217512 w 435077"/>
                <a:gd name="connsiteY1" fmla="*/ 435077 h 435104"/>
                <a:gd name="connsiteX2" fmla="*/ 217512 w 435077"/>
                <a:gd name="connsiteY2" fmla="*/ 217566 h 435104"/>
                <a:gd name="connsiteX3" fmla="*/ 0 w 435077"/>
                <a:gd name="connsiteY3" fmla="*/ 435077 h 435104"/>
                <a:gd name="connsiteX4" fmla="*/ 217512 w 435077"/>
                <a:gd name="connsiteY4" fmla="*/ 0 h 435104"/>
                <a:gd name="connsiteX5" fmla="*/ 0 w 435077"/>
                <a:gd name="connsiteY5" fmla="*/ 0 h 435104"/>
                <a:gd name="connsiteX6" fmla="*/ 217512 w 435077"/>
                <a:gd name="connsiteY6" fmla="*/ 217539 h 435104"/>
                <a:gd name="connsiteX7" fmla="*/ 217512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12" y="435077"/>
                  </a:lnTo>
                  <a:lnTo>
                    <a:pt x="217512" y="217566"/>
                  </a:lnTo>
                  <a:lnTo>
                    <a:pt x="0" y="435077"/>
                  </a:lnTo>
                  <a:close/>
                  <a:moveTo>
                    <a:pt x="217512" y="0"/>
                  </a:moveTo>
                  <a:lnTo>
                    <a:pt x="0" y="0"/>
                  </a:lnTo>
                  <a:lnTo>
                    <a:pt x="217512" y="217539"/>
                  </a:lnTo>
                  <a:lnTo>
                    <a:pt x="217512"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solidFill>
                  <a:schemeClr val="bg1"/>
                </a:solidFill>
              </a:endParaRPr>
            </a:p>
          </p:txBody>
        </p:sp>
        <p:sp>
          <p:nvSpPr>
            <p:cNvPr id="321" name="Freeform: Shape 320">
              <a:extLst>
                <a:ext uri="{FF2B5EF4-FFF2-40B4-BE49-F238E27FC236}">
                  <a16:creationId xmlns:a16="http://schemas.microsoft.com/office/drawing/2014/main" id="{9E40E507-406A-853B-6EFD-6C08CE6E4A0F}"/>
                </a:ext>
              </a:extLst>
            </p:cNvPr>
            <p:cNvSpPr/>
            <p:nvPr/>
          </p:nvSpPr>
          <p:spPr>
            <a:xfrm>
              <a:off x="20849520" y="893014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322" name="Freeform: Shape 321">
              <a:extLst>
                <a:ext uri="{FF2B5EF4-FFF2-40B4-BE49-F238E27FC236}">
                  <a16:creationId xmlns:a16="http://schemas.microsoft.com/office/drawing/2014/main" id="{C0E2A7E9-6496-BA66-9299-8B9D167CED42}"/>
                </a:ext>
              </a:extLst>
            </p:cNvPr>
            <p:cNvSpPr/>
            <p:nvPr/>
          </p:nvSpPr>
          <p:spPr>
            <a:xfrm>
              <a:off x="22589856" y="893014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27 h 435077"/>
                <a:gd name="connsiteX5" fmla="*/ 435077 w 435077"/>
                <a:gd name="connsiteY5" fmla="*/ 217566 h 435077"/>
                <a:gd name="connsiteX6" fmla="*/ 217539 w 435077"/>
                <a:gd name="connsiteY6" fmla="*/ 27 h 435077"/>
                <a:gd name="connsiteX7" fmla="*/ 435077 w 435077"/>
                <a:gd name="connsiteY7" fmla="*/ 27 h 435077"/>
                <a:gd name="connsiteX8" fmla="*/ 217539 w 435077"/>
                <a:gd name="connsiteY8" fmla="*/ 435077 h 435077"/>
                <a:gd name="connsiteX9" fmla="*/ 435077 w 435077"/>
                <a:gd name="connsiteY9" fmla="*/ 217566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66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27"/>
                  </a:moveTo>
                  <a:lnTo>
                    <a:pt x="435077" y="217566"/>
                  </a:lnTo>
                  <a:lnTo>
                    <a:pt x="217539" y="27"/>
                  </a:lnTo>
                  <a:lnTo>
                    <a:pt x="435077" y="27"/>
                  </a:lnTo>
                  <a:close/>
                  <a:moveTo>
                    <a:pt x="217539" y="435077"/>
                  </a:moveTo>
                  <a:lnTo>
                    <a:pt x="435077" y="217566"/>
                  </a:lnTo>
                  <a:lnTo>
                    <a:pt x="435077" y="435077"/>
                  </a:lnTo>
                  <a:lnTo>
                    <a:pt x="217539" y="435077"/>
                  </a:lnTo>
                  <a:close/>
                  <a:moveTo>
                    <a:pt x="217539" y="435077"/>
                  </a:moveTo>
                  <a:lnTo>
                    <a:pt x="0" y="217566"/>
                  </a:lnTo>
                  <a:lnTo>
                    <a:pt x="0" y="435077"/>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23" name="Freeform: Shape 322">
              <a:extLst>
                <a:ext uri="{FF2B5EF4-FFF2-40B4-BE49-F238E27FC236}">
                  <a16:creationId xmlns:a16="http://schemas.microsoft.com/office/drawing/2014/main" id="{760CA787-ACEA-AD50-289A-54BB4E626574}"/>
                </a:ext>
              </a:extLst>
            </p:cNvPr>
            <p:cNvSpPr/>
            <p:nvPr/>
          </p:nvSpPr>
          <p:spPr>
            <a:xfrm>
              <a:off x="23460039" y="8930148"/>
              <a:ext cx="435077" cy="435077"/>
            </a:xfrm>
            <a:custGeom>
              <a:avLst/>
              <a:gdLst>
                <a:gd name="connsiteX0" fmla="*/ 371339 w 435077"/>
                <a:gd name="connsiteY0" fmla="*/ 63739 h 435077"/>
                <a:gd name="connsiteX1" fmla="*/ 435077 w 435077"/>
                <a:gd name="connsiteY1" fmla="*/ 217539 h 435077"/>
                <a:gd name="connsiteX2" fmla="*/ 217701 w 435077"/>
                <a:gd name="connsiteY2" fmla="*/ 217539 h 435077"/>
                <a:gd name="connsiteX3" fmla="*/ 371339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48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39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39"/>
                  </a:moveTo>
                  <a:cubicBezTo>
                    <a:pt x="412154" y="104527"/>
                    <a:pt x="435077" y="159864"/>
                    <a:pt x="435077" y="217539"/>
                  </a:cubicBezTo>
                  <a:lnTo>
                    <a:pt x="217701" y="217539"/>
                  </a:lnTo>
                  <a:cubicBezTo>
                    <a:pt x="275322" y="217593"/>
                    <a:pt x="330605" y="240516"/>
                    <a:pt x="371339" y="281277"/>
                  </a:cubicBezTo>
                  <a:cubicBezTo>
                    <a:pt x="412154" y="322066"/>
                    <a:pt x="435077" y="377402"/>
                    <a:pt x="435077" y="435077"/>
                  </a:cubicBezTo>
                  <a:lnTo>
                    <a:pt x="217539" y="435077"/>
                  </a:lnTo>
                  <a:lnTo>
                    <a:pt x="0" y="435077"/>
                  </a:lnTo>
                  <a:cubicBezTo>
                    <a:pt x="0" y="377402"/>
                    <a:pt x="22895" y="322066"/>
                    <a:pt x="63712" y="281277"/>
                  </a:cubicBezTo>
                  <a:cubicBezTo>
                    <a:pt x="104472" y="240516"/>
                    <a:pt x="159727" y="217593"/>
                    <a:pt x="217348" y="217539"/>
                  </a:cubicBezTo>
                  <a:lnTo>
                    <a:pt x="0" y="217539"/>
                  </a:lnTo>
                  <a:cubicBezTo>
                    <a:pt x="0" y="159864"/>
                    <a:pt x="22895" y="104527"/>
                    <a:pt x="63712" y="63739"/>
                  </a:cubicBezTo>
                  <a:cubicBezTo>
                    <a:pt x="104501" y="22923"/>
                    <a:pt x="159836" y="0"/>
                    <a:pt x="217539" y="0"/>
                  </a:cubicBezTo>
                  <a:cubicBezTo>
                    <a:pt x="275213" y="0"/>
                    <a:pt x="330550" y="22923"/>
                    <a:pt x="371339" y="63739"/>
                  </a:cubicBezTo>
                  <a:close/>
                </a:path>
              </a:pathLst>
            </a:custGeom>
            <a:grpFill/>
            <a:ln w="27192" cap="flat">
              <a:noFill/>
              <a:prstDash val="solid"/>
              <a:miter/>
            </a:ln>
          </p:spPr>
          <p:txBody>
            <a:bodyPr rtlCol="0" anchor="ctr"/>
            <a:lstStyle/>
            <a:p>
              <a:endParaRPr lang="uk-UA" sz="900">
                <a:solidFill>
                  <a:schemeClr val="bg1"/>
                </a:solidFill>
              </a:endParaRPr>
            </a:p>
          </p:txBody>
        </p:sp>
        <p:sp>
          <p:nvSpPr>
            <p:cNvPr id="324" name="Freeform: Shape 323">
              <a:extLst>
                <a:ext uri="{FF2B5EF4-FFF2-40B4-BE49-F238E27FC236}">
                  <a16:creationId xmlns:a16="http://schemas.microsoft.com/office/drawing/2014/main" id="{83D6A5B8-F0FB-1D4A-5EF2-A8256ED80F9B}"/>
                </a:ext>
              </a:extLst>
            </p:cNvPr>
            <p:cNvSpPr/>
            <p:nvPr/>
          </p:nvSpPr>
          <p:spPr>
            <a:xfrm>
              <a:off x="24330194" y="893014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325" name="Freeform: Shape 324">
              <a:extLst>
                <a:ext uri="{FF2B5EF4-FFF2-40B4-BE49-F238E27FC236}">
                  <a16:creationId xmlns:a16="http://schemas.microsoft.com/office/drawing/2014/main" id="{5ACE7B13-5825-F1FF-5396-488C11EC2305}"/>
                </a:ext>
              </a:extLst>
            </p:cNvPr>
            <p:cNvSpPr/>
            <p:nvPr/>
          </p:nvSpPr>
          <p:spPr>
            <a:xfrm>
              <a:off x="835769" y="9800303"/>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26" name="Freeform: Shape 325">
              <a:extLst>
                <a:ext uri="{FF2B5EF4-FFF2-40B4-BE49-F238E27FC236}">
                  <a16:creationId xmlns:a16="http://schemas.microsoft.com/office/drawing/2014/main" id="{0DEC4C09-89D4-3DD4-7032-F94D61F6CC8D}"/>
                </a:ext>
              </a:extLst>
            </p:cNvPr>
            <p:cNvSpPr/>
            <p:nvPr/>
          </p:nvSpPr>
          <p:spPr>
            <a:xfrm>
              <a:off x="-34398" y="9800303"/>
              <a:ext cx="435063" cy="435077"/>
            </a:xfrm>
            <a:custGeom>
              <a:avLst/>
              <a:gdLst>
                <a:gd name="connsiteX0" fmla="*/ 435064 w 435063"/>
                <a:gd name="connsiteY0" fmla="*/ 435077 h 435077"/>
                <a:gd name="connsiteX1" fmla="*/ 435064 w 435063"/>
                <a:gd name="connsiteY1" fmla="*/ 217566 h 435077"/>
                <a:gd name="connsiteX2" fmla="*/ 435064 w 435063"/>
                <a:gd name="connsiteY2" fmla="*/ 27 h 435077"/>
                <a:gd name="connsiteX3" fmla="*/ 217552 w 435063"/>
                <a:gd name="connsiteY3" fmla="*/ 27 h 435077"/>
                <a:gd name="connsiteX4" fmla="*/ 435064 w 435063"/>
                <a:gd name="connsiteY4" fmla="*/ 217566 h 435077"/>
                <a:gd name="connsiteX5" fmla="*/ 217552 w 435063"/>
                <a:gd name="connsiteY5" fmla="*/ 435077 h 435077"/>
                <a:gd name="connsiteX6" fmla="*/ 435064 w 435063"/>
                <a:gd name="connsiteY6" fmla="*/ 435077 h 435077"/>
                <a:gd name="connsiteX7" fmla="*/ 0 w 435063"/>
                <a:gd name="connsiteY7" fmla="*/ 217539 h 435077"/>
                <a:gd name="connsiteX8" fmla="*/ 0 w 435063"/>
                <a:gd name="connsiteY8" fmla="*/ 0 h 435077"/>
                <a:gd name="connsiteX9" fmla="*/ 217525 w 435063"/>
                <a:gd name="connsiteY9" fmla="*/ 217539 h 435077"/>
                <a:gd name="connsiteX10" fmla="*/ 0 w 435063"/>
                <a:gd name="connsiteY10" fmla="*/ 217539 h 435077"/>
                <a:gd name="connsiteX11" fmla="*/ 0 w 435063"/>
                <a:gd name="connsiteY11" fmla="*/ 435077 h 435077"/>
                <a:gd name="connsiteX12" fmla="*/ 0 w 435063"/>
                <a:gd name="connsiteY12" fmla="*/ 217566 h 435077"/>
                <a:gd name="connsiteX13" fmla="*/ 217525 w 435063"/>
                <a:gd name="connsiteY13" fmla="*/ 217566 h 435077"/>
                <a:gd name="connsiteX14" fmla="*/ 0 w 435063"/>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63" h="435077">
                  <a:moveTo>
                    <a:pt x="435064" y="435077"/>
                  </a:moveTo>
                  <a:lnTo>
                    <a:pt x="435064" y="217566"/>
                  </a:lnTo>
                  <a:lnTo>
                    <a:pt x="435064" y="27"/>
                  </a:lnTo>
                  <a:lnTo>
                    <a:pt x="217552" y="27"/>
                  </a:lnTo>
                  <a:lnTo>
                    <a:pt x="435064" y="217566"/>
                  </a:lnTo>
                  <a:lnTo>
                    <a:pt x="217552" y="435077"/>
                  </a:lnTo>
                  <a:lnTo>
                    <a:pt x="435064" y="435077"/>
                  </a:lnTo>
                  <a:close/>
                  <a:moveTo>
                    <a:pt x="0" y="217539"/>
                  </a:moveTo>
                  <a:lnTo>
                    <a:pt x="0" y="0"/>
                  </a:lnTo>
                  <a:lnTo>
                    <a:pt x="217525" y="217539"/>
                  </a:lnTo>
                  <a:lnTo>
                    <a:pt x="0" y="217539"/>
                  </a:lnTo>
                  <a:close/>
                  <a:moveTo>
                    <a:pt x="0" y="435077"/>
                  </a:moveTo>
                  <a:lnTo>
                    <a:pt x="0" y="217566"/>
                  </a:lnTo>
                  <a:lnTo>
                    <a:pt x="217525"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27" name="Freeform: Shape 326">
              <a:extLst>
                <a:ext uri="{FF2B5EF4-FFF2-40B4-BE49-F238E27FC236}">
                  <a16:creationId xmlns:a16="http://schemas.microsoft.com/office/drawing/2014/main" id="{82BC875C-9BC1-5EF8-DF83-FDEFA11B264E}"/>
                </a:ext>
              </a:extLst>
            </p:cNvPr>
            <p:cNvSpPr/>
            <p:nvPr/>
          </p:nvSpPr>
          <p:spPr>
            <a:xfrm>
              <a:off x="1705924" y="9800330"/>
              <a:ext cx="435077" cy="435050"/>
            </a:xfrm>
            <a:custGeom>
              <a:avLst/>
              <a:gdLst>
                <a:gd name="connsiteX0" fmla="*/ 435077 w 435077"/>
                <a:gd name="connsiteY0" fmla="*/ 435050 h 435050"/>
                <a:gd name="connsiteX1" fmla="*/ 435077 w 435077"/>
                <a:gd name="connsiteY1" fmla="*/ 0 h 435050"/>
                <a:gd name="connsiteX2" fmla="*/ 217566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39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66" y="217539"/>
                  </a:lnTo>
                  <a:lnTo>
                    <a:pt x="435077" y="435050"/>
                  </a:lnTo>
                  <a:close/>
                  <a:moveTo>
                    <a:pt x="0" y="435050"/>
                  </a:moveTo>
                  <a:lnTo>
                    <a:pt x="0" y="0"/>
                  </a:lnTo>
                  <a:lnTo>
                    <a:pt x="217539" y="217539"/>
                  </a:lnTo>
                  <a:lnTo>
                    <a:pt x="0" y="435050"/>
                  </a:lnTo>
                  <a:close/>
                </a:path>
              </a:pathLst>
            </a:custGeom>
            <a:grpFill/>
            <a:ln w="27192" cap="flat">
              <a:noFill/>
              <a:prstDash val="solid"/>
              <a:miter/>
            </a:ln>
          </p:spPr>
          <p:txBody>
            <a:bodyPr rtlCol="0" anchor="ctr"/>
            <a:lstStyle/>
            <a:p>
              <a:endParaRPr lang="uk-UA" sz="900">
                <a:solidFill>
                  <a:schemeClr val="bg1"/>
                </a:solidFill>
              </a:endParaRPr>
            </a:p>
          </p:txBody>
        </p:sp>
        <p:sp>
          <p:nvSpPr>
            <p:cNvPr id="328" name="Freeform: Shape 327">
              <a:extLst>
                <a:ext uri="{FF2B5EF4-FFF2-40B4-BE49-F238E27FC236}">
                  <a16:creationId xmlns:a16="http://schemas.microsoft.com/office/drawing/2014/main" id="{532E509D-C009-7D57-1234-E0E9FBE626B8}"/>
                </a:ext>
              </a:extLst>
            </p:cNvPr>
            <p:cNvSpPr/>
            <p:nvPr/>
          </p:nvSpPr>
          <p:spPr>
            <a:xfrm>
              <a:off x="2576106" y="980030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3" y="113039"/>
                    <a:pt x="0" y="57702"/>
                    <a:pt x="0" y="0"/>
                  </a:cubicBezTo>
                  <a:lnTo>
                    <a:pt x="217539" y="0"/>
                  </a:lnTo>
                  <a:lnTo>
                    <a:pt x="435077" y="0"/>
                  </a:lnTo>
                  <a:cubicBezTo>
                    <a:pt x="435077" y="57702"/>
                    <a:pt x="412154" y="113039"/>
                    <a:pt x="371366" y="153827"/>
                  </a:cubicBezTo>
                  <a:cubicBezTo>
                    <a:pt x="330550" y="194642"/>
                    <a:pt x="275214" y="217539"/>
                    <a:pt x="217539" y="217539"/>
                  </a:cubicBezTo>
                  <a:cubicBezTo>
                    <a:pt x="159837" y="217539"/>
                    <a:pt x="104500" y="194642"/>
                    <a:pt x="63712" y="153827"/>
                  </a:cubicBezTo>
                  <a:close/>
                  <a:moveTo>
                    <a:pt x="63712" y="281277"/>
                  </a:moveTo>
                  <a:cubicBezTo>
                    <a:pt x="22923" y="322066"/>
                    <a:pt x="0" y="377402"/>
                    <a:pt x="0" y="435077"/>
                  </a:cubicBezTo>
                  <a:lnTo>
                    <a:pt x="217539" y="435077"/>
                  </a:lnTo>
                  <a:lnTo>
                    <a:pt x="435077" y="435077"/>
                  </a:lnTo>
                  <a:cubicBezTo>
                    <a:pt x="435077" y="377402"/>
                    <a:pt x="412154" y="322066"/>
                    <a:pt x="371366" y="281277"/>
                  </a:cubicBezTo>
                  <a:cubicBezTo>
                    <a:pt x="330550" y="240462"/>
                    <a:pt x="275214" y="217539"/>
                    <a:pt x="217539" y="217539"/>
                  </a:cubicBezTo>
                  <a:cubicBezTo>
                    <a:pt x="159837" y="217539"/>
                    <a:pt x="104500" y="240462"/>
                    <a:pt x="63712" y="281277"/>
                  </a:cubicBezTo>
                  <a:close/>
                </a:path>
              </a:pathLst>
            </a:custGeom>
            <a:grpFill/>
            <a:ln w="27192" cap="flat">
              <a:noFill/>
              <a:prstDash val="solid"/>
              <a:miter/>
            </a:ln>
          </p:spPr>
          <p:txBody>
            <a:bodyPr rtlCol="0" anchor="ctr"/>
            <a:lstStyle/>
            <a:p>
              <a:endParaRPr lang="uk-UA" sz="900">
                <a:solidFill>
                  <a:schemeClr val="bg1"/>
                </a:solidFill>
              </a:endParaRPr>
            </a:p>
          </p:txBody>
        </p:sp>
        <p:sp>
          <p:nvSpPr>
            <p:cNvPr id="329" name="Freeform: Shape 328">
              <a:extLst>
                <a:ext uri="{FF2B5EF4-FFF2-40B4-BE49-F238E27FC236}">
                  <a16:creationId xmlns:a16="http://schemas.microsoft.com/office/drawing/2014/main" id="{21E01DD0-0886-612A-5B5B-7A5C6A78AFBB}"/>
                </a:ext>
              </a:extLst>
            </p:cNvPr>
            <p:cNvSpPr/>
            <p:nvPr/>
          </p:nvSpPr>
          <p:spPr>
            <a:xfrm>
              <a:off x="4316416" y="9800303"/>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65 w 435077"/>
                <a:gd name="connsiteY4" fmla="*/ 435077 h 435077"/>
                <a:gd name="connsiteX5" fmla="*/ 217565 w 435077"/>
                <a:gd name="connsiteY5" fmla="*/ 0 h 435077"/>
                <a:gd name="connsiteX6" fmla="*/ 435077 w 435077"/>
                <a:gd name="connsiteY6" fmla="*/ 217566 h 435077"/>
                <a:gd name="connsiteX7" fmla="*/ 217565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65" y="435077"/>
                  </a:moveTo>
                  <a:lnTo>
                    <a:pt x="217565" y="0"/>
                  </a:lnTo>
                  <a:lnTo>
                    <a:pt x="435077" y="217566"/>
                  </a:lnTo>
                  <a:lnTo>
                    <a:pt x="217565"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30" name="Freeform: Shape 329">
              <a:extLst>
                <a:ext uri="{FF2B5EF4-FFF2-40B4-BE49-F238E27FC236}">
                  <a16:creationId xmlns:a16="http://schemas.microsoft.com/office/drawing/2014/main" id="{94F36915-5BDD-40D5-E0BB-7FF577ECF0FB}"/>
                </a:ext>
              </a:extLst>
            </p:cNvPr>
            <p:cNvSpPr/>
            <p:nvPr/>
          </p:nvSpPr>
          <p:spPr>
            <a:xfrm>
              <a:off x="3446261" y="980030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6 w 435077"/>
                <a:gd name="connsiteY3" fmla="*/ 27 h 435077"/>
                <a:gd name="connsiteX4" fmla="*/ 435077 w 435077"/>
                <a:gd name="connsiteY4" fmla="*/ 217566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6" y="27"/>
                  </a:lnTo>
                  <a:lnTo>
                    <a:pt x="435077" y="217566"/>
                  </a:lnTo>
                  <a:lnTo>
                    <a:pt x="217566"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31" name="Freeform: Shape 330">
              <a:extLst>
                <a:ext uri="{FF2B5EF4-FFF2-40B4-BE49-F238E27FC236}">
                  <a16:creationId xmlns:a16="http://schemas.microsoft.com/office/drawing/2014/main" id="{8FF31911-3268-D217-1580-5342A5423BDB}"/>
                </a:ext>
              </a:extLst>
            </p:cNvPr>
            <p:cNvSpPr/>
            <p:nvPr/>
          </p:nvSpPr>
          <p:spPr>
            <a:xfrm>
              <a:off x="5186597" y="9800330"/>
              <a:ext cx="435077" cy="435050"/>
            </a:xfrm>
            <a:custGeom>
              <a:avLst/>
              <a:gdLst>
                <a:gd name="connsiteX0" fmla="*/ 435077 w 435077"/>
                <a:gd name="connsiteY0" fmla="*/ 435050 h 435050"/>
                <a:gd name="connsiteX1" fmla="*/ 435077 w 435077"/>
                <a:gd name="connsiteY1" fmla="*/ 0 h 435050"/>
                <a:gd name="connsiteX2" fmla="*/ 217566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39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66" y="217539"/>
                  </a:lnTo>
                  <a:lnTo>
                    <a:pt x="435077" y="435050"/>
                  </a:lnTo>
                  <a:close/>
                  <a:moveTo>
                    <a:pt x="0" y="435050"/>
                  </a:moveTo>
                  <a:lnTo>
                    <a:pt x="0" y="0"/>
                  </a:lnTo>
                  <a:lnTo>
                    <a:pt x="217539" y="217539"/>
                  </a:lnTo>
                  <a:lnTo>
                    <a:pt x="0" y="435050"/>
                  </a:lnTo>
                  <a:close/>
                </a:path>
              </a:pathLst>
            </a:custGeom>
            <a:grpFill/>
            <a:ln w="27192" cap="flat">
              <a:noFill/>
              <a:prstDash val="solid"/>
              <a:miter/>
            </a:ln>
          </p:spPr>
          <p:txBody>
            <a:bodyPr rtlCol="0" anchor="ctr"/>
            <a:lstStyle/>
            <a:p>
              <a:endParaRPr lang="uk-UA" sz="900">
                <a:solidFill>
                  <a:schemeClr val="bg1"/>
                </a:solidFill>
              </a:endParaRPr>
            </a:p>
          </p:txBody>
        </p:sp>
        <p:sp>
          <p:nvSpPr>
            <p:cNvPr id="332" name="Freeform: Shape 331">
              <a:extLst>
                <a:ext uri="{FF2B5EF4-FFF2-40B4-BE49-F238E27FC236}">
                  <a16:creationId xmlns:a16="http://schemas.microsoft.com/office/drawing/2014/main" id="{43281393-12FF-7DA6-82D0-2FD1DA3EE36F}"/>
                </a:ext>
              </a:extLst>
            </p:cNvPr>
            <p:cNvSpPr/>
            <p:nvPr/>
          </p:nvSpPr>
          <p:spPr>
            <a:xfrm>
              <a:off x="6056752" y="980030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6" y="153827"/>
                  </a:cubicBezTo>
                  <a:cubicBezTo>
                    <a:pt x="330550" y="194642"/>
                    <a:pt x="275241" y="217539"/>
                    <a:pt x="217539" y="217539"/>
                  </a:cubicBezTo>
                  <a:cubicBezTo>
                    <a:pt x="159837"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5" y="322066"/>
                    <a:pt x="371366" y="281277"/>
                  </a:cubicBezTo>
                  <a:cubicBezTo>
                    <a:pt x="330550" y="240462"/>
                    <a:pt x="275241" y="217539"/>
                    <a:pt x="217539" y="217539"/>
                  </a:cubicBezTo>
                  <a:cubicBezTo>
                    <a:pt x="159837" y="217539"/>
                    <a:pt x="104501" y="240462"/>
                    <a:pt x="63712" y="281277"/>
                  </a:cubicBezTo>
                  <a:close/>
                </a:path>
              </a:pathLst>
            </a:custGeom>
            <a:grpFill/>
            <a:ln w="27192" cap="flat">
              <a:noFill/>
              <a:prstDash val="solid"/>
              <a:miter/>
            </a:ln>
          </p:spPr>
          <p:txBody>
            <a:bodyPr rtlCol="0" anchor="ctr"/>
            <a:lstStyle/>
            <a:p>
              <a:endParaRPr lang="uk-UA" sz="900">
                <a:solidFill>
                  <a:schemeClr val="bg1"/>
                </a:solidFill>
              </a:endParaRPr>
            </a:p>
          </p:txBody>
        </p:sp>
        <p:sp>
          <p:nvSpPr>
            <p:cNvPr id="333" name="Freeform: Shape 332">
              <a:extLst>
                <a:ext uri="{FF2B5EF4-FFF2-40B4-BE49-F238E27FC236}">
                  <a16:creationId xmlns:a16="http://schemas.microsoft.com/office/drawing/2014/main" id="{16490DCC-7A27-6FEC-BB26-2D4F28A71E7D}"/>
                </a:ext>
              </a:extLst>
            </p:cNvPr>
            <p:cNvSpPr/>
            <p:nvPr/>
          </p:nvSpPr>
          <p:spPr>
            <a:xfrm>
              <a:off x="7797062" y="9800303"/>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66 w 435077"/>
                <a:gd name="connsiteY4" fmla="*/ 435077 h 435077"/>
                <a:gd name="connsiteX5" fmla="*/ 217566 w 435077"/>
                <a:gd name="connsiteY5" fmla="*/ 0 h 435077"/>
                <a:gd name="connsiteX6" fmla="*/ 435077 w 435077"/>
                <a:gd name="connsiteY6" fmla="*/ 217566 h 435077"/>
                <a:gd name="connsiteX7" fmla="*/ 217566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66" y="435077"/>
                  </a:moveTo>
                  <a:lnTo>
                    <a:pt x="217566" y="0"/>
                  </a:lnTo>
                  <a:lnTo>
                    <a:pt x="435077" y="217566"/>
                  </a:lnTo>
                  <a:lnTo>
                    <a:pt x="217566"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34" name="Freeform: Shape 333">
              <a:extLst>
                <a:ext uri="{FF2B5EF4-FFF2-40B4-BE49-F238E27FC236}">
                  <a16:creationId xmlns:a16="http://schemas.microsoft.com/office/drawing/2014/main" id="{D18595AD-838F-006E-9E0B-52E27F747FE3}"/>
                </a:ext>
              </a:extLst>
            </p:cNvPr>
            <p:cNvSpPr/>
            <p:nvPr/>
          </p:nvSpPr>
          <p:spPr>
            <a:xfrm>
              <a:off x="6926907" y="980030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6 w 435077"/>
                <a:gd name="connsiteY3" fmla="*/ 27 h 435077"/>
                <a:gd name="connsiteX4" fmla="*/ 435077 w 435077"/>
                <a:gd name="connsiteY4" fmla="*/ 217566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6" y="27"/>
                  </a:lnTo>
                  <a:lnTo>
                    <a:pt x="435077" y="217566"/>
                  </a:lnTo>
                  <a:lnTo>
                    <a:pt x="217566"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35" name="Freeform: Shape 334">
              <a:extLst>
                <a:ext uri="{FF2B5EF4-FFF2-40B4-BE49-F238E27FC236}">
                  <a16:creationId xmlns:a16="http://schemas.microsoft.com/office/drawing/2014/main" id="{DF2FEC66-6661-FB82-FA0E-1A833CE57DB7}"/>
                </a:ext>
              </a:extLst>
            </p:cNvPr>
            <p:cNvSpPr/>
            <p:nvPr/>
          </p:nvSpPr>
          <p:spPr>
            <a:xfrm>
              <a:off x="8667244" y="980033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1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1" y="217539"/>
                  </a:lnTo>
                  <a:lnTo>
                    <a:pt x="0" y="435050"/>
                  </a:lnTo>
                  <a:close/>
                </a:path>
              </a:pathLst>
            </a:custGeom>
            <a:grpFill/>
            <a:ln w="27192" cap="flat">
              <a:noFill/>
              <a:prstDash val="solid"/>
              <a:miter/>
            </a:ln>
          </p:spPr>
          <p:txBody>
            <a:bodyPr rtlCol="0" anchor="ctr"/>
            <a:lstStyle/>
            <a:p>
              <a:endParaRPr lang="uk-UA" sz="900">
                <a:solidFill>
                  <a:schemeClr val="bg1"/>
                </a:solidFill>
              </a:endParaRPr>
            </a:p>
          </p:txBody>
        </p:sp>
        <p:sp>
          <p:nvSpPr>
            <p:cNvPr id="336" name="Freeform: Shape 335">
              <a:extLst>
                <a:ext uri="{FF2B5EF4-FFF2-40B4-BE49-F238E27FC236}">
                  <a16:creationId xmlns:a16="http://schemas.microsoft.com/office/drawing/2014/main" id="{AF2CA520-F36D-8437-6427-2B93B28A08DB}"/>
                </a:ext>
              </a:extLst>
            </p:cNvPr>
            <p:cNvSpPr/>
            <p:nvPr/>
          </p:nvSpPr>
          <p:spPr>
            <a:xfrm>
              <a:off x="9537399" y="9800303"/>
              <a:ext cx="435077" cy="435077"/>
            </a:xfrm>
            <a:custGeom>
              <a:avLst/>
              <a:gdLst>
                <a:gd name="connsiteX0" fmla="*/ 63711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1 w 435077"/>
                <a:gd name="connsiteY6" fmla="*/ 153827 h 435077"/>
                <a:gd name="connsiteX7" fmla="*/ 63711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11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1" y="153827"/>
                  </a:moveTo>
                  <a:cubicBezTo>
                    <a:pt x="22923" y="113039"/>
                    <a:pt x="0" y="57702"/>
                    <a:pt x="0" y="0"/>
                  </a:cubicBezTo>
                  <a:lnTo>
                    <a:pt x="217539" y="0"/>
                  </a:lnTo>
                  <a:lnTo>
                    <a:pt x="435077" y="0"/>
                  </a:lnTo>
                  <a:cubicBezTo>
                    <a:pt x="435077" y="57702"/>
                    <a:pt x="412155" y="113039"/>
                    <a:pt x="371366" y="153827"/>
                  </a:cubicBezTo>
                  <a:cubicBezTo>
                    <a:pt x="330550" y="194642"/>
                    <a:pt x="275214" y="217539"/>
                    <a:pt x="217539" y="217539"/>
                  </a:cubicBezTo>
                  <a:cubicBezTo>
                    <a:pt x="159836" y="217539"/>
                    <a:pt x="104500" y="194642"/>
                    <a:pt x="63711" y="153827"/>
                  </a:cubicBezTo>
                  <a:close/>
                  <a:moveTo>
                    <a:pt x="63711" y="281277"/>
                  </a:moveTo>
                  <a:cubicBezTo>
                    <a:pt x="22923" y="322066"/>
                    <a:pt x="0" y="377402"/>
                    <a:pt x="0" y="435077"/>
                  </a:cubicBezTo>
                  <a:lnTo>
                    <a:pt x="217539" y="435077"/>
                  </a:lnTo>
                  <a:lnTo>
                    <a:pt x="435077" y="435077"/>
                  </a:lnTo>
                  <a:cubicBezTo>
                    <a:pt x="435077" y="377402"/>
                    <a:pt x="412155" y="322066"/>
                    <a:pt x="371366" y="281277"/>
                  </a:cubicBezTo>
                  <a:cubicBezTo>
                    <a:pt x="330550" y="240462"/>
                    <a:pt x="275214" y="217539"/>
                    <a:pt x="217539" y="217539"/>
                  </a:cubicBezTo>
                  <a:cubicBezTo>
                    <a:pt x="159836" y="217539"/>
                    <a:pt x="104500" y="240462"/>
                    <a:pt x="63711" y="281277"/>
                  </a:cubicBezTo>
                  <a:close/>
                </a:path>
              </a:pathLst>
            </a:custGeom>
            <a:grpFill/>
            <a:ln w="27192" cap="flat">
              <a:noFill/>
              <a:prstDash val="solid"/>
              <a:miter/>
            </a:ln>
          </p:spPr>
          <p:txBody>
            <a:bodyPr rtlCol="0" anchor="ctr"/>
            <a:lstStyle/>
            <a:p>
              <a:endParaRPr lang="uk-UA" sz="900">
                <a:solidFill>
                  <a:schemeClr val="bg1"/>
                </a:solidFill>
              </a:endParaRPr>
            </a:p>
          </p:txBody>
        </p:sp>
        <p:sp>
          <p:nvSpPr>
            <p:cNvPr id="337" name="Freeform: Shape 336">
              <a:extLst>
                <a:ext uri="{FF2B5EF4-FFF2-40B4-BE49-F238E27FC236}">
                  <a16:creationId xmlns:a16="http://schemas.microsoft.com/office/drawing/2014/main" id="{E3797CC7-2868-1F90-DFB1-44BD012FB913}"/>
                </a:ext>
              </a:extLst>
            </p:cNvPr>
            <p:cNvSpPr/>
            <p:nvPr/>
          </p:nvSpPr>
          <p:spPr>
            <a:xfrm>
              <a:off x="11277709" y="9800303"/>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38" name="Freeform: Shape 337">
              <a:extLst>
                <a:ext uri="{FF2B5EF4-FFF2-40B4-BE49-F238E27FC236}">
                  <a16:creationId xmlns:a16="http://schemas.microsoft.com/office/drawing/2014/main" id="{1877A40E-36BD-C38F-0D9F-9C093A1EA51B}"/>
                </a:ext>
              </a:extLst>
            </p:cNvPr>
            <p:cNvSpPr/>
            <p:nvPr/>
          </p:nvSpPr>
          <p:spPr>
            <a:xfrm>
              <a:off x="10407554" y="980030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1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11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1" y="217539"/>
                  </a:lnTo>
                  <a:lnTo>
                    <a:pt x="0" y="217539"/>
                  </a:lnTo>
                  <a:close/>
                  <a:moveTo>
                    <a:pt x="0" y="435077"/>
                  </a:moveTo>
                  <a:lnTo>
                    <a:pt x="0" y="217566"/>
                  </a:lnTo>
                  <a:lnTo>
                    <a:pt x="217511"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39" name="Freeform: Shape 338">
              <a:extLst>
                <a:ext uri="{FF2B5EF4-FFF2-40B4-BE49-F238E27FC236}">
                  <a16:creationId xmlns:a16="http://schemas.microsoft.com/office/drawing/2014/main" id="{713DB60A-37B1-F4EC-2430-61190686F342}"/>
                </a:ext>
              </a:extLst>
            </p:cNvPr>
            <p:cNvSpPr/>
            <p:nvPr/>
          </p:nvSpPr>
          <p:spPr>
            <a:xfrm>
              <a:off x="12147891" y="980033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2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2" y="217539"/>
                  </a:lnTo>
                  <a:lnTo>
                    <a:pt x="0" y="435050"/>
                  </a:lnTo>
                  <a:close/>
                </a:path>
              </a:pathLst>
            </a:custGeom>
            <a:grpFill/>
            <a:ln w="27192" cap="flat">
              <a:noFill/>
              <a:prstDash val="solid"/>
              <a:miter/>
            </a:ln>
          </p:spPr>
          <p:txBody>
            <a:bodyPr rtlCol="0" anchor="ctr"/>
            <a:lstStyle/>
            <a:p>
              <a:endParaRPr lang="uk-UA" sz="900">
                <a:solidFill>
                  <a:schemeClr val="bg1"/>
                </a:solidFill>
              </a:endParaRPr>
            </a:p>
          </p:txBody>
        </p:sp>
        <p:sp>
          <p:nvSpPr>
            <p:cNvPr id="340" name="Freeform: Shape 339">
              <a:extLst>
                <a:ext uri="{FF2B5EF4-FFF2-40B4-BE49-F238E27FC236}">
                  <a16:creationId xmlns:a16="http://schemas.microsoft.com/office/drawing/2014/main" id="{9D3E7827-7BE9-AFCF-AB6C-C29E5983EA9B}"/>
                </a:ext>
              </a:extLst>
            </p:cNvPr>
            <p:cNvSpPr/>
            <p:nvPr/>
          </p:nvSpPr>
          <p:spPr>
            <a:xfrm>
              <a:off x="13018045" y="980030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4" y="113039"/>
                    <a:pt x="371365" y="153827"/>
                  </a:cubicBezTo>
                  <a:cubicBezTo>
                    <a:pt x="330550" y="194642"/>
                    <a:pt x="275241" y="217539"/>
                    <a:pt x="217539" y="217539"/>
                  </a:cubicBezTo>
                  <a:cubicBezTo>
                    <a:pt x="159836"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4" y="322066"/>
                    <a:pt x="371365" y="281277"/>
                  </a:cubicBezTo>
                  <a:cubicBezTo>
                    <a:pt x="330550" y="240462"/>
                    <a:pt x="275241" y="217539"/>
                    <a:pt x="217539" y="217539"/>
                  </a:cubicBezTo>
                  <a:cubicBezTo>
                    <a:pt x="159836" y="217539"/>
                    <a:pt x="104501" y="240462"/>
                    <a:pt x="63712" y="281277"/>
                  </a:cubicBezTo>
                  <a:close/>
                </a:path>
              </a:pathLst>
            </a:custGeom>
            <a:grpFill/>
            <a:ln w="27192" cap="flat">
              <a:noFill/>
              <a:prstDash val="solid"/>
              <a:miter/>
            </a:ln>
          </p:spPr>
          <p:txBody>
            <a:bodyPr rtlCol="0" anchor="ctr"/>
            <a:lstStyle/>
            <a:p>
              <a:endParaRPr lang="uk-UA" sz="900">
                <a:solidFill>
                  <a:schemeClr val="bg1"/>
                </a:solidFill>
              </a:endParaRPr>
            </a:p>
          </p:txBody>
        </p:sp>
        <p:sp>
          <p:nvSpPr>
            <p:cNvPr id="341" name="Freeform: Shape 340">
              <a:extLst>
                <a:ext uri="{FF2B5EF4-FFF2-40B4-BE49-F238E27FC236}">
                  <a16:creationId xmlns:a16="http://schemas.microsoft.com/office/drawing/2014/main" id="{668C3F80-1759-968E-5415-861A6F6FD18E}"/>
                </a:ext>
              </a:extLst>
            </p:cNvPr>
            <p:cNvSpPr/>
            <p:nvPr/>
          </p:nvSpPr>
          <p:spPr>
            <a:xfrm>
              <a:off x="14758382" y="9800303"/>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42" name="Freeform: Shape 341">
              <a:extLst>
                <a:ext uri="{FF2B5EF4-FFF2-40B4-BE49-F238E27FC236}">
                  <a16:creationId xmlns:a16="http://schemas.microsoft.com/office/drawing/2014/main" id="{3A83F544-EC75-D7A2-10E9-AF91A0D9E971}"/>
                </a:ext>
              </a:extLst>
            </p:cNvPr>
            <p:cNvSpPr/>
            <p:nvPr/>
          </p:nvSpPr>
          <p:spPr>
            <a:xfrm>
              <a:off x="13888200" y="980030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5 w 435077"/>
                <a:gd name="connsiteY3" fmla="*/ 27 h 435077"/>
                <a:gd name="connsiteX4" fmla="*/ 435077 w 435077"/>
                <a:gd name="connsiteY4" fmla="*/ 217566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5" y="27"/>
                  </a:lnTo>
                  <a:lnTo>
                    <a:pt x="435077" y="217566"/>
                  </a:lnTo>
                  <a:lnTo>
                    <a:pt x="217565"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43" name="Freeform: Shape 342">
              <a:extLst>
                <a:ext uri="{FF2B5EF4-FFF2-40B4-BE49-F238E27FC236}">
                  <a16:creationId xmlns:a16="http://schemas.microsoft.com/office/drawing/2014/main" id="{7F497FC4-AAB8-C5D2-DED5-FA785EFB356A}"/>
                </a:ext>
              </a:extLst>
            </p:cNvPr>
            <p:cNvSpPr/>
            <p:nvPr/>
          </p:nvSpPr>
          <p:spPr>
            <a:xfrm>
              <a:off x="15628565" y="980033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0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0" y="217539"/>
                  </a:lnTo>
                  <a:lnTo>
                    <a:pt x="0" y="435050"/>
                  </a:lnTo>
                  <a:close/>
                </a:path>
              </a:pathLst>
            </a:custGeom>
            <a:grpFill/>
            <a:ln w="27192" cap="flat">
              <a:noFill/>
              <a:prstDash val="solid"/>
              <a:miter/>
            </a:ln>
          </p:spPr>
          <p:txBody>
            <a:bodyPr rtlCol="0" anchor="ctr"/>
            <a:lstStyle/>
            <a:p>
              <a:endParaRPr lang="uk-UA" sz="900">
                <a:solidFill>
                  <a:schemeClr val="bg1"/>
                </a:solidFill>
              </a:endParaRPr>
            </a:p>
          </p:txBody>
        </p:sp>
        <p:sp>
          <p:nvSpPr>
            <p:cNvPr id="344" name="Freeform: Shape 343">
              <a:extLst>
                <a:ext uri="{FF2B5EF4-FFF2-40B4-BE49-F238E27FC236}">
                  <a16:creationId xmlns:a16="http://schemas.microsoft.com/office/drawing/2014/main" id="{DA94EE3C-1408-9C2B-B7D4-26B30FE111A4}"/>
                </a:ext>
              </a:extLst>
            </p:cNvPr>
            <p:cNvSpPr/>
            <p:nvPr/>
          </p:nvSpPr>
          <p:spPr>
            <a:xfrm>
              <a:off x="16498719" y="9800303"/>
              <a:ext cx="435077" cy="435077"/>
            </a:xfrm>
            <a:custGeom>
              <a:avLst/>
              <a:gdLst>
                <a:gd name="connsiteX0" fmla="*/ 63710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0 w 435077"/>
                <a:gd name="connsiteY6" fmla="*/ 153827 h 435077"/>
                <a:gd name="connsiteX7" fmla="*/ 63710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77 h 435077"/>
                <a:gd name="connsiteX12" fmla="*/ 217539 w 435077"/>
                <a:gd name="connsiteY12" fmla="*/ 217539 h 435077"/>
                <a:gd name="connsiteX13" fmla="*/ 63710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7"/>
                  </a:moveTo>
                  <a:cubicBezTo>
                    <a:pt x="22895" y="113039"/>
                    <a:pt x="0" y="57702"/>
                    <a:pt x="0" y="0"/>
                  </a:cubicBezTo>
                  <a:lnTo>
                    <a:pt x="217539" y="0"/>
                  </a:lnTo>
                  <a:lnTo>
                    <a:pt x="435077" y="0"/>
                  </a:lnTo>
                  <a:cubicBezTo>
                    <a:pt x="435077" y="57702"/>
                    <a:pt x="412154" y="113039"/>
                    <a:pt x="371339" y="153827"/>
                  </a:cubicBezTo>
                  <a:cubicBezTo>
                    <a:pt x="330550" y="194642"/>
                    <a:pt x="275213" y="217539"/>
                    <a:pt x="217539" y="217539"/>
                  </a:cubicBezTo>
                  <a:cubicBezTo>
                    <a:pt x="159836" y="217539"/>
                    <a:pt x="104499" y="194642"/>
                    <a:pt x="63710" y="153827"/>
                  </a:cubicBezTo>
                  <a:close/>
                  <a:moveTo>
                    <a:pt x="63710" y="281277"/>
                  </a:moveTo>
                  <a:cubicBezTo>
                    <a:pt x="22895" y="322066"/>
                    <a:pt x="0" y="377402"/>
                    <a:pt x="0" y="435077"/>
                  </a:cubicBezTo>
                  <a:lnTo>
                    <a:pt x="217539" y="435077"/>
                  </a:lnTo>
                  <a:lnTo>
                    <a:pt x="435077" y="435077"/>
                  </a:lnTo>
                  <a:cubicBezTo>
                    <a:pt x="435077" y="377402"/>
                    <a:pt x="412154" y="322066"/>
                    <a:pt x="371339" y="281277"/>
                  </a:cubicBezTo>
                  <a:cubicBezTo>
                    <a:pt x="330550" y="240462"/>
                    <a:pt x="275213" y="217539"/>
                    <a:pt x="217539" y="217539"/>
                  </a:cubicBezTo>
                  <a:cubicBezTo>
                    <a:pt x="159836" y="217539"/>
                    <a:pt x="104499" y="240462"/>
                    <a:pt x="63710" y="281277"/>
                  </a:cubicBezTo>
                  <a:close/>
                </a:path>
              </a:pathLst>
            </a:custGeom>
            <a:grpFill/>
            <a:ln w="27192" cap="flat">
              <a:noFill/>
              <a:prstDash val="solid"/>
              <a:miter/>
            </a:ln>
          </p:spPr>
          <p:txBody>
            <a:bodyPr rtlCol="0" anchor="ctr"/>
            <a:lstStyle/>
            <a:p>
              <a:endParaRPr lang="uk-UA" sz="900">
                <a:solidFill>
                  <a:schemeClr val="bg1"/>
                </a:solidFill>
              </a:endParaRPr>
            </a:p>
          </p:txBody>
        </p:sp>
        <p:sp>
          <p:nvSpPr>
            <p:cNvPr id="345" name="Freeform: Shape 344">
              <a:extLst>
                <a:ext uri="{FF2B5EF4-FFF2-40B4-BE49-F238E27FC236}">
                  <a16:creationId xmlns:a16="http://schemas.microsoft.com/office/drawing/2014/main" id="{ED3CA553-41D3-18B7-9C51-F61A4332304C}"/>
                </a:ext>
              </a:extLst>
            </p:cNvPr>
            <p:cNvSpPr/>
            <p:nvPr/>
          </p:nvSpPr>
          <p:spPr>
            <a:xfrm>
              <a:off x="18239029" y="9800303"/>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46" name="Freeform: Shape 345">
              <a:extLst>
                <a:ext uri="{FF2B5EF4-FFF2-40B4-BE49-F238E27FC236}">
                  <a16:creationId xmlns:a16="http://schemas.microsoft.com/office/drawing/2014/main" id="{B8DDF294-C87E-629E-50DE-9E2A35C85788}"/>
                </a:ext>
              </a:extLst>
            </p:cNvPr>
            <p:cNvSpPr/>
            <p:nvPr/>
          </p:nvSpPr>
          <p:spPr>
            <a:xfrm>
              <a:off x="17368874" y="980030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0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10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0" y="217539"/>
                  </a:lnTo>
                  <a:lnTo>
                    <a:pt x="0" y="217539"/>
                  </a:lnTo>
                  <a:close/>
                  <a:moveTo>
                    <a:pt x="0" y="435077"/>
                  </a:moveTo>
                  <a:lnTo>
                    <a:pt x="0" y="217566"/>
                  </a:lnTo>
                  <a:lnTo>
                    <a:pt x="217510"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47" name="Freeform: Shape 346">
              <a:extLst>
                <a:ext uri="{FF2B5EF4-FFF2-40B4-BE49-F238E27FC236}">
                  <a16:creationId xmlns:a16="http://schemas.microsoft.com/office/drawing/2014/main" id="{590226C7-E094-BF47-3FF3-8117315C8EEC}"/>
                </a:ext>
              </a:extLst>
            </p:cNvPr>
            <p:cNvSpPr/>
            <p:nvPr/>
          </p:nvSpPr>
          <p:spPr>
            <a:xfrm>
              <a:off x="19109210" y="9800303"/>
              <a:ext cx="435077" cy="435077"/>
            </a:xfrm>
            <a:custGeom>
              <a:avLst/>
              <a:gdLst>
                <a:gd name="connsiteX0" fmla="*/ 435077 w 435077"/>
                <a:gd name="connsiteY0" fmla="*/ 435077 h 435077"/>
                <a:gd name="connsiteX1" fmla="*/ 435077 w 435077"/>
                <a:gd name="connsiteY1" fmla="*/ 0 h 435077"/>
                <a:gd name="connsiteX2" fmla="*/ 217539 w 435077"/>
                <a:gd name="connsiteY2" fmla="*/ 217566 h 435077"/>
                <a:gd name="connsiteX3" fmla="*/ 435077 w 435077"/>
                <a:gd name="connsiteY3" fmla="*/ 435077 h 435077"/>
                <a:gd name="connsiteX4" fmla="*/ 0 w 435077"/>
                <a:gd name="connsiteY4" fmla="*/ 435077 h 435077"/>
                <a:gd name="connsiteX5" fmla="*/ 0 w 435077"/>
                <a:gd name="connsiteY5" fmla="*/ 0 h 435077"/>
                <a:gd name="connsiteX6" fmla="*/ 217512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66"/>
                  </a:lnTo>
                  <a:lnTo>
                    <a:pt x="435077" y="435077"/>
                  </a:lnTo>
                  <a:close/>
                  <a:moveTo>
                    <a:pt x="0" y="435077"/>
                  </a:moveTo>
                  <a:lnTo>
                    <a:pt x="0" y="0"/>
                  </a:lnTo>
                  <a:lnTo>
                    <a:pt x="217512"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48" name="Freeform: Shape 347">
              <a:extLst>
                <a:ext uri="{FF2B5EF4-FFF2-40B4-BE49-F238E27FC236}">
                  <a16:creationId xmlns:a16="http://schemas.microsoft.com/office/drawing/2014/main" id="{B0A0B840-C082-DABF-7FF8-1B3263317A1D}"/>
                </a:ext>
              </a:extLst>
            </p:cNvPr>
            <p:cNvSpPr/>
            <p:nvPr/>
          </p:nvSpPr>
          <p:spPr>
            <a:xfrm>
              <a:off x="19979365" y="980030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4" y="113039"/>
                    <a:pt x="371365" y="153827"/>
                  </a:cubicBezTo>
                  <a:cubicBezTo>
                    <a:pt x="330550" y="194642"/>
                    <a:pt x="275241" y="217539"/>
                    <a:pt x="217539" y="217539"/>
                  </a:cubicBezTo>
                  <a:cubicBezTo>
                    <a:pt x="159836"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4" y="322066"/>
                    <a:pt x="371365" y="281277"/>
                  </a:cubicBezTo>
                  <a:cubicBezTo>
                    <a:pt x="330550" y="240462"/>
                    <a:pt x="275241" y="217539"/>
                    <a:pt x="217539" y="217539"/>
                  </a:cubicBezTo>
                  <a:cubicBezTo>
                    <a:pt x="159836" y="217539"/>
                    <a:pt x="104501" y="240462"/>
                    <a:pt x="63712" y="281277"/>
                  </a:cubicBezTo>
                  <a:close/>
                </a:path>
              </a:pathLst>
            </a:custGeom>
            <a:grpFill/>
            <a:ln w="27192" cap="flat">
              <a:noFill/>
              <a:prstDash val="solid"/>
              <a:miter/>
            </a:ln>
          </p:spPr>
          <p:txBody>
            <a:bodyPr rtlCol="0" anchor="ctr"/>
            <a:lstStyle/>
            <a:p>
              <a:endParaRPr lang="uk-UA" sz="900">
                <a:solidFill>
                  <a:schemeClr val="bg1"/>
                </a:solidFill>
              </a:endParaRPr>
            </a:p>
          </p:txBody>
        </p:sp>
        <p:sp>
          <p:nvSpPr>
            <p:cNvPr id="349" name="Freeform: Shape 348">
              <a:extLst>
                <a:ext uri="{FF2B5EF4-FFF2-40B4-BE49-F238E27FC236}">
                  <a16:creationId xmlns:a16="http://schemas.microsoft.com/office/drawing/2014/main" id="{C858F33C-0103-5971-5CA1-781AAE593C57}"/>
                </a:ext>
              </a:extLst>
            </p:cNvPr>
            <p:cNvSpPr/>
            <p:nvPr/>
          </p:nvSpPr>
          <p:spPr>
            <a:xfrm>
              <a:off x="21719702" y="9800303"/>
              <a:ext cx="435077" cy="435077"/>
            </a:xfrm>
            <a:custGeom>
              <a:avLst/>
              <a:gdLst>
                <a:gd name="connsiteX0" fmla="*/ 0 w 435077"/>
                <a:gd name="connsiteY0" fmla="*/ 435077 h 435077"/>
                <a:gd name="connsiteX1" fmla="*/ 0 w 435077"/>
                <a:gd name="connsiteY1" fmla="*/ 0 h 435077"/>
                <a:gd name="connsiteX2" fmla="*/ 217512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12"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50" name="Freeform: Shape 349">
              <a:extLst>
                <a:ext uri="{FF2B5EF4-FFF2-40B4-BE49-F238E27FC236}">
                  <a16:creationId xmlns:a16="http://schemas.microsoft.com/office/drawing/2014/main" id="{DCC021A4-18C0-4C61-D047-02DFD33E428C}"/>
                </a:ext>
              </a:extLst>
            </p:cNvPr>
            <p:cNvSpPr/>
            <p:nvPr/>
          </p:nvSpPr>
          <p:spPr>
            <a:xfrm>
              <a:off x="20849520" y="980030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5 w 435077"/>
                <a:gd name="connsiteY3" fmla="*/ 27 h 435077"/>
                <a:gd name="connsiteX4" fmla="*/ 435077 w 435077"/>
                <a:gd name="connsiteY4" fmla="*/ 217566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5" y="27"/>
                  </a:lnTo>
                  <a:lnTo>
                    <a:pt x="435077" y="217566"/>
                  </a:lnTo>
                  <a:lnTo>
                    <a:pt x="217565"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51" name="Freeform: Shape 350">
              <a:extLst>
                <a:ext uri="{FF2B5EF4-FFF2-40B4-BE49-F238E27FC236}">
                  <a16:creationId xmlns:a16="http://schemas.microsoft.com/office/drawing/2014/main" id="{AC1C2F0D-5358-CCC4-84BF-703BF93ACCF0}"/>
                </a:ext>
              </a:extLst>
            </p:cNvPr>
            <p:cNvSpPr/>
            <p:nvPr/>
          </p:nvSpPr>
          <p:spPr>
            <a:xfrm>
              <a:off x="22589856" y="9800303"/>
              <a:ext cx="435077" cy="435077"/>
            </a:xfrm>
            <a:custGeom>
              <a:avLst/>
              <a:gdLst>
                <a:gd name="connsiteX0" fmla="*/ 435077 w 435077"/>
                <a:gd name="connsiteY0" fmla="*/ 435077 h 435077"/>
                <a:gd name="connsiteX1" fmla="*/ 435077 w 435077"/>
                <a:gd name="connsiteY1" fmla="*/ 0 h 435077"/>
                <a:gd name="connsiteX2" fmla="*/ 217567 w 435077"/>
                <a:gd name="connsiteY2" fmla="*/ 217566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7" y="217566"/>
                  </a:lnTo>
                  <a:lnTo>
                    <a:pt x="435077" y="435077"/>
                  </a:lnTo>
                  <a:close/>
                  <a:moveTo>
                    <a:pt x="0" y="435077"/>
                  </a:moveTo>
                  <a:lnTo>
                    <a:pt x="0" y="0"/>
                  </a:lnTo>
                  <a:lnTo>
                    <a:pt x="217539"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52" name="Freeform: Shape 351">
              <a:extLst>
                <a:ext uri="{FF2B5EF4-FFF2-40B4-BE49-F238E27FC236}">
                  <a16:creationId xmlns:a16="http://schemas.microsoft.com/office/drawing/2014/main" id="{05E7F346-6A11-55E7-0A56-28D28986937F}"/>
                </a:ext>
              </a:extLst>
            </p:cNvPr>
            <p:cNvSpPr/>
            <p:nvPr/>
          </p:nvSpPr>
          <p:spPr>
            <a:xfrm>
              <a:off x="23460039" y="980030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895" y="113039"/>
                    <a:pt x="0" y="57702"/>
                    <a:pt x="0" y="0"/>
                  </a:cubicBezTo>
                  <a:lnTo>
                    <a:pt x="217539" y="0"/>
                  </a:lnTo>
                  <a:lnTo>
                    <a:pt x="435077" y="0"/>
                  </a:lnTo>
                  <a:cubicBezTo>
                    <a:pt x="435077" y="57702"/>
                    <a:pt x="412154" y="113039"/>
                    <a:pt x="371339" y="153827"/>
                  </a:cubicBezTo>
                  <a:cubicBezTo>
                    <a:pt x="330550" y="194642"/>
                    <a:pt x="275213" y="217539"/>
                    <a:pt x="217539" y="217539"/>
                  </a:cubicBezTo>
                  <a:cubicBezTo>
                    <a:pt x="159836" y="217539"/>
                    <a:pt x="104501" y="194642"/>
                    <a:pt x="63712" y="153827"/>
                  </a:cubicBezTo>
                  <a:close/>
                  <a:moveTo>
                    <a:pt x="63712" y="281277"/>
                  </a:moveTo>
                  <a:cubicBezTo>
                    <a:pt x="22895" y="322066"/>
                    <a:pt x="0" y="377402"/>
                    <a:pt x="0" y="435077"/>
                  </a:cubicBezTo>
                  <a:lnTo>
                    <a:pt x="217539" y="435077"/>
                  </a:lnTo>
                  <a:lnTo>
                    <a:pt x="435077" y="435077"/>
                  </a:lnTo>
                  <a:cubicBezTo>
                    <a:pt x="435077" y="377402"/>
                    <a:pt x="412154" y="322066"/>
                    <a:pt x="371339" y="281277"/>
                  </a:cubicBezTo>
                  <a:cubicBezTo>
                    <a:pt x="330550" y="240462"/>
                    <a:pt x="275213" y="217539"/>
                    <a:pt x="217539" y="217539"/>
                  </a:cubicBezTo>
                  <a:cubicBezTo>
                    <a:pt x="159836" y="217539"/>
                    <a:pt x="104501" y="240462"/>
                    <a:pt x="63712" y="281277"/>
                  </a:cubicBezTo>
                  <a:close/>
                </a:path>
              </a:pathLst>
            </a:custGeom>
            <a:grpFill/>
            <a:ln w="27192" cap="flat">
              <a:noFill/>
              <a:prstDash val="solid"/>
              <a:miter/>
            </a:ln>
          </p:spPr>
          <p:txBody>
            <a:bodyPr rtlCol="0" anchor="ctr"/>
            <a:lstStyle/>
            <a:p>
              <a:endParaRPr lang="uk-UA" sz="900">
                <a:solidFill>
                  <a:schemeClr val="bg1"/>
                </a:solidFill>
              </a:endParaRPr>
            </a:p>
          </p:txBody>
        </p:sp>
        <p:sp>
          <p:nvSpPr>
            <p:cNvPr id="353" name="Freeform: Shape 352">
              <a:extLst>
                <a:ext uri="{FF2B5EF4-FFF2-40B4-BE49-F238E27FC236}">
                  <a16:creationId xmlns:a16="http://schemas.microsoft.com/office/drawing/2014/main" id="{29F7E3A9-8FE0-A661-D291-6CF50D1B6CF4}"/>
                </a:ext>
              </a:extLst>
            </p:cNvPr>
            <p:cNvSpPr/>
            <p:nvPr/>
          </p:nvSpPr>
          <p:spPr>
            <a:xfrm>
              <a:off x="24330194" y="980030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54" name="Freeform: Shape 353">
              <a:extLst>
                <a:ext uri="{FF2B5EF4-FFF2-40B4-BE49-F238E27FC236}">
                  <a16:creationId xmlns:a16="http://schemas.microsoft.com/office/drawing/2014/main" id="{63E1A72E-93D4-468D-6891-4C6355D21BAF}"/>
                </a:ext>
              </a:extLst>
            </p:cNvPr>
            <p:cNvSpPr/>
            <p:nvPr/>
          </p:nvSpPr>
          <p:spPr>
            <a:xfrm>
              <a:off x="835742" y="1067045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355" name="Freeform: Shape 354">
              <a:extLst>
                <a:ext uri="{FF2B5EF4-FFF2-40B4-BE49-F238E27FC236}">
                  <a16:creationId xmlns:a16="http://schemas.microsoft.com/office/drawing/2014/main" id="{0373C252-F76A-186E-45AE-8D09D50E1551}"/>
                </a:ext>
              </a:extLst>
            </p:cNvPr>
            <p:cNvSpPr/>
            <p:nvPr/>
          </p:nvSpPr>
          <p:spPr>
            <a:xfrm>
              <a:off x="-34407" y="10670458"/>
              <a:ext cx="435072" cy="435077"/>
            </a:xfrm>
            <a:custGeom>
              <a:avLst/>
              <a:gdLst>
                <a:gd name="connsiteX0" fmla="*/ 371360 w 435072"/>
                <a:gd name="connsiteY0" fmla="*/ 63739 h 435077"/>
                <a:gd name="connsiteX1" fmla="*/ 435072 w 435072"/>
                <a:gd name="connsiteY1" fmla="*/ 217539 h 435077"/>
                <a:gd name="connsiteX2" fmla="*/ 217724 w 435072"/>
                <a:gd name="connsiteY2" fmla="*/ 217539 h 435077"/>
                <a:gd name="connsiteX3" fmla="*/ 371360 w 435072"/>
                <a:gd name="connsiteY3" fmla="*/ 281277 h 435077"/>
                <a:gd name="connsiteX4" fmla="*/ 435072 w 435072"/>
                <a:gd name="connsiteY4" fmla="*/ 435077 h 435077"/>
                <a:gd name="connsiteX5" fmla="*/ 217533 w 435072"/>
                <a:gd name="connsiteY5" fmla="*/ 435077 h 435077"/>
                <a:gd name="connsiteX6" fmla="*/ 5 w 435072"/>
                <a:gd name="connsiteY6" fmla="*/ 435077 h 435077"/>
                <a:gd name="connsiteX7" fmla="*/ 63720 w 435072"/>
                <a:gd name="connsiteY7" fmla="*/ 281277 h 435077"/>
                <a:gd name="connsiteX8" fmla="*/ 217370 w 435072"/>
                <a:gd name="connsiteY8" fmla="*/ 217539 h 435077"/>
                <a:gd name="connsiteX9" fmla="*/ 0 w 435072"/>
                <a:gd name="connsiteY9" fmla="*/ 217539 h 435077"/>
                <a:gd name="connsiteX10" fmla="*/ 63717 w 435072"/>
                <a:gd name="connsiteY10" fmla="*/ 63739 h 435077"/>
                <a:gd name="connsiteX11" fmla="*/ 217533 w 435072"/>
                <a:gd name="connsiteY11" fmla="*/ 0 h 435077"/>
                <a:gd name="connsiteX12" fmla="*/ 371360 w 435072"/>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2" h="435077">
                  <a:moveTo>
                    <a:pt x="371360" y="63739"/>
                  </a:moveTo>
                  <a:cubicBezTo>
                    <a:pt x="412149" y="104527"/>
                    <a:pt x="435072" y="159864"/>
                    <a:pt x="435072" y="217539"/>
                  </a:cubicBezTo>
                  <a:lnTo>
                    <a:pt x="217724" y="217539"/>
                  </a:lnTo>
                  <a:cubicBezTo>
                    <a:pt x="275344" y="217593"/>
                    <a:pt x="330599" y="240516"/>
                    <a:pt x="371360" y="281277"/>
                  </a:cubicBezTo>
                  <a:cubicBezTo>
                    <a:pt x="412176" y="322066"/>
                    <a:pt x="435072" y="377402"/>
                    <a:pt x="435072" y="435077"/>
                  </a:cubicBezTo>
                  <a:lnTo>
                    <a:pt x="217533" y="435077"/>
                  </a:lnTo>
                  <a:lnTo>
                    <a:pt x="5" y="435077"/>
                  </a:lnTo>
                  <a:cubicBezTo>
                    <a:pt x="5" y="377402"/>
                    <a:pt x="22923" y="322066"/>
                    <a:pt x="63720" y="281277"/>
                  </a:cubicBezTo>
                  <a:cubicBezTo>
                    <a:pt x="104476" y="240516"/>
                    <a:pt x="159750" y="217593"/>
                    <a:pt x="217370" y="217539"/>
                  </a:cubicBezTo>
                  <a:lnTo>
                    <a:pt x="0" y="217539"/>
                  </a:lnTo>
                  <a:cubicBezTo>
                    <a:pt x="0" y="159864"/>
                    <a:pt x="22921" y="104527"/>
                    <a:pt x="63717" y="63739"/>
                  </a:cubicBezTo>
                  <a:cubicBezTo>
                    <a:pt x="104514" y="22923"/>
                    <a:pt x="159858" y="0"/>
                    <a:pt x="217533" y="0"/>
                  </a:cubicBezTo>
                  <a:cubicBezTo>
                    <a:pt x="275236" y="0"/>
                    <a:pt x="330572" y="22923"/>
                    <a:pt x="371360" y="63739"/>
                  </a:cubicBezTo>
                  <a:close/>
                </a:path>
              </a:pathLst>
            </a:custGeom>
            <a:grpFill/>
            <a:ln w="27192" cap="flat">
              <a:noFill/>
              <a:prstDash val="solid"/>
              <a:miter/>
            </a:ln>
          </p:spPr>
          <p:txBody>
            <a:bodyPr rtlCol="0" anchor="ctr"/>
            <a:lstStyle/>
            <a:p>
              <a:endParaRPr lang="uk-UA" sz="900">
                <a:solidFill>
                  <a:schemeClr val="bg1"/>
                </a:solidFill>
              </a:endParaRPr>
            </a:p>
          </p:txBody>
        </p:sp>
        <p:sp>
          <p:nvSpPr>
            <p:cNvPr id="356" name="Freeform: Shape 355">
              <a:extLst>
                <a:ext uri="{FF2B5EF4-FFF2-40B4-BE49-F238E27FC236}">
                  <a16:creationId xmlns:a16="http://schemas.microsoft.com/office/drawing/2014/main" id="{6684C527-079A-19B7-A09D-CA0C03964420}"/>
                </a:ext>
              </a:extLst>
            </p:cNvPr>
            <p:cNvSpPr/>
            <p:nvPr/>
          </p:nvSpPr>
          <p:spPr>
            <a:xfrm>
              <a:off x="1705924" y="1067045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solidFill>
                  <a:schemeClr val="bg1"/>
                </a:solidFill>
              </a:endParaRPr>
            </a:p>
          </p:txBody>
        </p:sp>
        <p:sp>
          <p:nvSpPr>
            <p:cNvPr id="357" name="Freeform: Shape 356">
              <a:extLst>
                <a:ext uri="{FF2B5EF4-FFF2-40B4-BE49-F238E27FC236}">
                  <a16:creationId xmlns:a16="http://schemas.microsoft.com/office/drawing/2014/main" id="{4B5C2571-CB05-0493-AEF4-2273B08E4E97}"/>
                </a:ext>
              </a:extLst>
            </p:cNvPr>
            <p:cNvSpPr/>
            <p:nvPr/>
          </p:nvSpPr>
          <p:spPr>
            <a:xfrm>
              <a:off x="2576079" y="10670458"/>
              <a:ext cx="435104" cy="435077"/>
            </a:xfrm>
            <a:custGeom>
              <a:avLst/>
              <a:gdLst>
                <a:gd name="connsiteX0" fmla="*/ 217539 w 435104"/>
                <a:gd name="connsiteY0" fmla="*/ 0 h 435077"/>
                <a:gd name="connsiteX1" fmla="*/ 0 w 435104"/>
                <a:gd name="connsiteY1" fmla="*/ 0 h 435077"/>
                <a:gd name="connsiteX2" fmla="*/ 0 w 435104"/>
                <a:gd name="connsiteY2" fmla="*/ 217539 h 435077"/>
                <a:gd name="connsiteX3" fmla="*/ 217539 w 435104"/>
                <a:gd name="connsiteY3" fmla="*/ 0 h 435077"/>
                <a:gd name="connsiteX4" fmla="*/ 435104 w 435104"/>
                <a:gd name="connsiteY4" fmla="*/ 0 h 435077"/>
                <a:gd name="connsiteX5" fmla="*/ 435104 w 435104"/>
                <a:gd name="connsiteY5" fmla="*/ 217539 h 435077"/>
                <a:gd name="connsiteX6" fmla="*/ 217566 w 435104"/>
                <a:gd name="connsiteY6" fmla="*/ 0 h 435077"/>
                <a:gd name="connsiteX7" fmla="*/ 435104 w 435104"/>
                <a:gd name="connsiteY7" fmla="*/ 0 h 435077"/>
                <a:gd name="connsiteX8" fmla="*/ 217566 w 435104"/>
                <a:gd name="connsiteY8" fmla="*/ 435077 h 435077"/>
                <a:gd name="connsiteX9" fmla="*/ 435104 w 435104"/>
                <a:gd name="connsiteY9" fmla="*/ 217539 h 435077"/>
                <a:gd name="connsiteX10" fmla="*/ 435104 w 435104"/>
                <a:gd name="connsiteY10" fmla="*/ 435077 h 435077"/>
                <a:gd name="connsiteX11" fmla="*/ 217566 w 435104"/>
                <a:gd name="connsiteY11" fmla="*/ 435077 h 435077"/>
                <a:gd name="connsiteX12" fmla="*/ 217566 w 435104"/>
                <a:gd name="connsiteY12" fmla="*/ 435077 h 435077"/>
                <a:gd name="connsiteX13" fmla="*/ 27 w 435104"/>
                <a:gd name="connsiteY13" fmla="*/ 217539 h 435077"/>
                <a:gd name="connsiteX14" fmla="*/ 27 w 435104"/>
                <a:gd name="connsiteY14" fmla="*/ 435077 h 435077"/>
                <a:gd name="connsiteX15" fmla="*/ 217566 w 435104"/>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4" h="435077">
                  <a:moveTo>
                    <a:pt x="217539" y="0"/>
                  </a:moveTo>
                  <a:lnTo>
                    <a:pt x="0" y="0"/>
                  </a:lnTo>
                  <a:lnTo>
                    <a:pt x="0" y="217539"/>
                  </a:lnTo>
                  <a:lnTo>
                    <a:pt x="217539" y="0"/>
                  </a:lnTo>
                  <a:close/>
                  <a:moveTo>
                    <a:pt x="435104" y="0"/>
                  </a:moveTo>
                  <a:lnTo>
                    <a:pt x="435104" y="217539"/>
                  </a:lnTo>
                  <a:lnTo>
                    <a:pt x="217566" y="0"/>
                  </a:lnTo>
                  <a:lnTo>
                    <a:pt x="435104" y="0"/>
                  </a:lnTo>
                  <a:close/>
                  <a:moveTo>
                    <a:pt x="217566" y="435077"/>
                  </a:moveTo>
                  <a:lnTo>
                    <a:pt x="435104" y="217539"/>
                  </a:lnTo>
                  <a:lnTo>
                    <a:pt x="435104" y="435077"/>
                  </a:lnTo>
                  <a:lnTo>
                    <a:pt x="217566" y="435077"/>
                  </a:lnTo>
                  <a:close/>
                  <a:moveTo>
                    <a:pt x="217566" y="435077"/>
                  </a:moveTo>
                  <a:lnTo>
                    <a:pt x="27" y="217539"/>
                  </a:lnTo>
                  <a:lnTo>
                    <a:pt x="27" y="435077"/>
                  </a:lnTo>
                  <a:lnTo>
                    <a:pt x="217566"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58" name="Freeform: Shape 357">
              <a:extLst>
                <a:ext uri="{FF2B5EF4-FFF2-40B4-BE49-F238E27FC236}">
                  <a16:creationId xmlns:a16="http://schemas.microsoft.com/office/drawing/2014/main" id="{C765200D-2085-CCF8-07A6-7F40F1F9FD50}"/>
                </a:ext>
              </a:extLst>
            </p:cNvPr>
            <p:cNvSpPr/>
            <p:nvPr/>
          </p:nvSpPr>
          <p:spPr>
            <a:xfrm>
              <a:off x="4316416" y="1067045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359" name="Freeform: Shape 358">
              <a:extLst>
                <a:ext uri="{FF2B5EF4-FFF2-40B4-BE49-F238E27FC236}">
                  <a16:creationId xmlns:a16="http://schemas.microsoft.com/office/drawing/2014/main" id="{EA6B9719-5C69-8167-2450-FC9D508DDF11}"/>
                </a:ext>
              </a:extLst>
            </p:cNvPr>
            <p:cNvSpPr/>
            <p:nvPr/>
          </p:nvSpPr>
          <p:spPr>
            <a:xfrm>
              <a:off x="3446261" y="10670458"/>
              <a:ext cx="435077" cy="435077"/>
            </a:xfrm>
            <a:custGeom>
              <a:avLst/>
              <a:gdLst>
                <a:gd name="connsiteX0" fmla="*/ 371366 w 435077"/>
                <a:gd name="connsiteY0" fmla="*/ 63739 h 435077"/>
                <a:gd name="connsiteX1" fmla="*/ 435077 w 435077"/>
                <a:gd name="connsiteY1" fmla="*/ 217539 h 435077"/>
                <a:gd name="connsiteX2" fmla="*/ 217702 w 435077"/>
                <a:gd name="connsiteY2" fmla="*/ 217539 h 435077"/>
                <a:gd name="connsiteX3" fmla="*/ 371366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6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39"/>
                  </a:moveTo>
                  <a:cubicBezTo>
                    <a:pt x="412154" y="104527"/>
                    <a:pt x="435077" y="159864"/>
                    <a:pt x="435077" y="217539"/>
                  </a:cubicBezTo>
                  <a:lnTo>
                    <a:pt x="217702" y="217539"/>
                  </a:lnTo>
                  <a:cubicBezTo>
                    <a:pt x="275350" y="217593"/>
                    <a:pt x="330605" y="240516"/>
                    <a:pt x="371366" y="281277"/>
                  </a:cubicBezTo>
                  <a:cubicBezTo>
                    <a:pt x="412154" y="322066"/>
                    <a:pt x="435077" y="377402"/>
                    <a:pt x="435077" y="435077"/>
                  </a:cubicBezTo>
                  <a:lnTo>
                    <a:pt x="217539" y="435077"/>
                  </a:lnTo>
                  <a:lnTo>
                    <a:pt x="0" y="435077"/>
                  </a:lnTo>
                  <a:cubicBezTo>
                    <a:pt x="0" y="377402"/>
                    <a:pt x="22923" y="322066"/>
                    <a:pt x="63712" y="281277"/>
                  </a:cubicBezTo>
                  <a:cubicBezTo>
                    <a:pt x="104473" y="240516"/>
                    <a:pt x="159728" y="217593"/>
                    <a:pt x="217376" y="217539"/>
                  </a:cubicBezTo>
                  <a:lnTo>
                    <a:pt x="0" y="217539"/>
                  </a:lnTo>
                  <a:cubicBezTo>
                    <a:pt x="0" y="159864"/>
                    <a:pt x="22923" y="104527"/>
                    <a:pt x="63712" y="63739"/>
                  </a:cubicBezTo>
                  <a:cubicBezTo>
                    <a:pt x="104500" y="22923"/>
                    <a:pt x="159837" y="0"/>
                    <a:pt x="217539" y="0"/>
                  </a:cubicBezTo>
                  <a:cubicBezTo>
                    <a:pt x="275241" y="0"/>
                    <a:pt x="330577" y="22923"/>
                    <a:pt x="371366" y="63739"/>
                  </a:cubicBezTo>
                  <a:close/>
                </a:path>
              </a:pathLst>
            </a:custGeom>
            <a:grpFill/>
            <a:ln w="27192" cap="flat">
              <a:noFill/>
              <a:prstDash val="solid"/>
              <a:miter/>
            </a:ln>
          </p:spPr>
          <p:txBody>
            <a:bodyPr rtlCol="0" anchor="ctr"/>
            <a:lstStyle/>
            <a:p>
              <a:endParaRPr lang="uk-UA" sz="900">
                <a:solidFill>
                  <a:schemeClr val="bg1"/>
                </a:solidFill>
              </a:endParaRPr>
            </a:p>
          </p:txBody>
        </p:sp>
        <p:sp>
          <p:nvSpPr>
            <p:cNvPr id="360" name="Freeform: Shape 359">
              <a:extLst>
                <a:ext uri="{FF2B5EF4-FFF2-40B4-BE49-F238E27FC236}">
                  <a16:creationId xmlns:a16="http://schemas.microsoft.com/office/drawing/2014/main" id="{0A19EC82-7F1D-1707-60BA-E7145185319B}"/>
                </a:ext>
              </a:extLst>
            </p:cNvPr>
            <p:cNvSpPr/>
            <p:nvPr/>
          </p:nvSpPr>
          <p:spPr>
            <a:xfrm>
              <a:off x="5186597" y="10670458"/>
              <a:ext cx="435077" cy="435104"/>
            </a:xfrm>
            <a:custGeom>
              <a:avLst/>
              <a:gdLst>
                <a:gd name="connsiteX0" fmla="*/ 0 w 435077"/>
                <a:gd name="connsiteY0" fmla="*/ 435077 h 435104"/>
                <a:gd name="connsiteX1" fmla="*/ 217512 w 435077"/>
                <a:gd name="connsiteY1" fmla="*/ 435077 h 435104"/>
                <a:gd name="connsiteX2" fmla="*/ 217512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12" y="435077"/>
                  </a:lnTo>
                  <a:lnTo>
                    <a:pt x="217512"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solidFill>
                  <a:schemeClr val="bg1"/>
                </a:solidFill>
              </a:endParaRPr>
            </a:p>
          </p:txBody>
        </p:sp>
        <p:sp>
          <p:nvSpPr>
            <p:cNvPr id="361" name="Freeform: Shape 360">
              <a:extLst>
                <a:ext uri="{FF2B5EF4-FFF2-40B4-BE49-F238E27FC236}">
                  <a16:creationId xmlns:a16="http://schemas.microsoft.com/office/drawing/2014/main" id="{CAA49BD4-0FCB-5FC9-DE74-64335CA8222C}"/>
                </a:ext>
              </a:extLst>
            </p:cNvPr>
            <p:cNvSpPr/>
            <p:nvPr/>
          </p:nvSpPr>
          <p:spPr>
            <a:xfrm>
              <a:off x="6056752" y="10670458"/>
              <a:ext cx="435077" cy="435077"/>
            </a:xfrm>
            <a:custGeom>
              <a:avLst/>
              <a:gdLst>
                <a:gd name="connsiteX0" fmla="*/ 217539 w 435077"/>
                <a:gd name="connsiteY0" fmla="*/ 0 h 435077"/>
                <a:gd name="connsiteX1" fmla="*/ 217539 w 435077"/>
                <a:gd name="connsiteY1" fmla="*/ 0 h 435077"/>
                <a:gd name="connsiteX2" fmla="*/ 0 w 435077"/>
                <a:gd name="connsiteY2" fmla="*/ 0 h 435077"/>
                <a:gd name="connsiteX3" fmla="*/ 0 w 435077"/>
                <a:gd name="connsiteY3" fmla="*/ 217539 h 435077"/>
                <a:gd name="connsiteX4" fmla="*/ 217539 w 435077"/>
                <a:gd name="connsiteY4" fmla="*/ 27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217539" y="0"/>
                  </a:lnTo>
                  <a:lnTo>
                    <a:pt x="0" y="0"/>
                  </a:lnTo>
                  <a:lnTo>
                    <a:pt x="0" y="217539"/>
                  </a:lnTo>
                  <a:lnTo>
                    <a:pt x="217539" y="27"/>
                  </a:lnTo>
                  <a:lnTo>
                    <a:pt x="435077" y="217539"/>
                  </a:lnTo>
                  <a:lnTo>
                    <a:pt x="217539" y="435077"/>
                  </a:lnTo>
                  <a:lnTo>
                    <a:pt x="0" y="217539"/>
                  </a:lnTo>
                  <a:lnTo>
                    <a:pt x="0" y="435077"/>
                  </a:lnTo>
                  <a:lnTo>
                    <a:pt x="217539" y="435077"/>
                  </a:lnTo>
                  <a:lnTo>
                    <a:pt x="435077" y="435077"/>
                  </a:lnTo>
                  <a:lnTo>
                    <a:pt x="435077" y="217539"/>
                  </a:lnTo>
                  <a:lnTo>
                    <a:pt x="435077" y="0"/>
                  </a:lnTo>
                  <a:lnTo>
                    <a:pt x="217539" y="0"/>
                  </a:lnTo>
                  <a:close/>
                </a:path>
              </a:pathLst>
            </a:custGeom>
            <a:grpFill/>
            <a:ln w="27192" cap="flat">
              <a:noFill/>
              <a:prstDash val="solid"/>
              <a:miter/>
            </a:ln>
          </p:spPr>
          <p:txBody>
            <a:bodyPr rtlCol="0" anchor="ctr"/>
            <a:lstStyle/>
            <a:p>
              <a:endParaRPr lang="uk-UA" sz="900">
                <a:solidFill>
                  <a:schemeClr val="bg1"/>
                </a:solidFill>
              </a:endParaRPr>
            </a:p>
          </p:txBody>
        </p:sp>
        <p:sp>
          <p:nvSpPr>
            <p:cNvPr id="362" name="Freeform: Shape 361">
              <a:extLst>
                <a:ext uri="{FF2B5EF4-FFF2-40B4-BE49-F238E27FC236}">
                  <a16:creationId xmlns:a16="http://schemas.microsoft.com/office/drawing/2014/main" id="{D2A851E8-28C3-0136-F57B-51CE0CEC9D5E}"/>
                </a:ext>
              </a:extLst>
            </p:cNvPr>
            <p:cNvSpPr/>
            <p:nvPr/>
          </p:nvSpPr>
          <p:spPr>
            <a:xfrm>
              <a:off x="7797062" y="10670458"/>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27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66 h 435077"/>
                <a:gd name="connsiteX9" fmla="*/ 435077 w 435077"/>
                <a:gd name="connsiteY9" fmla="*/ 217566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27"/>
                  </a:lnTo>
                  <a:lnTo>
                    <a:pt x="435077" y="217539"/>
                  </a:lnTo>
                  <a:lnTo>
                    <a:pt x="435077" y="217539"/>
                  </a:lnTo>
                  <a:lnTo>
                    <a:pt x="435077" y="217539"/>
                  </a:lnTo>
                  <a:lnTo>
                    <a:pt x="435077" y="217566"/>
                  </a:lnTo>
                  <a:lnTo>
                    <a:pt x="435077" y="217566"/>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363" name="Freeform: Shape 362">
              <a:extLst>
                <a:ext uri="{FF2B5EF4-FFF2-40B4-BE49-F238E27FC236}">
                  <a16:creationId xmlns:a16="http://schemas.microsoft.com/office/drawing/2014/main" id="{512C2AFB-B161-4C89-1C51-D2F321015561}"/>
                </a:ext>
              </a:extLst>
            </p:cNvPr>
            <p:cNvSpPr/>
            <p:nvPr/>
          </p:nvSpPr>
          <p:spPr>
            <a:xfrm>
              <a:off x="6926907" y="10670458"/>
              <a:ext cx="435077" cy="435077"/>
            </a:xfrm>
            <a:custGeom>
              <a:avLst/>
              <a:gdLst>
                <a:gd name="connsiteX0" fmla="*/ 371366 w 435077"/>
                <a:gd name="connsiteY0" fmla="*/ 63739 h 435077"/>
                <a:gd name="connsiteX1" fmla="*/ 435077 w 435077"/>
                <a:gd name="connsiteY1" fmla="*/ 217539 h 435077"/>
                <a:gd name="connsiteX2" fmla="*/ 217702 w 435077"/>
                <a:gd name="connsiteY2" fmla="*/ 217539 h 435077"/>
                <a:gd name="connsiteX3" fmla="*/ 371366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6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39"/>
                  </a:moveTo>
                  <a:cubicBezTo>
                    <a:pt x="412155" y="104527"/>
                    <a:pt x="435077" y="159864"/>
                    <a:pt x="435077" y="217539"/>
                  </a:cubicBezTo>
                  <a:lnTo>
                    <a:pt x="217702" y="217539"/>
                  </a:lnTo>
                  <a:cubicBezTo>
                    <a:pt x="275350" y="217593"/>
                    <a:pt x="330605" y="240516"/>
                    <a:pt x="371366" y="281277"/>
                  </a:cubicBezTo>
                  <a:cubicBezTo>
                    <a:pt x="412155" y="322066"/>
                    <a:pt x="435077" y="377402"/>
                    <a:pt x="435077" y="435077"/>
                  </a:cubicBezTo>
                  <a:lnTo>
                    <a:pt x="217539" y="435077"/>
                  </a:lnTo>
                  <a:lnTo>
                    <a:pt x="0" y="435077"/>
                  </a:lnTo>
                  <a:cubicBezTo>
                    <a:pt x="0" y="377402"/>
                    <a:pt x="22924" y="322066"/>
                    <a:pt x="63712" y="281277"/>
                  </a:cubicBezTo>
                  <a:cubicBezTo>
                    <a:pt x="104473" y="240516"/>
                    <a:pt x="159728" y="217593"/>
                    <a:pt x="217376" y="217539"/>
                  </a:cubicBezTo>
                  <a:lnTo>
                    <a:pt x="0" y="217539"/>
                  </a:lnTo>
                  <a:cubicBezTo>
                    <a:pt x="0" y="159864"/>
                    <a:pt x="22924" y="104527"/>
                    <a:pt x="63712" y="63739"/>
                  </a:cubicBezTo>
                  <a:cubicBezTo>
                    <a:pt x="104501" y="22923"/>
                    <a:pt x="159837" y="0"/>
                    <a:pt x="217539" y="0"/>
                  </a:cubicBezTo>
                  <a:cubicBezTo>
                    <a:pt x="275241" y="0"/>
                    <a:pt x="330550" y="22923"/>
                    <a:pt x="371366" y="63739"/>
                  </a:cubicBezTo>
                  <a:close/>
                </a:path>
              </a:pathLst>
            </a:custGeom>
            <a:grpFill/>
            <a:ln w="27192" cap="flat">
              <a:noFill/>
              <a:prstDash val="solid"/>
              <a:miter/>
            </a:ln>
          </p:spPr>
          <p:txBody>
            <a:bodyPr rtlCol="0" anchor="ctr"/>
            <a:lstStyle/>
            <a:p>
              <a:endParaRPr lang="uk-UA" sz="900">
                <a:solidFill>
                  <a:schemeClr val="bg1"/>
                </a:solidFill>
              </a:endParaRPr>
            </a:p>
          </p:txBody>
        </p:sp>
        <p:sp>
          <p:nvSpPr>
            <p:cNvPr id="364" name="Freeform: Shape 363">
              <a:extLst>
                <a:ext uri="{FF2B5EF4-FFF2-40B4-BE49-F238E27FC236}">
                  <a16:creationId xmlns:a16="http://schemas.microsoft.com/office/drawing/2014/main" id="{F2A76674-C937-BF5A-7CC2-1E415A82834C}"/>
                </a:ext>
              </a:extLst>
            </p:cNvPr>
            <p:cNvSpPr/>
            <p:nvPr/>
          </p:nvSpPr>
          <p:spPr>
            <a:xfrm>
              <a:off x="8667217" y="1067045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solidFill>
                  <a:schemeClr val="bg1"/>
                </a:solidFill>
              </a:endParaRPr>
            </a:p>
          </p:txBody>
        </p:sp>
        <p:sp>
          <p:nvSpPr>
            <p:cNvPr id="365" name="Freeform: Shape 364">
              <a:extLst>
                <a:ext uri="{FF2B5EF4-FFF2-40B4-BE49-F238E27FC236}">
                  <a16:creationId xmlns:a16="http://schemas.microsoft.com/office/drawing/2014/main" id="{7058116F-9085-84FD-3A9F-EC9365D86212}"/>
                </a:ext>
              </a:extLst>
            </p:cNvPr>
            <p:cNvSpPr/>
            <p:nvPr/>
          </p:nvSpPr>
          <p:spPr>
            <a:xfrm>
              <a:off x="9537371" y="1067045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solidFill>
                  <a:schemeClr val="bg1"/>
                </a:solidFill>
              </a:endParaRPr>
            </a:p>
          </p:txBody>
        </p:sp>
        <p:sp>
          <p:nvSpPr>
            <p:cNvPr id="366" name="Freeform: Shape 365">
              <a:extLst>
                <a:ext uri="{FF2B5EF4-FFF2-40B4-BE49-F238E27FC236}">
                  <a16:creationId xmlns:a16="http://schemas.microsoft.com/office/drawing/2014/main" id="{C4F8F77C-74DB-5348-917D-9EFCE949D61B}"/>
                </a:ext>
              </a:extLst>
            </p:cNvPr>
            <p:cNvSpPr/>
            <p:nvPr/>
          </p:nvSpPr>
          <p:spPr>
            <a:xfrm>
              <a:off x="11277709" y="10670458"/>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27 h 435077"/>
                <a:gd name="connsiteX5" fmla="*/ 435049 w 435077"/>
                <a:gd name="connsiteY5" fmla="*/ 217539 h 435077"/>
                <a:gd name="connsiteX6" fmla="*/ 435077 w 435077"/>
                <a:gd name="connsiteY6" fmla="*/ 217539 h 435077"/>
                <a:gd name="connsiteX7" fmla="*/ 435049 w 435077"/>
                <a:gd name="connsiteY7" fmla="*/ 217539 h 435077"/>
                <a:gd name="connsiteX8" fmla="*/ 435077 w 435077"/>
                <a:gd name="connsiteY8" fmla="*/ 217566 h 435077"/>
                <a:gd name="connsiteX9" fmla="*/ 435049 w 435077"/>
                <a:gd name="connsiteY9" fmla="*/ 217566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27"/>
                  </a:lnTo>
                  <a:lnTo>
                    <a:pt x="435049" y="217539"/>
                  </a:lnTo>
                  <a:lnTo>
                    <a:pt x="435077" y="217539"/>
                  </a:lnTo>
                  <a:lnTo>
                    <a:pt x="435049" y="217539"/>
                  </a:lnTo>
                  <a:lnTo>
                    <a:pt x="435077" y="217566"/>
                  </a:lnTo>
                  <a:lnTo>
                    <a:pt x="435049" y="217566"/>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367" name="Freeform: Shape 366">
              <a:extLst>
                <a:ext uri="{FF2B5EF4-FFF2-40B4-BE49-F238E27FC236}">
                  <a16:creationId xmlns:a16="http://schemas.microsoft.com/office/drawing/2014/main" id="{ADCF52F2-F877-A635-45AE-76322816E2E1}"/>
                </a:ext>
              </a:extLst>
            </p:cNvPr>
            <p:cNvSpPr/>
            <p:nvPr/>
          </p:nvSpPr>
          <p:spPr>
            <a:xfrm>
              <a:off x="10407526" y="10670458"/>
              <a:ext cx="435104" cy="435077"/>
            </a:xfrm>
            <a:custGeom>
              <a:avLst/>
              <a:gdLst>
                <a:gd name="connsiteX0" fmla="*/ 371366 w 435104"/>
                <a:gd name="connsiteY0" fmla="*/ 63739 h 435077"/>
                <a:gd name="connsiteX1" fmla="*/ 435077 w 435104"/>
                <a:gd name="connsiteY1" fmla="*/ 217539 h 435077"/>
                <a:gd name="connsiteX2" fmla="*/ 217730 w 435104"/>
                <a:gd name="connsiteY2" fmla="*/ 217539 h 435077"/>
                <a:gd name="connsiteX3" fmla="*/ 371366 w 435104"/>
                <a:gd name="connsiteY3" fmla="*/ 281277 h 435077"/>
                <a:gd name="connsiteX4" fmla="*/ 435105 w 435104"/>
                <a:gd name="connsiteY4" fmla="*/ 435077 h 435077"/>
                <a:gd name="connsiteX5" fmla="*/ 217566 w 435104"/>
                <a:gd name="connsiteY5" fmla="*/ 435077 h 435077"/>
                <a:gd name="connsiteX6" fmla="*/ 27 w 435104"/>
                <a:gd name="connsiteY6" fmla="*/ 435077 h 435077"/>
                <a:gd name="connsiteX7" fmla="*/ 63739 w 435104"/>
                <a:gd name="connsiteY7" fmla="*/ 281277 h 435077"/>
                <a:gd name="connsiteX8" fmla="*/ 217376 w 435104"/>
                <a:gd name="connsiteY8" fmla="*/ 217539 h 435077"/>
                <a:gd name="connsiteX9" fmla="*/ 0 w 435104"/>
                <a:gd name="connsiteY9" fmla="*/ 217539 h 435077"/>
                <a:gd name="connsiteX10" fmla="*/ 63739 w 435104"/>
                <a:gd name="connsiteY10" fmla="*/ 63739 h 435077"/>
                <a:gd name="connsiteX11" fmla="*/ 217539 w 435104"/>
                <a:gd name="connsiteY11" fmla="*/ 0 h 435077"/>
                <a:gd name="connsiteX12" fmla="*/ 371366 w 435104"/>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4" h="435077">
                  <a:moveTo>
                    <a:pt x="371366" y="63739"/>
                  </a:moveTo>
                  <a:cubicBezTo>
                    <a:pt x="412182" y="104527"/>
                    <a:pt x="435077" y="159864"/>
                    <a:pt x="435077" y="217539"/>
                  </a:cubicBezTo>
                  <a:lnTo>
                    <a:pt x="217730" y="217539"/>
                  </a:lnTo>
                  <a:cubicBezTo>
                    <a:pt x="275350" y="217593"/>
                    <a:pt x="330632" y="240516"/>
                    <a:pt x="371366" y="281277"/>
                  </a:cubicBezTo>
                  <a:cubicBezTo>
                    <a:pt x="412182" y="322066"/>
                    <a:pt x="435105" y="377402"/>
                    <a:pt x="435105" y="435077"/>
                  </a:cubicBezTo>
                  <a:lnTo>
                    <a:pt x="217566" y="435077"/>
                  </a:lnTo>
                  <a:lnTo>
                    <a:pt x="27" y="435077"/>
                  </a:lnTo>
                  <a:cubicBezTo>
                    <a:pt x="27" y="377402"/>
                    <a:pt x="22924" y="322066"/>
                    <a:pt x="63739" y="281277"/>
                  </a:cubicBezTo>
                  <a:cubicBezTo>
                    <a:pt x="104501" y="240516"/>
                    <a:pt x="159755" y="217593"/>
                    <a:pt x="217376" y="217539"/>
                  </a:cubicBezTo>
                  <a:lnTo>
                    <a:pt x="0" y="217539"/>
                  </a:lnTo>
                  <a:cubicBezTo>
                    <a:pt x="0" y="159864"/>
                    <a:pt x="22924" y="104527"/>
                    <a:pt x="63739" y="63739"/>
                  </a:cubicBezTo>
                  <a:cubicBezTo>
                    <a:pt x="104527" y="22923"/>
                    <a:pt x="159864" y="0"/>
                    <a:pt x="217539" y="0"/>
                  </a:cubicBezTo>
                  <a:cubicBezTo>
                    <a:pt x="275241" y="0"/>
                    <a:pt x="330578" y="22923"/>
                    <a:pt x="371366" y="63739"/>
                  </a:cubicBezTo>
                  <a:close/>
                </a:path>
              </a:pathLst>
            </a:custGeom>
            <a:grpFill/>
            <a:ln w="27192" cap="flat">
              <a:noFill/>
              <a:prstDash val="solid"/>
              <a:miter/>
            </a:ln>
          </p:spPr>
          <p:txBody>
            <a:bodyPr rtlCol="0" anchor="ctr"/>
            <a:lstStyle/>
            <a:p>
              <a:endParaRPr lang="uk-UA" sz="900">
                <a:solidFill>
                  <a:schemeClr val="bg1"/>
                </a:solidFill>
              </a:endParaRPr>
            </a:p>
          </p:txBody>
        </p:sp>
        <p:sp>
          <p:nvSpPr>
            <p:cNvPr id="368" name="Freeform: Shape 367">
              <a:extLst>
                <a:ext uri="{FF2B5EF4-FFF2-40B4-BE49-F238E27FC236}">
                  <a16:creationId xmlns:a16="http://schemas.microsoft.com/office/drawing/2014/main" id="{35503C9C-7BB7-FB69-C754-15CCF9CCF28D}"/>
                </a:ext>
              </a:extLst>
            </p:cNvPr>
            <p:cNvSpPr/>
            <p:nvPr/>
          </p:nvSpPr>
          <p:spPr>
            <a:xfrm>
              <a:off x="12147864" y="1067045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solidFill>
                  <a:schemeClr val="bg1"/>
                </a:solidFill>
              </a:endParaRPr>
            </a:p>
          </p:txBody>
        </p:sp>
        <p:sp>
          <p:nvSpPr>
            <p:cNvPr id="369" name="Freeform: Shape 368">
              <a:extLst>
                <a:ext uri="{FF2B5EF4-FFF2-40B4-BE49-F238E27FC236}">
                  <a16:creationId xmlns:a16="http://schemas.microsoft.com/office/drawing/2014/main" id="{DCDAC3A2-FF5B-E9CB-731D-82469264B4C9}"/>
                </a:ext>
              </a:extLst>
            </p:cNvPr>
            <p:cNvSpPr/>
            <p:nvPr/>
          </p:nvSpPr>
          <p:spPr>
            <a:xfrm>
              <a:off x="13018045" y="1067045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70" name="Freeform: Shape 369">
              <a:extLst>
                <a:ext uri="{FF2B5EF4-FFF2-40B4-BE49-F238E27FC236}">
                  <a16:creationId xmlns:a16="http://schemas.microsoft.com/office/drawing/2014/main" id="{7DE9480B-DA54-C4D5-1963-9426B3D65FB6}"/>
                </a:ext>
              </a:extLst>
            </p:cNvPr>
            <p:cNvSpPr/>
            <p:nvPr/>
          </p:nvSpPr>
          <p:spPr>
            <a:xfrm>
              <a:off x="14758328" y="1067045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371" name="Freeform: Shape 370">
              <a:extLst>
                <a:ext uri="{FF2B5EF4-FFF2-40B4-BE49-F238E27FC236}">
                  <a16:creationId xmlns:a16="http://schemas.microsoft.com/office/drawing/2014/main" id="{5009285F-F612-BE83-5197-489FB20457CF}"/>
                </a:ext>
              </a:extLst>
            </p:cNvPr>
            <p:cNvSpPr/>
            <p:nvPr/>
          </p:nvSpPr>
          <p:spPr>
            <a:xfrm>
              <a:off x="13888200" y="10670458"/>
              <a:ext cx="435077" cy="435077"/>
            </a:xfrm>
            <a:custGeom>
              <a:avLst/>
              <a:gdLst>
                <a:gd name="connsiteX0" fmla="*/ 371365 w 435077"/>
                <a:gd name="connsiteY0" fmla="*/ 63739 h 435077"/>
                <a:gd name="connsiteX1" fmla="*/ 435077 w 435077"/>
                <a:gd name="connsiteY1" fmla="*/ 217539 h 435077"/>
                <a:gd name="connsiteX2" fmla="*/ 217730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39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5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39"/>
                  </a:moveTo>
                  <a:cubicBezTo>
                    <a:pt x="412154" y="104527"/>
                    <a:pt x="435077" y="159864"/>
                    <a:pt x="435077" y="217539"/>
                  </a:cubicBezTo>
                  <a:lnTo>
                    <a:pt x="217730" y="217539"/>
                  </a:lnTo>
                  <a:cubicBezTo>
                    <a:pt x="275349" y="217593"/>
                    <a:pt x="330605" y="240516"/>
                    <a:pt x="371365" y="281277"/>
                  </a:cubicBezTo>
                  <a:cubicBezTo>
                    <a:pt x="412182" y="322066"/>
                    <a:pt x="435077" y="377402"/>
                    <a:pt x="435077" y="435077"/>
                  </a:cubicBezTo>
                  <a:lnTo>
                    <a:pt x="217539" y="435077"/>
                  </a:lnTo>
                  <a:lnTo>
                    <a:pt x="0" y="435077"/>
                  </a:lnTo>
                  <a:cubicBezTo>
                    <a:pt x="0" y="377402"/>
                    <a:pt x="22924" y="322066"/>
                    <a:pt x="63739" y="281277"/>
                  </a:cubicBezTo>
                  <a:cubicBezTo>
                    <a:pt x="104472" y="240516"/>
                    <a:pt x="159755" y="217593"/>
                    <a:pt x="217376" y="217539"/>
                  </a:cubicBezTo>
                  <a:lnTo>
                    <a:pt x="0" y="217539"/>
                  </a:lnTo>
                  <a:cubicBezTo>
                    <a:pt x="0" y="159864"/>
                    <a:pt x="22924" y="104527"/>
                    <a:pt x="63712" y="63739"/>
                  </a:cubicBezTo>
                  <a:cubicBezTo>
                    <a:pt x="104527" y="22923"/>
                    <a:pt x="159836" y="0"/>
                    <a:pt x="217539" y="0"/>
                  </a:cubicBezTo>
                  <a:cubicBezTo>
                    <a:pt x="275241" y="0"/>
                    <a:pt x="330577" y="22923"/>
                    <a:pt x="371365" y="63739"/>
                  </a:cubicBezTo>
                  <a:close/>
                </a:path>
              </a:pathLst>
            </a:custGeom>
            <a:grpFill/>
            <a:ln w="27192" cap="flat">
              <a:noFill/>
              <a:prstDash val="solid"/>
              <a:miter/>
            </a:ln>
          </p:spPr>
          <p:txBody>
            <a:bodyPr rtlCol="0" anchor="ctr"/>
            <a:lstStyle/>
            <a:p>
              <a:endParaRPr lang="uk-UA" sz="900">
                <a:solidFill>
                  <a:schemeClr val="bg1"/>
                </a:solidFill>
              </a:endParaRPr>
            </a:p>
          </p:txBody>
        </p:sp>
        <p:sp>
          <p:nvSpPr>
            <p:cNvPr id="372" name="Freeform: Shape 371">
              <a:extLst>
                <a:ext uri="{FF2B5EF4-FFF2-40B4-BE49-F238E27FC236}">
                  <a16:creationId xmlns:a16="http://schemas.microsoft.com/office/drawing/2014/main" id="{0F857BDA-AD66-9D72-D2C4-A074ED68105D}"/>
                </a:ext>
              </a:extLst>
            </p:cNvPr>
            <p:cNvSpPr/>
            <p:nvPr/>
          </p:nvSpPr>
          <p:spPr>
            <a:xfrm>
              <a:off x="15628536" y="1067045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solidFill>
                  <a:schemeClr val="bg1"/>
                </a:solidFill>
              </a:endParaRPr>
            </a:p>
          </p:txBody>
        </p:sp>
        <p:sp>
          <p:nvSpPr>
            <p:cNvPr id="373" name="Freeform: Shape 372">
              <a:extLst>
                <a:ext uri="{FF2B5EF4-FFF2-40B4-BE49-F238E27FC236}">
                  <a16:creationId xmlns:a16="http://schemas.microsoft.com/office/drawing/2014/main" id="{52110BEE-00FA-A6B6-E2E5-8323B2F1F35C}"/>
                </a:ext>
              </a:extLst>
            </p:cNvPr>
            <p:cNvSpPr/>
            <p:nvPr/>
          </p:nvSpPr>
          <p:spPr>
            <a:xfrm>
              <a:off x="16498691" y="10670458"/>
              <a:ext cx="435077" cy="435077"/>
            </a:xfrm>
            <a:custGeom>
              <a:avLst/>
              <a:gdLst>
                <a:gd name="connsiteX0" fmla="*/ 217567 w 435077"/>
                <a:gd name="connsiteY0" fmla="*/ 0 h 435077"/>
                <a:gd name="connsiteX1" fmla="*/ 217539 w 435077"/>
                <a:gd name="connsiteY1" fmla="*/ 0 h 435077"/>
                <a:gd name="connsiteX2" fmla="*/ 28 w 435077"/>
                <a:gd name="connsiteY2" fmla="*/ 0 h 435077"/>
                <a:gd name="connsiteX3" fmla="*/ 28 w 435077"/>
                <a:gd name="connsiteY3" fmla="*/ 217539 h 435077"/>
                <a:gd name="connsiteX4" fmla="*/ 217567 w 435077"/>
                <a:gd name="connsiteY4" fmla="*/ 27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67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67" y="0"/>
                  </a:moveTo>
                  <a:lnTo>
                    <a:pt x="217539" y="0"/>
                  </a:lnTo>
                  <a:lnTo>
                    <a:pt x="28" y="0"/>
                  </a:lnTo>
                  <a:lnTo>
                    <a:pt x="28" y="217539"/>
                  </a:lnTo>
                  <a:lnTo>
                    <a:pt x="217567" y="27"/>
                  </a:lnTo>
                  <a:lnTo>
                    <a:pt x="435077" y="217539"/>
                  </a:lnTo>
                  <a:lnTo>
                    <a:pt x="217539" y="435077"/>
                  </a:lnTo>
                  <a:lnTo>
                    <a:pt x="0" y="217539"/>
                  </a:lnTo>
                  <a:lnTo>
                    <a:pt x="0" y="435077"/>
                  </a:lnTo>
                  <a:lnTo>
                    <a:pt x="217539" y="435077"/>
                  </a:lnTo>
                  <a:lnTo>
                    <a:pt x="435077" y="435077"/>
                  </a:lnTo>
                  <a:lnTo>
                    <a:pt x="435077" y="217539"/>
                  </a:lnTo>
                  <a:lnTo>
                    <a:pt x="435077" y="0"/>
                  </a:lnTo>
                  <a:lnTo>
                    <a:pt x="217567" y="0"/>
                  </a:lnTo>
                  <a:close/>
                </a:path>
              </a:pathLst>
            </a:custGeom>
            <a:grpFill/>
            <a:ln w="27192" cap="flat">
              <a:noFill/>
              <a:prstDash val="solid"/>
              <a:miter/>
            </a:ln>
          </p:spPr>
          <p:txBody>
            <a:bodyPr rtlCol="0" anchor="ctr"/>
            <a:lstStyle/>
            <a:p>
              <a:endParaRPr lang="uk-UA" sz="900">
                <a:solidFill>
                  <a:schemeClr val="bg1"/>
                </a:solidFill>
              </a:endParaRPr>
            </a:p>
          </p:txBody>
        </p:sp>
        <p:sp>
          <p:nvSpPr>
            <p:cNvPr id="374" name="Freeform: Shape 373">
              <a:extLst>
                <a:ext uri="{FF2B5EF4-FFF2-40B4-BE49-F238E27FC236}">
                  <a16:creationId xmlns:a16="http://schemas.microsoft.com/office/drawing/2014/main" id="{24575F50-AEA6-629A-1677-821837E91929}"/>
                </a:ext>
              </a:extLst>
            </p:cNvPr>
            <p:cNvSpPr/>
            <p:nvPr/>
          </p:nvSpPr>
          <p:spPr>
            <a:xfrm>
              <a:off x="18239029" y="1067045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375" name="Freeform: Shape 374">
              <a:extLst>
                <a:ext uri="{FF2B5EF4-FFF2-40B4-BE49-F238E27FC236}">
                  <a16:creationId xmlns:a16="http://schemas.microsoft.com/office/drawing/2014/main" id="{C4A57B27-7D05-AE3D-4B6A-AB2CBA97B255}"/>
                </a:ext>
              </a:extLst>
            </p:cNvPr>
            <p:cNvSpPr/>
            <p:nvPr/>
          </p:nvSpPr>
          <p:spPr>
            <a:xfrm>
              <a:off x="17368874" y="10670458"/>
              <a:ext cx="435077" cy="435077"/>
            </a:xfrm>
            <a:custGeom>
              <a:avLst/>
              <a:gdLst>
                <a:gd name="connsiteX0" fmla="*/ 371339 w 435077"/>
                <a:gd name="connsiteY0" fmla="*/ 63739 h 435077"/>
                <a:gd name="connsiteX1" fmla="*/ 435077 w 435077"/>
                <a:gd name="connsiteY1" fmla="*/ 217539 h 435077"/>
                <a:gd name="connsiteX2" fmla="*/ 217701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0 w 435077"/>
                <a:gd name="connsiteY7" fmla="*/ 281277 h 435077"/>
                <a:gd name="connsiteX8" fmla="*/ 217374 w 435077"/>
                <a:gd name="connsiteY8" fmla="*/ 217539 h 435077"/>
                <a:gd name="connsiteX9" fmla="*/ 0 w 435077"/>
                <a:gd name="connsiteY9" fmla="*/ 217539 h 435077"/>
                <a:gd name="connsiteX10" fmla="*/ 63710 w 435077"/>
                <a:gd name="connsiteY10" fmla="*/ 63739 h 435077"/>
                <a:gd name="connsiteX11" fmla="*/ 217539 w 435077"/>
                <a:gd name="connsiteY11" fmla="*/ 0 h 435077"/>
                <a:gd name="connsiteX12" fmla="*/ 371339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39"/>
                  </a:moveTo>
                  <a:cubicBezTo>
                    <a:pt x="412154" y="104527"/>
                    <a:pt x="435077" y="159864"/>
                    <a:pt x="435077" y="217539"/>
                  </a:cubicBezTo>
                  <a:lnTo>
                    <a:pt x="217701" y="217539"/>
                  </a:lnTo>
                  <a:cubicBezTo>
                    <a:pt x="275322" y="217593"/>
                    <a:pt x="330603" y="240516"/>
                    <a:pt x="371365" y="281277"/>
                  </a:cubicBezTo>
                  <a:cubicBezTo>
                    <a:pt x="412154" y="322066"/>
                    <a:pt x="435077" y="377402"/>
                    <a:pt x="435077" y="435077"/>
                  </a:cubicBezTo>
                  <a:lnTo>
                    <a:pt x="217539" y="435077"/>
                  </a:lnTo>
                  <a:lnTo>
                    <a:pt x="0" y="435077"/>
                  </a:lnTo>
                  <a:cubicBezTo>
                    <a:pt x="0" y="377402"/>
                    <a:pt x="22922" y="322066"/>
                    <a:pt x="63710" y="281277"/>
                  </a:cubicBezTo>
                  <a:cubicBezTo>
                    <a:pt x="104472" y="240516"/>
                    <a:pt x="159727" y="217593"/>
                    <a:pt x="217374" y="217539"/>
                  </a:cubicBezTo>
                  <a:lnTo>
                    <a:pt x="0" y="217539"/>
                  </a:lnTo>
                  <a:cubicBezTo>
                    <a:pt x="0" y="159864"/>
                    <a:pt x="22895" y="104527"/>
                    <a:pt x="63710" y="63739"/>
                  </a:cubicBezTo>
                  <a:cubicBezTo>
                    <a:pt x="104499" y="22923"/>
                    <a:pt x="159836" y="0"/>
                    <a:pt x="217539" y="0"/>
                  </a:cubicBezTo>
                  <a:cubicBezTo>
                    <a:pt x="275213" y="0"/>
                    <a:pt x="330550" y="22923"/>
                    <a:pt x="371339" y="63739"/>
                  </a:cubicBezTo>
                  <a:close/>
                </a:path>
              </a:pathLst>
            </a:custGeom>
            <a:grpFill/>
            <a:ln w="27192" cap="flat">
              <a:noFill/>
              <a:prstDash val="solid"/>
              <a:miter/>
            </a:ln>
          </p:spPr>
          <p:txBody>
            <a:bodyPr rtlCol="0" anchor="ctr"/>
            <a:lstStyle/>
            <a:p>
              <a:endParaRPr lang="uk-UA" sz="900">
                <a:solidFill>
                  <a:schemeClr val="bg1"/>
                </a:solidFill>
              </a:endParaRPr>
            </a:p>
          </p:txBody>
        </p:sp>
        <p:sp>
          <p:nvSpPr>
            <p:cNvPr id="376" name="Freeform: Shape 375">
              <a:extLst>
                <a:ext uri="{FF2B5EF4-FFF2-40B4-BE49-F238E27FC236}">
                  <a16:creationId xmlns:a16="http://schemas.microsoft.com/office/drawing/2014/main" id="{29972F46-DB60-F6A8-9D21-890E62E355F3}"/>
                </a:ext>
              </a:extLst>
            </p:cNvPr>
            <p:cNvSpPr/>
            <p:nvPr/>
          </p:nvSpPr>
          <p:spPr>
            <a:xfrm>
              <a:off x="19109184" y="1067045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65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65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65" y="435105"/>
                  </a:lnTo>
                  <a:lnTo>
                    <a:pt x="435077" y="217566"/>
                  </a:lnTo>
                  <a:lnTo>
                    <a:pt x="435077" y="435105"/>
                  </a:lnTo>
                  <a:close/>
                  <a:moveTo>
                    <a:pt x="435077" y="27"/>
                  </a:moveTo>
                  <a:lnTo>
                    <a:pt x="217565" y="27"/>
                  </a:lnTo>
                  <a:lnTo>
                    <a:pt x="435077" y="217539"/>
                  </a:lnTo>
                  <a:lnTo>
                    <a:pt x="435077" y="27"/>
                  </a:lnTo>
                  <a:close/>
                </a:path>
              </a:pathLst>
            </a:custGeom>
            <a:grpFill/>
            <a:ln w="27192" cap="flat">
              <a:noFill/>
              <a:prstDash val="solid"/>
              <a:miter/>
            </a:ln>
          </p:spPr>
          <p:txBody>
            <a:bodyPr rtlCol="0" anchor="ctr"/>
            <a:lstStyle/>
            <a:p>
              <a:endParaRPr lang="uk-UA" sz="900">
                <a:solidFill>
                  <a:schemeClr val="bg1"/>
                </a:solidFill>
              </a:endParaRPr>
            </a:p>
          </p:txBody>
        </p:sp>
        <p:sp>
          <p:nvSpPr>
            <p:cNvPr id="377" name="Freeform: Shape 376">
              <a:extLst>
                <a:ext uri="{FF2B5EF4-FFF2-40B4-BE49-F238E27FC236}">
                  <a16:creationId xmlns:a16="http://schemas.microsoft.com/office/drawing/2014/main" id="{D89EAA55-50F6-EF7F-E333-D3D2C01E6AA6}"/>
                </a:ext>
              </a:extLst>
            </p:cNvPr>
            <p:cNvSpPr/>
            <p:nvPr/>
          </p:nvSpPr>
          <p:spPr>
            <a:xfrm>
              <a:off x="19979365" y="1067045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78" name="Freeform: Shape 377">
              <a:extLst>
                <a:ext uri="{FF2B5EF4-FFF2-40B4-BE49-F238E27FC236}">
                  <a16:creationId xmlns:a16="http://schemas.microsoft.com/office/drawing/2014/main" id="{388FDFFC-A259-E869-FF5D-C75196E0E3DC}"/>
                </a:ext>
              </a:extLst>
            </p:cNvPr>
            <p:cNvSpPr/>
            <p:nvPr/>
          </p:nvSpPr>
          <p:spPr>
            <a:xfrm>
              <a:off x="21719675" y="1067045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379" name="Freeform: Shape 378">
              <a:extLst>
                <a:ext uri="{FF2B5EF4-FFF2-40B4-BE49-F238E27FC236}">
                  <a16:creationId xmlns:a16="http://schemas.microsoft.com/office/drawing/2014/main" id="{A68B8D4D-205E-099E-B532-97D18AC56645}"/>
                </a:ext>
              </a:extLst>
            </p:cNvPr>
            <p:cNvSpPr/>
            <p:nvPr/>
          </p:nvSpPr>
          <p:spPr>
            <a:xfrm>
              <a:off x="20849520" y="10670458"/>
              <a:ext cx="435077" cy="435077"/>
            </a:xfrm>
            <a:custGeom>
              <a:avLst/>
              <a:gdLst>
                <a:gd name="connsiteX0" fmla="*/ 371365 w 435077"/>
                <a:gd name="connsiteY0" fmla="*/ 63739 h 435077"/>
                <a:gd name="connsiteX1" fmla="*/ 435077 w 435077"/>
                <a:gd name="connsiteY1" fmla="*/ 217539 h 435077"/>
                <a:gd name="connsiteX2" fmla="*/ 217701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5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39"/>
                  </a:moveTo>
                  <a:cubicBezTo>
                    <a:pt x="412154" y="104527"/>
                    <a:pt x="435077" y="159864"/>
                    <a:pt x="435077" y="217539"/>
                  </a:cubicBezTo>
                  <a:lnTo>
                    <a:pt x="217701" y="217539"/>
                  </a:lnTo>
                  <a:cubicBezTo>
                    <a:pt x="275349" y="217593"/>
                    <a:pt x="330605" y="240516"/>
                    <a:pt x="371365" y="281277"/>
                  </a:cubicBezTo>
                  <a:cubicBezTo>
                    <a:pt x="412154" y="322066"/>
                    <a:pt x="435077" y="377402"/>
                    <a:pt x="435077" y="435077"/>
                  </a:cubicBezTo>
                  <a:lnTo>
                    <a:pt x="217539" y="435077"/>
                  </a:lnTo>
                  <a:lnTo>
                    <a:pt x="0" y="435077"/>
                  </a:lnTo>
                  <a:cubicBezTo>
                    <a:pt x="0" y="377402"/>
                    <a:pt x="22924" y="322066"/>
                    <a:pt x="63712" y="281277"/>
                  </a:cubicBezTo>
                  <a:cubicBezTo>
                    <a:pt x="104472" y="240516"/>
                    <a:pt x="159755" y="217593"/>
                    <a:pt x="217376" y="217539"/>
                  </a:cubicBezTo>
                  <a:lnTo>
                    <a:pt x="0" y="217539"/>
                  </a:lnTo>
                  <a:cubicBezTo>
                    <a:pt x="0" y="159864"/>
                    <a:pt x="22924" y="104527"/>
                    <a:pt x="63712" y="63739"/>
                  </a:cubicBezTo>
                  <a:cubicBezTo>
                    <a:pt x="104501" y="22923"/>
                    <a:pt x="159836" y="0"/>
                    <a:pt x="217539" y="0"/>
                  </a:cubicBezTo>
                  <a:cubicBezTo>
                    <a:pt x="275241" y="0"/>
                    <a:pt x="330577" y="22923"/>
                    <a:pt x="371365" y="63739"/>
                  </a:cubicBezTo>
                  <a:close/>
                </a:path>
              </a:pathLst>
            </a:custGeom>
            <a:grpFill/>
            <a:ln w="27192" cap="flat">
              <a:noFill/>
              <a:prstDash val="solid"/>
              <a:miter/>
            </a:ln>
          </p:spPr>
          <p:txBody>
            <a:bodyPr rtlCol="0" anchor="ctr"/>
            <a:lstStyle/>
            <a:p>
              <a:endParaRPr lang="uk-UA" sz="900">
                <a:solidFill>
                  <a:schemeClr val="bg1"/>
                </a:solidFill>
              </a:endParaRPr>
            </a:p>
          </p:txBody>
        </p:sp>
        <p:sp>
          <p:nvSpPr>
            <p:cNvPr id="380" name="Freeform: Shape 379">
              <a:extLst>
                <a:ext uri="{FF2B5EF4-FFF2-40B4-BE49-F238E27FC236}">
                  <a16:creationId xmlns:a16="http://schemas.microsoft.com/office/drawing/2014/main" id="{A7688ED4-6855-C351-15D1-A47B209584B4}"/>
                </a:ext>
              </a:extLst>
            </p:cNvPr>
            <p:cNvSpPr/>
            <p:nvPr/>
          </p:nvSpPr>
          <p:spPr>
            <a:xfrm>
              <a:off x="22589856" y="1067045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solidFill>
                  <a:schemeClr val="bg1"/>
                </a:solidFill>
              </a:endParaRPr>
            </a:p>
          </p:txBody>
        </p:sp>
        <p:sp>
          <p:nvSpPr>
            <p:cNvPr id="381" name="Freeform: Shape 380">
              <a:extLst>
                <a:ext uri="{FF2B5EF4-FFF2-40B4-BE49-F238E27FC236}">
                  <a16:creationId xmlns:a16="http://schemas.microsoft.com/office/drawing/2014/main" id="{3A2FAA1F-5C2E-1E7C-A56E-EDF13D29C57C}"/>
                </a:ext>
              </a:extLst>
            </p:cNvPr>
            <p:cNvSpPr/>
            <p:nvPr/>
          </p:nvSpPr>
          <p:spPr>
            <a:xfrm>
              <a:off x="23460011" y="10670458"/>
              <a:ext cx="435105" cy="435077"/>
            </a:xfrm>
            <a:custGeom>
              <a:avLst/>
              <a:gdLst>
                <a:gd name="connsiteX0" fmla="*/ 217539 w 435105"/>
                <a:gd name="connsiteY0" fmla="*/ 0 h 435077"/>
                <a:gd name="connsiteX1" fmla="*/ 0 w 435105"/>
                <a:gd name="connsiteY1" fmla="*/ 0 h 435077"/>
                <a:gd name="connsiteX2" fmla="*/ 0 w 435105"/>
                <a:gd name="connsiteY2" fmla="*/ 217539 h 435077"/>
                <a:gd name="connsiteX3" fmla="*/ 217539 w 435105"/>
                <a:gd name="connsiteY3" fmla="*/ 0 h 435077"/>
                <a:gd name="connsiteX4" fmla="*/ 435106 w 435105"/>
                <a:gd name="connsiteY4" fmla="*/ 27 h 435077"/>
                <a:gd name="connsiteX5" fmla="*/ 435106 w 435105"/>
                <a:gd name="connsiteY5" fmla="*/ 217566 h 435077"/>
                <a:gd name="connsiteX6" fmla="*/ 217567 w 435105"/>
                <a:gd name="connsiteY6" fmla="*/ 27 h 435077"/>
                <a:gd name="connsiteX7" fmla="*/ 435106 w 435105"/>
                <a:gd name="connsiteY7" fmla="*/ 27 h 435077"/>
                <a:gd name="connsiteX8" fmla="*/ 217567 w 435105"/>
                <a:gd name="connsiteY8" fmla="*/ 435077 h 435077"/>
                <a:gd name="connsiteX9" fmla="*/ 435106 w 435105"/>
                <a:gd name="connsiteY9" fmla="*/ 217566 h 435077"/>
                <a:gd name="connsiteX10" fmla="*/ 435106 w 435105"/>
                <a:gd name="connsiteY10" fmla="*/ 435077 h 435077"/>
                <a:gd name="connsiteX11" fmla="*/ 217567 w 435105"/>
                <a:gd name="connsiteY11" fmla="*/ 435077 h 435077"/>
                <a:gd name="connsiteX12" fmla="*/ 217567 w 435105"/>
                <a:gd name="connsiteY12" fmla="*/ 435077 h 435077"/>
                <a:gd name="connsiteX13" fmla="*/ 28 w 435105"/>
                <a:gd name="connsiteY13" fmla="*/ 217566 h 435077"/>
                <a:gd name="connsiteX14" fmla="*/ 28 w 435105"/>
                <a:gd name="connsiteY14" fmla="*/ 435077 h 435077"/>
                <a:gd name="connsiteX15" fmla="*/ 217567 w 435105"/>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5" h="435077">
                  <a:moveTo>
                    <a:pt x="217539" y="0"/>
                  </a:moveTo>
                  <a:lnTo>
                    <a:pt x="0" y="0"/>
                  </a:lnTo>
                  <a:lnTo>
                    <a:pt x="0" y="217539"/>
                  </a:lnTo>
                  <a:lnTo>
                    <a:pt x="217539" y="0"/>
                  </a:lnTo>
                  <a:close/>
                  <a:moveTo>
                    <a:pt x="435106" y="27"/>
                  </a:moveTo>
                  <a:lnTo>
                    <a:pt x="435106" y="217566"/>
                  </a:lnTo>
                  <a:lnTo>
                    <a:pt x="217567" y="27"/>
                  </a:lnTo>
                  <a:lnTo>
                    <a:pt x="435106" y="27"/>
                  </a:lnTo>
                  <a:close/>
                  <a:moveTo>
                    <a:pt x="217567" y="435077"/>
                  </a:moveTo>
                  <a:lnTo>
                    <a:pt x="435106" y="217566"/>
                  </a:lnTo>
                  <a:lnTo>
                    <a:pt x="435106" y="435077"/>
                  </a:lnTo>
                  <a:lnTo>
                    <a:pt x="217567" y="435077"/>
                  </a:lnTo>
                  <a:close/>
                  <a:moveTo>
                    <a:pt x="217567" y="435077"/>
                  </a:moveTo>
                  <a:lnTo>
                    <a:pt x="28" y="217566"/>
                  </a:lnTo>
                  <a:lnTo>
                    <a:pt x="28" y="435077"/>
                  </a:lnTo>
                  <a:lnTo>
                    <a:pt x="217567"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82" name="Freeform: Shape 381">
              <a:extLst>
                <a:ext uri="{FF2B5EF4-FFF2-40B4-BE49-F238E27FC236}">
                  <a16:creationId xmlns:a16="http://schemas.microsoft.com/office/drawing/2014/main" id="{B232E7FC-9996-91F5-F647-020856DEF30A}"/>
                </a:ext>
              </a:extLst>
            </p:cNvPr>
            <p:cNvSpPr/>
            <p:nvPr/>
          </p:nvSpPr>
          <p:spPr>
            <a:xfrm>
              <a:off x="24330194" y="10670458"/>
              <a:ext cx="435077" cy="435077"/>
            </a:xfrm>
            <a:custGeom>
              <a:avLst/>
              <a:gdLst>
                <a:gd name="connsiteX0" fmla="*/ 371447 w 435077"/>
                <a:gd name="connsiteY0" fmla="*/ 63739 h 435077"/>
                <a:gd name="connsiteX1" fmla="*/ 435077 w 435077"/>
                <a:gd name="connsiteY1" fmla="*/ 217539 h 435077"/>
                <a:gd name="connsiteX2" fmla="*/ 217811 w 435077"/>
                <a:gd name="connsiteY2" fmla="*/ 217539 h 435077"/>
                <a:gd name="connsiteX3" fmla="*/ 371447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267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447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447" y="63739"/>
                  </a:moveTo>
                  <a:cubicBezTo>
                    <a:pt x="412235" y="104527"/>
                    <a:pt x="435077" y="159864"/>
                    <a:pt x="435077" y="217539"/>
                  </a:cubicBezTo>
                  <a:lnTo>
                    <a:pt x="217811" y="217539"/>
                  </a:lnTo>
                  <a:cubicBezTo>
                    <a:pt x="275459" y="217593"/>
                    <a:pt x="330658" y="240516"/>
                    <a:pt x="371447" y="281277"/>
                  </a:cubicBezTo>
                  <a:cubicBezTo>
                    <a:pt x="412235" y="322066"/>
                    <a:pt x="435077" y="377402"/>
                    <a:pt x="435077" y="435077"/>
                  </a:cubicBezTo>
                  <a:lnTo>
                    <a:pt x="217539" y="435077"/>
                  </a:lnTo>
                  <a:lnTo>
                    <a:pt x="0" y="435077"/>
                  </a:lnTo>
                  <a:cubicBezTo>
                    <a:pt x="0" y="377402"/>
                    <a:pt x="22924" y="322066"/>
                    <a:pt x="63712" y="281277"/>
                  </a:cubicBezTo>
                  <a:cubicBezTo>
                    <a:pt x="104472" y="240516"/>
                    <a:pt x="159727" y="217593"/>
                    <a:pt x="217267" y="217539"/>
                  </a:cubicBezTo>
                  <a:lnTo>
                    <a:pt x="0" y="217539"/>
                  </a:lnTo>
                  <a:cubicBezTo>
                    <a:pt x="0" y="159864"/>
                    <a:pt x="22924" y="104527"/>
                    <a:pt x="63712" y="63739"/>
                  </a:cubicBezTo>
                  <a:cubicBezTo>
                    <a:pt x="104501" y="22923"/>
                    <a:pt x="159836" y="0"/>
                    <a:pt x="217539" y="0"/>
                  </a:cubicBezTo>
                  <a:cubicBezTo>
                    <a:pt x="275186" y="0"/>
                    <a:pt x="330658" y="22923"/>
                    <a:pt x="371447" y="63739"/>
                  </a:cubicBezTo>
                  <a:close/>
                </a:path>
              </a:pathLst>
            </a:custGeom>
            <a:grpFill/>
            <a:ln w="27192" cap="flat">
              <a:noFill/>
              <a:prstDash val="solid"/>
              <a:miter/>
            </a:ln>
          </p:spPr>
          <p:txBody>
            <a:bodyPr rtlCol="0" anchor="ctr"/>
            <a:lstStyle/>
            <a:p>
              <a:endParaRPr lang="uk-UA" sz="900">
                <a:solidFill>
                  <a:schemeClr val="bg1"/>
                </a:solidFill>
              </a:endParaRPr>
            </a:p>
          </p:txBody>
        </p:sp>
        <p:sp>
          <p:nvSpPr>
            <p:cNvPr id="383" name="Freeform: Shape 382">
              <a:extLst>
                <a:ext uri="{FF2B5EF4-FFF2-40B4-BE49-F238E27FC236}">
                  <a16:creationId xmlns:a16="http://schemas.microsoft.com/office/drawing/2014/main" id="{A09AF5B0-CBA4-007B-0B94-62C3F0DF0F98}"/>
                </a:ext>
              </a:extLst>
            </p:cNvPr>
            <p:cNvSpPr/>
            <p:nvPr/>
          </p:nvSpPr>
          <p:spPr>
            <a:xfrm>
              <a:off x="835742" y="1154061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6 w 435077"/>
                <a:gd name="connsiteY3" fmla="*/ 27 h 435077"/>
                <a:gd name="connsiteX4" fmla="*/ 435077 w 435077"/>
                <a:gd name="connsiteY4" fmla="*/ 217566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6" y="27"/>
                  </a:lnTo>
                  <a:lnTo>
                    <a:pt x="435077" y="217566"/>
                  </a:lnTo>
                  <a:lnTo>
                    <a:pt x="217566"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84" name="Freeform: Shape 383">
              <a:extLst>
                <a:ext uri="{FF2B5EF4-FFF2-40B4-BE49-F238E27FC236}">
                  <a16:creationId xmlns:a16="http://schemas.microsoft.com/office/drawing/2014/main" id="{65A999AD-89C8-9CC8-0E53-B6698A61C67D}"/>
                </a:ext>
              </a:extLst>
            </p:cNvPr>
            <p:cNvSpPr/>
            <p:nvPr/>
          </p:nvSpPr>
          <p:spPr>
            <a:xfrm>
              <a:off x="-34407" y="11540612"/>
              <a:ext cx="435072" cy="435077"/>
            </a:xfrm>
            <a:custGeom>
              <a:avLst/>
              <a:gdLst>
                <a:gd name="connsiteX0" fmla="*/ 63717 w 435072"/>
                <a:gd name="connsiteY0" fmla="*/ 153827 h 435077"/>
                <a:gd name="connsiteX1" fmla="*/ 0 w 435072"/>
                <a:gd name="connsiteY1" fmla="*/ 0 h 435077"/>
                <a:gd name="connsiteX2" fmla="*/ 217533 w 435072"/>
                <a:gd name="connsiteY2" fmla="*/ 0 h 435077"/>
                <a:gd name="connsiteX3" fmla="*/ 435072 w 435072"/>
                <a:gd name="connsiteY3" fmla="*/ 0 h 435077"/>
                <a:gd name="connsiteX4" fmla="*/ 371360 w 435072"/>
                <a:gd name="connsiteY4" fmla="*/ 153827 h 435077"/>
                <a:gd name="connsiteX5" fmla="*/ 217533 w 435072"/>
                <a:gd name="connsiteY5" fmla="*/ 217539 h 435077"/>
                <a:gd name="connsiteX6" fmla="*/ 63717 w 435072"/>
                <a:gd name="connsiteY6" fmla="*/ 153827 h 435077"/>
                <a:gd name="connsiteX7" fmla="*/ 63717 w 435072"/>
                <a:gd name="connsiteY7" fmla="*/ 281277 h 435077"/>
                <a:gd name="connsiteX8" fmla="*/ 0 w 435072"/>
                <a:gd name="connsiteY8" fmla="*/ 435077 h 435077"/>
                <a:gd name="connsiteX9" fmla="*/ 217533 w 435072"/>
                <a:gd name="connsiteY9" fmla="*/ 435077 h 435077"/>
                <a:gd name="connsiteX10" fmla="*/ 435072 w 435072"/>
                <a:gd name="connsiteY10" fmla="*/ 435077 h 435077"/>
                <a:gd name="connsiteX11" fmla="*/ 371360 w 435072"/>
                <a:gd name="connsiteY11" fmla="*/ 281277 h 435077"/>
                <a:gd name="connsiteX12" fmla="*/ 217533 w 435072"/>
                <a:gd name="connsiteY12" fmla="*/ 217539 h 435077"/>
                <a:gd name="connsiteX13" fmla="*/ 63717 w 435072"/>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2" h="435077">
                  <a:moveTo>
                    <a:pt x="63717" y="153827"/>
                  </a:moveTo>
                  <a:cubicBezTo>
                    <a:pt x="22921" y="113039"/>
                    <a:pt x="0" y="57702"/>
                    <a:pt x="0" y="0"/>
                  </a:cubicBezTo>
                  <a:lnTo>
                    <a:pt x="217533" y="0"/>
                  </a:lnTo>
                  <a:lnTo>
                    <a:pt x="435072" y="0"/>
                  </a:lnTo>
                  <a:cubicBezTo>
                    <a:pt x="435072" y="57702"/>
                    <a:pt x="412149" y="113039"/>
                    <a:pt x="371360" y="153827"/>
                  </a:cubicBezTo>
                  <a:cubicBezTo>
                    <a:pt x="330572" y="194642"/>
                    <a:pt x="275236" y="217539"/>
                    <a:pt x="217533" y="217539"/>
                  </a:cubicBezTo>
                  <a:cubicBezTo>
                    <a:pt x="159858" y="217539"/>
                    <a:pt x="104514" y="194642"/>
                    <a:pt x="63717" y="153827"/>
                  </a:cubicBezTo>
                  <a:close/>
                  <a:moveTo>
                    <a:pt x="63717" y="281277"/>
                  </a:moveTo>
                  <a:cubicBezTo>
                    <a:pt x="22921" y="322066"/>
                    <a:pt x="0" y="377402"/>
                    <a:pt x="0" y="435077"/>
                  </a:cubicBezTo>
                  <a:lnTo>
                    <a:pt x="217533" y="435077"/>
                  </a:lnTo>
                  <a:lnTo>
                    <a:pt x="435072" y="435077"/>
                  </a:lnTo>
                  <a:cubicBezTo>
                    <a:pt x="435072" y="377402"/>
                    <a:pt x="412149" y="322066"/>
                    <a:pt x="371360" y="281277"/>
                  </a:cubicBezTo>
                  <a:cubicBezTo>
                    <a:pt x="330572" y="240462"/>
                    <a:pt x="275236" y="217539"/>
                    <a:pt x="217533" y="217539"/>
                  </a:cubicBezTo>
                  <a:cubicBezTo>
                    <a:pt x="159858" y="217539"/>
                    <a:pt x="104514" y="240462"/>
                    <a:pt x="63717" y="281277"/>
                  </a:cubicBezTo>
                  <a:close/>
                </a:path>
              </a:pathLst>
            </a:custGeom>
            <a:grpFill/>
            <a:ln w="27192" cap="flat">
              <a:noFill/>
              <a:prstDash val="solid"/>
              <a:miter/>
            </a:ln>
          </p:spPr>
          <p:txBody>
            <a:bodyPr rtlCol="0" anchor="ctr"/>
            <a:lstStyle/>
            <a:p>
              <a:endParaRPr lang="uk-UA" sz="900">
                <a:solidFill>
                  <a:schemeClr val="bg1"/>
                </a:solidFill>
              </a:endParaRPr>
            </a:p>
          </p:txBody>
        </p:sp>
        <p:sp>
          <p:nvSpPr>
            <p:cNvPr id="385" name="Freeform: Shape 384">
              <a:extLst>
                <a:ext uri="{FF2B5EF4-FFF2-40B4-BE49-F238E27FC236}">
                  <a16:creationId xmlns:a16="http://schemas.microsoft.com/office/drawing/2014/main" id="{411B20AA-D1B4-874E-F1AE-8F68AF5045C5}"/>
                </a:ext>
              </a:extLst>
            </p:cNvPr>
            <p:cNvSpPr/>
            <p:nvPr/>
          </p:nvSpPr>
          <p:spPr>
            <a:xfrm>
              <a:off x="1705924" y="1154061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86" name="Freeform: Shape 385">
              <a:extLst>
                <a:ext uri="{FF2B5EF4-FFF2-40B4-BE49-F238E27FC236}">
                  <a16:creationId xmlns:a16="http://schemas.microsoft.com/office/drawing/2014/main" id="{F56872E2-95E8-140B-804E-3CDF8E4911F3}"/>
                </a:ext>
              </a:extLst>
            </p:cNvPr>
            <p:cNvSpPr/>
            <p:nvPr/>
          </p:nvSpPr>
          <p:spPr>
            <a:xfrm>
              <a:off x="2576106" y="1154064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2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2" y="217539"/>
                  </a:lnTo>
                  <a:lnTo>
                    <a:pt x="0" y="435050"/>
                  </a:lnTo>
                  <a:close/>
                </a:path>
              </a:pathLst>
            </a:custGeom>
            <a:grpFill/>
            <a:ln w="27192" cap="flat">
              <a:noFill/>
              <a:prstDash val="solid"/>
              <a:miter/>
            </a:ln>
          </p:spPr>
          <p:txBody>
            <a:bodyPr rtlCol="0" anchor="ctr"/>
            <a:lstStyle/>
            <a:p>
              <a:endParaRPr lang="uk-UA" sz="900">
                <a:solidFill>
                  <a:schemeClr val="bg1"/>
                </a:solidFill>
              </a:endParaRPr>
            </a:p>
          </p:txBody>
        </p:sp>
        <p:sp>
          <p:nvSpPr>
            <p:cNvPr id="387" name="Freeform: Shape 386">
              <a:extLst>
                <a:ext uri="{FF2B5EF4-FFF2-40B4-BE49-F238E27FC236}">
                  <a16:creationId xmlns:a16="http://schemas.microsoft.com/office/drawing/2014/main" id="{A6C97028-C320-3166-B321-829BC6FDACF4}"/>
                </a:ext>
              </a:extLst>
            </p:cNvPr>
            <p:cNvSpPr/>
            <p:nvPr/>
          </p:nvSpPr>
          <p:spPr>
            <a:xfrm>
              <a:off x="4316416" y="1154061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5 w 435077"/>
                <a:gd name="connsiteY3" fmla="*/ 27 h 435077"/>
                <a:gd name="connsiteX4" fmla="*/ 435077 w 435077"/>
                <a:gd name="connsiteY4" fmla="*/ 217566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5" y="27"/>
                  </a:lnTo>
                  <a:lnTo>
                    <a:pt x="435077" y="217566"/>
                  </a:lnTo>
                  <a:lnTo>
                    <a:pt x="217565"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88" name="Freeform: Shape 387">
              <a:extLst>
                <a:ext uri="{FF2B5EF4-FFF2-40B4-BE49-F238E27FC236}">
                  <a16:creationId xmlns:a16="http://schemas.microsoft.com/office/drawing/2014/main" id="{0B3F94D7-4762-76A8-D137-011CA6110C22}"/>
                </a:ext>
              </a:extLst>
            </p:cNvPr>
            <p:cNvSpPr/>
            <p:nvPr/>
          </p:nvSpPr>
          <p:spPr>
            <a:xfrm>
              <a:off x="3446261" y="1154061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3" y="113039"/>
                    <a:pt x="0" y="57702"/>
                    <a:pt x="0" y="0"/>
                  </a:cubicBezTo>
                  <a:lnTo>
                    <a:pt x="217539" y="0"/>
                  </a:lnTo>
                  <a:lnTo>
                    <a:pt x="435077" y="0"/>
                  </a:lnTo>
                  <a:cubicBezTo>
                    <a:pt x="435077" y="57702"/>
                    <a:pt x="412154" y="113039"/>
                    <a:pt x="371366" y="153827"/>
                  </a:cubicBezTo>
                  <a:cubicBezTo>
                    <a:pt x="330577" y="194642"/>
                    <a:pt x="275241" y="217539"/>
                    <a:pt x="217539" y="217539"/>
                  </a:cubicBezTo>
                  <a:cubicBezTo>
                    <a:pt x="159837" y="217539"/>
                    <a:pt x="104500" y="194642"/>
                    <a:pt x="63712" y="153827"/>
                  </a:cubicBezTo>
                  <a:close/>
                  <a:moveTo>
                    <a:pt x="63712" y="281277"/>
                  </a:moveTo>
                  <a:cubicBezTo>
                    <a:pt x="22923" y="322066"/>
                    <a:pt x="0" y="377402"/>
                    <a:pt x="0" y="435077"/>
                  </a:cubicBezTo>
                  <a:lnTo>
                    <a:pt x="217539" y="435077"/>
                  </a:lnTo>
                  <a:lnTo>
                    <a:pt x="435077" y="435077"/>
                  </a:lnTo>
                  <a:cubicBezTo>
                    <a:pt x="435077" y="377402"/>
                    <a:pt x="412154" y="322066"/>
                    <a:pt x="371366" y="281277"/>
                  </a:cubicBezTo>
                  <a:cubicBezTo>
                    <a:pt x="330577" y="240462"/>
                    <a:pt x="275241" y="217539"/>
                    <a:pt x="217539" y="217539"/>
                  </a:cubicBezTo>
                  <a:cubicBezTo>
                    <a:pt x="159837" y="217539"/>
                    <a:pt x="104500" y="240462"/>
                    <a:pt x="63712" y="281277"/>
                  </a:cubicBezTo>
                  <a:close/>
                </a:path>
              </a:pathLst>
            </a:custGeom>
            <a:grpFill/>
            <a:ln w="27192" cap="flat">
              <a:noFill/>
              <a:prstDash val="solid"/>
              <a:miter/>
            </a:ln>
          </p:spPr>
          <p:txBody>
            <a:bodyPr rtlCol="0" anchor="ctr"/>
            <a:lstStyle/>
            <a:p>
              <a:endParaRPr lang="uk-UA" sz="900">
                <a:solidFill>
                  <a:schemeClr val="bg1"/>
                </a:solidFill>
              </a:endParaRPr>
            </a:p>
          </p:txBody>
        </p:sp>
        <p:sp>
          <p:nvSpPr>
            <p:cNvPr id="389" name="Freeform: Shape 388">
              <a:extLst>
                <a:ext uri="{FF2B5EF4-FFF2-40B4-BE49-F238E27FC236}">
                  <a16:creationId xmlns:a16="http://schemas.microsoft.com/office/drawing/2014/main" id="{7406193C-2677-2358-8046-70300DB5ED5D}"/>
                </a:ext>
              </a:extLst>
            </p:cNvPr>
            <p:cNvSpPr/>
            <p:nvPr/>
          </p:nvSpPr>
          <p:spPr>
            <a:xfrm>
              <a:off x="5186597" y="11540612"/>
              <a:ext cx="435077" cy="435077"/>
            </a:xfrm>
            <a:custGeom>
              <a:avLst/>
              <a:gdLst>
                <a:gd name="connsiteX0" fmla="*/ 0 w 435077"/>
                <a:gd name="connsiteY0" fmla="*/ 435077 h 435077"/>
                <a:gd name="connsiteX1" fmla="*/ 0 w 435077"/>
                <a:gd name="connsiteY1" fmla="*/ 0 h 435077"/>
                <a:gd name="connsiteX2" fmla="*/ 217512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12"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90" name="Freeform: Shape 389">
              <a:extLst>
                <a:ext uri="{FF2B5EF4-FFF2-40B4-BE49-F238E27FC236}">
                  <a16:creationId xmlns:a16="http://schemas.microsoft.com/office/drawing/2014/main" id="{E48B292E-9F3E-92F1-C1EC-C3F8C6C38D47}"/>
                </a:ext>
              </a:extLst>
            </p:cNvPr>
            <p:cNvSpPr/>
            <p:nvPr/>
          </p:nvSpPr>
          <p:spPr>
            <a:xfrm>
              <a:off x="6056752" y="1154064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2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2" y="217539"/>
                  </a:lnTo>
                  <a:lnTo>
                    <a:pt x="0" y="435050"/>
                  </a:lnTo>
                  <a:close/>
                </a:path>
              </a:pathLst>
            </a:custGeom>
            <a:grpFill/>
            <a:ln w="27192" cap="flat">
              <a:noFill/>
              <a:prstDash val="solid"/>
              <a:miter/>
            </a:ln>
          </p:spPr>
          <p:txBody>
            <a:bodyPr rtlCol="0" anchor="ctr"/>
            <a:lstStyle/>
            <a:p>
              <a:endParaRPr lang="uk-UA" sz="900">
                <a:solidFill>
                  <a:schemeClr val="bg1"/>
                </a:solidFill>
              </a:endParaRPr>
            </a:p>
          </p:txBody>
        </p:sp>
        <p:sp>
          <p:nvSpPr>
            <p:cNvPr id="391" name="Freeform: Shape 390">
              <a:extLst>
                <a:ext uri="{FF2B5EF4-FFF2-40B4-BE49-F238E27FC236}">
                  <a16:creationId xmlns:a16="http://schemas.microsoft.com/office/drawing/2014/main" id="{2E10E1F7-52F0-DFF5-81A3-2C56A457AD3D}"/>
                </a:ext>
              </a:extLst>
            </p:cNvPr>
            <p:cNvSpPr/>
            <p:nvPr/>
          </p:nvSpPr>
          <p:spPr>
            <a:xfrm>
              <a:off x="7797062" y="1154061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6 w 435077"/>
                <a:gd name="connsiteY3" fmla="*/ 27 h 435077"/>
                <a:gd name="connsiteX4" fmla="*/ 435077 w 435077"/>
                <a:gd name="connsiteY4" fmla="*/ 217566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6" y="27"/>
                  </a:lnTo>
                  <a:lnTo>
                    <a:pt x="435077" y="217566"/>
                  </a:lnTo>
                  <a:lnTo>
                    <a:pt x="217566"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92" name="Freeform: Shape 391">
              <a:extLst>
                <a:ext uri="{FF2B5EF4-FFF2-40B4-BE49-F238E27FC236}">
                  <a16:creationId xmlns:a16="http://schemas.microsoft.com/office/drawing/2014/main" id="{291C7E6F-DE3E-9214-9D6E-8EDB63E22742}"/>
                </a:ext>
              </a:extLst>
            </p:cNvPr>
            <p:cNvSpPr/>
            <p:nvPr/>
          </p:nvSpPr>
          <p:spPr>
            <a:xfrm>
              <a:off x="6926907" y="1154061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6" y="153827"/>
                  </a:cubicBezTo>
                  <a:cubicBezTo>
                    <a:pt x="330550" y="194642"/>
                    <a:pt x="275241" y="217539"/>
                    <a:pt x="217539" y="217539"/>
                  </a:cubicBezTo>
                  <a:cubicBezTo>
                    <a:pt x="159837"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5" y="322066"/>
                    <a:pt x="371366" y="281277"/>
                  </a:cubicBezTo>
                  <a:cubicBezTo>
                    <a:pt x="330550" y="240462"/>
                    <a:pt x="275241" y="217539"/>
                    <a:pt x="217539" y="217539"/>
                  </a:cubicBezTo>
                  <a:cubicBezTo>
                    <a:pt x="159837" y="217539"/>
                    <a:pt x="104501" y="240462"/>
                    <a:pt x="63712" y="281277"/>
                  </a:cubicBezTo>
                  <a:close/>
                </a:path>
              </a:pathLst>
            </a:custGeom>
            <a:grpFill/>
            <a:ln w="27192" cap="flat">
              <a:noFill/>
              <a:prstDash val="solid"/>
              <a:miter/>
            </a:ln>
          </p:spPr>
          <p:txBody>
            <a:bodyPr rtlCol="0" anchor="ctr"/>
            <a:lstStyle/>
            <a:p>
              <a:endParaRPr lang="uk-UA" sz="900">
                <a:solidFill>
                  <a:schemeClr val="bg1"/>
                </a:solidFill>
              </a:endParaRPr>
            </a:p>
          </p:txBody>
        </p:sp>
        <p:sp>
          <p:nvSpPr>
            <p:cNvPr id="393" name="Freeform: Shape 392">
              <a:extLst>
                <a:ext uri="{FF2B5EF4-FFF2-40B4-BE49-F238E27FC236}">
                  <a16:creationId xmlns:a16="http://schemas.microsoft.com/office/drawing/2014/main" id="{3590CE32-D549-32FE-1F96-847C76E089FB}"/>
                </a:ext>
              </a:extLst>
            </p:cNvPr>
            <p:cNvSpPr/>
            <p:nvPr/>
          </p:nvSpPr>
          <p:spPr>
            <a:xfrm>
              <a:off x="8667217" y="1154061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94" name="Freeform: Shape 393">
              <a:extLst>
                <a:ext uri="{FF2B5EF4-FFF2-40B4-BE49-F238E27FC236}">
                  <a16:creationId xmlns:a16="http://schemas.microsoft.com/office/drawing/2014/main" id="{E8D374E5-4D95-26B3-5DFE-7F588FEB035D}"/>
                </a:ext>
              </a:extLst>
            </p:cNvPr>
            <p:cNvSpPr/>
            <p:nvPr/>
          </p:nvSpPr>
          <p:spPr>
            <a:xfrm>
              <a:off x="9537399" y="1154064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1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1" y="217539"/>
                  </a:lnTo>
                  <a:lnTo>
                    <a:pt x="0" y="435050"/>
                  </a:lnTo>
                  <a:close/>
                </a:path>
              </a:pathLst>
            </a:custGeom>
            <a:grpFill/>
            <a:ln w="27192" cap="flat">
              <a:noFill/>
              <a:prstDash val="solid"/>
              <a:miter/>
            </a:ln>
          </p:spPr>
          <p:txBody>
            <a:bodyPr rtlCol="0" anchor="ctr"/>
            <a:lstStyle/>
            <a:p>
              <a:endParaRPr lang="uk-UA" sz="900">
                <a:solidFill>
                  <a:schemeClr val="bg1"/>
                </a:solidFill>
              </a:endParaRPr>
            </a:p>
          </p:txBody>
        </p:sp>
        <p:sp>
          <p:nvSpPr>
            <p:cNvPr id="395" name="Freeform: Shape 394">
              <a:extLst>
                <a:ext uri="{FF2B5EF4-FFF2-40B4-BE49-F238E27FC236}">
                  <a16:creationId xmlns:a16="http://schemas.microsoft.com/office/drawing/2014/main" id="{29A4CBB4-0165-DDAC-960E-957998205A0E}"/>
                </a:ext>
              </a:extLst>
            </p:cNvPr>
            <p:cNvSpPr/>
            <p:nvPr/>
          </p:nvSpPr>
          <p:spPr>
            <a:xfrm>
              <a:off x="11277709" y="1154061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0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10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0" y="217539"/>
                  </a:lnTo>
                  <a:lnTo>
                    <a:pt x="0" y="217539"/>
                  </a:lnTo>
                  <a:close/>
                  <a:moveTo>
                    <a:pt x="0" y="435077"/>
                  </a:moveTo>
                  <a:lnTo>
                    <a:pt x="0" y="217566"/>
                  </a:lnTo>
                  <a:lnTo>
                    <a:pt x="217510"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96" name="Freeform: Shape 395">
              <a:extLst>
                <a:ext uri="{FF2B5EF4-FFF2-40B4-BE49-F238E27FC236}">
                  <a16:creationId xmlns:a16="http://schemas.microsoft.com/office/drawing/2014/main" id="{6F89752B-8AF9-2EC6-3D2F-2C971BE51C7F}"/>
                </a:ext>
              </a:extLst>
            </p:cNvPr>
            <p:cNvSpPr/>
            <p:nvPr/>
          </p:nvSpPr>
          <p:spPr>
            <a:xfrm>
              <a:off x="10407526" y="11540612"/>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39 w 435077"/>
                <a:gd name="connsiteY6" fmla="*/ 153827 h 435077"/>
                <a:gd name="connsiteX7" fmla="*/ 63739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39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4" y="113039"/>
                    <a:pt x="0" y="57702"/>
                    <a:pt x="0" y="0"/>
                  </a:cubicBezTo>
                  <a:lnTo>
                    <a:pt x="217539" y="0"/>
                  </a:lnTo>
                  <a:lnTo>
                    <a:pt x="435077" y="0"/>
                  </a:lnTo>
                  <a:cubicBezTo>
                    <a:pt x="435077" y="57702"/>
                    <a:pt x="412182" y="113039"/>
                    <a:pt x="371366" y="153827"/>
                  </a:cubicBezTo>
                  <a:cubicBezTo>
                    <a:pt x="330578" y="194642"/>
                    <a:pt x="275241" y="217539"/>
                    <a:pt x="217539" y="217539"/>
                  </a:cubicBezTo>
                  <a:cubicBezTo>
                    <a:pt x="159864" y="217539"/>
                    <a:pt x="104527" y="194642"/>
                    <a:pt x="63739" y="153827"/>
                  </a:cubicBezTo>
                  <a:close/>
                  <a:moveTo>
                    <a:pt x="63739" y="281277"/>
                  </a:moveTo>
                  <a:cubicBezTo>
                    <a:pt x="22924" y="322066"/>
                    <a:pt x="0" y="377402"/>
                    <a:pt x="0" y="435077"/>
                  </a:cubicBezTo>
                  <a:lnTo>
                    <a:pt x="217539" y="435077"/>
                  </a:lnTo>
                  <a:lnTo>
                    <a:pt x="435077" y="435077"/>
                  </a:lnTo>
                  <a:cubicBezTo>
                    <a:pt x="435077" y="377402"/>
                    <a:pt x="412182" y="322066"/>
                    <a:pt x="371366" y="281277"/>
                  </a:cubicBezTo>
                  <a:cubicBezTo>
                    <a:pt x="330578" y="240462"/>
                    <a:pt x="275241" y="217539"/>
                    <a:pt x="217539" y="217539"/>
                  </a:cubicBezTo>
                  <a:cubicBezTo>
                    <a:pt x="159864" y="217539"/>
                    <a:pt x="104527" y="240462"/>
                    <a:pt x="63739" y="281277"/>
                  </a:cubicBezTo>
                  <a:close/>
                </a:path>
              </a:pathLst>
            </a:custGeom>
            <a:grpFill/>
            <a:ln w="27192" cap="flat">
              <a:noFill/>
              <a:prstDash val="solid"/>
              <a:miter/>
            </a:ln>
          </p:spPr>
          <p:txBody>
            <a:bodyPr rtlCol="0" anchor="ctr"/>
            <a:lstStyle/>
            <a:p>
              <a:endParaRPr lang="uk-UA" sz="900">
                <a:solidFill>
                  <a:schemeClr val="bg1"/>
                </a:solidFill>
              </a:endParaRPr>
            </a:p>
          </p:txBody>
        </p:sp>
        <p:sp>
          <p:nvSpPr>
            <p:cNvPr id="397" name="Freeform: Shape 396">
              <a:extLst>
                <a:ext uri="{FF2B5EF4-FFF2-40B4-BE49-F238E27FC236}">
                  <a16:creationId xmlns:a16="http://schemas.microsoft.com/office/drawing/2014/main" id="{8226C79A-E645-AAA7-DE4C-E20F292C35A8}"/>
                </a:ext>
              </a:extLst>
            </p:cNvPr>
            <p:cNvSpPr/>
            <p:nvPr/>
          </p:nvSpPr>
          <p:spPr>
            <a:xfrm>
              <a:off x="12147864" y="1154061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398" name="Freeform: Shape 397">
              <a:extLst>
                <a:ext uri="{FF2B5EF4-FFF2-40B4-BE49-F238E27FC236}">
                  <a16:creationId xmlns:a16="http://schemas.microsoft.com/office/drawing/2014/main" id="{7CBB1462-0395-FC22-998E-2499E9DD7401}"/>
                </a:ext>
              </a:extLst>
            </p:cNvPr>
            <p:cNvSpPr/>
            <p:nvPr/>
          </p:nvSpPr>
          <p:spPr>
            <a:xfrm>
              <a:off x="13018045" y="1154064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2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2" y="217539"/>
                  </a:lnTo>
                  <a:lnTo>
                    <a:pt x="0" y="435050"/>
                  </a:lnTo>
                  <a:close/>
                </a:path>
              </a:pathLst>
            </a:custGeom>
            <a:grpFill/>
            <a:ln w="27192" cap="flat">
              <a:noFill/>
              <a:prstDash val="solid"/>
              <a:miter/>
            </a:ln>
          </p:spPr>
          <p:txBody>
            <a:bodyPr rtlCol="0" anchor="ctr"/>
            <a:lstStyle/>
            <a:p>
              <a:endParaRPr lang="uk-UA" sz="900">
                <a:solidFill>
                  <a:schemeClr val="bg1"/>
                </a:solidFill>
              </a:endParaRPr>
            </a:p>
          </p:txBody>
        </p:sp>
        <p:sp>
          <p:nvSpPr>
            <p:cNvPr id="399" name="Freeform: Shape 398">
              <a:extLst>
                <a:ext uri="{FF2B5EF4-FFF2-40B4-BE49-F238E27FC236}">
                  <a16:creationId xmlns:a16="http://schemas.microsoft.com/office/drawing/2014/main" id="{B0A4AFBF-F6D1-7A05-78F7-2E45BD21A285}"/>
                </a:ext>
              </a:extLst>
            </p:cNvPr>
            <p:cNvSpPr/>
            <p:nvPr/>
          </p:nvSpPr>
          <p:spPr>
            <a:xfrm>
              <a:off x="14758355" y="11540612"/>
              <a:ext cx="435103" cy="435077"/>
            </a:xfrm>
            <a:custGeom>
              <a:avLst/>
              <a:gdLst>
                <a:gd name="connsiteX0" fmla="*/ 435104 w 435103"/>
                <a:gd name="connsiteY0" fmla="*/ 435077 h 435077"/>
                <a:gd name="connsiteX1" fmla="*/ 435104 w 435103"/>
                <a:gd name="connsiteY1" fmla="*/ 217566 h 435077"/>
                <a:gd name="connsiteX2" fmla="*/ 435104 w 435103"/>
                <a:gd name="connsiteY2" fmla="*/ 27 h 435077"/>
                <a:gd name="connsiteX3" fmla="*/ 217565 w 435103"/>
                <a:gd name="connsiteY3" fmla="*/ 27 h 435077"/>
                <a:gd name="connsiteX4" fmla="*/ 435104 w 435103"/>
                <a:gd name="connsiteY4" fmla="*/ 217566 h 435077"/>
                <a:gd name="connsiteX5" fmla="*/ 217565 w 435103"/>
                <a:gd name="connsiteY5" fmla="*/ 435077 h 435077"/>
                <a:gd name="connsiteX6" fmla="*/ 435104 w 435103"/>
                <a:gd name="connsiteY6" fmla="*/ 435077 h 435077"/>
                <a:gd name="connsiteX7" fmla="*/ 0 w 435103"/>
                <a:gd name="connsiteY7" fmla="*/ 217539 h 435077"/>
                <a:gd name="connsiteX8" fmla="*/ 0 w 435103"/>
                <a:gd name="connsiteY8" fmla="*/ 0 h 435077"/>
                <a:gd name="connsiteX9" fmla="*/ 217539 w 435103"/>
                <a:gd name="connsiteY9" fmla="*/ 217539 h 435077"/>
                <a:gd name="connsiteX10" fmla="*/ 0 w 435103"/>
                <a:gd name="connsiteY10" fmla="*/ 217539 h 435077"/>
                <a:gd name="connsiteX11" fmla="*/ 27 w 435103"/>
                <a:gd name="connsiteY11" fmla="*/ 435077 h 435077"/>
                <a:gd name="connsiteX12" fmla="*/ 27 w 435103"/>
                <a:gd name="connsiteY12" fmla="*/ 217566 h 435077"/>
                <a:gd name="connsiteX13" fmla="*/ 217539 w 435103"/>
                <a:gd name="connsiteY13" fmla="*/ 217566 h 435077"/>
                <a:gd name="connsiteX14" fmla="*/ 27 w 435103"/>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103" h="435077">
                  <a:moveTo>
                    <a:pt x="435104" y="435077"/>
                  </a:moveTo>
                  <a:lnTo>
                    <a:pt x="435104" y="217566"/>
                  </a:lnTo>
                  <a:lnTo>
                    <a:pt x="435104" y="27"/>
                  </a:lnTo>
                  <a:lnTo>
                    <a:pt x="217565" y="27"/>
                  </a:lnTo>
                  <a:lnTo>
                    <a:pt x="435104" y="217566"/>
                  </a:lnTo>
                  <a:lnTo>
                    <a:pt x="217565" y="435077"/>
                  </a:lnTo>
                  <a:lnTo>
                    <a:pt x="435104" y="435077"/>
                  </a:lnTo>
                  <a:close/>
                  <a:moveTo>
                    <a:pt x="0" y="217539"/>
                  </a:moveTo>
                  <a:lnTo>
                    <a:pt x="0" y="0"/>
                  </a:lnTo>
                  <a:lnTo>
                    <a:pt x="217539" y="217539"/>
                  </a:lnTo>
                  <a:lnTo>
                    <a:pt x="0" y="217539"/>
                  </a:lnTo>
                  <a:close/>
                  <a:moveTo>
                    <a:pt x="27" y="435077"/>
                  </a:moveTo>
                  <a:lnTo>
                    <a:pt x="27" y="217566"/>
                  </a:lnTo>
                  <a:lnTo>
                    <a:pt x="217539" y="217566"/>
                  </a:lnTo>
                  <a:lnTo>
                    <a:pt x="27"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400" name="Freeform: Shape 399">
              <a:extLst>
                <a:ext uri="{FF2B5EF4-FFF2-40B4-BE49-F238E27FC236}">
                  <a16:creationId xmlns:a16="http://schemas.microsoft.com/office/drawing/2014/main" id="{35DD0247-6538-CDAE-F847-3C57ABD38DA9}"/>
                </a:ext>
              </a:extLst>
            </p:cNvPr>
            <p:cNvSpPr/>
            <p:nvPr/>
          </p:nvSpPr>
          <p:spPr>
            <a:xfrm>
              <a:off x="13888200" y="1154061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4" y="113039"/>
                    <a:pt x="371365" y="153827"/>
                  </a:cubicBezTo>
                  <a:cubicBezTo>
                    <a:pt x="330577" y="194642"/>
                    <a:pt x="275241" y="217539"/>
                    <a:pt x="217539" y="217539"/>
                  </a:cubicBezTo>
                  <a:cubicBezTo>
                    <a:pt x="159836" y="217539"/>
                    <a:pt x="104527" y="194642"/>
                    <a:pt x="63712" y="153827"/>
                  </a:cubicBezTo>
                  <a:close/>
                  <a:moveTo>
                    <a:pt x="63712" y="281277"/>
                  </a:moveTo>
                  <a:cubicBezTo>
                    <a:pt x="22924" y="322066"/>
                    <a:pt x="0" y="377402"/>
                    <a:pt x="0" y="435077"/>
                  </a:cubicBezTo>
                  <a:lnTo>
                    <a:pt x="217539" y="435077"/>
                  </a:lnTo>
                  <a:lnTo>
                    <a:pt x="435077" y="435077"/>
                  </a:lnTo>
                  <a:cubicBezTo>
                    <a:pt x="435077" y="377402"/>
                    <a:pt x="412154" y="322066"/>
                    <a:pt x="371365" y="281277"/>
                  </a:cubicBezTo>
                  <a:cubicBezTo>
                    <a:pt x="330577" y="240462"/>
                    <a:pt x="275241" y="217539"/>
                    <a:pt x="217539" y="217539"/>
                  </a:cubicBezTo>
                  <a:cubicBezTo>
                    <a:pt x="159836" y="217539"/>
                    <a:pt x="104527" y="240462"/>
                    <a:pt x="63712" y="281277"/>
                  </a:cubicBezTo>
                  <a:close/>
                </a:path>
              </a:pathLst>
            </a:custGeom>
            <a:grpFill/>
            <a:ln w="27192" cap="flat">
              <a:noFill/>
              <a:prstDash val="solid"/>
              <a:miter/>
            </a:ln>
          </p:spPr>
          <p:txBody>
            <a:bodyPr rtlCol="0" anchor="ctr"/>
            <a:lstStyle/>
            <a:p>
              <a:endParaRPr lang="uk-UA" sz="900">
                <a:solidFill>
                  <a:schemeClr val="bg1"/>
                </a:solidFill>
              </a:endParaRPr>
            </a:p>
          </p:txBody>
        </p:sp>
        <p:sp>
          <p:nvSpPr>
            <p:cNvPr id="401" name="Freeform: Shape 400">
              <a:extLst>
                <a:ext uri="{FF2B5EF4-FFF2-40B4-BE49-F238E27FC236}">
                  <a16:creationId xmlns:a16="http://schemas.microsoft.com/office/drawing/2014/main" id="{9D2B283B-3622-29B4-40AF-3B9BF91ABE3E}"/>
                </a:ext>
              </a:extLst>
            </p:cNvPr>
            <p:cNvSpPr/>
            <p:nvPr/>
          </p:nvSpPr>
          <p:spPr>
            <a:xfrm>
              <a:off x="15628536" y="1154061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402" name="Freeform: Shape 401">
              <a:extLst>
                <a:ext uri="{FF2B5EF4-FFF2-40B4-BE49-F238E27FC236}">
                  <a16:creationId xmlns:a16="http://schemas.microsoft.com/office/drawing/2014/main" id="{653FEAC6-ABEB-ABDE-A50E-31206FE7FF63}"/>
                </a:ext>
              </a:extLst>
            </p:cNvPr>
            <p:cNvSpPr/>
            <p:nvPr/>
          </p:nvSpPr>
          <p:spPr>
            <a:xfrm>
              <a:off x="16498719" y="1154064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0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0" y="217539"/>
                  </a:lnTo>
                  <a:lnTo>
                    <a:pt x="0" y="435050"/>
                  </a:lnTo>
                  <a:close/>
                </a:path>
              </a:pathLst>
            </a:custGeom>
            <a:grpFill/>
            <a:ln w="27192" cap="flat">
              <a:noFill/>
              <a:prstDash val="solid"/>
              <a:miter/>
            </a:ln>
          </p:spPr>
          <p:txBody>
            <a:bodyPr rtlCol="0" anchor="ctr"/>
            <a:lstStyle/>
            <a:p>
              <a:endParaRPr lang="uk-UA" sz="900">
                <a:solidFill>
                  <a:schemeClr val="bg1"/>
                </a:solidFill>
              </a:endParaRPr>
            </a:p>
          </p:txBody>
        </p:sp>
        <p:sp>
          <p:nvSpPr>
            <p:cNvPr id="403" name="Freeform: Shape 402">
              <a:extLst>
                <a:ext uri="{FF2B5EF4-FFF2-40B4-BE49-F238E27FC236}">
                  <a16:creationId xmlns:a16="http://schemas.microsoft.com/office/drawing/2014/main" id="{31DE3A0A-3E6C-4701-3D9E-D68FC2CE12DB}"/>
                </a:ext>
              </a:extLst>
            </p:cNvPr>
            <p:cNvSpPr/>
            <p:nvPr/>
          </p:nvSpPr>
          <p:spPr>
            <a:xfrm>
              <a:off x="18239029" y="1154061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0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10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0" y="217539"/>
                  </a:lnTo>
                  <a:lnTo>
                    <a:pt x="0" y="217539"/>
                  </a:lnTo>
                  <a:close/>
                  <a:moveTo>
                    <a:pt x="0" y="435077"/>
                  </a:moveTo>
                  <a:lnTo>
                    <a:pt x="0" y="217566"/>
                  </a:lnTo>
                  <a:lnTo>
                    <a:pt x="217510"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404" name="Freeform: Shape 403">
              <a:extLst>
                <a:ext uri="{FF2B5EF4-FFF2-40B4-BE49-F238E27FC236}">
                  <a16:creationId xmlns:a16="http://schemas.microsoft.com/office/drawing/2014/main" id="{28265539-8A3D-68C8-4B90-41CA30394342}"/>
                </a:ext>
              </a:extLst>
            </p:cNvPr>
            <p:cNvSpPr/>
            <p:nvPr/>
          </p:nvSpPr>
          <p:spPr>
            <a:xfrm>
              <a:off x="17368874" y="11540612"/>
              <a:ext cx="435077" cy="435077"/>
            </a:xfrm>
            <a:custGeom>
              <a:avLst/>
              <a:gdLst>
                <a:gd name="connsiteX0" fmla="*/ 63710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0 w 435077"/>
                <a:gd name="connsiteY6" fmla="*/ 153827 h 435077"/>
                <a:gd name="connsiteX7" fmla="*/ 63710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77 h 435077"/>
                <a:gd name="connsiteX12" fmla="*/ 217539 w 435077"/>
                <a:gd name="connsiteY12" fmla="*/ 217539 h 435077"/>
                <a:gd name="connsiteX13" fmla="*/ 63710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7"/>
                  </a:moveTo>
                  <a:cubicBezTo>
                    <a:pt x="22895" y="113039"/>
                    <a:pt x="0" y="57702"/>
                    <a:pt x="0" y="0"/>
                  </a:cubicBezTo>
                  <a:lnTo>
                    <a:pt x="217539" y="0"/>
                  </a:lnTo>
                  <a:lnTo>
                    <a:pt x="435077" y="0"/>
                  </a:lnTo>
                  <a:cubicBezTo>
                    <a:pt x="435077" y="57702"/>
                    <a:pt x="412154" y="113039"/>
                    <a:pt x="371339" y="153827"/>
                  </a:cubicBezTo>
                  <a:cubicBezTo>
                    <a:pt x="330550" y="194642"/>
                    <a:pt x="275213" y="217539"/>
                    <a:pt x="217539" y="217539"/>
                  </a:cubicBezTo>
                  <a:cubicBezTo>
                    <a:pt x="159836" y="217539"/>
                    <a:pt x="104499" y="194642"/>
                    <a:pt x="63710" y="153827"/>
                  </a:cubicBezTo>
                  <a:close/>
                  <a:moveTo>
                    <a:pt x="63710" y="281277"/>
                  </a:moveTo>
                  <a:cubicBezTo>
                    <a:pt x="22895" y="322066"/>
                    <a:pt x="0" y="377402"/>
                    <a:pt x="0" y="435077"/>
                  </a:cubicBezTo>
                  <a:lnTo>
                    <a:pt x="217539" y="435077"/>
                  </a:lnTo>
                  <a:lnTo>
                    <a:pt x="435077" y="435077"/>
                  </a:lnTo>
                  <a:cubicBezTo>
                    <a:pt x="435077" y="377402"/>
                    <a:pt x="412154" y="322066"/>
                    <a:pt x="371339" y="281277"/>
                  </a:cubicBezTo>
                  <a:cubicBezTo>
                    <a:pt x="330550" y="240462"/>
                    <a:pt x="275213" y="217539"/>
                    <a:pt x="217539" y="217539"/>
                  </a:cubicBezTo>
                  <a:cubicBezTo>
                    <a:pt x="159836" y="217539"/>
                    <a:pt x="104499" y="240462"/>
                    <a:pt x="63710" y="281277"/>
                  </a:cubicBezTo>
                  <a:close/>
                </a:path>
              </a:pathLst>
            </a:custGeom>
            <a:grpFill/>
            <a:ln w="27192" cap="flat">
              <a:noFill/>
              <a:prstDash val="solid"/>
              <a:miter/>
            </a:ln>
          </p:spPr>
          <p:txBody>
            <a:bodyPr rtlCol="0" anchor="ctr"/>
            <a:lstStyle/>
            <a:p>
              <a:endParaRPr lang="uk-UA" sz="900">
                <a:solidFill>
                  <a:schemeClr val="bg1"/>
                </a:solidFill>
              </a:endParaRPr>
            </a:p>
          </p:txBody>
        </p:sp>
        <p:sp>
          <p:nvSpPr>
            <p:cNvPr id="405" name="Freeform: Shape 404">
              <a:extLst>
                <a:ext uri="{FF2B5EF4-FFF2-40B4-BE49-F238E27FC236}">
                  <a16:creationId xmlns:a16="http://schemas.microsoft.com/office/drawing/2014/main" id="{8A51756B-E066-0483-7E94-344AF4186A30}"/>
                </a:ext>
              </a:extLst>
            </p:cNvPr>
            <p:cNvSpPr/>
            <p:nvPr/>
          </p:nvSpPr>
          <p:spPr>
            <a:xfrm>
              <a:off x="19109184" y="1154061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406" name="Freeform: Shape 405">
              <a:extLst>
                <a:ext uri="{FF2B5EF4-FFF2-40B4-BE49-F238E27FC236}">
                  <a16:creationId xmlns:a16="http://schemas.microsoft.com/office/drawing/2014/main" id="{766654E6-39FA-76C8-9A22-29E50EE333A3}"/>
                </a:ext>
              </a:extLst>
            </p:cNvPr>
            <p:cNvSpPr/>
            <p:nvPr/>
          </p:nvSpPr>
          <p:spPr>
            <a:xfrm>
              <a:off x="19979365" y="11540612"/>
              <a:ext cx="435077" cy="435077"/>
            </a:xfrm>
            <a:custGeom>
              <a:avLst/>
              <a:gdLst>
                <a:gd name="connsiteX0" fmla="*/ 435077 w 435077"/>
                <a:gd name="connsiteY0" fmla="*/ 435077 h 435077"/>
                <a:gd name="connsiteX1" fmla="*/ 435077 w 435077"/>
                <a:gd name="connsiteY1" fmla="*/ 0 h 435077"/>
                <a:gd name="connsiteX2" fmla="*/ 217539 w 435077"/>
                <a:gd name="connsiteY2" fmla="*/ 217566 h 435077"/>
                <a:gd name="connsiteX3" fmla="*/ 435077 w 435077"/>
                <a:gd name="connsiteY3" fmla="*/ 435077 h 435077"/>
                <a:gd name="connsiteX4" fmla="*/ 0 w 435077"/>
                <a:gd name="connsiteY4" fmla="*/ 435077 h 435077"/>
                <a:gd name="connsiteX5" fmla="*/ 0 w 435077"/>
                <a:gd name="connsiteY5" fmla="*/ 0 h 435077"/>
                <a:gd name="connsiteX6" fmla="*/ 217512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66"/>
                  </a:lnTo>
                  <a:lnTo>
                    <a:pt x="435077" y="435077"/>
                  </a:lnTo>
                  <a:close/>
                  <a:moveTo>
                    <a:pt x="0" y="435077"/>
                  </a:moveTo>
                  <a:lnTo>
                    <a:pt x="0" y="0"/>
                  </a:lnTo>
                  <a:lnTo>
                    <a:pt x="217512"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407" name="Freeform: Shape 406">
              <a:extLst>
                <a:ext uri="{FF2B5EF4-FFF2-40B4-BE49-F238E27FC236}">
                  <a16:creationId xmlns:a16="http://schemas.microsoft.com/office/drawing/2014/main" id="{AB8E66DE-41B7-E0AE-E121-8CFDE7E8729A}"/>
                </a:ext>
              </a:extLst>
            </p:cNvPr>
            <p:cNvSpPr/>
            <p:nvPr/>
          </p:nvSpPr>
          <p:spPr>
            <a:xfrm>
              <a:off x="21719675" y="1154061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5 w 435077"/>
                <a:gd name="connsiteY3" fmla="*/ 27 h 435077"/>
                <a:gd name="connsiteX4" fmla="*/ 435077 w 435077"/>
                <a:gd name="connsiteY4" fmla="*/ 217566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5" y="27"/>
                  </a:lnTo>
                  <a:lnTo>
                    <a:pt x="435077" y="217566"/>
                  </a:lnTo>
                  <a:lnTo>
                    <a:pt x="217565"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408" name="Freeform: Shape 407">
              <a:extLst>
                <a:ext uri="{FF2B5EF4-FFF2-40B4-BE49-F238E27FC236}">
                  <a16:creationId xmlns:a16="http://schemas.microsoft.com/office/drawing/2014/main" id="{2AEFF285-4D93-43BA-16E9-65CE7416416A}"/>
                </a:ext>
              </a:extLst>
            </p:cNvPr>
            <p:cNvSpPr/>
            <p:nvPr/>
          </p:nvSpPr>
          <p:spPr>
            <a:xfrm>
              <a:off x="20849520" y="1154061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4" y="113039"/>
                    <a:pt x="371365" y="153827"/>
                  </a:cubicBezTo>
                  <a:cubicBezTo>
                    <a:pt x="330577" y="194642"/>
                    <a:pt x="275241" y="217539"/>
                    <a:pt x="217539" y="217539"/>
                  </a:cubicBezTo>
                  <a:cubicBezTo>
                    <a:pt x="159836"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4" y="322066"/>
                    <a:pt x="371365" y="281277"/>
                  </a:cubicBezTo>
                  <a:cubicBezTo>
                    <a:pt x="330577" y="240462"/>
                    <a:pt x="275241" y="217539"/>
                    <a:pt x="217539" y="217539"/>
                  </a:cubicBezTo>
                  <a:cubicBezTo>
                    <a:pt x="159836" y="217539"/>
                    <a:pt x="104501" y="240462"/>
                    <a:pt x="63712" y="281277"/>
                  </a:cubicBezTo>
                  <a:close/>
                </a:path>
              </a:pathLst>
            </a:custGeom>
            <a:grpFill/>
            <a:ln w="27192" cap="flat">
              <a:noFill/>
              <a:prstDash val="solid"/>
              <a:miter/>
            </a:ln>
          </p:spPr>
          <p:txBody>
            <a:bodyPr rtlCol="0" anchor="ctr"/>
            <a:lstStyle/>
            <a:p>
              <a:endParaRPr lang="uk-UA" sz="900">
                <a:solidFill>
                  <a:schemeClr val="bg1"/>
                </a:solidFill>
              </a:endParaRPr>
            </a:p>
          </p:txBody>
        </p:sp>
        <p:sp>
          <p:nvSpPr>
            <p:cNvPr id="409" name="Freeform: Shape 408">
              <a:extLst>
                <a:ext uri="{FF2B5EF4-FFF2-40B4-BE49-F238E27FC236}">
                  <a16:creationId xmlns:a16="http://schemas.microsoft.com/office/drawing/2014/main" id="{C5CB468B-0E03-3A71-F501-270B7AD3951F}"/>
                </a:ext>
              </a:extLst>
            </p:cNvPr>
            <p:cNvSpPr/>
            <p:nvPr/>
          </p:nvSpPr>
          <p:spPr>
            <a:xfrm>
              <a:off x="22589856" y="1154061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410" name="Freeform: Shape 409">
              <a:extLst>
                <a:ext uri="{FF2B5EF4-FFF2-40B4-BE49-F238E27FC236}">
                  <a16:creationId xmlns:a16="http://schemas.microsoft.com/office/drawing/2014/main" id="{0FCABCB7-9EA0-BDBD-0622-A35C387422E4}"/>
                </a:ext>
              </a:extLst>
            </p:cNvPr>
            <p:cNvSpPr/>
            <p:nvPr/>
          </p:nvSpPr>
          <p:spPr>
            <a:xfrm>
              <a:off x="23460011" y="11540612"/>
              <a:ext cx="435077" cy="435077"/>
            </a:xfrm>
            <a:custGeom>
              <a:avLst/>
              <a:gdLst>
                <a:gd name="connsiteX0" fmla="*/ 435077 w 435077"/>
                <a:gd name="connsiteY0" fmla="*/ 435077 h 435077"/>
                <a:gd name="connsiteX1" fmla="*/ 435077 w 435077"/>
                <a:gd name="connsiteY1" fmla="*/ 0 h 435077"/>
                <a:gd name="connsiteX2" fmla="*/ 217567 w 435077"/>
                <a:gd name="connsiteY2" fmla="*/ 217566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7" y="217566"/>
                  </a:lnTo>
                  <a:lnTo>
                    <a:pt x="435077" y="435077"/>
                  </a:lnTo>
                  <a:close/>
                  <a:moveTo>
                    <a:pt x="0" y="435077"/>
                  </a:moveTo>
                  <a:lnTo>
                    <a:pt x="0" y="0"/>
                  </a:lnTo>
                  <a:lnTo>
                    <a:pt x="217539"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411" name="Freeform: Shape 410">
              <a:extLst>
                <a:ext uri="{FF2B5EF4-FFF2-40B4-BE49-F238E27FC236}">
                  <a16:creationId xmlns:a16="http://schemas.microsoft.com/office/drawing/2014/main" id="{16577509-E437-C154-1BF1-990C5D7A6C92}"/>
                </a:ext>
              </a:extLst>
            </p:cNvPr>
            <p:cNvSpPr/>
            <p:nvPr/>
          </p:nvSpPr>
          <p:spPr>
            <a:xfrm>
              <a:off x="24330194" y="1154061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447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447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235" y="113039"/>
                    <a:pt x="371447" y="153827"/>
                  </a:cubicBezTo>
                  <a:cubicBezTo>
                    <a:pt x="330658" y="194642"/>
                    <a:pt x="275186" y="217539"/>
                    <a:pt x="217539" y="217539"/>
                  </a:cubicBezTo>
                  <a:cubicBezTo>
                    <a:pt x="159836" y="217539"/>
                    <a:pt x="104501" y="194642"/>
                    <a:pt x="63712" y="153827"/>
                  </a:cubicBezTo>
                  <a:close/>
                  <a:moveTo>
                    <a:pt x="63712" y="281277"/>
                  </a:moveTo>
                  <a:cubicBezTo>
                    <a:pt x="22924" y="322066"/>
                    <a:pt x="0" y="377402"/>
                    <a:pt x="0" y="435077"/>
                  </a:cubicBezTo>
                  <a:lnTo>
                    <a:pt x="217539" y="435077"/>
                  </a:lnTo>
                  <a:lnTo>
                    <a:pt x="435077" y="435077"/>
                  </a:lnTo>
                  <a:cubicBezTo>
                    <a:pt x="435077" y="377402"/>
                    <a:pt x="412235" y="322066"/>
                    <a:pt x="371447" y="281277"/>
                  </a:cubicBezTo>
                  <a:cubicBezTo>
                    <a:pt x="330658" y="240462"/>
                    <a:pt x="275186" y="217539"/>
                    <a:pt x="217539" y="217539"/>
                  </a:cubicBezTo>
                  <a:cubicBezTo>
                    <a:pt x="159836" y="217539"/>
                    <a:pt x="104501" y="240462"/>
                    <a:pt x="63712" y="281277"/>
                  </a:cubicBezTo>
                  <a:close/>
                </a:path>
              </a:pathLst>
            </a:custGeom>
            <a:grpFill/>
            <a:ln w="27192" cap="flat">
              <a:noFill/>
              <a:prstDash val="solid"/>
              <a:miter/>
            </a:ln>
          </p:spPr>
          <p:txBody>
            <a:bodyPr rtlCol="0" anchor="ctr"/>
            <a:lstStyle/>
            <a:p>
              <a:endParaRPr lang="uk-UA" sz="900">
                <a:solidFill>
                  <a:schemeClr val="bg1"/>
                </a:solidFill>
              </a:endParaRPr>
            </a:p>
          </p:txBody>
        </p:sp>
        <p:sp>
          <p:nvSpPr>
            <p:cNvPr id="412" name="Freeform: Shape 411">
              <a:extLst>
                <a:ext uri="{FF2B5EF4-FFF2-40B4-BE49-F238E27FC236}">
                  <a16:creationId xmlns:a16="http://schemas.microsoft.com/office/drawing/2014/main" id="{69C4FA61-5497-9D69-DC46-8C31EAC7F158}"/>
                </a:ext>
              </a:extLst>
            </p:cNvPr>
            <p:cNvSpPr/>
            <p:nvPr/>
          </p:nvSpPr>
          <p:spPr>
            <a:xfrm>
              <a:off x="835742" y="12410767"/>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solidFill>
                  <a:schemeClr val="bg1"/>
                </a:solidFill>
              </a:endParaRPr>
            </a:p>
          </p:txBody>
        </p:sp>
        <p:sp>
          <p:nvSpPr>
            <p:cNvPr id="413" name="Freeform: Shape 412">
              <a:extLst>
                <a:ext uri="{FF2B5EF4-FFF2-40B4-BE49-F238E27FC236}">
                  <a16:creationId xmlns:a16="http://schemas.microsoft.com/office/drawing/2014/main" id="{E22FBE22-F32D-60A9-E68A-E8605FAC8228}"/>
                </a:ext>
              </a:extLst>
            </p:cNvPr>
            <p:cNvSpPr/>
            <p:nvPr/>
          </p:nvSpPr>
          <p:spPr>
            <a:xfrm>
              <a:off x="-34409" y="12410767"/>
              <a:ext cx="435074" cy="435104"/>
            </a:xfrm>
            <a:custGeom>
              <a:avLst/>
              <a:gdLst>
                <a:gd name="connsiteX0" fmla="*/ 0 w 435074"/>
                <a:gd name="connsiteY0" fmla="*/ 435077 h 435104"/>
                <a:gd name="connsiteX1" fmla="*/ 217536 w 435074"/>
                <a:gd name="connsiteY1" fmla="*/ 435077 h 435104"/>
                <a:gd name="connsiteX2" fmla="*/ 217536 w 435074"/>
                <a:gd name="connsiteY2" fmla="*/ 217566 h 435104"/>
                <a:gd name="connsiteX3" fmla="*/ 0 w 435074"/>
                <a:gd name="connsiteY3" fmla="*/ 435077 h 435104"/>
                <a:gd name="connsiteX4" fmla="*/ 217536 w 435074"/>
                <a:gd name="connsiteY4" fmla="*/ 0 h 435104"/>
                <a:gd name="connsiteX5" fmla="*/ 3 w 435074"/>
                <a:gd name="connsiteY5" fmla="*/ 0 h 435104"/>
                <a:gd name="connsiteX6" fmla="*/ 217536 w 435074"/>
                <a:gd name="connsiteY6" fmla="*/ 217539 h 435104"/>
                <a:gd name="connsiteX7" fmla="*/ 217536 w 435074"/>
                <a:gd name="connsiteY7" fmla="*/ 0 h 435104"/>
                <a:gd name="connsiteX8" fmla="*/ 435075 w 435074"/>
                <a:gd name="connsiteY8" fmla="*/ 435105 h 435104"/>
                <a:gd name="connsiteX9" fmla="*/ 217536 w 435074"/>
                <a:gd name="connsiteY9" fmla="*/ 435105 h 435104"/>
                <a:gd name="connsiteX10" fmla="*/ 435075 w 435074"/>
                <a:gd name="connsiteY10" fmla="*/ 217566 h 435104"/>
                <a:gd name="connsiteX11" fmla="*/ 435075 w 435074"/>
                <a:gd name="connsiteY11" fmla="*/ 435105 h 435104"/>
                <a:gd name="connsiteX12" fmla="*/ 435075 w 435074"/>
                <a:gd name="connsiteY12" fmla="*/ 27 h 435104"/>
                <a:gd name="connsiteX13" fmla="*/ 217536 w 435074"/>
                <a:gd name="connsiteY13" fmla="*/ 27 h 435104"/>
                <a:gd name="connsiteX14" fmla="*/ 435075 w 435074"/>
                <a:gd name="connsiteY14" fmla="*/ 217539 h 435104"/>
                <a:gd name="connsiteX15" fmla="*/ 435075 w 435074"/>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4" h="435104">
                  <a:moveTo>
                    <a:pt x="0" y="435077"/>
                  </a:moveTo>
                  <a:lnTo>
                    <a:pt x="217536" y="435077"/>
                  </a:lnTo>
                  <a:lnTo>
                    <a:pt x="217536" y="217566"/>
                  </a:lnTo>
                  <a:lnTo>
                    <a:pt x="0" y="435077"/>
                  </a:lnTo>
                  <a:close/>
                  <a:moveTo>
                    <a:pt x="217536" y="0"/>
                  </a:moveTo>
                  <a:lnTo>
                    <a:pt x="3" y="0"/>
                  </a:lnTo>
                  <a:lnTo>
                    <a:pt x="217536" y="217539"/>
                  </a:lnTo>
                  <a:lnTo>
                    <a:pt x="217536" y="0"/>
                  </a:lnTo>
                  <a:close/>
                  <a:moveTo>
                    <a:pt x="435075" y="435105"/>
                  </a:moveTo>
                  <a:lnTo>
                    <a:pt x="217536" y="435105"/>
                  </a:lnTo>
                  <a:lnTo>
                    <a:pt x="435075" y="217566"/>
                  </a:lnTo>
                  <a:lnTo>
                    <a:pt x="435075" y="435105"/>
                  </a:lnTo>
                  <a:close/>
                  <a:moveTo>
                    <a:pt x="435075" y="27"/>
                  </a:moveTo>
                  <a:lnTo>
                    <a:pt x="217536" y="27"/>
                  </a:lnTo>
                  <a:lnTo>
                    <a:pt x="435075" y="217539"/>
                  </a:lnTo>
                  <a:lnTo>
                    <a:pt x="435075" y="27"/>
                  </a:lnTo>
                  <a:close/>
                </a:path>
              </a:pathLst>
            </a:custGeom>
            <a:grpFill/>
            <a:ln w="27192" cap="flat">
              <a:noFill/>
              <a:prstDash val="solid"/>
              <a:miter/>
            </a:ln>
          </p:spPr>
          <p:txBody>
            <a:bodyPr rtlCol="0" anchor="ctr"/>
            <a:lstStyle/>
            <a:p>
              <a:endParaRPr lang="uk-UA" sz="900">
                <a:solidFill>
                  <a:schemeClr val="bg1"/>
                </a:solidFill>
              </a:endParaRPr>
            </a:p>
          </p:txBody>
        </p:sp>
        <p:sp>
          <p:nvSpPr>
            <p:cNvPr id="414" name="Freeform: Shape 413">
              <a:extLst>
                <a:ext uri="{FF2B5EF4-FFF2-40B4-BE49-F238E27FC236}">
                  <a16:creationId xmlns:a16="http://schemas.microsoft.com/office/drawing/2014/main" id="{C9C85416-AA2B-A51F-4ED3-F85006D93824}"/>
                </a:ext>
              </a:extLst>
            </p:cNvPr>
            <p:cNvSpPr/>
            <p:nvPr/>
          </p:nvSpPr>
          <p:spPr>
            <a:xfrm>
              <a:off x="1705924" y="12410767"/>
              <a:ext cx="435077" cy="435077"/>
            </a:xfrm>
            <a:custGeom>
              <a:avLst/>
              <a:gdLst>
                <a:gd name="connsiteX0" fmla="*/ 371366 w 435077"/>
                <a:gd name="connsiteY0" fmla="*/ 63739 h 435077"/>
                <a:gd name="connsiteX1" fmla="*/ 435077 w 435077"/>
                <a:gd name="connsiteY1" fmla="*/ 217539 h 435077"/>
                <a:gd name="connsiteX2" fmla="*/ 217702 w 435077"/>
                <a:gd name="connsiteY2" fmla="*/ 217539 h 435077"/>
                <a:gd name="connsiteX3" fmla="*/ 371366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1 w 435077"/>
                <a:gd name="connsiteY7" fmla="*/ 281277 h 435077"/>
                <a:gd name="connsiteX8" fmla="*/ 217375 w 435077"/>
                <a:gd name="connsiteY8" fmla="*/ 217539 h 435077"/>
                <a:gd name="connsiteX9" fmla="*/ 0 w 435077"/>
                <a:gd name="connsiteY9" fmla="*/ 217539 h 435077"/>
                <a:gd name="connsiteX10" fmla="*/ 63711 w 435077"/>
                <a:gd name="connsiteY10" fmla="*/ 63739 h 435077"/>
                <a:gd name="connsiteX11" fmla="*/ 217539 w 435077"/>
                <a:gd name="connsiteY11" fmla="*/ 0 h 435077"/>
                <a:gd name="connsiteX12" fmla="*/ 371366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39"/>
                  </a:moveTo>
                  <a:cubicBezTo>
                    <a:pt x="412154" y="104527"/>
                    <a:pt x="435077" y="159864"/>
                    <a:pt x="435077" y="217539"/>
                  </a:cubicBezTo>
                  <a:lnTo>
                    <a:pt x="217702" y="217539"/>
                  </a:lnTo>
                  <a:cubicBezTo>
                    <a:pt x="275349" y="217593"/>
                    <a:pt x="330604" y="240516"/>
                    <a:pt x="371366" y="281277"/>
                  </a:cubicBezTo>
                  <a:cubicBezTo>
                    <a:pt x="412154" y="322066"/>
                    <a:pt x="435077" y="377402"/>
                    <a:pt x="435077" y="435077"/>
                  </a:cubicBezTo>
                  <a:lnTo>
                    <a:pt x="217539" y="435077"/>
                  </a:lnTo>
                  <a:lnTo>
                    <a:pt x="0" y="435077"/>
                  </a:lnTo>
                  <a:cubicBezTo>
                    <a:pt x="0" y="377402"/>
                    <a:pt x="22923" y="322066"/>
                    <a:pt x="63711" y="281277"/>
                  </a:cubicBezTo>
                  <a:cubicBezTo>
                    <a:pt x="104473" y="240516"/>
                    <a:pt x="159728" y="217593"/>
                    <a:pt x="217375" y="217539"/>
                  </a:cubicBezTo>
                  <a:lnTo>
                    <a:pt x="0" y="217539"/>
                  </a:lnTo>
                  <a:cubicBezTo>
                    <a:pt x="0" y="159864"/>
                    <a:pt x="22923" y="104527"/>
                    <a:pt x="63711" y="63739"/>
                  </a:cubicBezTo>
                  <a:cubicBezTo>
                    <a:pt x="104500" y="22923"/>
                    <a:pt x="159836" y="0"/>
                    <a:pt x="217539" y="0"/>
                  </a:cubicBezTo>
                  <a:cubicBezTo>
                    <a:pt x="275213" y="0"/>
                    <a:pt x="330550" y="22923"/>
                    <a:pt x="371366" y="63739"/>
                  </a:cubicBezTo>
                  <a:close/>
                </a:path>
              </a:pathLst>
            </a:custGeom>
            <a:grpFill/>
            <a:ln w="27192" cap="flat">
              <a:noFill/>
              <a:prstDash val="solid"/>
              <a:miter/>
            </a:ln>
          </p:spPr>
          <p:txBody>
            <a:bodyPr rtlCol="0" anchor="ctr"/>
            <a:lstStyle/>
            <a:p>
              <a:endParaRPr lang="uk-UA" sz="900">
                <a:solidFill>
                  <a:schemeClr val="bg1"/>
                </a:solidFill>
              </a:endParaRPr>
            </a:p>
          </p:txBody>
        </p:sp>
        <p:sp>
          <p:nvSpPr>
            <p:cNvPr id="415" name="Freeform: Shape 414">
              <a:extLst>
                <a:ext uri="{FF2B5EF4-FFF2-40B4-BE49-F238E27FC236}">
                  <a16:creationId xmlns:a16="http://schemas.microsoft.com/office/drawing/2014/main" id="{BAF137D4-DA77-2B19-3BDF-F9E673A6182A}"/>
                </a:ext>
              </a:extLst>
            </p:cNvPr>
            <p:cNvSpPr/>
            <p:nvPr/>
          </p:nvSpPr>
          <p:spPr>
            <a:xfrm>
              <a:off x="2576079" y="12410767"/>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416" name="Freeform: Shape 415">
              <a:extLst>
                <a:ext uri="{FF2B5EF4-FFF2-40B4-BE49-F238E27FC236}">
                  <a16:creationId xmlns:a16="http://schemas.microsoft.com/office/drawing/2014/main" id="{41B62BB9-D5D4-644E-B43F-9CB26D951879}"/>
                </a:ext>
              </a:extLst>
            </p:cNvPr>
            <p:cNvSpPr/>
            <p:nvPr/>
          </p:nvSpPr>
          <p:spPr>
            <a:xfrm>
              <a:off x="4316416" y="12410767"/>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417" name="Freeform: Shape 416">
              <a:extLst>
                <a:ext uri="{FF2B5EF4-FFF2-40B4-BE49-F238E27FC236}">
                  <a16:creationId xmlns:a16="http://schemas.microsoft.com/office/drawing/2014/main" id="{5A25CB35-8E66-901F-A0B4-7D93D4B9EA09}"/>
                </a:ext>
              </a:extLst>
            </p:cNvPr>
            <p:cNvSpPr/>
            <p:nvPr/>
          </p:nvSpPr>
          <p:spPr>
            <a:xfrm>
              <a:off x="3446261" y="12410767"/>
              <a:ext cx="435077" cy="435104"/>
            </a:xfrm>
            <a:custGeom>
              <a:avLst/>
              <a:gdLst>
                <a:gd name="connsiteX0" fmla="*/ 0 w 435077"/>
                <a:gd name="connsiteY0" fmla="*/ 435077 h 435104"/>
                <a:gd name="connsiteX1" fmla="*/ 217512 w 435077"/>
                <a:gd name="connsiteY1" fmla="*/ 435077 h 435104"/>
                <a:gd name="connsiteX2" fmla="*/ 217512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12" y="435077"/>
                  </a:lnTo>
                  <a:lnTo>
                    <a:pt x="217512"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solidFill>
                  <a:schemeClr val="bg1"/>
                </a:solidFill>
              </a:endParaRPr>
            </a:p>
          </p:txBody>
        </p:sp>
        <p:sp>
          <p:nvSpPr>
            <p:cNvPr id="418" name="Freeform: Shape 417">
              <a:extLst>
                <a:ext uri="{FF2B5EF4-FFF2-40B4-BE49-F238E27FC236}">
                  <a16:creationId xmlns:a16="http://schemas.microsoft.com/office/drawing/2014/main" id="{51105B3E-0567-6CFD-D0E3-521D36D8B76A}"/>
                </a:ext>
              </a:extLst>
            </p:cNvPr>
            <p:cNvSpPr/>
            <p:nvPr/>
          </p:nvSpPr>
          <p:spPr>
            <a:xfrm>
              <a:off x="5186571" y="12410767"/>
              <a:ext cx="435103" cy="435077"/>
            </a:xfrm>
            <a:custGeom>
              <a:avLst/>
              <a:gdLst>
                <a:gd name="connsiteX0" fmla="*/ 371365 w 435103"/>
                <a:gd name="connsiteY0" fmla="*/ 63739 h 435077"/>
                <a:gd name="connsiteX1" fmla="*/ 435077 w 435103"/>
                <a:gd name="connsiteY1" fmla="*/ 217539 h 435077"/>
                <a:gd name="connsiteX2" fmla="*/ 217729 w 435103"/>
                <a:gd name="connsiteY2" fmla="*/ 217539 h 435077"/>
                <a:gd name="connsiteX3" fmla="*/ 371365 w 435103"/>
                <a:gd name="connsiteY3" fmla="*/ 281277 h 435077"/>
                <a:gd name="connsiteX4" fmla="*/ 435104 w 435103"/>
                <a:gd name="connsiteY4" fmla="*/ 435077 h 435077"/>
                <a:gd name="connsiteX5" fmla="*/ 217565 w 435103"/>
                <a:gd name="connsiteY5" fmla="*/ 435077 h 435077"/>
                <a:gd name="connsiteX6" fmla="*/ 27 w 435103"/>
                <a:gd name="connsiteY6" fmla="*/ 435077 h 435077"/>
                <a:gd name="connsiteX7" fmla="*/ 63739 w 435103"/>
                <a:gd name="connsiteY7" fmla="*/ 281277 h 435077"/>
                <a:gd name="connsiteX8" fmla="*/ 217375 w 435103"/>
                <a:gd name="connsiteY8" fmla="*/ 217539 h 435077"/>
                <a:gd name="connsiteX9" fmla="*/ 0 w 435103"/>
                <a:gd name="connsiteY9" fmla="*/ 217539 h 435077"/>
                <a:gd name="connsiteX10" fmla="*/ 63739 w 435103"/>
                <a:gd name="connsiteY10" fmla="*/ 63739 h 435077"/>
                <a:gd name="connsiteX11" fmla="*/ 217539 w 435103"/>
                <a:gd name="connsiteY11" fmla="*/ 0 h 435077"/>
                <a:gd name="connsiteX12" fmla="*/ 371365 w 435103"/>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3" h="435077">
                  <a:moveTo>
                    <a:pt x="371365" y="63739"/>
                  </a:moveTo>
                  <a:cubicBezTo>
                    <a:pt x="412181" y="104527"/>
                    <a:pt x="435077" y="159864"/>
                    <a:pt x="435077" y="217539"/>
                  </a:cubicBezTo>
                  <a:lnTo>
                    <a:pt x="217729" y="217539"/>
                  </a:lnTo>
                  <a:cubicBezTo>
                    <a:pt x="275349" y="217593"/>
                    <a:pt x="330632" y="240516"/>
                    <a:pt x="371365" y="281277"/>
                  </a:cubicBezTo>
                  <a:cubicBezTo>
                    <a:pt x="412181" y="322066"/>
                    <a:pt x="435104" y="377402"/>
                    <a:pt x="435104" y="435077"/>
                  </a:cubicBezTo>
                  <a:lnTo>
                    <a:pt x="217565" y="435077"/>
                  </a:lnTo>
                  <a:lnTo>
                    <a:pt x="27" y="435077"/>
                  </a:lnTo>
                  <a:cubicBezTo>
                    <a:pt x="27" y="377402"/>
                    <a:pt x="22923" y="322066"/>
                    <a:pt x="63739" y="281277"/>
                  </a:cubicBezTo>
                  <a:cubicBezTo>
                    <a:pt x="104500" y="240516"/>
                    <a:pt x="159755" y="217593"/>
                    <a:pt x="217375" y="217539"/>
                  </a:cubicBezTo>
                  <a:lnTo>
                    <a:pt x="0" y="217539"/>
                  </a:lnTo>
                  <a:cubicBezTo>
                    <a:pt x="0" y="159864"/>
                    <a:pt x="22923" y="104527"/>
                    <a:pt x="63739" y="63739"/>
                  </a:cubicBezTo>
                  <a:cubicBezTo>
                    <a:pt x="104527" y="22923"/>
                    <a:pt x="159864" y="0"/>
                    <a:pt x="217539" y="0"/>
                  </a:cubicBezTo>
                  <a:cubicBezTo>
                    <a:pt x="275240" y="0"/>
                    <a:pt x="330577" y="22923"/>
                    <a:pt x="371365" y="63739"/>
                  </a:cubicBezTo>
                  <a:close/>
                </a:path>
              </a:pathLst>
            </a:custGeom>
            <a:grpFill/>
            <a:ln w="27192" cap="flat">
              <a:noFill/>
              <a:prstDash val="solid"/>
              <a:miter/>
            </a:ln>
          </p:spPr>
          <p:txBody>
            <a:bodyPr rtlCol="0" anchor="ctr"/>
            <a:lstStyle/>
            <a:p>
              <a:endParaRPr lang="uk-UA" sz="900">
                <a:solidFill>
                  <a:schemeClr val="bg1"/>
                </a:solidFill>
              </a:endParaRPr>
            </a:p>
          </p:txBody>
        </p:sp>
        <p:sp>
          <p:nvSpPr>
            <p:cNvPr id="419" name="Freeform: Shape 418">
              <a:extLst>
                <a:ext uri="{FF2B5EF4-FFF2-40B4-BE49-F238E27FC236}">
                  <a16:creationId xmlns:a16="http://schemas.microsoft.com/office/drawing/2014/main" id="{128A87E2-1D3B-1032-47B9-D6E693F4AC72}"/>
                </a:ext>
              </a:extLst>
            </p:cNvPr>
            <p:cNvSpPr/>
            <p:nvPr/>
          </p:nvSpPr>
          <p:spPr>
            <a:xfrm>
              <a:off x="6056725" y="12410767"/>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420" name="Freeform: Shape 419">
              <a:extLst>
                <a:ext uri="{FF2B5EF4-FFF2-40B4-BE49-F238E27FC236}">
                  <a16:creationId xmlns:a16="http://schemas.microsoft.com/office/drawing/2014/main" id="{621C556F-F5BF-B7BC-2FEC-4FBAD89D1AC9}"/>
                </a:ext>
              </a:extLst>
            </p:cNvPr>
            <p:cNvSpPr/>
            <p:nvPr/>
          </p:nvSpPr>
          <p:spPr>
            <a:xfrm>
              <a:off x="7797062" y="12410767"/>
              <a:ext cx="435077" cy="435077"/>
            </a:xfrm>
            <a:custGeom>
              <a:avLst/>
              <a:gdLst>
                <a:gd name="connsiteX0" fmla="*/ 217539 w 435077"/>
                <a:gd name="connsiteY0" fmla="*/ 0 h 435077"/>
                <a:gd name="connsiteX1" fmla="*/ 217539 w 435077"/>
                <a:gd name="connsiteY1" fmla="*/ 0 h 435077"/>
                <a:gd name="connsiteX2" fmla="*/ 0 w 435077"/>
                <a:gd name="connsiteY2" fmla="*/ 0 h 435077"/>
                <a:gd name="connsiteX3" fmla="*/ 0 w 435077"/>
                <a:gd name="connsiteY3" fmla="*/ 217539 h 435077"/>
                <a:gd name="connsiteX4" fmla="*/ 217539 w 435077"/>
                <a:gd name="connsiteY4" fmla="*/ 27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217539" y="0"/>
                  </a:lnTo>
                  <a:lnTo>
                    <a:pt x="0" y="0"/>
                  </a:lnTo>
                  <a:lnTo>
                    <a:pt x="0" y="217539"/>
                  </a:lnTo>
                  <a:lnTo>
                    <a:pt x="217539" y="27"/>
                  </a:lnTo>
                  <a:lnTo>
                    <a:pt x="435077" y="217539"/>
                  </a:lnTo>
                  <a:lnTo>
                    <a:pt x="217539" y="435077"/>
                  </a:lnTo>
                  <a:lnTo>
                    <a:pt x="0" y="217539"/>
                  </a:lnTo>
                  <a:lnTo>
                    <a:pt x="0" y="435077"/>
                  </a:lnTo>
                  <a:lnTo>
                    <a:pt x="217539" y="435077"/>
                  </a:lnTo>
                  <a:lnTo>
                    <a:pt x="435077" y="435077"/>
                  </a:lnTo>
                  <a:lnTo>
                    <a:pt x="435077" y="217539"/>
                  </a:lnTo>
                  <a:lnTo>
                    <a:pt x="435077" y="0"/>
                  </a:lnTo>
                  <a:lnTo>
                    <a:pt x="217539" y="0"/>
                  </a:lnTo>
                  <a:close/>
                </a:path>
              </a:pathLst>
            </a:custGeom>
            <a:grpFill/>
            <a:ln w="27192" cap="flat">
              <a:noFill/>
              <a:prstDash val="solid"/>
              <a:miter/>
            </a:ln>
          </p:spPr>
          <p:txBody>
            <a:bodyPr rtlCol="0" anchor="ctr"/>
            <a:lstStyle/>
            <a:p>
              <a:endParaRPr lang="uk-UA" sz="900">
                <a:solidFill>
                  <a:schemeClr val="bg1"/>
                </a:solidFill>
              </a:endParaRPr>
            </a:p>
          </p:txBody>
        </p:sp>
        <p:sp>
          <p:nvSpPr>
            <p:cNvPr id="421" name="Freeform: Shape 420">
              <a:extLst>
                <a:ext uri="{FF2B5EF4-FFF2-40B4-BE49-F238E27FC236}">
                  <a16:creationId xmlns:a16="http://schemas.microsoft.com/office/drawing/2014/main" id="{3680DE3D-94BE-549A-1DB9-14D8909FE210}"/>
                </a:ext>
              </a:extLst>
            </p:cNvPr>
            <p:cNvSpPr/>
            <p:nvPr/>
          </p:nvSpPr>
          <p:spPr>
            <a:xfrm>
              <a:off x="6926907" y="12410767"/>
              <a:ext cx="435077" cy="435104"/>
            </a:xfrm>
            <a:custGeom>
              <a:avLst/>
              <a:gdLst>
                <a:gd name="connsiteX0" fmla="*/ 0 w 435077"/>
                <a:gd name="connsiteY0" fmla="*/ 435077 h 435104"/>
                <a:gd name="connsiteX1" fmla="*/ 217512 w 435077"/>
                <a:gd name="connsiteY1" fmla="*/ 435077 h 435104"/>
                <a:gd name="connsiteX2" fmla="*/ 217512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12" y="435077"/>
                  </a:lnTo>
                  <a:lnTo>
                    <a:pt x="217512"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solidFill>
                  <a:schemeClr val="bg1"/>
                </a:solidFill>
              </a:endParaRPr>
            </a:p>
          </p:txBody>
        </p:sp>
        <p:sp>
          <p:nvSpPr>
            <p:cNvPr id="422" name="Freeform: Shape 421">
              <a:extLst>
                <a:ext uri="{FF2B5EF4-FFF2-40B4-BE49-F238E27FC236}">
                  <a16:creationId xmlns:a16="http://schemas.microsoft.com/office/drawing/2014/main" id="{2270DB4A-BAAE-91D4-66A9-3B64DAE9F9D3}"/>
                </a:ext>
              </a:extLst>
            </p:cNvPr>
            <p:cNvSpPr/>
            <p:nvPr/>
          </p:nvSpPr>
          <p:spPr>
            <a:xfrm>
              <a:off x="8667217" y="12410767"/>
              <a:ext cx="435077" cy="435077"/>
            </a:xfrm>
            <a:custGeom>
              <a:avLst/>
              <a:gdLst>
                <a:gd name="connsiteX0" fmla="*/ 371366 w 435077"/>
                <a:gd name="connsiteY0" fmla="*/ 63739 h 435077"/>
                <a:gd name="connsiteX1" fmla="*/ 435077 w 435077"/>
                <a:gd name="connsiteY1" fmla="*/ 217539 h 435077"/>
                <a:gd name="connsiteX2" fmla="*/ 217702 w 435077"/>
                <a:gd name="connsiteY2" fmla="*/ 217539 h 435077"/>
                <a:gd name="connsiteX3" fmla="*/ 371366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6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39"/>
                  </a:moveTo>
                  <a:cubicBezTo>
                    <a:pt x="412155" y="104527"/>
                    <a:pt x="435077" y="159864"/>
                    <a:pt x="435077" y="217539"/>
                  </a:cubicBezTo>
                  <a:lnTo>
                    <a:pt x="217702" y="217539"/>
                  </a:lnTo>
                  <a:cubicBezTo>
                    <a:pt x="275350" y="217593"/>
                    <a:pt x="330605" y="240516"/>
                    <a:pt x="371366" y="281277"/>
                  </a:cubicBezTo>
                  <a:cubicBezTo>
                    <a:pt x="412155" y="322066"/>
                    <a:pt x="435077" y="377402"/>
                    <a:pt x="435077" y="435077"/>
                  </a:cubicBezTo>
                  <a:lnTo>
                    <a:pt x="217539" y="435077"/>
                  </a:lnTo>
                  <a:lnTo>
                    <a:pt x="0" y="435077"/>
                  </a:lnTo>
                  <a:cubicBezTo>
                    <a:pt x="0" y="377402"/>
                    <a:pt x="22924" y="322066"/>
                    <a:pt x="63712" y="281277"/>
                  </a:cubicBezTo>
                  <a:cubicBezTo>
                    <a:pt x="104473" y="240516"/>
                    <a:pt x="159728" y="217593"/>
                    <a:pt x="217376" y="217539"/>
                  </a:cubicBezTo>
                  <a:lnTo>
                    <a:pt x="0" y="217539"/>
                  </a:lnTo>
                  <a:cubicBezTo>
                    <a:pt x="0" y="159864"/>
                    <a:pt x="22924" y="104527"/>
                    <a:pt x="63712" y="63739"/>
                  </a:cubicBezTo>
                  <a:cubicBezTo>
                    <a:pt x="104501" y="22923"/>
                    <a:pt x="159837" y="0"/>
                    <a:pt x="217539" y="0"/>
                  </a:cubicBezTo>
                  <a:cubicBezTo>
                    <a:pt x="275241" y="0"/>
                    <a:pt x="330550" y="22923"/>
                    <a:pt x="371366" y="63739"/>
                  </a:cubicBezTo>
                  <a:close/>
                </a:path>
              </a:pathLst>
            </a:custGeom>
            <a:grpFill/>
            <a:ln w="27192" cap="flat">
              <a:noFill/>
              <a:prstDash val="solid"/>
              <a:miter/>
            </a:ln>
          </p:spPr>
          <p:txBody>
            <a:bodyPr rtlCol="0" anchor="ctr"/>
            <a:lstStyle/>
            <a:p>
              <a:endParaRPr lang="uk-UA" sz="900">
                <a:solidFill>
                  <a:schemeClr val="bg1"/>
                </a:solidFill>
              </a:endParaRPr>
            </a:p>
          </p:txBody>
        </p:sp>
        <p:sp>
          <p:nvSpPr>
            <p:cNvPr id="423" name="Freeform: Shape 422">
              <a:extLst>
                <a:ext uri="{FF2B5EF4-FFF2-40B4-BE49-F238E27FC236}">
                  <a16:creationId xmlns:a16="http://schemas.microsoft.com/office/drawing/2014/main" id="{73C8AC9E-4971-3D95-C51D-4AFB07AD1883}"/>
                </a:ext>
              </a:extLst>
            </p:cNvPr>
            <p:cNvSpPr/>
            <p:nvPr/>
          </p:nvSpPr>
          <p:spPr>
            <a:xfrm>
              <a:off x="9537371" y="12410767"/>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27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66 h 435077"/>
                <a:gd name="connsiteX9" fmla="*/ 435077 w 435077"/>
                <a:gd name="connsiteY9" fmla="*/ 217566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27"/>
                  </a:lnTo>
                  <a:lnTo>
                    <a:pt x="435077" y="217539"/>
                  </a:lnTo>
                  <a:lnTo>
                    <a:pt x="435077" y="217539"/>
                  </a:lnTo>
                  <a:lnTo>
                    <a:pt x="435077" y="217539"/>
                  </a:lnTo>
                  <a:lnTo>
                    <a:pt x="435077" y="217566"/>
                  </a:lnTo>
                  <a:lnTo>
                    <a:pt x="435077" y="217566"/>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424" name="Freeform: Shape 423">
              <a:extLst>
                <a:ext uri="{FF2B5EF4-FFF2-40B4-BE49-F238E27FC236}">
                  <a16:creationId xmlns:a16="http://schemas.microsoft.com/office/drawing/2014/main" id="{3E2020E1-4F9E-52C1-370F-D1554B620624}"/>
                </a:ext>
              </a:extLst>
            </p:cNvPr>
            <p:cNvSpPr/>
            <p:nvPr/>
          </p:nvSpPr>
          <p:spPr>
            <a:xfrm>
              <a:off x="11277681" y="12410767"/>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solidFill>
                  <a:schemeClr val="bg1"/>
                </a:solidFill>
              </a:endParaRPr>
            </a:p>
          </p:txBody>
        </p:sp>
        <p:sp>
          <p:nvSpPr>
            <p:cNvPr id="425" name="Freeform: Shape 424">
              <a:extLst>
                <a:ext uri="{FF2B5EF4-FFF2-40B4-BE49-F238E27FC236}">
                  <a16:creationId xmlns:a16="http://schemas.microsoft.com/office/drawing/2014/main" id="{58F06816-A0A3-2182-67F3-E2F64950078C}"/>
                </a:ext>
              </a:extLst>
            </p:cNvPr>
            <p:cNvSpPr/>
            <p:nvPr/>
          </p:nvSpPr>
          <p:spPr>
            <a:xfrm>
              <a:off x="10407526" y="12410767"/>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solidFill>
                  <a:schemeClr val="bg1"/>
                </a:solidFill>
              </a:endParaRPr>
            </a:p>
          </p:txBody>
        </p:sp>
        <p:sp>
          <p:nvSpPr>
            <p:cNvPr id="426" name="Freeform: Shape 425">
              <a:extLst>
                <a:ext uri="{FF2B5EF4-FFF2-40B4-BE49-F238E27FC236}">
                  <a16:creationId xmlns:a16="http://schemas.microsoft.com/office/drawing/2014/main" id="{E55009C5-C16F-51BA-DE94-343F7CA372F1}"/>
                </a:ext>
              </a:extLst>
            </p:cNvPr>
            <p:cNvSpPr/>
            <p:nvPr/>
          </p:nvSpPr>
          <p:spPr>
            <a:xfrm>
              <a:off x="12147864" y="12410767"/>
              <a:ext cx="435077" cy="435077"/>
            </a:xfrm>
            <a:custGeom>
              <a:avLst/>
              <a:gdLst>
                <a:gd name="connsiteX0" fmla="*/ 371365 w 435077"/>
                <a:gd name="connsiteY0" fmla="*/ 63739 h 435077"/>
                <a:gd name="connsiteX1" fmla="*/ 435077 w 435077"/>
                <a:gd name="connsiteY1" fmla="*/ 217539 h 435077"/>
                <a:gd name="connsiteX2" fmla="*/ 217701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0 w 435077"/>
                <a:gd name="connsiteY7" fmla="*/ 281277 h 435077"/>
                <a:gd name="connsiteX8" fmla="*/ 217374 w 435077"/>
                <a:gd name="connsiteY8" fmla="*/ 217539 h 435077"/>
                <a:gd name="connsiteX9" fmla="*/ 0 w 435077"/>
                <a:gd name="connsiteY9" fmla="*/ 217539 h 435077"/>
                <a:gd name="connsiteX10" fmla="*/ 63710 w 435077"/>
                <a:gd name="connsiteY10" fmla="*/ 63739 h 435077"/>
                <a:gd name="connsiteX11" fmla="*/ 217539 w 435077"/>
                <a:gd name="connsiteY11" fmla="*/ 0 h 435077"/>
                <a:gd name="connsiteX12" fmla="*/ 371365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39"/>
                  </a:moveTo>
                  <a:cubicBezTo>
                    <a:pt x="412154" y="104527"/>
                    <a:pt x="435077" y="159864"/>
                    <a:pt x="435077" y="217539"/>
                  </a:cubicBezTo>
                  <a:lnTo>
                    <a:pt x="217701" y="217539"/>
                  </a:lnTo>
                  <a:cubicBezTo>
                    <a:pt x="275349" y="217593"/>
                    <a:pt x="330603" y="240516"/>
                    <a:pt x="371365" y="281277"/>
                  </a:cubicBezTo>
                  <a:cubicBezTo>
                    <a:pt x="412154" y="322066"/>
                    <a:pt x="435077" y="377402"/>
                    <a:pt x="435077" y="435077"/>
                  </a:cubicBezTo>
                  <a:lnTo>
                    <a:pt x="217539" y="435077"/>
                  </a:lnTo>
                  <a:lnTo>
                    <a:pt x="0" y="435077"/>
                  </a:lnTo>
                  <a:cubicBezTo>
                    <a:pt x="0" y="377402"/>
                    <a:pt x="22922" y="322066"/>
                    <a:pt x="63710" y="281277"/>
                  </a:cubicBezTo>
                  <a:cubicBezTo>
                    <a:pt x="104472" y="240516"/>
                    <a:pt x="159727" y="217593"/>
                    <a:pt x="217374" y="217539"/>
                  </a:cubicBezTo>
                  <a:lnTo>
                    <a:pt x="0" y="217539"/>
                  </a:lnTo>
                  <a:cubicBezTo>
                    <a:pt x="0" y="159864"/>
                    <a:pt x="22922" y="104527"/>
                    <a:pt x="63710" y="63739"/>
                  </a:cubicBezTo>
                  <a:cubicBezTo>
                    <a:pt x="104499" y="22923"/>
                    <a:pt x="159836" y="0"/>
                    <a:pt x="217539" y="0"/>
                  </a:cubicBezTo>
                  <a:cubicBezTo>
                    <a:pt x="275239" y="0"/>
                    <a:pt x="330549" y="22923"/>
                    <a:pt x="371365" y="63739"/>
                  </a:cubicBezTo>
                  <a:close/>
                </a:path>
              </a:pathLst>
            </a:custGeom>
            <a:grpFill/>
            <a:ln w="27192" cap="flat">
              <a:noFill/>
              <a:prstDash val="solid"/>
              <a:miter/>
            </a:ln>
          </p:spPr>
          <p:txBody>
            <a:bodyPr rtlCol="0" anchor="ctr"/>
            <a:lstStyle/>
            <a:p>
              <a:endParaRPr lang="uk-UA" sz="900">
                <a:solidFill>
                  <a:schemeClr val="bg1"/>
                </a:solidFill>
              </a:endParaRPr>
            </a:p>
          </p:txBody>
        </p:sp>
        <p:sp>
          <p:nvSpPr>
            <p:cNvPr id="427" name="Freeform: Shape 426">
              <a:extLst>
                <a:ext uri="{FF2B5EF4-FFF2-40B4-BE49-F238E27FC236}">
                  <a16:creationId xmlns:a16="http://schemas.microsoft.com/office/drawing/2014/main" id="{EFF10FD9-426F-FD29-8292-C6C28C54296F}"/>
                </a:ext>
              </a:extLst>
            </p:cNvPr>
            <p:cNvSpPr/>
            <p:nvPr/>
          </p:nvSpPr>
          <p:spPr>
            <a:xfrm>
              <a:off x="13018019" y="12410767"/>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27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66 h 435077"/>
                <a:gd name="connsiteX9" fmla="*/ 435077 w 435077"/>
                <a:gd name="connsiteY9" fmla="*/ 217566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27"/>
                  </a:lnTo>
                  <a:lnTo>
                    <a:pt x="435077" y="217539"/>
                  </a:lnTo>
                  <a:lnTo>
                    <a:pt x="435077" y="217539"/>
                  </a:lnTo>
                  <a:lnTo>
                    <a:pt x="435077" y="217539"/>
                  </a:lnTo>
                  <a:lnTo>
                    <a:pt x="435077" y="217566"/>
                  </a:lnTo>
                  <a:lnTo>
                    <a:pt x="435077" y="217566"/>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428" name="Freeform: Shape 427">
              <a:extLst>
                <a:ext uri="{FF2B5EF4-FFF2-40B4-BE49-F238E27FC236}">
                  <a16:creationId xmlns:a16="http://schemas.microsoft.com/office/drawing/2014/main" id="{A2A721F7-F524-4032-A9D7-52A8B0BB2AE6}"/>
                </a:ext>
              </a:extLst>
            </p:cNvPr>
            <p:cNvSpPr/>
            <p:nvPr/>
          </p:nvSpPr>
          <p:spPr>
            <a:xfrm>
              <a:off x="14758355" y="12410767"/>
              <a:ext cx="435103" cy="435077"/>
            </a:xfrm>
            <a:custGeom>
              <a:avLst/>
              <a:gdLst>
                <a:gd name="connsiteX0" fmla="*/ 217539 w 435103"/>
                <a:gd name="connsiteY0" fmla="*/ 0 h 435077"/>
                <a:gd name="connsiteX1" fmla="*/ 0 w 435103"/>
                <a:gd name="connsiteY1" fmla="*/ 0 h 435077"/>
                <a:gd name="connsiteX2" fmla="*/ 0 w 435103"/>
                <a:gd name="connsiteY2" fmla="*/ 217539 h 435077"/>
                <a:gd name="connsiteX3" fmla="*/ 217539 w 435103"/>
                <a:gd name="connsiteY3" fmla="*/ 0 h 435077"/>
                <a:gd name="connsiteX4" fmla="*/ 435104 w 435103"/>
                <a:gd name="connsiteY4" fmla="*/ 0 h 435077"/>
                <a:gd name="connsiteX5" fmla="*/ 435104 w 435103"/>
                <a:gd name="connsiteY5" fmla="*/ 217539 h 435077"/>
                <a:gd name="connsiteX6" fmla="*/ 217565 w 435103"/>
                <a:gd name="connsiteY6" fmla="*/ 0 h 435077"/>
                <a:gd name="connsiteX7" fmla="*/ 435104 w 435103"/>
                <a:gd name="connsiteY7" fmla="*/ 0 h 435077"/>
                <a:gd name="connsiteX8" fmla="*/ 217565 w 435103"/>
                <a:gd name="connsiteY8" fmla="*/ 435077 h 435077"/>
                <a:gd name="connsiteX9" fmla="*/ 435104 w 435103"/>
                <a:gd name="connsiteY9" fmla="*/ 217539 h 435077"/>
                <a:gd name="connsiteX10" fmla="*/ 435104 w 435103"/>
                <a:gd name="connsiteY10" fmla="*/ 435077 h 435077"/>
                <a:gd name="connsiteX11" fmla="*/ 217565 w 435103"/>
                <a:gd name="connsiteY11" fmla="*/ 435077 h 435077"/>
                <a:gd name="connsiteX12" fmla="*/ 217565 w 435103"/>
                <a:gd name="connsiteY12" fmla="*/ 435077 h 435077"/>
                <a:gd name="connsiteX13" fmla="*/ 27 w 435103"/>
                <a:gd name="connsiteY13" fmla="*/ 217539 h 435077"/>
                <a:gd name="connsiteX14" fmla="*/ 27 w 435103"/>
                <a:gd name="connsiteY14" fmla="*/ 435077 h 435077"/>
                <a:gd name="connsiteX15" fmla="*/ 217565 w 435103"/>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3" h="435077">
                  <a:moveTo>
                    <a:pt x="217539" y="0"/>
                  </a:moveTo>
                  <a:lnTo>
                    <a:pt x="0" y="0"/>
                  </a:lnTo>
                  <a:lnTo>
                    <a:pt x="0" y="217539"/>
                  </a:lnTo>
                  <a:lnTo>
                    <a:pt x="217539" y="0"/>
                  </a:lnTo>
                  <a:close/>
                  <a:moveTo>
                    <a:pt x="435104" y="0"/>
                  </a:moveTo>
                  <a:lnTo>
                    <a:pt x="435104" y="217539"/>
                  </a:lnTo>
                  <a:lnTo>
                    <a:pt x="217565" y="0"/>
                  </a:lnTo>
                  <a:lnTo>
                    <a:pt x="435104" y="0"/>
                  </a:lnTo>
                  <a:close/>
                  <a:moveTo>
                    <a:pt x="217565" y="435077"/>
                  </a:moveTo>
                  <a:lnTo>
                    <a:pt x="435104" y="217539"/>
                  </a:lnTo>
                  <a:lnTo>
                    <a:pt x="435104" y="435077"/>
                  </a:lnTo>
                  <a:lnTo>
                    <a:pt x="217565" y="435077"/>
                  </a:lnTo>
                  <a:close/>
                  <a:moveTo>
                    <a:pt x="217565" y="435077"/>
                  </a:moveTo>
                  <a:lnTo>
                    <a:pt x="27" y="217539"/>
                  </a:lnTo>
                  <a:lnTo>
                    <a:pt x="27" y="435077"/>
                  </a:lnTo>
                  <a:lnTo>
                    <a:pt x="217565"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429" name="Freeform: Shape 428">
              <a:extLst>
                <a:ext uri="{FF2B5EF4-FFF2-40B4-BE49-F238E27FC236}">
                  <a16:creationId xmlns:a16="http://schemas.microsoft.com/office/drawing/2014/main" id="{B45C9269-A28C-54D1-30CB-462A3EF75D06}"/>
                </a:ext>
              </a:extLst>
            </p:cNvPr>
            <p:cNvSpPr/>
            <p:nvPr/>
          </p:nvSpPr>
          <p:spPr>
            <a:xfrm>
              <a:off x="13888200" y="12410767"/>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solidFill>
                  <a:schemeClr val="bg1"/>
                </a:solidFill>
              </a:endParaRPr>
            </a:p>
          </p:txBody>
        </p:sp>
        <p:sp>
          <p:nvSpPr>
            <p:cNvPr id="430" name="Freeform: Shape 429">
              <a:extLst>
                <a:ext uri="{FF2B5EF4-FFF2-40B4-BE49-F238E27FC236}">
                  <a16:creationId xmlns:a16="http://schemas.microsoft.com/office/drawing/2014/main" id="{7FDB60BA-2C0E-EB47-AC4F-A715B6B09D43}"/>
                </a:ext>
              </a:extLst>
            </p:cNvPr>
            <p:cNvSpPr/>
            <p:nvPr/>
          </p:nvSpPr>
          <p:spPr>
            <a:xfrm>
              <a:off x="15628536" y="12410767"/>
              <a:ext cx="435077" cy="435077"/>
            </a:xfrm>
            <a:custGeom>
              <a:avLst/>
              <a:gdLst>
                <a:gd name="connsiteX0" fmla="*/ 371367 w 435077"/>
                <a:gd name="connsiteY0" fmla="*/ 63739 h 435077"/>
                <a:gd name="connsiteX1" fmla="*/ 435077 w 435077"/>
                <a:gd name="connsiteY1" fmla="*/ 217539 h 435077"/>
                <a:gd name="connsiteX2" fmla="*/ 217703 w 435077"/>
                <a:gd name="connsiteY2" fmla="*/ 217539 h 435077"/>
                <a:gd name="connsiteX3" fmla="*/ 371367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7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7" y="63739"/>
                  </a:moveTo>
                  <a:cubicBezTo>
                    <a:pt x="412155" y="104527"/>
                    <a:pt x="435077" y="159864"/>
                    <a:pt x="435077" y="217539"/>
                  </a:cubicBezTo>
                  <a:lnTo>
                    <a:pt x="217703" y="217539"/>
                  </a:lnTo>
                  <a:cubicBezTo>
                    <a:pt x="275351" y="217593"/>
                    <a:pt x="330605" y="240516"/>
                    <a:pt x="371367" y="281277"/>
                  </a:cubicBezTo>
                  <a:cubicBezTo>
                    <a:pt x="412155" y="322066"/>
                    <a:pt x="435077" y="377402"/>
                    <a:pt x="435077" y="435077"/>
                  </a:cubicBezTo>
                  <a:lnTo>
                    <a:pt x="217539" y="435077"/>
                  </a:lnTo>
                  <a:lnTo>
                    <a:pt x="0" y="435077"/>
                  </a:lnTo>
                  <a:cubicBezTo>
                    <a:pt x="0" y="377402"/>
                    <a:pt x="22924" y="322066"/>
                    <a:pt x="63712" y="281277"/>
                  </a:cubicBezTo>
                  <a:cubicBezTo>
                    <a:pt x="104474" y="240516"/>
                    <a:pt x="159728" y="217593"/>
                    <a:pt x="217376" y="217539"/>
                  </a:cubicBezTo>
                  <a:lnTo>
                    <a:pt x="0" y="217539"/>
                  </a:lnTo>
                  <a:cubicBezTo>
                    <a:pt x="0" y="159864"/>
                    <a:pt x="22924" y="104527"/>
                    <a:pt x="63712" y="63739"/>
                  </a:cubicBezTo>
                  <a:cubicBezTo>
                    <a:pt x="104501" y="22923"/>
                    <a:pt x="159836" y="0"/>
                    <a:pt x="217539" y="0"/>
                  </a:cubicBezTo>
                  <a:cubicBezTo>
                    <a:pt x="275241" y="0"/>
                    <a:pt x="330550" y="22923"/>
                    <a:pt x="371367" y="63739"/>
                  </a:cubicBezTo>
                  <a:close/>
                </a:path>
              </a:pathLst>
            </a:custGeom>
            <a:grpFill/>
            <a:ln w="27192" cap="flat">
              <a:noFill/>
              <a:prstDash val="solid"/>
              <a:miter/>
            </a:ln>
          </p:spPr>
          <p:txBody>
            <a:bodyPr rtlCol="0" anchor="ctr"/>
            <a:lstStyle/>
            <a:p>
              <a:endParaRPr lang="uk-UA" sz="900">
                <a:solidFill>
                  <a:schemeClr val="bg1"/>
                </a:solidFill>
              </a:endParaRPr>
            </a:p>
          </p:txBody>
        </p:sp>
        <p:sp>
          <p:nvSpPr>
            <p:cNvPr id="431" name="Freeform: Shape 430">
              <a:extLst>
                <a:ext uri="{FF2B5EF4-FFF2-40B4-BE49-F238E27FC236}">
                  <a16:creationId xmlns:a16="http://schemas.microsoft.com/office/drawing/2014/main" id="{3F9BAB94-3A02-B297-03D1-7A1861AFCF5C}"/>
                </a:ext>
              </a:extLst>
            </p:cNvPr>
            <p:cNvSpPr/>
            <p:nvPr/>
          </p:nvSpPr>
          <p:spPr>
            <a:xfrm>
              <a:off x="16498665" y="12410767"/>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51 w 435077"/>
                <a:gd name="connsiteY7" fmla="*/ 217566 h 435077"/>
                <a:gd name="connsiteX8" fmla="*/ 435077 w 435077"/>
                <a:gd name="connsiteY8" fmla="*/ 217566 h 435077"/>
                <a:gd name="connsiteX9" fmla="*/ 435051 w 435077"/>
                <a:gd name="connsiteY9" fmla="*/ 217539 h 435077"/>
                <a:gd name="connsiteX10" fmla="*/ 435077 w 435077"/>
                <a:gd name="connsiteY10" fmla="*/ 217539 h 435077"/>
                <a:gd name="connsiteX11" fmla="*/ 435051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51" y="217566"/>
                  </a:lnTo>
                  <a:lnTo>
                    <a:pt x="435077" y="217566"/>
                  </a:lnTo>
                  <a:lnTo>
                    <a:pt x="435051" y="217539"/>
                  </a:lnTo>
                  <a:lnTo>
                    <a:pt x="435077" y="217539"/>
                  </a:lnTo>
                  <a:lnTo>
                    <a:pt x="435051"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432" name="Freeform: Shape 431">
              <a:extLst>
                <a:ext uri="{FF2B5EF4-FFF2-40B4-BE49-F238E27FC236}">
                  <a16:creationId xmlns:a16="http://schemas.microsoft.com/office/drawing/2014/main" id="{76C4A6E1-118C-1F37-A647-698F9222748E}"/>
                </a:ext>
              </a:extLst>
            </p:cNvPr>
            <p:cNvSpPr/>
            <p:nvPr/>
          </p:nvSpPr>
          <p:spPr>
            <a:xfrm>
              <a:off x="18239029" y="12410767"/>
              <a:ext cx="435077" cy="435077"/>
            </a:xfrm>
            <a:custGeom>
              <a:avLst/>
              <a:gdLst>
                <a:gd name="connsiteX0" fmla="*/ 217539 w 435077"/>
                <a:gd name="connsiteY0" fmla="*/ 0 h 435077"/>
                <a:gd name="connsiteX1" fmla="*/ 217539 w 435077"/>
                <a:gd name="connsiteY1" fmla="*/ 0 h 435077"/>
                <a:gd name="connsiteX2" fmla="*/ 0 w 435077"/>
                <a:gd name="connsiteY2" fmla="*/ 0 h 435077"/>
                <a:gd name="connsiteX3" fmla="*/ 0 w 435077"/>
                <a:gd name="connsiteY3" fmla="*/ 217539 h 435077"/>
                <a:gd name="connsiteX4" fmla="*/ 217539 w 435077"/>
                <a:gd name="connsiteY4" fmla="*/ 27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217539" y="0"/>
                  </a:lnTo>
                  <a:lnTo>
                    <a:pt x="0" y="0"/>
                  </a:lnTo>
                  <a:lnTo>
                    <a:pt x="0" y="217539"/>
                  </a:lnTo>
                  <a:lnTo>
                    <a:pt x="217539" y="27"/>
                  </a:lnTo>
                  <a:lnTo>
                    <a:pt x="435077" y="217539"/>
                  </a:lnTo>
                  <a:lnTo>
                    <a:pt x="217539" y="435077"/>
                  </a:lnTo>
                  <a:lnTo>
                    <a:pt x="0" y="217539"/>
                  </a:lnTo>
                  <a:lnTo>
                    <a:pt x="0" y="435077"/>
                  </a:lnTo>
                  <a:lnTo>
                    <a:pt x="217539" y="435077"/>
                  </a:lnTo>
                  <a:lnTo>
                    <a:pt x="435077" y="435077"/>
                  </a:lnTo>
                  <a:lnTo>
                    <a:pt x="435077" y="217539"/>
                  </a:lnTo>
                  <a:lnTo>
                    <a:pt x="435077" y="0"/>
                  </a:lnTo>
                  <a:lnTo>
                    <a:pt x="217539" y="0"/>
                  </a:lnTo>
                  <a:close/>
                </a:path>
              </a:pathLst>
            </a:custGeom>
            <a:grpFill/>
            <a:ln w="27192" cap="flat">
              <a:noFill/>
              <a:prstDash val="solid"/>
              <a:miter/>
            </a:ln>
          </p:spPr>
          <p:txBody>
            <a:bodyPr rtlCol="0" anchor="ctr"/>
            <a:lstStyle/>
            <a:p>
              <a:endParaRPr lang="uk-UA" sz="900">
                <a:solidFill>
                  <a:schemeClr val="bg1"/>
                </a:solidFill>
              </a:endParaRPr>
            </a:p>
          </p:txBody>
        </p:sp>
        <p:sp>
          <p:nvSpPr>
            <p:cNvPr id="433" name="Freeform: Shape 432">
              <a:extLst>
                <a:ext uri="{FF2B5EF4-FFF2-40B4-BE49-F238E27FC236}">
                  <a16:creationId xmlns:a16="http://schemas.microsoft.com/office/drawing/2014/main" id="{CDC0EB47-AC24-E88C-BD8A-F671457F3FF0}"/>
                </a:ext>
              </a:extLst>
            </p:cNvPr>
            <p:cNvSpPr/>
            <p:nvPr/>
          </p:nvSpPr>
          <p:spPr>
            <a:xfrm>
              <a:off x="17368846" y="12410767"/>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67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67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67" y="435105"/>
                  </a:lnTo>
                  <a:lnTo>
                    <a:pt x="435077" y="217566"/>
                  </a:lnTo>
                  <a:lnTo>
                    <a:pt x="435077" y="435105"/>
                  </a:lnTo>
                  <a:close/>
                  <a:moveTo>
                    <a:pt x="435077" y="27"/>
                  </a:moveTo>
                  <a:lnTo>
                    <a:pt x="217567" y="27"/>
                  </a:lnTo>
                  <a:lnTo>
                    <a:pt x="435077" y="217539"/>
                  </a:lnTo>
                  <a:lnTo>
                    <a:pt x="435077" y="27"/>
                  </a:lnTo>
                  <a:close/>
                </a:path>
              </a:pathLst>
            </a:custGeom>
            <a:grpFill/>
            <a:ln w="27192" cap="flat">
              <a:noFill/>
              <a:prstDash val="solid"/>
              <a:miter/>
            </a:ln>
          </p:spPr>
          <p:txBody>
            <a:bodyPr rtlCol="0" anchor="ctr"/>
            <a:lstStyle/>
            <a:p>
              <a:endParaRPr lang="uk-UA" sz="900">
                <a:solidFill>
                  <a:schemeClr val="bg1"/>
                </a:solidFill>
              </a:endParaRPr>
            </a:p>
          </p:txBody>
        </p:sp>
        <p:sp>
          <p:nvSpPr>
            <p:cNvPr id="434" name="Freeform: Shape 433">
              <a:extLst>
                <a:ext uri="{FF2B5EF4-FFF2-40B4-BE49-F238E27FC236}">
                  <a16:creationId xmlns:a16="http://schemas.microsoft.com/office/drawing/2014/main" id="{AEFC9E4F-97C2-5748-0CFE-E7C2E4A38289}"/>
                </a:ext>
              </a:extLst>
            </p:cNvPr>
            <p:cNvSpPr/>
            <p:nvPr/>
          </p:nvSpPr>
          <p:spPr>
            <a:xfrm>
              <a:off x="19109184" y="12410767"/>
              <a:ext cx="435077" cy="435077"/>
            </a:xfrm>
            <a:custGeom>
              <a:avLst/>
              <a:gdLst>
                <a:gd name="connsiteX0" fmla="*/ 371365 w 435077"/>
                <a:gd name="connsiteY0" fmla="*/ 63739 h 435077"/>
                <a:gd name="connsiteX1" fmla="*/ 435077 w 435077"/>
                <a:gd name="connsiteY1" fmla="*/ 217539 h 435077"/>
                <a:gd name="connsiteX2" fmla="*/ 217701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0 w 435077"/>
                <a:gd name="connsiteY7" fmla="*/ 281277 h 435077"/>
                <a:gd name="connsiteX8" fmla="*/ 217374 w 435077"/>
                <a:gd name="connsiteY8" fmla="*/ 217539 h 435077"/>
                <a:gd name="connsiteX9" fmla="*/ 0 w 435077"/>
                <a:gd name="connsiteY9" fmla="*/ 217539 h 435077"/>
                <a:gd name="connsiteX10" fmla="*/ 63710 w 435077"/>
                <a:gd name="connsiteY10" fmla="*/ 63739 h 435077"/>
                <a:gd name="connsiteX11" fmla="*/ 217539 w 435077"/>
                <a:gd name="connsiteY11" fmla="*/ 0 h 435077"/>
                <a:gd name="connsiteX12" fmla="*/ 371365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39"/>
                  </a:moveTo>
                  <a:cubicBezTo>
                    <a:pt x="412154" y="104527"/>
                    <a:pt x="435077" y="159864"/>
                    <a:pt x="435077" y="217539"/>
                  </a:cubicBezTo>
                  <a:lnTo>
                    <a:pt x="217701" y="217539"/>
                  </a:lnTo>
                  <a:cubicBezTo>
                    <a:pt x="275349" y="217593"/>
                    <a:pt x="330603" y="240516"/>
                    <a:pt x="371365" y="281277"/>
                  </a:cubicBezTo>
                  <a:cubicBezTo>
                    <a:pt x="412154" y="322066"/>
                    <a:pt x="435077" y="377402"/>
                    <a:pt x="435077" y="435077"/>
                  </a:cubicBezTo>
                  <a:lnTo>
                    <a:pt x="217539" y="435077"/>
                  </a:lnTo>
                  <a:lnTo>
                    <a:pt x="0" y="435077"/>
                  </a:lnTo>
                  <a:cubicBezTo>
                    <a:pt x="0" y="377402"/>
                    <a:pt x="22922" y="322066"/>
                    <a:pt x="63710" y="281277"/>
                  </a:cubicBezTo>
                  <a:cubicBezTo>
                    <a:pt x="104472" y="240516"/>
                    <a:pt x="159755" y="217593"/>
                    <a:pt x="217374" y="217539"/>
                  </a:cubicBezTo>
                  <a:lnTo>
                    <a:pt x="0" y="217539"/>
                  </a:lnTo>
                  <a:cubicBezTo>
                    <a:pt x="0" y="159864"/>
                    <a:pt x="22922" y="104527"/>
                    <a:pt x="63710" y="63739"/>
                  </a:cubicBezTo>
                  <a:cubicBezTo>
                    <a:pt x="104527" y="22923"/>
                    <a:pt x="159836" y="0"/>
                    <a:pt x="217539" y="0"/>
                  </a:cubicBezTo>
                  <a:cubicBezTo>
                    <a:pt x="275241" y="0"/>
                    <a:pt x="330577" y="22923"/>
                    <a:pt x="371365" y="63739"/>
                  </a:cubicBezTo>
                  <a:close/>
                </a:path>
              </a:pathLst>
            </a:custGeom>
            <a:grpFill/>
            <a:ln w="27192" cap="flat">
              <a:noFill/>
              <a:prstDash val="solid"/>
              <a:miter/>
            </a:ln>
          </p:spPr>
          <p:txBody>
            <a:bodyPr rtlCol="0" anchor="ctr"/>
            <a:lstStyle/>
            <a:p>
              <a:endParaRPr lang="uk-UA" sz="900">
                <a:solidFill>
                  <a:schemeClr val="bg1"/>
                </a:solidFill>
              </a:endParaRPr>
            </a:p>
          </p:txBody>
        </p:sp>
        <p:sp>
          <p:nvSpPr>
            <p:cNvPr id="435" name="Freeform: Shape 434">
              <a:extLst>
                <a:ext uri="{FF2B5EF4-FFF2-40B4-BE49-F238E27FC236}">
                  <a16:creationId xmlns:a16="http://schemas.microsoft.com/office/drawing/2014/main" id="{3072A194-D332-85F2-4FDA-AC29E8022D3F}"/>
                </a:ext>
              </a:extLst>
            </p:cNvPr>
            <p:cNvSpPr/>
            <p:nvPr/>
          </p:nvSpPr>
          <p:spPr>
            <a:xfrm>
              <a:off x="19979339" y="12410767"/>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436" name="Freeform: Shape 435">
              <a:extLst>
                <a:ext uri="{FF2B5EF4-FFF2-40B4-BE49-F238E27FC236}">
                  <a16:creationId xmlns:a16="http://schemas.microsoft.com/office/drawing/2014/main" id="{B7B76DD0-C9BA-3C48-7E72-3F5639744FDF}"/>
                </a:ext>
              </a:extLst>
            </p:cNvPr>
            <p:cNvSpPr/>
            <p:nvPr/>
          </p:nvSpPr>
          <p:spPr>
            <a:xfrm>
              <a:off x="21719675" y="12410767"/>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437" name="Freeform: Shape 436">
              <a:extLst>
                <a:ext uri="{FF2B5EF4-FFF2-40B4-BE49-F238E27FC236}">
                  <a16:creationId xmlns:a16="http://schemas.microsoft.com/office/drawing/2014/main" id="{7DCAFB0E-D368-5DD7-5D8F-B97E5F2A4DCC}"/>
                </a:ext>
              </a:extLst>
            </p:cNvPr>
            <p:cNvSpPr/>
            <p:nvPr/>
          </p:nvSpPr>
          <p:spPr>
            <a:xfrm>
              <a:off x="20849520" y="12410767"/>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solidFill>
                  <a:schemeClr val="bg1"/>
                </a:solidFill>
              </a:endParaRPr>
            </a:p>
          </p:txBody>
        </p:sp>
        <p:sp>
          <p:nvSpPr>
            <p:cNvPr id="438" name="Freeform: Shape 437">
              <a:extLst>
                <a:ext uri="{FF2B5EF4-FFF2-40B4-BE49-F238E27FC236}">
                  <a16:creationId xmlns:a16="http://schemas.microsoft.com/office/drawing/2014/main" id="{98C0C4E3-B8E0-CA28-65E8-1DDEC84AEC37}"/>
                </a:ext>
              </a:extLst>
            </p:cNvPr>
            <p:cNvSpPr/>
            <p:nvPr/>
          </p:nvSpPr>
          <p:spPr>
            <a:xfrm>
              <a:off x="22589856" y="12410767"/>
              <a:ext cx="435077" cy="435077"/>
            </a:xfrm>
            <a:custGeom>
              <a:avLst/>
              <a:gdLst>
                <a:gd name="connsiteX0" fmla="*/ 371367 w 435077"/>
                <a:gd name="connsiteY0" fmla="*/ 63739 h 435077"/>
                <a:gd name="connsiteX1" fmla="*/ 435077 w 435077"/>
                <a:gd name="connsiteY1" fmla="*/ 217539 h 435077"/>
                <a:gd name="connsiteX2" fmla="*/ 217703 w 435077"/>
                <a:gd name="connsiteY2" fmla="*/ 217539 h 435077"/>
                <a:gd name="connsiteX3" fmla="*/ 371367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7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7" y="63739"/>
                  </a:moveTo>
                  <a:cubicBezTo>
                    <a:pt x="412155" y="104527"/>
                    <a:pt x="435077" y="159864"/>
                    <a:pt x="435077" y="217539"/>
                  </a:cubicBezTo>
                  <a:lnTo>
                    <a:pt x="217703" y="217539"/>
                  </a:lnTo>
                  <a:cubicBezTo>
                    <a:pt x="275351" y="217593"/>
                    <a:pt x="330605" y="240516"/>
                    <a:pt x="371367" y="281277"/>
                  </a:cubicBezTo>
                  <a:cubicBezTo>
                    <a:pt x="412155" y="322066"/>
                    <a:pt x="435077" y="377402"/>
                    <a:pt x="435077" y="435077"/>
                  </a:cubicBezTo>
                  <a:lnTo>
                    <a:pt x="217539" y="435077"/>
                  </a:lnTo>
                  <a:lnTo>
                    <a:pt x="0" y="435077"/>
                  </a:lnTo>
                  <a:cubicBezTo>
                    <a:pt x="0" y="377402"/>
                    <a:pt x="22924" y="322066"/>
                    <a:pt x="63712" y="281277"/>
                  </a:cubicBezTo>
                  <a:cubicBezTo>
                    <a:pt x="104474" y="240516"/>
                    <a:pt x="159728" y="217593"/>
                    <a:pt x="217376" y="217539"/>
                  </a:cubicBezTo>
                  <a:lnTo>
                    <a:pt x="0" y="217539"/>
                  </a:lnTo>
                  <a:cubicBezTo>
                    <a:pt x="0" y="159864"/>
                    <a:pt x="22924" y="104527"/>
                    <a:pt x="63712" y="63739"/>
                  </a:cubicBezTo>
                  <a:cubicBezTo>
                    <a:pt x="104501" y="22923"/>
                    <a:pt x="159838" y="0"/>
                    <a:pt x="217539" y="0"/>
                  </a:cubicBezTo>
                  <a:cubicBezTo>
                    <a:pt x="275215" y="0"/>
                    <a:pt x="330550" y="22923"/>
                    <a:pt x="371367" y="63739"/>
                  </a:cubicBezTo>
                  <a:close/>
                </a:path>
              </a:pathLst>
            </a:custGeom>
            <a:grpFill/>
            <a:ln w="27192" cap="flat">
              <a:noFill/>
              <a:prstDash val="solid"/>
              <a:miter/>
            </a:ln>
          </p:spPr>
          <p:txBody>
            <a:bodyPr rtlCol="0" anchor="ctr"/>
            <a:lstStyle/>
            <a:p>
              <a:endParaRPr lang="uk-UA" sz="900">
                <a:solidFill>
                  <a:schemeClr val="bg1"/>
                </a:solidFill>
              </a:endParaRPr>
            </a:p>
          </p:txBody>
        </p:sp>
        <p:sp>
          <p:nvSpPr>
            <p:cNvPr id="439" name="Freeform: Shape 438">
              <a:extLst>
                <a:ext uri="{FF2B5EF4-FFF2-40B4-BE49-F238E27FC236}">
                  <a16:creationId xmlns:a16="http://schemas.microsoft.com/office/drawing/2014/main" id="{7044D05F-42F5-8242-65B7-4F203B534234}"/>
                </a:ext>
              </a:extLst>
            </p:cNvPr>
            <p:cNvSpPr/>
            <p:nvPr/>
          </p:nvSpPr>
          <p:spPr>
            <a:xfrm>
              <a:off x="23460011" y="12410767"/>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solidFill>
                  <a:schemeClr val="bg1"/>
                </a:solidFill>
              </a:endParaRPr>
            </a:p>
          </p:txBody>
        </p:sp>
        <p:sp>
          <p:nvSpPr>
            <p:cNvPr id="440" name="Freeform: Shape 439">
              <a:extLst>
                <a:ext uri="{FF2B5EF4-FFF2-40B4-BE49-F238E27FC236}">
                  <a16:creationId xmlns:a16="http://schemas.microsoft.com/office/drawing/2014/main" id="{8E6063B4-CCC8-71CB-29F4-DBA6304841EC}"/>
                </a:ext>
              </a:extLst>
            </p:cNvPr>
            <p:cNvSpPr/>
            <p:nvPr/>
          </p:nvSpPr>
          <p:spPr>
            <a:xfrm>
              <a:off x="24330194" y="12410767"/>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solidFill>
                  <a:schemeClr val="bg1"/>
                </a:solidFill>
              </a:endParaRPr>
            </a:p>
          </p:txBody>
        </p:sp>
        <p:sp>
          <p:nvSpPr>
            <p:cNvPr id="441" name="Freeform: Shape 440">
              <a:extLst>
                <a:ext uri="{FF2B5EF4-FFF2-40B4-BE49-F238E27FC236}">
                  <a16:creationId xmlns:a16="http://schemas.microsoft.com/office/drawing/2014/main" id="{1552FA34-31AC-0F44-BC76-8B259E70CA9D}"/>
                </a:ext>
              </a:extLst>
            </p:cNvPr>
            <p:cNvSpPr/>
            <p:nvPr/>
          </p:nvSpPr>
          <p:spPr>
            <a:xfrm>
              <a:off x="835742" y="13280949"/>
              <a:ext cx="435077" cy="435050"/>
            </a:xfrm>
            <a:custGeom>
              <a:avLst/>
              <a:gdLst>
                <a:gd name="connsiteX0" fmla="*/ 435077 w 435077"/>
                <a:gd name="connsiteY0" fmla="*/ 435050 h 435050"/>
                <a:gd name="connsiteX1" fmla="*/ 435077 w 435077"/>
                <a:gd name="connsiteY1" fmla="*/ 0 h 435050"/>
                <a:gd name="connsiteX2" fmla="*/ 217566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39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66" y="217539"/>
                  </a:lnTo>
                  <a:lnTo>
                    <a:pt x="435077" y="435050"/>
                  </a:lnTo>
                  <a:close/>
                  <a:moveTo>
                    <a:pt x="0" y="435050"/>
                  </a:moveTo>
                  <a:lnTo>
                    <a:pt x="0" y="0"/>
                  </a:lnTo>
                  <a:lnTo>
                    <a:pt x="217539" y="217539"/>
                  </a:lnTo>
                  <a:lnTo>
                    <a:pt x="0" y="435050"/>
                  </a:lnTo>
                  <a:close/>
                </a:path>
              </a:pathLst>
            </a:custGeom>
            <a:grpFill/>
            <a:ln w="27192" cap="flat">
              <a:noFill/>
              <a:prstDash val="solid"/>
              <a:miter/>
            </a:ln>
          </p:spPr>
          <p:txBody>
            <a:bodyPr rtlCol="0" anchor="ctr"/>
            <a:lstStyle/>
            <a:p>
              <a:endParaRPr lang="uk-UA" sz="900">
                <a:solidFill>
                  <a:schemeClr val="bg1"/>
                </a:solidFill>
              </a:endParaRPr>
            </a:p>
          </p:txBody>
        </p:sp>
        <p:sp>
          <p:nvSpPr>
            <p:cNvPr id="442" name="Freeform: Shape 441">
              <a:extLst>
                <a:ext uri="{FF2B5EF4-FFF2-40B4-BE49-F238E27FC236}">
                  <a16:creationId xmlns:a16="http://schemas.microsoft.com/office/drawing/2014/main" id="{A1F35D1D-2D59-F4BD-E52D-763E4625D955}"/>
                </a:ext>
              </a:extLst>
            </p:cNvPr>
            <p:cNvSpPr/>
            <p:nvPr/>
          </p:nvSpPr>
          <p:spPr>
            <a:xfrm>
              <a:off x="-34412" y="1328092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443" name="Freeform: Shape 442">
              <a:extLst>
                <a:ext uri="{FF2B5EF4-FFF2-40B4-BE49-F238E27FC236}">
                  <a16:creationId xmlns:a16="http://schemas.microsoft.com/office/drawing/2014/main" id="{863A5D8B-0EFA-75DE-37BC-EFD1DF2A8CE1}"/>
                </a:ext>
              </a:extLst>
            </p:cNvPr>
            <p:cNvSpPr/>
            <p:nvPr/>
          </p:nvSpPr>
          <p:spPr>
            <a:xfrm>
              <a:off x="1705924" y="13280922"/>
              <a:ext cx="435077" cy="435077"/>
            </a:xfrm>
            <a:custGeom>
              <a:avLst/>
              <a:gdLst>
                <a:gd name="connsiteX0" fmla="*/ 63711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1 w 435077"/>
                <a:gd name="connsiteY6" fmla="*/ 153827 h 435077"/>
                <a:gd name="connsiteX7" fmla="*/ 63711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11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1" y="153827"/>
                  </a:moveTo>
                  <a:cubicBezTo>
                    <a:pt x="22923" y="113039"/>
                    <a:pt x="0" y="57702"/>
                    <a:pt x="0" y="0"/>
                  </a:cubicBezTo>
                  <a:lnTo>
                    <a:pt x="217539" y="0"/>
                  </a:lnTo>
                  <a:lnTo>
                    <a:pt x="435077" y="0"/>
                  </a:lnTo>
                  <a:cubicBezTo>
                    <a:pt x="435077" y="57702"/>
                    <a:pt x="412154" y="113039"/>
                    <a:pt x="371366" y="153827"/>
                  </a:cubicBezTo>
                  <a:cubicBezTo>
                    <a:pt x="330550" y="194642"/>
                    <a:pt x="275213" y="217539"/>
                    <a:pt x="217539" y="217539"/>
                  </a:cubicBezTo>
                  <a:cubicBezTo>
                    <a:pt x="159836" y="217539"/>
                    <a:pt x="104500" y="194642"/>
                    <a:pt x="63711" y="153827"/>
                  </a:cubicBezTo>
                  <a:close/>
                  <a:moveTo>
                    <a:pt x="63711" y="281277"/>
                  </a:moveTo>
                  <a:cubicBezTo>
                    <a:pt x="22923" y="322066"/>
                    <a:pt x="0" y="377402"/>
                    <a:pt x="0" y="435077"/>
                  </a:cubicBezTo>
                  <a:lnTo>
                    <a:pt x="217539" y="435077"/>
                  </a:lnTo>
                  <a:lnTo>
                    <a:pt x="435077" y="435077"/>
                  </a:lnTo>
                  <a:cubicBezTo>
                    <a:pt x="435077" y="377402"/>
                    <a:pt x="412154" y="322066"/>
                    <a:pt x="371366" y="281277"/>
                  </a:cubicBezTo>
                  <a:cubicBezTo>
                    <a:pt x="330550" y="240462"/>
                    <a:pt x="275213" y="217539"/>
                    <a:pt x="217539" y="217539"/>
                  </a:cubicBezTo>
                  <a:cubicBezTo>
                    <a:pt x="159836" y="217539"/>
                    <a:pt x="104500" y="240462"/>
                    <a:pt x="63711" y="281277"/>
                  </a:cubicBezTo>
                  <a:close/>
                </a:path>
              </a:pathLst>
            </a:custGeom>
            <a:grpFill/>
            <a:ln w="27192" cap="flat">
              <a:noFill/>
              <a:prstDash val="solid"/>
              <a:miter/>
            </a:ln>
          </p:spPr>
          <p:txBody>
            <a:bodyPr rtlCol="0" anchor="ctr"/>
            <a:lstStyle/>
            <a:p>
              <a:endParaRPr lang="uk-UA" sz="900">
                <a:solidFill>
                  <a:schemeClr val="bg1"/>
                </a:solidFill>
              </a:endParaRPr>
            </a:p>
          </p:txBody>
        </p:sp>
        <p:sp>
          <p:nvSpPr>
            <p:cNvPr id="444" name="Freeform: Shape 443">
              <a:extLst>
                <a:ext uri="{FF2B5EF4-FFF2-40B4-BE49-F238E27FC236}">
                  <a16:creationId xmlns:a16="http://schemas.microsoft.com/office/drawing/2014/main" id="{D2EF4A04-380E-3C2E-37FA-41FBA96838BF}"/>
                </a:ext>
              </a:extLst>
            </p:cNvPr>
            <p:cNvSpPr/>
            <p:nvPr/>
          </p:nvSpPr>
          <p:spPr>
            <a:xfrm>
              <a:off x="2576079" y="1328092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6 w 435077"/>
                <a:gd name="connsiteY3" fmla="*/ 27 h 435077"/>
                <a:gd name="connsiteX4" fmla="*/ 435077 w 435077"/>
                <a:gd name="connsiteY4" fmla="*/ 217566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6" y="27"/>
                  </a:lnTo>
                  <a:lnTo>
                    <a:pt x="435077" y="217566"/>
                  </a:lnTo>
                  <a:lnTo>
                    <a:pt x="217566"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445" name="Freeform: Shape 444">
              <a:extLst>
                <a:ext uri="{FF2B5EF4-FFF2-40B4-BE49-F238E27FC236}">
                  <a16:creationId xmlns:a16="http://schemas.microsoft.com/office/drawing/2014/main" id="{A4AF5279-29D9-D82C-B448-64233B40D0D7}"/>
                </a:ext>
              </a:extLst>
            </p:cNvPr>
            <p:cNvSpPr/>
            <p:nvPr/>
          </p:nvSpPr>
          <p:spPr>
            <a:xfrm>
              <a:off x="4316416" y="13280949"/>
              <a:ext cx="435077" cy="435050"/>
            </a:xfrm>
            <a:custGeom>
              <a:avLst/>
              <a:gdLst>
                <a:gd name="connsiteX0" fmla="*/ 435077 w 435077"/>
                <a:gd name="connsiteY0" fmla="*/ 435050 h 435050"/>
                <a:gd name="connsiteX1" fmla="*/ 435077 w 435077"/>
                <a:gd name="connsiteY1" fmla="*/ 0 h 435050"/>
                <a:gd name="connsiteX2" fmla="*/ 217565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39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65" y="217539"/>
                  </a:lnTo>
                  <a:lnTo>
                    <a:pt x="435077" y="435050"/>
                  </a:lnTo>
                  <a:close/>
                  <a:moveTo>
                    <a:pt x="0" y="435050"/>
                  </a:moveTo>
                  <a:lnTo>
                    <a:pt x="0" y="0"/>
                  </a:lnTo>
                  <a:lnTo>
                    <a:pt x="217539" y="217539"/>
                  </a:lnTo>
                  <a:lnTo>
                    <a:pt x="0" y="435050"/>
                  </a:lnTo>
                  <a:close/>
                </a:path>
              </a:pathLst>
            </a:custGeom>
            <a:grpFill/>
            <a:ln w="27192" cap="flat">
              <a:noFill/>
              <a:prstDash val="solid"/>
              <a:miter/>
            </a:ln>
          </p:spPr>
          <p:txBody>
            <a:bodyPr rtlCol="0" anchor="ctr"/>
            <a:lstStyle/>
            <a:p>
              <a:endParaRPr lang="uk-UA" sz="900">
                <a:solidFill>
                  <a:schemeClr val="bg1"/>
                </a:solidFill>
              </a:endParaRPr>
            </a:p>
          </p:txBody>
        </p:sp>
        <p:sp>
          <p:nvSpPr>
            <p:cNvPr id="446" name="Freeform: Shape 445">
              <a:extLst>
                <a:ext uri="{FF2B5EF4-FFF2-40B4-BE49-F238E27FC236}">
                  <a16:creationId xmlns:a16="http://schemas.microsoft.com/office/drawing/2014/main" id="{A982DD53-D4BF-F95C-6C6F-ABE59A96D510}"/>
                </a:ext>
              </a:extLst>
            </p:cNvPr>
            <p:cNvSpPr/>
            <p:nvPr/>
          </p:nvSpPr>
          <p:spPr>
            <a:xfrm>
              <a:off x="3446261" y="1328092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447" name="Freeform: Shape 446">
              <a:extLst>
                <a:ext uri="{FF2B5EF4-FFF2-40B4-BE49-F238E27FC236}">
                  <a16:creationId xmlns:a16="http://schemas.microsoft.com/office/drawing/2014/main" id="{599AC7E1-D446-C934-DFFD-DFC63E6ED755}"/>
                </a:ext>
              </a:extLst>
            </p:cNvPr>
            <p:cNvSpPr/>
            <p:nvPr/>
          </p:nvSpPr>
          <p:spPr>
            <a:xfrm>
              <a:off x="5186571" y="13280922"/>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39 w 435077"/>
                <a:gd name="connsiteY6" fmla="*/ 153827 h 435077"/>
                <a:gd name="connsiteX7" fmla="*/ 63739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77 h 435077"/>
                <a:gd name="connsiteX12" fmla="*/ 217539 w 435077"/>
                <a:gd name="connsiteY12" fmla="*/ 217539 h 435077"/>
                <a:gd name="connsiteX13" fmla="*/ 63739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3" y="113039"/>
                    <a:pt x="0" y="57702"/>
                    <a:pt x="0" y="0"/>
                  </a:cubicBezTo>
                  <a:lnTo>
                    <a:pt x="217539" y="0"/>
                  </a:lnTo>
                  <a:lnTo>
                    <a:pt x="435077" y="0"/>
                  </a:lnTo>
                  <a:cubicBezTo>
                    <a:pt x="435077" y="57702"/>
                    <a:pt x="412181" y="113039"/>
                    <a:pt x="371365" y="153827"/>
                  </a:cubicBezTo>
                  <a:cubicBezTo>
                    <a:pt x="330577" y="194642"/>
                    <a:pt x="275240" y="217539"/>
                    <a:pt x="217539" y="217539"/>
                  </a:cubicBezTo>
                  <a:cubicBezTo>
                    <a:pt x="159864" y="217539"/>
                    <a:pt x="104527" y="194642"/>
                    <a:pt x="63739" y="153827"/>
                  </a:cubicBezTo>
                  <a:close/>
                  <a:moveTo>
                    <a:pt x="63739" y="281277"/>
                  </a:moveTo>
                  <a:cubicBezTo>
                    <a:pt x="22923" y="322066"/>
                    <a:pt x="0" y="377402"/>
                    <a:pt x="0" y="435077"/>
                  </a:cubicBezTo>
                  <a:lnTo>
                    <a:pt x="217539" y="435077"/>
                  </a:lnTo>
                  <a:lnTo>
                    <a:pt x="435077" y="435077"/>
                  </a:lnTo>
                  <a:cubicBezTo>
                    <a:pt x="435077" y="377402"/>
                    <a:pt x="412181" y="322066"/>
                    <a:pt x="371365" y="281277"/>
                  </a:cubicBezTo>
                  <a:cubicBezTo>
                    <a:pt x="330577" y="240462"/>
                    <a:pt x="275240" y="217539"/>
                    <a:pt x="217539" y="217539"/>
                  </a:cubicBezTo>
                  <a:cubicBezTo>
                    <a:pt x="159864" y="217539"/>
                    <a:pt x="104527" y="240462"/>
                    <a:pt x="63739" y="281277"/>
                  </a:cubicBezTo>
                  <a:close/>
                </a:path>
              </a:pathLst>
            </a:custGeom>
            <a:grpFill/>
            <a:ln w="27192" cap="flat">
              <a:noFill/>
              <a:prstDash val="solid"/>
              <a:miter/>
            </a:ln>
          </p:spPr>
          <p:txBody>
            <a:bodyPr rtlCol="0" anchor="ctr"/>
            <a:lstStyle/>
            <a:p>
              <a:endParaRPr lang="uk-UA" sz="900">
                <a:solidFill>
                  <a:schemeClr val="bg1"/>
                </a:solidFill>
              </a:endParaRPr>
            </a:p>
          </p:txBody>
        </p:sp>
        <p:sp>
          <p:nvSpPr>
            <p:cNvPr id="448" name="Freeform: Shape 447">
              <a:extLst>
                <a:ext uri="{FF2B5EF4-FFF2-40B4-BE49-F238E27FC236}">
                  <a16:creationId xmlns:a16="http://schemas.microsoft.com/office/drawing/2014/main" id="{04493991-34F6-A542-1B52-7BCE89ED31EE}"/>
                </a:ext>
              </a:extLst>
            </p:cNvPr>
            <p:cNvSpPr/>
            <p:nvPr/>
          </p:nvSpPr>
          <p:spPr>
            <a:xfrm>
              <a:off x="6056725" y="1328092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5 w 435077"/>
                <a:gd name="connsiteY3" fmla="*/ 27 h 435077"/>
                <a:gd name="connsiteX4" fmla="*/ 435077 w 435077"/>
                <a:gd name="connsiteY4" fmla="*/ 217566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5" y="27"/>
                  </a:lnTo>
                  <a:lnTo>
                    <a:pt x="435077" y="217566"/>
                  </a:lnTo>
                  <a:lnTo>
                    <a:pt x="217565"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449" name="Freeform: Shape 448">
              <a:extLst>
                <a:ext uri="{FF2B5EF4-FFF2-40B4-BE49-F238E27FC236}">
                  <a16:creationId xmlns:a16="http://schemas.microsoft.com/office/drawing/2014/main" id="{10368CBB-21F8-7AC3-33A6-091B6C878E97}"/>
                </a:ext>
              </a:extLst>
            </p:cNvPr>
            <p:cNvSpPr/>
            <p:nvPr/>
          </p:nvSpPr>
          <p:spPr>
            <a:xfrm>
              <a:off x="7797062" y="13280949"/>
              <a:ext cx="435077" cy="435050"/>
            </a:xfrm>
            <a:custGeom>
              <a:avLst/>
              <a:gdLst>
                <a:gd name="connsiteX0" fmla="*/ 435077 w 435077"/>
                <a:gd name="connsiteY0" fmla="*/ 435050 h 435050"/>
                <a:gd name="connsiteX1" fmla="*/ 435077 w 435077"/>
                <a:gd name="connsiteY1" fmla="*/ 0 h 435050"/>
                <a:gd name="connsiteX2" fmla="*/ 217566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39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66" y="217539"/>
                  </a:lnTo>
                  <a:lnTo>
                    <a:pt x="435077" y="435050"/>
                  </a:lnTo>
                  <a:close/>
                  <a:moveTo>
                    <a:pt x="0" y="435050"/>
                  </a:moveTo>
                  <a:lnTo>
                    <a:pt x="0" y="0"/>
                  </a:lnTo>
                  <a:lnTo>
                    <a:pt x="217539" y="217539"/>
                  </a:lnTo>
                  <a:lnTo>
                    <a:pt x="0" y="435050"/>
                  </a:lnTo>
                  <a:close/>
                </a:path>
              </a:pathLst>
            </a:custGeom>
            <a:grpFill/>
            <a:ln w="27192" cap="flat">
              <a:noFill/>
              <a:prstDash val="solid"/>
              <a:miter/>
            </a:ln>
          </p:spPr>
          <p:txBody>
            <a:bodyPr rtlCol="0" anchor="ctr"/>
            <a:lstStyle/>
            <a:p>
              <a:endParaRPr lang="uk-UA" sz="900">
                <a:solidFill>
                  <a:schemeClr val="bg1"/>
                </a:solidFill>
              </a:endParaRPr>
            </a:p>
          </p:txBody>
        </p:sp>
        <p:sp>
          <p:nvSpPr>
            <p:cNvPr id="450" name="Freeform: Shape 449">
              <a:extLst>
                <a:ext uri="{FF2B5EF4-FFF2-40B4-BE49-F238E27FC236}">
                  <a16:creationId xmlns:a16="http://schemas.microsoft.com/office/drawing/2014/main" id="{585EF69B-54D8-2230-73CB-94B668CFBC7D}"/>
                </a:ext>
              </a:extLst>
            </p:cNvPr>
            <p:cNvSpPr/>
            <p:nvPr/>
          </p:nvSpPr>
          <p:spPr>
            <a:xfrm>
              <a:off x="6926907" y="13280922"/>
              <a:ext cx="435077" cy="435077"/>
            </a:xfrm>
            <a:custGeom>
              <a:avLst/>
              <a:gdLst>
                <a:gd name="connsiteX0" fmla="*/ 0 w 435077"/>
                <a:gd name="connsiteY0" fmla="*/ 435077 h 435077"/>
                <a:gd name="connsiteX1" fmla="*/ 0 w 435077"/>
                <a:gd name="connsiteY1" fmla="*/ 0 h 435077"/>
                <a:gd name="connsiteX2" fmla="*/ 217512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12"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451" name="Freeform: Shape 450">
              <a:extLst>
                <a:ext uri="{FF2B5EF4-FFF2-40B4-BE49-F238E27FC236}">
                  <a16:creationId xmlns:a16="http://schemas.microsoft.com/office/drawing/2014/main" id="{36D5F8E8-5D7C-0E0C-A2F9-16280CD5F9C8}"/>
                </a:ext>
              </a:extLst>
            </p:cNvPr>
            <p:cNvSpPr/>
            <p:nvPr/>
          </p:nvSpPr>
          <p:spPr>
            <a:xfrm>
              <a:off x="8667217" y="1328092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6" y="153827"/>
                  </a:cubicBezTo>
                  <a:cubicBezTo>
                    <a:pt x="330550" y="194642"/>
                    <a:pt x="275241" y="217539"/>
                    <a:pt x="217539" y="217539"/>
                  </a:cubicBezTo>
                  <a:cubicBezTo>
                    <a:pt x="159837"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5" y="322066"/>
                    <a:pt x="371366" y="281277"/>
                  </a:cubicBezTo>
                  <a:cubicBezTo>
                    <a:pt x="330550" y="240462"/>
                    <a:pt x="275241" y="217539"/>
                    <a:pt x="217539" y="217539"/>
                  </a:cubicBezTo>
                  <a:cubicBezTo>
                    <a:pt x="159837" y="217539"/>
                    <a:pt x="104501" y="240462"/>
                    <a:pt x="63712" y="281277"/>
                  </a:cubicBezTo>
                  <a:close/>
                </a:path>
              </a:pathLst>
            </a:custGeom>
            <a:grpFill/>
            <a:ln w="27192" cap="flat">
              <a:noFill/>
              <a:prstDash val="solid"/>
              <a:miter/>
            </a:ln>
          </p:spPr>
          <p:txBody>
            <a:bodyPr rtlCol="0" anchor="ctr"/>
            <a:lstStyle/>
            <a:p>
              <a:endParaRPr lang="uk-UA" sz="900">
                <a:solidFill>
                  <a:schemeClr val="bg1"/>
                </a:solidFill>
              </a:endParaRPr>
            </a:p>
          </p:txBody>
        </p:sp>
        <p:sp>
          <p:nvSpPr>
            <p:cNvPr id="452" name="Freeform: Shape 451">
              <a:extLst>
                <a:ext uri="{FF2B5EF4-FFF2-40B4-BE49-F238E27FC236}">
                  <a16:creationId xmlns:a16="http://schemas.microsoft.com/office/drawing/2014/main" id="{982D9EC5-D586-F28B-98FF-A073596AE49D}"/>
                </a:ext>
              </a:extLst>
            </p:cNvPr>
            <p:cNvSpPr/>
            <p:nvPr/>
          </p:nvSpPr>
          <p:spPr>
            <a:xfrm>
              <a:off x="9537371" y="1328092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6 w 435077"/>
                <a:gd name="connsiteY3" fmla="*/ 27 h 435077"/>
                <a:gd name="connsiteX4" fmla="*/ 435077 w 435077"/>
                <a:gd name="connsiteY4" fmla="*/ 217566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6" y="27"/>
                  </a:lnTo>
                  <a:lnTo>
                    <a:pt x="435077" y="217566"/>
                  </a:lnTo>
                  <a:lnTo>
                    <a:pt x="217566"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453" name="Freeform: Shape 452">
              <a:extLst>
                <a:ext uri="{FF2B5EF4-FFF2-40B4-BE49-F238E27FC236}">
                  <a16:creationId xmlns:a16="http://schemas.microsoft.com/office/drawing/2014/main" id="{79B07F5C-A6E1-5A5A-2C41-AA45FB37D858}"/>
                </a:ext>
              </a:extLst>
            </p:cNvPr>
            <p:cNvSpPr/>
            <p:nvPr/>
          </p:nvSpPr>
          <p:spPr>
            <a:xfrm>
              <a:off x="11277709" y="13280949"/>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0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0" y="217539"/>
                  </a:lnTo>
                  <a:lnTo>
                    <a:pt x="0" y="435050"/>
                  </a:lnTo>
                  <a:close/>
                </a:path>
              </a:pathLst>
            </a:custGeom>
            <a:grpFill/>
            <a:ln w="27192" cap="flat">
              <a:noFill/>
              <a:prstDash val="solid"/>
              <a:miter/>
            </a:ln>
          </p:spPr>
          <p:txBody>
            <a:bodyPr rtlCol="0" anchor="ctr"/>
            <a:lstStyle/>
            <a:p>
              <a:endParaRPr lang="uk-UA" sz="900">
                <a:solidFill>
                  <a:schemeClr val="bg1"/>
                </a:solidFill>
              </a:endParaRPr>
            </a:p>
          </p:txBody>
        </p:sp>
        <p:sp>
          <p:nvSpPr>
            <p:cNvPr id="454" name="Freeform: Shape 453">
              <a:extLst>
                <a:ext uri="{FF2B5EF4-FFF2-40B4-BE49-F238E27FC236}">
                  <a16:creationId xmlns:a16="http://schemas.microsoft.com/office/drawing/2014/main" id="{969A3BD6-7293-225D-AA86-5A3714BD6DF7}"/>
                </a:ext>
              </a:extLst>
            </p:cNvPr>
            <p:cNvSpPr/>
            <p:nvPr/>
          </p:nvSpPr>
          <p:spPr>
            <a:xfrm>
              <a:off x="10407526" y="1328092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455" name="Freeform: Shape 454">
              <a:extLst>
                <a:ext uri="{FF2B5EF4-FFF2-40B4-BE49-F238E27FC236}">
                  <a16:creationId xmlns:a16="http://schemas.microsoft.com/office/drawing/2014/main" id="{E53AEC98-F83E-A4DC-5973-F52237FB9C0C}"/>
                </a:ext>
              </a:extLst>
            </p:cNvPr>
            <p:cNvSpPr/>
            <p:nvPr/>
          </p:nvSpPr>
          <p:spPr>
            <a:xfrm>
              <a:off x="12147864" y="13280922"/>
              <a:ext cx="435077" cy="435077"/>
            </a:xfrm>
            <a:custGeom>
              <a:avLst/>
              <a:gdLst>
                <a:gd name="connsiteX0" fmla="*/ 63710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0 w 435077"/>
                <a:gd name="connsiteY6" fmla="*/ 153827 h 435077"/>
                <a:gd name="connsiteX7" fmla="*/ 63710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77 h 435077"/>
                <a:gd name="connsiteX12" fmla="*/ 217539 w 435077"/>
                <a:gd name="connsiteY12" fmla="*/ 217539 h 435077"/>
                <a:gd name="connsiteX13" fmla="*/ 63710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7"/>
                  </a:moveTo>
                  <a:cubicBezTo>
                    <a:pt x="22922" y="113039"/>
                    <a:pt x="0" y="57702"/>
                    <a:pt x="0" y="0"/>
                  </a:cubicBezTo>
                  <a:lnTo>
                    <a:pt x="217539" y="0"/>
                  </a:lnTo>
                  <a:lnTo>
                    <a:pt x="435077" y="0"/>
                  </a:lnTo>
                  <a:cubicBezTo>
                    <a:pt x="435077" y="57702"/>
                    <a:pt x="412154" y="113039"/>
                    <a:pt x="371365" y="153827"/>
                  </a:cubicBezTo>
                  <a:cubicBezTo>
                    <a:pt x="330549" y="194642"/>
                    <a:pt x="275239" y="217539"/>
                    <a:pt x="217539" y="217539"/>
                  </a:cubicBezTo>
                  <a:cubicBezTo>
                    <a:pt x="159836" y="217539"/>
                    <a:pt x="104499" y="194642"/>
                    <a:pt x="63710" y="153827"/>
                  </a:cubicBezTo>
                  <a:close/>
                  <a:moveTo>
                    <a:pt x="63710" y="281277"/>
                  </a:moveTo>
                  <a:cubicBezTo>
                    <a:pt x="22922" y="322066"/>
                    <a:pt x="0" y="377402"/>
                    <a:pt x="0" y="435077"/>
                  </a:cubicBezTo>
                  <a:lnTo>
                    <a:pt x="217539" y="435077"/>
                  </a:lnTo>
                  <a:lnTo>
                    <a:pt x="435077" y="435077"/>
                  </a:lnTo>
                  <a:cubicBezTo>
                    <a:pt x="435077" y="377402"/>
                    <a:pt x="412154" y="322066"/>
                    <a:pt x="371365" y="281277"/>
                  </a:cubicBezTo>
                  <a:cubicBezTo>
                    <a:pt x="330549" y="240462"/>
                    <a:pt x="275239" y="217539"/>
                    <a:pt x="217539" y="217539"/>
                  </a:cubicBezTo>
                  <a:cubicBezTo>
                    <a:pt x="159836" y="217539"/>
                    <a:pt x="104499" y="240462"/>
                    <a:pt x="63710" y="281277"/>
                  </a:cubicBezTo>
                  <a:close/>
                </a:path>
              </a:pathLst>
            </a:custGeom>
            <a:grpFill/>
            <a:ln w="27192" cap="flat">
              <a:noFill/>
              <a:prstDash val="solid"/>
              <a:miter/>
            </a:ln>
          </p:spPr>
          <p:txBody>
            <a:bodyPr rtlCol="0" anchor="ctr"/>
            <a:lstStyle/>
            <a:p>
              <a:endParaRPr lang="uk-UA" sz="900">
                <a:solidFill>
                  <a:schemeClr val="bg1"/>
                </a:solidFill>
              </a:endParaRPr>
            </a:p>
          </p:txBody>
        </p:sp>
        <p:sp>
          <p:nvSpPr>
            <p:cNvPr id="456" name="Freeform: Shape 455">
              <a:extLst>
                <a:ext uri="{FF2B5EF4-FFF2-40B4-BE49-F238E27FC236}">
                  <a16:creationId xmlns:a16="http://schemas.microsoft.com/office/drawing/2014/main" id="{FCD75DA3-5BFD-0CC1-966E-73FABE34A4F0}"/>
                </a:ext>
              </a:extLst>
            </p:cNvPr>
            <p:cNvSpPr/>
            <p:nvPr/>
          </p:nvSpPr>
          <p:spPr>
            <a:xfrm>
              <a:off x="13018019" y="1328092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5 w 435077"/>
                <a:gd name="connsiteY3" fmla="*/ 27 h 435077"/>
                <a:gd name="connsiteX4" fmla="*/ 435077 w 435077"/>
                <a:gd name="connsiteY4" fmla="*/ 217566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5" y="27"/>
                  </a:lnTo>
                  <a:lnTo>
                    <a:pt x="435077" y="217566"/>
                  </a:lnTo>
                  <a:lnTo>
                    <a:pt x="217565"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457" name="Freeform: Shape 456">
              <a:extLst>
                <a:ext uri="{FF2B5EF4-FFF2-40B4-BE49-F238E27FC236}">
                  <a16:creationId xmlns:a16="http://schemas.microsoft.com/office/drawing/2014/main" id="{E7D8FB4B-CF49-1516-421F-7F21A494C1C4}"/>
                </a:ext>
              </a:extLst>
            </p:cNvPr>
            <p:cNvSpPr/>
            <p:nvPr/>
          </p:nvSpPr>
          <p:spPr>
            <a:xfrm>
              <a:off x="14758382" y="13280949"/>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2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2" y="217539"/>
                  </a:lnTo>
                  <a:lnTo>
                    <a:pt x="0" y="435050"/>
                  </a:lnTo>
                  <a:close/>
                </a:path>
              </a:pathLst>
            </a:custGeom>
            <a:grpFill/>
            <a:ln w="27192" cap="flat">
              <a:noFill/>
              <a:prstDash val="solid"/>
              <a:miter/>
            </a:ln>
          </p:spPr>
          <p:txBody>
            <a:bodyPr rtlCol="0" anchor="ctr"/>
            <a:lstStyle/>
            <a:p>
              <a:endParaRPr lang="uk-UA" sz="900">
                <a:solidFill>
                  <a:schemeClr val="bg1"/>
                </a:solidFill>
              </a:endParaRPr>
            </a:p>
          </p:txBody>
        </p:sp>
        <p:sp>
          <p:nvSpPr>
            <p:cNvPr id="458" name="Freeform: Shape 457">
              <a:extLst>
                <a:ext uri="{FF2B5EF4-FFF2-40B4-BE49-F238E27FC236}">
                  <a16:creationId xmlns:a16="http://schemas.microsoft.com/office/drawing/2014/main" id="{0FC89920-7DF7-F13E-3F3F-1FDCE015F18E}"/>
                </a:ext>
              </a:extLst>
            </p:cNvPr>
            <p:cNvSpPr/>
            <p:nvPr/>
          </p:nvSpPr>
          <p:spPr>
            <a:xfrm>
              <a:off x="13888200" y="1328092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459" name="Freeform: Shape 458">
              <a:extLst>
                <a:ext uri="{FF2B5EF4-FFF2-40B4-BE49-F238E27FC236}">
                  <a16:creationId xmlns:a16="http://schemas.microsoft.com/office/drawing/2014/main" id="{E83CBF41-3C6F-15DB-C4BF-B004E4390720}"/>
                </a:ext>
              </a:extLst>
            </p:cNvPr>
            <p:cNvSpPr/>
            <p:nvPr/>
          </p:nvSpPr>
          <p:spPr>
            <a:xfrm>
              <a:off x="15628536" y="1328092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7" y="153827"/>
                  </a:cubicBezTo>
                  <a:cubicBezTo>
                    <a:pt x="330550" y="194642"/>
                    <a:pt x="275241" y="217539"/>
                    <a:pt x="217539" y="217539"/>
                  </a:cubicBezTo>
                  <a:cubicBezTo>
                    <a:pt x="159836"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5" y="322066"/>
                    <a:pt x="371367" y="281277"/>
                  </a:cubicBezTo>
                  <a:cubicBezTo>
                    <a:pt x="330550" y="240462"/>
                    <a:pt x="275241" y="217539"/>
                    <a:pt x="217539" y="217539"/>
                  </a:cubicBezTo>
                  <a:cubicBezTo>
                    <a:pt x="159836" y="217539"/>
                    <a:pt x="104501" y="240462"/>
                    <a:pt x="63712" y="281277"/>
                  </a:cubicBezTo>
                  <a:close/>
                </a:path>
              </a:pathLst>
            </a:custGeom>
            <a:grpFill/>
            <a:ln w="27192" cap="flat">
              <a:noFill/>
              <a:prstDash val="solid"/>
              <a:miter/>
            </a:ln>
          </p:spPr>
          <p:txBody>
            <a:bodyPr rtlCol="0" anchor="ctr"/>
            <a:lstStyle/>
            <a:p>
              <a:endParaRPr lang="uk-UA" sz="900">
                <a:solidFill>
                  <a:schemeClr val="bg1"/>
                </a:solidFill>
              </a:endParaRPr>
            </a:p>
          </p:txBody>
        </p:sp>
        <p:sp>
          <p:nvSpPr>
            <p:cNvPr id="460" name="Freeform: Shape 459">
              <a:extLst>
                <a:ext uri="{FF2B5EF4-FFF2-40B4-BE49-F238E27FC236}">
                  <a16:creationId xmlns:a16="http://schemas.microsoft.com/office/drawing/2014/main" id="{E82B834F-8609-A05F-FE58-EDEEDE5A8D0B}"/>
                </a:ext>
              </a:extLst>
            </p:cNvPr>
            <p:cNvSpPr/>
            <p:nvPr/>
          </p:nvSpPr>
          <p:spPr>
            <a:xfrm>
              <a:off x="16498691" y="1328092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7 w 435077"/>
                <a:gd name="connsiteY3" fmla="*/ 27 h 435077"/>
                <a:gd name="connsiteX4" fmla="*/ 435077 w 435077"/>
                <a:gd name="connsiteY4" fmla="*/ 217566 h 435077"/>
                <a:gd name="connsiteX5" fmla="*/ 217567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7" y="27"/>
                  </a:lnTo>
                  <a:lnTo>
                    <a:pt x="435077" y="217566"/>
                  </a:lnTo>
                  <a:lnTo>
                    <a:pt x="217567"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461" name="Freeform: Shape 460">
              <a:extLst>
                <a:ext uri="{FF2B5EF4-FFF2-40B4-BE49-F238E27FC236}">
                  <a16:creationId xmlns:a16="http://schemas.microsoft.com/office/drawing/2014/main" id="{28159F47-9DB4-E0F7-85F7-A987A9C08FC0}"/>
                </a:ext>
              </a:extLst>
            </p:cNvPr>
            <p:cNvSpPr/>
            <p:nvPr/>
          </p:nvSpPr>
          <p:spPr>
            <a:xfrm>
              <a:off x="18239029" y="13280949"/>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0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0" y="217539"/>
                  </a:lnTo>
                  <a:lnTo>
                    <a:pt x="0" y="435050"/>
                  </a:lnTo>
                  <a:close/>
                </a:path>
              </a:pathLst>
            </a:custGeom>
            <a:grpFill/>
            <a:ln w="27192" cap="flat">
              <a:noFill/>
              <a:prstDash val="solid"/>
              <a:miter/>
            </a:ln>
          </p:spPr>
          <p:txBody>
            <a:bodyPr rtlCol="0" anchor="ctr"/>
            <a:lstStyle/>
            <a:p>
              <a:endParaRPr lang="uk-UA" sz="900">
                <a:solidFill>
                  <a:schemeClr val="bg1"/>
                </a:solidFill>
              </a:endParaRPr>
            </a:p>
          </p:txBody>
        </p:sp>
        <p:sp>
          <p:nvSpPr>
            <p:cNvPr id="462" name="Freeform: Shape 461">
              <a:extLst>
                <a:ext uri="{FF2B5EF4-FFF2-40B4-BE49-F238E27FC236}">
                  <a16:creationId xmlns:a16="http://schemas.microsoft.com/office/drawing/2014/main" id="{E46497BA-14E8-770B-23D1-F8A9807064E1}"/>
                </a:ext>
              </a:extLst>
            </p:cNvPr>
            <p:cNvSpPr/>
            <p:nvPr/>
          </p:nvSpPr>
          <p:spPr>
            <a:xfrm>
              <a:off x="17368846" y="1328092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67 w 435077"/>
                <a:gd name="connsiteY4" fmla="*/ 435077 h 435077"/>
                <a:gd name="connsiteX5" fmla="*/ 217567 w 435077"/>
                <a:gd name="connsiteY5" fmla="*/ 0 h 435077"/>
                <a:gd name="connsiteX6" fmla="*/ 435077 w 435077"/>
                <a:gd name="connsiteY6" fmla="*/ 217566 h 435077"/>
                <a:gd name="connsiteX7" fmla="*/ 217567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67" y="435077"/>
                  </a:moveTo>
                  <a:lnTo>
                    <a:pt x="217567" y="0"/>
                  </a:lnTo>
                  <a:lnTo>
                    <a:pt x="435077" y="217566"/>
                  </a:lnTo>
                  <a:lnTo>
                    <a:pt x="217567"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463" name="Freeform: Shape 462">
              <a:extLst>
                <a:ext uri="{FF2B5EF4-FFF2-40B4-BE49-F238E27FC236}">
                  <a16:creationId xmlns:a16="http://schemas.microsoft.com/office/drawing/2014/main" id="{49DA0588-06A1-E4AD-4113-DFDB5AAAD105}"/>
                </a:ext>
              </a:extLst>
            </p:cNvPr>
            <p:cNvSpPr/>
            <p:nvPr/>
          </p:nvSpPr>
          <p:spPr>
            <a:xfrm>
              <a:off x="19109184" y="13280922"/>
              <a:ext cx="435077" cy="435077"/>
            </a:xfrm>
            <a:custGeom>
              <a:avLst/>
              <a:gdLst>
                <a:gd name="connsiteX0" fmla="*/ 63710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0 w 435077"/>
                <a:gd name="connsiteY6" fmla="*/ 153827 h 435077"/>
                <a:gd name="connsiteX7" fmla="*/ 63710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77 h 435077"/>
                <a:gd name="connsiteX12" fmla="*/ 217539 w 435077"/>
                <a:gd name="connsiteY12" fmla="*/ 217539 h 435077"/>
                <a:gd name="connsiteX13" fmla="*/ 63710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7"/>
                  </a:moveTo>
                  <a:cubicBezTo>
                    <a:pt x="22922" y="113039"/>
                    <a:pt x="0" y="57702"/>
                    <a:pt x="0" y="0"/>
                  </a:cubicBezTo>
                  <a:lnTo>
                    <a:pt x="217539" y="0"/>
                  </a:lnTo>
                  <a:lnTo>
                    <a:pt x="435077" y="0"/>
                  </a:lnTo>
                  <a:cubicBezTo>
                    <a:pt x="435077" y="57702"/>
                    <a:pt x="412154" y="113039"/>
                    <a:pt x="371365" y="153827"/>
                  </a:cubicBezTo>
                  <a:cubicBezTo>
                    <a:pt x="330577" y="194642"/>
                    <a:pt x="275241" y="217539"/>
                    <a:pt x="217539" y="217539"/>
                  </a:cubicBezTo>
                  <a:cubicBezTo>
                    <a:pt x="159836" y="217539"/>
                    <a:pt x="104527" y="194642"/>
                    <a:pt x="63710" y="153827"/>
                  </a:cubicBezTo>
                  <a:close/>
                  <a:moveTo>
                    <a:pt x="63710" y="281277"/>
                  </a:moveTo>
                  <a:cubicBezTo>
                    <a:pt x="22922" y="322066"/>
                    <a:pt x="0" y="377402"/>
                    <a:pt x="0" y="435077"/>
                  </a:cubicBezTo>
                  <a:lnTo>
                    <a:pt x="217539" y="435077"/>
                  </a:lnTo>
                  <a:lnTo>
                    <a:pt x="435077" y="435077"/>
                  </a:lnTo>
                  <a:cubicBezTo>
                    <a:pt x="435077" y="377402"/>
                    <a:pt x="412154" y="322066"/>
                    <a:pt x="371365" y="281277"/>
                  </a:cubicBezTo>
                  <a:cubicBezTo>
                    <a:pt x="330577" y="240462"/>
                    <a:pt x="275241" y="217539"/>
                    <a:pt x="217539" y="217539"/>
                  </a:cubicBezTo>
                  <a:cubicBezTo>
                    <a:pt x="159836" y="217539"/>
                    <a:pt x="104527" y="240462"/>
                    <a:pt x="63710" y="281277"/>
                  </a:cubicBezTo>
                  <a:close/>
                </a:path>
              </a:pathLst>
            </a:custGeom>
            <a:grpFill/>
            <a:ln w="27192" cap="flat">
              <a:noFill/>
              <a:prstDash val="solid"/>
              <a:miter/>
            </a:ln>
          </p:spPr>
          <p:txBody>
            <a:bodyPr rtlCol="0" anchor="ctr"/>
            <a:lstStyle/>
            <a:p>
              <a:endParaRPr lang="uk-UA" sz="900">
                <a:solidFill>
                  <a:schemeClr val="bg1"/>
                </a:solidFill>
              </a:endParaRPr>
            </a:p>
          </p:txBody>
        </p:sp>
        <p:sp>
          <p:nvSpPr>
            <p:cNvPr id="464" name="Freeform: Shape 463">
              <a:extLst>
                <a:ext uri="{FF2B5EF4-FFF2-40B4-BE49-F238E27FC236}">
                  <a16:creationId xmlns:a16="http://schemas.microsoft.com/office/drawing/2014/main" id="{4D454931-49A8-6C06-966E-B97812B9D910}"/>
                </a:ext>
              </a:extLst>
            </p:cNvPr>
            <p:cNvSpPr/>
            <p:nvPr/>
          </p:nvSpPr>
          <p:spPr>
            <a:xfrm>
              <a:off x="19979339" y="1328092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5 w 435077"/>
                <a:gd name="connsiteY3" fmla="*/ 27 h 435077"/>
                <a:gd name="connsiteX4" fmla="*/ 435077 w 435077"/>
                <a:gd name="connsiteY4" fmla="*/ 217566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5" y="27"/>
                  </a:lnTo>
                  <a:lnTo>
                    <a:pt x="435077" y="217566"/>
                  </a:lnTo>
                  <a:lnTo>
                    <a:pt x="217565"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465" name="Freeform: Shape 464">
              <a:extLst>
                <a:ext uri="{FF2B5EF4-FFF2-40B4-BE49-F238E27FC236}">
                  <a16:creationId xmlns:a16="http://schemas.microsoft.com/office/drawing/2014/main" id="{0B65D191-A80C-D4BA-B88D-D4C425D09241}"/>
                </a:ext>
              </a:extLst>
            </p:cNvPr>
            <p:cNvSpPr/>
            <p:nvPr/>
          </p:nvSpPr>
          <p:spPr>
            <a:xfrm>
              <a:off x="21719675" y="13280922"/>
              <a:ext cx="435077" cy="435077"/>
            </a:xfrm>
            <a:custGeom>
              <a:avLst/>
              <a:gdLst>
                <a:gd name="connsiteX0" fmla="*/ 435077 w 435077"/>
                <a:gd name="connsiteY0" fmla="*/ 435077 h 435077"/>
                <a:gd name="connsiteX1" fmla="*/ 435077 w 435077"/>
                <a:gd name="connsiteY1" fmla="*/ 0 h 435077"/>
                <a:gd name="connsiteX2" fmla="*/ 217565 w 435077"/>
                <a:gd name="connsiteY2" fmla="*/ 217566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66"/>
                  </a:lnTo>
                  <a:lnTo>
                    <a:pt x="435077" y="435077"/>
                  </a:lnTo>
                  <a:close/>
                  <a:moveTo>
                    <a:pt x="0" y="435077"/>
                  </a:moveTo>
                  <a:lnTo>
                    <a:pt x="0" y="0"/>
                  </a:lnTo>
                  <a:lnTo>
                    <a:pt x="217539"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466" name="Freeform: Shape 465">
              <a:extLst>
                <a:ext uri="{FF2B5EF4-FFF2-40B4-BE49-F238E27FC236}">
                  <a16:creationId xmlns:a16="http://schemas.microsoft.com/office/drawing/2014/main" id="{266B28EB-3383-D698-2E30-A63AEA0D1AA6}"/>
                </a:ext>
              </a:extLst>
            </p:cNvPr>
            <p:cNvSpPr/>
            <p:nvPr/>
          </p:nvSpPr>
          <p:spPr>
            <a:xfrm>
              <a:off x="20849520" y="1328092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467" name="Freeform: Shape 466">
              <a:extLst>
                <a:ext uri="{FF2B5EF4-FFF2-40B4-BE49-F238E27FC236}">
                  <a16:creationId xmlns:a16="http://schemas.microsoft.com/office/drawing/2014/main" id="{52F2197F-DE35-7237-7658-F04C8DB7D13B}"/>
                </a:ext>
              </a:extLst>
            </p:cNvPr>
            <p:cNvSpPr/>
            <p:nvPr/>
          </p:nvSpPr>
          <p:spPr>
            <a:xfrm>
              <a:off x="22589856" y="1328092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7" y="153827"/>
                  </a:cubicBezTo>
                  <a:cubicBezTo>
                    <a:pt x="330550" y="194642"/>
                    <a:pt x="275215" y="217539"/>
                    <a:pt x="217539" y="217539"/>
                  </a:cubicBezTo>
                  <a:cubicBezTo>
                    <a:pt x="159838"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5" y="322066"/>
                    <a:pt x="371367" y="281277"/>
                  </a:cubicBezTo>
                  <a:cubicBezTo>
                    <a:pt x="330550" y="240462"/>
                    <a:pt x="275215" y="217539"/>
                    <a:pt x="217539" y="217539"/>
                  </a:cubicBezTo>
                  <a:cubicBezTo>
                    <a:pt x="159838" y="217539"/>
                    <a:pt x="104501" y="240462"/>
                    <a:pt x="63712" y="281277"/>
                  </a:cubicBezTo>
                  <a:close/>
                </a:path>
              </a:pathLst>
            </a:custGeom>
            <a:grpFill/>
            <a:ln w="27192" cap="flat">
              <a:noFill/>
              <a:prstDash val="solid"/>
              <a:miter/>
            </a:ln>
          </p:spPr>
          <p:txBody>
            <a:bodyPr rtlCol="0" anchor="ctr"/>
            <a:lstStyle/>
            <a:p>
              <a:endParaRPr lang="uk-UA" sz="900">
                <a:solidFill>
                  <a:schemeClr val="bg1"/>
                </a:solidFill>
              </a:endParaRPr>
            </a:p>
          </p:txBody>
        </p:sp>
        <p:sp>
          <p:nvSpPr>
            <p:cNvPr id="468" name="Freeform: Shape 467">
              <a:extLst>
                <a:ext uri="{FF2B5EF4-FFF2-40B4-BE49-F238E27FC236}">
                  <a16:creationId xmlns:a16="http://schemas.microsoft.com/office/drawing/2014/main" id="{69CF7E9A-1602-D05C-FEE5-DEDAF0AA1471}"/>
                </a:ext>
              </a:extLst>
            </p:cNvPr>
            <p:cNvSpPr/>
            <p:nvPr/>
          </p:nvSpPr>
          <p:spPr>
            <a:xfrm>
              <a:off x="23460011" y="1328092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7 w 435077"/>
                <a:gd name="connsiteY3" fmla="*/ 27 h 435077"/>
                <a:gd name="connsiteX4" fmla="*/ 435077 w 435077"/>
                <a:gd name="connsiteY4" fmla="*/ 217566 h 435077"/>
                <a:gd name="connsiteX5" fmla="*/ 217567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12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7" y="27"/>
                  </a:lnTo>
                  <a:lnTo>
                    <a:pt x="435077" y="217566"/>
                  </a:lnTo>
                  <a:lnTo>
                    <a:pt x="217567" y="435077"/>
                  </a:lnTo>
                  <a:lnTo>
                    <a:pt x="435077" y="435077"/>
                  </a:lnTo>
                  <a:close/>
                  <a:moveTo>
                    <a:pt x="0" y="217539"/>
                  </a:moveTo>
                  <a:lnTo>
                    <a:pt x="0" y="0"/>
                  </a:lnTo>
                  <a:lnTo>
                    <a:pt x="217512" y="217539"/>
                  </a:lnTo>
                  <a:lnTo>
                    <a:pt x="0" y="217539"/>
                  </a:lnTo>
                  <a:close/>
                  <a:moveTo>
                    <a:pt x="0" y="435077"/>
                  </a:moveTo>
                  <a:lnTo>
                    <a:pt x="0" y="217566"/>
                  </a:lnTo>
                  <a:lnTo>
                    <a:pt x="217512" y="217566"/>
                  </a:lnTo>
                  <a:lnTo>
                    <a:pt x="0" y="435077"/>
                  </a:lnTo>
                  <a:close/>
                </a:path>
              </a:pathLst>
            </a:custGeom>
            <a:grpFill/>
            <a:ln w="27192" cap="flat">
              <a:noFill/>
              <a:prstDash val="solid"/>
              <a:miter/>
            </a:ln>
          </p:spPr>
          <p:txBody>
            <a:bodyPr rtlCol="0" anchor="ctr"/>
            <a:lstStyle/>
            <a:p>
              <a:endParaRPr lang="uk-UA" sz="900">
                <a:solidFill>
                  <a:schemeClr val="bg1"/>
                </a:solidFill>
              </a:endParaRPr>
            </a:p>
          </p:txBody>
        </p:sp>
        <p:sp>
          <p:nvSpPr>
            <p:cNvPr id="469" name="Freeform: Shape 468">
              <a:extLst>
                <a:ext uri="{FF2B5EF4-FFF2-40B4-BE49-F238E27FC236}">
                  <a16:creationId xmlns:a16="http://schemas.microsoft.com/office/drawing/2014/main" id="{10309F4A-D838-8D2F-6B6F-D3736DDEDC64}"/>
                </a:ext>
              </a:extLst>
            </p:cNvPr>
            <p:cNvSpPr/>
            <p:nvPr/>
          </p:nvSpPr>
          <p:spPr>
            <a:xfrm>
              <a:off x="24330194" y="1328092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solidFill>
                  <a:schemeClr val="bg1"/>
                </a:solidFill>
              </a:endParaRPr>
            </a:p>
          </p:txBody>
        </p:sp>
      </p:grpSp>
      <p:sp>
        <p:nvSpPr>
          <p:cNvPr id="470" name="TextBox 469">
            <a:extLst>
              <a:ext uri="{FF2B5EF4-FFF2-40B4-BE49-F238E27FC236}">
                <a16:creationId xmlns:a16="http://schemas.microsoft.com/office/drawing/2014/main" id="{90707BD4-B7B6-12E3-96DC-5C5CEDD6A6FF}"/>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chemeClr val="bg1"/>
                </a:solidFill>
                <a:latin typeface="IBM Plex Sans" panose="020B0503050203000203" pitchFamily="34" charset="0"/>
                <a:ea typeface="+mj-ea"/>
                <a:cs typeface="+mj-cs"/>
                <a:sym typeface="IBM Plex Sans Light"/>
              </a:rPr>
              <a:t>#IBMTechXchange</a:t>
            </a:r>
          </a:p>
        </p:txBody>
      </p:sp>
    </p:spTree>
    <p:extLst>
      <p:ext uri="{BB962C8B-B14F-4D97-AF65-F5344CB8AC3E}">
        <p14:creationId xmlns:p14="http://schemas.microsoft.com/office/powerpoint/2010/main" val="1711833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Callout, stand-alo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3333316" y="864168"/>
            <a:ext cx="7330121" cy="4858544"/>
          </a:xfrm>
        </p:spPr>
        <p:txBody>
          <a:bodyPr/>
          <a:lstStyle>
            <a:lvl1pPr>
              <a:lnSpc>
                <a:spcPct val="100000"/>
              </a:lnSpc>
              <a:defRPr sz="4299">
                <a:solidFill>
                  <a:schemeClr val="tx2"/>
                </a:solidFill>
              </a:defRPr>
            </a:lvl1pPr>
          </a:lstStyle>
          <a:p>
            <a:r>
              <a:rPr lang="en-US"/>
              <a:t>Click to edit Master title style</a:t>
            </a: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1">
            <a:extLst>
              <a:ext uri="{FF2B5EF4-FFF2-40B4-BE49-F238E27FC236}">
                <a16:creationId xmlns:a16="http://schemas.microsoft.com/office/drawing/2014/main" id="{BAD5B3F4-41FA-5B40-DA62-5B54E0897A82}"/>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
        <p:nvSpPr>
          <p:cNvPr id="3" name="TextBox 2">
            <a:extLst>
              <a:ext uri="{FF2B5EF4-FFF2-40B4-BE49-F238E27FC236}">
                <a16:creationId xmlns:a16="http://schemas.microsoft.com/office/drawing/2014/main" id="{F2B7A9AA-2D8D-E207-A45B-91E62B290A48}"/>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rgbClr val="000000"/>
                </a:solidFill>
                <a:latin typeface="IBM Plex Sans" panose="020B0503050203000203" pitchFamily="34" charset="0"/>
                <a:ea typeface="+mj-ea"/>
                <a:cs typeface="+mj-cs"/>
                <a:sym typeface="IBM Plex Sans Light"/>
              </a:rPr>
              <a:t>#IBMTechXchange</a:t>
            </a:r>
          </a:p>
        </p:txBody>
      </p:sp>
    </p:spTree>
    <p:extLst>
      <p:ext uri="{BB962C8B-B14F-4D97-AF65-F5344CB8AC3E}">
        <p14:creationId xmlns:p14="http://schemas.microsoft.com/office/powerpoint/2010/main" val="3157319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Big text with pattern">
    <p:bg>
      <p:bgPr>
        <a:solidFill>
          <a:schemeClr val="accent1"/>
        </a:solidFill>
        <a:effectLst/>
      </p:bgPr>
    </p:bg>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BCFA4843-2EEB-F757-826B-7080CBD95F05}"/>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bg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Title 1">
            <a:extLst>
              <a:ext uri="{FF2B5EF4-FFF2-40B4-BE49-F238E27FC236}">
                <a16:creationId xmlns:a16="http://schemas.microsoft.com/office/drawing/2014/main" id="{10904466-2B5F-6EA8-820B-F755AB4A7FC5}"/>
              </a:ext>
            </a:extLst>
          </p:cNvPr>
          <p:cNvSpPr>
            <a:spLocks noGrp="1"/>
          </p:cNvSpPr>
          <p:nvPr>
            <p:ph type="title"/>
          </p:nvPr>
        </p:nvSpPr>
        <p:spPr>
          <a:xfrm>
            <a:off x="288888" y="169655"/>
            <a:ext cx="5545750" cy="5828714"/>
          </a:xfrm>
        </p:spPr>
        <p:txBody>
          <a:bodyPr/>
          <a:lstStyle>
            <a:lvl1pPr>
              <a:lnSpc>
                <a:spcPct val="100000"/>
              </a:lnSpc>
              <a:defRPr sz="3199">
                <a:solidFill>
                  <a:schemeClr val="bg1"/>
                </a:solidFill>
              </a:defRPr>
            </a:lvl1pPr>
          </a:lstStyle>
          <a:p>
            <a:r>
              <a:rPr lang="en-US"/>
              <a:t>Click to edit Master title style</a:t>
            </a:r>
          </a:p>
        </p:txBody>
      </p:sp>
      <p:sp>
        <p:nvSpPr>
          <p:cNvPr id="32" name="Footer Placeholder 1">
            <a:extLst>
              <a:ext uri="{FF2B5EF4-FFF2-40B4-BE49-F238E27FC236}">
                <a16:creationId xmlns:a16="http://schemas.microsoft.com/office/drawing/2014/main" id="{CFB8F54E-D02B-B808-A8D0-C3C3930BBE80}"/>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bg1"/>
                </a:solidFill>
                <a:latin typeface="IBM Plex Sans" panose="020B0503050203000203" pitchFamily="34" charset="0"/>
              </a:defRPr>
            </a:lvl1pPr>
          </a:lstStyle>
          <a:p>
            <a:r>
              <a:rPr lang="en-US"/>
              <a:t>IBM TechXchange | © 2024 IBM Corporation</a:t>
            </a:r>
          </a:p>
        </p:txBody>
      </p:sp>
      <p:grpSp>
        <p:nvGrpSpPr>
          <p:cNvPr id="5" name="Group 4">
            <a:extLst>
              <a:ext uri="{FF2B5EF4-FFF2-40B4-BE49-F238E27FC236}">
                <a16:creationId xmlns:a16="http://schemas.microsoft.com/office/drawing/2014/main" id="{33C9EAAB-1DED-44F7-0DF2-E9DB6ECC6CA7}"/>
              </a:ext>
            </a:extLst>
          </p:cNvPr>
          <p:cNvGrpSpPr>
            <a:grpSpLocks noChangeAspect="1"/>
          </p:cNvGrpSpPr>
          <p:nvPr userDrawn="1"/>
        </p:nvGrpSpPr>
        <p:grpSpPr>
          <a:xfrm>
            <a:off x="254136" y="251460"/>
            <a:ext cx="11683728" cy="6355080"/>
            <a:chOff x="-34412" y="228570"/>
            <a:chExt cx="24799683" cy="13487429"/>
          </a:xfrm>
          <a:solidFill>
            <a:srgbClr val="C6C6C6">
              <a:alpha val="15000"/>
            </a:srgbClr>
          </a:solidFill>
        </p:grpSpPr>
        <p:sp>
          <p:nvSpPr>
            <p:cNvPr id="30" name="Freeform: Shape 29">
              <a:extLst>
                <a:ext uri="{FF2B5EF4-FFF2-40B4-BE49-F238E27FC236}">
                  <a16:creationId xmlns:a16="http://schemas.microsoft.com/office/drawing/2014/main" id="{98C4EE13-B436-CD50-362E-7F86B87926BB}"/>
                </a:ext>
              </a:extLst>
            </p:cNvPr>
            <p:cNvSpPr/>
            <p:nvPr/>
          </p:nvSpPr>
          <p:spPr>
            <a:xfrm>
              <a:off x="835769" y="228598"/>
              <a:ext cx="435077" cy="435073"/>
            </a:xfrm>
            <a:custGeom>
              <a:avLst/>
              <a:gdLst>
                <a:gd name="connsiteX0" fmla="*/ 371366 w 435077"/>
                <a:gd name="connsiteY0" fmla="*/ 63716 h 435073"/>
                <a:gd name="connsiteX1" fmla="*/ 435077 w 435077"/>
                <a:gd name="connsiteY1" fmla="*/ 217539 h 435073"/>
                <a:gd name="connsiteX2" fmla="*/ 218925 w 435077"/>
                <a:gd name="connsiteY2" fmla="*/ 217539 h 435073"/>
                <a:gd name="connsiteX3" fmla="*/ 371366 w 435077"/>
                <a:gd name="connsiteY3" fmla="*/ 281249 h 435073"/>
                <a:gd name="connsiteX4" fmla="*/ 435077 w 435077"/>
                <a:gd name="connsiteY4" fmla="*/ 435073 h 435073"/>
                <a:gd name="connsiteX5" fmla="*/ 217539 w 435077"/>
                <a:gd name="connsiteY5" fmla="*/ 435073 h 435073"/>
                <a:gd name="connsiteX6" fmla="*/ 0 w 435077"/>
                <a:gd name="connsiteY6" fmla="*/ 435073 h 435073"/>
                <a:gd name="connsiteX7" fmla="*/ 63711 w 435077"/>
                <a:gd name="connsiteY7" fmla="*/ 281249 h 435073"/>
                <a:gd name="connsiteX8" fmla="*/ 216125 w 435077"/>
                <a:gd name="connsiteY8" fmla="*/ 217539 h 435073"/>
                <a:gd name="connsiteX9" fmla="*/ 0 w 435077"/>
                <a:gd name="connsiteY9" fmla="*/ 217539 h 435073"/>
                <a:gd name="connsiteX10" fmla="*/ 63711 w 435077"/>
                <a:gd name="connsiteY10" fmla="*/ 63716 h 435073"/>
                <a:gd name="connsiteX11" fmla="*/ 217539 w 435077"/>
                <a:gd name="connsiteY11" fmla="*/ 0 h 435073"/>
                <a:gd name="connsiteX12" fmla="*/ 371366 w 435077"/>
                <a:gd name="connsiteY12" fmla="*/ 63716 h 43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3">
                  <a:moveTo>
                    <a:pt x="371366" y="63716"/>
                  </a:moveTo>
                  <a:cubicBezTo>
                    <a:pt x="412154" y="104512"/>
                    <a:pt x="435077" y="159844"/>
                    <a:pt x="435077" y="217539"/>
                  </a:cubicBezTo>
                  <a:lnTo>
                    <a:pt x="218925" y="217539"/>
                  </a:lnTo>
                  <a:cubicBezTo>
                    <a:pt x="276138" y="217907"/>
                    <a:pt x="330903" y="240784"/>
                    <a:pt x="371366" y="281249"/>
                  </a:cubicBezTo>
                  <a:cubicBezTo>
                    <a:pt x="412154" y="322046"/>
                    <a:pt x="435077" y="377379"/>
                    <a:pt x="435077" y="435073"/>
                  </a:cubicBezTo>
                  <a:lnTo>
                    <a:pt x="217539" y="435073"/>
                  </a:lnTo>
                  <a:lnTo>
                    <a:pt x="0" y="435073"/>
                  </a:lnTo>
                  <a:cubicBezTo>
                    <a:pt x="0" y="377379"/>
                    <a:pt x="22923" y="322046"/>
                    <a:pt x="63711" y="281249"/>
                  </a:cubicBezTo>
                  <a:cubicBezTo>
                    <a:pt x="104174" y="240784"/>
                    <a:pt x="158939" y="217907"/>
                    <a:pt x="216125" y="217539"/>
                  </a:cubicBezTo>
                  <a:lnTo>
                    <a:pt x="0" y="217539"/>
                  </a:lnTo>
                  <a:cubicBezTo>
                    <a:pt x="0" y="159844"/>
                    <a:pt x="22923" y="104512"/>
                    <a:pt x="63711" y="63716"/>
                  </a:cubicBezTo>
                  <a:cubicBezTo>
                    <a:pt x="104500" y="22919"/>
                    <a:pt x="159836" y="0"/>
                    <a:pt x="217539" y="0"/>
                  </a:cubicBezTo>
                  <a:cubicBezTo>
                    <a:pt x="275213" y="0"/>
                    <a:pt x="330550" y="22919"/>
                    <a:pt x="371366" y="63716"/>
                  </a:cubicBezTo>
                  <a:close/>
                </a:path>
              </a:pathLst>
            </a:custGeom>
            <a:grpFill/>
            <a:ln w="27192" cap="flat">
              <a:noFill/>
              <a:prstDash val="solid"/>
              <a:miter/>
            </a:ln>
          </p:spPr>
          <p:txBody>
            <a:bodyPr rtlCol="0" anchor="ctr"/>
            <a:lstStyle/>
            <a:p>
              <a:endParaRPr lang="uk-UA" sz="900"/>
            </a:p>
          </p:txBody>
        </p:sp>
        <p:sp>
          <p:nvSpPr>
            <p:cNvPr id="31" name="Freeform: Shape 30">
              <a:extLst>
                <a:ext uri="{FF2B5EF4-FFF2-40B4-BE49-F238E27FC236}">
                  <a16:creationId xmlns:a16="http://schemas.microsoft.com/office/drawing/2014/main" id="{04A2C5F0-405F-36A7-19A0-44A0A152D5A4}"/>
                </a:ext>
              </a:extLst>
            </p:cNvPr>
            <p:cNvSpPr/>
            <p:nvPr/>
          </p:nvSpPr>
          <p:spPr>
            <a:xfrm>
              <a:off x="-34398" y="228598"/>
              <a:ext cx="435090" cy="435078"/>
            </a:xfrm>
            <a:custGeom>
              <a:avLst/>
              <a:gdLst>
                <a:gd name="connsiteX0" fmla="*/ 217525 w 435090"/>
                <a:gd name="connsiteY0" fmla="*/ 0 h 435078"/>
                <a:gd name="connsiteX1" fmla="*/ 0 w 435090"/>
                <a:gd name="connsiteY1" fmla="*/ 0 h 435078"/>
                <a:gd name="connsiteX2" fmla="*/ 0 w 435090"/>
                <a:gd name="connsiteY2" fmla="*/ 217539 h 435078"/>
                <a:gd name="connsiteX3" fmla="*/ 217525 w 435090"/>
                <a:gd name="connsiteY3" fmla="*/ 0 h 435078"/>
                <a:gd name="connsiteX4" fmla="*/ 435091 w 435090"/>
                <a:gd name="connsiteY4" fmla="*/ 0 h 435078"/>
                <a:gd name="connsiteX5" fmla="*/ 435091 w 435090"/>
                <a:gd name="connsiteY5" fmla="*/ 217539 h 435078"/>
                <a:gd name="connsiteX6" fmla="*/ 217552 w 435090"/>
                <a:gd name="connsiteY6" fmla="*/ 0 h 435078"/>
                <a:gd name="connsiteX7" fmla="*/ 435091 w 435090"/>
                <a:gd name="connsiteY7" fmla="*/ 0 h 435078"/>
                <a:gd name="connsiteX8" fmla="*/ 217552 w 435090"/>
                <a:gd name="connsiteY8" fmla="*/ 435079 h 435078"/>
                <a:gd name="connsiteX9" fmla="*/ 435091 w 435090"/>
                <a:gd name="connsiteY9" fmla="*/ 217539 h 435078"/>
                <a:gd name="connsiteX10" fmla="*/ 435091 w 435090"/>
                <a:gd name="connsiteY10" fmla="*/ 435079 h 435078"/>
                <a:gd name="connsiteX11" fmla="*/ 217552 w 435090"/>
                <a:gd name="connsiteY11" fmla="*/ 435079 h 435078"/>
                <a:gd name="connsiteX12" fmla="*/ 217552 w 435090"/>
                <a:gd name="connsiteY12" fmla="*/ 435079 h 435078"/>
                <a:gd name="connsiteX13" fmla="*/ 11 w 435090"/>
                <a:gd name="connsiteY13" fmla="*/ 217539 h 435078"/>
                <a:gd name="connsiteX14" fmla="*/ 11 w 435090"/>
                <a:gd name="connsiteY14" fmla="*/ 435079 h 435078"/>
                <a:gd name="connsiteX15" fmla="*/ 217552 w 435090"/>
                <a:gd name="connsiteY15" fmla="*/ 435079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90" h="435078">
                  <a:moveTo>
                    <a:pt x="217525" y="0"/>
                  </a:moveTo>
                  <a:lnTo>
                    <a:pt x="0" y="0"/>
                  </a:lnTo>
                  <a:lnTo>
                    <a:pt x="0" y="217539"/>
                  </a:lnTo>
                  <a:lnTo>
                    <a:pt x="217525" y="0"/>
                  </a:lnTo>
                  <a:close/>
                  <a:moveTo>
                    <a:pt x="435091" y="0"/>
                  </a:moveTo>
                  <a:lnTo>
                    <a:pt x="435091" y="217539"/>
                  </a:lnTo>
                  <a:lnTo>
                    <a:pt x="217552" y="0"/>
                  </a:lnTo>
                  <a:lnTo>
                    <a:pt x="435091" y="0"/>
                  </a:lnTo>
                  <a:close/>
                  <a:moveTo>
                    <a:pt x="217552" y="435079"/>
                  </a:moveTo>
                  <a:lnTo>
                    <a:pt x="435091" y="217539"/>
                  </a:lnTo>
                  <a:lnTo>
                    <a:pt x="435091" y="435079"/>
                  </a:lnTo>
                  <a:lnTo>
                    <a:pt x="217552" y="435079"/>
                  </a:lnTo>
                  <a:close/>
                  <a:moveTo>
                    <a:pt x="217552" y="435079"/>
                  </a:moveTo>
                  <a:lnTo>
                    <a:pt x="11" y="217539"/>
                  </a:lnTo>
                  <a:lnTo>
                    <a:pt x="11" y="435079"/>
                  </a:lnTo>
                  <a:lnTo>
                    <a:pt x="217552" y="435079"/>
                  </a:lnTo>
                  <a:close/>
                </a:path>
              </a:pathLst>
            </a:custGeom>
            <a:grpFill/>
            <a:ln w="27192" cap="flat">
              <a:noFill/>
              <a:prstDash val="solid"/>
              <a:miter/>
            </a:ln>
          </p:spPr>
          <p:txBody>
            <a:bodyPr rtlCol="0" anchor="ctr"/>
            <a:lstStyle/>
            <a:p>
              <a:endParaRPr lang="uk-UA" sz="900"/>
            </a:p>
          </p:txBody>
        </p:sp>
        <p:sp>
          <p:nvSpPr>
            <p:cNvPr id="33" name="Freeform: Shape 32">
              <a:extLst>
                <a:ext uri="{FF2B5EF4-FFF2-40B4-BE49-F238E27FC236}">
                  <a16:creationId xmlns:a16="http://schemas.microsoft.com/office/drawing/2014/main" id="{C088871D-D7D1-F52F-721A-76833E14B557}"/>
                </a:ext>
              </a:extLst>
            </p:cNvPr>
            <p:cNvSpPr/>
            <p:nvPr/>
          </p:nvSpPr>
          <p:spPr>
            <a:xfrm>
              <a:off x="1705924" y="228598"/>
              <a:ext cx="435077" cy="435075"/>
            </a:xfrm>
            <a:custGeom>
              <a:avLst/>
              <a:gdLst>
                <a:gd name="connsiteX0" fmla="*/ 217539 w 435077"/>
                <a:gd name="connsiteY0" fmla="*/ 217533 h 435075"/>
                <a:gd name="connsiteX1" fmla="*/ 217539 w 435077"/>
                <a:gd name="connsiteY1" fmla="*/ 0 h 435075"/>
                <a:gd name="connsiteX2" fmla="*/ 0 w 435077"/>
                <a:gd name="connsiteY2" fmla="*/ 0 h 435075"/>
                <a:gd name="connsiteX3" fmla="*/ 217539 w 435077"/>
                <a:gd name="connsiteY3" fmla="*/ 217538 h 435075"/>
                <a:gd name="connsiteX4" fmla="*/ 0 w 435077"/>
                <a:gd name="connsiteY4" fmla="*/ 435076 h 435075"/>
                <a:gd name="connsiteX5" fmla="*/ 217539 w 435077"/>
                <a:gd name="connsiteY5" fmla="*/ 435076 h 435075"/>
                <a:gd name="connsiteX6" fmla="*/ 217539 w 435077"/>
                <a:gd name="connsiteY6" fmla="*/ 435071 h 435075"/>
                <a:gd name="connsiteX7" fmla="*/ 435077 w 435077"/>
                <a:gd name="connsiteY7" fmla="*/ 217543 h 435075"/>
                <a:gd name="connsiteX8" fmla="*/ 435077 w 435077"/>
                <a:gd name="connsiteY8" fmla="*/ 217543 h 435075"/>
                <a:gd name="connsiteX9" fmla="*/ 435077 w 435077"/>
                <a:gd name="connsiteY9" fmla="*/ 217538 h 435075"/>
                <a:gd name="connsiteX10" fmla="*/ 435077 w 435077"/>
                <a:gd name="connsiteY10" fmla="*/ 217533 h 435075"/>
                <a:gd name="connsiteX11" fmla="*/ 435077 w 435077"/>
                <a:gd name="connsiteY11" fmla="*/ 217533 h 435075"/>
                <a:gd name="connsiteX12" fmla="*/ 217539 w 435077"/>
                <a:gd name="connsiteY12" fmla="*/ 5 h 435075"/>
                <a:gd name="connsiteX13" fmla="*/ 217539 w 435077"/>
                <a:gd name="connsiteY13" fmla="*/ 217533 h 435075"/>
                <a:gd name="connsiteX14" fmla="*/ 217539 w 435077"/>
                <a:gd name="connsiteY14" fmla="*/ 217533 h 43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5">
                  <a:moveTo>
                    <a:pt x="217539" y="217533"/>
                  </a:moveTo>
                  <a:lnTo>
                    <a:pt x="217539" y="0"/>
                  </a:lnTo>
                  <a:lnTo>
                    <a:pt x="0" y="0"/>
                  </a:lnTo>
                  <a:lnTo>
                    <a:pt x="217539" y="217538"/>
                  </a:lnTo>
                  <a:lnTo>
                    <a:pt x="0" y="435076"/>
                  </a:lnTo>
                  <a:lnTo>
                    <a:pt x="217539" y="435076"/>
                  </a:lnTo>
                  <a:lnTo>
                    <a:pt x="217539" y="435071"/>
                  </a:lnTo>
                  <a:lnTo>
                    <a:pt x="435077" y="217543"/>
                  </a:lnTo>
                  <a:lnTo>
                    <a:pt x="435077" y="217543"/>
                  </a:lnTo>
                  <a:lnTo>
                    <a:pt x="435077" y="217538"/>
                  </a:lnTo>
                  <a:lnTo>
                    <a:pt x="435077" y="217533"/>
                  </a:lnTo>
                  <a:lnTo>
                    <a:pt x="435077" y="217533"/>
                  </a:lnTo>
                  <a:lnTo>
                    <a:pt x="217539" y="5"/>
                  </a:lnTo>
                  <a:lnTo>
                    <a:pt x="217539" y="217533"/>
                  </a:lnTo>
                  <a:lnTo>
                    <a:pt x="217539" y="217533"/>
                  </a:lnTo>
                  <a:close/>
                </a:path>
              </a:pathLst>
            </a:custGeom>
            <a:grpFill/>
            <a:ln w="27192" cap="flat">
              <a:noFill/>
              <a:prstDash val="solid"/>
              <a:miter/>
            </a:ln>
          </p:spPr>
          <p:txBody>
            <a:bodyPr rtlCol="0" anchor="ctr"/>
            <a:lstStyle/>
            <a:p>
              <a:endParaRPr lang="uk-UA" sz="900"/>
            </a:p>
          </p:txBody>
        </p:sp>
        <p:sp>
          <p:nvSpPr>
            <p:cNvPr id="34" name="Freeform: Shape 33">
              <a:extLst>
                <a:ext uri="{FF2B5EF4-FFF2-40B4-BE49-F238E27FC236}">
                  <a16:creationId xmlns:a16="http://schemas.microsoft.com/office/drawing/2014/main" id="{F37B66B0-A21D-3971-136D-1BAD43292D2E}"/>
                </a:ext>
              </a:extLst>
            </p:cNvPr>
            <p:cNvSpPr/>
            <p:nvPr/>
          </p:nvSpPr>
          <p:spPr>
            <a:xfrm>
              <a:off x="2576106" y="228598"/>
              <a:ext cx="435077" cy="435078"/>
            </a:xfrm>
            <a:custGeom>
              <a:avLst/>
              <a:gdLst>
                <a:gd name="connsiteX0" fmla="*/ 0 w 435077"/>
                <a:gd name="connsiteY0" fmla="*/ 435079 h 435078"/>
                <a:gd name="connsiteX1" fmla="*/ 217512 w 435077"/>
                <a:gd name="connsiteY1" fmla="*/ 435079 h 435078"/>
                <a:gd name="connsiteX2" fmla="*/ 217512 w 435077"/>
                <a:gd name="connsiteY2" fmla="*/ 217546 h 435078"/>
                <a:gd name="connsiteX3" fmla="*/ 0 w 435077"/>
                <a:gd name="connsiteY3" fmla="*/ 435079 h 435078"/>
                <a:gd name="connsiteX4" fmla="*/ 217539 w 435077"/>
                <a:gd name="connsiteY4" fmla="*/ 0 h 435078"/>
                <a:gd name="connsiteX5" fmla="*/ 0 w 435077"/>
                <a:gd name="connsiteY5" fmla="*/ 0 h 435078"/>
                <a:gd name="connsiteX6" fmla="*/ 217539 w 435077"/>
                <a:gd name="connsiteY6" fmla="*/ 217532 h 435078"/>
                <a:gd name="connsiteX7" fmla="*/ 217539 w 435077"/>
                <a:gd name="connsiteY7" fmla="*/ 0 h 435078"/>
                <a:gd name="connsiteX8" fmla="*/ 435077 w 435077"/>
                <a:gd name="connsiteY8" fmla="*/ 435079 h 435078"/>
                <a:gd name="connsiteX9" fmla="*/ 217539 w 435077"/>
                <a:gd name="connsiteY9" fmla="*/ 435079 h 435078"/>
                <a:gd name="connsiteX10" fmla="*/ 435077 w 435077"/>
                <a:gd name="connsiteY10" fmla="*/ 217546 h 435078"/>
                <a:gd name="connsiteX11" fmla="*/ 435077 w 435077"/>
                <a:gd name="connsiteY11" fmla="*/ 435079 h 435078"/>
                <a:gd name="connsiteX12" fmla="*/ 435077 w 435077"/>
                <a:gd name="connsiteY12" fmla="*/ 0 h 435078"/>
                <a:gd name="connsiteX13" fmla="*/ 217539 w 435077"/>
                <a:gd name="connsiteY13" fmla="*/ 0 h 435078"/>
                <a:gd name="connsiteX14" fmla="*/ 435077 w 435077"/>
                <a:gd name="connsiteY14" fmla="*/ 217532 h 435078"/>
                <a:gd name="connsiteX15" fmla="*/ 435077 w 435077"/>
                <a:gd name="connsiteY15"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8">
                  <a:moveTo>
                    <a:pt x="0" y="435079"/>
                  </a:moveTo>
                  <a:lnTo>
                    <a:pt x="217512" y="435079"/>
                  </a:lnTo>
                  <a:lnTo>
                    <a:pt x="217512" y="217546"/>
                  </a:lnTo>
                  <a:lnTo>
                    <a:pt x="0" y="435079"/>
                  </a:lnTo>
                  <a:close/>
                  <a:moveTo>
                    <a:pt x="217539" y="0"/>
                  </a:moveTo>
                  <a:lnTo>
                    <a:pt x="0" y="0"/>
                  </a:lnTo>
                  <a:lnTo>
                    <a:pt x="217539" y="217532"/>
                  </a:lnTo>
                  <a:lnTo>
                    <a:pt x="217539" y="0"/>
                  </a:lnTo>
                  <a:close/>
                  <a:moveTo>
                    <a:pt x="435077" y="435079"/>
                  </a:moveTo>
                  <a:lnTo>
                    <a:pt x="217539" y="435079"/>
                  </a:lnTo>
                  <a:lnTo>
                    <a:pt x="435077" y="217546"/>
                  </a:lnTo>
                  <a:lnTo>
                    <a:pt x="435077" y="435079"/>
                  </a:lnTo>
                  <a:close/>
                  <a:moveTo>
                    <a:pt x="435077" y="0"/>
                  </a:moveTo>
                  <a:lnTo>
                    <a:pt x="217539" y="0"/>
                  </a:lnTo>
                  <a:lnTo>
                    <a:pt x="435077" y="217532"/>
                  </a:lnTo>
                  <a:lnTo>
                    <a:pt x="435077" y="0"/>
                  </a:lnTo>
                  <a:close/>
                </a:path>
              </a:pathLst>
            </a:custGeom>
            <a:grpFill/>
            <a:ln w="27192" cap="flat">
              <a:noFill/>
              <a:prstDash val="solid"/>
              <a:miter/>
            </a:ln>
          </p:spPr>
          <p:txBody>
            <a:bodyPr rtlCol="0" anchor="ctr"/>
            <a:lstStyle/>
            <a:p>
              <a:endParaRPr lang="uk-UA" sz="900"/>
            </a:p>
          </p:txBody>
        </p:sp>
        <p:sp>
          <p:nvSpPr>
            <p:cNvPr id="35" name="Freeform: Shape 34">
              <a:extLst>
                <a:ext uri="{FF2B5EF4-FFF2-40B4-BE49-F238E27FC236}">
                  <a16:creationId xmlns:a16="http://schemas.microsoft.com/office/drawing/2014/main" id="{CF027849-0B3C-F2FD-43C3-98EB8EE43A42}"/>
                </a:ext>
              </a:extLst>
            </p:cNvPr>
            <p:cNvSpPr/>
            <p:nvPr/>
          </p:nvSpPr>
          <p:spPr>
            <a:xfrm>
              <a:off x="4316416" y="228598"/>
              <a:ext cx="435103" cy="435073"/>
            </a:xfrm>
            <a:custGeom>
              <a:avLst/>
              <a:gdLst>
                <a:gd name="connsiteX0" fmla="*/ 371365 w 435103"/>
                <a:gd name="connsiteY0" fmla="*/ 63716 h 435073"/>
                <a:gd name="connsiteX1" fmla="*/ 435077 w 435103"/>
                <a:gd name="connsiteY1" fmla="*/ 217539 h 435073"/>
                <a:gd name="connsiteX2" fmla="*/ 218952 w 435103"/>
                <a:gd name="connsiteY2" fmla="*/ 217539 h 435073"/>
                <a:gd name="connsiteX3" fmla="*/ 371365 w 435103"/>
                <a:gd name="connsiteY3" fmla="*/ 281249 h 435073"/>
                <a:gd name="connsiteX4" fmla="*/ 435104 w 435103"/>
                <a:gd name="connsiteY4" fmla="*/ 435073 h 435073"/>
                <a:gd name="connsiteX5" fmla="*/ 217565 w 435103"/>
                <a:gd name="connsiteY5" fmla="*/ 435073 h 435073"/>
                <a:gd name="connsiteX6" fmla="*/ 27 w 435103"/>
                <a:gd name="connsiteY6" fmla="*/ 435073 h 435073"/>
                <a:gd name="connsiteX7" fmla="*/ 63739 w 435103"/>
                <a:gd name="connsiteY7" fmla="*/ 281249 h 435073"/>
                <a:gd name="connsiteX8" fmla="*/ 216151 w 435103"/>
                <a:gd name="connsiteY8" fmla="*/ 217539 h 435073"/>
                <a:gd name="connsiteX9" fmla="*/ 0 w 435103"/>
                <a:gd name="connsiteY9" fmla="*/ 217539 h 435073"/>
                <a:gd name="connsiteX10" fmla="*/ 63739 w 435103"/>
                <a:gd name="connsiteY10" fmla="*/ 63716 h 435073"/>
                <a:gd name="connsiteX11" fmla="*/ 217539 w 435103"/>
                <a:gd name="connsiteY11" fmla="*/ 0 h 435073"/>
                <a:gd name="connsiteX12" fmla="*/ 371365 w 435103"/>
                <a:gd name="connsiteY12" fmla="*/ 63716 h 43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3" h="435073">
                  <a:moveTo>
                    <a:pt x="371365" y="63716"/>
                  </a:moveTo>
                  <a:cubicBezTo>
                    <a:pt x="412181" y="104512"/>
                    <a:pt x="435077" y="159844"/>
                    <a:pt x="435077" y="217539"/>
                  </a:cubicBezTo>
                  <a:lnTo>
                    <a:pt x="218952" y="217539"/>
                  </a:lnTo>
                  <a:cubicBezTo>
                    <a:pt x="276138" y="217907"/>
                    <a:pt x="330903" y="240784"/>
                    <a:pt x="371365" y="281249"/>
                  </a:cubicBezTo>
                  <a:cubicBezTo>
                    <a:pt x="412181" y="322046"/>
                    <a:pt x="435104" y="377379"/>
                    <a:pt x="435104" y="435073"/>
                  </a:cubicBezTo>
                  <a:lnTo>
                    <a:pt x="217565" y="435073"/>
                  </a:lnTo>
                  <a:lnTo>
                    <a:pt x="27" y="435073"/>
                  </a:lnTo>
                  <a:cubicBezTo>
                    <a:pt x="27" y="377379"/>
                    <a:pt x="22923" y="322046"/>
                    <a:pt x="63739" y="281249"/>
                  </a:cubicBezTo>
                  <a:cubicBezTo>
                    <a:pt x="104201" y="240784"/>
                    <a:pt x="158966" y="217907"/>
                    <a:pt x="216151" y="217539"/>
                  </a:cubicBezTo>
                  <a:lnTo>
                    <a:pt x="0" y="217539"/>
                  </a:lnTo>
                  <a:cubicBezTo>
                    <a:pt x="0" y="159844"/>
                    <a:pt x="22923" y="104512"/>
                    <a:pt x="63739" y="63716"/>
                  </a:cubicBezTo>
                  <a:cubicBezTo>
                    <a:pt x="104527" y="22919"/>
                    <a:pt x="159864" y="0"/>
                    <a:pt x="217539" y="0"/>
                  </a:cubicBezTo>
                  <a:cubicBezTo>
                    <a:pt x="275240" y="0"/>
                    <a:pt x="330577" y="22919"/>
                    <a:pt x="371365" y="63716"/>
                  </a:cubicBezTo>
                  <a:close/>
                </a:path>
              </a:pathLst>
            </a:custGeom>
            <a:grpFill/>
            <a:ln w="27192" cap="flat">
              <a:noFill/>
              <a:prstDash val="solid"/>
              <a:miter/>
            </a:ln>
          </p:spPr>
          <p:txBody>
            <a:bodyPr rtlCol="0" anchor="ctr"/>
            <a:lstStyle/>
            <a:p>
              <a:endParaRPr lang="uk-UA" sz="900"/>
            </a:p>
          </p:txBody>
        </p:sp>
        <p:sp>
          <p:nvSpPr>
            <p:cNvPr id="36" name="Freeform: Shape 35">
              <a:extLst>
                <a:ext uri="{FF2B5EF4-FFF2-40B4-BE49-F238E27FC236}">
                  <a16:creationId xmlns:a16="http://schemas.microsoft.com/office/drawing/2014/main" id="{C5227356-E1B7-729A-984F-DD3736C3ED9C}"/>
                </a:ext>
              </a:extLst>
            </p:cNvPr>
            <p:cNvSpPr/>
            <p:nvPr/>
          </p:nvSpPr>
          <p:spPr>
            <a:xfrm>
              <a:off x="3446261" y="228598"/>
              <a:ext cx="435077" cy="435078"/>
            </a:xfrm>
            <a:custGeom>
              <a:avLst/>
              <a:gdLst>
                <a:gd name="connsiteX0" fmla="*/ 217566 w 435077"/>
                <a:gd name="connsiteY0" fmla="*/ 0 h 435078"/>
                <a:gd name="connsiteX1" fmla="*/ 217539 w 435077"/>
                <a:gd name="connsiteY1" fmla="*/ 0 h 435078"/>
                <a:gd name="connsiteX2" fmla="*/ 27 w 435077"/>
                <a:gd name="connsiteY2" fmla="*/ 0 h 435078"/>
                <a:gd name="connsiteX3" fmla="*/ 27 w 435077"/>
                <a:gd name="connsiteY3" fmla="*/ 217539 h 435078"/>
                <a:gd name="connsiteX4" fmla="*/ 217539 w 435077"/>
                <a:gd name="connsiteY4" fmla="*/ 7 h 435078"/>
                <a:gd name="connsiteX5" fmla="*/ 435077 w 435077"/>
                <a:gd name="connsiteY5" fmla="*/ 217539 h 435078"/>
                <a:gd name="connsiteX6" fmla="*/ 217539 w 435077"/>
                <a:gd name="connsiteY6" fmla="*/ 435079 h 435078"/>
                <a:gd name="connsiteX7" fmla="*/ 0 w 435077"/>
                <a:gd name="connsiteY7" fmla="*/ 217539 h 435078"/>
                <a:gd name="connsiteX8" fmla="*/ 0 w 435077"/>
                <a:gd name="connsiteY8" fmla="*/ 435079 h 435078"/>
                <a:gd name="connsiteX9" fmla="*/ 217539 w 435077"/>
                <a:gd name="connsiteY9" fmla="*/ 435079 h 435078"/>
                <a:gd name="connsiteX10" fmla="*/ 435077 w 435077"/>
                <a:gd name="connsiteY10" fmla="*/ 435079 h 435078"/>
                <a:gd name="connsiteX11" fmla="*/ 435077 w 435077"/>
                <a:gd name="connsiteY11" fmla="*/ 217539 h 435078"/>
                <a:gd name="connsiteX12" fmla="*/ 435077 w 435077"/>
                <a:gd name="connsiteY12" fmla="*/ 0 h 435078"/>
                <a:gd name="connsiteX13" fmla="*/ 217566 w 435077"/>
                <a:gd name="connsiteY13"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8">
                  <a:moveTo>
                    <a:pt x="217566" y="0"/>
                  </a:moveTo>
                  <a:lnTo>
                    <a:pt x="217539" y="0"/>
                  </a:lnTo>
                  <a:lnTo>
                    <a:pt x="27" y="0"/>
                  </a:lnTo>
                  <a:lnTo>
                    <a:pt x="27" y="217539"/>
                  </a:lnTo>
                  <a:lnTo>
                    <a:pt x="217539" y="7"/>
                  </a:lnTo>
                  <a:lnTo>
                    <a:pt x="435077" y="217539"/>
                  </a:lnTo>
                  <a:lnTo>
                    <a:pt x="217539" y="435079"/>
                  </a:lnTo>
                  <a:lnTo>
                    <a:pt x="0" y="217539"/>
                  </a:lnTo>
                  <a:lnTo>
                    <a:pt x="0" y="435079"/>
                  </a:lnTo>
                  <a:lnTo>
                    <a:pt x="217539" y="435079"/>
                  </a:lnTo>
                  <a:lnTo>
                    <a:pt x="435077" y="435079"/>
                  </a:lnTo>
                  <a:lnTo>
                    <a:pt x="435077" y="217539"/>
                  </a:lnTo>
                  <a:lnTo>
                    <a:pt x="435077" y="0"/>
                  </a:lnTo>
                  <a:lnTo>
                    <a:pt x="217566" y="0"/>
                  </a:lnTo>
                  <a:close/>
                </a:path>
              </a:pathLst>
            </a:custGeom>
            <a:grpFill/>
            <a:ln w="27192" cap="flat">
              <a:noFill/>
              <a:prstDash val="solid"/>
              <a:miter/>
            </a:ln>
          </p:spPr>
          <p:txBody>
            <a:bodyPr rtlCol="0" anchor="ctr"/>
            <a:lstStyle/>
            <a:p>
              <a:endParaRPr lang="uk-UA" sz="900"/>
            </a:p>
          </p:txBody>
        </p:sp>
        <p:sp>
          <p:nvSpPr>
            <p:cNvPr id="37" name="Freeform: Shape 36">
              <a:extLst>
                <a:ext uri="{FF2B5EF4-FFF2-40B4-BE49-F238E27FC236}">
                  <a16:creationId xmlns:a16="http://schemas.microsoft.com/office/drawing/2014/main" id="{EF237892-868E-176E-E198-3599F652A108}"/>
                </a:ext>
              </a:extLst>
            </p:cNvPr>
            <p:cNvSpPr/>
            <p:nvPr/>
          </p:nvSpPr>
          <p:spPr>
            <a:xfrm>
              <a:off x="5186597" y="228598"/>
              <a:ext cx="435077" cy="435075"/>
            </a:xfrm>
            <a:custGeom>
              <a:avLst/>
              <a:gdLst>
                <a:gd name="connsiteX0" fmla="*/ 217539 w 435077"/>
                <a:gd name="connsiteY0" fmla="*/ 217540 h 435075"/>
                <a:gd name="connsiteX1" fmla="*/ 217539 w 435077"/>
                <a:gd name="connsiteY1" fmla="*/ 217537 h 435075"/>
                <a:gd name="connsiteX2" fmla="*/ 0 w 435077"/>
                <a:gd name="connsiteY2" fmla="*/ 0 h 435075"/>
                <a:gd name="connsiteX3" fmla="*/ 217539 w 435077"/>
                <a:gd name="connsiteY3" fmla="*/ 0 h 435075"/>
                <a:gd name="connsiteX4" fmla="*/ 217539 w 435077"/>
                <a:gd name="connsiteY4" fmla="*/ 5 h 435075"/>
                <a:gd name="connsiteX5" fmla="*/ 435077 w 435077"/>
                <a:gd name="connsiteY5" fmla="*/ 217533 h 435075"/>
                <a:gd name="connsiteX6" fmla="*/ 435077 w 435077"/>
                <a:gd name="connsiteY6" fmla="*/ 217533 h 435075"/>
                <a:gd name="connsiteX7" fmla="*/ 435077 w 435077"/>
                <a:gd name="connsiteY7" fmla="*/ 217538 h 435075"/>
                <a:gd name="connsiteX8" fmla="*/ 435077 w 435077"/>
                <a:gd name="connsiteY8" fmla="*/ 217542 h 435075"/>
                <a:gd name="connsiteX9" fmla="*/ 435077 w 435077"/>
                <a:gd name="connsiteY9" fmla="*/ 217542 h 435075"/>
                <a:gd name="connsiteX10" fmla="*/ 217539 w 435077"/>
                <a:gd name="connsiteY10" fmla="*/ 435071 h 435075"/>
                <a:gd name="connsiteX11" fmla="*/ 217539 w 435077"/>
                <a:gd name="connsiteY11" fmla="*/ 435076 h 435075"/>
                <a:gd name="connsiteX12" fmla="*/ 0 w 435077"/>
                <a:gd name="connsiteY12" fmla="*/ 435076 h 435075"/>
                <a:gd name="connsiteX13" fmla="*/ 217539 w 435077"/>
                <a:gd name="connsiteY13" fmla="*/ 217540 h 43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5">
                  <a:moveTo>
                    <a:pt x="217539" y="217540"/>
                  </a:moveTo>
                  <a:lnTo>
                    <a:pt x="217539" y="217537"/>
                  </a:lnTo>
                  <a:lnTo>
                    <a:pt x="0" y="0"/>
                  </a:lnTo>
                  <a:lnTo>
                    <a:pt x="217539" y="0"/>
                  </a:lnTo>
                  <a:lnTo>
                    <a:pt x="217539" y="5"/>
                  </a:lnTo>
                  <a:lnTo>
                    <a:pt x="435077" y="217533"/>
                  </a:lnTo>
                  <a:lnTo>
                    <a:pt x="435077" y="217533"/>
                  </a:lnTo>
                  <a:lnTo>
                    <a:pt x="435077" y="217538"/>
                  </a:lnTo>
                  <a:lnTo>
                    <a:pt x="435077" y="217542"/>
                  </a:lnTo>
                  <a:lnTo>
                    <a:pt x="435077" y="217542"/>
                  </a:lnTo>
                  <a:lnTo>
                    <a:pt x="217539" y="435071"/>
                  </a:lnTo>
                  <a:lnTo>
                    <a:pt x="217539" y="435076"/>
                  </a:lnTo>
                  <a:lnTo>
                    <a:pt x="0" y="435076"/>
                  </a:lnTo>
                  <a:lnTo>
                    <a:pt x="217539" y="217540"/>
                  </a:lnTo>
                  <a:close/>
                </a:path>
              </a:pathLst>
            </a:custGeom>
            <a:grpFill/>
            <a:ln w="27192" cap="flat">
              <a:noFill/>
              <a:prstDash val="solid"/>
              <a:miter/>
            </a:ln>
          </p:spPr>
          <p:txBody>
            <a:bodyPr rtlCol="0" anchor="ctr"/>
            <a:lstStyle/>
            <a:p>
              <a:endParaRPr lang="uk-UA" sz="900"/>
            </a:p>
          </p:txBody>
        </p:sp>
        <p:sp>
          <p:nvSpPr>
            <p:cNvPr id="38" name="Freeform: Shape 37">
              <a:extLst>
                <a:ext uri="{FF2B5EF4-FFF2-40B4-BE49-F238E27FC236}">
                  <a16:creationId xmlns:a16="http://schemas.microsoft.com/office/drawing/2014/main" id="{E18A5A8E-08E6-5068-DB17-946F0E3266FF}"/>
                </a:ext>
              </a:extLst>
            </p:cNvPr>
            <p:cNvSpPr/>
            <p:nvPr/>
          </p:nvSpPr>
          <p:spPr>
            <a:xfrm>
              <a:off x="6056752" y="228598"/>
              <a:ext cx="435077" cy="435078"/>
            </a:xfrm>
            <a:custGeom>
              <a:avLst/>
              <a:gdLst>
                <a:gd name="connsiteX0" fmla="*/ 0 w 435077"/>
                <a:gd name="connsiteY0" fmla="*/ 435079 h 435078"/>
                <a:gd name="connsiteX1" fmla="*/ 217539 w 435077"/>
                <a:gd name="connsiteY1" fmla="*/ 435079 h 435078"/>
                <a:gd name="connsiteX2" fmla="*/ 217539 w 435077"/>
                <a:gd name="connsiteY2" fmla="*/ 217546 h 435078"/>
                <a:gd name="connsiteX3" fmla="*/ 0 w 435077"/>
                <a:gd name="connsiteY3" fmla="*/ 435079 h 435078"/>
                <a:gd name="connsiteX4" fmla="*/ 217539 w 435077"/>
                <a:gd name="connsiteY4" fmla="*/ 0 h 435078"/>
                <a:gd name="connsiteX5" fmla="*/ 0 w 435077"/>
                <a:gd name="connsiteY5" fmla="*/ 0 h 435078"/>
                <a:gd name="connsiteX6" fmla="*/ 217539 w 435077"/>
                <a:gd name="connsiteY6" fmla="*/ 217532 h 435078"/>
                <a:gd name="connsiteX7" fmla="*/ 217539 w 435077"/>
                <a:gd name="connsiteY7" fmla="*/ 0 h 435078"/>
                <a:gd name="connsiteX8" fmla="*/ 435077 w 435077"/>
                <a:gd name="connsiteY8" fmla="*/ 435079 h 435078"/>
                <a:gd name="connsiteX9" fmla="*/ 217539 w 435077"/>
                <a:gd name="connsiteY9" fmla="*/ 435079 h 435078"/>
                <a:gd name="connsiteX10" fmla="*/ 435077 w 435077"/>
                <a:gd name="connsiteY10" fmla="*/ 217546 h 435078"/>
                <a:gd name="connsiteX11" fmla="*/ 435077 w 435077"/>
                <a:gd name="connsiteY11" fmla="*/ 435079 h 435078"/>
                <a:gd name="connsiteX12" fmla="*/ 435077 w 435077"/>
                <a:gd name="connsiteY12" fmla="*/ 0 h 435078"/>
                <a:gd name="connsiteX13" fmla="*/ 217539 w 435077"/>
                <a:gd name="connsiteY13" fmla="*/ 0 h 435078"/>
                <a:gd name="connsiteX14" fmla="*/ 435077 w 435077"/>
                <a:gd name="connsiteY14" fmla="*/ 217532 h 435078"/>
                <a:gd name="connsiteX15" fmla="*/ 435077 w 435077"/>
                <a:gd name="connsiteY15"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8">
                  <a:moveTo>
                    <a:pt x="0" y="435079"/>
                  </a:moveTo>
                  <a:lnTo>
                    <a:pt x="217539" y="435079"/>
                  </a:lnTo>
                  <a:lnTo>
                    <a:pt x="217539" y="217546"/>
                  </a:lnTo>
                  <a:lnTo>
                    <a:pt x="0" y="435079"/>
                  </a:lnTo>
                  <a:close/>
                  <a:moveTo>
                    <a:pt x="217539" y="0"/>
                  </a:moveTo>
                  <a:lnTo>
                    <a:pt x="0" y="0"/>
                  </a:lnTo>
                  <a:lnTo>
                    <a:pt x="217539" y="217532"/>
                  </a:lnTo>
                  <a:lnTo>
                    <a:pt x="217539" y="0"/>
                  </a:lnTo>
                  <a:close/>
                  <a:moveTo>
                    <a:pt x="435077" y="435079"/>
                  </a:moveTo>
                  <a:lnTo>
                    <a:pt x="217539" y="435079"/>
                  </a:lnTo>
                  <a:lnTo>
                    <a:pt x="435077" y="217546"/>
                  </a:lnTo>
                  <a:lnTo>
                    <a:pt x="435077" y="435079"/>
                  </a:lnTo>
                  <a:close/>
                  <a:moveTo>
                    <a:pt x="435077" y="0"/>
                  </a:moveTo>
                  <a:lnTo>
                    <a:pt x="217539" y="0"/>
                  </a:lnTo>
                  <a:lnTo>
                    <a:pt x="435077" y="217532"/>
                  </a:lnTo>
                  <a:lnTo>
                    <a:pt x="435077" y="0"/>
                  </a:lnTo>
                  <a:close/>
                </a:path>
              </a:pathLst>
            </a:custGeom>
            <a:grpFill/>
            <a:ln w="27192" cap="flat">
              <a:noFill/>
              <a:prstDash val="solid"/>
              <a:miter/>
            </a:ln>
          </p:spPr>
          <p:txBody>
            <a:bodyPr rtlCol="0" anchor="ctr"/>
            <a:lstStyle/>
            <a:p>
              <a:endParaRPr lang="uk-UA" sz="900"/>
            </a:p>
          </p:txBody>
        </p:sp>
        <p:sp>
          <p:nvSpPr>
            <p:cNvPr id="39" name="Freeform: Shape 38">
              <a:extLst>
                <a:ext uri="{FF2B5EF4-FFF2-40B4-BE49-F238E27FC236}">
                  <a16:creationId xmlns:a16="http://schemas.microsoft.com/office/drawing/2014/main" id="{A4279533-E6AF-0BD9-1844-134B40C4E0D9}"/>
                </a:ext>
              </a:extLst>
            </p:cNvPr>
            <p:cNvSpPr/>
            <p:nvPr/>
          </p:nvSpPr>
          <p:spPr>
            <a:xfrm>
              <a:off x="7797062" y="228598"/>
              <a:ext cx="435104" cy="435073"/>
            </a:xfrm>
            <a:custGeom>
              <a:avLst/>
              <a:gdLst>
                <a:gd name="connsiteX0" fmla="*/ 371366 w 435104"/>
                <a:gd name="connsiteY0" fmla="*/ 63716 h 435073"/>
                <a:gd name="connsiteX1" fmla="*/ 435077 w 435104"/>
                <a:gd name="connsiteY1" fmla="*/ 217539 h 435073"/>
                <a:gd name="connsiteX2" fmla="*/ 218953 w 435104"/>
                <a:gd name="connsiteY2" fmla="*/ 217539 h 435073"/>
                <a:gd name="connsiteX3" fmla="*/ 371366 w 435104"/>
                <a:gd name="connsiteY3" fmla="*/ 281249 h 435073"/>
                <a:gd name="connsiteX4" fmla="*/ 435105 w 435104"/>
                <a:gd name="connsiteY4" fmla="*/ 435073 h 435073"/>
                <a:gd name="connsiteX5" fmla="*/ 217566 w 435104"/>
                <a:gd name="connsiteY5" fmla="*/ 435073 h 435073"/>
                <a:gd name="connsiteX6" fmla="*/ 27 w 435104"/>
                <a:gd name="connsiteY6" fmla="*/ 435073 h 435073"/>
                <a:gd name="connsiteX7" fmla="*/ 63739 w 435104"/>
                <a:gd name="connsiteY7" fmla="*/ 281249 h 435073"/>
                <a:gd name="connsiteX8" fmla="*/ 216152 w 435104"/>
                <a:gd name="connsiteY8" fmla="*/ 217539 h 435073"/>
                <a:gd name="connsiteX9" fmla="*/ 0 w 435104"/>
                <a:gd name="connsiteY9" fmla="*/ 217539 h 435073"/>
                <a:gd name="connsiteX10" fmla="*/ 63739 w 435104"/>
                <a:gd name="connsiteY10" fmla="*/ 63716 h 435073"/>
                <a:gd name="connsiteX11" fmla="*/ 217539 w 435104"/>
                <a:gd name="connsiteY11" fmla="*/ 0 h 435073"/>
                <a:gd name="connsiteX12" fmla="*/ 371366 w 435104"/>
                <a:gd name="connsiteY12" fmla="*/ 63716 h 43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4" h="435073">
                  <a:moveTo>
                    <a:pt x="371366" y="63716"/>
                  </a:moveTo>
                  <a:cubicBezTo>
                    <a:pt x="412182" y="104512"/>
                    <a:pt x="435077" y="159844"/>
                    <a:pt x="435077" y="217539"/>
                  </a:cubicBezTo>
                  <a:lnTo>
                    <a:pt x="218953" y="217539"/>
                  </a:lnTo>
                  <a:cubicBezTo>
                    <a:pt x="276138" y="217907"/>
                    <a:pt x="330904" y="240784"/>
                    <a:pt x="371366" y="281249"/>
                  </a:cubicBezTo>
                  <a:cubicBezTo>
                    <a:pt x="412182" y="322046"/>
                    <a:pt x="435105" y="377379"/>
                    <a:pt x="435105" y="435073"/>
                  </a:cubicBezTo>
                  <a:lnTo>
                    <a:pt x="217566" y="435073"/>
                  </a:lnTo>
                  <a:lnTo>
                    <a:pt x="27" y="435073"/>
                  </a:lnTo>
                  <a:cubicBezTo>
                    <a:pt x="27" y="377379"/>
                    <a:pt x="22924" y="322046"/>
                    <a:pt x="63739" y="281249"/>
                  </a:cubicBezTo>
                  <a:cubicBezTo>
                    <a:pt x="104201" y="240784"/>
                    <a:pt x="158967" y="217907"/>
                    <a:pt x="216152" y="217539"/>
                  </a:cubicBezTo>
                  <a:lnTo>
                    <a:pt x="0" y="217539"/>
                  </a:lnTo>
                  <a:cubicBezTo>
                    <a:pt x="0" y="159844"/>
                    <a:pt x="22924" y="104512"/>
                    <a:pt x="63739" y="63716"/>
                  </a:cubicBezTo>
                  <a:cubicBezTo>
                    <a:pt x="104527" y="22919"/>
                    <a:pt x="159864" y="0"/>
                    <a:pt x="217539" y="0"/>
                  </a:cubicBezTo>
                  <a:cubicBezTo>
                    <a:pt x="275241" y="0"/>
                    <a:pt x="330578" y="22919"/>
                    <a:pt x="371366" y="63716"/>
                  </a:cubicBezTo>
                  <a:close/>
                </a:path>
              </a:pathLst>
            </a:custGeom>
            <a:grpFill/>
            <a:ln w="27192" cap="flat">
              <a:noFill/>
              <a:prstDash val="solid"/>
              <a:miter/>
            </a:ln>
          </p:spPr>
          <p:txBody>
            <a:bodyPr rtlCol="0" anchor="ctr"/>
            <a:lstStyle/>
            <a:p>
              <a:endParaRPr lang="uk-UA" sz="900"/>
            </a:p>
          </p:txBody>
        </p:sp>
        <p:sp>
          <p:nvSpPr>
            <p:cNvPr id="40" name="Freeform: Shape 39">
              <a:extLst>
                <a:ext uri="{FF2B5EF4-FFF2-40B4-BE49-F238E27FC236}">
                  <a16:creationId xmlns:a16="http://schemas.microsoft.com/office/drawing/2014/main" id="{B30AD30D-7ECF-4C06-5A63-B065D33AEE43}"/>
                </a:ext>
              </a:extLst>
            </p:cNvPr>
            <p:cNvSpPr/>
            <p:nvPr/>
          </p:nvSpPr>
          <p:spPr>
            <a:xfrm>
              <a:off x="6926907" y="228598"/>
              <a:ext cx="435077" cy="435078"/>
            </a:xfrm>
            <a:custGeom>
              <a:avLst/>
              <a:gdLst>
                <a:gd name="connsiteX0" fmla="*/ 217539 w 435077"/>
                <a:gd name="connsiteY0" fmla="*/ 0 h 435078"/>
                <a:gd name="connsiteX1" fmla="*/ 0 w 435077"/>
                <a:gd name="connsiteY1" fmla="*/ 0 h 435078"/>
                <a:gd name="connsiteX2" fmla="*/ 0 w 435077"/>
                <a:gd name="connsiteY2" fmla="*/ 217539 h 435078"/>
                <a:gd name="connsiteX3" fmla="*/ 0 w 435077"/>
                <a:gd name="connsiteY3" fmla="*/ 435079 h 435078"/>
                <a:gd name="connsiteX4" fmla="*/ 217539 w 435077"/>
                <a:gd name="connsiteY4" fmla="*/ 435079 h 435078"/>
                <a:gd name="connsiteX5" fmla="*/ 435077 w 435077"/>
                <a:gd name="connsiteY5" fmla="*/ 435079 h 435078"/>
                <a:gd name="connsiteX6" fmla="*/ 435077 w 435077"/>
                <a:gd name="connsiteY6" fmla="*/ 217539 h 435078"/>
                <a:gd name="connsiteX7" fmla="*/ 435077 w 435077"/>
                <a:gd name="connsiteY7" fmla="*/ 0 h 435078"/>
                <a:gd name="connsiteX8" fmla="*/ 217539 w 435077"/>
                <a:gd name="connsiteY8" fmla="*/ 0 h 435078"/>
                <a:gd name="connsiteX9" fmla="*/ 217539 w 435077"/>
                <a:gd name="connsiteY9" fmla="*/ 0 h 435078"/>
                <a:gd name="connsiteX10" fmla="*/ 435077 w 435077"/>
                <a:gd name="connsiteY10" fmla="*/ 217539 h 435078"/>
                <a:gd name="connsiteX11" fmla="*/ 217539 w 435077"/>
                <a:gd name="connsiteY11" fmla="*/ 435079 h 435078"/>
                <a:gd name="connsiteX12" fmla="*/ 0 w 435077"/>
                <a:gd name="connsiteY12" fmla="*/ 217539 h 435078"/>
                <a:gd name="connsiteX13" fmla="*/ 217539 w 435077"/>
                <a:gd name="connsiteY13"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8">
                  <a:moveTo>
                    <a:pt x="217539" y="0"/>
                  </a:moveTo>
                  <a:lnTo>
                    <a:pt x="0" y="0"/>
                  </a:lnTo>
                  <a:lnTo>
                    <a:pt x="0" y="217539"/>
                  </a:lnTo>
                  <a:lnTo>
                    <a:pt x="0" y="435079"/>
                  </a:lnTo>
                  <a:lnTo>
                    <a:pt x="217539" y="435079"/>
                  </a:lnTo>
                  <a:lnTo>
                    <a:pt x="435077" y="435079"/>
                  </a:lnTo>
                  <a:lnTo>
                    <a:pt x="435077" y="217539"/>
                  </a:lnTo>
                  <a:lnTo>
                    <a:pt x="435077" y="0"/>
                  </a:lnTo>
                  <a:lnTo>
                    <a:pt x="217539" y="0"/>
                  </a:lnTo>
                  <a:close/>
                  <a:moveTo>
                    <a:pt x="217539" y="0"/>
                  </a:moveTo>
                  <a:lnTo>
                    <a:pt x="435077" y="217539"/>
                  </a:lnTo>
                  <a:lnTo>
                    <a:pt x="217539" y="435079"/>
                  </a:lnTo>
                  <a:lnTo>
                    <a:pt x="0" y="217539"/>
                  </a:lnTo>
                  <a:lnTo>
                    <a:pt x="217539" y="0"/>
                  </a:lnTo>
                  <a:close/>
                </a:path>
              </a:pathLst>
            </a:custGeom>
            <a:grpFill/>
            <a:ln w="27192" cap="flat">
              <a:noFill/>
              <a:prstDash val="solid"/>
              <a:miter/>
            </a:ln>
          </p:spPr>
          <p:txBody>
            <a:bodyPr rtlCol="0" anchor="ctr"/>
            <a:lstStyle/>
            <a:p>
              <a:endParaRPr lang="uk-UA" sz="900"/>
            </a:p>
          </p:txBody>
        </p:sp>
        <p:sp>
          <p:nvSpPr>
            <p:cNvPr id="41" name="Freeform: Shape 40">
              <a:extLst>
                <a:ext uri="{FF2B5EF4-FFF2-40B4-BE49-F238E27FC236}">
                  <a16:creationId xmlns:a16="http://schemas.microsoft.com/office/drawing/2014/main" id="{E216D67F-BEF7-2A59-DEF4-6D19CE6113A4}"/>
                </a:ext>
              </a:extLst>
            </p:cNvPr>
            <p:cNvSpPr/>
            <p:nvPr/>
          </p:nvSpPr>
          <p:spPr>
            <a:xfrm>
              <a:off x="8667217" y="228598"/>
              <a:ext cx="435077" cy="435075"/>
            </a:xfrm>
            <a:custGeom>
              <a:avLst/>
              <a:gdLst>
                <a:gd name="connsiteX0" fmla="*/ 217539 w 435077"/>
                <a:gd name="connsiteY0" fmla="*/ 217540 h 435075"/>
                <a:gd name="connsiteX1" fmla="*/ 217539 w 435077"/>
                <a:gd name="connsiteY1" fmla="*/ 217537 h 435075"/>
                <a:gd name="connsiteX2" fmla="*/ 0 w 435077"/>
                <a:gd name="connsiteY2" fmla="*/ 0 h 435075"/>
                <a:gd name="connsiteX3" fmla="*/ 217539 w 435077"/>
                <a:gd name="connsiteY3" fmla="*/ 0 h 435075"/>
                <a:gd name="connsiteX4" fmla="*/ 217539 w 435077"/>
                <a:gd name="connsiteY4" fmla="*/ 5 h 435075"/>
                <a:gd name="connsiteX5" fmla="*/ 435077 w 435077"/>
                <a:gd name="connsiteY5" fmla="*/ 217533 h 435075"/>
                <a:gd name="connsiteX6" fmla="*/ 435077 w 435077"/>
                <a:gd name="connsiteY6" fmla="*/ 217533 h 435075"/>
                <a:gd name="connsiteX7" fmla="*/ 435077 w 435077"/>
                <a:gd name="connsiteY7" fmla="*/ 217538 h 435075"/>
                <a:gd name="connsiteX8" fmla="*/ 435077 w 435077"/>
                <a:gd name="connsiteY8" fmla="*/ 217542 h 435075"/>
                <a:gd name="connsiteX9" fmla="*/ 435077 w 435077"/>
                <a:gd name="connsiteY9" fmla="*/ 217542 h 435075"/>
                <a:gd name="connsiteX10" fmla="*/ 217539 w 435077"/>
                <a:gd name="connsiteY10" fmla="*/ 435071 h 435075"/>
                <a:gd name="connsiteX11" fmla="*/ 217539 w 435077"/>
                <a:gd name="connsiteY11" fmla="*/ 435076 h 435075"/>
                <a:gd name="connsiteX12" fmla="*/ 0 w 435077"/>
                <a:gd name="connsiteY12" fmla="*/ 435076 h 435075"/>
                <a:gd name="connsiteX13" fmla="*/ 217539 w 435077"/>
                <a:gd name="connsiteY13" fmla="*/ 217540 h 43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5">
                  <a:moveTo>
                    <a:pt x="217539" y="217540"/>
                  </a:moveTo>
                  <a:lnTo>
                    <a:pt x="217539" y="217537"/>
                  </a:lnTo>
                  <a:lnTo>
                    <a:pt x="0" y="0"/>
                  </a:lnTo>
                  <a:lnTo>
                    <a:pt x="217539" y="0"/>
                  </a:lnTo>
                  <a:lnTo>
                    <a:pt x="217539" y="5"/>
                  </a:lnTo>
                  <a:lnTo>
                    <a:pt x="435077" y="217533"/>
                  </a:lnTo>
                  <a:lnTo>
                    <a:pt x="435077" y="217533"/>
                  </a:lnTo>
                  <a:lnTo>
                    <a:pt x="435077" y="217538"/>
                  </a:lnTo>
                  <a:lnTo>
                    <a:pt x="435077" y="217542"/>
                  </a:lnTo>
                  <a:lnTo>
                    <a:pt x="435077" y="217542"/>
                  </a:lnTo>
                  <a:lnTo>
                    <a:pt x="217539" y="435071"/>
                  </a:lnTo>
                  <a:lnTo>
                    <a:pt x="217539" y="435076"/>
                  </a:lnTo>
                  <a:lnTo>
                    <a:pt x="0" y="435076"/>
                  </a:lnTo>
                  <a:lnTo>
                    <a:pt x="217539" y="217540"/>
                  </a:lnTo>
                  <a:close/>
                </a:path>
              </a:pathLst>
            </a:custGeom>
            <a:grpFill/>
            <a:ln w="27192" cap="flat">
              <a:noFill/>
              <a:prstDash val="solid"/>
              <a:miter/>
            </a:ln>
          </p:spPr>
          <p:txBody>
            <a:bodyPr rtlCol="0" anchor="ctr"/>
            <a:lstStyle/>
            <a:p>
              <a:endParaRPr lang="uk-UA" sz="900"/>
            </a:p>
          </p:txBody>
        </p:sp>
        <p:sp>
          <p:nvSpPr>
            <p:cNvPr id="42" name="Freeform: Shape 41">
              <a:extLst>
                <a:ext uri="{FF2B5EF4-FFF2-40B4-BE49-F238E27FC236}">
                  <a16:creationId xmlns:a16="http://schemas.microsoft.com/office/drawing/2014/main" id="{347E1790-C075-9B4A-8A51-A06A533F3248}"/>
                </a:ext>
              </a:extLst>
            </p:cNvPr>
            <p:cNvSpPr/>
            <p:nvPr/>
          </p:nvSpPr>
          <p:spPr>
            <a:xfrm>
              <a:off x="9537399" y="228598"/>
              <a:ext cx="435077" cy="435078"/>
            </a:xfrm>
            <a:custGeom>
              <a:avLst/>
              <a:gdLst>
                <a:gd name="connsiteX0" fmla="*/ 0 w 435077"/>
                <a:gd name="connsiteY0" fmla="*/ 435079 h 435078"/>
                <a:gd name="connsiteX1" fmla="*/ 217511 w 435077"/>
                <a:gd name="connsiteY1" fmla="*/ 435079 h 435078"/>
                <a:gd name="connsiteX2" fmla="*/ 217511 w 435077"/>
                <a:gd name="connsiteY2" fmla="*/ 217546 h 435078"/>
                <a:gd name="connsiteX3" fmla="*/ 0 w 435077"/>
                <a:gd name="connsiteY3" fmla="*/ 435079 h 435078"/>
                <a:gd name="connsiteX4" fmla="*/ 217511 w 435077"/>
                <a:gd name="connsiteY4" fmla="*/ 0 h 435078"/>
                <a:gd name="connsiteX5" fmla="*/ 0 w 435077"/>
                <a:gd name="connsiteY5" fmla="*/ 0 h 435078"/>
                <a:gd name="connsiteX6" fmla="*/ 217511 w 435077"/>
                <a:gd name="connsiteY6" fmla="*/ 217532 h 435078"/>
                <a:gd name="connsiteX7" fmla="*/ 217511 w 435077"/>
                <a:gd name="connsiteY7" fmla="*/ 0 h 435078"/>
                <a:gd name="connsiteX8" fmla="*/ 435077 w 435077"/>
                <a:gd name="connsiteY8" fmla="*/ 435079 h 435078"/>
                <a:gd name="connsiteX9" fmla="*/ 217539 w 435077"/>
                <a:gd name="connsiteY9" fmla="*/ 435079 h 435078"/>
                <a:gd name="connsiteX10" fmla="*/ 435077 w 435077"/>
                <a:gd name="connsiteY10" fmla="*/ 217546 h 435078"/>
                <a:gd name="connsiteX11" fmla="*/ 435077 w 435077"/>
                <a:gd name="connsiteY11" fmla="*/ 435079 h 435078"/>
                <a:gd name="connsiteX12" fmla="*/ 435077 w 435077"/>
                <a:gd name="connsiteY12" fmla="*/ 0 h 435078"/>
                <a:gd name="connsiteX13" fmla="*/ 217539 w 435077"/>
                <a:gd name="connsiteY13" fmla="*/ 0 h 435078"/>
                <a:gd name="connsiteX14" fmla="*/ 435077 w 435077"/>
                <a:gd name="connsiteY14" fmla="*/ 217532 h 435078"/>
                <a:gd name="connsiteX15" fmla="*/ 435077 w 435077"/>
                <a:gd name="connsiteY15"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8">
                  <a:moveTo>
                    <a:pt x="0" y="435079"/>
                  </a:moveTo>
                  <a:lnTo>
                    <a:pt x="217511" y="435079"/>
                  </a:lnTo>
                  <a:lnTo>
                    <a:pt x="217511" y="217546"/>
                  </a:lnTo>
                  <a:lnTo>
                    <a:pt x="0" y="435079"/>
                  </a:lnTo>
                  <a:close/>
                  <a:moveTo>
                    <a:pt x="217511" y="0"/>
                  </a:moveTo>
                  <a:lnTo>
                    <a:pt x="0" y="0"/>
                  </a:lnTo>
                  <a:lnTo>
                    <a:pt x="217511" y="217532"/>
                  </a:lnTo>
                  <a:lnTo>
                    <a:pt x="217511" y="0"/>
                  </a:lnTo>
                  <a:close/>
                  <a:moveTo>
                    <a:pt x="435077" y="435079"/>
                  </a:moveTo>
                  <a:lnTo>
                    <a:pt x="217539" y="435079"/>
                  </a:lnTo>
                  <a:lnTo>
                    <a:pt x="435077" y="217546"/>
                  </a:lnTo>
                  <a:lnTo>
                    <a:pt x="435077" y="435079"/>
                  </a:lnTo>
                  <a:close/>
                  <a:moveTo>
                    <a:pt x="435077" y="0"/>
                  </a:moveTo>
                  <a:lnTo>
                    <a:pt x="217539" y="0"/>
                  </a:lnTo>
                  <a:lnTo>
                    <a:pt x="435077" y="217532"/>
                  </a:lnTo>
                  <a:lnTo>
                    <a:pt x="435077" y="0"/>
                  </a:lnTo>
                  <a:close/>
                </a:path>
              </a:pathLst>
            </a:custGeom>
            <a:grpFill/>
            <a:ln w="27192" cap="flat">
              <a:noFill/>
              <a:prstDash val="solid"/>
              <a:miter/>
            </a:ln>
          </p:spPr>
          <p:txBody>
            <a:bodyPr rtlCol="0" anchor="ctr"/>
            <a:lstStyle/>
            <a:p>
              <a:endParaRPr lang="uk-UA" sz="900"/>
            </a:p>
          </p:txBody>
        </p:sp>
        <p:sp>
          <p:nvSpPr>
            <p:cNvPr id="43" name="Freeform: Shape 42">
              <a:extLst>
                <a:ext uri="{FF2B5EF4-FFF2-40B4-BE49-F238E27FC236}">
                  <a16:creationId xmlns:a16="http://schemas.microsoft.com/office/drawing/2014/main" id="{B0F710FC-5BEF-C112-F0BB-CD991F8EE4C7}"/>
                </a:ext>
              </a:extLst>
            </p:cNvPr>
            <p:cNvSpPr/>
            <p:nvPr/>
          </p:nvSpPr>
          <p:spPr>
            <a:xfrm>
              <a:off x="11277709" y="228598"/>
              <a:ext cx="435077" cy="435073"/>
            </a:xfrm>
            <a:custGeom>
              <a:avLst/>
              <a:gdLst>
                <a:gd name="connsiteX0" fmla="*/ 371365 w 435077"/>
                <a:gd name="connsiteY0" fmla="*/ 63716 h 435073"/>
                <a:gd name="connsiteX1" fmla="*/ 435077 w 435077"/>
                <a:gd name="connsiteY1" fmla="*/ 217539 h 435073"/>
                <a:gd name="connsiteX2" fmla="*/ 218953 w 435077"/>
                <a:gd name="connsiteY2" fmla="*/ 217539 h 435073"/>
                <a:gd name="connsiteX3" fmla="*/ 371365 w 435077"/>
                <a:gd name="connsiteY3" fmla="*/ 281249 h 435073"/>
                <a:gd name="connsiteX4" fmla="*/ 435077 w 435077"/>
                <a:gd name="connsiteY4" fmla="*/ 435073 h 435073"/>
                <a:gd name="connsiteX5" fmla="*/ 217539 w 435077"/>
                <a:gd name="connsiteY5" fmla="*/ 435073 h 435073"/>
                <a:gd name="connsiteX6" fmla="*/ 0 w 435077"/>
                <a:gd name="connsiteY6" fmla="*/ 435073 h 435073"/>
                <a:gd name="connsiteX7" fmla="*/ 63710 w 435077"/>
                <a:gd name="connsiteY7" fmla="*/ 281249 h 435073"/>
                <a:gd name="connsiteX8" fmla="*/ 216151 w 435077"/>
                <a:gd name="connsiteY8" fmla="*/ 217539 h 435073"/>
                <a:gd name="connsiteX9" fmla="*/ 0 w 435077"/>
                <a:gd name="connsiteY9" fmla="*/ 217539 h 435073"/>
                <a:gd name="connsiteX10" fmla="*/ 63710 w 435077"/>
                <a:gd name="connsiteY10" fmla="*/ 63716 h 435073"/>
                <a:gd name="connsiteX11" fmla="*/ 217539 w 435077"/>
                <a:gd name="connsiteY11" fmla="*/ 0 h 435073"/>
                <a:gd name="connsiteX12" fmla="*/ 371365 w 435077"/>
                <a:gd name="connsiteY12" fmla="*/ 63716 h 43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3">
                  <a:moveTo>
                    <a:pt x="371365" y="63716"/>
                  </a:moveTo>
                  <a:cubicBezTo>
                    <a:pt x="412154" y="104512"/>
                    <a:pt x="435077" y="159844"/>
                    <a:pt x="435077" y="217539"/>
                  </a:cubicBezTo>
                  <a:lnTo>
                    <a:pt x="218953" y="217539"/>
                  </a:lnTo>
                  <a:cubicBezTo>
                    <a:pt x="276137" y="217907"/>
                    <a:pt x="330902" y="240784"/>
                    <a:pt x="371365" y="281249"/>
                  </a:cubicBezTo>
                  <a:cubicBezTo>
                    <a:pt x="412154" y="322046"/>
                    <a:pt x="435077" y="377379"/>
                    <a:pt x="435077" y="435073"/>
                  </a:cubicBezTo>
                  <a:lnTo>
                    <a:pt x="217539" y="435073"/>
                  </a:lnTo>
                  <a:lnTo>
                    <a:pt x="0" y="435073"/>
                  </a:lnTo>
                  <a:cubicBezTo>
                    <a:pt x="0" y="377379"/>
                    <a:pt x="22922" y="322046"/>
                    <a:pt x="63710" y="281249"/>
                  </a:cubicBezTo>
                  <a:cubicBezTo>
                    <a:pt x="104174" y="240784"/>
                    <a:pt x="158938" y="217907"/>
                    <a:pt x="216151" y="217539"/>
                  </a:cubicBezTo>
                  <a:lnTo>
                    <a:pt x="0" y="217539"/>
                  </a:lnTo>
                  <a:cubicBezTo>
                    <a:pt x="0" y="159844"/>
                    <a:pt x="22922" y="104512"/>
                    <a:pt x="63710" y="63716"/>
                  </a:cubicBezTo>
                  <a:cubicBezTo>
                    <a:pt x="104499" y="22919"/>
                    <a:pt x="159836" y="0"/>
                    <a:pt x="217539" y="0"/>
                  </a:cubicBezTo>
                  <a:cubicBezTo>
                    <a:pt x="275239" y="0"/>
                    <a:pt x="330549" y="22919"/>
                    <a:pt x="371365" y="63716"/>
                  </a:cubicBezTo>
                  <a:close/>
                </a:path>
              </a:pathLst>
            </a:custGeom>
            <a:grpFill/>
            <a:ln w="27192" cap="flat">
              <a:noFill/>
              <a:prstDash val="solid"/>
              <a:miter/>
            </a:ln>
          </p:spPr>
          <p:txBody>
            <a:bodyPr rtlCol="0" anchor="ctr"/>
            <a:lstStyle/>
            <a:p>
              <a:endParaRPr lang="uk-UA" sz="900"/>
            </a:p>
          </p:txBody>
        </p:sp>
        <p:sp>
          <p:nvSpPr>
            <p:cNvPr id="44" name="Freeform: Shape 43">
              <a:extLst>
                <a:ext uri="{FF2B5EF4-FFF2-40B4-BE49-F238E27FC236}">
                  <a16:creationId xmlns:a16="http://schemas.microsoft.com/office/drawing/2014/main" id="{16CDF594-C920-BC02-89AB-8859336238D5}"/>
                </a:ext>
              </a:extLst>
            </p:cNvPr>
            <p:cNvSpPr/>
            <p:nvPr/>
          </p:nvSpPr>
          <p:spPr>
            <a:xfrm>
              <a:off x="10407554" y="228598"/>
              <a:ext cx="435077" cy="435078"/>
            </a:xfrm>
            <a:custGeom>
              <a:avLst/>
              <a:gdLst>
                <a:gd name="connsiteX0" fmla="*/ 217539 w 435077"/>
                <a:gd name="connsiteY0" fmla="*/ 0 h 435078"/>
                <a:gd name="connsiteX1" fmla="*/ 0 w 435077"/>
                <a:gd name="connsiteY1" fmla="*/ 0 h 435078"/>
                <a:gd name="connsiteX2" fmla="*/ 0 w 435077"/>
                <a:gd name="connsiteY2" fmla="*/ 217539 h 435078"/>
                <a:gd name="connsiteX3" fmla="*/ 217539 w 435077"/>
                <a:gd name="connsiteY3" fmla="*/ 0 h 435078"/>
                <a:gd name="connsiteX4" fmla="*/ 435077 w 435077"/>
                <a:gd name="connsiteY4" fmla="*/ 0 h 435078"/>
                <a:gd name="connsiteX5" fmla="*/ 435077 w 435077"/>
                <a:gd name="connsiteY5" fmla="*/ 217539 h 435078"/>
                <a:gd name="connsiteX6" fmla="*/ 217539 w 435077"/>
                <a:gd name="connsiteY6" fmla="*/ 0 h 435078"/>
                <a:gd name="connsiteX7" fmla="*/ 435077 w 435077"/>
                <a:gd name="connsiteY7" fmla="*/ 0 h 435078"/>
                <a:gd name="connsiteX8" fmla="*/ 217539 w 435077"/>
                <a:gd name="connsiteY8" fmla="*/ 435079 h 435078"/>
                <a:gd name="connsiteX9" fmla="*/ 435077 w 435077"/>
                <a:gd name="connsiteY9" fmla="*/ 217539 h 435078"/>
                <a:gd name="connsiteX10" fmla="*/ 435077 w 435077"/>
                <a:gd name="connsiteY10" fmla="*/ 435079 h 435078"/>
                <a:gd name="connsiteX11" fmla="*/ 217539 w 435077"/>
                <a:gd name="connsiteY11" fmla="*/ 435079 h 435078"/>
                <a:gd name="connsiteX12" fmla="*/ 217539 w 435077"/>
                <a:gd name="connsiteY12" fmla="*/ 435079 h 435078"/>
                <a:gd name="connsiteX13" fmla="*/ 0 w 435077"/>
                <a:gd name="connsiteY13" fmla="*/ 217539 h 435078"/>
                <a:gd name="connsiteX14" fmla="*/ 0 w 435077"/>
                <a:gd name="connsiteY14" fmla="*/ 435079 h 435078"/>
                <a:gd name="connsiteX15" fmla="*/ 217539 w 435077"/>
                <a:gd name="connsiteY15" fmla="*/ 435079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8">
                  <a:moveTo>
                    <a:pt x="217539" y="0"/>
                  </a:moveTo>
                  <a:lnTo>
                    <a:pt x="0" y="0"/>
                  </a:lnTo>
                  <a:lnTo>
                    <a:pt x="0" y="217539"/>
                  </a:lnTo>
                  <a:lnTo>
                    <a:pt x="217539" y="0"/>
                  </a:lnTo>
                  <a:close/>
                  <a:moveTo>
                    <a:pt x="435077" y="0"/>
                  </a:moveTo>
                  <a:lnTo>
                    <a:pt x="435077" y="217539"/>
                  </a:lnTo>
                  <a:lnTo>
                    <a:pt x="217539" y="0"/>
                  </a:lnTo>
                  <a:lnTo>
                    <a:pt x="435077" y="0"/>
                  </a:lnTo>
                  <a:close/>
                  <a:moveTo>
                    <a:pt x="217539" y="435079"/>
                  </a:moveTo>
                  <a:lnTo>
                    <a:pt x="435077" y="217539"/>
                  </a:lnTo>
                  <a:lnTo>
                    <a:pt x="435077" y="435079"/>
                  </a:lnTo>
                  <a:lnTo>
                    <a:pt x="217539" y="435079"/>
                  </a:lnTo>
                  <a:close/>
                  <a:moveTo>
                    <a:pt x="217539" y="435079"/>
                  </a:moveTo>
                  <a:lnTo>
                    <a:pt x="0" y="217539"/>
                  </a:lnTo>
                  <a:lnTo>
                    <a:pt x="0" y="435079"/>
                  </a:lnTo>
                  <a:lnTo>
                    <a:pt x="217539" y="435079"/>
                  </a:lnTo>
                  <a:close/>
                </a:path>
              </a:pathLst>
            </a:custGeom>
            <a:grpFill/>
            <a:ln w="27192" cap="flat">
              <a:noFill/>
              <a:prstDash val="solid"/>
              <a:miter/>
            </a:ln>
          </p:spPr>
          <p:txBody>
            <a:bodyPr rtlCol="0" anchor="ctr"/>
            <a:lstStyle/>
            <a:p>
              <a:endParaRPr lang="uk-UA" sz="900"/>
            </a:p>
          </p:txBody>
        </p:sp>
        <p:sp>
          <p:nvSpPr>
            <p:cNvPr id="45" name="Freeform: Shape 44">
              <a:extLst>
                <a:ext uri="{FF2B5EF4-FFF2-40B4-BE49-F238E27FC236}">
                  <a16:creationId xmlns:a16="http://schemas.microsoft.com/office/drawing/2014/main" id="{C74A7FAF-2382-01C7-E6A6-4BDC6D61D4E8}"/>
                </a:ext>
              </a:extLst>
            </p:cNvPr>
            <p:cNvSpPr/>
            <p:nvPr/>
          </p:nvSpPr>
          <p:spPr>
            <a:xfrm>
              <a:off x="12147836" y="228570"/>
              <a:ext cx="435077" cy="435076"/>
            </a:xfrm>
            <a:custGeom>
              <a:avLst/>
              <a:gdLst>
                <a:gd name="connsiteX0" fmla="*/ 217539 w 435077"/>
                <a:gd name="connsiteY0" fmla="*/ 217534 h 435076"/>
                <a:gd name="connsiteX1" fmla="*/ 217539 w 435077"/>
                <a:gd name="connsiteY1" fmla="*/ 0 h 435076"/>
                <a:gd name="connsiteX2" fmla="*/ 0 w 435077"/>
                <a:gd name="connsiteY2" fmla="*/ 0 h 435076"/>
                <a:gd name="connsiteX3" fmla="*/ 217539 w 435077"/>
                <a:gd name="connsiteY3" fmla="*/ 217538 h 435076"/>
                <a:gd name="connsiteX4" fmla="*/ 0 w 435077"/>
                <a:gd name="connsiteY4" fmla="*/ 435077 h 435076"/>
                <a:gd name="connsiteX5" fmla="*/ 217539 w 435077"/>
                <a:gd name="connsiteY5" fmla="*/ 435077 h 435076"/>
                <a:gd name="connsiteX6" fmla="*/ 217539 w 435077"/>
                <a:gd name="connsiteY6" fmla="*/ 435071 h 435076"/>
                <a:gd name="connsiteX7" fmla="*/ 435077 w 435077"/>
                <a:gd name="connsiteY7" fmla="*/ 217543 h 435076"/>
                <a:gd name="connsiteX8" fmla="*/ 435077 w 435077"/>
                <a:gd name="connsiteY8" fmla="*/ 217543 h 435076"/>
                <a:gd name="connsiteX9" fmla="*/ 435077 w 435077"/>
                <a:gd name="connsiteY9" fmla="*/ 217538 h 435076"/>
                <a:gd name="connsiteX10" fmla="*/ 435077 w 435077"/>
                <a:gd name="connsiteY10" fmla="*/ 217534 h 435076"/>
                <a:gd name="connsiteX11" fmla="*/ 435077 w 435077"/>
                <a:gd name="connsiteY11" fmla="*/ 217534 h 435076"/>
                <a:gd name="connsiteX12" fmla="*/ 217539 w 435077"/>
                <a:gd name="connsiteY12" fmla="*/ 5 h 435076"/>
                <a:gd name="connsiteX13" fmla="*/ 217539 w 435077"/>
                <a:gd name="connsiteY13" fmla="*/ 217534 h 435076"/>
                <a:gd name="connsiteX14" fmla="*/ 217539 w 435077"/>
                <a:gd name="connsiteY14" fmla="*/ 217534 h 435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6">
                  <a:moveTo>
                    <a:pt x="217539" y="217534"/>
                  </a:moveTo>
                  <a:lnTo>
                    <a:pt x="217539" y="0"/>
                  </a:lnTo>
                  <a:lnTo>
                    <a:pt x="0" y="0"/>
                  </a:lnTo>
                  <a:lnTo>
                    <a:pt x="217539" y="217538"/>
                  </a:lnTo>
                  <a:lnTo>
                    <a:pt x="0" y="435077"/>
                  </a:lnTo>
                  <a:lnTo>
                    <a:pt x="217539" y="435077"/>
                  </a:lnTo>
                  <a:lnTo>
                    <a:pt x="217539" y="435071"/>
                  </a:lnTo>
                  <a:lnTo>
                    <a:pt x="435077" y="217543"/>
                  </a:lnTo>
                  <a:lnTo>
                    <a:pt x="435077" y="217543"/>
                  </a:lnTo>
                  <a:lnTo>
                    <a:pt x="435077" y="217538"/>
                  </a:lnTo>
                  <a:lnTo>
                    <a:pt x="435077" y="217534"/>
                  </a:lnTo>
                  <a:lnTo>
                    <a:pt x="435077" y="217534"/>
                  </a:lnTo>
                  <a:lnTo>
                    <a:pt x="217539" y="5"/>
                  </a:lnTo>
                  <a:lnTo>
                    <a:pt x="217539" y="217534"/>
                  </a:lnTo>
                  <a:lnTo>
                    <a:pt x="217539" y="217534"/>
                  </a:lnTo>
                  <a:close/>
                </a:path>
              </a:pathLst>
            </a:custGeom>
            <a:grpFill/>
            <a:ln w="27192" cap="flat">
              <a:noFill/>
              <a:prstDash val="solid"/>
              <a:miter/>
            </a:ln>
          </p:spPr>
          <p:txBody>
            <a:bodyPr rtlCol="0" anchor="ctr"/>
            <a:lstStyle/>
            <a:p>
              <a:endParaRPr lang="uk-UA" sz="900"/>
            </a:p>
          </p:txBody>
        </p:sp>
        <p:sp>
          <p:nvSpPr>
            <p:cNvPr id="46" name="Freeform: Shape 45">
              <a:extLst>
                <a:ext uri="{FF2B5EF4-FFF2-40B4-BE49-F238E27FC236}">
                  <a16:creationId xmlns:a16="http://schemas.microsoft.com/office/drawing/2014/main" id="{5066EBDE-B82A-4233-DA52-6CDC4429CD9C}"/>
                </a:ext>
              </a:extLst>
            </p:cNvPr>
            <p:cNvSpPr/>
            <p:nvPr/>
          </p:nvSpPr>
          <p:spPr>
            <a:xfrm>
              <a:off x="13018045" y="228598"/>
              <a:ext cx="435077" cy="435078"/>
            </a:xfrm>
            <a:custGeom>
              <a:avLst/>
              <a:gdLst>
                <a:gd name="connsiteX0" fmla="*/ 0 w 435077"/>
                <a:gd name="connsiteY0" fmla="*/ 435079 h 435078"/>
                <a:gd name="connsiteX1" fmla="*/ 217539 w 435077"/>
                <a:gd name="connsiteY1" fmla="*/ 435079 h 435078"/>
                <a:gd name="connsiteX2" fmla="*/ 217539 w 435077"/>
                <a:gd name="connsiteY2" fmla="*/ 217546 h 435078"/>
                <a:gd name="connsiteX3" fmla="*/ 0 w 435077"/>
                <a:gd name="connsiteY3" fmla="*/ 435079 h 435078"/>
                <a:gd name="connsiteX4" fmla="*/ 217539 w 435077"/>
                <a:gd name="connsiteY4" fmla="*/ 0 h 435078"/>
                <a:gd name="connsiteX5" fmla="*/ 0 w 435077"/>
                <a:gd name="connsiteY5" fmla="*/ 0 h 435078"/>
                <a:gd name="connsiteX6" fmla="*/ 217539 w 435077"/>
                <a:gd name="connsiteY6" fmla="*/ 217532 h 435078"/>
                <a:gd name="connsiteX7" fmla="*/ 217539 w 435077"/>
                <a:gd name="connsiteY7" fmla="*/ 0 h 435078"/>
                <a:gd name="connsiteX8" fmla="*/ 435077 w 435077"/>
                <a:gd name="connsiteY8" fmla="*/ 435079 h 435078"/>
                <a:gd name="connsiteX9" fmla="*/ 217539 w 435077"/>
                <a:gd name="connsiteY9" fmla="*/ 435079 h 435078"/>
                <a:gd name="connsiteX10" fmla="*/ 435077 w 435077"/>
                <a:gd name="connsiteY10" fmla="*/ 217546 h 435078"/>
                <a:gd name="connsiteX11" fmla="*/ 435077 w 435077"/>
                <a:gd name="connsiteY11" fmla="*/ 435079 h 435078"/>
                <a:gd name="connsiteX12" fmla="*/ 435077 w 435077"/>
                <a:gd name="connsiteY12" fmla="*/ 0 h 435078"/>
                <a:gd name="connsiteX13" fmla="*/ 217539 w 435077"/>
                <a:gd name="connsiteY13" fmla="*/ 0 h 435078"/>
                <a:gd name="connsiteX14" fmla="*/ 435077 w 435077"/>
                <a:gd name="connsiteY14" fmla="*/ 217532 h 435078"/>
                <a:gd name="connsiteX15" fmla="*/ 435077 w 435077"/>
                <a:gd name="connsiteY15"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8">
                  <a:moveTo>
                    <a:pt x="0" y="435079"/>
                  </a:moveTo>
                  <a:lnTo>
                    <a:pt x="217539" y="435079"/>
                  </a:lnTo>
                  <a:lnTo>
                    <a:pt x="217539" y="217546"/>
                  </a:lnTo>
                  <a:lnTo>
                    <a:pt x="0" y="435079"/>
                  </a:lnTo>
                  <a:close/>
                  <a:moveTo>
                    <a:pt x="217539" y="0"/>
                  </a:moveTo>
                  <a:lnTo>
                    <a:pt x="0" y="0"/>
                  </a:lnTo>
                  <a:lnTo>
                    <a:pt x="217539" y="217532"/>
                  </a:lnTo>
                  <a:lnTo>
                    <a:pt x="217539" y="0"/>
                  </a:lnTo>
                  <a:close/>
                  <a:moveTo>
                    <a:pt x="435077" y="435079"/>
                  </a:moveTo>
                  <a:lnTo>
                    <a:pt x="217539" y="435079"/>
                  </a:lnTo>
                  <a:lnTo>
                    <a:pt x="435077" y="217546"/>
                  </a:lnTo>
                  <a:lnTo>
                    <a:pt x="435077" y="435079"/>
                  </a:lnTo>
                  <a:close/>
                  <a:moveTo>
                    <a:pt x="435077" y="0"/>
                  </a:moveTo>
                  <a:lnTo>
                    <a:pt x="217539" y="0"/>
                  </a:lnTo>
                  <a:lnTo>
                    <a:pt x="435077" y="217532"/>
                  </a:lnTo>
                  <a:lnTo>
                    <a:pt x="435077" y="0"/>
                  </a:lnTo>
                  <a:close/>
                </a:path>
              </a:pathLst>
            </a:custGeom>
            <a:grpFill/>
            <a:ln w="27192" cap="flat">
              <a:noFill/>
              <a:prstDash val="solid"/>
              <a:miter/>
            </a:ln>
          </p:spPr>
          <p:txBody>
            <a:bodyPr rtlCol="0" anchor="ctr"/>
            <a:lstStyle/>
            <a:p>
              <a:endParaRPr lang="uk-UA" sz="900"/>
            </a:p>
          </p:txBody>
        </p:sp>
        <p:sp>
          <p:nvSpPr>
            <p:cNvPr id="47" name="Freeform: Shape 46">
              <a:extLst>
                <a:ext uri="{FF2B5EF4-FFF2-40B4-BE49-F238E27FC236}">
                  <a16:creationId xmlns:a16="http://schemas.microsoft.com/office/drawing/2014/main" id="{3B73E17A-4539-E0BA-5DEB-AE9D3A746748}"/>
                </a:ext>
              </a:extLst>
            </p:cNvPr>
            <p:cNvSpPr/>
            <p:nvPr/>
          </p:nvSpPr>
          <p:spPr>
            <a:xfrm>
              <a:off x="14758382" y="228598"/>
              <a:ext cx="435077" cy="435073"/>
            </a:xfrm>
            <a:custGeom>
              <a:avLst/>
              <a:gdLst>
                <a:gd name="connsiteX0" fmla="*/ 371367 w 435077"/>
                <a:gd name="connsiteY0" fmla="*/ 63716 h 435073"/>
                <a:gd name="connsiteX1" fmla="*/ 435077 w 435077"/>
                <a:gd name="connsiteY1" fmla="*/ 217539 h 435073"/>
                <a:gd name="connsiteX2" fmla="*/ 218953 w 435077"/>
                <a:gd name="connsiteY2" fmla="*/ 217539 h 435073"/>
                <a:gd name="connsiteX3" fmla="*/ 371367 w 435077"/>
                <a:gd name="connsiteY3" fmla="*/ 281249 h 435073"/>
                <a:gd name="connsiteX4" fmla="*/ 435077 w 435077"/>
                <a:gd name="connsiteY4" fmla="*/ 435073 h 435073"/>
                <a:gd name="connsiteX5" fmla="*/ 217539 w 435077"/>
                <a:gd name="connsiteY5" fmla="*/ 435073 h 435073"/>
                <a:gd name="connsiteX6" fmla="*/ 0 w 435077"/>
                <a:gd name="connsiteY6" fmla="*/ 435073 h 435073"/>
                <a:gd name="connsiteX7" fmla="*/ 63712 w 435077"/>
                <a:gd name="connsiteY7" fmla="*/ 281249 h 435073"/>
                <a:gd name="connsiteX8" fmla="*/ 216125 w 435077"/>
                <a:gd name="connsiteY8" fmla="*/ 217539 h 435073"/>
                <a:gd name="connsiteX9" fmla="*/ 0 w 435077"/>
                <a:gd name="connsiteY9" fmla="*/ 217539 h 435073"/>
                <a:gd name="connsiteX10" fmla="*/ 63712 w 435077"/>
                <a:gd name="connsiteY10" fmla="*/ 63716 h 435073"/>
                <a:gd name="connsiteX11" fmla="*/ 217539 w 435077"/>
                <a:gd name="connsiteY11" fmla="*/ 0 h 435073"/>
                <a:gd name="connsiteX12" fmla="*/ 371367 w 435077"/>
                <a:gd name="connsiteY12" fmla="*/ 63716 h 43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3">
                  <a:moveTo>
                    <a:pt x="371367" y="63716"/>
                  </a:moveTo>
                  <a:cubicBezTo>
                    <a:pt x="412155" y="104512"/>
                    <a:pt x="435077" y="159844"/>
                    <a:pt x="435077" y="217539"/>
                  </a:cubicBezTo>
                  <a:lnTo>
                    <a:pt x="218953" y="217539"/>
                  </a:lnTo>
                  <a:cubicBezTo>
                    <a:pt x="276139" y="217907"/>
                    <a:pt x="330904" y="240784"/>
                    <a:pt x="371367" y="281249"/>
                  </a:cubicBezTo>
                  <a:cubicBezTo>
                    <a:pt x="412155" y="322046"/>
                    <a:pt x="435077" y="377379"/>
                    <a:pt x="435077" y="435073"/>
                  </a:cubicBezTo>
                  <a:lnTo>
                    <a:pt x="217539" y="435073"/>
                  </a:lnTo>
                  <a:lnTo>
                    <a:pt x="0" y="435073"/>
                  </a:lnTo>
                  <a:cubicBezTo>
                    <a:pt x="0" y="377379"/>
                    <a:pt x="22924" y="322046"/>
                    <a:pt x="63712" y="281249"/>
                  </a:cubicBezTo>
                  <a:cubicBezTo>
                    <a:pt x="104174" y="240784"/>
                    <a:pt x="158940" y="217907"/>
                    <a:pt x="216125" y="217539"/>
                  </a:cubicBezTo>
                  <a:lnTo>
                    <a:pt x="0" y="217539"/>
                  </a:lnTo>
                  <a:cubicBezTo>
                    <a:pt x="0" y="159844"/>
                    <a:pt x="22924" y="104512"/>
                    <a:pt x="63712" y="63716"/>
                  </a:cubicBezTo>
                  <a:cubicBezTo>
                    <a:pt x="104501" y="22919"/>
                    <a:pt x="159836" y="0"/>
                    <a:pt x="217539" y="0"/>
                  </a:cubicBezTo>
                  <a:cubicBezTo>
                    <a:pt x="275241" y="0"/>
                    <a:pt x="330550" y="22919"/>
                    <a:pt x="371367" y="63716"/>
                  </a:cubicBezTo>
                  <a:close/>
                </a:path>
              </a:pathLst>
            </a:custGeom>
            <a:grpFill/>
            <a:ln w="27192" cap="flat">
              <a:noFill/>
              <a:prstDash val="solid"/>
              <a:miter/>
            </a:ln>
          </p:spPr>
          <p:txBody>
            <a:bodyPr rtlCol="0" anchor="ctr"/>
            <a:lstStyle/>
            <a:p>
              <a:endParaRPr lang="uk-UA" sz="900"/>
            </a:p>
          </p:txBody>
        </p:sp>
        <p:sp>
          <p:nvSpPr>
            <p:cNvPr id="48" name="Freeform: Shape 47">
              <a:extLst>
                <a:ext uri="{FF2B5EF4-FFF2-40B4-BE49-F238E27FC236}">
                  <a16:creationId xmlns:a16="http://schemas.microsoft.com/office/drawing/2014/main" id="{6822625B-2A18-B3DA-3131-063EDD080F10}"/>
                </a:ext>
              </a:extLst>
            </p:cNvPr>
            <p:cNvSpPr/>
            <p:nvPr/>
          </p:nvSpPr>
          <p:spPr>
            <a:xfrm>
              <a:off x="13888200" y="228598"/>
              <a:ext cx="435077" cy="435078"/>
            </a:xfrm>
            <a:custGeom>
              <a:avLst/>
              <a:gdLst>
                <a:gd name="connsiteX0" fmla="*/ 217565 w 435077"/>
                <a:gd name="connsiteY0" fmla="*/ 0 h 435078"/>
                <a:gd name="connsiteX1" fmla="*/ 217539 w 435077"/>
                <a:gd name="connsiteY1" fmla="*/ 0 h 435078"/>
                <a:gd name="connsiteX2" fmla="*/ 27 w 435077"/>
                <a:gd name="connsiteY2" fmla="*/ 0 h 435078"/>
                <a:gd name="connsiteX3" fmla="*/ 27 w 435077"/>
                <a:gd name="connsiteY3" fmla="*/ 217539 h 435078"/>
                <a:gd name="connsiteX4" fmla="*/ 217565 w 435077"/>
                <a:gd name="connsiteY4" fmla="*/ 7 h 435078"/>
                <a:gd name="connsiteX5" fmla="*/ 435077 w 435077"/>
                <a:gd name="connsiteY5" fmla="*/ 217539 h 435078"/>
                <a:gd name="connsiteX6" fmla="*/ 217539 w 435077"/>
                <a:gd name="connsiteY6" fmla="*/ 435079 h 435078"/>
                <a:gd name="connsiteX7" fmla="*/ 0 w 435077"/>
                <a:gd name="connsiteY7" fmla="*/ 217539 h 435078"/>
                <a:gd name="connsiteX8" fmla="*/ 0 w 435077"/>
                <a:gd name="connsiteY8" fmla="*/ 435079 h 435078"/>
                <a:gd name="connsiteX9" fmla="*/ 217539 w 435077"/>
                <a:gd name="connsiteY9" fmla="*/ 435079 h 435078"/>
                <a:gd name="connsiteX10" fmla="*/ 435077 w 435077"/>
                <a:gd name="connsiteY10" fmla="*/ 435079 h 435078"/>
                <a:gd name="connsiteX11" fmla="*/ 435077 w 435077"/>
                <a:gd name="connsiteY11" fmla="*/ 217539 h 435078"/>
                <a:gd name="connsiteX12" fmla="*/ 435077 w 435077"/>
                <a:gd name="connsiteY12" fmla="*/ 0 h 435078"/>
                <a:gd name="connsiteX13" fmla="*/ 217565 w 435077"/>
                <a:gd name="connsiteY13"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8">
                  <a:moveTo>
                    <a:pt x="217565" y="0"/>
                  </a:moveTo>
                  <a:lnTo>
                    <a:pt x="217539" y="0"/>
                  </a:lnTo>
                  <a:lnTo>
                    <a:pt x="27" y="0"/>
                  </a:lnTo>
                  <a:lnTo>
                    <a:pt x="27" y="217539"/>
                  </a:lnTo>
                  <a:lnTo>
                    <a:pt x="217565" y="7"/>
                  </a:lnTo>
                  <a:lnTo>
                    <a:pt x="435077" y="217539"/>
                  </a:lnTo>
                  <a:lnTo>
                    <a:pt x="217539" y="435079"/>
                  </a:lnTo>
                  <a:lnTo>
                    <a:pt x="0" y="217539"/>
                  </a:lnTo>
                  <a:lnTo>
                    <a:pt x="0" y="435079"/>
                  </a:lnTo>
                  <a:lnTo>
                    <a:pt x="217539" y="435079"/>
                  </a:lnTo>
                  <a:lnTo>
                    <a:pt x="435077" y="435079"/>
                  </a:lnTo>
                  <a:lnTo>
                    <a:pt x="435077" y="217539"/>
                  </a:lnTo>
                  <a:lnTo>
                    <a:pt x="435077" y="0"/>
                  </a:lnTo>
                  <a:lnTo>
                    <a:pt x="217565" y="0"/>
                  </a:lnTo>
                  <a:close/>
                </a:path>
              </a:pathLst>
            </a:custGeom>
            <a:grpFill/>
            <a:ln w="27192" cap="flat">
              <a:noFill/>
              <a:prstDash val="solid"/>
              <a:miter/>
            </a:ln>
          </p:spPr>
          <p:txBody>
            <a:bodyPr rtlCol="0" anchor="ctr"/>
            <a:lstStyle/>
            <a:p>
              <a:endParaRPr lang="uk-UA" sz="900"/>
            </a:p>
          </p:txBody>
        </p:sp>
        <p:sp>
          <p:nvSpPr>
            <p:cNvPr id="49" name="Freeform: Shape 48">
              <a:extLst>
                <a:ext uri="{FF2B5EF4-FFF2-40B4-BE49-F238E27FC236}">
                  <a16:creationId xmlns:a16="http://schemas.microsoft.com/office/drawing/2014/main" id="{FCEC6F21-DC89-D0BB-663E-A9FBD5439D65}"/>
                </a:ext>
              </a:extLst>
            </p:cNvPr>
            <p:cNvSpPr/>
            <p:nvPr/>
          </p:nvSpPr>
          <p:spPr>
            <a:xfrm>
              <a:off x="15628536" y="228598"/>
              <a:ext cx="435077" cy="435075"/>
            </a:xfrm>
            <a:custGeom>
              <a:avLst/>
              <a:gdLst>
                <a:gd name="connsiteX0" fmla="*/ 217539 w 435077"/>
                <a:gd name="connsiteY0" fmla="*/ 217540 h 435075"/>
                <a:gd name="connsiteX1" fmla="*/ 217539 w 435077"/>
                <a:gd name="connsiteY1" fmla="*/ 217537 h 435075"/>
                <a:gd name="connsiteX2" fmla="*/ 0 w 435077"/>
                <a:gd name="connsiteY2" fmla="*/ 0 h 435075"/>
                <a:gd name="connsiteX3" fmla="*/ 217539 w 435077"/>
                <a:gd name="connsiteY3" fmla="*/ 0 h 435075"/>
                <a:gd name="connsiteX4" fmla="*/ 217539 w 435077"/>
                <a:gd name="connsiteY4" fmla="*/ 5 h 435075"/>
                <a:gd name="connsiteX5" fmla="*/ 435077 w 435077"/>
                <a:gd name="connsiteY5" fmla="*/ 217533 h 435075"/>
                <a:gd name="connsiteX6" fmla="*/ 435077 w 435077"/>
                <a:gd name="connsiteY6" fmla="*/ 217533 h 435075"/>
                <a:gd name="connsiteX7" fmla="*/ 435077 w 435077"/>
                <a:gd name="connsiteY7" fmla="*/ 217538 h 435075"/>
                <a:gd name="connsiteX8" fmla="*/ 435077 w 435077"/>
                <a:gd name="connsiteY8" fmla="*/ 217542 h 435075"/>
                <a:gd name="connsiteX9" fmla="*/ 435077 w 435077"/>
                <a:gd name="connsiteY9" fmla="*/ 217542 h 435075"/>
                <a:gd name="connsiteX10" fmla="*/ 217539 w 435077"/>
                <a:gd name="connsiteY10" fmla="*/ 435071 h 435075"/>
                <a:gd name="connsiteX11" fmla="*/ 217539 w 435077"/>
                <a:gd name="connsiteY11" fmla="*/ 435076 h 435075"/>
                <a:gd name="connsiteX12" fmla="*/ 0 w 435077"/>
                <a:gd name="connsiteY12" fmla="*/ 435076 h 435075"/>
                <a:gd name="connsiteX13" fmla="*/ 217539 w 435077"/>
                <a:gd name="connsiteY13" fmla="*/ 217540 h 43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5">
                  <a:moveTo>
                    <a:pt x="217539" y="217540"/>
                  </a:moveTo>
                  <a:lnTo>
                    <a:pt x="217539" y="217537"/>
                  </a:lnTo>
                  <a:lnTo>
                    <a:pt x="0" y="0"/>
                  </a:lnTo>
                  <a:lnTo>
                    <a:pt x="217539" y="0"/>
                  </a:lnTo>
                  <a:lnTo>
                    <a:pt x="217539" y="5"/>
                  </a:lnTo>
                  <a:lnTo>
                    <a:pt x="435077" y="217533"/>
                  </a:lnTo>
                  <a:lnTo>
                    <a:pt x="435077" y="217533"/>
                  </a:lnTo>
                  <a:lnTo>
                    <a:pt x="435077" y="217538"/>
                  </a:lnTo>
                  <a:lnTo>
                    <a:pt x="435077" y="217542"/>
                  </a:lnTo>
                  <a:lnTo>
                    <a:pt x="435077" y="217542"/>
                  </a:lnTo>
                  <a:lnTo>
                    <a:pt x="217539" y="435071"/>
                  </a:lnTo>
                  <a:lnTo>
                    <a:pt x="217539" y="435076"/>
                  </a:lnTo>
                  <a:lnTo>
                    <a:pt x="0" y="435076"/>
                  </a:lnTo>
                  <a:lnTo>
                    <a:pt x="217539" y="217540"/>
                  </a:lnTo>
                  <a:close/>
                </a:path>
              </a:pathLst>
            </a:custGeom>
            <a:grpFill/>
            <a:ln w="27192" cap="flat">
              <a:noFill/>
              <a:prstDash val="solid"/>
              <a:miter/>
            </a:ln>
          </p:spPr>
          <p:txBody>
            <a:bodyPr rtlCol="0" anchor="ctr"/>
            <a:lstStyle/>
            <a:p>
              <a:endParaRPr lang="uk-UA" sz="900"/>
            </a:p>
          </p:txBody>
        </p:sp>
        <p:sp>
          <p:nvSpPr>
            <p:cNvPr id="50" name="Freeform: Shape 49">
              <a:extLst>
                <a:ext uri="{FF2B5EF4-FFF2-40B4-BE49-F238E27FC236}">
                  <a16:creationId xmlns:a16="http://schemas.microsoft.com/office/drawing/2014/main" id="{8C3E5604-40D9-A8C7-F46A-F7B7C66DA048}"/>
                </a:ext>
              </a:extLst>
            </p:cNvPr>
            <p:cNvSpPr/>
            <p:nvPr/>
          </p:nvSpPr>
          <p:spPr>
            <a:xfrm>
              <a:off x="16498719" y="228598"/>
              <a:ext cx="435077" cy="435078"/>
            </a:xfrm>
            <a:custGeom>
              <a:avLst/>
              <a:gdLst>
                <a:gd name="connsiteX0" fmla="*/ 0 w 435077"/>
                <a:gd name="connsiteY0" fmla="*/ 435079 h 435078"/>
                <a:gd name="connsiteX1" fmla="*/ 217510 w 435077"/>
                <a:gd name="connsiteY1" fmla="*/ 435079 h 435078"/>
                <a:gd name="connsiteX2" fmla="*/ 217510 w 435077"/>
                <a:gd name="connsiteY2" fmla="*/ 217546 h 435078"/>
                <a:gd name="connsiteX3" fmla="*/ 0 w 435077"/>
                <a:gd name="connsiteY3" fmla="*/ 435079 h 435078"/>
                <a:gd name="connsiteX4" fmla="*/ 217510 w 435077"/>
                <a:gd name="connsiteY4" fmla="*/ 0 h 435078"/>
                <a:gd name="connsiteX5" fmla="*/ 0 w 435077"/>
                <a:gd name="connsiteY5" fmla="*/ 0 h 435078"/>
                <a:gd name="connsiteX6" fmla="*/ 217510 w 435077"/>
                <a:gd name="connsiteY6" fmla="*/ 217532 h 435078"/>
                <a:gd name="connsiteX7" fmla="*/ 217510 w 435077"/>
                <a:gd name="connsiteY7" fmla="*/ 0 h 435078"/>
                <a:gd name="connsiteX8" fmla="*/ 435077 w 435077"/>
                <a:gd name="connsiteY8" fmla="*/ 435079 h 435078"/>
                <a:gd name="connsiteX9" fmla="*/ 217539 w 435077"/>
                <a:gd name="connsiteY9" fmla="*/ 435079 h 435078"/>
                <a:gd name="connsiteX10" fmla="*/ 435077 w 435077"/>
                <a:gd name="connsiteY10" fmla="*/ 217546 h 435078"/>
                <a:gd name="connsiteX11" fmla="*/ 435077 w 435077"/>
                <a:gd name="connsiteY11" fmla="*/ 435079 h 435078"/>
                <a:gd name="connsiteX12" fmla="*/ 435077 w 435077"/>
                <a:gd name="connsiteY12" fmla="*/ 0 h 435078"/>
                <a:gd name="connsiteX13" fmla="*/ 217539 w 435077"/>
                <a:gd name="connsiteY13" fmla="*/ 0 h 435078"/>
                <a:gd name="connsiteX14" fmla="*/ 435077 w 435077"/>
                <a:gd name="connsiteY14" fmla="*/ 217532 h 435078"/>
                <a:gd name="connsiteX15" fmla="*/ 435077 w 435077"/>
                <a:gd name="connsiteY15"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8">
                  <a:moveTo>
                    <a:pt x="0" y="435079"/>
                  </a:moveTo>
                  <a:lnTo>
                    <a:pt x="217510" y="435079"/>
                  </a:lnTo>
                  <a:lnTo>
                    <a:pt x="217510" y="217546"/>
                  </a:lnTo>
                  <a:lnTo>
                    <a:pt x="0" y="435079"/>
                  </a:lnTo>
                  <a:close/>
                  <a:moveTo>
                    <a:pt x="217510" y="0"/>
                  </a:moveTo>
                  <a:lnTo>
                    <a:pt x="0" y="0"/>
                  </a:lnTo>
                  <a:lnTo>
                    <a:pt x="217510" y="217532"/>
                  </a:lnTo>
                  <a:lnTo>
                    <a:pt x="217510" y="0"/>
                  </a:lnTo>
                  <a:close/>
                  <a:moveTo>
                    <a:pt x="435077" y="435079"/>
                  </a:moveTo>
                  <a:lnTo>
                    <a:pt x="217539" y="435079"/>
                  </a:lnTo>
                  <a:lnTo>
                    <a:pt x="435077" y="217546"/>
                  </a:lnTo>
                  <a:lnTo>
                    <a:pt x="435077" y="435079"/>
                  </a:lnTo>
                  <a:close/>
                  <a:moveTo>
                    <a:pt x="435077" y="0"/>
                  </a:moveTo>
                  <a:lnTo>
                    <a:pt x="217539" y="0"/>
                  </a:lnTo>
                  <a:lnTo>
                    <a:pt x="435077" y="217532"/>
                  </a:lnTo>
                  <a:lnTo>
                    <a:pt x="435077" y="0"/>
                  </a:lnTo>
                  <a:close/>
                </a:path>
              </a:pathLst>
            </a:custGeom>
            <a:grpFill/>
            <a:ln w="27192" cap="flat">
              <a:noFill/>
              <a:prstDash val="solid"/>
              <a:miter/>
            </a:ln>
          </p:spPr>
          <p:txBody>
            <a:bodyPr rtlCol="0" anchor="ctr"/>
            <a:lstStyle/>
            <a:p>
              <a:endParaRPr lang="uk-UA" sz="900"/>
            </a:p>
          </p:txBody>
        </p:sp>
        <p:sp>
          <p:nvSpPr>
            <p:cNvPr id="51" name="Freeform: Shape 50">
              <a:extLst>
                <a:ext uri="{FF2B5EF4-FFF2-40B4-BE49-F238E27FC236}">
                  <a16:creationId xmlns:a16="http://schemas.microsoft.com/office/drawing/2014/main" id="{7C5242FC-351C-A2EC-F1A3-10AD7795B348}"/>
                </a:ext>
              </a:extLst>
            </p:cNvPr>
            <p:cNvSpPr/>
            <p:nvPr/>
          </p:nvSpPr>
          <p:spPr>
            <a:xfrm>
              <a:off x="18239029" y="228598"/>
              <a:ext cx="435077" cy="435073"/>
            </a:xfrm>
            <a:custGeom>
              <a:avLst/>
              <a:gdLst>
                <a:gd name="connsiteX0" fmla="*/ 371365 w 435077"/>
                <a:gd name="connsiteY0" fmla="*/ 63716 h 435073"/>
                <a:gd name="connsiteX1" fmla="*/ 435077 w 435077"/>
                <a:gd name="connsiteY1" fmla="*/ 217539 h 435073"/>
                <a:gd name="connsiteX2" fmla="*/ 218953 w 435077"/>
                <a:gd name="connsiteY2" fmla="*/ 217539 h 435073"/>
                <a:gd name="connsiteX3" fmla="*/ 371365 w 435077"/>
                <a:gd name="connsiteY3" fmla="*/ 281249 h 435073"/>
                <a:gd name="connsiteX4" fmla="*/ 435077 w 435077"/>
                <a:gd name="connsiteY4" fmla="*/ 435073 h 435073"/>
                <a:gd name="connsiteX5" fmla="*/ 217539 w 435077"/>
                <a:gd name="connsiteY5" fmla="*/ 435073 h 435073"/>
                <a:gd name="connsiteX6" fmla="*/ 0 w 435077"/>
                <a:gd name="connsiteY6" fmla="*/ 435073 h 435073"/>
                <a:gd name="connsiteX7" fmla="*/ 63710 w 435077"/>
                <a:gd name="connsiteY7" fmla="*/ 281249 h 435073"/>
                <a:gd name="connsiteX8" fmla="*/ 216151 w 435077"/>
                <a:gd name="connsiteY8" fmla="*/ 217539 h 435073"/>
                <a:gd name="connsiteX9" fmla="*/ 0 w 435077"/>
                <a:gd name="connsiteY9" fmla="*/ 217539 h 435073"/>
                <a:gd name="connsiteX10" fmla="*/ 63710 w 435077"/>
                <a:gd name="connsiteY10" fmla="*/ 63716 h 435073"/>
                <a:gd name="connsiteX11" fmla="*/ 217539 w 435077"/>
                <a:gd name="connsiteY11" fmla="*/ 0 h 435073"/>
                <a:gd name="connsiteX12" fmla="*/ 371365 w 435077"/>
                <a:gd name="connsiteY12" fmla="*/ 63716 h 43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3">
                  <a:moveTo>
                    <a:pt x="371365" y="63716"/>
                  </a:moveTo>
                  <a:cubicBezTo>
                    <a:pt x="412154" y="104512"/>
                    <a:pt x="435077" y="159844"/>
                    <a:pt x="435077" y="217539"/>
                  </a:cubicBezTo>
                  <a:lnTo>
                    <a:pt x="218953" y="217539"/>
                  </a:lnTo>
                  <a:cubicBezTo>
                    <a:pt x="276137" y="217907"/>
                    <a:pt x="330904" y="240784"/>
                    <a:pt x="371365" y="281249"/>
                  </a:cubicBezTo>
                  <a:cubicBezTo>
                    <a:pt x="412154" y="322046"/>
                    <a:pt x="435077" y="377379"/>
                    <a:pt x="435077" y="435073"/>
                  </a:cubicBezTo>
                  <a:lnTo>
                    <a:pt x="217539" y="435073"/>
                  </a:lnTo>
                  <a:lnTo>
                    <a:pt x="0" y="435073"/>
                  </a:lnTo>
                  <a:cubicBezTo>
                    <a:pt x="0" y="377379"/>
                    <a:pt x="22922" y="322046"/>
                    <a:pt x="63710" y="281249"/>
                  </a:cubicBezTo>
                  <a:cubicBezTo>
                    <a:pt x="104200" y="240784"/>
                    <a:pt x="158967" y="217907"/>
                    <a:pt x="216151" y="217539"/>
                  </a:cubicBezTo>
                  <a:lnTo>
                    <a:pt x="0" y="217539"/>
                  </a:lnTo>
                  <a:cubicBezTo>
                    <a:pt x="0" y="159844"/>
                    <a:pt x="22922" y="104512"/>
                    <a:pt x="63710" y="63716"/>
                  </a:cubicBezTo>
                  <a:cubicBezTo>
                    <a:pt x="104527" y="22919"/>
                    <a:pt x="159836" y="0"/>
                    <a:pt x="217539" y="0"/>
                  </a:cubicBezTo>
                  <a:cubicBezTo>
                    <a:pt x="275241" y="0"/>
                    <a:pt x="330577" y="22919"/>
                    <a:pt x="371365" y="63716"/>
                  </a:cubicBezTo>
                  <a:close/>
                </a:path>
              </a:pathLst>
            </a:custGeom>
            <a:grpFill/>
            <a:ln w="27192" cap="flat">
              <a:noFill/>
              <a:prstDash val="solid"/>
              <a:miter/>
            </a:ln>
          </p:spPr>
          <p:txBody>
            <a:bodyPr rtlCol="0" anchor="ctr"/>
            <a:lstStyle/>
            <a:p>
              <a:endParaRPr lang="uk-UA" sz="900"/>
            </a:p>
          </p:txBody>
        </p:sp>
        <p:sp>
          <p:nvSpPr>
            <p:cNvPr id="52" name="Freeform: Shape 51">
              <a:extLst>
                <a:ext uri="{FF2B5EF4-FFF2-40B4-BE49-F238E27FC236}">
                  <a16:creationId xmlns:a16="http://schemas.microsoft.com/office/drawing/2014/main" id="{D33E3D02-ABC4-ABFC-F264-587626861E3F}"/>
                </a:ext>
              </a:extLst>
            </p:cNvPr>
            <p:cNvSpPr/>
            <p:nvPr/>
          </p:nvSpPr>
          <p:spPr>
            <a:xfrm>
              <a:off x="17368874" y="228598"/>
              <a:ext cx="435077" cy="435078"/>
            </a:xfrm>
            <a:custGeom>
              <a:avLst/>
              <a:gdLst>
                <a:gd name="connsiteX0" fmla="*/ 217539 w 435077"/>
                <a:gd name="connsiteY0" fmla="*/ 0 h 435078"/>
                <a:gd name="connsiteX1" fmla="*/ 0 w 435077"/>
                <a:gd name="connsiteY1" fmla="*/ 0 h 435078"/>
                <a:gd name="connsiteX2" fmla="*/ 0 w 435077"/>
                <a:gd name="connsiteY2" fmla="*/ 217539 h 435078"/>
                <a:gd name="connsiteX3" fmla="*/ 217539 w 435077"/>
                <a:gd name="connsiteY3" fmla="*/ 0 h 435078"/>
                <a:gd name="connsiteX4" fmla="*/ 435077 w 435077"/>
                <a:gd name="connsiteY4" fmla="*/ 0 h 435078"/>
                <a:gd name="connsiteX5" fmla="*/ 435077 w 435077"/>
                <a:gd name="connsiteY5" fmla="*/ 217539 h 435078"/>
                <a:gd name="connsiteX6" fmla="*/ 217539 w 435077"/>
                <a:gd name="connsiteY6" fmla="*/ 0 h 435078"/>
                <a:gd name="connsiteX7" fmla="*/ 435077 w 435077"/>
                <a:gd name="connsiteY7" fmla="*/ 0 h 435078"/>
                <a:gd name="connsiteX8" fmla="*/ 217539 w 435077"/>
                <a:gd name="connsiteY8" fmla="*/ 435079 h 435078"/>
                <a:gd name="connsiteX9" fmla="*/ 435077 w 435077"/>
                <a:gd name="connsiteY9" fmla="*/ 217539 h 435078"/>
                <a:gd name="connsiteX10" fmla="*/ 435077 w 435077"/>
                <a:gd name="connsiteY10" fmla="*/ 435079 h 435078"/>
                <a:gd name="connsiteX11" fmla="*/ 217539 w 435077"/>
                <a:gd name="connsiteY11" fmla="*/ 435079 h 435078"/>
                <a:gd name="connsiteX12" fmla="*/ 217539 w 435077"/>
                <a:gd name="connsiteY12" fmla="*/ 435079 h 435078"/>
                <a:gd name="connsiteX13" fmla="*/ 0 w 435077"/>
                <a:gd name="connsiteY13" fmla="*/ 217539 h 435078"/>
                <a:gd name="connsiteX14" fmla="*/ 0 w 435077"/>
                <a:gd name="connsiteY14" fmla="*/ 435079 h 435078"/>
                <a:gd name="connsiteX15" fmla="*/ 217539 w 435077"/>
                <a:gd name="connsiteY15" fmla="*/ 435079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8">
                  <a:moveTo>
                    <a:pt x="217539" y="0"/>
                  </a:moveTo>
                  <a:lnTo>
                    <a:pt x="0" y="0"/>
                  </a:lnTo>
                  <a:lnTo>
                    <a:pt x="0" y="217539"/>
                  </a:lnTo>
                  <a:lnTo>
                    <a:pt x="217539" y="0"/>
                  </a:lnTo>
                  <a:close/>
                  <a:moveTo>
                    <a:pt x="435077" y="0"/>
                  </a:moveTo>
                  <a:lnTo>
                    <a:pt x="435077" y="217539"/>
                  </a:lnTo>
                  <a:lnTo>
                    <a:pt x="217539" y="0"/>
                  </a:lnTo>
                  <a:lnTo>
                    <a:pt x="435077" y="0"/>
                  </a:lnTo>
                  <a:close/>
                  <a:moveTo>
                    <a:pt x="217539" y="435079"/>
                  </a:moveTo>
                  <a:lnTo>
                    <a:pt x="435077" y="217539"/>
                  </a:lnTo>
                  <a:lnTo>
                    <a:pt x="435077" y="435079"/>
                  </a:lnTo>
                  <a:lnTo>
                    <a:pt x="217539" y="435079"/>
                  </a:lnTo>
                  <a:close/>
                  <a:moveTo>
                    <a:pt x="217539" y="435079"/>
                  </a:moveTo>
                  <a:lnTo>
                    <a:pt x="0" y="217539"/>
                  </a:lnTo>
                  <a:lnTo>
                    <a:pt x="0" y="435079"/>
                  </a:lnTo>
                  <a:lnTo>
                    <a:pt x="217539" y="435079"/>
                  </a:lnTo>
                  <a:close/>
                </a:path>
              </a:pathLst>
            </a:custGeom>
            <a:grpFill/>
            <a:ln w="27192" cap="flat">
              <a:noFill/>
              <a:prstDash val="solid"/>
              <a:miter/>
            </a:ln>
          </p:spPr>
          <p:txBody>
            <a:bodyPr rtlCol="0" anchor="ctr"/>
            <a:lstStyle/>
            <a:p>
              <a:endParaRPr lang="uk-UA" sz="900"/>
            </a:p>
          </p:txBody>
        </p:sp>
        <p:sp>
          <p:nvSpPr>
            <p:cNvPr id="53" name="Freeform: Shape 52">
              <a:extLst>
                <a:ext uri="{FF2B5EF4-FFF2-40B4-BE49-F238E27FC236}">
                  <a16:creationId xmlns:a16="http://schemas.microsoft.com/office/drawing/2014/main" id="{0B5B6F03-07DA-4799-A87B-55133F6F289D}"/>
                </a:ext>
              </a:extLst>
            </p:cNvPr>
            <p:cNvSpPr/>
            <p:nvPr/>
          </p:nvSpPr>
          <p:spPr>
            <a:xfrm>
              <a:off x="19109210" y="228598"/>
              <a:ext cx="435077" cy="435075"/>
            </a:xfrm>
            <a:custGeom>
              <a:avLst/>
              <a:gdLst>
                <a:gd name="connsiteX0" fmla="*/ 217539 w 435077"/>
                <a:gd name="connsiteY0" fmla="*/ 217533 h 435075"/>
                <a:gd name="connsiteX1" fmla="*/ 217539 w 435077"/>
                <a:gd name="connsiteY1" fmla="*/ 0 h 435075"/>
                <a:gd name="connsiteX2" fmla="*/ 0 w 435077"/>
                <a:gd name="connsiteY2" fmla="*/ 0 h 435075"/>
                <a:gd name="connsiteX3" fmla="*/ 217539 w 435077"/>
                <a:gd name="connsiteY3" fmla="*/ 217538 h 435075"/>
                <a:gd name="connsiteX4" fmla="*/ 0 w 435077"/>
                <a:gd name="connsiteY4" fmla="*/ 435076 h 435075"/>
                <a:gd name="connsiteX5" fmla="*/ 217539 w 435077"/>
                <a:gd name="connsiteY5" fmla="*/ 435076 h 435075"/>
                <a:gd name="connsiteX6" fmla="*/ 217539 w 435077"/>
                <a:gd name="connsiteY6" fmla="*/ 435071 h 435075"/>
                <a:gd name="connsiteX7" fmla="*/ 435051 w 435077"/>
                <a:gd name="connsiteY7" fmla="*/ 217542 h 435075"/>
                <a:gd name="connsiteX8" fmla="*/ 435077 w 435077"/>
                <a:gd name="connsiteY8" fmla="*/ 217542 h 435075"/>
                <a:gd name="connsiteX9" fmla="*/ 435051 w 435077"/>
                <a:gd name="connsiteY9" fmla="*/ 217537 h 435075"/>
                <a:gd name="connsiteX10" fmla="*/ 435077 w 435077"/>
                <a:gd name="connsiteY10" fmla="*/ 217533 h 435075"/>
                <a:gd name="connsiteX11" fmla="*/ 435051 w 435077"/>
                <a:gd name="connsiteY11" fmla="*/ 217533 h 435075"/>
                <a:gd name="connsiteX12" fmla="*/ 217539 w 435077"/>
                <a:gd name="connsiteY12" fmla="*/ 4 h 435075"/>
                <a:gd name="connsiteX13" fmla="*/ 217539 w 435077"/>
                <a:gd name="connsiteY13" fmla="*/ 217533 h 435075"/>
                <a:gd name="connsiteX14" fmla="*/ 217539 w 435077"/>
                <a:gd name="connsiteY14" fmla="*/ 217533 h 43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5">
                  <a:moveTo>
                    <a:pt x="217539" y="217533"/>
                  </a:moveTo>
                  <a:lnTo>
                    <a:pt x="217539" y="0"/>
                  </a:lnTo>
                  <a:lnTo>
                    <a:pt x="0" y="0"/>
                  </a:lnTo>
                  <a:lnTo>
                    <a:pt x="217539" y="217538"/>
                  </a:lnTo>
                  <a:lnTo>
                    <a:pt x="0" y="435076"/>
                  </a:lnTo>
                  <a:lnTo>
                    <a:pt x="217539" y="435076"/>
                  </a:lnTo>
                  <a:lnTo>
                    <a:pt x="217539" y="435071"/>
                  </a:lnTo>
                  <a:lnTo>
                    <a:pt x="435051" y="217542"/>
                  </a:lnTo>
                  <a:lnTo>
                    <a:pt x="435077" y="217542"/>
                  </a:lnTo>
                  <a:lnTo>
                    <a:pt x="435051" y="217537"/>
                  </a:lnTo>
                  <a:lnTo>
                    <a:pt x="435077" y="217533"/>
                  </a:lnTo>
                  <a:lnTo>
                    <a:pt x="435051" y="217533"/>
                  </a:lnTo>
                  <a:lnTo>
                    <a:pt x="217539" y="4"/>
                  </a:lnTo>
                  <a:lnTo>
                    <a:pt x="217539" y="217533"/>
                  </a:lnTo>
                  <a:lnTo>
                    <a:pt x="217539" y="217533"/>
                  </a:lnTo>
                  <a:close/>
                </a:path>
              </a:pathLst>
            </a:custGeom>
            <a:grpFill/>
            <a:ln w="27192" cap="flat">
              <a:noFill/>
              <a:prstDash val="solid"/>
              <a:miter/>
            </a:ln>
          </p:spPr>
          <p:txBody>
            <a:bodyPr rtlCol="0" anchor="ctr"/>
            <a:lstStyle/>
            <a:p>
              <a:endParaRPr lang="uk-UA" sz="900"/>
            </a:p>
          </p:txBody>
        </p:sp>
        <p:sp>
          <p:nvSpPr>
            <p:cNvPr id="54" name="Freeform: Shape 53">
              <a:extLst>
                <a:ext uri="{FF2B5EF4-FFF2-40B4-BE49-F238E27FC236}">
                  <a16:creationId xmlns:a16="http://schemas.microsoft.com/office/drawing/2014/main" id="{02B7E21C-4CB4-6E7C-3EEA-021857BEBF94}"/>
                </a:ext>
              </a:extLst>
            </p:cNvPr>
            <p:cNvSpPr/>
            <p:nvPr/>
          </p:nvSpPr>
          <p:spPr>
            <a:xfrm>
              <a:off x="19979365" y="228598"/>
              <a:ext cx="435077" cy="435067"/>
            </a:xfrm>
            <a:custGeom>
              <a:avLst/>
              <a:gdLst>
                <a:gd name="connsiteX0" fmla="*/ 0 w 435077"/>
                <a:gd name="connsiteY0" fmla="*/ 435068 h 435067"/>
                <a:gd name="connsiteX1" fmla="*/ 217539 w 435077"/>
                <a:gd name="connsiteY1" fmla="*/ 435068 h 435067"/>
                <a:gd name="connsiteX2" fmla="*/ 217539 w 435077"/>
                <a:gd name="connsiteY2" fmla="*/ 217535 h 435067"/>
                <a:gd name="connsiteX3" fmla="*/ 0 w 435077"/>
                <a:gd name="connsiteY3" fmla="*/ 435068 h 435067"/>
                <a:gd name="connsiteX4" fmla="*/ 217539 w 435077"/>
                <a:gd name="connsiteY4" fmla="*/ 0 h 435067"/>
                <a:gd name="connsiteX5" fmla="*/ 0 w 435077"/>
                <a:gd name="connsiteY5" fmla="*/ 0 h 435067"/>
                <a:gd name="connsiteX6" fmla="*/ 217539 w 435077"/>
                <a:gd name="connsiteY6" fmla="*/ 217532 h 435067"/>
                <a:gd name="connsiteX7" fmla="*/ 217539 w 435077"/>
                <a:gd name="connsiteY7" fmla="*/ 0 h 435067"/>
                <a:gd name="connsiteX8" fmla="*/ 435077 w 435077"/>
                <a:gd name="connsiteY8" fmla="*/ 435068 h 435067"/>
                <a:gd name="connsiteX9" fmla="*/ 217539 w 435077"/>
                <a:gd name="connsiteY9" fmla="*/ 435068 h 435067"/>
                <a:gd name="connsiteX10" fmla="*/ 435077 w 435077"/>
                <a:gd name="connsiteY10" fmla="*/ 217535 h 435067"/>
                <a:gd name="connsiteX11" fmla="*/ 435077 w 435077"/>
                <a:gd name="connsiteY11" fmla="*/ 435068 h 435067"/>
                <a:gd name="connsiteX12" fmla="*/ 435077 w 435077"/>
                <a:gd name="connsiteY12" fmla="*/ 0 h 435067"/>
                <a:gd name="connsiteX13" fmla="*/ 217539 w 435077"/>
                <a:gd name="connsiteY13" fmla="*/ 0 h 435067"/>
                <a:gd name="connsiteX14" fmla="*/ 435077 w 435077"/>
                <a:gd name="connsiteY14" fmla="*/ 217532 h 435067"/>
                <a:gd name="connsiteX15" fmla="*/ 435077 w 435077"/>
                <a:gd name="connsiteY15" fmla="*/ 0 h 435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67">
                  <a:moveTo>
                    <a:pt x="0" y="435068"/>
                  </a:moveTo>
                  <a:lnTo>
                    <a:pt x="217539" y="435068"/>
                  </a:lnTo>
                  <a:lnTo>
                    <a:pt x="217539" y="217535"/>
                  </a:lnTo>
                  <a:lnTo>
                    <a:pt x="0" y="435068"/>
                  </a:lnTo>
                  <a:close/>
                  <a:moveTo>
                    <a:pt x="217539" y="0"/>
                  </a:moveTo>
                  <a:lnTo>
                    <a:pt x="0" y="0"/>
                  </a:lnTo>
                  <a:lnTo>
                    <a:pt x="217539" y="217532"/>
                  </a:lnTo>
                  <a:lnTo>
                    <a:pt x="217539" y="0"/>
                  </a:lnTo>
                  <a:close/>
                  <a:moveTo>
                    <a:pt x="435077" y="435068"/>
                  </a:moveTo>
                  <a:lnTo>
                    <a:pt x="217539" y="435068"/>
                  </a:lnTo>
                  <a:lnTo>
                    <a:pt x="435077" y="217535"/>
                  </a:lnTo>
                  <a:lnTo>
                    <a:pt x="435077" y="435068"/>
                  </a:lnTo>
                  <a:close/>
                  <a:moveTo>
                    <a:pt x="435077" y="0"/>
                  </a:moveTo>
                  <a:lnTo>
                    <a:pt x="217539" y="0"/>
                  </a:lnTo>
                  <a:lnTo>
                    <a:pt x="435077" y="217532"/>
                  </a:lnTo>
                  <a:lnTo>
                    <a:pt x="435077" y="0"/>
                  </a:lnTo>
                  <a:close/>
                </a:path>
              </a:pathLst>
            </a:custGeom>
            <a:grpFill/>
            <a:ln w="27192" cap="flat">
              <a:noFill/>
              <a:prstDash val="solid"/>
              <a:miter/>
            </a:ln>
          </p:spPr>
          <p:txBody>
            <a:bodyPr rtlCol="0" anchor="ctr"/>
            <a:lstStyle/>
            <a:p>
              <a:endParaRPr lang="uk-UA" sz="900"/>
            </a:p>
          </p:txBody>
        </p:sp>
        <p:sp>
          <p:nvSpPr>
            <p:cNvPr id="55" name="Freeform: Shape 54">
              <a:extLst>
                <a:ext uri="{FF2B5EF4-FFF2-40B4-BE49-F238E27FC236}">
                  <a16:creationId xmlns:a16="http://schemas.microsoft.com/office/drawing/2014/main" id="{EB72E20C-B7EE-AFB4-A9FE-27BA62A3B55C}"/>
                </a:ext>
              </a:extLst>
            </p:cNvPr>
            <p:cNvSpPr/>
            <p:nvPr/>
          </p:nvSpPr>
          <p:spPr>
            <a:xfrm>
              <a:off x="21719702" y="228598"/>
              <a:ext cx="435077" cy="435073"/>
            </a:xfrm>
            <a:custGeom>
              <a:avLst/>
              <a:gdLst>
                <a:gd name="connsiteX0" fmla="*/ 371339 w 435077"/>
                <a:gd name="connsiteY0" fmla="*/ 63716 h 435073"/>
                <a:gd name="connsiteX1" fmla="*/ 435077 w 435077"/>
                <a:gd name="connsiteY1" fmla="*/ 217539 h 435073"/>
                <a:gd name="connsiteX2" fmla="*/ 218926 w 435077"/>
                <a:gd name="connsiteY2" fmla="*/ 217539 h 435073"/>
                <a:gd name="connsiteX3" fmla="*/ 371367 w 435077"/>
                <a:gd name="connsiteY3" fmla="*/ 281249 h 435073"/>
                <a:gd name="connsiteX4" fmla="*/ 435077 w 435077"/>
                <a:gd name="connsiteY4" fmla="*/ 435073 h 435073"/>
                <a:gd name="connsiteX5" fmla="*/ 217539 w 435077"/>
                <a:gd name="connsiteY5" fmla="*/ 435073 h 435073"/>
                <a:gd name="connsiteX6" fmla="*/ 0 w 435077"/>
                <a:gd name="connsiteY6" fmla="*/ 435073 h 435073"/>
                <a:gd name="connsiteX7" fmla="*/ 63712 w 435077"/>
                <a:gd name="connsiteY7" fmla="*/ 281249 h 435073"/>
                <a:gd name="connsiteX8" fmla="*/ 216125 w 435077"/>
                <a:gd name="connsiteY8" fmla="*/ 217539 h 435073"/>
                <a:gd name="connsiteX9" fmla="*/ 0 w 435077"/>
                <a:gd name="connsiteY9" fmla="*/ 217539 h 435073"/>
                <a:gd name="connsiteX10" fmla="*/ 63712 w 435077"/>
                <a:gd name="connsiteY10" fmla="*/ 63716 h 435073"/>
                <a:gd name="connsiteX11" fmla="*/ 217539 w 435077"/>
                <a:gd name="connsiteY11" fmla="*/ 0 h 435073"/>
                <a:gd name="connsiteX12" fmla="*/ 371339 w 435077"/>
                <a:gd name="connsiteY12" fmla="*/ 63716 h 43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3">
                  <a:moveTo>
                    <a:pt x="371339" y="63716"/>
                  </a:moveTo>
                  <a:cubicBezTo>
                    <a:pt x="412155" y="104512"/>
                    <a:pt x="435077" y="159844"/>
                    <a:pt x="435077" y="217539"/>
                  </a:cubicBezTo>
                  <a:lnTo>
                    <a:pt x="218926" y="217539"/>
                  </a:lnTo>
                  <a:cubicBezTo>
                    <a:pt x="276112" y="217907"/>
                    <a:pt x="330877" y="240784"/>
                    <a:pt x="371367" y="281249"/>
                  </a:cubicBezTo>
                  <a:cubicBezTo>
                    <a:pt x="412155" y="322046"/>
                    <a:pt x="435077" y="377379"/>
                    <a:pt x="435077" y="435073"/>
                  </a:cubicBezTo>
                  <a:lnTo>
                    <a:pt x="217539" y="435073"/>
                  </a:lnTo>
                  <a:lnTo>
                    <a:pt x="0" y="435073"/>
                  </a:lnTo>
                  <a:cubicBezTo>
                    <a:pt x="0" y="377379"/>
                    <a:pt x="22924" y="322046"/>
                    <a:pt x="63712" y="281249"/>
                  </a:cubicBezTo>
                  <a:cubicBezTo>
                    <a:pt x="104175" y="240784"/>
                    <a:pt x="158940" y="217907"/>
                    <a:pt x="216125" y="217539"/>
                  </a:cubicBezTo>
                  <a:lnTo>
                    <a:pt x="0" y="217539"/>
                  </a:lnTo>
                  <a:cubicBezTo>
                    <a:pt x="0" y="159844"/>
                    <a:pt x="22897" y="104512"/>
                    <a:pt x="63712" y="63716"/>
                  </a:cubicBezTo>
                  <a:cubicBezTo>
                    <a:pt x="104501" y="22919"/>
                    <a:pt x="159838" y="0"/>
                    <a:pt x="217539" y="0"/>
                  </a:cubicBezTo>
                  <a:cubicBezTo>
                    <a:pt x="275215" y="0"/>
                    <a:pt x="330550" y="22919"/>
                    <a:pt x="371339" y="63716"/>
                  </a:cubicBezTo>
                  <a:close/>
                </a:path>
              </a:pathLst>
            </a:custGeom>
            <a:grpFill/>
            <a:ln w="27192" cap="flat">
              <a:noFill/>
              <a:prstDash val="solid"/>
              <a:miter/>
            </a:ln>
          </p:spPr>
          <p:txBody>
            <a:bodyPr rtlCol="0" anchor="ctr"/>
            <a:lstStyle/>
            <a:p>
              <a:endParaRPr lang="uk-UA" sz="900"/>
            </a:p>
          </p:txBody>
        </p:sp>
        <p:sp>
          <p:nvSpPr>
            <p:cNvPr id="56" name="Freeform: Shape 55">
              <a:extLst>
                <a:ext uri="{FF2B5EF4-FFF2-40B4-BE49-F238E27FC236}">
                  <a16:creationId xmlns:a16="http://schemas.microsoft.com/office/drawing/2014/main" id="{71964562-6C57-C4F0-9537-866EA106AF08}"/>
                </a:ext>
              </a:extLst>
            </p:cNvPr>
            <p:cNvSpPr/>
            <p:nvPr/>
          </p:nvSpPr>
          <p:spPr>
            <a:xfrm>
              <a:off x="20849520" y="228598"/>
              <a:ext cx="435103" cy="435078"/>
            </a:xfrm>
            <a:custGeom>
              <a:avLst/>
              <a:gdLst>
                <a:gd name="connsiteX0" fmla="*/ 217539 w 435103"/>
                <a:gd name="connsiteY0" fmla="*/ 0 h 435078"/>
                <a:gd name="connsiteX1" fmla="*/ 0 w 435103"/>
                <a:gd name="connsiteY1" fmla="*/ 0 h 435078"/>
                <a:gd name="connsiteX2" fmla="*/ 0 w 435103"/>
                <a:gd name="connsiteY2" fmla="*/ 217539 h 435078"/>
                <a:gd name="connsiteX3" fmla="*/ 217539 w 435103"/>
                <a:gd name="connsiteY3" fmla="*/ 0 h 435078"/>
                <a:gd name="connsiteX4" fmla="*/ 435104 w 435103"/>
                <a:gd name="connsiteY4" fmla="*/ 0 h 435078"/>
                <a:gd name="connsiteX5" fmla="*/ 435104 w 435103"/>
                <a:gd name="connsiteY5" fmla="*/ 217539 h 435078"/>
                <a:gd name="connsiteX6" fmla="*/ 217565 w 435103"/>
                <a:gd name="connsiteY6" fmla="*/ 0 h 435078"/>
                <a:gd name="connsiteX7" fmla="*/ 435104 w 435103"/>
                <a:gd name="connsiteY7" fmla="*/ 0 h 435078"/>
                <a:gd name="connsiteX8" fmla="*/ 217565 w 435103"/>
                <a:gd name="connsiteY8" fmla="*/ 435079 h 435078"/>
                <a:gd name="connsiteX9" fmla="*/ 435104 w 435103"/>
                <a:gd name="connsiteY9" fmla="*/ 217539 h 435078"/>
                <a:gd name="connsiteX10" fmla="*/ 435104 w 435103"/>
                <a:gd name="connsiteY10" fmla="*/ 435079 h 435078"/>
                <a:gd name="connsiteX11" fmla="*/ 217565 w 435103"/>
                <a:gd name="connsiteY11" fmla="*/ 435079 h 435078"/>
                <a:gd name="connsiteX12" fmla="*/ 217565 w 435103"/>
                <a:gd name="connsiteY12" fmla="*/ 435079 h 435078"/>
                <a:gd name="connsiteX13" fmla="*/ 27 w 435103"/>
                <a:gd name="connsiteY13" fmla="*/ 217539 h 435078"/>
                <a:gd name="connsiteX14" fmla="*/ 27 w 435103"/>
                <a:gd name="connsiteY14" fmla="*/ 435079 h 435078"/>
                <a:gd name="connsiteX15" fmla="*/ 217565 w 435103"/>
                <a:gd name="connsiteY15" fmla="*/ 435079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3" h="435078">
                  <a:moveTo>
                    <a:pt x="217539" y="0"/>
                  </a:moveTo>
                  <a:lnTo>
                    <a:pt x="0" y="0"/>
                  </a:lnTo>
                  <a:lnTo>
                    <a:pt x="0" y="217539"/>
                  </a:lnTo>
                  <a:lnTo>
                    <a:pt x="217539" y="0"/>
                  </a:lnTo>
                  <a:close/>
                  <a:moveTo>
                    <a:pt x="435104" y="0"/>
                  </a:moveTo>
                  <a:lnTo>
                    <a:pt x="435104" y="217539"/>
                  </a:lnTo>
                  <a:lnTo>
                    <a:pt x="217565" y="0"/>
                  </a:lnTo>
                  <a:lnTo>
                    <a:pt x="435104" y="0"/>
                  </a:lnTo>
                  <a:close/>
                  <a:moveTo>
                    <a:pt x="217565" y="435079"/>
                  </a:moveTo>
                  <a:lnTo>
                    <a:pt x="435104" y="217539"/>
                  </a:lnTo>
                  <a:lnTo>
                    <a:pt x="435104" y="435079"/>
                  </a:lnTo>
                  <a:lnTo>
                    <a:pt x="217565" y="435079"/>
                  </a:lnTo>
                  <a:close/>
                  <a:moveTo>
                    <a:pt x="217565" y="435079"/>
                  </a:moveTo>
                  <a:lnTo>
                    <a:pt x="27" y="217539"/>
                  </a:lnTo>
                  <a:lnTo>
                    <a:pt x="27" y="435079"/>
                  </a:lnTo>
                  <a:lnTo>
                    <a:pt x="217565" y="435079"/>
                  </a:lnTo>
                  <a:close/>
                </a:path>
              </a:pathLst>
            </a:custGeom>
            <a:grpFill/>
            <a:ln w="27192" cap="flat">
              <a:noFill/>
              <a:prstDash val="solid"/>
              <a:miter/>
            </a:ln>
          </p:spPr>
          <p:txBody>
            <a:bodyPr rtlCol="0" anchor="ctr"/>
            <a:lstStyle/>
            <a:p>
              <a:endParaRPr lang="uk-UA" sz="900"/>
            </a:p>
          </p:txBody>
        </p:sp>
        <p:sp>
          <p:nvSpPr>
            <p:cNvPr id="57" name="Freeform: Shape 56">
              <a:extLst>
                <a:ext uri="{FF2B5EF4-FFF2-40B4-BE49-F238E27FC236}">
                  <a16:creationId xmlns:a16="http://schemas.microsoft.com/office/drawing/2014/main" id="{E0863288-197F-9A94-FAF1-162C03875A82}"/>
                </a:ext>
              </a:extLst>
            </p:cNvPr>
            <p:cNvSpPr/>
            <p:nvPr/>
          </p:nvSpPr>
          <p:spPr>
            <a:xfrm>
              <a:off x="22589856" y="228598"/>
              <a:ext cx="435077" cy="435075"/>
            </a:xfrm>
            <a:custGeom>
              <a:avLst/>
              <a:gdLst>
                <a:gd name="connsiteX0" fmla="*/ 217539 w 435077"/>
                <a:gd name="connsiteY0" fmla="*/ 217533 h 435075"/>
                <a:gd name="connsiteX1" fmla="*/ 217539 w 435077"/>
                <a:gd name="connsiteY1" fmla="*/ 0 h 435075"/>
                <a:gd name="connsiteX2" fmla="*/ 0 w 435077"/>
                <a:gd name="connsiteY2" fmla="*/ 0 h 435075"/>
                <a:gd name="connsiteX3" fmla="*/ 217539 w 435077"/>
                <a:gd name="connsiteY3" fmla="*/ 217538 h 435075"/>
                <a:gd name="connsiteX4" fmla="*/ 0 w 435077"/>
                <a:gd name="connsiteY4" fmla="*/ 435076 h 435075"/>
                <a:gd name="connsiteX5" fmla="*/ 217539 w 435077"/>
                <a:gd name="connsiteY5" fmla="*/ 435076 h 435075"/>
                <a:gd name="connsiteX6" fmla="*/ 217539 w 435077"/>
                <a:gd name="connsiteY6" fmla="*/ 435071 h 435075"/>
                <a:gd name="connsiteX7" fmla="*/ 435077 w 435077"/>
                <a:gd name="connsiteY7" fmla="*/ 217542 h 435075"/>
                <a:gd name="connsiteX8" fmla="*/ 435077 w 435077"/>
                <a:gd name="connsiteY8" fmla="*/ 217542 h 435075"/>
                <a:gd name="connsiteX9" fmla="*/ 435077 w 435077"/>
                <a:gd name="connsiteY9" fmla="*/ 217537 h 435075"/>
                <a:gd name="connsiteX10" fmla="*/ 435077 w 435077"/>
                <a:gd name="connsiteY10" fmla="*/ 217533 h 435075"/>
                <a:gd name="connsiteX11" fmla="*/ 435077 w 435077"/>
                <a:gd name="connsiteY11" fmla="*/ 217533 h 435075"/>
                <a:gd name="connsiteX12" fmla="*/ 217539 w 435077"/>
                <a:gd name="connsiteY12" fmla="*/ 4 h 435075"/>
                <a:gd name="connsiteX13" fmla="*/ 217539 w 435077"/>
                <a:gd name="connsiteY13" fmla="*/ 217533 h 435075"/>
                <a:gd name="connsiteX14" fmla="*/ 217539 w 435077"/>
                <a:gd name="connsiteY14" fmla="*/ 217533 h 43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5">
                  <a:moveTo>
                    <a:pt x="217539" y="217533"/>
                  </a:moveTo>
                  <a:lnTo>
                    <a:pt x="217539" y="0"/>
                  </a:lnTo>
                  <a:lnTo>
                    <a:pt x="0" y="0"/>
                  </a:lnTo>
                  <a:lnTo>
                    <a:pt x="217539" y="217538"/>
                  </a:lnTo>
                  <a:lnTo>
                    <a:pt x="0" y="435076"/>
                  </a:lnTo>
                  <a:lnTo>
                    <a:pt x="217539" y="435076"/>
                  </a:lnTo>
                  <a:lnTo>
                    <a:pt x="217539" y="435071"/>
                  </a:lnTo>
                  <a:lnTo>
                    <a:pt x="435077" y="217542"/>
                  </a:lnTo>
                  <a:lnTo>
                    <a:pt x="435077" y="217542"/>
                  </a:lnTo>
                  <a:lnTo>
                    <a:pt x="435077" y="217537"/>
                  </a:lnTo>
                  <a:lnTo>
                    <a:pt x="435077" y="217533"/>
                  </a:lnTo>
                  <a:lnTo>
                    <a:pt x="435077" y="217533"/>
                  </a:lnTo>
                  <a:lnTo>
                    <a:pt x="217539" y="4"/>
                  </a:lnTo>
                  <a:lnTo>
                    <a:pt x="217539" y="217533"/>
                  </a:lnTo>
                  <a:lnTo>
                    <a:pt x="217539" y="217533"/>
                  </a:lnTo>
                  <a:close/>
                </a:path>
              </a:pathLst>
            </a:custGeom>
            <a:grpFill/>
            <a:ln w="27192" cap="flat">
              <a:noFill/>
              <a:prstDash val="solid"/>
              <a:miter/>
            </a:ln>
          </p:spPr>
          <p:txBody>
            <a:bodyPr rtlCol="0" anchor="ctr"/>
            <a:lstStyle/>
            <a:p>
              <a:endParaRPr lang="uk-UA" sz="900"/>
            </a:p>
          </p:txBody>
        </p:sp>
        <p:sp>
          <p:nvSpPr>
            <p:cNvPr id="58" name="Freeform: Shape 57">
              <a:extLst>
                <a:ext uri="{FF2B5EF4-FFF2-40B4-BE49-F238E27FC236}">
                  <a16:creationId xmlns:a16="http://schemas.microsoft.com/office/drawing/2014/main" id="{2E72F664-D34A-F483-4881-C9EE4F4F1F46}"/>
                </a:ext>
              </a:extLst>
            </p:cNvPr>
            <p:cNvSpPr/>
            <p:nvPr/>
          </p:nvSpPr>
          <p:spPr>
            <a:xfrm>
              <a:off x="23460039" y="228598"/>
              <a:ext cx="435077" cy="435067"/>
            </a:xfrm>
            <a:custGeom>
              <a:avLst/>
              <a:gdLst>
                <a:gd name="connsiteX0" fmla="*/ 0 w 435077"/>
                <a:gd name="connsiteY0" fmla="*/ 435065 h 435067"/>
                <a:gd name="connsiteX1" fmla="*/ 217510 w 435077"/>
                <a:gd name="connsiteY1" fmla="*/ 435068 h 435067"/>
                <a:gd name="connsiteX2" fmla="*/ 217510 w 435077"/>
                <a:gd name="connsiteY2" fmla="*/ 217535 h 435067"/>
                <a:gd name="connsiteX3" fmla="*/ 0 w 435077"/>
                <a:gd name="connsiteY3" fmla="*/ 435065 h 435067"/>
                <a:gd name="connsiteX4" fmla="*/ 217539 w 435077"/>
                <a:gd name="connsiteY4" fmla="*/ 0 h 435067"/>
                <a:gd name="connsiteX5" fmla="*/ 0 w 435077"/>
                <a:gd name="connsiteY5" fmla="*/ 0 h 435067"/>
                <a:gd name="connsiteX6" fmla="*/ 217539 w 435077"/>
                <a:gd name="connsiteY6" fmla="*/ 217532 h 435067"/>
                <a:gd name="connsiteX7" fmla="*/ 217539 w 435077"/>
                <a:gd name="connsiteY7" fmla="*/ 0 h 435067"/>
                <a:gd name="connsiteX8" fmla="*/ 435077 w 435077"/>
                <a:gd name="connsiteY8" fmla="*/ 435068 h 435067"/>
                <a:gd name="connsiteX9" fmla="*/ 217539 w 435077"/>
                <a:gd name="connsiteY9" fmla="*/ 435068 h 435067"/>
                <a:gd name="connsiteX10" fmla="*/ 435077 w 435077"/>
                <a:gd name="connsiteY10" fmla="*/ 217535 h 435067"/>
                <a:gd name="connsiteX11" fmla="*/ 435077 w 435077"/>
                <a:gd name="connsiteY11" fmla="*/ 435068 h 435067"/>
                <a:gd name="connsiteX12" fmla="*/ 435077 w 435077"/>
                <a:gd name="connsiteY12" fmla="*/ 0 h 435067"/>
                <a:gd name="connsiteX13" fmla="*/ 217539 w 435077"/>
                <a:gd name="connsiteY13" fmla="*/ 0 h 435067"/>
                <a:gd name="connsiteX14" fmla="*/ 435077 w 435077"/>
                <a:gd name="connsiteY14" fmla="*/ 217532 h 435067"/>
                <a:gd name="connsiteX15" fmla="*/ 435077 w 435077"/>
                <a:gd name="connsiteY15" fmla="*/ 0 h 435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67">
                  <a:moveTo>
                    <a:pt x="0" y="435065"/>
                  </a:moveTo>
                  <a:lnTo>
                    <a:pt x="217510" y="435068"/>
                  </a:lnTo>
                  <a:lnTo>
                    <a:pt x="217510" y="217535"/>
                  </a:lnTo>
                  <a:lnTo>
                    <a:pt x="0" y="435065"/>
                  </a:lnTo>
                  <a:close/>
                  <a:moveTo>
                    <a:pt x="217539" y="0"/>
                  </a:moveTo>
                  <a:lnTo>
                    <a:pt x="0" y="0"/>
                  </a:lnTo>
                  <a:lnTo>
                    <a:pt x="217539" y="217532"/>
                  </a:lnTo>
                  <a:lnTo>
                    <a:pt x="217539" y="0"/>
                  </a:lnTo>
                  <a:close/>
                  <a:moveTo>
                    <a:pt x="435077" y="435068"/>
                  </a:moveTo>
                  <a:lnTo>
                    <a:pt x="217539" y="435068"/>
                  </a:lnTo>
                  <a:lnTo>
                    <a:pt x="435077" y="217535"/>
                  </a:lnTo>
                  <a:lnTo>
                    <a:pt x="435077" y="435068"/>
                  </a:lnTo>
                  <a:close/>
                  <a:moveTo>
                    <a:pt x="435077" y="0"/>
                  </a:moveTo>
                  <a:lnTo>
                    <a:pt x="217539" y="0"/>
                  </a:lnTo>
                  <a:lnTo>
                    <a:pt x="435077" y="217532"/>
                  </a:lnTo>
                  <a:lnTo>
                    <a:pt x="435077" y="0"/>
                  </a:lnTo>
                  <a:close/>
                </a:path>
              </a:pathLst>
            </a:custGeom>
            <a:grpFill/>
            <a:ln w="27192" cap="flat">
              <a:noFill/>
              <a:prstDash val="solid"/>
              <a:miter/>
            </a:ln>
          </p:spPr>
          <p:txBody>
            <a:bodyPr rtlCol="0" anchor="ctr"/>
            <a:lstStyle/>
            <a:p>
              <a:endParaRPr lang="uk-UA" sz="900"/>
            </a:p>
          </p:txBody>
        </p:sp>
        <p:sp>
          <p:nvSpPr>
            <p:cNvPr id="59" name="Freeform: Shape 58">
              <a:extLst>
                <a:ext uri="{FF2B5EF4-FFF2-40B4-BE49-F238E27FC236}">
                  <a16:creationId xmlns:a16="http://schemas.microsoft.com/office/drawing/2014/main" id="{F6722854-A6D8-E508-97C3-5002CDE6E3BF}"/>
                </a:ext>
              </a:extLst>
            </p:cNvPr>
            <p:cNvSpPr/>
            <p:nvPr/>
          </p:nvSpPr>
          <p:spPr>
            <a:xfrm>
              <a:off x="24330194" y="228598"/>
              <a:ext cx="435077" cy="435078"/>
            </a:xfrm>
            <a:custGeom>
              <a:avLst/>
              <a:gdLst>
                <a:gd name="connsiteX0" fmla="*/ 217539 w 435077"/>
                <a:gd name="connsiteY0" fmla="*/ 0 h 435078"/>
                <a:gd name="connsiteX1" fmla="*/ 0 w 435077"/>
                <a:gd name="connsiteY1" fmla="*/ 0 h 435078"/>
                <a:gd name="connsiteX2" fmla="*/ 0 w 435077"/>
                <a:gd name="connsiteY2" fmla="*/ 217539 h 435078"/>
                <a:gd name="connsiteX3" fmla="*/ 0 w 435077"/>
                <a:gd name="connsiteY3" fmla="*/ 435079 h 435078"/>
                <a:gd name="connsiteX4" fmla="*/ 217539 w 435077"/>
                <a:gd name="connsiteY4" fmla="*/ 435079 h 435078"/>
                <a:gd name="connsiteX5" fmla="*/ 435077 w 435077"/>
                <a:gd name="connsiteY5" fmla="*/ 435079 h 435078"/>
                <a:gd name="connsiteX6" fmla="*/ 435077 w 435077"/>
                <a:gd name="connsiteY6" fmla="*/ 217539 h 435078"/>
                <a:gd name="connsiteX7" fmla="*/ 435077 w 435077"/>
                <a:gd name="connsiteY7" fmla="*/ 0 h 435078"/>
                <a:gd name="connsiteX8" fmla="*/ 217539 w 435077"/>
                <a:gd name="connsiteY8" fmla="*/ 0 h 435078"/>
                <a:gd name="connsiteX9" fmla="*/ 217539 w 435077"/>
                <a:gd name="connsiteY9" fmla="*/ 0 h 435078"/>
                <a:gd name="connsiteX10" fmla="*/ 435077 w 435077"/>
                <a:gd name="connsiteY10" fmla="*/ 217539 h 435078"/>
                <a:gd name="connsiteX11" fmla="*/ 217539 w 435077"/>
                <a:gd name="connsiteY11" fmla="*/ 435079 h 435078"/>
                <a:gd name="connsiteX12" fmla="*/ 0 w 435077"/>
                <a:gd name="connsiteY12" fmla="*/ 217539 h 435078"/>
                <a:gd name="connsiteX13" fmla="*/ 217539 w 435077"/>
                <a:gd name="connsiteY13"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8">
                  <a:moveTo>
                    <a:pt x="217539" y="0"/>
                  </a:moveTo>
                  <a:lnTo>
                    <a:pt x="0" y="0"/>
                  </a:lnTo>
                  <a:lnTo>
                    <a:pt x="0" y="217539"/>
                  </a:lnTo>
                  <a:lnTo>
                    <a:pt x="0" y="435079"/>
                  </a:lnTo>
                  <a:lnTo>
                    <a:pt x="217539" y="435079"/>
                  </a:lnTo>
                  <a:lnTo>
                    <a:pt x="435077" y="435079"/>
                  </a:lnTo>
                  <a:lnTo>
                    <a:pt x="435077" y="217539"/>
                  </a:lnTo>
                  <a:lnTo>
                    <a:pt x="435077" y="0"/>
                  </a:lnTo>
                  <a:lnTo>
                    <a:pt x="217539" y="0"/>
                  </a:lnTo>
                  <a:close/>
                  <a:moveTo>
                    <a:pt x="217539" y="0"/>
                  </a:moveTo>
                  <a:lnTo>
                    <a:pt x="435077" y="217539"/>
                  </a:lnTo>
                  <a:lnTo>
                    <a:pt x="217539" y="435079"/>
                  </a:lnTo>
                  <a:lnTo>
                    <a:pt x="0" y="217539"/>
                  </a:lnTo>
                  <a:lnTo>
                    <a:pt x="217539" y="0"/>
                  </a:lnTo>
                  <a:close/>
                </a:path>
              </a:pathLst>
            </a:custGeom>
            <a:grpFill/>
            <a:ln w="27192" cap="flat">
              <a:noFill/>
              <a:prstDash val="solid"/>
              <a:miter/>
            </a:ln>
          </p:spPr>
          <p:txBody>
            <a:bodyPr rtlCol="0" anchor="ctr"/>
            <a:lstStyle/>
            <a:p>
              <a:endParaRPr lang="uk-UA" sz="900"/>
            </a:p>
          </p:txBody>
        </p:sp>
        <p:sp>
          <p:nvSpPr>
            <p:cNvPr id="60" name="Freeform: Shape 59">
              <a:extLst>
                <a:ext uri="{FF2B5EF4-FFF2-40B4-BE49-F238E27FC236}">
                  <a16:creationId xmlns:a16="http://schemas.microsoft.com/office/drawing/2014/main" id="{96B2AD1F-BA53-C415-3A45-F123228B21B8}"/>
                </a:ext>
              </a:extLst>
            </p:cNvPr>
            <p:cNvSpPr/>
            <p:nvPr/>
          </p:nvSpPr>
          <p:spPr>
            <a:xfrm>
              <a:off x="835769" y="1098754"/>
              <a:ext cx="435077" cy="435077"/>
            </a:xfrm>
            <a:custGeom>
              <a:avLst/>
              <a:gdLst>
                <a:gd name="connsiteX0" fmla="*/ 63711 w 435077"/>
                <a:gd name="connsiteY0" fmla="*/ 153824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4 h 435077"/>
                <a:gd name="connsiteX5" fmla="*/ 217539 w 435077"/>
                <a:gd name="connsiteY5" fmla="*/ 217539 h 435077"/>
                <a:gd name="connsiteX6" fmla="*/ 63711 w 435077"/>
                <a:gd name="connsiteY6" fmla="*/ 153824 h 435077"/>
                <a:gd name="connsiteX7" fmla="*/ 63711 w 435077"/>
                <a:gd name="connsiteY7" fmla="*/ 281256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6 h 435077"/>
                <a:gd name="connsiteX12" fmla="*/ 217539 w 435077"/>
                <a:gd name="connsiteY12" fmla="*/ 217539 h 435077"/>
                <a:gd name="connsiteX13" fmla="*/ 63711 w 435077"/>
                <a:gd name="connsiteY13" fmla="*/ 281256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1" y="153824"/>
                  </a:moveTo>
                  <a:cubicBezTo>
                    <a:pt x="22923" y="113028"/>
                    <a:pt x="0" y="57697"/>
                    <a:pt x="0" y="0"/>
                  </a:cubicBezTo>
                  <a:lnTo>
                    <a:pt x="217539" y="0"/>
                  </a:lnTo>
                  <a:lnTo>
                    <a:pt x="435077" y="0"/>
                  </a:lnTo>
                  <a:cubicBezTo>
                    <a:pt x="435077" y="57697"/>
                    <a:pt x="412154" y="113028"/>
                    <a:pt x="371366" y="153824"/>
                  </a:cubicBezTo>
                  <a:cubicBezTo>
                    <a:pt x="330550" y="194621"/>
                    <a:pt x="275213" y="217539"/>
                    <a:pt x="217539" y="217539"/>
                  </a:cubicBezTo>
                  <a:cubicBezTo>
                    <a:pt x="159836" y="217539"/>
                    <a:pt x="104500" y="194621"/>
                    <a:pt x="63711" y="153824"/>
                  </a:cubicBezTo>
                  <a:close/>
                  <a:moveTo>
                    <a:pt x="63711" y="281256"/>
                  </a:moveTo>
                  <a:cubicBezTo>
                    <a:pt x="22923" y="322052"/>
                    <a:pt x="0" y="377383"/>
                    <a:pt x="0" y="435077"/>
                  </a:cubicBezTo>
                  <a:lnTo>
                    <a:pt x="217539" y="435077"/>
                  </a:lnTo>
                  <a:lnTo>
                    <a:pt x="435077" y="435077"/>
                  </a:lnTo>
                  <a:cubicBezTo>
                    <a:pt x="435077" y="377383"/>
                    <a:pt x="412154" y="322052"/>
                    <a:pt x="371366" y="281256"/>
                  </a:cubicBezTo>
                  <a:cubicBezTo>
                    <a:pt x="330550" y="240459"/>
                    <a:pt x="275213" y="217539"/>
                    <a:pt x="217539" y="217539"/>
                  </a:cubicBezTo>
                  <a:cubicBezTo>
                    <a:pt x="159836" y="217539"/>
                    <a:pt x="104500" y="240459"/>
                    <a:pt x="63711" y="281256"/>
                  </a:cubicBezTo>
                  <a:close/>
                </a:path>
              </a:pathLst>
            </a:custGeom>
            <a:grpFill/>
            <a:ln w="27192" cap="flat">
              <a:noFill/>
              <a:prstDash val="solid"/>
              <a:miter/>
            </a:ln>
          </p:spPr>
          <p:txBody>
            <a:bodyPr rtlCol="0" anchor="ctr"/>
            <a:lstStyle/>
            <a:p>
              <a:endParaRPr lang="uk-UA" sz="900"/>
            </a:p>
          </p:txBody>
        </p:sp>
        <p:sp>
          <p:nvSpPr>
            <p:cNvPr id="61" name="Freeform: Shape 60">
              <a:extLst>
                <a:ext uri="{FF2B5EF4-FFF2-40B4-BE49-F238E27FC236}">
                  <a16:creationId xmlns:a16="http://schemas.microsoft.com/office/drawing/2014/main" id="{2F1AEC85-06AE-0768-E639-D26D05F985BF}"/>
                </a:ext>
              </a:extLst>
            </p:cNvPr>
            <p:cNvSpPr/>
            <p:nvPr/>
          </p:nvSpPr>
          <p:spPr>
            <a:xfrm>
              <a:off x="-34398" y="1098754"/>
              <a:ext cx="435063" cy="435077"/>
            </a:xfrm>
            <a:custGeom>
              <a:avLst/>
              <a:gdLst>
                <a:gd name="connsiteX0" fmla="*/ 435064 w 435063"/>
                <a:gd name="connsiteY0" fmla="*/ 435077 h 435077"/>
                <a:gd name="connsiteX1" fmla="*/ 435064 w 435063"/>
                <a:gd name="connsiteY1" fmla="*/ 0 h 435077"/>
                <a:gd name="connsiteX2" fmla="*/ 217552 w 435063"/>
                <a:gd name="connsiteY2" fmla="*/ 217544 h 435077"/>
                <a:gd name="connsiteX3" fmla="*/ 435064 w 435063"/>
                <a:gd name="connsiteY3" fmla="*/ 435077 h 435077"/>
                <a:gd name="connsiteX4" fmla="*/ 0 w 435063"/>
                <a:gd name="connsiteY4" fmla="*/ 435077 h 435077"/>
                <a:gd name="connsiteX5" fmla="*/ 0 w 435063"/>
                <a:gd name="connsiteY5" fmla="*/ 3 h 435077"/>
                <a:gd name="connsiteX6" fmla="*/ 217525 w 435063"/>
                <a:gd name="connsiteY6" fmla="*/ 217544 h 435077"/>
                <a:gd name="connsiteX7" fmla="*/ 0 w 435063"/>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63" h="435077">
                  <a:moveTo>
                    <a:pt x="435064" y="435077"/>
                  </a:moveTo>
                  <a:lnTo>
                    <a:pt x="435064" y="0"/>
                  </a:lnTo>
                  <a:lnTo>
                    <a:pt x="217552" y="217544"/>
                  </a:lnTo>
                  <a:lnTo>
                    <a:pt x="435064" y="435077"/>
                  </a:lnTo>
                  <a:close/>
                  <a:moveTo>
                    <a:pt x="0" y="435077"/>
                  </a:moveTo>
                  <a:lnTo>
                    <a:pt x="0" y="3"/>
                  </a:lnTo>
                  <a:lnTo>
                    <a:pt x="217525" y="217544"/>
                  </a:lnTo>
                  <a:lnTo>
                    <a:pt x="0" y="435077"/>
                  </a:lnTo>
                  <a:close/>
                </a:path>
              </a:pathLst>
            </a:custGeom>
            <a:grpFill/>
            <a:ln w="27192" cap="flat">
              <a:noFill/>
              <a:prstDash val="solid"/>
              <a:miter/>
            </a:ln>
          </p:spPr>
          <p:txBody>
            <a:bodyPr rtlCol="0" anchor="ctr"/>
            <a:lstStyle/>
            <a:p>
              <a:endParaRPr lang="uk-UA" sz="900"/>
            </a:p>
          </p:txBody>
        </p:sp>
        <p:sp>
          <p:nvSpPr>
            <p:cNvPr id="62" name="Freeform: Shape 61">
              <a:extLst>
                <a:ext uri="{FF2B5EF4-FFF2-40B4-BE49-F238E27FC236}">
                  <a16:creationId xmlns:a16="http://schemas.microsoft.com/office/drawing/2014/main" id="{1B2C3C50-8FAD-225E-FB20-08E01DDA3287}"/>
                </a:ext>
              </a:extLst>
            </p:cNvPr>
            <p:cNvSpPr/>
            <p:nvPr/>
          </p:nvSpPr>
          <p:spPr>
            <a:xfrm>
              <a:off x="1705924" y="1098754"/>
              <a:ext cx="435077" cy="435077"/>
            </a:xfrm>
            <a:custGeom>
              <a:avLst/>
              <a:gdLst>
                <a:gd name="connsiteX0" fmla="*/ 435077 w 435077"/>
                <a:gd name="connsiteY0" fmla="*/ 435077 h 435077"/>
                <a:gd name="connsiteX1" fmla="*/ 435077 w 435077"/>
                <a:gd name="connsiteY1" fmla="*/ 217547 h 435077"/>
                <a:gd name="connsiteX2" fmla="*/ 435077 w 435077"/>
                <a:gd name="connsiteY2" fmla="*/ 16 h 435077"/>
                <a:gd name="connsiteX3" fmla="*/ 217566 w 435077"/>
                <a:gd name="connsiteY3" fmla="*/ 16 h 435077"/>
                <a:gd name="connsiteX4" fmla="*/ 435077 w 435077"/>
                <a:gd name="connsiteY4" fmla="*/ 217547 h 435077"/>
                <a:gd name="connsiteX5" fmla="*/ 217566 w 435077"/>
                <a:gd name="connsiteY5" fmla="*/ 435077 h 435077"/>
                <a:gd name="connsiteX6" fmla="*/ 435077 w 435077"/>
                <a:gd name="connsiteY6" fmla="*/ 435077 h 435077"/>
                <a:gd name="connsiteX7" fmla="*/ 0 w 435077"/>
                <a:gd name="connsiteY7" fmla="*/ 217531 h 435077"/>
                <a:gd name="connsiteX8" fmla="*/ 0 w 435077"/>
                <a:gd name="connsiteY8" fmla="*/ 0 h 435077"/>
                <a:gd name="connsiteX9" fmla="*/ 217539 w 435077"/>
                <a:gd name="connsiteY9" fmla="*/ 217531 h 435077"/>
                <a:gd name="connsiteX10" fmla="*/ 0 w 435077"/>
                <a:gd name="connsiteY10" fmla="*/ 217531 h 435077"/>
                <a:gd name="connsiteX11" fmla="*/ 0 w 435077"/>
                <a:gd name="connsiteY11" fmla="*/ 435072 h 435077"/>
                <a:gd name="connsiteX12" fmla="*/ 0 w 435077"/>
                <a:gd name="connsiteY12" fmla="*/ 217541 h 435077"/>
                <a:gd name="connsiteX13" fmla="*/ 217539 w 435077"/>
                <a:gd name="connsiteY13" fmla="*/ 217541 h 435077"/>
                <a:gd name="connsiteX14" fmla="*/ 0 w 435077"/>
                <a:gd name="connsiteY14" fmla="*/ 43507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47"/>
                  </a:lnTo>
                  <a:lnTo>
                    <a:pt x="435077" y="16"/>
                  </a:lnTo>
                  <a:lnTo>
                    <a:pt x="217566" y="16"/>
                  </a:lnTo>
                  <a:lnTo>
                    <a:pt x="435077" y="217547"/>
                  </a:lnTo>
                  <a:lnTo>
                    <a:pt x="217566" y="435077"/>
                  </a:lnTo>
                  <a:lnTo>
                    <a:pt x="435077" y="435077"/>
                  </a:lnTo>
                  <a:close/>
                  <a:moveTo>
                    <a:pt x="0" y="217531"/>
                  </a:moveTo>
                  <a:lnTo>
                    <a:pt x="0" y="0"/>
                  </a:lnTo>
                  <a:lnTo>
                    <a:pt x="217539" y="217531"/>
                  </a:lnTo>
                  <a:lnTo>
                    <a:pt x="0" y="217531"/>
                  </a:lnTo>
                  <a:close/>
                  <a:moveTo>
                    <a:pt x="0" y="435072"/>
                  </a:moveTo>
                  <a:lnTo>
                    <a:pt x="0" y="217541"/>
                  </a:lnTo>
                  <a:lnTo>
                    <a:pt x="217539" y="217541"/>
                  </a:lnTo>
                  <a:lnTo>
                    <a:pt x="0" y="435072"/>
                  </a:lnTo>
                  <a:close/>
                </a:path>
              </a:pathLst>
            </a:custGeom>
            <a:grpFill/>
            <a:ln w="27192" cap="flat">
              <a:noFill/>
              <a:prstDash val="solid"/>
              <a:miter/>
            </a:ln>
          </p:spPr>
          <p:txBody>
            <a:bodyPr rtlCol="0" anchor="ctr"/>
            <a:lstStyle/>
            <a:p>
              <a:endParaRPr lang="uk-UA" sz="900"/>
            </a:p>
          </p:txBody>
        </p:sp>
        <p:sp>
          <p:nvSpPr>
            <p:cNvPr id="63" name="Freeform: Shape 62">
              <a:extLst>
                <a:ext uri="{FF2B5EF4-FFF2-40B4-BE49-F238E27FC236}">
                  <a16:creationId xmlns:a16="http://schemas.microsoft.com/office/drawing/2014/main" id="{5DCE36CC-9783-0645-CB30-3B9EF405A8FE}"/>
                </a:ext>
              </a:extLst>
            </p:cNvPr>
            <p:cNvSpPr/>
            <p:nvPr/>
          </p:nvSpPr>
          <p:spPr>
            <a:xfrm>
              <a:off x="2576106" y="1098754"/>
              <a:ext cx="435077" cy="435077"/>
            </a:xfrm>
            <a:custGeom>
              <a:avLst/>
              <a:gdLst>
                <a:gd name="connsiteX0" fmla="*/ 217539 w 435077"/>
                <a:gd name="connsiteY0" fmla="*/ 435069 h 435077"/>
                <a:gd name="connsiteX1" fmla="*/ 217539 w 435077"/>
                <a:gd name="connsiteY1" fmla="*/ 0 h 435077"/>
                <a:gd name="connsiteX2" fmla="*/ 435077 w 435077"/>
                <a:gd name="connsiteY2" fmla="*/ 217541 h 435077"/>
                <a:gd name="connsiteX3" fmla="*/ 217539 w 435077"/>
                <a:gd name="connsiteY3" fmla="*/ 435069 h 435077"/>
                <a:gd name="connsiteX4" fmla="*/ 0 w 435077"/>
                <a:gd name="connsiteY4" fmla="*/ 435077 h 435077"/>
                <a:gd name="connsiteX5" fmla="*/ 0 w 435077"/>
                <a:gd name="connsiteY5" fmla="*/ 8 h 435077"/>
                <a:gd name="connsiteX6" fmla="*/ 217512 w 435077"/>
                <a:gd name="connsiteY6" fmla="*/ 217547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69"/>
                  </a:moveTo>
                  <a:lnTo>
                    <a:pt x="217539" y="0"/>
                  </a:lnTo>
                  <a:lnTo>
                    <a:pt x="435077" y="217541"/>
                  </a:lnTo>
                  <a:lnTo>
                    <a:pt x="217539" y="435069"/>
                  </a:lnTo>
                  <a:close/>
                  <a:moveTo>
                    <a:pt x="0" y="435077"/>
                  </a:moveTo>
                  <a:lnTo>
                    <a:pt x="0" y="8"/>
                  </a:lnTo>
                  <a:lnTo>
                    <a:pt x="217512" y="217547"/>
                  </a:lnTo>
                  <a:lnTo>
                    <a:pt x="0" y="435077"/>
                  </a:lnTo>
                  <a:close/>
                </a:path>
              </a:pathLst>
            </a:custGeom>
            <a:grpFill/>
            <a:ln w="27192" cap="flat">
              <a:noFill/>
              <a:prstDash val="solid"/>
              <a:miter/>
            </a:ln>
          </p:spPr>
          <p:txBody>
            <a:bodyPr rtlCol="0" anchor="ctr"/>
            <a:lstStyle/>
            <a:p>
              <a:endParaRPr lang="uk-UA" sz="900"/>
            </a:p>
          </p:txBody>
        </p:sp>
        <p:sp>
          <p:nvSpPr>
            <p:cNvPr id="64" name="Freeform: Shape 63">
              <a:extLst>
                <a:ext uri="{FF2B5EF4-FFF2-40B4-BE49-F238E27FC236}">
                  <a16:creationId xmlns:a16="http://schemas.microsoft.com/office/drawing/2014/main" id="{AE6ADF61-B7AC-D9DB-3217-D0B872314B73}"/>
                </a:ext>
              </a:extLst>
            </p:cNvPr>
            <p:cNvSpPr/>
            <p:nvPr/>
          </p:nvSpPr>
          <p:spPr>
            <a:xfrm>
              <a:off x="4316416" y="1098754"/>
              <a:ext cx="435077" cy="435077"/>
            </a:xfrm>
            <a:custGeom>
              <a:avLst/>
              <a:gdLst>
                <a:gd name="connsiteX0" fmla="*/ 63739 w 435077"/>
                <a:gd name="connsiteY0" fmla="*/ 153824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4 h 435077"/>
                <a:gd name="connsiteX5" fmla="*/ 217539 w 435077"/>
                <a:gd name="connsiteY5" fmla="*/ 217539 h 435077"/>
                <a:gd name="connsiteX6" fmla="*/ 63739 w 435077"/>
                <a:gd name="connsiteY6" fmla="*/ 153824 h 435077"/>
                <a:gd name="connsiteX7" fmla="*/ 63739 w 435077"/>
                <a:gd name="connsiteY7" fmla="*/ 281256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6 h 435077"/>
                <a:gd name="connsiteX12" fmla="*/ 217539 w 435077"/>
                <a:gd name="connsiteY12" fmla="*/ 217539 h 435077"/>
                <a:gd name="connsiteX13" fmla="*/ 63739 w 435077"/>
                <a:gd name="connsiteY13" fmla="*/ 281256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4"/>
                  </a:moveTo>
                  <a:cubicBezTo>
                    <a:pt x="22923" y="113028"/>
                    <a:pt x="0" y="57697"/>
                    <a:pt x="0" y="0"/>
                  </a:cubicBezTo>
                  <a:lnTo>
                    <a:pt x="217539" y="0"/>
                  </a:lnTo>
                  <a:lnTo>
                    <a:pt x="435077" y="0"/>
                  </a:lnTo>
                  <a:cubicBezTo>
                    <a:pt x="435077" y="57697"/>
                    <a:pt x="412181" y="113028"/>
                    <a:pt x="371365" y="153824"/>
                  </a:cubicBezTo>
                  <a:cubicBezTo>
                    <a:pt x="330577" y="194621"/>
                    <a:pt x="275240" y="217539"/>
                    <a:pt x="217539" y="217539"/>
                  </a:cubicBezTo>
                  <a:cubicBezTo>
                    <a:pt x="159864" y="217539"/>
                    <a:pt x="104527" y="194621"/>
                    <a:pt x="63739" y="153824"/>
                  </a:cubicBezTo>
                  <a:close/>
                  <a:moveTo>
                    <a:pt x="63739" y="281256"/>
                  </a:moveTo>
                  <a:cubicBezTo>
                    <a:pt x="22923" y="322052"/>
                    <a:pt x="0" y="377383"/>
                    <a:pt x="0" y="435077"/>
                  </a:cubicBezTo>
                  <a:lnTo>
                    <a:pt x="217539" y="435077"/>
                  </a:lnTo>
                  <a:lnTo>
                    <a:pt x="435077" y="435077"/>
                  </a:lnTo>
                  <a:cubicBezTo>
                    <a:pt x="435077" y="377383"/>
                    <a:pt x="412181" y="322052"/>
                    <a:pt x="371365" y="281256"/>
                  </a:cubicBezTo>
                  <a:cubicBezTo>
                    <a:pt x="330577" y="240459"/>
                    <a:pt x="275240" y="217539"/>
                    <a:pt x="217539" y="217539"/>
                  </a:cubicBezTo>
                  <a:cubicBezTo>
                    <a:pt x="159864" y="217539"/>
                    <a:pt x="104527" y="240459"/>
                    <a:pt x="63739" y="281256"/>
                  </a:cubicBezTo>
                  <a:close/>
                </a:path>
              </a:pathLst>
            </a:custGeom>
            <a:grpFill/>
            <a:ln w="27192" cap="flat">
              <a:noFill/>
              <a:prstDash val="solid"/>
              <a:miter/>
            </a:ln>
          </p:spPr>
          <p:txBody>
            <a:bodyPr rtlCol="0" anchor="ctr"/>
            <a:lstStyle/>
            <a:p>
              <a:endParaRPr lang="uk-UA" sz="900"/>
            </a:p>
          </p:txBody>
        </p:sp>
        <p:sp>
          <p:nvSpPr>
            <p:cNvPr id="65" name="Freeform: Shape 64">
              <a:extLst>
                <a:ext uri="{FF2B5EF4-FFF2-40B4-BE49-F238E27FC236}">
                  <a16:creationId xmlns:a16="http://schemas.microsoft.com/office/drawing/2014/main" id="{E701BD98-055B-7DB0-004A-F1CC1D4CB4A5}"/>
                </a:ext>
              </a:extLst>
            </p:cNvPr>
            <p:cNvSpPr/>
            <p:nvPr/>
          </p:nvSpPr>
          <p:spPr>
            <a:xfrm>
              <a:off x="3446261" y="1098754"/>
              <a:ext cx="435077" cy="435077"/>
            </a:xfrm>
            <a:custGeom>
              <a:avLst/>
              <a:gdLst>
                <a:gd name="connsiteX0" fmla="*/ 435077 w 435077"/>
                <a:gd name="connsiteY0" fmla="*/ 435077 h 435077"/>
                <a:gd name="connsiteX1" fmla="*/ 435077 w 435077"/>
                <a:gd name="connsiteY1" fmla="*/ 0 h 435077"/>
                <a:gd name="connsiteX2" fmla="*/ 217566 w 435077"/>
                <a:gd name="connsiteY2" fmla="*/ 217544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44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6" y="217544"/>
                  </a:lnTo>
                  <a:lnTo>
                    <a:pt x="435077" y="435077"/>
                  </a:lnTo>
                  <a:close/>
                  <a:moveTo>
                    <a:pt x="0" y="435077"/>
                  </a:moveTo>
                  <a:lnTo>
                    <a:pt x="0" y="3"/>
                  </a:lnTo>
                  <a:lnTo>
                    <a:pt x="217539" y="217544"/>
                  </a:lnTo>
                  <a:lnTo>
                    <a:pt x="0" y="435077"/>
                  </a:lnTo>
                  <a:close/>
                </a:path>
              </a:pathLst>
            </a:custGeom>
            <a:grpFill/>
            <a:ln w="27192" cap="flat">
              <a:noFill/>
              <a:prstDash val="solid"/>
              <a:miter/>
            </a:ln>
          </p:spPr>
          <p:txBody>
            <a:bodyPr rtlCol="0" anchor="ctr"/>
            <a:lstStyle/>
            <a:p>
              <a:endParaRPr lang="uk-UA" sz="900"/>
            </a:p>
          </p:txBody>
        </p:sp>
        <p:sp>
          <p:nvSpPr>
            <p:cNvPr id="66" name="Freeform: Shape 65">
              <a:extLst>
                <a:ext uri="{FF2B5EF4-FFF2-40B4-BE49-F238E27FC236}">
                  <a16:creationId xmlns:a16="http://schemas.microsoft.com/office/drawing/2014/main" id="{2200CEA7-4387-CF5F-8803-730913162010}"/>
                </a:ext>
              </a:extLst>
            </p:cNvPr>
            <p:cNvSpPr/>
            <p:nvPr/>
          </p:nvSpPr>
          <p:spPr>
            <a:xfrm>
              <a:off x="5186597" y="1098754"/>
              <a:ext cx="435077" cy="435077"/>
            </a:xfrm>
            <a:custGeom>
              <a:avLst/>
              <a:gdLst>
                <a:gd name="connsiteX0" fmla="*/ 435077 w 435077"/>
                <a:gd name="connsiteY0" fmla="*/ 435077 h 435077"/>
                <a:gd name="connsiteX1" fmla="*/ 435077 w 435077"/>
                <a:gd name="connsiteY1" fmla="*/ 217547 h 435077"/>
                <a:gd name="connsiteX2" fmla="*/ 435077 w 435077"/>
                <a:gd name="connsiteY2" fmla="*/ 16 h 435077"/>
                <a:gd name="connsiteX3" fmla="*/ 217539 w 435077"/>
                <a:gd name="connsiteY3" fmla="*/ 16 h 435077"/>
                <a:gd name="connsiteX4" fmla="*/ 435077 w 435077"/>
                <a:gd name="connsiteY4" fmla="*/ 217547 h 435077"/>
                <a:gd name="connsiteX5" fmla="*/ 217539 w 435077"/>
                <a:gd name="connsiteY5" fmla="*/ 435077 h 435077"/>
                <a:gd name="connsiteX6" fmla="*/ 435077 w 435077"/>
                <a:gd name="connsiteY6" fmla="*/ 435077 h 435077"/>
                <a:gd name="connsiteX7" fmla="*/ 0 w 435077"/>
                <a:gd name="connsiteY7" fmla="*/ 217531 h 435077"/>
                <a:gd name="connsiteX8" fmla="*/ 0 w 435077"/>
                <a:gd name="connsiteY8" fmla="*/ 0 h 435077"/>
                <a:gd name="connsiteX9" fmla="*/ 217512 w 435077"/>
                <a:gd name="connsiteY9" fmla="*/ 217531 h 435077"/>
                <a:gd name="connsiteX10" fmla="*/ 0 w 435077"/>
                <a:gd name="connsiteY10" fmla="*/ 217531 h 435077"/>
                <a:gd name="connsiteX11" fmla="*/ 0 w 435077"/>
                <a:gd name="connsiteY11" fmla="*/ 435072 h 435077"/>
                <a:gd name="connsiteX12" fmla="*/ 0 w 435077"/>
                <a:gd name="connsiteY12" fmla="*/ 217541 h 435077"/>
                <a:gd name="connsiteX13" fmla="*/ 217512 w 435077"/>
                <a:gd name="connsiteY13" fmla="*/ 217541 h 435077"/>
                <a:gd name="connsiteX14" fmla="*/ 0 w 435077"/>
                <a:gd name="connsiteY14" fmla="*/ 43507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47"/>
                  </a:lnTo>
                  <a:lnTo>
                    <a:pt x="435077" y="16"/>
                  </a:lnTo>
                  <a:lnTo>
                    <a:pt x="217539" y="16"/>
                  </a:lnTo>
                  <a:lnTo>
                    <a:pt x="435077" y="217547"/>
                  </a:lnTo>
                  <a:lnTo>
                    <a:pt x="217539" y="435077"/>
                  </a:lnTo>
                  <a:lnTo>
                    <a:pt x="435077" y="435077"/>
                  </a:lnTo>
                  <a:close/>
                  <a:moveTo>
                    <a:pt x="0" y="217531"/>
                  </a:moveTo>
                  <a:lnTo>
                    <a:pt x="0" y="0"/>
                  </a:lnTo>
                  <a:lnTo>
                    <a:pt x="217512" y="217531"/>
                  </a:lnTo>
                  <a:lnTo>
                    <a:pt x="0" y="217531"/>
                  </a:lnTo>
                  <a:close/>
                  <a:moveTo>
                    <a:pt x="0" y="435072"/>
                  </a:moveTo>
                  <a:lnTo>
                    <a:pt x="0" y="217541"/>
                  </a:lnTo>
                  <a:lnTo>
                    <a:pt x="217512" y="217541"/>
                  </a:lnTo>
                  <a:lnTo>
                    <a:pt x="0" y="435072"/>
                  </a:lnTo>
                  <a:close/>
                </a:path>
              </a:pathLst>
            </a:custGeom>
            <a:grpFill/>
            <a:ln w="27192" cap="flat">
              <a:noFill/>
              <a:prstDash val="solid"/>
              <a:miter/>
            </a:ln>
          </p:spPr>
          <p:txBody>
            <a:bodyPr rtlCol="0" anchor="ctr"/>
            <a:lstStyle/>
            <a:p>
              <a:endParaRPr lang="uk-UA" sz="900"/>
            </a:p>
          </p:txBody>
        </p:sp>
        <p:sp>
          <p:nvSpPr>
            <p:cNvPr id="67" name="Freeform: Shape 66">
              <a:extLst>
                <a:ext uri="{FF2B5EF4-FFF2-40B4-BE49-F238E27FC236}">
                  <a16:creationId xmlns:a16="http://schemas.microsoft.com/office/drawing/2014/main" id="{EF714151-5FB7-F031-50A1-5F5EF9770B01}"/>
                </a:ext>
              </a:extLst>
            </p:cNvPr>
            <p:cNvSpPr/>
            <p:nvPr/>
          </p:nvSpPr>
          <p:spPr>
            <a:xfrm>
              <a:off x="6056752" y="1098754"/>
              <a:ext cx="435077" cy="435077"/>
            </a:xfrm>
            <a:custGeom>
              <a:avLst/>
              <a:gdLst>
                <a:gd name="connsiteX0" fmla="*/ 217539 w 435077"/>
                <a:gd name="connsiteY0" fmla="*/ 435069 h 435077"/>
                <a:gd name="connsiteX1" fmla="*/ 217539 w 435077"/>
                <a:gd name="connsiteY1" fmla="*/ 0 h 435077"/>
                <a:gd name="connsiteX2" fmla="*/ 435077 w 435077"/>
                <a:gd name="connsiteY2" fmla="*/ 217541 h 435077"/>
                <a:gd name="connsiteX3" fmla="*/ 217539 w 435077"/>
                <a:gd name="connsiteY3" fmla="*/ 435069 h 435077"/>
                <a:gd name="connsiteX4" fmla="*/ 0 w 435077"/>
                <a:gd name="connsiteY4" fmla="*/ 435077 h 435077"/>
                <a:gd name="connsiteX5" fmla="*/ 0 w 435077"/>
                <a:gd name="connsiteY5" fmla="*/ 8 h 435077"/>
                <a:gd name="connsiteX6" fmla="*/ 217539 w 435077"/>
                <a:gd name="connsiteY6" fmla="*/ 217547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69"/>
                  </a:moveTo>
                  <a:lnTo>
                    <a:pt x="217539" y="0"/>
                  </a:lnTo>
                  <a:lnTo>
                    <a:pt x="435077" y="217541"/>
                  </a:lnTo>
                  <a:lnTo>
                    <a:pt x="217539" y="435069"/>
                  </a:lnTo>
                  <a:close/>
                  <a:moveTo>
                    <a:pt x="0" y="435077"/>
                  </a:moveTo>
                  <a:lnTo>
                    <a:pt x="0" y="8"/>
                  </a:lnTo>
                  <a:lnTo>
                    <a:pt x="217539" y="217547"/>
                  </a:lnTo>
                  <a:lnTo>
                    <a:pt x="0" y="435077"/>
                  </a:lnTo>
                  <a:close/>
                </a:path>
              </a:pathLst>
            </a:custGeom>
            <a:grpFill/>
            <a:ln w="27192" cap="flat">
              <a:noFill/>
              <a:prstDash val="solid"/>
              <a:miter/>
            </a:ln>
          </p:spPr>
          <p:txBody>
            <a:bodyPr rtlCol="0" anchor="ctr"/>
            <a:lstStyle/>
            <a:p>
              <a:endParaRPr lang="uk-UA" sz="900"/>
            </a:p>
          </p:txBody>
        </p:sp>
        <p:sp>
          <p:nvSpPr>
            <p:cNvPr id="68" name="Freeform: Shape 67">
              <a:extLst>
                <a:ext uri="{FF2B5EF4-FFF2-40B4-BE49-F238E27FC236}">
                  <a16:creationId xmlns:a16="http://schemas.microsoft.com/office/drawing/2014/main" id="{171EB642-6A49-4C6E-B0F8-3BD57568C1E7}"/>
                </a:ext>
              </a:extLst>
            </p:cNvPr>
            <p:cNvSpPr/>
            <p:nvPr/>
          </p:nvSpPr>
          <p:spPr>
            <a:xfrm>
              <a:off x="7797062" y="1098754"/>
              <a:ext cx="435077" cy="435077"/>
            </a:xfrm>
            <a:custGeom>
              <a:avLst/>
              <a:gdLst>
                <a:gd name="connsiteX0" fmla="*/ 63739 w 435077"/>
                <a:gd name="connsiteY0" fmla="*/ 153824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4 h 435077"/>
                <a:gd name="connsiteX5" fmla="*/ 217539 w 435077"/>
                <a:gd name="connsiteY5" fmla="*/ 217539 h 435077"/>
                <a:gd name="connsiteX6" fmla="*/ 63739 w 435077"/>
                <a:gd name="connsiteY6" fmla="*/ 153824 h 435077"/>
                <a:gd name="connsiteX7" fmla="*/ 63739 w 435077"/>
                <a:gd name="connsiteY7" fmla="*/ 281256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6 h 435077"/>
                <a:gd name="connsiteX12" fmla="*/ 217539 w 435077"/>
                <a:gd name="connsiteY12" fmla="*/ 217539 h 435077"/>
                <a:gd name="connsiteX13" fmla="*/ 63739 w 435077"/>
                <a:gd name="connsiteY13" fmla="*/ 281256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4"/>
                  </a:moveTo>
                  <a:cubicBezTo>
                    <a:pt x="22924" y="113028"/>
                    <a:pt x="0" y="57697"/>
                    <a:pt x="0" y="0"/>
                  </a:cubicBezTo>
                  <a:lnTo>
                    <a:pt x="217539" y="0"/>
                  </a:lnTo>
                  <a:lnTo>
                    <a:pt x="435077" y="0"/>
                  </a:lnTo>
                  <a:cubicBezTo>
                    <a:pt x="435077" y="57697"/>
                    <a:pt x="412182" y="113028"/>
                    <a:pt x="371366" y="153824"/>
                  </a:cubicBezTo>
                  <a:cubicBezTo>
                    <a:pt x="330578" y="194621"/>
                    <a:pt x="275241" y="217539"/>
                    <a:pt x="217539" y="217539"/>
                  </a:cubicBezTo>
                  <a:cubicBezTo>
                    <a:pt x="159864" y="217539"/>
                    <a:pt x="104527" y="194621"/>
                    <a:pt x="63739" y="153824"/>
                  </a:cubicBezTo>
                  <a:close/>
                  <a:moveTo>
                    <a:pt x="63739" y="281256"/>
                  </a:moveTo>
                  <a:cubicBezTo>
                    <a:pt x="22924" y="322052"/>
                    <a:pt x="0" y="377383"/>
                    <a:pt x="0" y="435077"/>
                  </a:cubicBezTo>
                  <a:lnTo>
                    <a:pt x="217539" y="435077"/>
                  </a:lnTo>
                  <a:lnTo>
                    <a:pt x="435077" y="435077"/>
                  </a:lnTo>
                  <a:cubicBezTo>
                    <a:pt x="435077" y="377383"/>
                    <a:pt x="412182" y="322052"/>
                    <a:pt x="371366" y="281256"/>
                  </a:cubicBezTo>
                  <a:cubicBezTo>
                    <a:pt x="330578" y="240459"/>
                    <a:pt x="275241" y="217539"/>
                    <a:pt x="217539" y="217539"/>
                  </a:cubicBezTo>
                  <a:cubicBezTo>
                    <a:pt x="159864" y="217539"/>
                    <a:pt x="104527" y="240459"/>
                    <a:pt x="63739" y="281256"/>
                  </a:cubicBezTo>
                  <a:close/>
                </a:path>
              </a:pathLst>
            </a:custGeom>
            <a:grpFill/>
            <a:ln w="27192" cap="flat">
              <a:noFill/>
              <a:prstDash val="solid"/>
              <a:miter/>
            </a:ln>
          </p:spPr>
          <p:txBody>
            <a:bodyPr rtlCol="0" anchor="ctr"/>
            <a:lstStyle/>
            <a:p>
              <a:endParaRPr lang="uk-UA" sz="900"/>
            </a:p>
          </p:txBody>
        </p:sp>
        <p:sp>
          <p:nvSpPr>
            <p:cNvPr id="69" name="Freeform: Shape 68">
              <a:extLst>
                <a:ext uri="{FF2B5EF4-FFF2-40B4-BE49-F238E27FC236}">
                  <a16:creationId xmlns:a16="http://schemas.microsoft.com/office/drawing/2014/main" id="{BB89ADA1-D83A-FC12-6F28-B6EE07C5C967}"/>
                </a:ext>
              </a:extLst>
            </p:cNvPr>
            <p:cNvSpPr/>
            <p:nvPr/>
          </p:nvSpPr>
          <p:spPr>
            <a:xfrm>
              <a:off x="6926907" y="1098754"/>
              <a:ext cx="435077" cy="435077"/>
            </a:xfrm>
            <a:custGeom>
              <a:avLst/>
              <a:gdLst>
                <a:gd name="connsiteX0" fmla="*/ 435077 w 435077"/>
                <a:gd name="connsiteY0" fmla="*/ 435077 h 435077"/>
                <a:gd name="connsiteX1" fmla="*/ 435077 w 435077"/>
                <a:gd name="connsiteY1" fmla="*/ 0 h 435077"/>
                <a:gd name="connsiteX2" fmla="*/ 217566 w 435077"/>
                <a:gd name="connsiteY2" fmla="*/ 217544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44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6" y="217544"/>
                  </a:lnTo>
                  <a:lnTo>
                    <a:pt x="435077" y="435077"/>
                  </a:lnTo>
                  <a:close/>
                  <a:moveTo>
                    <a:pt x="0" y="435077"/>
                  </a:moveTo>
                  <a:lnTo>
                    <a:pt x="0" y="3"/>
                  </a:lnTo>
                  <a:lnTo>
                    <a:pt x="217539" y="217544"/>
                  </a:lnTo>
                  <a:lnTo>
                    <a:pt x="0" y="435077"/>
                  </a:lnTo>
                  <a:close/>
                </a:path>
              </a:pathLst>
            </a:custGeom>
            <a:grpFill/>
            <a:ln w="27192" cap="flat">
              <a:noFill/>
              <a:prstDash val="solid"/>
              <a:miter/>
            </a:ln>
          </p:spPr>
          <p:txBody>
            <a:bodyPr rtlCol="0" anchor="ctr"/>
            <a:lstStyle/>
            <a:p>
              <a:endParaRPr lang="uk-UA" sz="900"/>
            </a:p>
          </p:txBody>
        </p:sp>
        <p:sp>
          <p:nvSpPr>
            <p:cNvPr id="70" name="Freeform: Shape 69">
              <a:extLst>
                <a:ext uri="{FF2B5EF4-FFF2-40B4-BE49-F238E27FC236}">
                  <a16:creationId xmlns:a16="http://schemas.microsoft.com/office/drawing/2014/main" id="{0D66C707-813D-C9A2-E84E-25FD0AE0F37E}"/>
                </a:ext>
              </a:extLst>
            </p:cNvPr>
            <p:cNvSpPr/>
            <p:nvPr/>
          </p:nvSpPr>
          <p:spPr>
            <a:xfrm>
              <a:off x="8667217" y="1098754"/>
              <a:ext cx="435077" cy="435077"/>
            </a:xfrm>
            <a:custGeom>
              <a:avLst/>
              <a:gdLst>
                <a:gd name="connsiteX0" fmla="*/ 435077 w 435077"/>
                <a:gd name="connsiteY0" fmla="*/ 435077 h 435077"/>
                <a:gd name="connsiteX1" fmla="*/ 435077 w 435077"/>
                <a:gd name="connsiteY1" fmla="*/ 217547 h 435077"/>
                <a:gd name="connsiteX2" fmla="*/ 435077 w 435077"/>
                <a:gd name="connsiteY2" fmla="*/ 16 h 435077"/>
                <a:gd name="connsiteX3" fmla="*/ 217566 w 435077"/>
                <a:gd name="connsiteY3" fmla="*/ 16 h 435077"/>
                <a:gd name="connsiteX4" fmla="*/ 435077 w 435077"/>
                <a:gd name="connsiteY4" fmla="*/ 217547 h 435077"/>
                <a:gd name="connsiteX5" fmla="*/ 217566 w 435077"/>
                <a:gd name="connsiteY5" fmla="*/ 435077 h 435077"/>
                <a:gd name="connsiteX6" fmla="*/ 435077 w 435077"/>
                <a:gd name="connsiteY6" fmla="*/ 435077 h 435077"/>
                <a:gd name="connsiteX7" fmla="*/ 0 w 435077"/>
                <a:gd name="connsiteY7" fmla="*/ 217531 h 435077"/>
                <a:gd name="connsiteX8" fmla="*/ 0 w 435077"/>
                <a:gd name="connsiteY8" fmla="*/ 0 h 435077"/>
                <a:gd name="connsiteX9" fmla="*/ 217539 w 435077"/>
                <a:gd name="connsiteY9" fmla="*/ 217531 h 435077"/>
                <a:gd name="connsiteX10" fmla="*/ 0 w 435077"/>
                <a:gd name="connsiteY10" fmla="*/ 217531 h 435077"/>
                <a:gd name="connsiteX11" fmla="*/ 0 w 435077"/>
                <a:gd name="connsiteY11" fmla="*/ 435072 h 435077"/>
                <a:gd name="connsiteX12" fmla="*/ 0 w 435077"/>
                <a:gd name="connsiteY12" fmla="*/ 217541 h 435077"/>
                <a:gd name="connsiteX13" fmla="*/ 217539 w 435077"/>
                <a:gd name="connsiteY13" fmla="*/ 217541 h 435077"/>
                <a:gd name="connsiteX14" fmla="*/ 0 w 435077"/>
                <a:gd name="connsiteY14" fmla="*/ 43507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47"/>
                  </a:lnTo>
                  <a:lnTo>
                    <a:pt x="435077" y="16"/>
                  </a:lnTo>
                  <a:lnTo>
                    <a:pt x="217566" y="16"/>
                  </a:lnTo>
                  <a:lnTo>
                    <a:pt x="435077" y="217547"/>
                  </a:lnTo>
                  <a:lnTo>
                    <a:pt x="217566" y="435077"/>
                  </a:lnTo>
                  <a:lnTo>
                    <a:pt x="435077" y="435077"/>
                  </a:lnTo>
                  <a:close/>
                  <a:moveTo>
                    <a:pt x="0" y="217531"/>
                  </a:moveTo>
                  <a:lnTo>
                    <a:pt x="0" y="0"/>
                  </a:lnTo>
                  <a:lnTo>
                    <a:pt x="217539" y="217531"/>
                  </a:lnTo>
                  <a:lnTo>
                    <a:pt x="0" y="217531"/>
                  </a:lnTo>
                  <a:close/>
                  <a:moveTo>
                    <a:pt x="0" y="435072"/>
                  </a:moveTo>
                  <a:lnTo>
                    <a:pt x="0" y="217541"/>
                  </a:lnTo>
                  <a:lnTo>
                    <a:pt x="217539" y="217541"/>
                  </a:lnTo>
                  <a:lnTo>
                    <a:pt x="0" y="435072"/>
                  </a:lnTo>
                  <a:close/>
                </a:path>
              </a:pathLst>
            </a:custGeom>
            <a:grpFill/>
            <a:ln w="27192" cap="flat">
              <a:noFill/>
              <a:prstDash val="solid"/>
              <a:miter/>
            </a:ln>
          </p:spPr>
          <p:txBody>
            <a:bodyPr rtlCol="0" anchor="ctr"/>
            <a:lstStyle/>
            <a:p>
              <a:endParaRPr lang="uk-UA" sz="900"/>
            </a:p>
          </p:txBody>
        </p:sp>
        <p:sp>
          <p:nvSpPr>
            <p:cNvPr id="71" name="Freeform: Shape 70">
              <a:extLst>
                <a:ext uri="{FF2B5EF4-FFF2-40B4-BE49-F238E27FC236}">
                  <a16:creationId xmlns:a16="http://schemas.microsoft.com/office/drawing/2014/main" id="{456480EC-0F4F-6C23-B514-1E3B61B4EA04}"/>
                </a:ext>
              </a:extLst>
            </p:cNvPr>
            <p:cNvSpPr/>
            <p:nvPr/>
          </p:nvSpPr>
          <p:spPr>
            <a:xfrm>
              <a:off x="9537399" y="1098754"/>
              <a:ext cx="435077" cy="435077"/>
            </a:xfrm>
            <a:custGeom>
              <a:avLst/>
              <a:gdLst>
                <a:gd name="connsiteX0" fmla="*/ 217539 w 435077"/>
                <a:gd name="connsiteY0" fmla="*/ 435069 h 435077"/>
                <a:gd name="connsiteX1" fmla="*/ 217539 w 435077"/>
                <a:gd name="connsiteY1" fmla="*/ 0 h 435077"/>
                <a:gd name="connsiteX2" fmla="*/ 435077 w 435077"/>
                <a:gd name="connsiteY2" fmla="*/ 217541 h 435077"/>
                <a:gd name="connsiteX3" fmla="*/ 217539 w 435077"/>
                <a:gd name="connsiteY3" fmla="*/ 435069 h 435077"/>
                <a:gd name="connsiteX4" fmla="*/ 0 w 435077"/>
                <a:gd name="connsiteY4" fmla="*/ 435077 h 435077"/>
                <a:gd name="connsiteX5" fmla="*/ 0 w 435077"/>
                <a:gd name="connsiteY5" fmla="*/ 8 h 435077"/>
                <a:gd name="connsiteX6" fmla="*/ 217539 w 435077"/>
                <a:gd name="connsiteY6" fmla="*/ 217547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69"/>
                  </a:moveTo>
                  <a:lnTo>
                    <a:pt x="217539" y="0"/>
                  </a:lnTo>
                  <a:lnTo>
                    <a:pt x="435077" y="217541"/>
                  </a:lnTo>
                  <a:lnTo>
                    <a:pt x="217539" y="435069"/>
                  </a:lnTo>
                  <a:close/>
                  <a:moveTo>
                    <a:pt x="0" y="435077"/>
                  </a:moveTo>
                  <a:lnTo>
                    <a:pt x="0" y="8"/>
                  </a:lnTo>
                  <a:lnTo>
                    <a:pt x="217539" y="217547"/>
                  </a:lnTo>
                  <a:lnTo>
                    <a:pt x="0" y="435077"/>
                  </a:lnTo>
                  <a:close/>
                </a:path>
              </a:pathLst>
            </a:custGeom>
            <a:grpFill/>
            <a:ln w="27192" cap="flat">
              <a:noFill/>
              <a:prstDash val="solid"/>
              <a:miter/>
            </a:ln>
          </p:spPr>
          <p:txBody>
            <a:bodyPr rtlCol="0" anchor="ctr"/>
            <a:lstStyle/>
            <a:p>
              <a:endParaRPr lang="uk-UA" sz="900"/>
            </a:p>
          </p:txBody>
        </p:sp>
        <p:sp>
          <p:nvSpPr>
            <p:cNvPr id="72" name="Freeform: Shape 71">
              <a:extLst>
                <a:ext uri="{FF2B5EF4-FFF2-40B4-BE49-F238E27FC236}">
                  <a16:creationId xmlns:a16="http://schemas.microsoft.com/office/drawing/2014/main" id="{0D1DA0A7-C282-708A-B881-4248E519F0CE}"/>
                </a:ext>
              </a:extLst>
            </p:cNvPr>
            <p:cNvSpPr/>
            <p:nvPr/>
          </p:nvSpPr>
          <p:spPr>
            <a:xfrm>
              <a:off x="11277709" y="1098754"/>
              <a:ext cx="435077" cy="435077"/>
            </a:xfrm>
            <a:custGeom>
              <a:avLst/>
              <a:gdLst>
                <a:gd name="connsiteX0" fmla="*/ 63710 w 435077"/>
                <a:gd name="connsiteY0" fmla="*/ 153824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4 h 435077"/>
                <a:gd name="connsiteX5" fmla="*/ 217539 w 435077"/>
                <a:gd name="connsiteY5" fmla="*/ 217539 h 435077"/>
                <a:gd name="connsiteX6" fmla="*/ 63710 w 435077"/>
                <a:gd name="connsiteY6" fmla="*/ 153824 h 435077"/>
                <a:gd name="connsiteX7" fmla="*/ 63710 w 435077"/>
                <a:gd name="connsiteY7" fmla="*/ 281256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6 h 435077"/>
                <a:gd name="connsiteX12" fmla="*/ 217539 w 435077"/>
                <a:gd name="connsiteY12" fmla="*/ 217539 h 435077"/>
                <a:gd name="connsiteX13" fmla="*/ 63710 w 435077"/>
                <a:gd name="connsiteY13" fmla="*/ 281256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4"/>
                  </a:moveTo>
                  <a:cubicBezTo>
                    <a:pt x="22922" y="113028"/>
                    <a:pt x="0" y="57697"/>
                    <a:pt x="0" y="0"/>
                  </a:cubicBezTo>
                  <a:lnTo>
                    <a:pt x="217539" y="0"/>
                  </a:lnTo>
                  <a:lnTo>
                    <a:pt x="435077" y="0"/>
                  </a:lnTo>
                  <a:cubicBezTo>
                    <a:pt x="435077" y="57697"/>
                    <a:pt x="412154" y="113028"/>
                    <a:pt x="371365" y="153824"/>
                  </a:cubicBezTo>
                  <a:cubicBezTo>
                    <a:pt x="330549" y="194621"/>
                    <a:pt x="275239" y="217539"/>
                    <a:pt x="217539" y="217539"/>
                  </a:cubicBezTo>
                  <a:cubicBezTo>
                    <a:pt x="159836" y="217539"/>
                    <a:pt x="104499" y="194621"/>
                    <a:pt x="63710" y="153824"/>
                  </a:cubicBezTo>
                  <a:close/>
                  <a:moveTo>
                    <a:pt x="63710" y="281256"/>
                  </a:moveTo>
                  <a:cubicBezTo>
                    <a:pt x="22922" y="322052"/>
                    <a:pt x="0" y="377383"/>
                    <a:pt x="0" y="435077"/>
                  </a:cubicBezTo>
                  <a:lnTo>
                    <a:pt x="217539" y="435077"/>
                  </a:lnTo>
                  <a:lnTo>
                    <a:pt x="435077" y="435077"/>
                  </a:lnTo>
                  <a:cubicBezTo>
                    <a:pt x="435077" y="377383"/>
                    <a:pt x="412154" y="322052"/>
                    <a:pt x="371365" y="281256"/>
                  </a:cubicBezTo>
                  <a:cubicBezTo>
                    <a:pt x="330549" y="240459"/>
                    <a:pt x="275239" y="217539"/>
                    <a:pt x="217539" y="217539"/>
                  </a:cubicBezTo>
                  <a:cubicBezTo>
                    <a:pt x="159836" y="217539"/>
                    <a:pt x="104499" y="240459"/>
                    <a:pt x="63710" y="281256"/>
                  </a:cubicBezTo>
                  <a:close/>
                </a:path>
              </a:pathLst>
            </a:custGeom>
            <a:grpFill/>
            <a:ln w="27192" cap="flat">
              <a:noFill/>
              <a:prstDash val="solid"/>
              <a:miter/>
            </a:ln>
          </p:spPr>
          <p:txBody>
            <a:bodyPr rtlCol="0" anchor="ctr"/>
            <a:lstStyle/>
            <a:p>
              <a:endParaRPr lang="uk-UA" sz="900"/>
            </a:p>
          </p:txBody>
        </p:sp>
        <p:sp>
          <p:nvSpPr>
            <p:cNvPr id="73" name="Freeform: Shape 72">
              <a:extLst>
                <a:ext uri="{FF2B5EF4-FFF2-40B4-BE49-F238E27FC236}">
                  <a16:creationId xmlns:a16="http://schemas.microsoft.com/office/drawing/2014/main" id="{1D2CE37F-D848-9CBA-4A11-90A80EAF8E61}"/>
                </a:ext>
              </a:extLst>
            </p:cNvPr>
            <p:cNvSpPr/>
            <p:nvPr/>
          </p:nvSpPr>
          <p:spPr>
            <a:xfrm>
              <a:off x="10407554" y="1098754"/>
              <a:ext cx="435077" cy="435077"/>
            </a:xfrm>
            <a:custGeom>
              <a:avLst/>
              <a:gdLst>
                <a:gd name="connsiteX0" fmla="*/ 435077 w 435077"/>
                <a:gd name="connsiteY0" fmla="*/ 435077 h 435077"/>
                <a:gd name="connsiteX1" fmla="*/ 435077 w 435077"/>
                <a:gd name="connsiteY1" fmla="*/ 0 h 435077"/>
                <a:gd name="connsiteX2" fmla="*/ 217539 w 435077"/>
                <a:gd name="connsiteY2" fmla="*/ 217544 h 435077"/>
                <a:gd name="connsiteX3" fmla="*/ 435077 w 435077"/>
                <a:gd name="connsiteY3" fmla="*/ 435077 h 435077"/>
                <a:gd name="connsiteX4" fmla="*/ 0 w 435077"/>
                <a:gd name="connsiteY4" fmla="*/ 435077 h 435077"/>
                <a:gd name="connsiteX5" fmla="*/ 0 w 435077"/>
                <a:gd name="connsiteY5" fmla="*/ 3 h 435077"/>
                <a:gd name="connsiteX6" fmla="*/ 217511 w 435077"/>
                <a:gd name="connsiteY6" fmla="*/ 217544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44"/>
                  </a:lnTo>
                  <a:lnTo>
                    <a:pt x="435077" y="435077"/>
                  </a:lnTo>
                  <a:close/>
                  <a:moveTo>
                    <a:pt x="0" y="435077"/>
                  </a:moveTo>
                  <a:lnTo>
                    <a:pt x="0" y="3"/>
                  </a:lnTo>
                  <a:lnTo>
                    <a:pt x="217511" y="217544"/>
                  </a:lnTo>
                  <a:lnTo>
                    <a:pt x="0" y="435077"/>
                  </a:lnTo>
                  <a:close/>
                </a:path>
              </a:pathLst>
            </a:custGeom>
            <a:grpFill/>
            <a:ln w="27192" cap="flat">
              <a:noFill/>
              <a:prstDash val="solid"/>
              <a:miter/>
            </a:ln>
          </p:spPr>
          <p:txBody>
            <a:bodyPr rtlCol="0" anchor="ctr"/>
            <a:lstStyle/>
            <a:p>
              <a:endParaRPr lang="uk-UA" sz="900"/>
            </a:p>
          </p:txBody>
        </p:sp>
        <p:sp>
          <p:nvSpPr>
            <p:cNvPr id="74" name="Freeform: Shape 73">
              <a:extLst>
                <a:ext uri="{FF2B5EF4-FFF2-40B4-BE49-F238E27FC236}">
                  <a16:creationId xmlns:a16="http://schemas.microsoft.com/office/drawing/2014/main" id="{D03E37FF-D26E-116D-112F-40FFA40CDCC1}"/>
                </a:ext>
              </a:extLst>
            </p:cNvPr>
            <p:cNvSpPr/>
            <p:nvPr/>
          </p:nvSpPr>
          <p:spPr>
            <a:xfrm>
              <a:off x="12147864" y="1098754"/>
              <a:ext cx="435077" cy="435077"/>
            </a:xfrm>
            <a:custGeom>
              <a:avLst/>
              <a:gdLst>
                <a:gd name="connsiteX0" fmla="*/ 435077 w 435077"/>
                <a:gd name="connsiteY0" fmla="*/ 435077 h 435077"/>
                <a:gd name="connsiteX1" fmla="*/ 435077 w 435077"/>
                <a:gd name="connsiteY1" fmla="*/ 217547 h 435077"/>
                <a:gd name="connsiteX2" fmla="*/ 435077 w 435077"/>
                <a:gd name="connsiteY2" fmla="*/ 16 h 435077"/>
                <a:gd name="connsiteX3" fmla="*/ 217565 w 435077"/>
                <a:gd name="connsiteY3" fmla="*/ 16 h 435077"/>
                <a:gd name="connsiteX4" fmla="*/ 435077 w 435077"/>
                <a:gd name="connsiteY4" fmla="*/ 217547 h 435077"/>
                <a:gd name="connsiteX5" fmla="*/ 217565 w 435077"/>
                <a:gd name="connsiteY5" fmla="*/ 435077 h 435077"/>
                <a:gd name="connsiteX6" fmla="*/ 435077 w 435077"/>
                <a:gd name="connsiteY6" fmla="*/ 435077 h 435077"/>
                <a:gd name="connsiteX7" fmla="*/ 0 w 435077"/>
                <a:gd name="connsiteY7" fmla="*/ 217531 h 435077"/>
                <a:gd name="connsiteX8" fmla="*/ 0 w 435077"/>
                <a:gd name="connsiteY8" fmla="*/ 0 h 435077"/>
                <a:gd name="connsiteX9" fmla="*/ 217539 w 435077"/>
                <a:gd name="connsiteY9" fmla="*/ 217531 h 435077"/>
                <a:gd name="connsiteX10" fmla="*/ 0 w 435077"/>
                <a:gd name="connsiteY10" fmla="*/ 217531 h 435077"/>
                <a:gd name="connsiteX11" fmla="*/ 0 w 435077"/>
                <a:gd name="connsiteY11" fmla="*/ 435072 h 435077"/>
                <a:gd name="connsiteX12" fmla="*/ 0 w 435077"/>
                <a:gd name="connsiteY12" fmla="*/ 217541 h 435077"/>
                <a:gd name="connsiteX13" fmla="*/ 217539 w 435077"/>
                <a:gd name="connsiteY13" fmla="*/ 217541 h 435077"/>
                <a:gd name="connsiteX14" fmla="*/ 0 w 435077"/>
                <a:gd name="connsiteY14" fmla="*/ 43507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47"/>
                  </a:lnTo>
                  <a:lnTo>
                    <a:pt x="435077" y="16"/>
                  </a:lnTo>
                  <a:lnTo>
                    <a:pt x="217565" y="16"/>
                  </a:lnTo>
                  <a:lnTo>
                    <a:pt x="435077" y="217547"/>
                  </a:lnTo>
                  <a:lnTo>
                    <a:pt x="217565" y="435077"/>
                  </a:lnTo>
                  <a:lnTo>
                    <a:pt x="435077" y="435077"/>
                  </a:lnTo>
                  <a:close/>
                  <a:moveTo>
                    <a:pt x="0" y="217531"/>
                  </a:moveTo>
                  <a:lnTo>
                    <a:pt x="0" y="0"/>
                  </a:lnTo>
                  <a:lnTo>
                    <a:pt x="217539" y="217531"/>
                  </a:lnTo>
                  <a:lnTo>
                    <a:pt x="0" y="217531"/>
                  </a:lnTo>
                  <a:close/>
                  <a:moveTo>
                    <a:pt x="0" y="435072"/>
                  </a:moveTo>
                  <a:lnTo>
                    <a:pt x="0" y="217541"/>
                  </a:lnTo>
                  <a:lnTo>
                    <a:pt x="217539" y="217541"/>
                  </a:lnTo>
                  <a:lnTo>
                    <a:pt x="0" y="435072"/>
                  </a:lnTo>
                  <a:close/>
                </a:path>
              </a:pathLst>
            </a:custGeom>
            <a:grpFill/>
            <a:ln w="27192" cap="flat">
              <a:noFill/>
              <a:prstDash val="solid"/>
              <a:miter/>
            </a:ln>
          </p:spPr>
          <p:txBody>
            <a:bodyPr rtlCol="0" anchor="ctr"/>
            <a:lstStyle/>
            <a:p>
              <a:endParaRPr lang="uk-UA" sz="900"/>
            </a:p>
          </p:txBody>
        </p:sp>
        <p:sp>
          <p:nvSpPr>
            <p:cNvPr id="75" name="Freeform: Shape 74">
              <a:extLst>
                <a:ext uri="{FF2B5EF4-FFF2-40B4-BE49-F238E27FC236}">
                  <a16:creationId xmlns:a16="http://schemas.microsoft.com/office/drawing/2014/main" id="{F3D134B6-CFEE-7C4E-9AA7-8F2AA05A3425}"/>
                </a:ext>
              </a:extLst>
            </p:cNvPr>
            <p:cNvSpPr/>
            <p:nvPr/>
          </p:nvSpPr>
          <p:spPr>
            <a:xfrm>
              <a:off x="13018045" y="1098754"/>
              <a:ext cx="435077" cy="435077"/>
            </a:xfrm>
            <a:custGeom>
              <a:avLst/>
              <a:gdLst>
                <a:gd name="connsiteX0" fmla="*/ 217539 w 435077"/>
                <a:gd name="connsiteY0" fmla="*/ 435069 h 435077"/>
                <a:gd name="connsiteX1" fmla="*/ 217539 w 435077"/>
                <a:gd name="connsiteY1" fmla="*/ 0 h 435077"/>
                <a:gd name="connsiteX2" fmla="*/ 435077 w 435077"/>
                <a:gd name="connsiteY2" fmla="*/ 217541 h 435077"/>
                <a:gd name="connsiteX3" fmla="*/ 217539 w 435077"/>
                <a:gd name="connsiteY3" fmla="*/ 435069 h 435077"/>
                <a:gd name="connsiteX4" fmla="*/ 0 w 435077"/>
                <a:gd name="connsiteY4" fmla="*/ 435077 h 435077"/>
                <a:gd name="connsiteX5" fmla="*/ 0 w 435077"/>
                <a:gd name="connsiteY5" fmla="*/ 8 h 435077"/>
                <a:gd name="connsiteX6" fmla="*/ 217539 w 435077"/>
                <a:gd name="connsiteY6" fmla="*/ 217547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69"/>
                  </a:moveTo>
                  <a:lnTo>
                    <a:pt x="217539" y="0"/>
                  </a:lnTo>
                  <a:lnTo>
                    <a:pt x="435077" y="217541"/>
                  </a:lnTo>
                  <a:lnTo>
                    <a:pt x="217539" y="435069"/>
                  </a:lnTo>
                  <a:close/>
                  <a:moveTo>
                    <a:pt x="0" y="435077"/>
                  </a:moveTo>
                  <a:lnTo>
                    <a:pt x="0" y="8"/>
                  </a:lnTo>
                  <a:lnTo>
                    <a:pt x="217539" y="217547"/>
                  </a:lnTo>
                  <a:lnTo>
                    <a:pt x="0" y="435077"/>
                  </a:lnTo>
                  <a:close/>
                </a:path>
              </a:pathLst>
            </a:custGeom>
            <a:grpFill/>
            <a:ln w="27192" cap="flat">
              <a:noFill/>
              <a:prstDash val="solid"/>
              <a:miter/>
            </a:ln>
          </p:spPr>
          <p:txBody>
            <a:bodyPr rtlCol="0" anchor="ctr"/>
            <a:lstStyle/>
            <a:p>
              <a:endParaRPr lang="uk-UA" sz="900"/>
            </a:p>
          </p:txBody>
        </p:sp>
        <p:sp>
          <p:nvSpPr>
            <p:cNvPr id="76" name="Freeform: Shape 75">
              <a:extLst>
                <a:ext uri="{FF2B5EF4-FFF2-40B4-BE49-F238E27FC236}">
                  <a16:creationId xmlns:a16="http://schemas.microsoft.com/office/drawing/2014/main" id="{98F9AF48-5CC8-ADFA-F9FD-BC199D6E1169}"/>
                </a:ext>
              </a:extLst>
            </p:cNvPr>
            <p:cNvSpPr/>
            <p:nvPr/>
          </p:nvSpPr>
          <p:spPr>
            <a:xfrm>
              <a:off x="14758382" y="1098754"/>
              <a:ext cx="435077" cy="435077"/>
            </a:xfrm>
            <a:custGeom>
              <a:avLst/>
              <a:gdLst>
                <a:gd name="connsiteX0" fmla="*/ 63712 w 435077"/>
                <a:gd name="connsiteY0" fmla="*/ 153824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4 h 435077"/>
                <a:gd name="connsiteX5" fmla="*/ 217539 w 435077"/>
                <a:gd name="connsiteY5" fmla="*/ 217539 h 435077"/>
                <a:gd name="connsiteX6" fmla="*/ 63712 w 435077"/>
                <a:gd name="connsiteY6" fmla="*/ 153824 h 435077"/>
                <a:gd name="connsiteX7" fmla="*/ 63712 w 435077"/>
                <a:gd name="connsiteY7" fmla="*/ 281256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56 h 435077"/>
                <a:gd name="connsiteX12" fmla="*/ 217539 w 435077"/>
                <a:gd name="connsiteY12" fmla="*/ 217539 h 435077"/>
                <a:gd name="connsiteX13" fmla="*/ 63712 w 435077"/>
                <a:gd name="connsiteY13" fmla="*/ 281256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4"/>
                  </a:moveTo>
                  <a:cubicBezTo>
                    <a:pt x="22924" y="113028"/>
                    <a:pt x="0" y="57697"/>
                    <a:pt x="0" y="0"/>
                  </a:cubicBezTo>
                  <a:lnTo>
                    <a:pt x="217539" y="0"/>
                  </a:lnTo>
                  <a:lnTo>
                    <a:pt x="435077" y="0"/>
                  </a:lnTo>
                  <a:cubicBezTo>
                    <a:pt x="435077" y="57697"/>
                    <a:pt x="412155" y="113028"/>
                    <a:pt x="371367" y="153824"/>
                  </a:cubicBezTo>
                  <a:cubicBezTo>
                    <a:pt x="330550" y="194621"/>
                    <a:pt x="275241" y="217539"/>
                    <a:pt x="217539" y="217539"/>
                  </a:cubicBezTo>
                  <a:cubicBezTo>
                    <a:pt x="159836" y="217539"/>
                    <a:pt x="104501" y="194621"/>
                    <a:pt x="63712" y="153824"/>
                  </a:cubicBezTo>
                  <a:close/>
                  <a:moveTo>
                    <a:pt x="63712" y="281256"/>
                  </a:moveTo>
                  <a:cubicBezTo>
                    <a:pt x="22924" y="322052"/>
                    <a:pt x="0" y="377383"/>
                    <a:pt x="0" y="435077"/>
                  </a:cubicBezTo>
                  <a:lnTo>
                    <a:pt x="217539" y="435077"/>
                  </a:lnTo>
                  <a:lnTo>
                    <a:pt x="435077" y="435077"/>
                  </a:lnTo>
                  <a:cubicBezTo>
                    <a:pt x="435077" y="377383"/>
                    <a:pt x="412155" y="322052"/>
                    <a:pt x="371367" y="281256"/>
                  </a:cubicBezTo>
                  <a:cubicBezTo>
                    <a:pt x="330550" y="240459"/>
                    <a:pt x="275241" y="217539"/>
                    <a:pt x="217539" y="217539"/>
                  </a:cubicBezTo>
                  <a:cubicBezTo>
                    <a:pt x="159836" y="217539"/>
                    <a:pt x="104501" y="240459"/>
                    <a:pt x="63712" y="281256"/>
                  </a:cubicBezTo>
                  <a:close/>
                </a:path>
              </a:pathLst>
            </a:custGeom>
            <a:grpFill/>
            <a:ln w="27192" cap="flat">
              <a:noFill/>
              <a:prstDash val="solid"/>
              <a:miter/>
            </a:ln>
          </p:spPr>
          <p:txBody>
            <a:bodyPr rtlCol="0" anchor="ctr"/>
            <a:lstStyle/>
            <a:p>
              <a:endParaRPr lang="uk-UA" sz="900"/>
            </a:p>
          </p:txBody>
        </p:sp>
        <p:sp>
          <p:nvSpPr>
            <p:cNvPr id="77" name="Freeform: Shape 76">
              <a:extLst>
                <a:ext uri="{FF2B5EF4-FFF2-40B4-BE49-F238E27FC236}">
                  <a16:creationId xmlns:a16="http://schemas.microsoft.com/office/drawing/2014/main" id="{CE0311A8-FF55-42F7-1288-AA0AC3F19226}"/>
                </a:ext>
              </a:extLst>
            </p:cNvPr>
            <p:cNvSpPr/>
            <p:nvPr/>
          </p:nvSpPr>
          <p:spPr>
            <a:xfrm>
              <a:off x="13888200" y="1098754"/>
              <a:ext cx="435077" cy="435077"/>
            </a:xfrm>
            <a:custGeom>
              <a:avLst/>
              <a:gdLst>
                <a:gd name="connsiteX0" fmla="*/ 435077 w 435077"/>
                <a:gd name="connsiteY0" fmla="*/ 435077 h 435077"/>
                <a:gd name="connsiteX1" fmla="*/ 435077 w 435077"/>
                <a:gd name="connsiteY1" fmla="*/ 0 h 435077"/>
                <a:gd name="connsiteX2" fmla="*/ 217565 w 435077"/>
                <a:gd name="connsiteY2" fmla="*/ 217544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44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44"/>
                  </a:lnTo>
                  <a:lnTo>
                    <a:pt x="435077" y="435077"/>
                  </a:lnTo>
                  <a:close/>
                  <a:moveTo>
                    <a:pt x="0" y="435077"/>
                  </a:moveTo>
                  <a:lnTo>
                    <a:pt x="0" y="3"/>
                  </a:lnTo>
                  <a:lnTo>
                    <a:pt x="217539" y="217544"/>
                  </a:lnTo>
                  <a:lnTo>
                    <a:pt x="0" y="435077"/>
                  </a:lnTo>
                  <a:close/>
                </a:path>
              </a:pathLst>
            </a:custGeom>
            <a:grpFill/>
            <a:ln w="27192" cap="flat">
              <a:noFill/>
              <a:prstDash val="solid"/>
              <a:miter/>
            </a:ln>
          </p:spPr>
          <p:txBody>
            <a:bodyPr rtlCol="0" anchor="ctr"/>
            <a:lstStyle/>
            <a:p>
              <a:endParaRPr lang="uk-UA" sz="900"/>
            </a:p>
          </p:txBody>
        </p:sp>
        <p:sp>
          <p:nvSpPr>
            <p:cNvPr id="78" name="Freeform: Shape 77">
              <a:extLst>
                <a:ext uri="{FF2B5EF4-FFF2-40B4-BE49-F238E27FC236}">
                  <a16:creationId xmlns:a16="http://schemas.microsoft.com/office/drawing/2014/main" id="{1AB9015A-20E1-612F-D96F-F32A65C198DA}"/>
                </a:ext>
              </a:extLst>
            </p:cNvPr>
            <p:cNvSpPr/>
            <p:nvPr/>
          </p:nvSpPr>
          <p:spPr>
            <a:xfrm>
              <a:off x="15628536" y="1098754"/>
              <a:ext cx="435077" cy="435077"/>
            </a:xfrm>
            <a:custGeom>
              <a:avLst/>
              <a:gdLst>
                <a:gd name="connsiteX0" fmla="*/ 435077 w 435077"/>
                <a:gd name="connsiteY0" fmla="*/ 435077 h 435077"/>
                <a:gd name="connsiteX1" fmla="*/ 435077 w 435077"/>
                <a:gd name="connsiteY1" fmla="*/ 217547 h 435077"/>
                <a:gd name="connsiteX2" fmla="*/ 435077 w 435077"/>
                <a:gd name="connsiteY2" fmla="*/ 16 h 435077"/>
                <a:gd name="connsiteX3" fmla="*/ 217567 w 435077"/>
                <a:gd name="connsiteY3" fmla="*/ 16 h 435077"/>
                <a:gd name="connsiteX4" fmla="*/ 435077 w 435077"/>
                <a:gd name="connsiteY4" fmla="*/ 217547 h 435077"/>
                <a:gd name="connsiteX5" fmla="*/ 217567 w 435077"/>
                <a:gd name="connsiteY5" fmla="*/ 435077 h 435077"/>
                <a:gd name="connsiteX6" fmla="*/ 435077 w 435077"/>
                <a:gd name="connsiteY6" fmla="*/ 435077 h 435077"/>
                <a:gd name="connsiteX7" fmla="*/ 0 w 435077"/>
                <a:gd name="connsiteY7" fmla="*/ 217531 h 435077"/>
                <a:gd name="connsiteX8" fmla="*/ 0 w 435077"/>
                <a:gd name="connsiteY8" fmla="*/ 0 h 435077"/>
                <a:gd name="connsiteX9" fmla="*/ 217539 w 435077"/>
                <a:gd name="connsiteY9" fmla="*/ 217531 h 435077"/>
                <a:gd name="connsiteX10" fmla="*/ 0 w 435077"/>
                <a:gd name="connsiteY10" fmla="*/ 217531 h 435077"/>
                <a:gd name="connsiteX11" fmla="*/ 0 w 435077"/>
                <a:gd name="connsiteY11" fmla="*/ 435072 h 435077"/>
                <a:gd name="connsiteX12" fmla="*/ 0 w 435077"/>
                <a:gd name="connsiteY12" fmla="*/ 217541 h 435077"/>
                <a:gd name="connsiteX13" fmla="*/ 217539 w 435077"/>
                <a:gd name="connsiteY13" fmla="*/ 217541 h 435077"/>
                <a:gd name="connsiteX14" fmla="*/ 0 w 435077"/>
                <a:gd name="connsiteY14" fmla="*/ 43507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47"/>
                  </a:lnTo>
                  <a:lnTo>
                    <a:pt x="435077" y="16"/>
                  </a:lnTo>
                  <a:lnTo>
                    <a:pt x="217567" y="16"/>
                  </a:lnTo>
                  <a:lnTo>
                    <a:pt x="435077" y="217547"/>
                  </a:lnTo>
                  <a:lnTo>
                    <a:pt x="217567" y="435077"/>
                  </a:lnTo>
                  <a:lnTo>
                    <a:pt x="435077" y="435077"/>
                  </a:lnTo>
                  <a:close/>
                  <a:moveTo>
                    <a:pt x="0" y="217531"/>
                  </a:moveTo>
                  <a:lnTo>
                    <a:pt x="0" y="0"/>
                  </a:lnTo>
                  <a:lnTo>
                    <a:pt x="217539" y="217531"/>
                  </a:lnTo>
                  <a:lnTo>
                    <a:pt x="0" y="217531"/>
                  </a:lnTo>
                  <a:close/>
                  <a:moveTo>
                    <a:pt x="0" y="435072"/>
                  </a:moveTo>
                  <a:lnTo>
                    <a:pt x="0" y="217541"/>
                  </a:lnTo>
                  <a:lnTo>
                    <a:pt x="217539" y="217541"/>
                  </a:lnTo>
                  <a:lnTo>
                    <a:pt x="0" y="435072"/>
                  </a:lnTo>
                  <a:close/>
                </a:path>
              </a:pathLst>
            </a:custGeom>
            <a:grpFill/>
            <a:ln w="27192" cap="flat">
              <a:noFill/>
              <a:prstDash val="solid"/>
              <a:miter/>
            </a:ln>
          </p:spPr>
          <p:txBody>
            <a:bodyPr rtlCol="0" anchor="ctr"/>
            <a:lstStyle/>
            <a:p>
              <a:endParaRPr lang="uk-UA" sz="900"/>
            </a:p>
          </p:txBody>
        </p:sp>
        <p:sp>
          <p:nvSpPr>
            <p:cNvPr id="79" name="Freeform: Shape 78">
              <a:extLst>
                <a:ext uri="{FF2B5EF4-FFF2-40B4-BE49-F238E27FC236}">
                  <a16:creationId xmlns:a16="http://schemas.microsoft.com/office/drawing/2014/main" id="{E8B6C4AD-67B3-BB87-DBCE-880F116A81E6}"/>
                </a:ext>
              </a:extLst>
            </p:cNvPr>
            <p:cNvSpPr/>
            <p:nvPr/>
          </p:nvSpPr>
          <p:spPr>
            <a:xfrm>
              <a:off x="16498719" y="1098754"/>
              <a:ext cx="435077" cy="435077"/>
            </a:xfrm>
            <a:custGeom>
              <a:avLst/>
              <a:gdLst>
                <a:gd name="connsiteX0" fmla="*/ 217539 w 435077"/>
                <a:gd name="connsiteY0" fmla="*/ 435069 h 435077"/>
                <a:gd name="connsiteX1" fmla="*/ 217539 w 435077"/>
                <a:gd name="connsiteY1" fmla="*/ 0 h 435077"/>
                <a:gd name="connsiteX2" fmla="*/ 435077 w 435077"/>
                <a:gd name="connsiteY2" fmla="*/ 217541 h 435077"/>
                <a:gd name="connsiteX3" fmla="*/ 217539 w 435077"/>
                <a:gd name="connsiteY3" fmla="*/ 435069 h 435077"/>
                <a:gd name="connsiteX4" fmla="*/ 0 w 435077"/>
                <a:gd name="connsiteY4" fmla="*/ 435077 h 435077"/>
                <a:gd name="connsiteX5" fmla="*/ 0 w 435077"/>
                <a:gd name="connsiteY5" fmla="*/ 8 h 435077"/>
                <a:gd name="connsiteX6" fmla="*/ 217539 w 435077"/>
                <a:gd name="connsiteY6" fmla="*/ 217547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69"/>
                  </a:moveTo>
                  <a:lnTo>
                    <a:pt x="217539" y="0"/>
                  </a:lnTo>
                  <a:lnTo>
                    <a:pt x="435077" y="217541"/>
                  </a:lnTo>
                  <a:lnTo>
                    <a:pt x="217539" y="435069"/>
                  </a:lnTo>
                  <a:close/>
                  <a:moveTo>
                    <a:pt x="0" y="435077"/>
                  </a:moveTo>
                  <a:lnTo>
                    <a:pt x="0" y="8"/>
                  </a:lnTo>
                  <a:lnTo>
                    <a:pt x="217539" y="217547"/>
                  </a:lnTo>
                  <a:lnTo>
                    <a:pt x="0" y="435077"/>
                  </a:lnTo>
                  <a:close/>
                </a:path>
              </a:pathLst>
            </a:custGeom>
            <a:grpFill/>
            <a:ln w="27192" cap="flat">
              <a:noFill/>
              <a:prstDash val="solid"/>
              <a:miter/>
            </a:ln>
          </p:spPr>
          <p:txBody>
            <a:bodyPr rtlCol="0" anchor="ctr"/>
            <a:lstStyle/>
            <a:p>
              <a:endParaRPr lang="uk-UA" sz="900"/>
            </a:p>
          </p:txBody>
        </p:sp>
        <p:sp>
          <p:nvSpPr>
            <p:cNvPr id="80" name="Freeform: Shape 79">
              <a:extLst>
                <a:ext uri="{FF2B5EF4-FFF2-40B4-BE49-F238E27FC236}">
                  <a16:creationId xmlns:a16="http://schemas.microsoft.com/office/drawing/2014/main" id="{7E1C036F-F88A-21FA-C146-F45377F5B7B6}"/>
                </a:ext>
              </a:extLst>
            </p:cNvPr>
            <p:cNvSpPr/>
            <p:nvPr/>
          </p:nvSpPr>
          <p:spPr>
            <a:xfrm>
              <a:off x="18239029" y="1098754"/>
              <a:ext cx="435077" cy="435077"/>
            </a:xfrm>
            <a:custGeom>
              <a:avLst/>
              <a:gdLst>
                <a:gd name="connsiteX0" fmla="*/ 63710 w 435077"/>
                <a:gd name="connsiteY0" fmla="*/ 153824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4 h 435077"/>
                <a:gd name="connsiteX5" fmla="*/ 217539 w 435077"/>
                <a:gd name="connsiteY5" fmla="*/ 217539 h 435077"/>
                <a:gd name="connsiteX6" fmla="*/ 63710 w 435077"/>
                <a:gd name="connsiteY6" fmla="*/ 153824 h 435077"/>
                <a:gd name="connsiteX7" fmla="*/ 63710 w 435077"/>
                <a:gd name="connsiteY7" fmla="*/ 281256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6 h 435077"/>
                <a:gd name="connsiteX12" fmla="*/ 217539 w 435077"/>
                <a:gd name="connsiteY12" fmla="*/ 217539 h 435077"/>
                <a:gd name="connsiteX13" fmla="*/ 63710 w 435077"/>
                <a:gd name="connsiteY13" fmla="*/ 281256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4"/>
                  </a:moveTo>
                  <a:cubicBezTo>
                    <a:pt x="22922" y="113028"/>
                    <a:pt x="0" y="57697"/>
                    <a:pt x="0" y="0"/>
                  </a:cubicBezTo>
                  <a:lnTo>
                    <a:pt x="217539" y="0"/>
                  </a:lnTo>
                  <a:lnTo>
                    <a:pt x="435077" y="0"/>
                  </a:lnTo>
                  <a:cubicBezTo>
                    <a:pt x="435077" y="57697"/>
                    <a:pt x="412154" y="113028"/>
                    <a:pt x="371365" y="153824"/>
                  </a:cubicBezTo>
                  <a:cubicBezTo>
                    <a:pt x="330577" y="194621"/>
                    <a:pt x="275241" y="217539"/>
                    <a:pt x="217539" y="217539"/>
                  </a:cubicBezTo>
                  <a:cubicBezTo>
                    <a:pt x="159836" y="217539"/>
                    <a:pt x="104527" y="194621"/>
                    <a:pt x="63710" y="153824"/>
                  </a:cubicBezTo>
                  <a:close/>
                  <a:moveTo>
                    <a:pt x="63710" y="281256"/>
                  </a:moveTo>
                  <a:cubicBezTo>
                    <a:pt x="22922" y="322052"/>
                    <a:pt x="0" y="377383"/>
                    <a:pt x="0" y="435077"/>
                  </a:cubicBezTo>
                  <a:lnTo>
                    <a:pt x="217539" y="435077"/>
                  </a:lnTo>
                  <a:lnTo>
                    <a:pt x="435077" y="435077"/>
                  </a:lnTo>
                  <a:cubicBezTo>
                    <a:pt x="435077" y="377383"/>
                    <a:pt x="412154" y="322052"/>
                    <a:pt x="371365" y="281256"/>
                  </a:cubicBezTo>
                  <a:cubicBezTo>
                    <a:pt x="330577" y="240459"/>
                    <a:pt x="275241" y="217539"/>
                    <a:pt x="217539" y="217539"/>
                  </a:cubicBezTo>
                  <a:cubicBezTo>
                    <a:pt x="159836" y="217539"/>
                    <a:pt x="104527" y="240459"/>
                    <a:pt x="63710" y="281256"/>
                  </a:cubicBezTo>
                  <a:close/>
                </a:path>
              </a:pathLst>
            </a:custGeom>
            <a:grpFill/>
            <a:ln w="27192" cap="flat">
              <a:noFill/>
              <a:prstDash val="solid"/>
              <a:miter/>
            </a:ln>
          </p:spPr>
          <p:txBody>
            <a:bodyPr rtlCol="0" anchor="ctr"/>
            <a:lstStyle/>
            <a:p>
              <a:endParaRPr lang="uk-UA" sz="900"/>
            </a:p>
          </p:txBody>
        </p:sp>
        <p:sp>
          <p:nvSpPr>
            <p:cNvPr id="81" name="Freeform: Shape 80">
              <a:extLst>
                <a:ext uri="{FF2B5EF4-FFF2-40B4-BE49-F238E27FC236}">
                  <a16:creationId xmlns:a16="http://schemas.microsoft.com/office/drawing/2014/main" id="{81874CBD-C244-BB9B-7A6B-46CAEE691A2B}"/>
                </a:ext>
              </a:extLst>
            </p:cNvPr>
            <p:cNvSpPr/>
            <p:nvPr/>
          </p:nvSpPr>
          <p:spPr>
            <a:xfrm>
              <a:off x="17368874" y="1098754"/>
              <a:ext cx="435077" cy="435077"/>
            </a:xfrm>
            <a:custGeom>
              <a:avLst/>
              <a:gdLst>
                <a:gd name="connsiteX0" fmla="*/ 435077 w 435077"/>
                <a:gd name="connsiteY0" fmla="*/ 435077 h 435077"/>
                <a:gd name="connsiteX1" fmla="*/ 435077 w 435077"/>
                <a:gd name="connsiteY1" fmla="*/ 0 h 435077"/>
                <a:gd name="connsiteX2" fmla="*/ 217539 w 435077"/>
                <a:gd name="connsiteY2" fmla="*/ 217544 h 435077"/>
                <a:gd name="connsiteX3" fmla="*/ 435077 w 435077"/>
                <a:gd name="connsiteY3" fmla="*/ 435077 h 435077"/>
                <a:gd name="connsiteX4" fmla="*/ 0 w 435077"/>
                <a:gd name="connsiteY4" fmla="*/ 435077 h 435077"/>
                <a:gd name="connsiteX5" fmla="*/ 0 w 435077"/>
                <a:gd name="connsiteY5" fmla="*/ 3 h 435077"/>
                <a:gd name="connsiteX6" fmla="*/ 217510 w 435077"/>
                <a:gd name="connsiteY6" fmla="*/ 217544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44"/>
                  </a:lnTo>
                  <a:lnTo>
                    <a:pt x="435077" y="435077"/>
                  </a:lnTo>
                  <a:close/>
                  <a:moveTo>
                    <a:pt x="0" y="435077"/>
                  </a:moveTo>
                  <a:lnTo>
                    <a:pt x="0" y="3"/>
                  </a:lnTo>
                  <a:lnTo>
                    <a:pt x="217510" y="217544"/>
                  </a:lnTo>
                  <a:lnTo>
                    <a:pt x="0" y="435077"/>
                  </a:lnTo>
                  <a:close/>
                </a:path>
              </a:pathLst>
            </a:custGeom>
            <a:grpFill/>
            <a:ln w="27192" cap="flat">
              <a:noFill/>
              <a:prstDash val="solid"/>
              <a:miter/>
            </a:ln>
          </p:spPr>
          <p:txBody>
            <a:bodyPr rtlCol="0" anchor="ctr"/>
            <a:lstStyle/>
            <a:p>
              <a:endParaRPr lang="uk-UA" sz="900"/>
            </a:p>
          </p:txBody>
        </p:sp>
        <p:sp>
          <p:nvSpPr>
            <p:cNvPr id="82" name="Freeform: Shape 81">
              <a:extLst>
                <a:ext uri="{FF2B5EF4-FFF2-40B4-BE49-F238E27FC236}">
                  <a16:creationId xmlns:a16="http://schemas.microsoft.com/office/drawing/2014/main" id="{16C5780A-9261-E336-E657-D478AE0D9C30}"/>
                </a:ext>
              </a:extLst>
            </p:cNvPr>
            <p:cNvSpPr/>
            <p:nvPr/>
          </p:nvSpPr>
          <p:spPr>
            <a:xfrm>
              <a:off x="19109210" y="1098754"/>
              <a:ext cx="435077" cy="435077"/>
            </a:xfrm>
            <a:custGeom>
              <a:avLst/>
              <a:gdLst>
                <a:gd name="connsiteX0" fmla="*/ 435077 w 435077"/>
                <a:gd name="connsiteY0" fmla="*/ 435077 h 435077"/>
                <a:gd name="connsiteX1" fmla="*/ 435077 w 435077"/>
                <a:gd name="connsiteY1" fmla="*/ 217547 h 435077"/>
                <a:gd name="connsiteX2" fmla="*/ 435077 w 435077"/>
                <a:gd name="connsiteY2" fmla="*/ 16 h 435077"/>
                <a:gd name="connsiteX3" fmla="*/ 217539 w 435077"/>
                <a:gd name="connsiteY3" fmla="*/ 16 h 435077"/>
                <a:gd name="connsiteX4" fmla="*/ 435077 w 435077"/>
                <a:gd name="connsiteY4" fmla="*/ 217547 h 435077"/>
                <a:gd name="connsiteX5" fmla="*/ 217539 w 435077"/>
                <a:gd name="connsiteY5" fmla="*/ 435077 h 435077"/>
                <a:gd name="connsiteX6" fmla="*/ 435077 w 435077"/>
                <a:gd name="connsiteY6" fmla="*/ 435077 h 435077"/>
                <a:gd name="connsiteX7" fmla="*/ 0 w 435077"/>
                <a:gd name="connsiteY7" fmla="*/ 217531 h 435077"/>
                <a:gd name="connsiteX8" fmla="*/ 0 w 435077"/>
                <a:gd name="connsiteY8" fmla="*/ 0 h 435077"/>
                <a:gd name="connsiteX9" fmla="*/ 217512 w 435077"/>
                <a:gd name="connsiteY9" fmla="*/ 217531 h 435077"/>
                <a:gd name="connsiteX10" fmla="*/ 0 w 435077"/>
                <a:gd name="connsiteY10" fmla="*/ 217531 h 435077"/>
                <a:gd name="connsiteX11" fmla="*/ 0 w 435077"/>
                <a:gd name="connsiteY11" fmla="*/ 435072 h 435077"/>
                <a:gd name="connsiteX12" fmla="*/ 0 w 435077"/>
                <a:gd name="connsiteY12" fmla="*/ 217541 h 435077"/>
                <a:gd name="connsiteX13" fmla="*/ 217512 w 435077"/>
                <a:gd name="connsiteY13" fmla="*/ 217541 h 435077"/>
                <a:gd name="connsiteX14" fmla="*/ 0 w 435077"/>
                <a:gd name="connsiteY14" fmla="*/ 43507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47"/>
                  </a:lnTo>
                  <a:lnTo>
                    <a:pt x="435077" y="16"/>
                  </a:lnTo>
                  <a:lnTo>
                    <a:pt x="217539" y="16"/>
                  </a:lnTo>
                  <a:lnTo>
                    <a:pt x="435077" y="217547"/>
                  </a:lnTo>
                  <a:lnTo>
                    <a:pt x="217539" y="435077"/>
                  </a:lnTo>
                  <a:lnTo>
                    <a:pt x="435077" y="435077"/>
                  </a:lnTo>
                  <a:close/>
                  <a:moveTo>
                    <a:pt x="0" y="217531"/>
                  </a:moveTo>
                  <a:lnTo>
                    <a:pt x="0" y="0"/>
                  </a:lnTo>
                  <a:lnTo>
                    <a:pt x="217512" y="217531"/>
                  </a:lnTo>
                  <a:lnTo>
                    <a:pt x="0" y="217531"/>
                  </a:lnTo>
                  <a:close/>
                  <a:moveTo>
                    <a:pt x="0" y="435072"/>
                  </a:moveTo>
                  <a:lnTo>
                    <a:pt x="0" y="217541"/>
                  </a:lnTo>
                  <a:lnTo>
                    <a:pt x="217512" y="217541"/>
                  </a:lnTo>
                  <a:lnTo>
                    <a:pt x="0" y="435072"/>
                  </a:lnTo>
                  <a:close/>
                </a:path>
              </a:pathLst>
            </a:custGeom>
            <a:grpFill/>
            <a:ln w="27192" cap="flat">
              <a:noFill/>
              <a:prstDash val="solid"/>
              <a:miter/>
            </a:ln>
          </p:spPr>
          <p:txBody>
            <a:bodyPr rtlCol="0" anchor="ctr"/>
            <a:lstStyle/>
            <a:p>
              <a:endParaRPr lang="uk-UA" sz="900"/>
            </a:p>
          </p:txBody>
        </p:sp>
        <p:sp>
          <p:nvSpPr>
            <p:cNvPr id="83" name="Freeform: Shape 82">
              <a:extLst>
                <a:ext uri="{FF2B5EF4-FFF2-40B4-BE49-F238E27FC236}">
                  <a16:creationId xmlns:a16="http://schemas.microsoft.com/office/drawing/2014/main" id="{B99D5E7E-6833-BEF4-9A11-4CBFDAA55607}"/>
                </a:ext>
              </a:extLst>
            </p:cNvPr>
            <p:cNvSpPr/>
            <p:nvPr/>
          </p:nvSpPr>
          <p:spPr>
            <a:xfrm>
              <a:off x="19979365" y="1098754"/>
              <a:ext cx="435077" cy="435077"/>
            </a:xfrm>
            <a:custGeom>
              <a:avLst/>
              <a:gdLst>
                <a:gd name="connsiteX0" fmla="*/ 217539 w 435077"/>
                <a:gd name="connsiteY0" fmla="*/ 435069 h 435077"/>
                <a:gd name="connsiteX1" fmla="*/ 217539 w 435077"/>
                <a:gd name="connsiteY1" fmla="*/ 0 h 435077"/>
                <a:gd name="connsiteX2" fmla="*/ 435077 w 435077"/>
                <a:gd name="connsiteY2" fmla="*/ 217541 h 435077"/>
                <a:gd name="connsiteX3" fmla="*/ 217539 w 435077"/>
                <a:gd name="connsiteY3" fmla="*/ 435069 h 435077"/>
                <a:gd name="connsiteX4" fmla="*/ 0 w 435077"/>
                <a:gd name="connsiteY4" fmla="*/ 435077 h 435077"/>
                <a:gd name="connsiteX5" fmla="*/ 0 w 435077"/>
                <a:gd name="connsiteY5" fmla="*/ 8 h 435077"/>
                <a:gd name="connsiteX6" fmla="*/ 217539 w 435077"/>
                <a:gd name="connsiteY6" fmla="*/ 217547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69"/>
                  </a:moveTo>
                  <a:lnTo>
                    <a:pt x="217539" y="0"/>
                  </a:lnTo>
                  <a:lnTo>
                    <a:pt x="435077" y="217541"/>
                  </a:lnTo>
                  <a:lnTo>
                    <a:pt x="217539" y="435069"/>
                  </a:lnTo>
                  <a:close/>
                  <a:moveTo>
                    <a:pt x="0" y="435077"/>
                  </a:moveTo>
                  <a:lnTo>
                    <a:pt x="0" y="8"/>
                  </a:lnTo>
                  <a:lnTo>
                    <a:pt x="217539" y="217547"/>
                  </a:lnTo>
                  <a:lnTo>
                    <a:pt x="0" y="435077"/>
                  </a:lnTo>
                  <a:close/>
                </a:path>
              </a:pathLst>
            </a:custGeom>
            <a:grpFill/>
            <a:ln w="27192" cap="flat">
              <a:noFill/>
              <a:prstDash val="solid"/>
              <a:miter/>
            </a:ln>
          </p:spPr>
          <p:txBody>
            <a:bodyPr rtlCol="0" anchor="ctr"/>
            <a:lstStyle/>
            <a:p>
              <a:endParaRPr lang="uk-UA" sz="900"/>
            </a:p>
          </p:txBody>
        </p:sp>
        <p:sp>
          <p:nvSpPr>
            <p:cNvPr id="84" name="Freeform: Shape 83">
              <a:extLst>
                <a:ext uri="{FF2B5EF4-FFF2-40B4-BE49-F238E27FC236}">
                  <a16:creationId xmlns:a16="http://schemas.microsoft.com/office/drawing/2014/main" id="{BE5D1ACB-AFB5-AE9F-792A-ABDED92C65C7}"/>
                </a:ext>
              </a:extLst>
            </p:cNvPr>
            <p:cNvSpPr/>
            <p:nvPr/>
          </p:nvSpPr>
          <p:spPr>
            <a:xfrm>
              <a:off x="21719702" y="1098754"/>
              <a:ext cx="435077" cy="435077"/>
            </a:xfrm>
            <a:custGeom>
              <a:avLst/>
              <a:gdLst>
                <a:gd name="connsiteX0" fmla="*/ 63712 w 435077"/>
                <a:gd name="connsiteY0" fmla="*/ 153824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4 h 435077"/>
                <a:gd name="connsiteX5" fmla="*/ 217539 w 435077"/>
                <a:gd name="connsiteY5" fmla="*/ 217539 h 435077"/>
                <a:gd name="connsiteX6" fmla="*/ 63712 w 435077"/>
                <a:gd name="connsiteY6" fmla="*/ 153824 h 435077"/>
                <a:gd name="connsiteX7" fmla="*/ 63712 w 435077"/>
                <a:gd name="connsiteY7" fmla="*/ 281256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56 h 435077"/>
                <a:gd name="connsiteX12" fmla="*/ 217539 w 435077"/>
                <a:gd name="connsiteY12" fmla="*/ 217539 h 435077"/>
                <a:gd name="connsiteX13" fmla="*/ 63712 w 435077"/>
                <a:gd name="connsiteY13" fmla="*/ 281256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4"/>
                  </a:moveTo>
                  <a:cubicBezTo>
                    <a:pt x="22897" y="113028"/>
                    <a:pt x="0" y="57697"/>
                    <a:pt x="0" y="0"/>
                  </a:cubicBezTo>
                  <a:lnTo>
                    <a:pt x="217539" y="0"/>
                  </a:lnTo>
                  <a:lnTo>
                    <a:pt x="435077" y="0"/>
                  </a:lnTo>
                  <a:cubicBezTo>
                    <a:pt x="435077" y="57697"/>
                    <a:pt x="412155" y="113028"/>
                    <a:pt x="371339" y="153824"/>
                  </a:cubicBezTo>
                  <a:cubicBezTo>
                    <a:pt x="330550" y="194621"/>
                    <a:pt x="275215" y="217539"/>
                    <a:pt x="217539" y="217539"/>
                  </a:cubicBezTo>
                  <a:cubicBezTo>
                    <a:pt x="159838" y="217539"/>
                    <a:pt x="104501" y="194621"/>
                    <a:pt x="63712" y="153824"/>
                  </a:cubicBezTo>
                  <a:close/>
                  <a:moveTo>
                    <a:pt x="63712" y="281256"/>
                  </a:moveTo>
                  <a:cubicBezTo>
                    <a:pt x="22897" y="322052"/>
                    <a:pt x="0" y="377383"/>
                    <a:pt x="0" y="435077"/>
                  </a:cubicBezTo>
                  <a:lnTo>
                    <a:pt x="217539" y="435077"/>
                  </a:lnTo>
                  <a:lnTo>
                    <a:pt x="435077" y="435077"/>
                  </a:lnTo>
                  <a:cubicBezTo>
                    <a:pt x="435077" y="377383"/>
                    <a:pt x="412155" y="322052"/>
                    <a:pt x="371339" y="281256"/>
                  </a:cubicBezTo>
                  <a:cubicBezTo>
                    <a:pt x="330550" y="240459"/>
                    <a:pt x="275215" y="217539"/>
                    <a:pt x="217539" y="217539"/>
                  </a:cubicBezTo>
                  <a:cubicBezTo>
                    <a:pt x="159838" y="217539"/>
                    <a:pt x="104501" y="240459"/>
                    <a:pt x="63712" y="281256"/>
                  </a:cubicBezTo>
                  <a:close/>
                </a:path>
              </a:pathLst>
            </a:custGeom>
            <a:grpFill/>
            <a:ln w="27192" cap="flat">
              <a:noFill/>
              <a:prstDash val="solid"/>
              <a:miter/>
            </a:ln>
          </p:spPr>
          <p:txBody>
            <a:bodyPr rtlCol="0" anchor="ctr"/>
            <a:lstStyle/>
            <a:p>
              <a:endParaRPr lang="uk-UA" sz="900"/>
            </a:p>
          </p:txBody>
        </p:sp>
        <p:sp>
          <p:nvSpPr>
            <p:cNvPr id="85" name="Freeform: Shape 84">
              <a:extLst>
                <a:ext uri="{FF2B5EF4-FFF2-40B4-BE49-F238E27FC236}">
                  <a16:creationId xmlns:a16="http://schemas.microsoft.com/office/drawing/2014/main" id="{AE0D3D83-4151-48A2-96AD-09609DC8039A}"/>
                </a:ext>
              </a:extLst>
            </p:cNvPr>
            <p:cNvSpPr/>
            <p:nvPr/>
          </p:nvSpPr>
          <p:spPr>
            <a:xfrm>
              <a:off x="20849520" y="1098754"/>
              <a:ext cx="435077" cy="435077"/>
            </a:xfrm>
            <a:custGeom>
              <a:avLst/>
              <a:gdLst>
                <a:gd name="connsiteX0" fmla="*/ 435077 w 435077"/>
                <a:gd name="connsiteY0" fmla="*/ 435077 h 435077"/>
                <a:gd name="connsiteX1" fmla="*/ 435077 w 435077"/>
                <a:gd name="connsiteY1" fmla="*/ 0 h 435077"/>
                <a:gd name="connsiteX2" fmla="*/ 217565 w 435077"/>
                <a:gd name="connsiteY2" fmla="*/ 217544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44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44"/>
                  </a:lnTo>
                  <a:lnTo>
                    <a:pt x="435077" y="435077"/>
                  </a:lnTo>
                  <a:close/>
                  <a:moveTo>
                    <a:pt x="0" y="435077"/>
                  </a:moveTo>
                  <a:lnTo>
                    <a:pt x="0" y="3"/>
                  </a:lnTo>
                  <a:lnTo>
                    <a:pt x="217539" y="217544"/>
                  </a:lnTo>
                  <a:lnTo>
                    <a:pt x="0" y="435077"/>
                  </a:lnTo>
                  <a:close/>
                </a:path>
              </a:pathLst>
            </a:custGeom>
            <a:grpFill/>
            <a:ln w="27192" cap="flat">
              <a:noFill/>
              <a:prstDash val="solid"/>
              <a:miter/>
            </a:ln>
          </p:spPr>
          <p:txBody>
            <a:bodyPr rtlCol="0" anchor="ctr"/>
            <a:lstStyle/>
            <a:p>
              <a:endParaRPr lang="uk-UA" sz="900"/>
            </a:p>
          </p:txBody>
        </p:sp>
        <p:sp>
          <p:nvSpPr>
            <p:cNvPr id="86" name="Freeform: Shape 85">
              <a:extLst>
                <a:ext uri="{FF2B5EF4-FFF2-40B4-BE49-F238E27FC236}">
                  <a16:creationId xmlns:a16="http://schemas.microsoft.com/office/drawing/2014/main" id="{03DA3177-E2F4-EFEF-A5FC-FD20181FC224}"/>
                </a:ext>
              </a:extLst>
            </p:cNvPr>
            <p:cNvSpPr/>
            <p:nvPr/>
          </p:nvSpPr>
          <p:spPr>
            <a:xfrm>
              <a:off x="22589856" y="1098754"/>
              <a:ext cx="435077" cy="435077"/>
            </a:xfrm>
            <a:custGeom>
              <a:avLst/>
              <a:gdLst>
                <a:gd name="connsiteX0" fmla="*/ 435077 w 435077"/>
                <a:gd name="connsiteY0" fmla="*/ 435077 h 435077"/>
                <a:gd name="connsiteX1" fmla="*/ 435077 w 435077"/>
                <a:gd name="connsiteY1" fmla="*/ 217547 h 435077"/>
                <a:gd name="connsiteX2" fmla="*/ 435077 w 435077"/>
                <a:gd name="connsiteY2" fmla="*/ 16 h 435077"/>
                <a:gd name="connsiteX3" fmla="*/ 217567 w 435077"/>
                <a:gd name="connsiteY3" fmla="*/ 16 h 435077"/>
                <a:gd name="connsiteX4" fmla="*/ 435077 w 435077"/>
                <a:gd name="connsiteY4" fmla="*/ 217547 h 435077"/>
                <a:gd name="connsiteX5" fmla="*/ 217567 w 435077"/>
                <a:gd name="connsiteY5" fmla="*/ 435077 h 435077"/>
                <a:gd name="connsiteX6" fmla="*/ 435077 w 435077"/>
                <a:gd name="connsiteY6" fmla="*/ 435077 h 435077"/>
                <a:gd name="connsiteX7" fmla="*/ 0 w 435077"/>
                <a:gd name="connsiteY7" fmla="*/ 217531 h 435077"/>
                <a:gd name="connsiteX8" fmla="*/ 0 w 435077"/>
                <a:gd name="connsiteY8" fmla="*/ 0 h 435077"/>
                <a:gd name="connsiteX9" fmla="*/ 217539 w 435077"/>
                <a:gd name="connsiteY9" fmla="*/ 217531 h 435077"/>
                <a:gd name="connsiteX10" fmla="*/ 0 w 435077"/>
                <a:gd name="connsiteY10" fmla="*/ 217531 h 435077"/>
                <a:gd name="connsiteX11" fmla="*/ 0 w 435077"/>
                <a:gd name="connsiteY11" fmla="*/ 435072 h 435077"/>
                <a:gd name="connsiteX12" fmla="*/ 0 w 435077"/>
                <a:gd name="connsiteY12" fmla="*/ 217541 h 435077"/>
                <a:gd name="connsiteX13" fmla="*/ 217539 w 435077"/>
                <a:gd name="connsiteY13" fmla="*/ 217541 h 435077"/>
                <a:gd name="connsiteX14" fmla="*/ 0 w 435077"/>
                <a:gd name="connsiteY14" fmla="*/ 43507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47"/>
                  </a:lnTo>
                  <a:lnTo>
                    <a:pt x="435077" y="16"/>
                  </a:lnTo>
                  <a:lnTo>
                    <a:pt x="217567" y="16"/>
                  </a:lnTo>
                  <a:lnTo>
                    <a:pt x="435077" y="217547"/>
                  </a:lnTo>
                  <a:lnTo>
                    <a:pt x="217567" y="435077"/>
                  </a:lnTo>
                  <a:lnTo>
                    <a:pt x="435077" y="435077"/>
                  </a:lnTo>
                  <a:close/>
                  <a:moveTo>
                    <a:pt x="0" y="217531"/>
                  </a:moveTo>
                  <a:lnTo>
                    <a:pt x="0" y="0"/>
                  </a:lnTo>
                  <a:lnTo>
                    <a:pt x="217539" y="217531"/>
                  </a:lnTo>
                  <a:lnTo>
                    <a:pt x="0" y="217531"/>
                  </a:lnTo>
                  <a:close/>
                  <a:moveTo>
                    <a:pt x="0" y="435072"/>
                  </a:moveTo>
                  <a:lnTo>
                    <a:pt x="0" y="217541"/>
                  </a:lnTo>
                  <a:lnTo>
                    <a:pt x="217539" y="217541"/>
                  </a:lnTo>
                  <a:lnTo>
                    <a:pt x="0" y="435072"/>
                  </a:lnTo>
                  <a:close/>
                </a:path>
              </a:pathLst>
            </a:custGeom>
            <a:grpFill/>
            <a:ln w="27192" cap="flat">
              <a:noFill/>
              <a:prstDash val="solid"/>
              <a:miter/>
            </a:ln>
          </p:spPr>
          <p:txBody>
            <a:bodyPr rtlCol="0" anchor="ctr"/>
            <a:lstStyle/>
            <a:p>
              <a:endParaRPr lang="uk-UA" sz="900"/>
            </a:p>
          </p:txBody>
        </p:sp>
        <p:sp>
          <p:nvSpPr>
            <p:cNvPr id="87" name="Freeform: Shape 86">
              <a:extLst>
                <a:ext uri="{FF2B5EF4-FFF2-40B4-BE49-F238E27FC236}">
                  <a16:creationId xmlns:a16="http://schemas.microsoft.com/office/drawing/2014/main" id="{94F09498-4254-F4B7-82DA-D147CBCCA2F4}"/>
                </a:ext>
              </a:extLst>
            </p:cNvPr>
            <p:cNvSpPr/>
            <p:nvPr/>
          </p:nvSpPr>
          <p:spPr>
            <a:xfrm>
              <a:off x="23460039" y="1098754"/>
              <a:ext cx="435077" cy="435077"/>
            </a:xfrm>
            <a:custGeom>
              <a:avLst/>
              <a:gdLst>
                <a:gd name="connsiteX0" fmla="*/ 217539 w 435077"/>
                <a:gd name="connsiteY0" fmla="*/ 435069 h 435077"/>
                <a:gd name="connsiteX1" fmla="*/ 217539 w 435077"/>
                <a:gd name="connsiteY1" fmla="*/ 0 h 435077"/>
                <a:gd name="connsiteX2" fmla="*/ 435077 w 435077"/>
                <a:gd name="connsiteY2" fmla="*/ 217541 h 435077"/>
                <a:gd name="connsiteX3" fmla="*/ 217539 w 435077"/>
                <a:gd name="connsiteY3" fmla="*/ 435069 h 435077"/>
                <a:gd name="connsiteX4" fmla="*/ 0 w 435077"/>
                <a:gd name="connsiteY4" fmla="*/ 435077 h 435077"/>
                <a:gd name="connsiteX5" fmla="*/ 0 w 435077"/>
                <a:gd name="connsiteY5" fmla="*/ 8 h 435077"/>
                <a:gd name="connsiteX6" fmla="*/ 217539 w 435077"/>
                <a:gd name="connsiteY6" fmla="*/ 217547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69"/>
                  </a:moveTo>
                  <a:lnTo>
                    <a:pt x="217539" y="0"/>
                  </a:lnTo>
                  <a:lnTo>
                    <a:pt x="435077" y="217541"/>
                  </a:lnTo>
                  <a:lnTo>
                    <a:pt x="217539" y="435069"/>
                  </a:lnTo>
                  <a:close/>
                  <a:moveTo>
                    <a:pt x="0" y="435077"/>
                  </a:moveTo>
                  <a:lnTo>
                    <a:pt x="0" y="8"/>
                  </a:lnTo>
                  <a:lnTo>
                    <a:pt x="217539" y="217547"/>
                  </a:lnTo>
                  <a:lnTo>
                    <a:pt x="0" y="435077"/>
                  </a:lnTo>
                  <a:close/>
                </a:path>
              </a:pathLst>
            </a:custGeom>
            <a:grpFill/>
            <a:ln w="27192" cap="flat">
              <a:noFill/>
              <a:prstDash val="solid"/>
              <a:miter/>
            </a:ln>
          </p:spPr>
          <p:txBody>
            <a:bodyPr rtlCol="0" anchor="ctr"/>
            <a:lstStyle/>
            <a:p>
              <a:endParaRPr lang="uk-UA" sz="900"/>
            </a:p>
          </p:txBody>
        </p:sp>
        <p:sp>
          <p:nvSpPr>
            <p:cNvPr id="88" name="Freeform: Shape 87">
              <a:extLst>
                <a:ext uri="{FF2B5EF4-FFF2-40B4-BE49-F238E27FC236}">
                  <a16:creationId xmlns:a16="http://schemas.microsoft.com/office/drawing/2014/main" id="{3643A378-31F6-D155-FED2-F59AE64F4CDB}"/>
                </a:ext>
              </a:extLst>
            </p:cNvPr>
            <p:cNvSpPr/>
            <p:nvPr/>
          </p:nvSpPr>
          <p:spPr>
            <a:xfrm>
              <a:off x="24330194" y="1098754"/>
              <a:ext cx="435077" cy="435077"/>
            </a:xfrm>
            <a:custGeom>
              <a:avLst/>
              <a:gdLst>
                <a:gd name="connsiteX0" fmla="*/ 435077 w 435077"/>
                <a:gd name="connsiteY0" fmla="*/ 435077 h 435077"/>
                <a:gd name="connsiteX1" fmla="*/ 435077 w 435077"/>
                <a:gd name="connsiteY1" fmla="*/ 0 h 435077"/>
                <a:gd name="connsiteX2" fmla="*/ 217539 w 435077"/>
                <a:gd name="connsiteY2" fmla="*/ 217544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44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44"/>
                  </a:lnTo>
                  <a:lnTo>
                    <a:pt x="435077" y="435077"/>
                  </a:lnTo>
                  <a:close/>
                  <a:moveTo>
                    <a:pt x="0" y="435077"/>
                  </a:moveTo>
                  <a:lnTo>
                    <a:pt x="0" y="3"/>
                  </a:lnTo>
                  <a:lnTo>
                    <a:pt x="217539" y="217544"/>
                  </a:lnTo>
                  <a:lnTo>
                    <a:pt x="0" y="435077"/>
                  </a:lnTo>
                  <a:close/>
                </a:path>
              </a:pathLst>
            </a:custGeom>
            <a:grpFill/>
            <a:ln w="27192" cap="flat">
              <a:noFill/>
              <a:prstDash val="solid"/>
              <a:miter/>
            </a:ln>
          </p:spPr>
          <p:txBody>
            <a:bodyPr rtlCol="0" anchor="ctr"/>
            <a:lstStyle/>
            <a:p>
              <a:endParaRPr lang="uk-UA" sz="900"/>
            </a:p>
          </p:txBody>
        </p:sp>
        <p:sp>
          <p:nvSpPr>
            <p:cNvPr id="89" name="Freeform: Shape 88">
              <a:extLst>
                <a:ext uri="{FF2B5EF4-FFF2-40B4-BE49-F238E27FC236}">
                  <a16:creationId xmlns:a16="http://schemas.microsoft.com/office/drawing/2014/main" id="{396247D2-BC50-DB53-966C-D0BD54D51D5A}"/>
                </a:ext>
              </a:extLst>
            </p:cNvPr>
            <p:cNvSpPr/>
            <p:nvPr/>
          </p:nvSpPr>
          <p:spPr>
            <a:xfrm>
              <a:off x="835769" y="5449529"/>
              <a:ext cx="435077" cy="435077"/>
            </a:xfrm>
            <a:custGeom>
              <a:avLst/>
              <a:gdLst>
                <a:gd name="connsiteX0" fmla="*/ 371366 w 435077"/>
                <a:gd name="connsiteY0" fmla="*/ 63712 h 435077"/>
                <a:gd name="connsiteX1" fmla="*/ 435077 w 435077"/>
                <a:gd name="connsiteY1" fmla="*/ 217539 h 435077"/>
                <a:gd name="connsiteX2" fmla="*/ 217702 w 435077"/>
                <a:gd name="connsiteY2" fmla="*/ 217539 h 435077"/>
                <a:gd name="connsiteX3" fmla="*/ 371366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1 w 435077"/>
                <a:gd name="connsiteY7" fmla="*/ 281250 h 435077"/>
                <a:gd name="connsiteX8" fmla="*/ 217375 w 435077"/>
                <a:gd name="connsiteY8" fmla="*/ 217539 h 435077"/>
                <a:gd name="connsiteX9" fmla="*/ 0 w 435077"/>
                <a:gd name="connsiteY9" fmla="*/ 217539 h 435077"/>
                <a:gd name="connsiteX10" fmla="*/ 63711 w 435077"/>
                <a:gd name="connsiteY10" fmla="*/ 63712 h 435077"/>
                <a:gd name="connsiteX11" fmla="*/ 217539 w 435077"/>
                <a:gd name="connsiteY11" fmla="*/ 0 h 435077"/>
                <a:gd name="connsiteX12" fmla="*/ 371366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2"/>
                  </a:moveTo>
                  <a:cubicBezTo>
                    <a:pt x="412154" y="104527"/>
                    <a:pt x="435077" y="159837"/>
                    <a:pt x="435077" y="217539"/>
                  </a:cubicBezTo>
                  <a:lnTo>
                    <a:pt x="217702" y="217539"/>
                  </a:lnTo>
                  <a:cubicBezTo>
                    <a:pt x="275349" y="217593"/>
                    <a:pt x="330604" y="240489"/>
                    <a:pt x="371366" y="281250"/>
                  </a:cubicBezTo>
                  <a:cubicBezTo>
                    <a:pt x="412154" y="322066"/>
                    <a:pt x="435077" y="377375"/>
                    <a:pt x="435077" y="435077"/>
                  </a:cubicBezTo>
                  <a:lnTo>
                    <a:pt x="217539" y="435077"/>
                  </a:lnTo>
                  <a:lnTo>
                    <a:pt x="0" y="435077"/>
                  </a:lnTo>
                  <a:cubicBezTo>
                    <a:pt x="0" y="377375"/>
                    <a:pt x="22923" y="322066"/>
                    <a:pt x="63711" y="281250"/>
                  </a:cubicBezTo>
                  <a:cubicBezTo>
                    <a:pt x="104473" y="240489"/>
                    <a:pt x="159728" y="217593"/>
                    <a:pt x="217375" y="217539"/>
                  </a:cubicBezTo>
                  <a:lnTo>
                    <a:pt x="0" y="217539"/>
                  </a:lnTo>
                  <a:cubicBezTo>
                    <a:pt x="0" y="159837"/>
                    <a:pt x="22923" y="104527"/>
                    <a:pt x="63711" y="63712"/>
                  </a:cubicBezTo>
                  <a:cubicBezTo>
                    <a:pt x="104500" y="22923"/>
                    <a:pt x="159836" y="0"/>
                    <a:pt x="217539" y="0"/>
                  </a:cubicBezTo>
                  <a:cubicBezTo>
                    <a:pt x="275213" y="0"/>
                    <a:pt x="330550" y="22923"/>
                    <a:pt x="371366" y="63712"/>
                  </a:cubicBezTo>
                  <a:close/>
                </a:path>
              </a:pathLst>
            </a:custGeom>
            <a:grpFill/>
            <a:ln w="27192" cap="flat">
              <a:noFill/>
              <a:prstDash val="solid"/>
              <a:miter/>
            </a:ln>
          </p:spPr>
          <p:txBody>
            <a:bodyPr rtlCol="0" anchor="ctr"/>
            <a:lstStyle/>
            <a:p>
              <a:endParaRPr lang="uk-UA" sz="900"/>
            </a:p>
          </p:txBody>
        </p:sp>
        <p:sp>
          <p:nvSpPr>
            <p:cNvPr id="90" name="Freeform: Shape 89">
              <a:extLst>
                <a:ext uri="{FF2B5EF4-FFF2-40B4-BE49-F238E27FC236}">
                  <a16:creationId xmlns:a16="http://schemas.microsoft.com/office/drawing/2014/main" id="{37724168-C59C-FF1E-3FCD-762DB1B7165D}"/>
                </a:ext>
              </a:extLst>
            </p:cNvPr>
            <p:cNvSpPr/>
            <p:nvPr/>
          </p:nvSpPr>
          <p:spPr>
            <a:xfrm>
              <a:off x="-34398" y="5449529"/>
              <a:ext cx="435090" cy="435077"/>
            </a:xfrm>
            <a:custGeom>
              <a:avLst/>
              <a:gdLst>
                <a:gd name="connsiteX0" fmla="*/ 217525 w 435090"/>
                <a:gd name="connsiteY0" fmla="*/ 0 h 435077"/>
                <a:gd name="connsiteX1" fmla="*/ 0 w 435090"/>
                <a:gd name="connsiteY1" fmla="*/ 0 h 435077"/>
                <a:gd name="connsiteX2" fmla="*/ 0 w 435090"/>
                <a:gd name="connsiteY2" fmla="*/ 217539 h 435077"/>
                <a:gd name="connsiteX3" fmla="*/ 217525 w 435090"/>
                <a:gd name="connsiteY3" fmla="*/ 0 h 435077"/>
                <a:gd name="connsiteX4" fmla="*/ 435091 w 435090"/>
                <a:gd name="connsiteY4" fmla="*/ 0 h 435077"/>
                <a:gd name="connsiteX5" fmla="*/ 435091 w 435090"/>
                <a:gd name="connsiteY5" fmla="*/ 217539 h 435077"/>
                <a:gd name="connsiteX6" fmla="*/ 217552 w 435090"/>
                <a:gd name="connsiteY6" fmla="*/ 0 h 435077"/>
                <a:gd name="connsiteX7" fmla="*/ 435091 w 435090"/>
                <a:gd name="connsiteY7" fmla="*/ 0 h 435077"/>
                <a:gd name="connsiteX8" fmla="*/ 217552 w 435090"/>
                <a:gd name="connsiteY8" fmla="*/ 435077 h 435077"/>
                <a:gd name="connsiteX9" fmla="*/ 435091 w 435090"/>
                <a:gd name="connsiteY9" fmla="*/ 217539 h 435077"/>
                <a:gd name="connsiteX10" fmla="*/ 435091 w 435090"/>
                <a:gd name="connsiteY10" fmla="*/ 435077 h 435077"/>
                <a:gd name="connsiteX11" fmla="*/ 217552 w 435090"/>
                <a:gd name="connsiteY11" fmla="*/ 435077 h 435077"/>
                <a:gd name="connsiteX12" fmla="*/ 217552 w 435090"/>
                <a:gd name="connsiteY12" fmla="*/ 435077 h 435077"/>
                <a:gd name="connsiteX13" fmla="*/ 11 w 435090"/>
                <a:gd name="connsiteY13" fmla="*/ 217539 h 435077"/>
                <a:gd name="connsiteX14" fmla="*/ 11 w 435090"/>
                <a:gd name="connsiteY14" fmla="*/ 435077 h 435077"/>
                <a:gd name="connsiteX15" fmla="*/ 217552 w 435090"/>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90" h="435077">
                  <a:moveTo>
                    <a:pt x="217525" y="0"/>
                  </a:moveTo>
                  <a:lnTo>
                    <a:pt x="0" y="0"/>
                  </a:lnTo>
                  <a:lnTo>
                    <a:pt x="0" y="217539"/>
                  </a:lnTo>
                  <a:lnTo>
                    <a:pt x="217525" y="0"/>
                  </a:lnTo>
                  <a:close/>
                  <a:moveTo>
                    <a:pt x="435091" y="0"/>
                  </a:moveTo>
                  <a:lnTo>
                    <a:pt x="435091" y="217539"/>
                  </a:lnTo>
                  <a:lnTo>
                    <a:pt x="217552" y="0"/>
                  </a:lnTo>
                  <a:lnTo>
                    <a:pt x="435091" y="0"/>
                  </a:lnTo>
                  <a:close/>
                  <a:moveTo>
                    <a:pt x="217552" y="435077"/>
                  </a:moveTo>
                  <a:lnTo>
                    <a:pt x="435091" y="217539"/>
                  </a:lnTo>
                  <a:lnTo>
                    <a:pt x="435091" y="435077"/>
                  </a:lnTo>
                  <a:lnTo>
                    <a:pt x="217552" y="435077"/>
                  </a:lnTo>
                  <a:close/>
                  <a:moveTo>
                    <a:pt x="217552" y="435077"/>
                  </a:moveTo>
                  <a:lnTo>
                    <a:pt x="11" y="217539"/>
                  </a:lnTo>
                  <a:lnTo>
                    <a:pt x="11" y="435077"/>
                  </a:lnTo>
                  <a:lnTo>
                    <a:pt x="217552" y="435077"/>
                  </a:lnTo>
                  <a:close/>
                </a:path>
              </a:pathLst>
            </a:custGeom>
            <a:grpFill/>
            <a:ln w="27192" cap="flat">
              <a:noFill/>
              <a:prstDash val="solid"/>
              <a:miter/>
            </a:ln>
          </p:spPr>
          <p:txBody>
            <a:bodyPr rtlCol="0" anchor="ctr"/>
            <a:lstStyle/>
            <a:p>
              <a:endParaRPr lang="uk-UA" sz="900"/>
            </a:p>
          </p:txBody>
        </p:sp>
        <p:sp>
          <p:nvSpPr>
            <p:cNvPr id="91" name="Freeform: Shape 90">
              <a:extLst>
                <a:ext uri="{FF2B5EF4-FFF2-40B4-BE49-F238E27FC236}">
                  <a16:creationId xmlns:a16="http://schemas.microsoft.com/office/drawing/2014/main" id="{CD5A0458-5AAB-034F-65A1-199F77C2E3A7}"/>
                </a:ext>
              </a:extLst>
            </p:cNvPr>
            <p:cNvSpPr/>
            <p:nvPr/>
          </p:nvSpPr>
          <p:spPr>
            <a:xfrm>
              <a:off x="1705924" y="544952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92" name="Freeform: Shape 91">
              <a:extLst>
                <a:ext uri="{FF2B5EF4-FFF2-40B4-BE49-F238E27FC236}">
                  <a16:creationId xmlns:a16="http://schemas.microsoft.com/office/drawing/2014/main" id="{F50B4C4F-13A7-A73C-E51B-49480D251D59}"/>
                </a:ext>
              </a:extLst>
            </p:cNvPr>
            <p:cNvSpPr/>
            <p:nvPr/>
          </p:nvSpPr>
          <p:spPr>
            <a:xfrm>
              <a:off x="2576106" y="5449529"/>
              <a:ext cx="435077" cy="435077"/>
            </a:xfrm>
            <a:custGeom>
              <a:avLst/>
              <a:gdLst>
                <a:gd name="connsiteX0" fmla="*/ 0 w 435077"/>
                <a:gd name="connsiteY0" fmla="*/ 435077 h 435077"/>
                <a:gd name="connsiteX1" fmla="*/ 217512 w 435077"/>
                <a:gd name="connsiteY1" fmla="*/ 435077 h 435077"/>
                <a:gd name="connsiteX2" fmla="*/ 217512 w 435077"/>
                <a:gd name="connsiteY2" fmla="*/ 217566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66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12" y="435077"/>
                  </a:lnTo>
                  <a:lnTo>
                    <a:pt x="217512" y="217566"/>
                  </a:lnTo>
                  <a:lnTo>
                    <a:pt x="0" y="435077"/>
                  </a:lnTo>
                  <a:close/>
                  <a:moveTo>
                    <a:pt x="217539" y="0"/>
                  </a:moveTo>
                  <a:lnTo>
                    <a:pt x="0" y="0"/>
                  </a:lnTo>
                  <a:lnTo>
                    <a:pt x="217539" y="217539"/>
                  </a:lnTo>
                  <a:lnTo>
                    <a:pt x="217539" y="0"/>
                  </a:lnTo>
                  <a:close/>
                  <a:moveTo>
                    <a:pt x="435077" y="435077"/>
                  </a:moveTo>
                  <a:lnTo>
                    <a:pt x="217539" y="435077"/>
                  </a:lnTo>
                  <a:lnTo>
                    <a:pt x="435077" y="217566"/>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93" name="Freeform: Shape 92">
              <a:extLst>
                <a:ext uri="{FF2B5EF4-FFF2-40B4-BE49-F238E27FC236}">
                  <a16:creationId xmlns:a16="http://schemas.microsoft.com/office/drawing/2014/main" id="{82FDCC4C-65DF-9E98-633D-927F7BA9917A}"/>
                </a:ext>
              </a:extLst>
            </p:cNvPr>
            <p:cNvSpPr/>
            <p:nvPr/>
          </p:nvSpPr>
          <p:spPr>
            <a:xfrm>
              <a:off x="4316416" y="5449529"/>
              <a:ext cx="435103" cy="435077"/>
            </a:xfrm>
            <a:custGeom>
              <a:avLst/>
              <a:gdLst>
                <a:gd name="connsiteX0" fmla="*/ 371365 w 435103"/>
                <a:gd name="connsiteY0" fmla="*/ 63712 h 435077"/>
                <a:gd name="connsiteX1" fmla="*/ 435077 w 435103"/>
                <a:gd name="connsiteY1" fmla="*/ 217539 h 435077"/>
                <a:gd name="connsiteX2" fmla="*/ 217729 w 435103"/>
                <a:gd name="connsiteY2" fmla="*/ 217539 h 435077"/>
                <a:gd name="connsiteX3" fmla="*/ 371365 w 435103"/>
                <a:gd name="connsiteY3" fmla="*/ 281250 h 435077"/>
                <a:gd name="connsiteX4" fmla="*/ 435104 w 435103"/>
                <a:gd name="connsiteY4" fmla="*/ 435077 h 435077"/>
                <a:gd name="connsiteX5" fmla="*/ 217565 w 435103"/>
                <a:gd name="connsiteY5" fmla="*/ 435077 h 435077"/>
                <a:gd name="connsiteX6" fmla="*/ 27 w 435103"/>
                <a:gd name="connsiteY6" fmla="*/ 435077 h 435077"/>
                <a:gd name="connsiteX7" fmla="*/ 63739 w 435103"/>
                <a:gd name="connsiteY7" fmla="*/ 281250 h 435077"/>
                <a:gd name="connsiteX8" fmla="*/ 217375 w 435103"/>
                <a:gd name="connsiteY8" fmla="*/ 217539 h 435077"/>
                <a:gd name="connsiteX9" fmla="*/ 0 w 435103"/>
                <a:gd name="connsiteY9" fmla="*/ 217539 h 435077"/>
                <a:gd name="connsiteX10" fmla="*/ 63739 w 435103"/>
                <a:gd name="connsiteY10" fmla="*/ 63712 h 435077"/>
                <a:gd name="connsiteX11" fmla="*/ 217539 w 435103"/>
                <a:gd name="connsiteY11" fmla="*/ 0 h 435077"/>
                <a:gd name="connsiteX12" fmla="*/ 371365 w 435103"/>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3" h="435077">
                  <a:moveTo>
                    <a:pt x="371365" y="63712"/>
                  </a:moveTo>
                  <a:cubicBezTo>
                    <a:pt x="412181" y="104527"/>
                    <a:pt x="435077" y="159837"/>
                    <a:pt x="435077" y="217539"/>
                  </a:cubicBezTo>
                  <a:lnTo>
                    <a:pt x="217729" y="217539"/>
                  </a:lnTo>
                  <a:cubicBezTo>
                    <a:pt x="275349" y="217593"/>
                    <a:pt x="330632" y="240489"/>
                    <a:pt x="371365" y="281250"/>
                  </a:cubicBezTo>
                  <a:cubicBezTo>
                    <a:pt x="412181" y="322066"/>
                    <a:pt x="435104" y="377375"/>
                    <a:pt x="435104" y="435077"/>
                  </a:cubicBezTo>
                  <a:lnTo>
                    <a:pt x="217565" y="435077"/>
                  </a:lnTo>
                  <a:lnTo>
                    <a:pt x="27" y="435077"/>
                  </a:lnTo>
                  <a:cubicBezTo>
                    <a:pt x="27" y="377375"/>
                    <a:pt x="22923" y="322066"/>
                    <a:pt x="63739" y="281250"/>
                  </a:cubicBezTo>
                  <a:cubicBezTo>
                    <a:pt x="104500" y="240489"/>
                    <a:pt x="159755" y="217593"/>
                    <a:pt x="217375" y="217539"/>
                  </a:cubicBezTo>
                  <a:lnTo>
                    <a:pt x="0" y="217539"/>
                  </a:lnTo>
                  <a:cubicBezTo>
                    <a:pt x="0" y="159837"/>
                    <a:pt x="22923" y="104527"/>
                    <a:pt x="63739" y="63712"/>
                  </a:cubicBezTo>
                  <a:cubicBezTo>
                    <a:pt x="104527" y="22923"/>
                    <a:pt x="159864" y="0"/>
                    <a:pt x="217539" y="0"/>
                  </a:cubicBezTo>
                  <a:cubicBezTo>
                    <a:pt x="275240" y="0"/>
                    <a:pt x="330577" y="22923"/>
                    <a:pt x="371365" y="63712"/>
                  </a:cubicBezTo>
                  <a:close/>
                </a:path>
              </a:pathLst>
            </a:custGeom>
            <a:grpFill/>
            <a:ln w="27192" cap="flat">
              <a:noFill/>
              <a:prstDash val="solid"/>
              <a:miter/>
            </a:ln>
          </p:spPr>
          <p:txBody>
            <a:bodyPr rtlCol="0" anchor="ctr"/>
            <a:lstStyle/>
            <a:p>
              <a:endParaRPr lang="uk-UA" sz="900"/>
            </a:p>
          </p:txBody>
        </p:sp>
        <p:sp>
          <p:nvSpPr>
            <p:cNvPr id="94" name="Freeform: Shape 93">
              <a:extLst>
                <a:ext uri="{FF2B5EF4-FFF2-40B4-BE49-F238E27FC236}">
                  <a16:creationId xmlns:a16="http://schemas.microsoft.com/office/drawing/2014/main" id="{DAEE8789-922B-AB48-7C9D-4AE3377265C2}"/>
                </a:ext>
              </a:extLst>
            </p:cNvPr>
            <p:cNvSpPr/>
            <p:nvPr/>
          </p:nvSpPr>
          <p:spPr>
            <a:xfrm>
              <a:off x="3446261" y="5449529"/>
              <a:ext cx="435077" cy="435077"/>
            </a:xfrm>
            <a:custGeom>
              <a:avLst/>
              <a:gdLst>
                <a:gd name="connsiteX0" fmla="*/ 217566 w 435077"/>
                <a:gd name="connsiteY0" fmla="*/ 0 h 435077"/>
                <a:gd name="connsiteX1" fmla="*/ 217539 w 435077"/>
                <a:gd name="connsiteY1" fmla="*/ 0 h 435077"/>
                <a:gd name="connsiteX2" fmla="*/ 27 w 435077"/>
                <a:gd name="connsiteY2" fmla="*/ 0 h 435077"/>
                <a:gd name="connsiteX3" fmla="*/ 27 w 435077"/>
                <a:gd name="connsiteY3" fmla="*/ 217539 h 435077"/>
                <a:gd name="connsiteX4" fmla="*/ 217539 w 435077"/>
                <a:gd name="connsiteY4" fmla="*/ 0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66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66" y="0"/>
                  </a:moveTo>
                  <a:lnTo>
                    <a:pt x="217539" y="0"/>
                  </a:lnTo>
                  <a:lnTo>
                    <a:pt x="27" y="0"/>
                  </a:lnTo>
                  <a:lnTo>
                    <a:pt x="27" y="217539"/>
                  </a:lnTo>
                  <a:lnTo>
                    <a:pt x="217539" y="0"/>
                  </a:lnTo>
                  <a:lnTo>
                    <a:pt x="435077" y="217539"/>
                  </a:lnTo>
                  <a:lnTo>
                    <a:pt x="217539" y="435077"/>
                  </a:lnTo>
                  <a:lnTo>
                    <a:pt x="0" y="217539"/>
                  </a:lnTo>
                  <a:lnTo>
                    <a:pt x="0" y="435077"/>
                  </a:lnTo>
                  <a:lnTo>
                    <a:pt x="217539" y="435077"/>
                  </a:lnTo>
                  <a:lnTo>
                    <a:pt x="435077" y="435077"/>
                  </a:lnTo>
                  <a:lnTo>
                    <a:pt x="435077" y="217539"/>
                  </a:lnTo>
                  <a:lnTo>
                    <a:pt x="435077" y="0"/>
                  </a:lnTo>
                  <a:lnTo>
                    <a:pt x="217566" y="0"/>
                  </a:lnTo>
                  <a:close/>
                </a:path>
              </a:pathLst>
            </a:custGeom>
            <a:grpFill/>
            <a:ln w="27192" cap="flat">
              <a:noFill/>
              <a:prstDash val="solid"/>
              <a:miter/>
            </a:ln>
          </p:spPr>
          <p:txBody>
            <a:bodyPr rtlCol="0" anchor="ctr"/>
            <a:lstStyle/>
            <a:p>
              <a:endParaRPr lang="uk-UA" sz="900"/>
            </a:p>
          </p:txBody>
        </p:sp>
        <p:sp>
          <p:nvSpPr>
            <p:cNvPr id="95" name="Freeform: Shape 94">
              <a:extLst>
                <a:ext uri="{FF2B5EF4-FFF2-40B4-BE49-F238E27FC236}">
                  <a16:creationId xmlns:a16="http://schemas.microsoft.com/office/drawing/2014/main" id="{624EC51A-5274-ED29-9D87-6124C09FF241}"/>
                </a:ext>
              </a:extLst>
            </p:cNvPr>
            <p:cNvSpPr/>
            <p:nvPr/>
          </p:nvSpPr>
          <p:spPr>
            <a:xfrm>
              <a:off x="5186597" y="5449529"/>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0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39 h 435077"/>
                <a:gd name="connsiteX9" fmla="*/ 435077 w 435077"/>
                <a:gd name="connsiteY9" fmla="*/ 217539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0"/>
                  </a:lnTo>
                  <a:lnTo>
                    <a:pt x="435077" y="217539"/>
                  </a:lnTo>
                  <a:lnTo>
                    <a:pt x="435077" y="217539"/>
                  </a:lnTo>
                  <a:lnTo>
                    <a:pt x="435077" y="217539"/>
                  </a:lnTo>
                  <a:lnTo>
                    <a:pt x="435077" y="217539"/>
                  </a:lnTo>
                  <a:lnTo>
                    <a:pt x="435077" y="217539"/>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96" name="Freeform: Shape 95">
              <a:extLst>
                <a:ext uri="{FF2B5EF4-FFF2-40B4-BE49-F238E27FC236}">
                  <a16:creationId xmlns:a16="http://schemas.microsoft.com/office/drawing/2014/main" id="{21BFC8B8-4B74-CB8C-679E-DA8B15288D34}"/>
                </a:ext>
              </a:extLst>
            </p:cNvPr>
            <p:cNvSpPr/>
            <p:nvPr/>
          </p:nvSpPr>
          <p:spPr>
            <a:xfrm>
              <a:off x="6056752" y="5449529"/>
              <a:ext cx="435077" cy="435077"/>
            </a:xfrm>
            <a:custGeom>
              <a:avLst/>
              <a:gdLst>
                <a:gd name="connsiteX0" fmla="*/ 0 w 435077"/>
                <a:gd name="connsiteY0" fmla="*/ 435077 h 435077"/>
                <a:gd name="connsiteX1" fmla="*/ 217539 w 435077"/>
                <a:gd name="connsiteY1" fmla="*/ 435077 h 435077"/>
                <a:gd name="connsiteX2" fmla="*/ 217539 w 435077"/>
                <a:gd name="connsiteY2" fmla="*/ 217566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66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66"/>
                  </a:lnTo>
                  <a:lnTo>
                    <a:pt x="0" y="435077"/>
                  </a:lnTo>
                  <a:close/>
                  <a:moveTo>
                    <a:pt x="217539" y="0"/>
                  </a:moveTo>
                  <a:lnTo>
                    <a:pt x="0" y="0"/>
                  </a:lnTo>
                  <a:lnTo>
                    <a:pt x="217539" y="217539"/>
                  </a:lnTo>
                  <a:lnTo>
                    <a:pt x="217539" y="0"/>
                  </a:lnTo>
                  <a:close/>
                  <a:moveTo>
                    <a:pt x="435077" y="435077"/>
                  </a:moveTo>
                  <a:lnTo>
                    <a:pt x="217539" y="435077"/>
                  </a:lnTo>
                  <a:lnTo>
                    <a:pt x="435077" y="217566"/>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97" name="Freeform: Shape 96">
              <a:extLst>
                <a:ext uri="{FF2B5EF4-FFF2-40B4-BE49-F238E27FC236}">
                  <a16:creationId xmlns:a16="http://schemas.microsoft.com/office/drawing/2014/main" id="{63066C2B-4A83-2206-55A2-16D4D3CF50CC}"/>
                </a:ext>
              </a:extLst>
            </p:cNvPr>
            <p:cNvSpPr/>
            <p:nvPr/>
          </p:nvSpPr>
          <p:spPr>
            <a:xfrm>
              <a:off x="7797062" y="5449529"/>
              <a:ext cx="435104" cy="435077"/>
            </a:xfrm>
            <a:custGeom>
              <a:avLst/>
              <a:gdLst>
                <a:gd name="connsiteX0" fmla="*/ 371366 w 435104"/>
                <a:gd name="connsiteY0" fmla="*/ 63712 h 435077"/>
                <a:gd name="connsiteX1" fmla="*/ 435077 w 435104"/>
                <a:gd name="connsiteY1" fmla="*/ 217539 h 435077"/>
                <a:gd name="connsiteX2" fmla="*/ 217730 w 435104"/>
                <a:gd name="connsiteY2" fmla="*/ 217539 h 435077"/>
                <a:gd name="connsiteX3" fmla="*/ 371366 w 435104"/>
                <a:gd name="connsiteY3" fmla="*/ 281250 h 435077"/>
                <a:gd name="connsiteX4" fmla="*/ 435105 w 435104"/>
                <a:gd name="connsiteY4" fmla="*/ 435077 h 435077"/>
                <a:gd name="connsiteX5" fmla="*/ 217566 w 435104"/>
                <a:gd name="connsiteY5" fmla="*/ 435077 h 435077"/>
                <a:gd name="connsiteX6" fmla="*/ 27 w 435104"/>
                <a:gd name="connsiteY6" fmla="*/ 435077 h 435077"/>
                <a:gd name="connsiteX7" fmla="*/ 63739 w 435104"/>
                <a:gd name="connsiteY7" fmla="*/ 281250 h 435077"/>
                <a:gd name="connsiteX8" fmla="*/ 217376 w 435104"/>
                <a:gd name="connsiteY8" fmla="*/ 217539 h 435077"/>
                <a:gd name="connsiteX9" fmla="*/ 0 w 435104"/>
                <a:gd name="connsiteY9" fmla="*/ 217539 h 435077"/>
                <a:gd name="connsiteX10" fmla="*/ 63739 w 435104"/>
                <a:gd name="connsiteY10" fmla="*/ 63712 h 435077"/>
                <a:gd name="connsiteX11" fmla="*/ 217539 w 435104"/>
                <a:gd name="connsiteY11" fmla="*/ 0 h 435077"/>
                <a:gd name="connsiteX12" fmla="*/ 371366 w 435104"/>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4" h="435077">
                  <a:moveTo>
                    <a:pt x="371366" y="63712"/>
                  </a:moveTo>
                  <a:cubicBezTo>
                    <a:pt x="412182" y="104527"/>
                    <a:pt x="435077" y="159837"/>
                    <a:pt x="435077" y="217539"/>
                  </a:cubicBezTo>
                  <a:lnTo>
                    <a:pt x="217730" y="217539"/>
                  </a:lnTo>
                  <a:cubicBezTo>
                    <a:pt x="275350" y="217593"/>
                    <a:pt x="330632" y="240489"/>
                    <a:pt x="371366" y="281250"/>
                  </a:cubicBezTo>
                  <a:cubicBezTo>
                    <a:pt x="412182" y="322066"/>
                    <a:pt x="435105" y="377375"/>
                    <a:pt x="435105" y="435077"/>
                  </a:cubicBezTo>
                  <a:lnTo>
                    <a:pt x="217566" y="435077"/>
                  </a:lnTo>
                  <a:lnTo>
                    <a:pt x="27" y="435077"/>
                  </a:lnTo>
                  <a:cubicBezTo>
                    <a:pt x="27" y="377375"/>
                    <a:pt x="22924" y="322066"/>
                    <a:pt x="63739" y="281250"/>
                  </a:cubicBezTo>
                  <a:cubicBezTo>
                    <a:pt x="104501" y="240489"/>
                    <a:pt x="159755" y="217593"/>
                    <a:pt x="217376" y="217539"/>
                  </a:cubicBezTo>
                  <a:lnTo>
                    <a:pt x="0" y="217539"/>
                  </a:lnTo>
                  <a:cubicBezTo>
                    <a:pt x="0" y="159837"/>
                    <a:pt x="22924" y="104527"/>
                    <a:pt x="63739" y="63712"/>
                  </a:cubicBezTo>
                  <a:cubicBezTo>
                    <a:pt x="104527" y="22923"/>
                    <a:pt x="159864" y="0"/>
                    <a:pt x="217539" y="0"/>
                  </a:cubicBezTo>
                  <a:cubicBezTo>
                    <a:pt x="275241" y="0"/>
                    <a:pt x="330578" y="22923"/>
                    <a:pt x="371366" y="63712"/>
                  </a:cubicBezTo>
                  <a:close/>
                </a:path>
              </a:pathLst>
            </a:custGeom>
            <a:grpFill/>
            <a:ln w="27192" cap="flat">
              <a:noFill/>
              <a:prstDash val="solid"/>
              <a:miter/>
            </a:ln>
          </p:spPr>
          <p:txBody>
            <a:bodyPr rtlCol="0" anchor="ctr"/>
            <a:lstStyle/>
            <a:p>
              <a:endParaRPr lang="uk-UA" sz="900"/>
            </a:p>
          </p:txBody>
        </p:sp>
        <p:sp>
          <p:nvSpPr>
            <p:cNvPr id="98" name="Freeform: Shape 97">
              <a:extLst>
                <a:ext uri="{FF2B5EF4-FFF2-40B4-BE49-F238E27FC236}">
                  <a16:creationId xmlns:a16="http://schemas.microsoft.com/office/drawing/2014/main" id="{20691F79-F4F0-4753-E951-B7135DC97A37}"/>
                </a:ext>
              </a:extLst>
            </p:cNvPr>
            <p:cNvSpPr/>
            <p:nvPr/>
          </p:nvSpPr>
          <p:spPr>
            <a:xfrm>
              <a:off x="6926907" y="544952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p>
          </p:txBody>
        </p:sp>
        <p:sp>
          <p:nvSpPr>
            <p:cNvPr id="99" name="Freeform: Shape 98">
              <a:extLst>
                <a:ext uri="{FF2B5EF4-FFF2-40B4-BE49-F238E27FC236}">
                  <a16:creationId xmlns:a16="http://schemas.microsoft.com/office/drawing/2014/main" id="{CCBA62EE-EB3E-B7FB-F3A2-5507A34629C9}"/>
                </a:ext>
              </a:extLst>
            </p:cNvPr>
            <p:cNvSpPr/>
            <p:nvPr/>
          </p:nvSpPr>
          <p:spPr>
            <a:xfrm>
              <a:off x="8667217" y="5449529"/>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0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39 h 435077"/>
                <a:gd name="connsiteX9" fmla="*/ 435077 w 435077"/>
                <a:gd name="connsiteY9" fmla="*/ 217539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0"/>
                  </a:lnTo>
                  <a:lnTo>
                    <a:pt x="435077" y="217539"/>
                  </a:lnTo>
                  <a:lnTo>
                    <a:pt x="435077" y="217539"/>
                  </a:lnTo>
                  <a:lnTo>
                    <a:pt x="435077" y="217539"/>
                  </a:lnTo>
                  <a:lnTo>
                    <a:pt x="435077" y="217539"/>
                  </a:lnTo>
                  <a:lnTo>
                    <a:pt x="435077" y="217539"/>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100" name="Freeform: Shape 99">
              <a:extLst>
                <a:ext uri="{FF2B5EF4-FFF2-40B4-BE49-F238E27FC236}">
                  <a16:creationId xmlns:a16="http://schemas.microsoft.com/office/drawing/2014/main" id="{6203390F-D7DB-3A80-1CF3-9EC3B5FA34E9}"/>
                </a:ext>
              </a:extLst>
            </p:cNvPr>
            <p:cNvSpPr/>
            <p:nvPr/>
          </p:nvSpPr>
          <p:spPr>
            <a:xfrm>
              <a:off x="9537399" y="5449529"/>
              <a:ext cx="435077" cy="435077"/>
            </a:xfrm>
            <a:custGeom>
              <a:avLst/>
              <a:gdLst>
                <a:gd name="connsiteX0" fmla="*/ 0 w 435077"/>
                <a:gd name="connsiteY0" fmla="*/ 435077 h 435077"/>
                <a:gd name="connsiteX1" fmla="*/ 217511 w 435077"/>
                <a:gd name="connsiteY1" fmla="*/ 435077 h 435077"/>
                <a:gd name="connsiteX2" fmla="*/ 217511 w 435077"/>
                <a:gd name="connsiteY2" fmla="*/ 217539 h 435077"/>
                <a:gd name="connsiteX3" fmla="*/ 0 w 435077"/>
                <a:gd name="connsiteY3" fmla="*/ 435077 h 435077"/>
                <a:gd name="connsiteX4" fmla="*/ 217511 w 435077"/>
                <a:gd name="connsiteY4" fmla="*/ 0 h 435077"/>
                <a:gd name="connsiteX5" fmla="*/ 0 w 435077"/>
                <a:gd name="connsiteY5" fmla="*/ 0 h 435077"/>
                <a:gd name="connsiteX6" fmla="*/ 217511 w 435077"/>
                <a:gd name="connsiteY6" fmla="*/ 217539 h 435077"/>
                <a:gd name="connsiteX7" fmla="*/ 217511 w 435077"/>
                <a:gd name="connsiteY7" fmla="*/ 0 h 435077"/>
                <a:gd name="connsiteX8" fmla="*/ 435077 w 435077"/>
                <a:gd name="connsiteY8" fmla="*/ 435077 h 435077"/>
                <a:gd name="connsiteX9" fmla="*/ 217539 w 435077"/>
                <a:gd name="connsiteY9" fmla="*/ 435077 h 435077"/>
                <a:gd name="connsiteX10" fmla="*/ 435077 w 435077"/>
                <a:gd name="connsiteY10" fmla="*/ 217566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11" y="435077"/>
                  </a:lnTo>
                  <a:lnTo>
                    <a:pt x="217511" y="217539"/>
                  </a:lnTo>
                  <a:lnTo>
                    <a:pt x="0" y="435077"/>
                  </a:lnTo>
                  <a:close/>
                  <a:moveTo>
                    <a:pt x="217511" y="0"/>
                  </a:moveTo>
                  <a:lnTo>
                    <a:pt x="0" y="0"/>
                  </a:lnTo>
                  <a:lnTo>
                    <a:pt x="217511" y="217539"/>
                  </a:lnTo>
                  <a:lnTo>
                    <a:pt x="217511" y="0"/>
                  </a:lnTo>
                  <a:close/>
                  <a:moveTo>
                    <a:pt x="435077" y="435077"/>
                  </a:moveTo>
                  <a:lnTo>
                    <a:pt x="217539" y="435077"/>
                  </a:lnTo>
                  <a:lnTo>
                    <a:pt x="435077" y="217566"/>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101" name="Freeform: Shape 100">
              <a:extLst>
                <a:ext uri="{FF2B5EF4-FFF2-40B4-BE49-F238E27FC236}">
                  <a16:creationId xmlns:a16="http://schemas.microsoft.com/office/drawing/2014/main" id="{5BB68470-E097-EDAB-F817-0551204D29F2}"/>
                </a:ext>
              </a:extLst>
            </p:cNvPr>
            <p:cNvSpPr/>
            <p:nvPr/>
          </p:nvSpPr>
          <p:spPr>
            <a:xfrm>
              <a:off x="11277709" y="5449529"/>
              <a:ext cx="435077" cy="435077"/>
            </a:xfrm>
            <a:custGeom>
              <a:avLst/>
              <a:gdLst>
                <a:gd name="connsiteX0" fmla="*/ 371365 w 435077"/>
                <a:gd name="connsiteY0" fmla="*/ 63712 h 435077"/>
                <a:gd name="connsiteX1" fmla="*/ 435077 w 435077"/>
                <a:gd name="connsiteY1" fmla="*/ 217539 h 435077"/>
                <a:gd name="connsiteX2" fmla="*/ 217701 w 435077"/>
                <a:gd name="connsiteY2" fmla="*/ 217539 h 435077"/>
                <a:gd name="connsiteX3" fmla="*/ 371365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0 w 435077"/>
                <a:gd name="connsiteY7" fmla="*/ 281250 h 435077"/>
                <a:gd name="connsiteX8" fmla="*/ 217374 w 435077"/>
                <a:gd name="connsiteY8" fmla="*/ 217539 h 435077"/>
                <a:gd name="connsiteX9" fmla="*/ 0 w 435077"/>
                <a:gd name="connsiteY9" fmla="*/ 217539 h 435077"/>
                <a:gd name="connsiteX10" fmla="*/ 63710 w 435077"/>
                <a:gd name="connsiteY10" fmla="*/ 63712 h 435077"/>
                <a:gd name="connsiteX11" fmla="*/ 217539 w 435077"/>
                <a:gd name="connsiteY11" fmla="*/ 0 h 435077"/>
                <a:gd name="connsiteX12" fmla="*/ 371365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12"/>
                  </a:moveTo>
                  <a:cubicBezTo>
                    <a:pt x="412154" y="104527"/>
                    <a:pt x="435077" y="159837"/>
                    <a:pt x="435077" y="217539"/>
                  </a:cubicBezTo>
                  <a:lnTo>
                    <a:pt x="217701" y="217539"/>
                  </a:lnTo>
                  <a:cubicBezTo>
                    <a:pt x="275349" y="217593"/>
                    <a:pt x="330603" y="240489"/>
                    <a:pt x="371365" y="281250"/>
                  </a:cubicBezTo>
                  <a:cubicBezTo>
                    <a:pt x="412154" y="322066"/>
                    <a:pt x="435077" y="377375"/>
                    <a:pt x="435077" y="435077"/>
                  </a:cubicBezTo>
                  <a:lnTo>
                    <a:pt x="217539" y="435077"/>
                  </a:lnTo>
                  <a:lnTo>
                    <a:pt x="0" y="435077"/>
                  </a:lnTo>
                  <a:cubicBezTo>
                    <a:pt x="0" y="377375"/>
                    <a:pt x="22922" y="322066"/>
                    <a:pt x="63710" y="281250"/>
                  </a:cubicBezTo>
                  <a:cubicBezTo>
                    <a:pt x="104472" y="240489"/>
                    <a:pt x="159727" y="217593"/>
                    <a:pt x="217374" y="217539"/>
                  </a:cubicBezTo>
                  <a:lnTo>
                    <a:pt x="0" y="217539"/>
                  </a:lnTo>
                  <a:cubicBezTo>
                    <a:pt x="0" y="159837"/>
                    <a:pt x="22922" y="104527"/>
                    <a:pt x="63710" y="63712"/>
                  </a:cubicBezTo>
                  <a:cubicBezTo>
                    <a:pt x="104499" y="22923"/>
                    <a:pt x="159836" y="0"/>
                    <a:pt x="217539" y="0"/>
                  </a:cubicBezTo>
                  <a:cubicBezTo>
                    <a:pt x="275239" y="0"/>
                    <a:pt x="330549" y="22923"/>
                    <a:pt x="371365" y="63712"/>
                  </a:cubicBezTo>
                  <a:close/>
                </a:path>
              </a:pathLst>
            </a:custGeom>
            <a:grpFill/>
            <a:ln w="27192" cap="flat">
              <a:noFill/>
              <a:prstDash val="solid"/>
              <a:miter/>
            </a:ln>
          </p:spPr>
          <p:txBody>
            <a:bodyPr rtlCol="0" anchor="ctr"/>
            <a:lstStyle/>
            <a:p>
              <a:endParaRPr lang="uk-UA" sz="900"/>
            </a:p>
          </p:txBody>
        </p:sp>
        <p:sp>
          <p:nvSpPr>
            <p:cNvPr id="102" name="Freeform: Shape 101">
              <a:extLst>
                <a:ext uri="{FF2B5EF4-FFF2-40B4-BE49-F238E27FC236}">
                  <a16:creationId xmlns:a16="http://schemas.microsoft.com/office/drawing/2014/main" id="{FA088D09-1EC5-80C0-9C9E-EEDDE0BBC4F4}"/>
                </a:ext>
              </a:extLst>
            </p:cNvPr>
            <p:cNvSpPr/>
            <p:nvPr/>
          </p:nvSpPr>
          <p:spPr>
            <a:xfrm>
              <a:off x="10407554" y="544952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103" name="Freeform: Shape 102">
              <a:extLst>
                <a:ext uri="{FF2B5EF4-FFF2-40B4-BE49-F238E27FC236}">
                  <a16:creationId xmlns:a16="http://schemas.microsoft.com/office/drawing/2014/main" id="{7066AC4B-C41F-6CA9-2336-6C7B00BE3634}"/>
                </a:ext>
              </a:extLst>
            </p:cNvPr>
            <p:cNvSpPr/>
            <p:nvPr/>
          </p:nvSpPr>
          <p:spPr>
            <a:xfrm>
              <a:off x="12147836" y="544952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104" name="Freeform: Shape 103">
              <a:extLst>
                <a:ext uri="{FF2B5EF4-FFF2-40B4-BE49-F238E27FC236}">
                  <a16:creationId xmlns:a16="http://schemas.microsoft.com/office/drawing/2014/main" id="{A8F4A1B3-0C6F-2499-8766-185D06C5B31D}"/>
                </a:ext>
              </a:extLst>
            </p:cNvPr>
            <p:cNvSpPr/>
            <p:nvPr/>
          </p:nvSpPr>
          <p:spPr>
            <a:xfrm>
              <a:off x="13018045" y="5449529"/>
              <a:ext cx="435077" cy="435077"/>
            </a:xfrm>
            <a:custGeom>
              <a:avLst/>
              <a:gdLst>
                <a:gd name="connsiteX0" fmla="*/ 0 w 435077"/>
                <a:gd name="connsiteY0" fmla="*/ 435077 h 435077"/>
                <a:gd name="connsiteX1" fmla="*/ 217539 w 435077"/>
                <a:gd name="connsiteY1" fmla="*/ 435077 h 435077"/>
                <a:gd name="connsiteX2" fmla="*/ 217539 w 435077"/>
                <a:gd name="connsiteY2" fmla="*/ 217566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66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66"/>
                  </a:lnTo>
                  <a:lnTo>
                    <a:pt x="0" y="435077"/>
                  </a:lnTo>
                  <a:close/>
                  <a:moveTo>
                    <a:pt x="217539" y="0"/>
                  </a:moveTo>
                  <a:lnTo>
                    <a:pt x="0" y="0"/>
                  </a:lnTo>
                  <a:lnTo>
                    <a:pt x="217539" y="217539"/>
                  </a:lnTo>
                  <a:lnTo>
                    <a:pt x="217539" y="0"/>
                  </a:lnTo>
                  <a:close/>
                  <a:moveTo>
                    <a:pt x="435077" y="435077"/>
                  </a:moveTo>
                  <a:lnTo>
                    <a:pt x="217539" y="435077"/>
                  </a:lnTo>
                  <a:lnTo>
                    <a:pt x="435077" y="217566"/>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105" name="Freeform: Shape 104">
              <a:extLst>
                <a:ext uri="{FF2B5EF4-FFF2-40B4-BE49-F238E27FC236}">
                  <a16:creationId xmlns:a16="http://schemas.microsoft.com/office/drawing/2014/main" id="{21E5363A-6937-BFC1-70A4-39DE1C708ABB}"/>
                </a:ext>
              </a:extLst>
            </p:cNvPr>
            <p:cNvSpPr/>
            <p:nvPr/>
          </p:nvSpPr>
          <p:spPr>
            <a:xfrm>
              <a:off x="14758382" y="5449529"/>
              <a:ext cx="435077" cy="435077"/>
            </a:xfrm>
            <a:custGeom>
              <a:avLst/>
              <a:gdLst>
                <a:gd name="connsiteX0" fmla="*/ 371367 w 435077"/>
                <a:gd name="connsiteY0" fmla="*/ 63712 h 435077"/>
                <a:gd name="connsiteX1" fmla="*/ 435077 w 435077"/>
                <a:gd name="connsiteY1" fmla="*/ 217539 h 435077"/>
                <a:gd name="connsiteX2" fmla="*/ 217703 w 435077"/>
                <a:gd name="connsiteY2" fmla="*/ 217539 h 435077"/>
                <a:gd name="connsiteX3" fmla="*/ 371367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7376 w 435077"/>
                <a:gd name="connsiteY8" fmla="*/ 217539 h 435077"/>
                <a:gd name="connsiteX9" fmla="*/ 0 w 435077"/>
                <a:gd name="connsiteY9" fmla="*/ 217539 h 435077"/>
                <a:gd name="connsiteX10" fmla="*/ 63712 w 435077"/>
                <a:gd name="connsiteY10" fmla="*/ 63712 h 435077"/>
                <a:gd name="connsiteX11" fmla="*/ 217539 w 435077"/>
                <a:gd name="connsiteY11" fmla="*/ 0 h 435077"/>
                <a:gd name="connsiteX12" fmla="*/ 371367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7" y="63712"/>
                  </a:moveTo>
                  <a:cubicBezTo>
                    <a:pt x="412155" y="104527"/>
                    <a:pt x="435077" y="159837"/>
                    <a:pt x="435077" y="217539"/>
                  </a:cubicBezTo>
                  <a:lnTo>
                    <a:pt x="217703" y="217539"/>
                  </a:lnTo>
                  <a:cubicBezTo>
                    <a:pt x="275351" y="217593"/>
                    <a:pt x="330605" y="240489"/>
                    <a:pt x="371367" y="281250"/>
                  </a:cubicBezTo>
                  <a:cubicBezTo>
                    <a:pt x="412155" y="322066"/>
                    <a:pt x="435077" y="377375"/>
                    <a:pt x="435077" y="435077"/>
                  </a:cubicBezTo>
                  <a:lnTo>
                    <a:pt x="217539" y="435077"/>
                  </a:lnTo>
                  <a:lnTo>
                    <a:pt x="0" y="435077"/>
                  </a:lnTo>
                  <a:cubicBezTo>
                    <a:pt x="0" y="377375"/>
                    <a:pt x="22924" y="322066"/>
                    <a:pt x="63712" y="281250"/>
                  </a:cubicBezTo>
                  <a:cubicBezTo>
                    <a:pt x="104474" y="240489"/>
                    <a:pt x="159728" y="217593"/>
                    <a:pt x="217376" y="217539"/>
                  </a:cubicBezTo>
                  <a:lnTo>
                    <a:pt x="0" y="217539"/>
                  </a:lnTo>
                  <a:cubicBezTo>
                    <a:pt x="0" y="159837"/>
                    <a:pt x="22924" y="104527"/>
                    <a:pt x="63712" y="63712"/>
                  </a:cubicBezTo>
                  <a:cubicBezTo>
                    <a:pt x="104501" y="22923"/>
                    <a:pt x="159836" y="0"/>
                    <a:pt x="217539" y="0"/>
                  </a:cubicBezTo>
                  <a:cubicBezTo>
                    <a:pt x="275241" y="0"/>
                    <a:pt x="330550" y="22923"/>
                    <a:pt x="371367" y="63712"/>
                  </a:cubicBezTo>
                  <a:close/>
                </a:path>
              </a:pathLst>
            </a:custGeom>
            <a:grpFill/>
            <a:ln w="27192" cap="flat">
              <a:noFill/>
              <a:prstDash val="solid"/>
              <a:miter/>
            </a:ln>
          </p:spPr>
          <p:txBody>
            <a:bodyPr rtlCol="0" anchor="ctr"/>
            <a:lstStyle/>
            <a:p>
              <a:endParaRPr lang="uk-UA" sz="900"/>
            </a:p>
          </p:txBody>
        </p:sp>
        <p:sp>
          <p:nvSpPr>
            <p:cNvPr id="106" name="Freeform: Shape 105">
              <a:extLst>
                <a:ext uri="{FF2B5EF4-FFF2-40B4-BE49-F238E27FC236}">
                  <a16:creationId xmlns:a16="http://schemas.microsoft.com/office/drawing/2014/main" id="{C5EC7086-950D-264D-D574-D9E30A7A0DC4}"/>
                </a:ext>
              </a:extLst>
            </p:cNvPr>
            <p:cNvSpPr/>
            <p:nvPr/>
          </p:nvSpPr>
          <p:spPr>
            <a:xfrm>
              <a:off x="13888200" y="5449529"/>
              <a:ext cx="435077" cy="435077"/>
            </a:xfrm>
            <a:custGeom>
              <a:avLst/>
              <a:gdLst>
                <a:gd name="connsiteX0" fmla="*/ 217565 w 435077"/>
                <a:gd name="connsiteY0" fmla="*/ 0 h 435077"/>
                <a:gd name="connsiteX1" fmla="*/ 217539 w 435077"/>
                <a:gd name="connsiteY1" fmla="*/ 0 h 435077"/>
                <a:gd name="connsiteX2" fmla="*/ 27 w 435077"/>
                <a:gd name="connsiteY2" fmla="*/ 0 h 435077"/>
                <a:gd name="connsiteX3" fmla="*/ 27 w 435077"/>
                <a:gd name="connsiteY3" fmla="*/ 217539 h 435077"/>
                <a:gd name="connsiteX4" fmla="*/ 217565 w 435077"/>
                <a:gd name="connsiteY4" fmla="*/ 0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65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65" y="0"/>
                  </a:moveTo>
                  <a:lnTo>
                    <a:pt x="217539" y="0"/>
                  </a:lnTo>
                  <a:lnTo>
                    <a:pt x="27" y="0"/>
                  </a:lnTo>
                  <a:lnTo>
                    <a:pt x="27" y="217539"/>
                  </a:lnTo>
                  <a:lnTo>
                    <a:pt x="217565" y="0"/>
                  </a:lnTo>
                  <a:lnTo>
                    <a:pt x="435077" y="217539"/>
                  </a:lnTo>
                  <a:lnTo>
                    <a:pt x="217539" y="435077"/>
                  </a:lnTo>
                  <a:lnTo>
                    <a:pt x="0" y="217539"/>
                  </a:lnTo>
                  <a:lnTo>
                    <a:pt x="0" y="435077"/>
                  </a:lnTo>
                  <a:lnTo>
                    <a:pt x="217539" y="435077"/>
                  </a:lnTo>
                  <a:lnTo>
                    <a:pt x="435077" y="435077"/>
                  </a:lnTo>
                  <a:lnTo>
                    <a:pt x="435077" y="217539"/>
                  </a:lnTo>
                  <a:lnTo>
                    <a:pt x="435077" y="0"/>
                  </a:lnTo>
                  <a:lnTo>
                    <a:pt x="217565" y="0"/>
                  </a:lnTo>
                  <a:close/>
                </a:path>
              </a:pathLst>
            </a:custGeom>
            <a:grpFill/>
            <a:ln w="27192" cap="flat">
              <a:noFill/>
              <a:prstDash val="solid"/>
              <a:miter/>
            </a:ln>
          </p:spPr>
          <p:txBody>
            <a:bodyPr rtlCol="0" anchor="ctr"/>
            <a:lstStyle/>
            <a:p>
              <a:endParaRPr lang="uk-UA" sz="900"/>
            </a:p>
          </p:txBody>
        </p:sp>
        <p:sp>
          <p:nvSpPr>
            <p:cNvPr id="107" name="Freeform: Shape 106">
              <a:extLst>
                <a:ext uri="{FF2B5EF4-FFF2-40B4-BE49-F238E27FC236}">
                  <a16:creationId xmlns:a16="http://schemas.microsoft.com/office/drawing/2014/main" id="{9C80C7D0-9194-CC56-EA27-CE4C090E0E97}"/>
                </a:ext>
              </a:extLst>
            </p:cNvPr>
            <p:cNvSpPr/>
            <p:nvPr/>
          </p:nvSpPr>
          <p:spPr>
            <a:xfrm>
              <a:off x="15628536" y="5449529"/>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0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39 h 435077"/>
                <a:gd name="connsiteX9" fmla="*/ 435077 w 435077"/>
                <a:gd name="connsiteY9" fmla="*/ 217539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0"/>
                  </a:lnTo>
                  <a:lnTo>
                    <a:pt x="435077" y="217539"/>
                  </a:lnTo>
                  <a:lnTo>
                    <a:pt x="435077" y="217539"/>
                  </a:lnTo>
                  <a:lnTo>
                    <a:pt x="435077" y="217539"/>
                  </a:lnTo>
                  <a:lnTo>
                    <a:pt x="435077" y="217539"/>
                  </a:lnTo>
                  <a:lnTo>
                    <a:pt x="435077" y="217539"/>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108" name="Freeform: Shape 107">
              <a:extLst>
                <a:ext uri="{FF2B5EF4-FFF2-40B4-BE49-F238E27FC236}">
                  <a16:creationId xmlns:a16="http://schemas.microsoft.com/office/drawing/2014/main" id="{AB9DD040-2350-91DF-F69F-68FD31A08534}"/>
                </a:ext>
              </a:extLst>
            </p:cNvPr>
            <p:cNvSpPr/>
            <p:nvPr/>
          </p:nvSpPr>
          <p:spPr>
            <a:xfrm>
              <a:off x="16498719" y="5449529"/>
              <a:ext cx="435077" cy="435077"/>
            </a:xfrm>
            <a:custGeom>
              <a:avLst/>
              <a:gdLst>
                <a:gd name="connsiteX0" fmla="*/ 0 w 435077"/>
                <a:gd name="connsiteY0" fmla="*/ 435077 h 435077"/>
                <a:gd name="connsiteX1" fmla="*/ 217510 w 435077"/>
                <a:gd name="connsiteY1" fmla="*/ 435077 h 435077"/>
                <a:gd name="connsiteX2" fmla="*/ 217510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66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10" y="435077"/>
                  </a:lnTo>
                  <a:lnTo>
                    <a:pt x="217510" y="217539"/>
                  </a:lnTo>
                  <a:lnTo>
                    <a:pt x="0" y="435077"/>
                  </a:lnTo>
                  <a:close/>
                  <a:moveTo>
                    <a:pt x="217539" y="0"/>
                  </a:moveTo>
                  <a:lnTo>
                    <a:pt x="0" y="0"/>
                  </a:lnTo>
                  <a:lnTo>
                    <a:pt x="217539" y="217539"/>
                  </a:lnTo>
                  <a:lnTo>
                    <a:pt x="217539" y="0"/>
                  </a:lnTo>
                  <a:close/>
                  <a:moveTo>
                    <a:pt x="435077" y="435077"/>
                  </a:moveTo>
                  <a:lnTo>
                    <a:pt x="217539" y="435077"/>
                  </a:lnTo>
                  <a:lnTo>
                    <a:pt x="435077" y="217566"/>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109" name="Freeform: Shape 108">
              <a:extLst>
                <a:ext uri="{FF2B5EF4-FFF2-40B4-BE49-F238E27FC236}">
                  <a16:creationId xmlns:a16="http://schemas.microsoft.com/office/drawing/2014/main" id="{24DD53D9-231F-5B6B-4C29-E3E4313044D2}"/>
                </a:ext>
              </a:extLst>
            </p:cNvPr>
            <p:cNvSpPr/>
            <p:nvPr/>
          </p:nvSpPr>
          <p:spPr>
            <a:xfrm>
              <a:off x="18239029" y="5449529"/>
              <a:ext cx="435077" cy="435077"/>
            </a:xfrm>
            <a:custGeom>
              <a:avLst/>
              <a:gdLst>
                <a:gd name="connsiteX0" fmla="*/ 371365 w 435077"/>
                <a:gd name="connsiteY0" fmla="*/ 63712 h 435077"/>
                <a:gd name="connsiteX1" fmla="*/ 435077 w 435077"/>
                <a:gd name="connsiteY1" fmla="*/ 217539 h 435077"/>
                <a:gd name="connsiteX2" fmla="*/ 217701 w 435077"/>
                <a:gd name="connsiteY2" fmla="*/ 217539 h 435077"/>
                <a:gd name="connsiteX3" fmla="*/ 371365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0 w 435077"/>
                <a:gd name="connsiteY7" fmla="*/ 281250 h 435077"/>
                <a:gd name="connsiteX8" fmla="*/ 217374 w 435077"/>
                <a:gd name="connsiteY8" fmla="*/ 217539 h 435077"/>
                <a:gd name="connsiteX9" fmla="*/ 0 w 435077"/>
                <a:gd name="connsiteY9" fmla="*/ 217539 h 435077"/>
                <a:gd name="connsiteX10" fmla="*/ 63710 w 435077"/>
                <a:gd name="connsiteY10" fmla="*/ 63712 h 435077"/>
                <a:gd name="connsiteX11" fmla="*/ 217539 w 435077"/>
                <a:gd name="connsiteY11" fmla="*/ 0 h 435077"/>
                <a:gd name="connsiteX12" fmla="*/ 371365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12"/>
                  </a:moveTo>
                  <a:cubicBezTo>
                    <a:pt x="412154" y="104527"/>
                    <a:pt x="435077" y="159837"/>
                    <a:pt x="435077" y="217539"/>
                  </a:cubicBezTo>
                  <a:lnTo>
                    <a:pt x="217701" y="217539"/>
                  </a:lnTo>
                  <a:cubicBezTo>
                    <a:pt x="275349" y="217593"/>
                    <a:pt x="330603" y="240489"/>
                    <a:pt x="371365" y="281250"/>
                  </a:cubicBezTo>
                  <a:cubicBezTo>
                    <a:pt x="412154" y="322066"/>
                    <a:pt x="435077" y="377375"/>
                    <a:pt x="435077" y="435077"/>
                  </a:cubicBezTo>
                  <a:lnTo>
                    <a:pt x="217539" y="435077"/>
                  </a:lnTo>
                  <a:lnTo>
                    <a:pt x="0" y="435077"/>
                  </a:lnTo>
                  <a:cubicBezTo>
                    <a:pt x="0" y="377375"/>
                    <a:pt x="22922" y="322066"/>
                    <a:pt x="63710" y="281250"/>
                  </a:cubicBezTo>
                  <a:cubicBezTo>
                    <a:pt x="104472" y="240489"/>
                    <a:pt x="159755" y="217593"/>
                    <a:pt x="217374" y="217539"/>
                  </a:cubicBezTo>
                  <a:lnTo>
                    <a:pt x="0" y="217539"/>
                  </a:lnTo>
                  <a:cubicBezTo>
                    <a:pt x="0" y="159837"/>
                    <a:pt x="22922" y="104527"/>
                    <a:pt x="63710" y="63712"/>
                  </a:cubicBezTo>
                  <a:cubicBezTo>
                    <a:pt x="104527" y="22923"/>
                    <a:pt x="159836" y="0"/>
                    <a:pt x="217539" y="0"/>
                  </a:cubicBezTo>
                  <a:cubicBezTo>
                    <a:pt x="275241" y="0"/>
                    <a:pt x="330577" y="22923"/>
                    <a:pt x="371365" y="63712"/>
                  </a:cubicBezTo>
                  <a:close/>
                </a:path>
              </a:pathLst>
            </a:custGeom>
            <a:grpFill/>
            <a:ln w="27192" cap="flat">
              <a:noFill/>
              <a:prstDash val="solid"/>
              <a:miter/>
            </a:ln>
          </p:spPr>
          <p:txBody>
            <a:bodyPr rtlCol="0" anchor="ctr"/>
            <a:lstStyle/>
            <a:p>
              <a:endParaRPr lang="uk-UA" sz="900"/>
            </a:p>
          </p:txBody>
        </p:sp>
        <p:sp>
          <p:nvSpPr>
            <p:cNvPr id="110" name="Freeform: Shape 109">
              <a:extLst>
                <a:ext uri="{FF2B5EF4-FFF2-40B4-BE49-F238E27FC236}">
                  <a16:creationId xmlns:a16="http://schemas.microsoft.com/office/drawing/2014/main" id="{6FC3CAFD-0714-D7B5-3A99-843E86329E96}"/>
                </a:ext>
              </a:extLst>
            </p:cNvPr>
            <p:cNvSpPr/>
            <p:nvPr/>
          </p:nvSpPr>
          <p:spPr>
            <a:xfrm>
              <a:off x="17368874" y="544952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111" name="Freeform: Shape 110">
              <a:extLst>
                <a:ext uri="{FF2B5EF4-FFF2-40B4-BE49-F238E27FC236}">
                  <a16:creationId xmlns:a16="http://schemas.microsoft.com/office/drawing/2014/main" id="{B3391B93-AE61-6CC0-E437-BF1B2D4CA3BA}"/>
                </a:ext>
              </a:extLst>
            </p:cNvPr>
            <p:cNvSpPr/>
            <p:nvPr/>
          </p:nvSpPr>
          <p:spPr>
            <a:xfrm>
              <a:off x="19109210" y="544952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51 w 435077"/>
                <a:gd name="connsiteY7" fmla="*/ 217539 h 435077"/>
                <a:gd name="connsiteX8" fmla="*/ 435077 w 435077"/>
                <a:gd name="connsiteY8" fmla="*/ 217539 h 435077"/>
                <a:gd name="connsiteX9" fmla="*/ 435051 w 435077"/>
                <a:gd name="connsiteY9" fmla="*/ 217539 h 435077"/>
                <a:gd name="connsiteX10" fmla="*/ 435077 w 435077"/>
                <a:gd name="connsiteY10" fmla="*/ 217539 h 435077"/>
                <a:gd name="connsiteX11" fmla="*/ 435051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51" y="217539"/>
                  </a:lnTo>
                  <a:lnTo>
                    <a:pt x="435077" y="217539"/>
                  </a:lnTo>
                  <a:lnTo>
                    <a:pt x="435051" y="217539"/>
                  </a:lnTo>
                  <a:lnTo>
                    <a:pt x="435077" y="217539"/>
                  </a:lnTo>
                  <a:lnTo>
                    <a:pt x="435051"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112" name="Freeform: Shape 111">
              <a:extLst>
                <a:ext uri="{FF2B5EF4-FFF2-40B4-BE49-F238E27FC236}">
                  <a16:creationId xmlns:a16="http://schemas.microsoft.com/office/drawing/2014/main" id="{53D45C76-45CC-FABB-F103-304B8AE4600A}"/>
                </a:ext>
              </a:extLst>
            </p:cNvPr>
            <p:cNvSpPr/>
            <p:nvPr/>
          </p:nvSpPr>
          <p:spPr>
            <a:xfrm>
              <a:off x="19979365" y="5449529"/>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66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39" y="435077"/>
                  </a:lnTo>
                  <a:lnTo>
                    <a:pt x="435077" y="217566"/>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113" name="Freeform: Shape 112">
              <a:extLst>
                <a:ext uri="{FF2B5EF4-FFF2-40B4-BE49-F238E27FC236}">
                  <a16:creationId xmlns:a16="http://schemas.microsoft.com/office/drawing/2014/main" id="{C0899F14-B4C1-266D-7820-9A2720A82397}"/>
                </a:ext>
              </a:extLst>
            </p:cNvPr>
            <p:cNvSpPr/>
            <p:nvPr/>
          </p:nvSpPr>
          <p:spPr>
            <a:xfrm>
              <a:off x="21719702" y="5449529"/>
              <a:ext cx="435077" cy="435077"/>
            </a:xfrm>
            <a:custGeom>
              <a:avLst/>
              <a:gdLst>
                <a:gd name="connsiteX0" fmla="*/ 371339 w 435077"/>
                <a:gd name="connsiteY0" fmla="*/ 63712 h 435077"/>
                <a:gd name="connsiteX1" fmla="*/ 435077 w 435077"/>
                <a:gd name="connsiteY1" fmla="*/ 217539 h 435077"/>
                <a:gd name="connsiteX2" fmla="*/ 217703 w 435077"/>
                <a:gd name="connsiteY2" fmla="*/ 217539 h 435077"/>
                <a:gd name="connsiteX3" fmla="*/ 371367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7350 w 435077"/>
                <a:gd name="connsiteY8" fmla="*/ 217539 h 435077"/>
                <a:gd name="connsiteX9" fmla="*/ 0 w 435077"/>
                <a:gd name="connsiteY9" fmla="*/ 217539 h 435077"/>
                <a:gd name="connsiteX10" fmla="*/ 63712 w 435077"/>
                <a:gd name="connsiteY10" fmla="*/ 63712 h 435077"/>
                <a:gd name="connsiteX11" fmla="*/ 217539 w 435077"/>
                <a:gd name="connsiteY11" fmla="*/ 0 h 435077"/>
                <a:gd name="connsiteX12" fmla="*/ 371339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12"/>
                  </a:moveTo>
                  <a:cubicBezTo>
                    <a:pt x="412155" y="104527"/>
                    <a:pt x="435077" y="159837"/>
                    <a:pt x="435077" y="217539"/>
                  </a:cubicBezTo>
                  <a:lnTo>
                    <a:pt x="217703" y="217539"/>
                  </a:lnTo>
                  <a:cubicBezTo>
                    <a:pt x="275322" y="217593"/>
                    <a:pt x="330605" y="240489"/>
                    <a:pt x="371367" y="281250"/>
                  </a:cubicBezTo>
                  <a:cubicBezTo>
                    <a:pt x="412155" y="322066"/>
                    <a:pt x="435077" y="377375"/>
                    <a:pt x="435077" y="435077"/>
                  </a:cubicBezTo>
                  <a:lnTo>
                    <a:pt x="217539" y="435077"/>
                  </a:lnTo>
                  <a:lnTo>
                    <a:pt x="0" y="435077"/>
                  </a:lnTo>
                  <a:cubicBezTo>
                    <a:pt x="0" y="377375"/>
                    <a:pt x="22924" y="322066"/>
                    <a:pt x="63712" y="281250"/>
                  </a:cubicBezTo>
                  <a:cubicBezTo>
                    <a:pt x="104474" y="240489"/>
                    <a:pt x="159728" y="217593"/>
                    <a:pt x="217350" y="217539"/>
                  </a:cubicBezTo>
                  <a:lnTo>
                    <a:pt x="0" y="217539"/>
                  </a:lnTo>
                  <a:cubicBezTo>
                    <a:pt x="0" y="159837"/>
                    <a:pt x="22897" y="104527"/>
                    <a:pt x="63712" y="63712"/>
                  </a:cubicBezTo>
                  <a:cubicBezTo>
                    <a:pt x="104501" y="22923"/>
                    <a:pt x="159838" y="0"/>
                    <a:pt x="217539" y="0"/>
                  </a:cubicBezTo>
                  <a:cubicBezTo>
                    <a:pt x="275215" y="0"/>
                    <a:pt x="330550" y="22923"/>
                    <a:pt x="371339" y="63712"/>
                  </a:cubicBezTo>
                  <a:close/>
                </a:path>
              </a:pathLst>
            </a:custGeom>
            <a:grpFill/>
            <a:ln w="27192" cap="flat">
              <a:noFill/>
              <a:prstDash val="solid"/>
              <a:miter/>
            </a:ln>
          </p:spPr>
          <p:txBody>
            <a:bodyPr rtlCol="0" anchor="ctr"/>
            <a:lstStyle/>
            <a:p>
              <a:endParaRPr lang="uk-UA" sz="900"/>
            </a:p>
          </p:txBody>
        </p:sp>
        <p:sp>
          <p:nvSpPr>
            <p:cNvPr id="114" name="Freeform: Shape 113">
              <a:extLst>
                <a:ext uri="{FF2B5EF4-FFF2-40B4-BE49-F238E27FC236}">
                  <a16:creationId xmlns:a16="http://schemas.microsoft.com/office/drawing/2014/main" id="{C07AA058-4396-7FED-D1BD-9E74920DFAF9}"/>
                </a:ext>
              </a:extLst>
            </p:cNvPr>
            <p:cNvSpPr/>
            <p:nvPr/>
          </p:nvSpPr>
          <p:spPr>
            <a:xfrm>
              <a:off x="20849520" y="5449529"/>
              <a:ext cx="435103" cy="435077"/>
            </a:xfrm>
            <a:custGeom>
              <a:avLst/>
              <a:gdLst>
                <a:gd name="connsiteX0" fmla="*/ 217539 w 435103"/>
                <a:gd name="connsiteY0" fmla="*/ 0 h 435077"/>
                <a:gd name="connsiteX1" fmla="*/ 0 w 435103"/>
                <a:gd name="connsiteY1" fmla="*/ 0 h 435077"/>
                <a:gd name="connsiteX2" fmla="*/ 0 w 435103"/>
                <a:gd name="connsiteY2" fmla="*/ 217539 h 435077"/>
                <a:gd name="connsiteX3" fmla="*/ 217539 w 435103"/>
                <a:gd name="connsiteY3" fmla="*/ 0 h 435077"/>
                <a:gd name="connsiteX4" fmla="*/ 435104 w 435103"/>
                <a:gd name="connsiteY4" fmla="*/ 0 h 435077"/>
                <a:gd name="connsiteX5" fmla="*/ 435104 w 435103"/>
                <a:gd name="connsiteY5" fmla="*/ 217539 h 435077"/>
                <a:gd name="connsiteX6" fmla="*/ 217565 w 435103"/>
                <a:gd name="connsiteY6" fmla="*/ 0 h 435077"/>
                <a:gd name="connsiteX7" fmla="*/ 435104 w 435103"/>
                <a:gd name="connsiteY7" fmla="*/ 0 h 435077"/>
                <a:gd name="connsiteX8" fmla="*/ 217565 w 435103"/>
                <a:gd name="connsiteY8" fmla="*/ 435077 h 435077"/>
                <a:gd name="connsiteX9" fmla="*/ 435104 w 435103"/>
                <a:gd name="connsiteY9" fmla="*/ 217539 h 435077"/>
                <a:gd name="connsiteX10" fmla="*/ 435104 w 435103"/>
                <a:gd name="connsiteY10" fmla="*/ 435077 h 435077"/>
                <a:gd name="connsiteX11" fmla="*/ 217565 w 435103"/>
                <a:gd name="connsiteY11" fmla="*/ 435077 h 435077"/>
                <a:gd name="connsiteX12" fmla="*/ 217565 w 435103"/>
                <a:gd name="connsiteY12" fmla="*/ 435077 h 435077"/>
                <a:gd name="connsiteX13" fmla="*/ 27 w 435103"/>
                <a:gd name="connsiteY13" fmla="*/ 217539 h 435077"/>
                <a:gd name="connsiteX14" fmla="*/ 27 w 435103"/>
                <a:gd name="connsiteY14" fmla="*/ 435077 h 435077"/>
                <a:gd name="connsiteX15" fmla="*/ 217565 w 435103"/>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3" h="435077">
                  <a:moveTo>
                    <a:pt x="217539" y="0"/>
                  </a:moveTo>
                  <a:lnTo>
                    <a:pt x="0" y="0"/>
                  </a:lnTo>
                  <a:lnTo>
                    <a:pt x="0" y="217539"/>
                  </a:lnTo>
                  <a:lnTo>
                    <a:pt x="217539" y="0"/>
                  </a:lnTo>
                  <a:close/>
                  <a:moveTo>
                    <a:pt x="435104" y="0"/>
                  </a:moveTo>
                  <a:lnTo>
                    <a:pt x="435104" y="217539"/>
                  </a:lnTo>
                  <a:lnTo>
                    <a:pt x="217565" y="0"/>
                  </a:lnTo>
                  <a:lnTo>
                    <a:pt x="435104" y="0"/>
                  </a:lnTo>
                  <a:close/>
                  <a:moveTo>
                    <a:pt x="217565" y="435077"/>
                  </a:moveTo>
                  <a:lnTo>
                    <a:pt x="435104" y="217539"/>
                  </a:lnTo>
                  <a:lnTo>
                    <a:pt x="435104" y="435077"/>
                  </a:lnTo>
                  <a:lnTo>
                    <a:pt x="217565" y="435077"/>
                  </a:lnTo>
                  <a:close/>
                  <a:moveTo>
                    <a:pt x="217565" y="435077"/>
                  </a:moveTo>
                  <a:lnTo>
                    <a:pt x="27" y="217539"/>
                  </a:lnTo>
                  <a:lnTo>
                    <a:pt x="27" y="435077"/>
                  </a:lnTo>
                  <a:lnTo>
                    <a:pt x="217565" y="435077"/>
                  </a:lnTo>
                  <a:close/>
                </a:path>
              </a:pathLst>
            </a:custGeom>
            <a:grpFill/>
            <a:ln w="27192" cap="flat">
              <a:noFill/>
              <a:prstDash val="solid"/>
              <a:miter/>
            </a:ln>
          </p:spPr>
          <p:txBody>
            <a:bodyPr rtlCol="0" anchor="ctr"/>
            <a:lstStyle/>
            <a:p>
              <a:endParaRPr lang="uk-UA" sz="900"/>
            </a:p>
          </p:txBody>
        </p:sp>
        <p:sp>
          <p:nvSpPr>
            <p:cNvPr id="115" name="Freeform: Shape 114">
              <a:extLst>
                <a:ext uri="{FF2B5EF4-FFF2-40B4-BE49-F238E27FC236}">
                  <a16:creationId xmlns:a16="http://schemas.microsoft.com/office/drawing/2014/main" id="{41C81A4F-2E53-36DA-B35B-F81474A4AB36}"/>
                </a:ext>
              </a:extLst>
            </p:cNvPr>
            <p:cNvSpPr/>
            <p:nvPr/>
          </p:nvSpPr>
          <p:spPr>
            <a:xfrm>
              <a:off x="22589856" y="544952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116" name="Freeform: Shape 115">
              <a:extLst>
                <a:ext uri="{FF2B5EF4-FFF2-40B4-BE49-F238E27FC236}">
                  <a16:creationId xmlns:a16="http://schemas.microsoft.com/office/drawing/2014/main" id="{69F83D31-2E97-B60C-08C0-1704B2BE282B}"/>
                </a:ext>
              </a:extLst>
            </p:cNvPr>
            <p:cNvSpPr/>
            <p:nvPr/>
          </p:nvSpPr>
          <p:spPr>
            <a:xfrm>
              <a:off x="23460039" y="5449529"/>
              <a:ext cx="435077" cy="435077"/>
            </a:xfrm>
            <a:custGeom>
              <a:avLst/>
              <a:gdLst>
                <a:gd name="connsiteX0" fmla="*/ 0 w 435077"/>
                <a:gd name="connsiteY0" fmla="*/ 435077 h 435077"/>
                <a:gd name="connsiteX1" fmla="*/ 217510 w 435077"/>
                <a:gd name="connsiteY1" fmla="*/ 435077 h 435077"/>
                <a:gd name="connsiteX2" fmla="*/ 217510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66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10" y="435077"/>
                  </a:lnTo>
                  <a:lnTo>
                    <a:pt x="217510" y="217539"/>
                  </a:lnTo>
                  <a:lnTo>
                    <a:pt x="0" y="435077"/>
                  </a:lnTo>
                  <a:close/>
                  <a:moveTo>
                    <a:pt x="217539" y="0"/>
                  </a:moveTo>
                  <a:lnTo>
                    <a:pt x="0" y="0"/>
                  </a:lnTo>
                  <a:lnTo>
                    <a:pt x="217539" y="217539"/>
                  </a:lnTo>
                  <a:lnTo>
                    <a:pt x="217539" y="0"/>
                  </a:lnTo>
                  <a:close/>
                  <a:moveTo>
                    <a:pt x="435077" y="435077"/>
                  </a:moveTo>
                  <a:lnTo>
                    <a:pt x="217539" y="435077"/>
                  </a:lnTo>
                  <a:lnTo>
                    <a:pt x="435077" y="217566"/>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117" name="Freeform: Shape 116">
              <a:extLst>
                <a:ext uri="{FF2B5EF4-FFF2-40B4-BE49-F238E27FC236}">
                  <a16:creationId xmlns:a16="http://schemas.microsoft.com/office/drawing/2014/main" id="{3BA6DDF3-3DEA-DE94-4B82-06E144F34E46}"/>
                </a:ext>
              </a:extLst>
            </p:cNvPr>
            <p:cNvSpPr/>
            <p:nvPr/>
          </p:nvSpPr>
          <p:spPr>
            <a:xfrm>
              <a:off x="24330194" y="544952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p>
          </p:txBody>
        </p:sp>
        <p:sp>
          <p:nvSpPr>
            <p:cNvPr id="118" name="Freeform: Shape 117">
              <a:extLst>
                <a:ext uri="{FF2B5EF4-FFF2-40B4-BE49-F238E27FC236}">
                  <a16:creationId xmlns:a16="http://schemas.microsoft.com/office/drawing/2014/main" id="{EB3716B8-D115-0115-9351-59549509245A}"/>
                </a:ext>
              </a:extLst>
            </p:cNvPr>
            <p:cNvSpPr/>
            <p:nvPr/>
          </p:nvSpPr>
          <p:spPr>
            <a:xfrm>
              <a:off x="835769" y="6319683"/>
              <a:ext cx="435077" cy="435077"/>
            </a:xfrm>
            <a:custGeom>
              <a:avLst/>
              <a:gdLst>
                <a:gd name="connsiteX0" fmla="*/ 63711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1 w 435077"/>
                <a:gd name="connsiteY6" fmla="*/ 153827 h 435077"/>
                <a:gd name="connsiteX7" fmla="*/ 63711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1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1" y="153827"/>
                  </a:moveTo>
                  <a:cubicBezTo>
                    <a:pt x="22923" y="113038"/>
                    <a:pt x="0" y="57702"/>
                    <a:pt x="0" y="0"/>
                  </a:cubicBezTo>
                  <a:lnTo>
                    <a:pt x="217539" y="0"/>
                  </a:lnTo>
                  <a:lnTo>
                    <a:pt x="435077" y="0"/>
                  </a:lnTo>
                  <a:cubicBezTo>
                    <a:pt x="435077" y="57702"/>
                    <a:pt x="412154" y="113038"/>
                    <a:pt x="371366" y="153827"/>
                  </a:cubicBezTo>
                  <a:cubicBezTo>
                    <a:pt x="330550" y="194616"/>
                    <a:pt x="275213" y="217539"/>
                    <a:pt x="217539" y="217539"/>
                  </a:cubicBezTo>
                  <a:cubicBezTo>
                    <a:pt x="159836" y="217539"/>
                    <a:pt x="104500" y="194616"/>
                    <a:pt x="63711" y="153827"/>
                  </a:cubicBezTo>
                  <a:close/>
                  <a:moveTo>
                    <a:pt x="63711" y="281250"/>
                  </a:moveTo>
                  <a:cubicBezTo>
                    <a:pt x="22923" y="322066"/>
                    <a:pt x="0" y="377375"/>
                    <a:pt x="0" y="435077"/>
                  </a:cubicBezTo>
                  <a:lnTo>
                    <a:pt x="217539" y="435077"/>
                  </a:lnTo>
                  <a:lnTo>
                    <a:pt x="435077" y="435077"/>
                  </a:lnTo>
                  <a:cubicBezTo>
                    <a:pt x="435077" y="377375"/>
                    <a:pt x="412154" y="322066"/>
                    <a:pt x="371366" y="281250"/>
                  </a:cubicBezTo>
                  <a:cubicBezTo>
                    <a:pt x="330550" y="240462"/>
                    <a:pt x="275213" y="217539"/>
                    <a:pt x="217539" y="217539"/>
                  </a:cubicBezTo>
                  <a:cubicBezTo>
                    <a:pt x="159836" y="217539"/>
                    <a:pt x="104500" y="240462"/>
                    <a:pt x="63711" y="281250"/>
                  </a:cubicBezTo>
                  <a:close/>
                </a:path>
              </a:pathLst>
            </a:custGeom>
            <a:grpFill/>
            <a:ln w="27192" cap="flat">
              <a:noFill/>
              <a:prstDash val="solid"/>
              <a:miter/>
            </a:ln>
          </p:spPr>
          <p:txBody>
            <a:bodyPr rtlCol="0" anchor="ctr"/>
            <a:lstStyle/>
            <a:p>
              <a:endParaRPr lang="uk-UA" sz="900"/>
            </a:p>
          </p:txBody>
        </p:sp>
        <p:sp>
          <p:nvSpPr>
            <p:cNvPr id="119" name="Freeform: Shape 118">
              <a:extLst>
                <a:ext uri="{FF2B5EF4-FFF2-40B4-BE49-F238E27FC236}">
                  <a16:creationId xmlns:a16="http://schemas.microsoft.com/office/drawing/2014/main" id="{D91B1AF7-F227-A6F4-ADFF-A1E559E7A260}"/>
                </a:ext>
              </a:extLst>
            </p:cNvPr>
            <p:cNvSpPr/>
            <p:nvPr/>
          </p:nvSpPr>
          <p:spPr>
            <a:xfrm>
              <a:off x="-34393" y="6319683"/>
              <a:ext cx="435085" cy="435077"/>
            </a:xfrm>
            <a:custGeom>
              <a:avLst/>
              <a:gdLst>
                <a:gd name="connsiteX0" fmla="*/ 435086 w 435085"/>
                <a:gd name="connsiteY0" fmla="*/ 435077 h 435077"/>
                <a:gd name="connsiteX1" fmla="*/ 435086 w 435085"/>
                <a:gd name="connsiteY1" fmla="*/ 0 h 435077"/>
                <a:gd name="connsiteX2" fmla="*/ 217547 w 435085"/>
                <a:gd name="connsiteY2" fmla="*/ 217539 h 435077"/>
                <a:gd name="connsiteX3" fmla="*/ 435086 w 435085"/>
                <a:gd name="connsiteY3" fmla="*/ 435077 h 435077"/>
                <a:gd name="connsiteX4" fmla="*/ 0 w 435085"/>
                <a:gd name="connsiteY4" fmla="*/ 435077 h 435077"/>
                <a:gd name="connsiteX5" fmla="*/ 0 w 435085"/>
                <a:gd name="connsiteY5" fmla="*/ 0 h 435077"/>
                <a:gd name="connsiteX6" fmla="*/ 217520 w 435085"/>
                <a:gd name="connsiteY6" fmla="*/ 217539 h 435077"/>
                <a:gd name="connsiteX7" fmla="*/ 0 w 435085"/>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85" h="435077">
                  <a:moveTo>
                    <a:pt x="435086" y="435077"/>
                  </a:moveTo>
                  <a:lnTo>
                    <a:pt x="435086" y="0"/>
                  </a:lnTo>
                  <a:lnTo>
                    <a:pt x="217547" y="217539"/>
                  </a:lnTo>
                  <a:lnTo>
                    <a:pt x="435086" y="435077"/>
                  </a:lnTo>
                  <a:close/>
                  <a:moveTo>
                    <a:pt x="0" y="435077"/>
                  </a:moveTo>
                  <a:lnTo>
                    <a:pt x="0" y="0"/>
                  </a:lnTo>
                  <a:lnTo>
                    <a:pt x="217520" y="217539"/>
                  </a:lnTo>
                  <a:lnTo>
                    <a:pt x="0" y="435077"/>
                  </a:lnTo>
                  <a:close/>
                </a:path>
              </a:pathLst>
            </a:custGeom>
            <a:grpFill/>
            <a:ln w="27192" cap="flat">
              <a:noFill/>
              <a:prstDash val="solid"/>
              <a:miter/>
            </a:ln>
          </p:spPr>
          <p:txBody>
            <a:bodyPr rtlCol="0" anchor="ctr"/>
            <a:lstStyle/>
            <a:p>
              <a:endParaRPr lang="uk-UA" sz="900"/>
            </a:p>
          </p:txBody>
        </p:sp>
        <p:sp>
          <p:nvSpPr>
            <p:cNvPr id="120" name="Freeform: Shape 119">
              <a:extLst>
                <a:ext uri="{FF2B5EF4-FFF2-40B4-BE49-F238E27FC236}">
                  <a16:creationId xmlns:a16="http://schemas.microsoft.com/office/drawing/2014/main" id="{5E706CED-4B15-B596-C1F7-3E16813A7527}"/>
                </a:ext>
              </a:extLst>
            </p:cNvPr>
            <p:cNvSpPr/>
            <p:nvPr/>
          </p:nvSpPr>
          <p:spPr>
            <a:xfrm>
              <a:off x="1705924" y="6319683"/>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6 w 435077"/>
                <a:gd name="connsiteY3" fmla="*/ 27 h 435077"/>
                <a:gd name="connsiteX4" fmla="*/ 435077 w 435077"/>
                <a:gd name="connsiteY4" fmla="*/ 217539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6" y="27"/>
                  </a:lnTo>
                  <a:lnTo>
                    <a:pt x="435077" y="217539"/>
                  </a:lnTo>
                  <a:lnTo>
                    <a:pt x="217566"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121" name="Freeform: Shape 120">
              <a:extLst>
                <a:ext uri="{FF2B5EF4-FFF2-40B4-BE49-F238E27FC236}">
                  <a16:creationId xmlns:a16="http://schemas.microsoft.com/office/drawing/2014/main" id="{34B483BA-EC13-B2A5-2C1E-EE9DA00C80D4}"/>
                </a:ext>
              </a:extLst>
            </p:cNvPr>
            <p:cNvSpPr/>
            <p:nvPr/>
          </p:nvSpPr>
          <p:spPr>
            <a:xfrm>
              <a:off x="2576106" y="6319683"/>
              <a:ext cx="435077" cy="435077"/>
            </a:xfrm>
            <a:custGeom>
              <a:avLst/>
              <a:gdLst>
                <a:gd name="connsiteX0" fmla="*/ 0 w 435077"/>
                <a:gd name="connsiteY0" fmla="*/ 435077 h 435077"/>
                <a:gd name="connsiteX1" fmla="*/ 0 w 435077"/>
                <a:gd name="connsiteY1" fmla="*/ 0 h 435077"/>
                <a:gd name="connsiteX2" fmla="*/ 217512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12"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122" name="Freeform: Shape 121">
              <a:extLst>
                <a:ext uri="{FF2B5EF4-FFF2-40B4-BE49-F238E27FC236}">
                  <a16:creationId xmlns:a16="http://schemas.microsoft.com/office/drawing/2014/main" id="{81E0DCCC-A702-8B83-9171-6E2C6E9DEC2E}"/>
                </a:ext>
              </a:extLst>
            </p:cNvPr>
            <p:cNvSpPr/>
            <p:nvPr/>
          </p:nvSpPr>
          <p:spPr>
            <a:xfrm>
              <a:off x="4316416" y="6319683"/>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39 w 435077"/>
                <a:gd name="connsiteY6" fmla="*/ 153827 h 435077"/>
                <a:gd name="connsiteX7" fmla="*/ 63739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0 h 435077"/>
                <a:gd name="connsiteX12" fmla="*/ 217539 w 435077"/>
                <a:gd name="connsiteY12" fmla="*/ 217539 h 435077"/>
                <a:gd name="connsiteX13" fmla="*/ 63739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3" y="113038"/>
                    <a:pt x="0" y="57702"/>
                    <a:pt x="0" y="0"/>
                  </a:cubicBezTo>
                  <a:lnTo>
                    <a:pt x="217539" y="0"/>
                  </a:lnTo>
                  <a:lnTo>
                    <a:pt x="435077" y="0"/>
                  </a:lnTo>
                  <a:cubicBezTo>
                    <a:pt x="435077" y="57702"/>
                    <a:pt x="412181" y="113038"/>
                    <a:pt x="371365" y="153827"/>
                  </a:cubicBezTo>
                  <a:cubicBezTo>
                    <a:pt x="330577" y="194616"/>
                    <a:pt x="275240" y="217539"/>
                    <a:pt x="217539" y="217539"/>
                  </a:cubicBezTo>
                  <a:cubicBezTo>
                    <a:pt x="159864" y="217539"/>
                    <a:pt x="104527" y="194616"/>
                    <a:pt x="63739" y="153827"/>
                  </a:cubicBezTo>
                  <a:close/>
                  <a:moveTo>
                    <a:pt x="63739" y="281250"/>
                  </a:moveTo>
                  <a:cubicBezTo>
                    <a:pt x="22923" y="322066"/>
                    <a:pt x="0" y="377375"/>
                    <a:pt x="0" y="435077"/>
                  </a:cubicBezTo>
                  <a:lnTo>
                    <a:pt x="217539" y="435077"/>
                  </a:lnTo>
                  <a:lnTo>
                    <a:pt x="435077" y="435077"/>
                  </a:lnTo>
                  <a:cubicBezTo>
                    <a:pt x="435077" y="377375"/>
                    <a:pt x="412181" y="322066"/>
                    <a:pt x="371365" y="281250"/>
                  </a:cubicBezTo>
                  <a:cubicBezTo>
                    <a:pt x="330577" y="240462"/>
                    <a:pt x="275240" y="217539"/>
                    <a:pt x="217539" y="217539"/>
                  </a:cubicBezTo>
                  <a:cubicBezTo>
                    <a:pt x="159864" y="217539"/>
                    <a:pt x="104527" y="240462"/>
                    <a:pt x="63739" y="281250"/>
                  </a:cubicBezTo>
                  <a:close/>
                </a:path>
              </a:pathLst>
            </a:custGeom>
            <a:grpFill/>
            <a:ln w="27192" cap="flat">
              <a:noFill/>
              <a:prstDash val="solid"/>
              <a:miter/>
            </a:ln>
          </p:spPr>
          <p:txBody>
            <a:bodyPr rtlCol="0" anchor="ctr"/>
            <a:lstStyle/>
            <a:p>
              <a:endParaRPr lang="uk-UA" sz="900"/>
            </a:p>
          </p:txBody>
        </p:sp>
        <p:sp>
          <p:nvSpPr>
            <p:cNvPr id="123" name="Freeform: Shape 122">
              <a:extLst>
                <a:ext uri="{FF2B5EF4-FFF2-40B4-BE49-F238E27FC236}">
                  <a16:creationId xmlns:a16="http://schemas.microsoft.com/office/drawing/2014/main" id="{3BEE7AEF-1376-6660-27D0-7723E4BEE4BA}"/>
                </a:ext>
              </a:extLst>
            </p:cNvPr>
            <p:cNvSpPr/>
            <p:nvPr/>
          </p:nvSpPr>
          <p:spPr>
            <a:xfrm>
              <a:off x="3446261" y="6319683"/>
              <a:ext cx="435077" cy="435077"/>
            </a:xfrm>
            <a:custGeom>
              <a:avLst/>
              <a:gdLst>
                <a:gd name="connsiteX0" fmla="*/ 435077 w 435077"/>
                <a:gd name="connsiteY0" fmla="*/ 435077 h 435077"/>
                <a:gd name="connsiteX1" fmla="*/ 435077 w 435077"/>
                <a:gd name="connsiteY1" fmla="*/ 0 h 435077"/>
                <a:gd name="connsiteX2" fmla="*/ 217566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6"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124" name="Freeform: Shape 123">
              <a:extLst>
                <a:ext uri="{FF2B5EF4-FFF2-40B4-BE49-F238E27FC236}">
                  <a16:creationId xmlns:a16="http://schemas.microsoft.com/office/drawing/2014/main" id="{A5A5E076-2682-DE77-0A7A-6A57B4D72438}"/>
                </a:ext>
              </a:extLst>
            </p:cNvPr>
            <p:cNvSpPr/>
            <p:nvPr/>
          </p:nvSpPr>
          <p:spPr>
            <a:xfrm>
              <a:off x="5186597" y="6319683"/>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39 w 435077"/>
                <a:gd name="connsiteY3" fmla="*/ 27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39" y="27"/>
                  </a:lnTo>
                  <a:lnTo>
                    <a:pt x="435077" y="217539"/>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125" name="Freeform: Shape 124">
              <a:extLst>
                <a:ext uri="{FF2B5EF4-FFF2-40B4-BE49-F238E27FC236}">
                  <a16:creationId xmlns:a16="http://schemas.microsoft.com/office/drawing/2014/main" id="{EF76C29D-0F39-29C6-1D4F-95A0ECF4954E}"/>
                </a:ext>
              </a:extLst>
            </p:cNvPr>
            <p:cNvSpPr/>
            <p:nvPr/>
          </p:nvSpPr>
          <p:spPr>
            <a:xfrm>
              <a:off x="6056752" y="6319683"/>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126" name="Freeform: Shape 125">
              <a:extLst>
                <a:ext uri="{FF2B5EF4-FFF2-40B4-BE49-F238E27FC236}">
                  <a16:creationId xmlns:a16="http://schemas.microsoft.com/office/drawing/2014/main" id="{B43A8414-E391-D146-6265-5D38891F7447}"/>
                </a:ext>
              </a:extLst>
            </p:cNvPr>
            <p:cNvSpPr/>
            <p:nvPr/>
          </p:nvSpPr>
          <p:spPr>
            <a:xfrm>
              <a:off x="7797062" y="6319683"/>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39 w 435077"/>
                <a:gd name="connsiteY6" fmla="*/ 153827 h 435077"/>
                <a:gd name="connsiteX7" fmla="*/ 63739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39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4" y="113038"/>
                    <a:pt x="0" y="57702"/>
                    <a:pt x="0" y="0"/>
                  </a:cubicBezTo>
                  <a:lnTo>
                    <a:pt x="217539" y="0"/>
                  </a:lnTo>
                  <a:lnTo>
                    <a:pt x="435077" y="0"/>
                  </a:lnTo>
                  <a:cubicBezTo>
                    <a:pt x="435077" y="57702"/>
                    <a:pt x="412182" y="113038"/>
                    <a:pt x="371366" y="153827"/>
                  </a:cubicBezTo>
                  <a:cubicBezTo>
                    <a:pt x="330578" y="194616"/>
                    <a:pt x="275241" y="217539"/>
                    <a:pt x="217539" y="217539"/>
                  </a:cubicBezTo>
                  <a:cubicBezTo>
                    <a:pt x="159864" y="217539"/>
                    <a:pt x="104527" y="194616"/>
                    <a:pt x="63739" y="153827"/>
                  </a:cubicBezTo>
                  <a:close/>
                  <a:moveTo>
                    <a:pt x="63739" y="281250"/>
                  </a:moveTo>
                  <a:cubicBezTo>
                    <a:pt x="22924" y="322066"/>
                    <a:pt x="0" y="377375"/>
                    <a:pt x="0" y="435077"/>
                  </a:cubicBezTo>
                  <a:lnTo>
                    <a:pt x="217539" y="435077"/>
                  </a:lnTo>
                  <a:lnTo>
                    <a:pt x="435077" y="435077"/>
                  </a:lnTo>
                  <a:cubicBezTo>
                    <a:pt x="435077" y="377375"/>
                    <a:pt x="412182" y="322066"/>
                    <a:pt x="371366" y="281250"/>
                  </a:cubicBezTo>
                  <a:cubicBezTo>
                    <a:pt x="330578" y="240462"/>
                    <a:pt x="275241" y="217539"/>
                    <a:pt x="217539" y="217539"/>
                  </a:cubicBezTo>
                  <a:cubicBezTo>
                    <a:pt x="159864" y="217539"/>
                    <a:pt x="104527" y="240462"/>
                    <a:pt x="63739" y="281250"/>
                  </a:cubicBezTo>
                  <a:close/>
                </a:path>
              </a:pathLst>
            </a:custGeom>
            <a:grpFill/>
            <a:ln w="27192" cap="flat">
              <a:noFill/>
              <a:prstDash val="solid"/>
              <a:miter/>
            </a:ln>
          </p:spPr>
          <p:txBody>
            <a:bodyPr rtlCol="0" anchor="ctr"/>
            <a:lstStyle/>
            <a:p>
              <a:endParaRPr lang="uk-UA" sz="900"/>
            </a:p>
          </p:txBody>
        </p:sp>
        <p:sp>
          <p:nvSpPr>
            <p:cNvPr id="127" name="Freeform: Shape 126">
              <a:extLst>
                <a:ext uri="{FF2B5EF4-FFF2-40B4-BE49-F238E27FC236}">
                  <a16:creationId xmlns:a16="http://schemas.microsoft.com/office/drawing/2014/main" id="{8341B0E4-0AF1-6CF6-1583-5106E77D3DB0}"/>
                </a:ext>
              </a:extLst>
            </p:cNvPr>
            <p:cNvSpPr/>
            <p:nvPr/>
          </p:nvSpPr>
          <p:spPr>
            <a:xfrm>
              <a:off x="6926907" y="6319683"/>
              <a:ext cx="435077" cy="435077"/>
            </a:xfrm>
            <a:custGeom>
              <a:avLst/>
              <a:gdLst>
                <a:gd name="connsiteX0" fmla="*/ 435077 w 435077"/>
                <a:gd name="connsiteY0" fmla="*/ 435077 h 435077"/>
                <a:gd name="connsiteX1" fmla="*/ 435077 w 435077"/>
                <a:gd name="connsiteY1" fmla="*/ 0 h 435077"/>
                <a:gd name="connsiteX2" fmla="*/ 217566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6"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128" name="Freeform: Shape 127">
              <a:extLst>
                <a:ext uri="{FF2B5EF4-FFF2-40B4-BE49-F238E27FC236}">
                  <a16:creationId xmlns:a16="http://schemas.microsoft.com/office/drawing/2014/main" id="{BCDBC7B8-F8B6-23DE-2218-9C3A1F584B78}"/>
                </a:ext>
              </a:extLst>
            </p:cNvPr>
            <p:cNvSpPr/>
            <p:nvPr/>
          </p:nvSpPr>
          <p:spPr>
            <a:xfrm>
              <a:off x="8667217" y="6319683"/>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6 w 435077"/>
                <a:gd name="connsiteY3" fmla="*/ 27 h 435077"/>
                <a:gd name="connsiteX4" fmla="*/ 435077 w 435077"/>
                <a:gd name="connsiteY4" fmla="*/ 217539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6" y="27"/>
                  </a:lnTo>
                  <a:lnTo>
                    <a:pt x="435077" y="217539"/>
                  </a:lnTo>
                  <a:lnTo>
                    <a:pt x="217566"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129" name="Freeform: Shape 128">
              <a:extLst>
                <a:ext uri="{FF2B5EF4-FFF2-40B4-BE49-F238E27FC236}">
                  <a16:creationId xmlns:a16="http://schemas.microsoft.com/office/drawing/2014/main" id="{8EACAB2C-5014-DDED-5E5E-9F96A6C96DC8}"/>
                </a:ext>
              </a:extLst>
            </p:cNvPr>
            <p:cNvSpPr/>
            <p:nvPr/>
          </p:nvSpPr>
          <p:spPr>
            <a:xfrm>
              <a:off x="9537399" y="6319683"/>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130" name="Freeform: Shape 129">
              <a:extLst>
                <a:ext uri="{FF2B5EF4-FFF2-40B4-BE49-F238E27FC236}">
                  <a16:creationId xmlns:a16="http://schemas.microsoft.com/office/drawing/2014/main" id="{5A711C6A-C1A3-7693-5C36-E13364DDE80F}"/>
                </a:ext>
              </a:extLst>
            </p:cNvPr>
            <p:cNvSpPr/>
            <p:nvPr/>
          </p:nvSpPr>
          <p:spPr>
            <a:xfrm>
              <a:off x="11277709" y="6319683"/>
              <a:ext cx="435077" cy="435077"/>
            </a:xfrm>
            <a:custGeom>
              <a:avLst/>
              <a:gdLst>
                <a:gd name="connsiteX0" fmla="*/ 63710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0 w 435077"/>
                <a:gd name="connsiteY6" fmla="*/ 153827 h 435077"/>
                <a:gd name="connsiteX7" fmla="*/ 63710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0 h 435077"/>
                <a:gd name="connsiteX12" fmla="*/ 217539 w 435077"/>
                <a:gd name="connsiteY12" fmla="*/ 217539 h 435077"/>
                <a:gd name="connsiteX13" fmla="*/ 63710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7"/>
                  </a:moveTo>
                  <a:cubicBezTo>
                    <a:pt x="22922" y="113038"/>
                    <a:pt x="0" y="57702"/>
                    <a:pt x="0" y="0"/>
                  </a:cubicBezTo>
                  <a:lnTo>
                    <a:pt x="217539" y="0"/>
                  </a:lnTo>
                  <a:lnTo>
                    <a:pt x="435077" y="0"/>
                  </a:lnTo>
                  <a:cubicBezTo>
                    <a:pt x="435077" y="57702"/>
                    <a:pt x="412154" y="113038"/>
                    <a:pt x="371365" y="153827"/>
                  </a:cubicBezTo>
                  <a:cubicBezTo>
                    <a:pt x="330549" y="194616"/>
                    <a:pt x="275239" y="217539"/>
                    <a:pt x="217539" y="217539"/>
                  </a:cubicBezTo>
                  <a:cubicBezTo>
                    <a:pt x="159836" y="217539"/>
                    <a:pt x="104499" y="194616"/>
                    <a:pt x="63710" y="153827"/>
                  </a:cubicBezTo>
                  <a:close/>
                  <a:moveTo>
                    <a:pt x="63710" y="281250"/>
                  </a:moveTo>
                  <a:cubicBezTo>
                    <a:pt x="22922" y="322066"/>
                    <a:pt x="0" y="377375"/>
                    <a:pt x="0" y="435077"/>
                  </a:cubicBezTo>
                  <a:lnTo>
                    <a:pt x="217539" y="435077"/>
                  </a:lnTo>
                  <a:lnTo>
                    <a:pt x="435077" y="435077"/>
                  </a:lnTo>
                  <a:cubicBezTo>
                    <a:pt x="435077" y="377375"/>
                    <a:pt x="412154" y="322066"/>
                    <a:pt x="371365" y="281250"/>
                  </a:cubicBezTo>
                  <a:cubicBezTo>
                    <a:pt x="330549" y="240462"/>
                    <a:pt x="275239" y="217539"/>
                    <a:pt x="217539" y="217539"/>
                  </a:cubicBezTo>
                  <a:cubicBezTo>
                    <a:pt x="159836" y="217539"/>
                    <a:pt x="104499" y="240462"/>
                    <a:pt x="63710" y="281250"/>
                  </a:cubicBezTo>
                  <a:close/>
                </a:path>
              </a:pathLst>
            </a:custGeom>
            <a:grpFill/>
            <a:ln w="27192" cap="flat">
              <a:noFill/>
              <a:prstDash val="solid"/>
              <a:miter/>
            </a:ln>
          </p:spPr>
          <p:txBody>
            <a:bodyPr rtlCol="0" anchor="ctr"/>
            <a:lstStyle/>
            <a:p>
              <a:endParaRPr lang="uk-UA" sz="900"/>
            </a:p>
          </p:txBody>
        </p:sp>
        <p:sp>
          <p:nvSpPr>
            <p:cNvPr id="131" name="Freeform: Shape 130">
              <a:extLst>
                <a:ext uri="{FF2B5EF4-FFF2-40B4-BE49-F238E27FC236}">
                  <a16:creationId xmlns:a16="http://schemas.microsoft.com/office/drawing/2014/main" id="{2D8A51EE-C24F-AE5B-8F74-83774B6471BD}"/>
                </a:ext>
              </a:extLst>
            </p:cNvPr>
            <p:cNvSpPr/>
            <p:nvPr/>
          </p:nvSpPr>
          <p:spPr>
            <a:xfrm>
              <a:off x="10407554" y="631968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1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1" y="217539"/>
                  </a:lnTo>
                  <a:lnTo>
                    <a:pt x="0" y="435077"/>
                  </a:lnTo>
                  <a:close/>
                </a:path>
              </a:pathLst>
            </a:custGeom>
            <a:grpFill/>
            <a:ln w="27192" cap="flat">
              <a:noFill/>
              <a:prstDash val="solid"/>
              <a:miter/>
            </a:ln>
          </p:spPr>
          <p:txBody>
            <a:bodyPr rtlCol="0" anchor="ctr"/>
            <a:lstStyle/>
            <a:p>
              <a:endParaRPr lang="uk-UA" sz="900"/>
            </a:p>
          </p:txBody>
        </p:sp>
        <p:sp>
          <p:nvSpPr>
            <p:cNvPr id="132" name="Freeform: Shape 131">
              <a:extLst>
                <a:ext uri="{FF2B5EF4-FFF2-40B4-BE49-F238E27FC236}">
                  <a16:creationId xmlns:a16="http://schemas.microsoft.com/office/drawing/2014/main" id="{21805092-728D-2B3F-CFE7-7A384B65C616}"/>
                </a:ext>
              </a:extLst>
            </p:cNvPr>
            <p:cNvSpPr/>
            <p:nvPr/>
          </p:nvSpPr>
          <p:spPr>
            <a:xfrm>
              <a:off x="12147864" y="6319683"/>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5 w 435077"/>
                <a:gd name="connsiteY3" fmla="*/ 27 h 435077"/>
                <a:gd name="connsiteX4" fmla="*/ 435077 w 435077"/>
                <a:gd name="connsiteY4" fmla="*/ 217539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5" y="27"/>
                  </a:lnTo>
                  <a:lnTo>
                    <a:pt x="435077" y="217539"/>
                  </a:lnTo>
                  <a:lnTo>
                    <a:pt x="217565"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133" name="Freeform: Shape 132">
              <a:extLst>
                <a:ext uri="{FF2B5EF4-FFF2-40B4-BE49-F238E27FC236}">
                  <a16:creationId xmlns:a16="http://schemas.microsoft.com/office/drawing/2014/main" id="{A90E23BF-E673-3F6B-7CA2-62F64F0F28CD}"/>
                </a:ext>
              </a:extLst>
            </p:cNvPr>
            <p:cNvSpPr/>
            <p:nvPr/>
          </p:nvSpPr>
          <p:spPr>
            <a:xfrm>
              <a:off x="13018045" y="6319683"/>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134" name="Freeform: Shape 133">
              <a:extLst>
                <a:ext uri="{FF2B5EF4-FFF2-40B4-BE49-F238E27FC236}">
                  <a16:creationId xmlns:a16="http://schemas.microsoft.com/office/drawing/2014/main" id="{24273089-98D2-B1AD-C70A-940FB807DCF1}"/>
                </a:ext>
              </a:extLst>
            </p:cNvPr>
            <p:cNvSpPr/>
            <p:nvPr/>
          </p:nvSpPr>
          <p:spPr>
            <a:xfrm>
              <a:off x="14758382" y="631968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8"/>
                    <a:pt x="0" y="57702"/>
                    <a:pt x="0" y="0"/>
                  </a:cubicBezTo>
                  <a:lnTo>
                    <a:pt x="217539" y="0"/>
                  </a:lnTo>
                  <a:lnTo>
                    <a:pt x="435077" y="0"/>
                  </a:lnTo>
                  <a:cubicBezTo>
                    <a:pt x="435077" y="57702"/>
                    <a:pt x="412155" y="113038"/>
                    <a:pt x="371367" y="153827"/>
                  </a:cubicBezTo>
                  <a:cubicBezTo>
                    <a:pt x="330550" y="194616"/>
                    <a:pt x="275241" y="217539"/>
                    <a:pt x="217539" y="217539"/>
                  </a:cubicBezTo>
                  <a:cubicBezTo>
                    <a:pt x="159836" y="217539"/>
                    <a:pt x="104501" y="194616"/>
                    <a:pt x="63712" y="153827"/>
                  </a:cubicBezTo>
                  <a:close/>
                  <a:moveTo>
                    <a:pt x="63712" y="281250"/>
                  </a:moveTo>
                  <a:cubicBezTo>
                    <a:pt x="22924" y="322066"/>
                    <a:pt x="0" y="377375"/>
                    <a:pt x="0" y="435077"/>
                  </a:cubicBezTo>
                  <a:lnTo>
                    <a:pt x="217539" y="435077"/>
                  </a:lnTo>
                  <a:lnTo>
                    <a:pt x="435077" y="435077"/>
                  </a:lnTo>
                  <a:cubicBezTo>
                    <a:pt x="435077" y="377375"/>
                    <a:pt x="412155" y="322066"/>
                    <a:pt x="371367" y="281250"/>
                  </a:cubicBezTo>
                  <a:cubicBezTo>
                    <a:pt x="330550" y="240462"/>
                    <a:pt x="275241" y="217539"/>
                    <a:pt x="217539" y="217539"/>
                  </a:cubicBezTo>
                  <a:cubicBezTo>
                    <a:pt x="159836" y="217539"/>
                    <a:pt x="104501" y="240462"/>
                    <a:pt x="63712" y="281250"/>
                  </a:cubicBezTo>
                  <a:close/>
                </a:path>
              </a:pathLst>
            </a:custGeom>
            <a:grpFill/>
            <a:ln w="27192" cap="flat">
              <a:noFill/>
              <a:prstDash val="solid"/>
              <a:miter/>
            </a:ln>
          </p:spPr>
          <p:txBody>
            <a:bodyPr rtlCol="0" anchor="ctr"/>
            <a:lstStyle/>
            <a:p>
              <a:endParaRPr lang="uk-UA" sz="900"/>
            </a:p>
          </p:txBody>
        </p:sp>
        <p:sp>
          <p:nvSpPr>
            <p:cNvPr id="135" name="Freeform: Shape 134">
              <a:extLst>
                <a:ext uri="{FF2B5EF4-FFF2-40B4-BE49-F238E27FC236}">
                  <a16:creationId xmlns:a16="http://schemas.microsoft.com/office/drawing/2014/main" id="{E93DF14F-2941-E406-B9EF-A4792C8393A8}"/>
                </a:ext>
              </a:extLst>
            </p:cNvPr>
            <p:cNvSpPr/>
            <p:nvPr/>
          </p:nvSpPr>
          <p:spPr>
            <a:xfrm>
              <a:off x="13888227" y="631968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136" name="Freeform: Shape 135">
              <a:extLst>
                <a:ext uri="{FF2B5EF4-FFF2-40B4-BE49-F238E27FC236}">
                  <a16:creationId xmlns:a16="http://schemas.microsoft.com/office/drawing/2014/main" id="{B2261D90-E9ED-D1B1-4553-761A9D9CE1A0}"/>
                </a:ext>
              </a:extLst>
            </p:cNvPr>
            <p:cNvSpPr/>
            <p:nvPr/>
          </p:nvSpPr>
          <p:spPr>
            <a:xfrm>
              <a:off x="15628536" y="6319683"/>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7 w 435077"/>
                <a:gd name="connsiteY3" fmla="*/ 27 h 435077"/>
                <a:gd name="connsiteX4" fmla="*/ 435077 w 435077"/>
                <a:gd name="connsiteY4" fmla="*/ 217539 h 435077"/>
                <a:gd name="connsiteX5" fmla="*/ 217567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7" y="27"/>
                  </a:lnTo>
                  <a:lnTo>
                    <a:pt x="435077" y="217539"/>
                  </a:lnTo>
                  <a:lnTo>
                    <a:pt x="217567"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137" name="Freeform: Shape 136">
              <a:extLst>
                <a:ext uri="{FF2B5EF4-FFF2-40B4-BE49-F238E27FC236}">
                  <a16:creationId xmlns:a16="http://schemas.microsoft.com/office/drawing/2014/main" id="{26478AA9-6F42-857D-C0CC-833DCAFD4AAA}"/>
                </a:ext>
              </a:extLst>
            </p:cNvPr>
            <p:cNvSpPr/>
            <p:nvPr/>
          </p:nvSpPr>
          <p:spPr>
            <a:xfrm>
              <a:off x="16498719" y="6319683"/>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138" name="Freeform: Shape 137">
              <a:extLst>
                <a:ext uri="{FF2B5EF4-FFF2-40B4-BE49-F238E27FC236}">
                  <a16:creationId xmlns:a16="http://schemas.microsoft.com/office/drawing/2014/main" id="{E8D97C2C-3180-4765-1988-B81CCE12A6C6}"/>
                </a:ext>
              </a:extLst>
            </p:cNvPr>
            <p:cNvSpPr/>
            <p:nvPr/>
          </p:nvSpPr>
          <p:spPr>
            <a:xfrm>
              <a:off x="18239029" y="6319683"/>
              <a:ext cx="435077" cy="435077"/>
            </a:xfrm>
            <a:custGeom>
              <a:avLst/>
              <a:gdLst>
                <a:gd name="connsiteX0" fmla="*/ 63710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0 w 435077"/>
                <a:gd name="connsiteY6" fmla="*/ 153827 h 435077"/>
                <a:gd name="connsiteX7" fmla="*/ 63710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0 h 435077"/>
                <a:gd name="connsiteX12" fmla="*/ 217539 w 435077"/>
                <a:gd name="connsiteY12" fmla="*/ 217539 h 435077"/>
                <a:gd name="connsiteX13" fmla="*/ 63710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7"/>
                  </a:moveTo>
                  <a:cubicBezTo>
                    <a:pt x="22922" y="113038"/>
                    <a:pt x="0" y="57702"/>
                    <a:pt x="0" y="0"/>
                  </a:cubicBezTo>
                  <a:lnTo>
                    <a:pt x="217539" y="0"/>
                  </a:lnTo>
                  <a:lnTo>
                    <a:pt x="435077" y="0"/>
                  </a:lnTo>
                  <a:cubicBezTo>
                    <a:pt x="435077" y="57702"/>
                    <a:pt x="412154" y="113038"/>
                    <a:pt x="371365" y="153827"/>
                  </a:cubicBezTo>
                  <a:cubicBezTo>
                    <a:pt x="330577" y="194616"/>
                    <a:pt x="275241" y="217539"/>
                    <a:pt x="217539" y="217539"/>
                  </a:cubicBezTo>
                  <a:cubicBezTo>
                    <a:pt x="159836" y="217539"/>
                    <a:pt x="104527" y="194616"/>
                    <a:pt x="63710" y="153827"/>
                  </a:cubicBezTo>
                  <a:close/>
                  <a:moveTo>
                    <a:pt x="63710" y="281250"/>
                  </a:moveTo>
                  <a:cubicBezTo>
                    <a:pt x="22922" y="322066"/>
                    <a:pt x="0" y="377375"/>
                    <a:pt x="0" y="435077"/>
                  </a:cubicBezTo>
                  <a:lnTo>
                    <a:pt x="217539" y="435077"/>
                  </a:lnTo>
                  <a:lnTo>
                    <a:pt x="435077" y="435077"/>
                  </a:lnTo>
                  <a:cubicBezTo>
                    <a:pt x="435077" y="377375"/>
                    <a:pt x="412154" y="322066"/>
                    <a:pt x="371365" y="281250"/>
                  </a:cubicBezTo>
                  <a:cubicBezTo>
                    <a:pt x="330577" y="240462"/>
                    <a:pt x="275241" y="217539"/>
                    <a:pt x="217539" y="217539"/>
                  </a:cubicBezTo>
                  <a:cubicBezTo>
                    <a:pt x="159836" y="217539"/>
                    <a:pt x="104527" y="240462"/>
                    <a:pt x="63710" y="281250"/>
                  </a:cubicBezTo>
                  <a:close/>
                </a:path>
              </a:pathLst>
            </a:custGeom>
            <a:grpFill/>
            <a:ln w="27192" cap="flat">
              <a:noFill/>
              <a:prstDash val="solid"/>
              <a:miter/>
            </a:ln>
          </p:spPr>
          <p:txBody>
            <a:bodyPr rtlCol="0" anchor="ctr"/>
            <a:lstStyle/>
            <a:p>
              <a:endParaRPr lang="uk-UA" sz="900"/>
            </a:p>
          </p:txBody>
        </p:sp>
        <p:sp>
          <p:nvSpPr>
            <p:cNvPr id="139" name="Freeform: Shape 138">
              <a:extLst>
                <a:ext uri="{FF2B5EF4-FFF2-40B4-BE49-F238E27FC236}">
                  <a16:creationId xmlns:a16="http://schemas.microsoft.com/office/drawing/2014/main" id="{FB9A8D88-61E9-81B8-EBEB-63D81620E6E4}"/>
                </a:ext>
              </a:extLst>
            </p:cNvPr>
            <p:cNvSpPr/>
            <p:nvPr/>
          </p:nvSpPr>
          <p:spPr>
            <a:xfrm>
              <a:off x="17368874" y="631968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0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0" y="217539"/>
                  </a:lnTo>
                  <a:lnTo>
                    <a:pt x="0" y="435077"/>
                  </a:lnTo>
                  <a:close/>
                </a:path>
              </a:pathLst>
            </a:custGeom>
            <a:grpFill/>
            <a:ln w="27192" cap="flat">
              <a:noFill/>
              <a:prstDash val="solid"/>
              <a:miter/>
            </a:ln>
          </p:spPr>
          <p:txBody>
            <a:bodyPr rtlCol="0" anchor="ctr"/>
            <a:lstStyle/>
            <a:p>
              <a:endParaRPr lang="uk-UA" sz="900"/>
            </a:p>
          </p:txBody>
        </p:sp>
        <p:sp>
          <p:nvSpPr>
            <p:cNvPr id="140" name="Freeform: Shape 139">
              <a:extLst>
                <a:ext uri="{FF2B5EF4-FFF2-40B4-BE49-F238E27FC236}">
                  <a16:creationId xmlns:a16="http://schemas.microsoft.com/office/drawing/2014/main" id="{FF72C265-74A2-2CE4-FBD5-E2A6E7A950C6}"/>
                </a:ext>
              </a:extLst>
            </p:cNvPr>
            <p:cNvSpPr/>
            <p:nvPr/>
          </p:nvSpPr>
          <p:spPr>
            <a:xfrm>
              <a:off x="19109210" y="6319683"/>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39 w 435077"/>
                <a:gd name="connsiteY3" fmla="*/ 27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39" y="27"/>
                  </a:lnTo>
                  <a:lnTo>
                    <a:pt x="435077" y="217539"/>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141" name="Freeform: Shape 140">
              <a:extLst>
                <a:ext uri="{FF2B5EF4-FFF2-40B4-BE49-F238E27FC236}">
                  <a16:creationId xmlns:a16="http://schemas.microsoft.com/office/drawing/2014/main" id="{8C3BE93C-968E-C538-C22D-69FD2B039562}"/>
                </a:ext>
              </a:extLst>
            </p:cNvPr>
            <p:cNvSpPr/>
            <p:nvPr/>
          </p:nvSpPr>
          <p:spPr>
            <a:xfrm>
              <a:off x="19979365" y="6319683"/>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142" name="Freeform: Shape 141">
              <a:extLst>
                <a:ext uri="{FF2B5EF4-FFF2-40B4-BE49-F238E27FC236}">
                  <a16:creationId xmlns:a16="http://schemas.microsoft.com/office/drawing/2014/main" id="{C637F8ED-578C-32B5-4EA4-1DB3C0730A45}"/>
                </a:ext>
              </a:extLst>
            </p:cNvPr>
            <p:cNvSpPr/>
            <p:nvPr/>
          </p:nvSpPr>
          <p:spPr>
            <a:xfrm>
              <a:off x="21719702" y="631968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897" y="113038"/>
                    <a:pt x="0" y="57702"/>
                    <a:pt x="0" y="0"/>
                  </a:cubicBezTo>
                  <a:lnTo>
                    <a:pt x="217539" y="0"/>
                  </a:lnTo>
                  <a:lnTo>
                    <a:pt x="435077" y="0"/>
                  </a:lnTo>
                  <a:cubicBezTo>
                    <a:pt x="435077" y="57702"/>
                    <a:pt x="412155" y="113038"/>
                    <a:pt x="371339" y="153827"/>
                  </a:cubicBezTo>
                  <a:cubicBezTo>
                    <a:pt x="330550" y="194616"/>
                    <a:pt x="275215" y="217539"/>
                    <a:pt x="217539" y="217539"/>
                  </a:cubicBezTo>
                  <a:cubicBezTo>
                    <a:pt x="159838" y="217539"/>
                    <a:pt x="104501" y="194616"/>
                    <a:pt x="63712" y="153827"/>
                  </a:cubicBezTo>
                  <a:close/>
                  <a:moveTo>
                    <a:pt x="63712" y="281250"/>
                  </a:moveTo>
                  <a:cubicBezTo>
                    <a:pt x="22897" y="322066"/>
                    <a:pt x="0" y="377375"/>
                    <a:pt x="0" y="435077"/>
                  </a:cubicBezTo>
                  <a:lnTo>
                    <a:pt x="217539" y="435077"/>
                  </a:lnTo>
                  <a:lnTo>
                    <a:pt x="435077" y="435077"/>
                  </a:lnTo>
                  <a:cubicBezTo>
                    <a:pt x="435077" y="377375"/>
                    <a:pt x="412155" y="322066"/>
                    <a:pt x="371339" y="281250"/>
                  </a:cubicBezTo>
                  <a:cubicBezTo>
                    <a:pt x="330550" y="240462"/>
                    <a:pt x="275215" y="217539"/>
                    <a:pt x="217539" y="217539"/>
                  </a:cubicBezTo>
                  <a:cubicBezTo>
                    <a:pt x="159838" y="217539"/>
                    <a:pt x="104501" y="240462"/>
                    <a:pt x="63712" y="281250"/>
                  </a:cubicBezTo>
                  <a:close/>
                </a:path>
              </a:pathLst>
            </a:custGeom>
            <a:grpFill/>
            <a:ln w="27192" cap="flat">
              <a:noFill/>
              <a:prstDash val="solid"/>
              <a:miter/>
            </a:ln>
          </p:spPr>
          <p:txBody>
            <a:bodyPr rtlCol="0" anchor="ctr"/>
            <a:lstStyle/>
            <a:p>
              <a:endParaRPr lang="uk-UA" sz="900"/>
            </a:p>
          </p:txBody>
        </p:sp>
        <p:sp>
          <p:nvSpPr>
            <p:cNvPr id="143" name="Freeform: Shape 142">
              <a:extLst>
                <a:ext uri="{FF2B5EF4-FFF2-40B4-BE49-F238E27FC236}">
                  <a16:creationId xmlns:a16="http://schemas.microsoft.com/office/drawing/2014/main" id="{5FA3F517-68C1-EC85-CFD6-93A1E8ADE30B}"/>
                </a:ext>
              </a:extLst>
            </p:cNvPr>
            <p:cNvSpPr/>
            <p:nvPr/>
          </p:nvSpPr>
          <p:spPr>
            <a:xfrm>
              <a:off x="20849520" y="6319683"/>
              <a:ext cx="435077" cy="435077"/>
            </a:xfrm>
            <a:custGeom>
              <a:avLst/>
              <a:gdLst>
                <a:gd name="connsiteX0" fmla="*/ 435077 w 435077"/>
                <a:gd name="connsiteY0" fmla="*/ 435077 h 435077"/>
                <a:gd name="connsiteX1" fmla="*/ 435077 w 435077"/>
                <a:gd name="connsiteY1" fmla="*/ 0 h 435077"/>
                <a:gd name="connsiteX2" fmla="*/ 217565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144" name="Freeform: Shape 143">
              <a:extLst>
                <a:ext uri="{FF2B5EF4-FFF2-40B4-BE49-F238E27FC236}">
                  <a16:creationId xmlns:a16="http://schemas.microsoft.com/office/drawing/2014/main" id="{16910F15-7B62-AE81-1FD3-1D7357661138}"/>
                </a:ext>
              </a:extLst>
            </p:cNvPr>
            <p:cNvSpPr/>
            <p:nvPr/>
          </p:nvSpPr>
          <p:spPr>
            <a:xfrm>
              <a:off x="22589856" y="6319683"/>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7 w 435077"/>
                <a:gd name="connsiteY3" fmla="*/ 27 h 435077"/>
                <a:gd name="connsiteX4" fmla="*/ 435077 w 435077"/>
                <a:gd name="connsiteY4" fmla="*/ 217539 h 435077"/>
                <a:gd name="connsiteX5" fmla="*/ 217567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7" y="27"/>
                  </a:lnTo>
                  <a:lnTo>
                    <a:pt x="435077" y="217539"/>
                  </a:lnTo>
                  <a:lnTo>
                    <a:pt x="217567"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145" name="Freeform: Shape 144">
              <a:extLst>
                <a:ext uri="{FF2B5EF4-FFF2-40B4-BE49-F238E27FC236}">
                  <a16:creationId xmlns:a16="http://schemas.microsoft.com/office/drawing/2014/main" id="{11D584AE-C204-72D7-D14E-7D33DCB06F9B}"/>
                </a:ext>
              </a:extLst>
            </p:cNvPr>
            <p:cNvSpPr/>
            <p:nvPr/>
          </p:nvSpPr>
          <p:spPr>
            <a:xfrm>
              <a:off x="23460039" y="6319683"/>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146" name="Freeform: Shape 145">
              <a:extLst>
                <a:ext uri="{FF2B5EF4-FFF2-40B4-BE49-F238E27FC236}">
                  <a16:creationId xmlns:a16="http://schemas.microsoft.com/office/drawing/2014/main" id="{E0C5D3B1-F5B7-D217-FC7B-B31252A14C07}"/>
                </a:ext>
              </a:extLst>
            </p:cNvPr>
            <p:cNvSpPr/>
            <p:nvPr/>
          </p:nvSpPr>
          <p:spPr>
            <a:xfrm>
              <a:off x="24330194" y="631968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147" name="Freeform: Shape 146">
              <a:extLst>
                <a:ext uri="{FF2B5EF4-FFF2-40B4-BE49-F238E27FC236}">
                  <a16:creationId xmlns:a16="http://schemas.microsoft.com/office/drawing/2014/main" id="{34735FC6-E722-AEEB-97BA-515A4EA46B44}"/>
                </a:ext>
              </a:extLst>
            </p:cNvPr>
            <p:cNvSpPr/>
            <p:nvPr/>
          </p:nvSpPr>
          <p:spPr>
            <a:xfrm>
              <a:off x="835769" y="196890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148" name="Freeform: Shape 147">
              <a:extLst>
                <a:ext uri="{FF2B5EF4-FFF2-40B4-BE49-F238E27FC236}">
                  <a16:creationId xmlns:a16="http://schemas.microsoft.com/office/drawing/2014/main" id="{822542E5-773D-BA4A-129E-C182CF147E48}"/>
                </a:ext>
              </a:extLst>
            </p:cNvPr>
            <p:cNvSpPr/>
            <p:nvPr/>
          </p:nvSpPr>
          <p:spPr>
            <a:xfrm>
              <a:off x="-34398" y="1968909"/>
              <a:ext cx="435063" cy="435077"/>
            </a:xfrm>
            <a:custGeom>
              <a:avLst/>
              <a:gdLst>
                <a:gd name="connsiteX0" fmla="*/ 0 w 435063"/>
                <a:gd name="connsiteY0" fmla="*/ 435075 h 435077"/>
                <a:gd name="connsiteX1" fmla="*/ 217525 w 435063"/>
                <a:gd name="connsiteY1" fmla="*/ 435075 h 435077"/>
                <a:gd name="connsiteX2" fmla="*/ 217525 w 435063"/>
                <a:gd name="connsiteY2" fmla="*/ 217547 h 435077"/>
                <a:gd name="connsiteX3" fmla="*/ 0 w 435063"/>
                <a:gd name="connsiteY3" fmla="*/ 435075 h 435077"/>
                <a:gd name="connsiteX4" fmla="*/ 217525 w 435063"/>
                <a:gd name="connsiteY4" fmla="*/ 0 h 435077"/>
                <a:gd name="connsiteX5" fmla="*/ 3 w 435063"/>
                <a:gd name="connsiteY5" fmla="*/ 0 h 435077"/>
                <a:gd name="connsiteX6" fmla="*/ 217525 w 435063"/>
                <a:gd name="connsiteY6" fmla="*/ 217528 h 435077"/>
                <a:gd name="connsiteX7" fmla="*/ 217525 w 435063"/>
                <a:gd name="connsiteY7" fmla="*/ 0 h 435077"/>
                <a:gd name="connsiteX8" fmla="*/ 435064 w 435063"/>
                <a:gd name="connsiteY8" fmla="*/ 435077 h 435077"/>
                <a:gd name="connsiteX9" fmla="*/ 217552 w 435063"/>
                <a:gd name="connsiteY9" fmla="*/ 435077 h 435077"/>
                <a:gd name="connsiteX10" fmla="*/ 435064 w 435063"/>
                <a:gd name="connsiteY10" fmla="*/ 217547 h 435077"/>
                <a:gd name="connsiteX11" fmla="*/ 435064 w 435063"/>
                <a:gd name="connsiteY11" fmla="*/ 435077 h 435077"/>
                <a:gd name="connsiteX12" fmla="*/ 435064 w 435063"/>
                <a:gd name="connsiteY12" fmla="*/ 3 h 435077"/>
                <a:gd name="connsiteX13" fmla="*/ 217552 w 435063"/>
                <a:gd name="connsiteY13" fmla="*/ 3 h 435077"/>
                <a:gd name="connsiteX14" fmla="*/ 435064 w 435063"/>
                <a:gd name="connsiteY14" fmla="*/ 217531 h 435077"/>
                <a:gd name="connsiteX15" fmla="*/ 435064 w 435063"/>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63" h="435077">
                  <a:moveTo>
                    <a:pt x="0" y="435075"/>
                  </a:moveTo>
                  <a:lnTo>
                    <a:pt x="217525" y="435075"/>
                  </a:lnTo>
                  <a:lnTo>
                    <a:pt x="217525" y="217547"/>
                  </a:lnTo>
                  <a:lnTo>
                    <a:pt x="0" y="435075"/>
                  </a:lnTo>
                  <a:close/>
                  <a:moveTo>
                    <a:pt x="217525" y="0"/>
                  </a:moveTo>
                  <a:lnTo>
                    <a:pt x="3" y="0"/>
                  </a:lnTo>
                  <a:lnTo>
                    <a:pt x="217525" y="217528"/>
                  </a:lnTo>
                  <a:lnTo>
                    <a:pt x="217525" y="0"/>
                  </a:lnTo>
                  <a:close/>
                  <a:moveTo>
                    <a:pt x="435064" y="435077"/>
                  </a:moveTo>
                  <a:lnTo>
                    <a:pt x="217552" y="435077"/>
                  </a:lnTo>
                  <a:lnTo>
                    <a:pt x="435064" y="217547"/>
                  </a:lnTo>
                  <a:lnTo>
                    <a:pt x="435064" y="435077"/>
                  </a:lnTo>
                  <a:close/>
                  <a:moveTo>
                    <a:pt x="435064" y="3"/>
                  </a:moveTo>
                  <a:lnTo>
                    <a:pt x="217552" y="3"/>
                  </a:lnTo>
                  <a:lnTo>
                    <a:pt x="435064" y="217531"/>
                  </a:lnTo>
                  <a:lnTo>
                    <a:pt x="435064" y="3"/>
                  </a:lnTo>
                  <a:close/>
                </a:path>
              </a:pathLst>
            </a:custGeom>
            <a:grpFill/>
            <a:ln w="27192" cap="flat">
              <a:noFill/>
              <a:prstDash val="solid"/>
              <a:miter/>
            </a:ln>
          </p:spPr>
          <p:txBody>
            <a:bodyPr rtlCol="0" anchor="ctr"/>
            <a:lstStyle/>
            <a:p>
              <a:endParaRPr lang="uk-UA" sz="900"/>
            </a:p>
          </p:txBody>
        </p:sp>
        <p:sp>
          <p:nvSpPr>
            <p:cNvPr id="149" name="Freeform: Shape 148">
              <a:extLst>
                <a:ext uri="{FF2B5EF4-FFF2-40B4-BE49-F238E27FC236}">
                  <a16:creationId xmlns:a16="http://schemas.microsoft.com/office/drawing/2014/main" id="{1C211770-8B0B-4870-460B-C168CB18EE70}"/>
                </a:ext>
              </a:extLst>
            </p:cNvPr>
            <p:cNvSpPr/>
            <p:nvPr/>
          </p:nvSpPr>
          <p:spPr>
            <a:xfrm>
              <a:off x="1705924" y="1968909"/>
              <a:ext cx="435077" cy="435077"/>
            </a:xfrm>
            <a:custGeom>
              <a:avLst/>
              <a:gdLst>
                <a:gd name="connsiteX0" fmla="*/ 371366 w 435077"/>
                <a:gd name="connsiteY0" fmla="*/ 63714 h 435077"/>
                <a:gd name="connsiteX1" fmla="*/ 435077 w 435077"/>
                <a:gd name="connsiteY1" fmla="*/ 217539 h 435077"/>
                <a:gd name="connsiteX2" fmla="*/ 217729 w 435077"/>
                <a:gd name="connsiteY2" fmla="*/ 217539 h 435077"/>
                <a:gd name="connsiteX3" fmla="*/ 371366 w 435077"/>
                <a:gd name="connsiteY3" fmla="*/ 281253 h 435077"/>
                <a:gd name="connsiteX4" fmla="*/ 435077 w 435077"/>
                <a:gd name="connsiteY4" fmla="*/ 435077 h 435077"/>
                <a:gd name="connsiteX5" fmla="*/ 217539 w 435077"/>
                <a:gd name="connsiteY5" fmla="*/ 435077 h 435077"/>
                <a:gd name="connsiteX6" fmla="*/ 0 w 435077"/>
                <a:gd name="connsiteY6" fmla="*/ 435077 h 435077"/>
                <a:gd name="connsiteX7" fmla="*/ 63711 w 435077"/>
                <a:gd name="connsiteY7" fmla="*/ 281253 h 435077"/>
                <a:gd name="connsiteX8" fmla="*/ 217375 w 435077"/>
                <a:gd name="connsiteY8" fmla="*/ 217539 h 435077"/>
                <a:gd name="connsiteX9" fmla="*/ 0 w 435077"/>
                <a:gd name="connsiteY9" fmla="*/ 217539 h 435077"/>
                <a:gd name="connsiteX10" fmla="*/ 63711 w 435077"/>
                <a:gd name="connsiteY10" fmla="*/ 63714 h 435077"/>
                <a:gd name="connsiteX11" fmla="*/ 217539 w 435077"/>
                <a:gd name="connsiteY11" fmla="*/ 0 h 435077"/>
                <a:gd name="connsiteX12" fmla="*/ 371366 w 435077"/>
                <a:gd name="connsiteY12" fmla="*/ 63714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4"/>
                  </a:moveTo>
                  <a:cubicBezTo>
                    <a:pt x="412154" y="104511"/>
                    <a:pt x="435077" y="159842"/>
                    <a:pt x="435077" y="217539"/>
                  </a:cubicBezTo>
                  <a:lnTo>
                    <a:pt x="217729" y="217539"/>
                  </a:lnTo>
                  <a:cubicBezTo>
                    <a:pt x="275349" y="217582"/>
                    <a:pt x="330604" y="240497"/>
                    <a:pt x="371366" y="281253"/>
                  </a:cubicBezTo>
                  <a:cubicBezTo>
                    <a:pt x="412154" y="322050"/>
                    <a:pt x="435077" y="377381"/>
                    <a:pt x="435077" y="435077"/>
                  </a:cubicBezTo>
                  <a:lnTo>
                    <a:pt x="217539" y="435077"/>
                  </a:lnTo>
                  <a:lnTo>
                    <a:pt x="0" y="435077"/>
                  </a:lnTo>
                  <a:cubicBezTo>
                    <a:pt x="0" y="377381"/>
                    <a:pt x="22923" y="322050"/>
                    <a:pt x="63711" y="281253"/>
                  </a:cubicBezTo>
                  <a:cubicBezTo>
                    <a:pt x="104473" y="240497"/>
                    <a:pt x="159755" y="217582"/>
                    <a:pt x="217375" y="217539"/>
                  </a:cubicBezTo>
                  <a:lnTo>
                    <a:pt x="0" y="217539"/>
                  </a:lnTo>
                  <a:cubicBezTo>
                    <a:pt x="0" y="159842"/>
                    <a:pt x="22923" y="104511"/>
                    <a:pt x="63711" y="63714"/>
                  </a:cubicBezTo>
                  <a:cubicBezTo>
                    <a:pt x="104527" y="22918"/>
                    <a:pt x="159836" y="0"/>
                    <a:pt x="217539" y="0"/>
                  </a:cubicBezTo>
                  <a:cubicBezTo>
                    <a:pt x="275241" y="0"/>
                    <a:pt x="330577" y="22918"/>
                    <a:pt x="371366" y="63714"/>
                  </a:cubicBezTo>
                  <a:close/>
                </a:path>
              </a:pathLst>
            </a:custGeom>
            <a:grpFill/>
            <a:ln w="27192" cap="flat">
              <a:noFill/>
              <a:prstDash val="solid"/>
              <a:miter/>
            </a:ln>
          </p:spPr>
          <p:txBody>
            <a:bodyPr rtlCol="0" anchor="ctr"/>
            <a:lstStyle/>
            <a:p>
              <a:endParaRPr lang="uk-UA" sz="900"/>
            </a:p>
          </p:txBody>
        </p:sp>
        <p:sp>
          <p:nvSpPr>
            <p:cNvPr id="150" name="Freeform: Shape 149">
              <a:extLst>
                <a:ext uri="{FF2B5EF4-FFF2-40B4-BE49-F238E27FC236}">
                  <a16:creationId xmlns:a16="http://schemas.microsoft.com/office/drawing/2014/main" id="{560FCD62-F888-382A-A132-F9000713FC2F}"/>
                </a:ext>
              </a:extLst>
            </p:cNvPr>
            <p:cNvSpPr/>
            <p:nvPr/>
          </p:nvSpPr>
          <p:spPr>
            <a:xfrm>
              <a:off x="2576106" y="1968909"/>
              <a:ext cx="435077" cy="435074"/>
            </a:xfrm>
            <a:custGeom>
              <a:avLst/>
              <a:gdLst>
                <a:gd name="connsiteX0" fmla="*/ 217539 w 435077"/>
                <a:gd name="connsiteY0" fmla="*/ 217533 h 435074"/>
                <a:gd name="connsiteX1" fmla="*/ 217539 w 435077"/>
                <a:gd name="connsiteY1" fmla="*/ 0 h 435074"/>
                <a:gd name="connsiteX2" fmla="*/ 0 w 435077"/>
                <a:gd name="connsiteY2" fmla="*/ 0 h 435074"/>
                <a:gd name="connsiteX3" fmla="*/ 217539 w 435077"/>
                <a:gd name="connsiteY3" fmla="*/ 217539 h 435074"/>
                <a:gd name="connsiteX4" fmla="*/ 0 w 435077"/>
                <a:gd name="connsiteY4" fmla="*/ 435075 h 435074"/>
                <a:gd name="connsiteX5" fmla="*/ 217539 w 435077"/>
                <a:gd name="connsiteY5" fmla="*/ 435075 h 435074"/>
                <a:gd name="connsiteX6" fmla="*/ 217539 w 435077"/>
                <a:gd name="connsiteY6" fmla="*/ 435072 h 435074"/>
                <a:gd name="connsiteX7" fmla="*/ 435050 w 435077"/>
                <a:gd name="connsiteY7" fmla="*/ 217541 h 435074"/>
                <a:gd name="connsiteX8" fmla="*/ 435077 w 435077"/>
                <a:gd name="connsiteY8" fmla="*/ 217541 h 435074"/>
                <a:gd name="connsiteX9" fmla="*/ 435077 w 435077"/>
                <a:gd name="connsiteY9" fmla="*/ 217536 h 435074"/>
                <a:gd name="connsiteX10" fmla="*/ 435077 w 435077"/>
                <a:gd name="connsiteY10" fmla="*/ 217533 h 435074"/>
                <a:gd name="connsiteX11" fmla="*/ 435050 w 435077"/>
                <a:gd name="connsiteY11" fmla="*/ 217533 h 435074"/>
                <a:gd name="connsiteX12" fmla="*/ 217539 w 435077"/>
                <a:gd name="connsiteY12" fmla="*/ 3 h 435074"/>
                <a:gd name="connsiteX13" fmla="*/ 217539 w 435077"/>
                <a:gd name="connsiteY13" fmla="*/ 217533 h 435074"/>
                <a:gd name="connsiteX14" fmla="*/ 217539 w 435077"/>
                <a:gd name="connsiteY14" fmla="*/ 217533 h 43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4">
                  <a:moveTo>
                    <a:pt x="217539" y="217533"/>
                  </a:moveTo>
                  <a:lnTo>
                    <a:pt x="217539" y="0"/>
                  </a:lnTo>
                  <a:lnTo>
                    <a:pt x="0" y="0"/>
                  </a:lnTo>
                  <a:lnTo>
                    <a:pt x="217539" y="217539"/>
                  </a:lnTo>
                  <a:lnTo>
                    <a:pt x="0" y="435075"/>
                  </a:lnTo>
                  <a:lnTo>
                    <a:pt x="217539" y="435075"/>
                  </a:lnTo>
                  <a:lnTo>
                    <a:pt x="217539" y="435072"/>
                  </a:lnTo>
                  <a:lnTo>
                    <a:pt x="435050" y="217541"/>
                  </a:lnTo>
                  <a:lnTo>
                    <a:pt x="435077" y="217541"/>
                  </a:lnTo>
                  <a:lnTo>
                    <a:pt x="435077" y="217536"/>
                  </a:lnTo>
                  <a:lnTo>
                    <a:pt x="435077" y="217533"/>
                  </a:lnTo>
                  <a:lnTo>
                    <a:pt x="435050" y="217533"/>
                  </a:lnTo>
                  <a:lnTo>
                    <a:pt x="217539" y="3"/>
                  </a:lnTo>
                  <a:lnTo>
                    <a:pt x="217539" y="217533"/>
                  </a:lnTo>
                  <a:lnTo>
                    <a:pt x="217539" y="217533"/>
                  </a:lnTo>
                  <a:close/>
                </a:path>
              </a:pathLst>
            </a:custGeom>
            <a:grpFill/>
            <a:ln w="27192" cap="flat">
              <a:noFill/>
              <a:prstDash val="solid"/>
              <a:miter/>
            </a:ln>
          </p:spPr>
          <p:txBody>
            <a:bodyPr rtlCol="0" anchor="ctr"/>
            <a:lstStyle/>
            <a:p>
              <a:endParaRPr lang="uk-UA" sz="900"/>
            </a:p>
          </p:txBody>
        </p:sp>
        <p:sp>
          <p:nvSpPr>
            <p:cNvPr id="151" name="Freeform: Shape 150">
              <a:extLst>
                <a:ext uri="{FF2B5EF4-FFF2-40B4-BE49-F238E27FC236}">
                  <a16:creationId xmlns:a16="http://schemas.microsoft.com/office/drawing/2014/main" id="{C45F960A-11CA-FF3B-F340-C7BC3BE103B3}"/>
                </a:ext>
              </a:extLst>
            </p:cNvPr>
            <p:cNvSpPr/>
            <p:nvPr/>
          </p:nvSpPr>
          <p:spPr>
            <a:xfrm>
              <a:off x="4316416" y="1968909"/>
              <a:ext cx="435077" cy="435077"/>
            </a:xfrm>
            <a:custGeom>
              <a:avLst/>
              <a:gdLst>
                <a:gd name="connsiteX0" fmla="*/ 217565 w 435077"/>
                <a:gd name="connsiteY0" fmla="*/ 0 h 435077"/>
                <a:gd name="connsiteX1" fmla="*/ 217539 w 435077"/>
                <a:gd name="connsiteY1" fmla="*/ 0 h 435077"/>
                <a:gd name="connsiteX2" fmla="*/ 27 w 435077"/>
                <a:gd name="connsiteY2" fmla="*/ 0 h 435077"/>
                <a:gd name="connsiteX3" fmla="*/ 27 w 435077"/>
                <a:gd name="connsiteY3" fmla="*/ 217539 h 435077"/>
                <a:gd name="connsiteX4" fmla="*/ 217565 w 435077"/>
                <a:gd name="connsiteY4" fmla="*/ 5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65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65" y="0"/>
                  </a:moveTo>
                  <a:lnTo>
                    <a:pt x="217539" y="0"/>
                  </a:lnTo>
                  <a:lnTo>
                    <a:pt x="27" y="0"/>
                  </a:lnTo>
                  <a:lnTo>
                    <a:pt x="27" y="217539"/>
                  </a:lnTo>
                  <a:lnTo>
                    <a:pt x="217565" y="5"/>
                  </a:lnTo>
                  <a:lnTo>
                    <a:pt x="435077" y="217539"/>
                  </a:lnTo>
                  <a:lnTo>
                    <a:pt x="217539" y="435077"/>
                  </a:lnTo>
                  <a:lnTo>
                    <a:pt x="0" y="217539"/>
                  </a:lnTo>
                  <a:lnTo>
                    <a:pt x="0" y="435077"/>
                  </a:lnTo>
                  <a:lnTo>
                    <a:pt x="217539" y="435077"/>
                  </a:lnTo>
                  <a:lnTo>
                    <a:pt x="435077" y="435077"/>
                  </a:lnTo>
                  <a:lnTo>
                    <a:pt x="435077" y="217539"/>
                  </a:lnTo>
                  <a:lnTo>
                    <a:pt x="435077" y="0"/>
                  </a:lnTo>
                  <a:lnTo>
                    <a:pt x="217565" y="0"/>
                  </a:lnTo>
                  <a:close/>
                </a:path>
              </a:pathLst>
            </a:custGeom>
            <a:grpFill/>
            <a:ln w="27192" cap="flat">
              <a:noFill/>
              <a:prstDash val="solid"/>
              <a:miter/>
            </a:ln>
          </p:spPr>
          <p:txBody>
            <a:bodyPr rtlCol="0" anchor="ctr"/>
            <a:lstStyle/>
            <a:p>
              <a:endParaRPr lang="uk-UA" sz="900"/>
            </a:p>
          </p:txBody>
        </p:sp>
        <p:sp>
          <p:nvSpPr>
            <p:cNvPr id="152" name="Freeform: Shape 151">
              <a:extLst>
                <a:ext uri="{FF2B5EF4-FFF2-40B4-BE49-F238E27FC236}">
                  <a16:creationId xmlns:a16="http://schemas.microsoft.com/office/drawing/2014/main" id="{B997441F-8C6E-E845-D698-6219A7DA4EAE}"/>
                </a:ext>
              </a:extLst>
            </p:cNvPr>
            <p:cNvSpPr/>
            <p:nvPr/>
          </p:nvSpPr>
          <p:spPr>
            <a:xfrm>
              <a:off x="3446261" y="1968909"/>
              <a:ext cx="435077" cy="435077"/>
            </a:xfrm>
            <a:custGeom>
              <a:avLst/>
              <a:gdLst>
                <a:gd name="connsiteX0" fmla="*/ 0 w 435077"/>
                <a:gd name="connsiteY0" fmla="*/ 435077 h 435077"/>
                <a:gd name="connsiteX1" fmla="*/ 217539 w 435077"/>
                <a:gd name="connsiteY1" fmla="*/ 435077 h 435077"/>
                <a:gd name="connsiteX2" fmla="*/ 217539 w 435077"/>
                <a:gd name="connsiteY2" fmla="*/ 217547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28 h 435077"/>
                <a:gd name="connsiteX7" fmla="*/ 217539 w 435077"/>
                <a:gd name="connsiteY7" fmla="*/ 0 h 435077"/>
                <a:gd name="connsiteX8" fmla="*/ 435077 w 435077"/>
                <a:gd name="connsiteY8" fmla="*/ 435077 h 435077"/>
                <a:gd name="connsiteX9" fmla="*/ 217566 w 435077"/>
                <a:gd name="connsiteY9" fmla="*/ 435077 h 435077"/>
                <a:gd name="connsiteX10" fmla="*/ 435077 w 435077"/>
                <a:gd name="connsiteY10" fmla="*/ 217547 h 435077"/>
                <a:gd name="connsiteX11" fmla="*/ 435077 w 435077"/>
                <a:gd name="connsiteY11" fmla="*/ 435077 h 435077"/>
                <a:gd name="connsiteX12" fmla="*/ 435077 w 435077"/>
                <a:gd name="connsiteY12" fmla="*/ 3 h 435077"/>
                <a:gd name="connsiteX13" fmla="*/ 217566 w 435077"/>
                <a:gd name="connsiteY13" fmla="*/ 3 h 435077"/>
                <a:gd name="connsiteX14" fmla="*/ 435077 w 435077"/>
                <a:gd name="connsiteY14" fmla="*/ 217531 h 435077"/>
                <a:gd name="connsiteX15" fmla="*/ 435077 w 435077"/>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47"/>
                  </a:lnTo>
                  <a:lnTo>
                    <a:pt x="0" y="435077"/>
                  </a:lnTo>
                  <a:close/>
                  <a:moveTo>
                    <a:pt x="217539" y="0"/>
                  </a:moveTo>
                  <a:lnTo>
                    <a:pt x="0" y="0"/>
                  </a:lnTo>
                  <a:lnTo>
                    <a:pt x="217539" y="217528"/>
                  </a:lnTo>
                  <a:lnTo>
                    <a:pt x="217539" y="0"/>
                  </a:lnTo>
                  <a:close/>
                  <a:moveTo>
                    <a:pt x="435077" y="435077"/>
                  </a:moveTo>
                  <a:lnTo>
                    <a:pt x="217566" y="435077"/>
                  </a:lnTo>
                  <a:lnTo>
                    <a:pt x="435077" y="217547"/>
                  </a:lnTo>
                  <a:lnTo>
                    <a:pt x="435077" y="435077"/>
                  </a:lnTo>
                  <a:close/>
                  <a:moveTo>
                    <a:pt x="435077" y="3"/>
                  </a:moveTo>
                  <a:lnTo>
                    <a:pt x="217566" y="3"/>
                  </a:lnTo>
                  <a:lnTo>
                    <a:pt x="435077" y="217531"/>
                  </a:lnTo>
                  <a:lnTo>
                    <a:pt x="435077" y="3"/>
                  </a:lnTo>
                  <a:close/>
                </a:path>
              </a:pathLst>
            </a:custGeom>
            <a:grpFill/>
            <a:ln w="27192" cap="flat">
              <a:noFill/>
              <a:prstDash val="solid"/>
              <a:miter/>
            </a:ln>
          </p:spPr>
          <p:txBody>
            <a:bodyPr rtlCol="0" anchor="ctr"/>
            <a:lstStyle/>
            <a:p>
              <a:endParaRPr lang="uk-UA" sz="900"/>
            </a:p>
          </p:txBody>
        </p:sp>
        <p:sp>
          <p:nvSpPr>
            <p:cNvPr id="153" name="Freeform: Shape 152">
              <a:extLst>
                <a:ext uri="{FF2B5EF4-FFF2-40B4-BE49-F238E27FC236}">
                  <a16:creationId xmlns:a16="http://schemas.microsoft.com/office/drawing/2014/main" id="{B792BA2B-EDDA-D5C7-3683-E1A0DBC81DFF}"/>
                </a:ext>
              </a:extLst>
            </p:cNvPr>
            <p:cNvSpPr/>
            <p:nvPr/>
          </p:nvSpPr>
          <p:spPr>
            <a:xfrm>
              <a:off x="5186597" y="1968909"/>
              <a:ext cx="435077" cy="435077"/>
            </a:xfrm>
            <a:custGeom>
              <a:avLst/>
              <a:gdLst>
                <a:gd name="connsiteX0" fmla="*/ 371366 w 435077"/>
                <a:gd name="connsiteY0" fmla="*/ 63714 h 435077"/>
                <a:gd name="connsiteX1" fmla="*/ 435077 w 435077"/>
                <a:gd name="connsiteY1" fmla="*/ 217539 h 435077"/>
                <a:gd name="connsiteX2" fmla="*/ 217702 w 435077"/>
                <a:gd name="connsiteY2" fmla="*/ 217539 h 435077"/>
                <a:gd name="connsiteX3" fmla="*/ 371366 w 435077"/>
                <a:gd name="connsiteY3" fmla="*/ 281253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3 h 435077"/>
                <a:gd name="connsiteX8" fmla="*/ 217376 w 435077"/>
                <a:gd name="connsiteY8" fmla="*/ 217539 h 435077"/>
                <a:gd name="connsiteX9" fmla="*/ 0 w 435077"/>
                <a:gd name="connsiteY9" fmla="*/ 217539 h 435077"/>
                <a:gd name="connsiteX10" fmla="*/ 63712 w 435077"/>
                <a:gd name="connsiteY10" fmla="*/ 63714 h 435077"/>
                <a:gd name="connsiteX11" fmla="*/ 217539 w 435077"/>
                <a:gd name="connsiteY11" fmla="*/ 0 h 435077"/>
                <a:gd name="connsiteX12" fmla="*/ 371366 w 435077"/>
                <a:gd name="connsiteY12" fmla="*/ 63714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4"/>
                  </a:moveTo>
                  <a:cubicBezTo>
                    <a:pt x="412155" y="104511"/>
                    <a:pt x="435077" y="159842"/>
                    <a:pt x="435077" y="217539"/>
                  </a:cubicBezTo>
                  <a:lnTo>
                    <a:pt x="217702" y="217539"/>
                  </a:lnTo>
                  <a:cubicBezTo>
                    <a:pt x="275350" y="217582"/>
                    <a:pt x="330605" y="240497"/>
                    <a:pt x="371366" y="281253"/>
                  </a:cubicBezTo>
                  <a:cubicBezTo>
                    <a:pt x="412155" y="322050"/>
                    <a:pt x="435077" y="377381"/>
                    <a:pt x="435077" y="435077"/>
                  </a:cubicBezTo>
                  <a:lnTo>
                    <a:pt x="217539" y="435077"/>
                  </a:lnTo>
                  <a:lnTo>
                    <a:pt x="0" y="435077"/>
                  </a:lnTo>
                  <a:cubicBezTo>
                    <a:pt x="0" y="377381"/>
                    <a:pt x="22924" y="322050"/>
                    <a:pt x="63712" y="281253"/>
                  </a:cubicBezTo>
                  <a:cubicBezTo>
                    <a:pt x="104473" y="240497"/>
                    <a:pt x="159728" y="217582"/>
                    <a:pt x="217376" y="217539"/>
                  </a:cubicBezTo>
                  <a:lnTo>
                    <a:pt x="0" y="217539"/>
                  </a:lnTo>
                  <a:cubicBezTo>
                    <a:pt x="0" y="159842"/>
                    <a:pt x="22924" y="104511"/>
                    <a:pt x="63712" y="63714"/>
                  </a:cubicBezTo>
                  <a:cubicBezTo>
                    <a:pt x="104501" y="22918"/>
                    <a:pt x="159837" y="0"/>
                    <a:pt x="217539" y="0"/>
                  </a:cubicBezTo>
                  <a:cubicBezTo>
                    <a:pt x="275241" y="0"/>
                    <a:pt x="330550" y="22918"/>
                    <a:pt x="371366" y="63714"/>
                  </a:cubicBezTo>
                  <a:close/>
                </a:path>
              </a:pathLst>
            </a:custGeom>
            <a:grpFill/>
            <a:ln w="27192" cap="flat">
              <a:noFill/>
              <a:prstDash val="solid"/>
              <a:miter/>
            </a:ln>
          </p:spPr>
          <p:txBody>
            <a:bodyPr rtlCol="0" anchor="ctr"/>
            <a:lstStyle/>
            <a:p>
              <a:endParaRPr lang="uk-UA" sz="900"/>
            </a:p>
          </p:txBody>
        </p:sp>
        <p:sp>
          <p:nvSpPr>
            <p:cNvPr id="154" name="Freeform: Shape 153">
              <a:extLst>
                <a:ext uri="{FF2B5EF4-FFF2-40B4-BE49-F238E27FC236}">
                  <a16:creationId xmlns:a16="http://schemas.microsoft.com/office/drawing/2014/main" id="{C05E1429-5529-9495-213F-D97E7DE637A1}"/>
                </a:ext>
              </a:extLst>
            </p:cNvPr>
            <p:cNvSpPr/>
            <p:nvPr/>
          </p:nvSpPr>
          <p:spPr>
            <a:xfrm>
              <a:off x="6056752" y="1968909"/>
              <a:ext cx="435077" cy="435074"/>
            </a:xfrm>
            <a:custGeom>
              <a:avLst/>
              <a:gdLst>
                <a:gd name="connsiteX0" fmla="*/ 217539 w 435077"/>
                <a:gd name="connsiteY0" fmla="*/ 217539 h 435074"/>
                <a:gd name="connsiteX1" fmla="*/ 217539 w 435077"/>
                <a:gd name="connsiteY1" fmla="*/ 217536 h 435074"/>
                <a:gd name="connsiteX2" fmla="*/ 0 w 435077"/>
                <a:gd name="connsiteY2" fmla="*/ 0 h 435074"/>
                <a:gd name="connsiteX3" fmla="*/ 217539 w 435077"/>
                <a:gd name="connsiteY3" fmla="*/ 0 h 435074"/>
                <a:gd name="connsiteX4" fmla="*/ 217539 w 435077"/>
                <a:gd name="connsiteY4" fmla="*/ 5 h 435074"/>
                <a:gd name="connsiteX5" fmla="*/ 435077 w 435077"/>
                <a:gd name="connsiteY5" fmla="*/ 217533 h 435074"/>
                <a:gd name="connsiteX6" fmla="*/ 435077 w 435077"/>
                <a:gd name="connsiteY6" fmla="*/ 217533 h 435074"/>
                <a:gd name="connsiteX7" fmla="*/ 435077 w 435077"/>
                <a:gd name="connsiteY7" fmla="*/ 217539 h 435074"/>
                <a:gd name="connsiteX8" fmla="*/ 435077 w 435077"/>
                <a:gd name="connsiteY8" fmla="*/ 217541 h 435074"/>
                <a:gd name="connsiteX9" fmla="*/ 435077 w 435077"/>
                <a:gd name="connsiteY9" fmla="*/ 217541 h 435074"/>
                <a:gd name="connsiteX10" fmla="*/ 217539 w 435077"/>
                <a:gd name="connsiteY10" fmla="*/ 435072 h 435074"/>
                <a:gd name="connsiteX11" fmla="*/ 217539 w 435077"/>
                <a:gd name="connsiteY11" fmla="*/ 435075 h 435074"/>
                <a:gd name="connsiteX12" fmla="*/ 0 w 435077"/>
                <a:gd name="connsiteY12" fmla="*/ 435075 h 435074"/>
                <a:gd name="connsiteX13" fmla="*/ 217539 w 435077"/>
                <a:gd name="connsiteY13" fmla="*/ 217539 h 43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4">
                  <a:moveTo>
                    <a:pt x="217539" y="217539"/>
                  </a:moveTo>
                  <a:lnTo>
                    <a:pt x="217539" y="217536"/>
                  </a:lnTo>
                  <a:lnTo>
                    <a:pt x="0" y="0"/>
                  </a:lnTo>
                  <a:lnTo>
                    <a:pt x="217539" y="0"/>
                  </a:lnTo>
                  <a:lnTo>
                    <a:pt x="217539" y="5"/>
                  </a:lnTo>
                  <a:lnTo>
                    <a:pt x="435077" y="217533"/>
                  </a:lnTo>
                  <a:lnTo>
                    <a:pt x="435077" y="217533"/>
                  </a:lnTo>
                  <a:lnTo>
                    <a:pt x="435077" y="217539"/>
                  </a:lnTo>
                  <a:lnTo>
                    <a:pt x="435077" y="217541"/>
                  </a:lnTo>
                  <a:lnTo>
                    <a:pt x="435077" y="217541"/>
                  </a:lnTo>
                  <a:lnTo>
                    <a:pt x="217539" y="435072"/>
                  </a:lnTo>
                  <a:lnTo>
                    <a:pt x="217539" y="435075"/>
                  </a:lnTo>
                  <a:lnTo>
                    <a:pt x="0" y="435075"/>
                  </a:lnTo>
                  <a:lnTo>
                    <a:pt x="217539" y="217539"/>
                  </a:lnTo>
                  <a:close/>
                </a:path>
              </a:pathLst>
            </a:custGeom>
            <a:grpFill/>
            <a:ln w="27192" cap="flat">
              <a:noFill/>
              <a:prstDash val="solid"/>
              <a:miter/>
            </a:ln>
          </p:spPr>
          <p:txBody>
            <a:bodyPr rtlCol="0" anchor="ctr"/>
            <a:lstStyle/>
            <a:p>
              <a:endParaRPr lang="uk-UA" sz="900"/>
            </a:p>
          </p:txBody>
        </p:sp>
        <p:sp>
          <p:nvSpPr>
            <p:cNvPr id="155" name="Freeform: Shape 154">
              <a:extLst>
                <a:ext uri="{FF2B5EF4-FFF2-40B4-BE49-F238E27FC236}">
                  <a16:creationId xmlns:a16="http://schemas.microsoft.com/office/drawing/2014/main" id="{51E0FDAE-F568-E6AF-8747-B8E3D6350340}"/>
                </a:ext>
              </a:extLst>
            </p:cNvPr>
            <p:cNvSpPr/>
            <p:nvPr/>
          </p:nvSpPr>
          <p:spPr>
            <a:xfrm>
              <a:off x="7797062" y="196890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p>
          </p:txBody>
        </p:sp>
        <p:sp>
          <p:nvSpPr>
            <p:cNvPr id="156" name="Freeform: Shape 155">
              <a:extLst>
                <a:ext uri="{FF2B5EF4-FFF2-40B4-BE49-F238E27FC236}">
                  <a16:creationId xmlns:a16="http://schemas.microsoft.com/office/drawing/2014/main" id="{FB1884FB-E1F7-8B53-BFEB-5F5A303C8254}"/>
                </a:ext>
              </a:extLst>
            </p:cNvPr>
            <p:cNvSpPr/>
            <p:nvPr/>
          </p:nvSpPr>
          <p:spPr>
            <a:xfrm>
              <a:off x="6926907" y="1968909"/>
              <a:ext cx="435077" cy="435077"/>
            </a:xfrm>
            <a:custGeom>
              <a:avLst/>
              <a:gdLst>
                <a:gd name="connsiteX0" fmla="*/ 0 w 435077"/>
                <a:gd name="connsiteY0" fmla="*/ 435077 h 435077"/>
                <a:gd name="connsiteX1" fmla="*/ 217539 w 435077"/>
                <a:gd name="connsiteY1" fmla="*/ 435077 h 435077"/>
                <a:gd name="connsiteX2" fmla="*/ 217539 w 435077"/>
                <a:gd name="connsiteY2" fmla="*/ 217547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28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47 h 435077"/>
                <a:gd name="connsiteX11" fmla="*/ 435077 w 435077"/>
                <a:gd name="connsiteY11" fmla="*/ 435077 h 435077"/>
                <a:gd name="connsiteX12" fmla="*/ 435077 w 435077"/>
                <a:gd name="connsiteY12" fmla="*/ 3 h 435077"/>
                <a:gd name="connsiteX13" fmla="*/ 217539 w 435077"/>
                <a:gd name="connsiteY13" fmla="*/ 3 h 435077"/>
                <a:gd name="connsiteX14" fmla="*/ 435077 w 435077"/>
                <a:gd name="connsiteY14" fmla="*/ 217531 h 435077"/>
                <a:gd name="connsiteX15" fmla="*/ 435077 w 435077"/>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47"/>
                  </a:lnTo>
                  <a:lnTo>
                    <a:pt x="0" y="435077"/>
                  </a:lnTo>
                  <a:close/>
                  <a:moveTo>
                    <a:pt x="217539" y="0"/>
                  </a:moveTo>
                  <a:lnTo>
                    <a:pt x="0" y="0"/>
                  </a:lnTo>
                  <a:lnTo>
                    <a:pt x="217539" y="217528"/>
                  </a:lnTo>
                  <a:lnTo>
                    <a:pt x="217539" y="0"/>
                  </a:lnTo>
                  <a:close/>
                  <a:moveTo>
                    <a:pt x="435077" y="435077"/>
                  </a:moveTo>
                  <a:lnTo>
                    <a:pt x="217539" y="435077"/>
                  </a:lnTo>
                  <a:lnTo>
                    <a:pt x="435077" y="217547"/>
                  </a:lnTo>
                  <a:lnTo>
                    <a:pt x="435077" y="435077"/>
                  </a:lnTo>
                  <a:close/>
                  <a:moveTo>
                    <a:pt x="435077" y="3"/>
                  </a:moveTo>
                  <a:lnTo>
                    <a:pt x="217539" y="3"/>
                  </a:lnTo>
                  <a:lnTo>
                    <a:pt x="435077" y="217531"/>
                  </a:lnTo>
                  <a:lnTo>
                    <a:pt x="435077" y="3"/>
                  </a:lnTo>
                  <a:close/>
                </a:path>
              </a:pathLst>
            </a:custGeom>
            <a:grpFill/>
            <a:ln w="27192" cap="flat">
              <a:noFill/>
              <a:prstDash val="solid"/>
              <a:miter/>
            </a:ln>
          </p:spPr>
          <p:txBody>
            <a:bodyPr rtlCol="0" anchor="ctr"/>
            <a:lstStyle/>
            <a:p>
              <a:endParaRPr lang="uk-UA" sz="900"/>
            </a:p>
          </p:txBody>
        </p:sp>
        <p:sp>
          <p:nvSpPr>
            <p:cNvPr id="157" name="Freeform: Shape 156">
              <a:extLst>
                <a:ext uri="{FF2B5EF4-FFF2-40B4-BE49-F238E27FC236}">
                  <a16:creationId xmlns:a16="http://schemas.microsoft.com/office/drawing/2014/main" id="{BEEFC636-9A17-6F43-31CC-4BB1EE0F6E6D}"/>
                </a:ext>
              </a:extLst>
            </p:cNvPr>
            <p:cNvSpPr/>
            <p:nvPr/>
          </p:nvSpPr>
          <p:spPr>
            <a:xfrm>
              <a:off x="8667217" y="1968909"/>
              <a:ext cx="435104" cy="435077"/>
            </a:xfrm>
            <a:custGeom>
              <a:avLst/>
              <a:gdLst>
                <a:gd name="connsiteX0" fmla="*/ 371366 w 435104"/>
                <a:gd name="connsiteY0" fmla="*/ 63714 h 435077"/>
                <a:gd name="connsiteX1" fmla="*/ 435077 w 435104"/>
                <a:gd name="connsiteY1" fmla="*/ 217539 h 435077"/>
                <a:gd name="connsiteX2" fmla="*/ 217730 w 435104"/>
                <a:gd name="connsiteY2" fmla="*/ 217539 h 435077"/>
                <a:gd name="connsiteX3" fmla="*/ 371366 w 435104"/>
                <a:gd name="connsiteY3" fmla="*/ 281253 h 435077"/>
                <a:gd name="connsiteX4" fmla="*/ 435105 w 435104"/>
                <a:gd name="connsiteY4" fmla="*/ 435077 h 435077"/>
                <a:gd name="connsiteX5" fmla="*/ 217566 w 435104"/>
                <a:gd name="connsiteY5" fmla="*/ 435077 h 435077"/>
                <a:gd name="connsiteX6" fmla="*/ 27 w 435104"/>
                <a:gd name="connsiteY6" fmla="*/ 435077 h 435077"/>
                <a:gd name="connsiteX7" fmla="*/ 63739 w 435104"/>
                <a:gd name="connsiteY7" fmla="*/ 281253 h 435077"/>
                <a:gd name="connsiteX8" fmla="*/ 217376 w 435104"/>
                <a:gd name="connsiteY8" fmla="*/ 217539 h 435077"/>
                <a:gd name="connsiteX9" fmla="*/ 0 w 435104"/>
                <a:gd name="connsiteY9" fmla="*/ 217539 h 435077"/>
                <a:gd name="connsiteX10" fmla="*/ 63739 w 435104"/>
                <a:gd name="connsiteY10" fmla="*/ 63714 h 435077"/>
                <a:gd name="connsiteX11" fmla="*/ 217539 w 435104"/>
                <a:gd name="connsiteY11" fmla="*/ 0 h 435077"/>
                <a:gd name="connsiteX12" fmla="*/ 371366 w 435104"/>
                <a:gd name="connsiteY12" fmla="*/ 63714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4" h="435077">
                  <a:moveTo>
                    <a:pt x="371366" y="63714"/>
                  </a:moveTo>
                  <a:cubicBezTo>
                    <a:pt x="412182" y="104511"/>
                    <a:pt x="435077" y="159842"/>
                    <a:pt x="435077" y="217539"/>
                  </a:cubicBezTo>
                  <a:lnTo>
                    <a:pt x="217730" y="217539"/>
                  </a:lnTo>
                  <a:cubicBezTo>
                    <a:pt x="275350" y="217582"/>
                    <a:pt x="330632" y="240497"/>
                    <a:pt x="371366" y="281253"/>
                  </a:cubicBezTo>
                  <a:cubicBezTo>
                    <a:pt x="412182" y="322050"/>
                    <a:pt x="435105" y="377381"/>
                    <a:pt x="435105" y="435077"/>
                  </a:cubicBezTo>
                  <a:lnTo>
                    <a:pt x="217566" y="435077"/>
                  </a:lnTo>
                  <a:lnTo>
                    <a:pt x="27" y="435077"/>
                  </a:lnTo>
                  <a:cubicBezTo>
                    <a:pt x="27" y="377381"/>
                    <a:pt x="22924" y="322050"/>
                    <a:pt x="63739" y="281253"/>
                  </a:cubicBezTo>
                  <a:cubicBezTo>
                    <a:pt x="104501" y="240497"/>
                    <a:pt x="159755" y="217582"/>
                    <a:pt x="217376" y="217539"/>
                  </a:cubicBezTo>
                  <a:lnTo>
                    <a:pt x="0" y="217539"/>
                  </a:lnTo>
                  <a:cubicBezTo>
                    <a:pt x="0" y="159842"/>
                    <a:pt x="22924" y="104511"/>
                    <a:pt x="63739" y="63714"/>
                  </a:cubicBezTo>
                  <a:cubicBezTo>
                    <a:pt x="104527" y="22918"/>
                    <a:pt x="159864" y="0"/>
                    <a:pt x="217539" y="0"/>
                  </a:cubicBezTo>
                  <a:cubicBezTo>
                    <a:pt x="275241" y="0"/>
                    <a:pt x="330578" y="22918"/>
                    <a:pt x="371366" y="63714"/>
                  </a:cubicBezTo>
                  <a:close/>
                </a:path>
              </a:pathLst>
            </a:custGeom>
            <a:grpFill/>
            <a:ln w="27192" cap="flat">
              <a:noFill/>
              <a:prstDash val="solid"/>
              <a:miter/>
            </a:ln>
          </p:spPr>
          <p:txBody>
            <a:bodyPr rtlCol="0" anchor="ctr"/>
            <a:lstStyle/>
            <a:p>
              <a:endParaRPr lang="uk-UA" sz="900"/>
            </a:p>
          </p:txBody>
        </p:sp>
        <p:sp>
          <p:nvSpPr>
            <p:cNvPr id="158" name="Freeform: Shape 157">
              <a:extLst>
                <a:ext uri="{FF2B5EF4-FFF2-40B4-BE49-F238E27FC236}">
                  <a16:creationId xmlns:a16="http://schemas.microsoft.com/office/drawing/2014/main" id="{367C7739-182F-EBAC-1686-834D20FC8E5F}"/>
                </a:ext>
              </a:extLst>
            </p:cNvPr>
            <p:cNvSpPr/>
            <p:nvPr/>
          </p:nvSpPr>
          <p:spPr>
            <a:xfrm>
              <a:off x="9537399" y="1968909"/>
              <a:ext cx="435077" cy="435074"/>
            </a:xfrm>
            <a:custGeom>
              <a:avLst/>
              <a:gdLst>
                <a:gd name="connsiteX0" fmla="*/ 217539 w 435077"/>
                <a:gd name="connsiteY0" fmla="*/ 217539 h 435074"/>
                <a:gd name="connsiteX1" fmla="*/ 217539 w 435077"/>
                <a:gd name="connsiteY1" fmla="*/ 217536 h 435074"/>
                <a:gd name="connsiteX2" fmla="*/ 0 w 435077"/>
                <a:gd name="connsiteY2" fmla="*/ 0 h 435074"/>
                <a:gd name="connsiteX3" fmla="*/ 217539 w 435077"/>
                <a:gd name="connsiteY3" fmla="*/ 0 h 435074"/>
                <a:gd name="connsiteX4" fmla="*/ 217539 w 435077"/>
                <a:gd name="connsiteY4" fmla="*/ 5 h 435074"/>
                <a:gd name="connsiteX5" fmla="*/ 435050 w 435077"/>
                <a:gd name="connsiteY5" fmla="*/ 217533 h 435074"/>
                <a:gd name="connsiteX6" fmla="*/ 435077 w 435077"/>
                <a:gd name="connsiteY6" fmla="*/ 217533 h 435074"/>
                <a:gd name="connsiteX7" fmla="*/ 435050 w 435077"/>
                <a:gd name="connsiteY7" fmla="*/ 217539 h 435074"/>
                <a:gd name="connsiteX8" fmla="*/ 435077 w 435077"/>
                <a:gd name="connsiteY8" fmla="*/ 217541 h 435074"/>
                <a:gd name="connsiteX9" fmla="*/ 435050 w 435077"/>
                <a:gd name="connsiteY9" fmla="*/ 217541 h 435074"/>
                <a:gd name="connsiteX10" fmla="*/ 217539 w 435077"/>
                <a:gd name="connsiteY10" fmla="*/ 435072 h 435074"/>
                <a:gd name="connsiteX11" fmla="*/ 217539 w 435077"/>
                <a:gd name="connsiteY11" fmla="*/ 435075 h 435074"/>
                <a:gd name="connsiteX12" fmla="*/ 0 w 435077"/>
                <a:gd name="connsiteY12" fmla="*/ 435075 h 435074"/>
                <a:gd name="connsiteX13" fmla="*/ 217539 w 435077"/>
                <a:gd name="connsiteY13" fmla="*/ 217539 h 43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4">
                  <a:moveTo>
                    <a:pt x="217539" y="217539"/>
                  </a:moveTo>
                  <a:lnTo>
                    <a:pt x="217539" y="217536"/>
                  </a:lnTo>
                  <a:lnTo>
                    <a:pt x="0" y="0"/>
                  </a:lnTo>
                  <a:lnTo>
                    <a:pt x="217539" y="0"/>
                  </a:lnTo>
                  <a:lnTo>
                    <a:pt x="217539" y="5"/>
                  </a:lnTo>
                  <a:lnTo>
                    <a:pt x="435050" y="217533"/>
                  </a:lnTo>
                  <a:lnTo>
                    <a:pt x="435077" y="217533"/>
                  </a:lnTo>
                  <a:lnTo>
                    <a:pt x="435050" y="217539"/>
                  </a:lnTo>
                  <a:lnTo>
                    <a:pt x="435077" y="217541"/>
                  </a:lnTo>
                  <a:lnTo>
                    <a:pt x="435050" y="217541"/>
                  </a:lnTo>
                  <a:lnTo>
                    <a:pt x="217539" y="435072"/>
                  </a:lnTo>
                  <a:lnTo>
                    <a:pt x="217539" y="435075"/>
                  </a:lnTo>
                  <a:lnTo>
                    <a:pt x="0" y="435075"/>
                  </a:lnTo>
                  <a:lnTo>
                    <a:pt x="217539" y="217539"/>
                  </a:lnTo>
                  <a:close/>
                </a:path>
              </a:pathLst>
            </a:custGeom>
            <a:grpFill/>
            <a:ln w="27192" cap="flat">
              <a:noFill/>
              <a:prstDash val="solid"/>
              <a:miter/>
            </a:ln>
          </p:spPr>
          <p:txBody>
            <a:bodyPr rtlCol="0" anchor="ctr"/>
            <a:lstStyle/>
            <a:p>
              <a:endParaRPr lang="uk-UA" sz="900"/>
            </a:p>
          </p:txBody>
        </p:sp>
        <p:sp>
          <p:nvSpPr>
            <p:cNvPr id="159" name="Freeform: Shape 158">
              <a:extLst>
                <a:ext uri="{FF2B5EF4-FFF2-40B4-BE49-F238E27FC236}">
                  <a16:creationId xmlns:a16="http://schemas.microsoft.com/office/drawing/2014/main" id="{FBA260C3-C90E-A5D3-8827-0815C062F43C}"/>
                </a:ext>
              </a:extLst>
            </p:cNvPr>
            <p:cNvSpPr/>
            <p:nvPr/>
          </p:nvSpPr>
          <p:spPr>
            <a:xfrm>
              <a:off x="11277709" y="196890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160" name="Freeform: Shape 159">
              <a:extLst>
                <a:ext uri="{FF2B5EF4-FFF2-40B4-BE49-F238E27FC236}">
                  <a16:creationId xmlns:a16="http://schemas.microsoft.com/office/drawing/2014/main" id="{CC4E0714-D9F8-61D5-42AF-5ACCB08C1C58}"/>
                </a:ext>
              </a:extLst>
            </p:cNvPr>
            <p:cNvSpPr/>
            <p:nvPr/>
          </p:nvSpPr>
          <p:spPr>
            <a:xfrm>
              <a:off x="10407554" y="1968909"/>
              <a:ext cx="435077" cy="435077"/>
            </a:xfrm>
            <a:custGeom>
              <a:avLst/>
              <a:gdLst>
                <a:gd name="connsiteX0" fmla="*/ 0 w 435077"/>
                <a:gd name="connsiteY0" fmla="*/ 435075 h 435077"/>
                <a:gd name="connsiteX1" fmla="*/ 217511 w 435077"/>
                <a:gd name="connsiteY1" fmla="*/ 435075 h 435077"/>
                <a:gd name="connsiteX2" fmla="*/ 217511 w 435077"/>
                <a:gd name="connsiteY2" fmla="*/ 217547 h 435077"/>
                <a:gd name="connsiteX3" fmla="*/ 0 w 435077"/>
                <a:gd name="connsiteY3" fmla="*/ 435075 h 435077"/>
                <a:gd name="connsiteX4" fmla="*/ 217511 w 435077"/>
                <a:gd name="connsiteY4" fmla="*/ 0 h 435077"/>
                <a:gd name="connsiteX5" fmla="*/ 0 w 435077"/>
                <a:gd name="connsiteY5" fmla="*/ 0 h 435077"/>
                <a:gd name="connsiteX6" fmla="*/ 217511 w 435077"/>
                <a:gd name="connsiteY6" fmla="*/ 217528 h 435077"/>
                <a:gd name="connsiteX7" fmla="*/ 217511 w 435077"/>
                <a:gd name="connsiteY7" fmla="*/ 0 h 435077"/>
                <a:gd name="connsiteX8" fmla="*/ 435077 w 435077"/>
                <a:gd name="connsiteY8" fmla="*/ 435077 h 435077"/>
                <a:gd name="connsiteX9" fmla="*/ 217539 w 435077"/>
                <a:gd name="connsiteY9" fmla="*/ 435077 h 435077"/>
                <a:gd name="connsiteX10" fmla="*/ 435077 w 435077"/>
                <a:gd name="connsiteY10" fmla="*/ 217547 h 435077"/>
                <a:gd name="connsiteX11" fmla="*/ 435077 w 435077"/>
                <a:gd name="connsiteY11" fmla="*/ 435077 h 435077"/>
                <a:gd name="connsiteX12" fmla="*/ 435077 w 435077"/>
                <a:gd name="connsiteY12" fmla="*/ 3 h 435077"/>
                <a:gd name="connsiteX13" fmla="*/ 217539 w 435077"/>
                <a:gd name="connsiteY13" fmla="*/ 3 h 435077"/>
                <a:gd name="connsiteX14" fmla="*/ 435077 w 435077"/>
                <a:gd name="connsiteY14" fmla="*/ 217531 h 435077"/>
                <a:gd name="connsiteX15" fmla="*/ 435077 w 435077"/>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5"/>
                  </a:moveTo>
                  <a:lnTo>
                    <a:pt x="217511" y="435075"/>
                  </a:lnTo>
                  <a:lnTo>
                    <a:pt x="217511" y="217547"/>
                  </a:lnTo>
                  <a:lnTo>
                    <a:pt x="0" y="435075"/>
                  </a:lnTo>
                  <a:close/>
                  <a:moveTo>
                    <a:pt x="217511" y="0"/>
                  </a:moveTo>
                  <a:lnTo>
                    <a:pt x="0" y="0"/>
                  </a:lnTo>
                  <a:lnTo>
                    <a:pt x="217511" y="217528"/>
                  </a:lnTo>
                  <a:lnTo>
                    <a:pt x="217511" y="0"/>
                  </a:lnTo>
                  <a:close/>
                  <a:moveTo>
                    <a:pt x="435077" y="435077"/>
                  </a:moveTo>
                  <a:lnTo>
                    <a:pt x="217539" y="435077"/>
                  </a:lnTo>
                  <a:lnTo>
                    <a:pt x="435077" y="217547"/>
                  </a:lnTo>
                  <a:lnTo>
                    <a:pt x="435077" y="435077"/>
                  </a:lnTo>
                  <a:close/>
                  <a:moveTo>
                    <a:pt x="435077" y="3"/>
                  </a:moveTo>
                  <a:lnTo>
                    <a:pt x="217539" y="3"/>
                  </a:lnTo>
                  <a:lnTo>
                    <a:pt x="435077" y="217531"/>
                  </a:lnTo>
                  <a:lnTo>
                    <a:pt x="435077" y="3"/>
                  </a:lnTo>
                  <a:close/>
                </a:path>
              </a:pathLst>
            </a:custGeom>
            <a:grpFill/>
            <a:ln w="27192" cap="flat">
              <a:noFill/>
              <a:prstDash val="solid"/>
              <a:miter/>
            </a:ln>
          </p:spPr>
          <p:txBody>
            <a:bodyPr rtlCol="0" anchor="ctr"/>
            <a:lstStyle/>
            <a:p>
              <a:endParaRPr lang="uk-UA" sz="900"/>
            </a:p>
          </p:txBody>
        </p:sp>
        <p:sp>
          <p:nvSpPr>
            <p:cNvPr id="161" name="Freeform: Shape 160">
              <a:extLst>
                <a:ext uri="{FF2B5EF4-FFF2-40B4-BE49-F238E27FC236}">
                  <a16:creationId xmlns:a16="http://schemas.microsoft.com/office/drawing/2014/main" id="{906FCD11-D5F7-F48D-47AE-7095D6AA46FB}"/>
                </a:ext>
              </a:extLst>
            </p:cNvPr>
            <p:cNvSpPr/>
            <p:nvPr/>
          </p:nvSpPr>
          <p:spPr>
            <a:xfrm>
              <a:off x="12147864" y="1968909"/>
              <a:ext cx="435103" cy="435077"/>
            </a:xfrm>
            <a:custGeom>
              <a:avLst/>
              <a:gdLst>
                <a:gd name="connsiteX0" fmla="*/ 371365 w 435103"/>
                <a:gd name="connsiteY0" fmla="*/ 63714 h 435077"/>
                <a:gd name="connsiteX1" fmla="*/ 435077 w 435103"/>
                <a:gd name="connsiteY1" fmla="*/ 217539 h 435077"/>
                <a:gd name="connsiteX2" fmla="*/ 217728 w 435103"/>
                <a:gd name="connsiteY2" fmla="*/ 217539 h 435077"/>
                <a:gd name="connsiteX3" fmla="*/ 371365 w 435103"/>
                <a:gd name="connsiteY3" fmla="*/ 281253 h 435077"/>
                <a:gd name="connsiteX4" fmla="*/ 435104 w 435103"/>
                <a:gd name="connsiteY4" fmla="*/ 435077 h 435077"/>
                <a:gd name="connsiteX5" fmla="*/ 217565 w 435103"/>
                <a:gd name="connsiteY5" fmla="*/ 435077 h 435077"/>
                <a:gd name="connsiteX6" fmla="*/ 27 w 435103"/>
                <a:gd name="connsiteY6" fmla="*/ 435077 h 435077"/>
                <a:gd name="connsiteX7" fmla="*/ 63739 w 435103"/>
                <a:gd name="connsiteY7" fmla="*/ 281253 h 435077"/>
                <a:gd name="connsiteX8" fmla="*/ 217374 w 435103"/>
                <a:gd name="connsiteY8" fmla="*/ 217539 h 435077"/>
                <a:gd name="connsiteX9" fmla="*/ 0 w 435103"/>
                <a:gd name="connsiteY9" fmla="*/ 217539 h 435077"/>
                <a:gd name="connsiteX10" fmla="*/ 63739 w 435103"/>
                <a:gd name="connsiteY10" fmla="*/ 63714 h 435077"/>
                <a:gd name="connsiteX11" fmla="*/ 217539 w 435103"/>
                <a:gd name="connsiteY11" fmla="*/ 0 h 435077"/>
                <a:gd name="connsiteX12" fmla="*/ 371365 w 435103"/>
                <a:gd name="connsiteY12" fmla="*/ 63714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3" h="435077">
                  <a:moveTo>
                    <a:pt x="371365" y="63714"/>
                  </a:moveTo>
                  <a:cubicBezTo>
                    <a:pt x="412180" y="104511"/>
                    <a:pt x="435077" y="159842"/>
                    <a:pt x="435077" y="217539"/>
                  </a:cubicBezTo>
                  <a:lnTo>
                    <a:pt x="217728" y="217539"/>
                  </a:lnTo>
                  <a:cubicBezTo>
                    <a:pt x="275349" y="217582"/>
                    <a:pt x="330632" y="240497"/>
                    <a:pt x="371365" y="281253"/>
                  </a:cubicBezTo>
                  <a:cubicBezTo>
                    <a:pt x="412180" y="322050"/>
                    <a:pt x="435104" y="377381"/>
                    <a:pt x="435104" y="435077"/>
                  </a:cubicBezTo>
                  <a:lnTo>
                    <a:pt x="217565" y="435077"/>
                  </a:lnTo>
                  <a:lnTo>
                    <a:pt x="27" y="435077"/>
                  </a:lnTo>
                  <a:cubicBezTo>
                    <a:pt x="27" y="377381"/>
                    <a:pt x="22922" y="322050"/>
                    <a:pt x="63739" y="281253"/>
                  </a:cubicBezTo>
                  <a:cubicBezTo>
                    <a:pt x="104499" y="240497"/>
                    <a:pt x="159755" y="217582"/>
                    <a:pt x="217374" y="217539"/>
                  </a:cubicBezTo>
                  <a:lnTo>
                    <a:pt x="0" y="217539"/>
                  </a:lnTo>
                  <a:cubicBezTo>
                    <a:pt x="0" y="159842"/>
                    <a:pt x="22922" y="104511"/>
                    <a:pt x="63739" y="63714"/>
                  </a:cubicBezTo>
                  <a:cubicBezTo>
                    <a:pt x="104527" y="22918"/>
                    <a:pt x="159863" y="0"/>
                    <a:pt x="217539" y="0"/>
                  </a:cubicBezTo>
                  <a:cubicBezTo>
                    <a:pt x="275239" y="0"/>
                    <a:pt x="330577" y="22918"/>
                    <a:pt x="371365" y="63714"/>
                  </a:cubicBezTo>
                  <a:close/>
                </a:path>
              </a:pathLst>
            </a:custGeom>
            <a:grpFill/>
            <a:ln w="27192" cap="flat">
              <a:noFill/>
              <a:prstDash val="solid"/>
              <a:miter/>
            </a:ln>
          </p:spPr>
          <p:txBody>
            <a:bodyPr rtlCol="0" anchor="ctr"/>
            <a:lstStyle/>
            <a:p>
              <a:endParaRPr lang="uk-UA" sz="900"/>
            </a:p>
          </p:txBody>
        </p:sp>
        <p:sp>
          <p:nvSpPr>
            <p:cNvPr id="162" name="Freeform: Shape 161">
              <a:extLst>
                <a:ext uri="{FF2B5EF4-FFF2-40B4-BE49-F238E27FC236}">
                  <a16:creationId xmlns:a16="http://schemas.microsoft.com/office/drawing/2014/main" id="{AB286CEF-0C92-46D6-62AD-82F62F0D056A}"/>
                </a:ext>
              </a:extLst>
            </p:cNvPr>
            <p:cNvSpPr/>
            <p:nvPr/>
          </p:nvSpPr>
          <p:spPr>
            <a:xfrm>
              <a:off x="13017991" y="1968906"/>
              <a:ext cx="435077" cy="435077"/>
            </a:xfrm>
            <a:custGeom>
              <a:avLst/>
              <a:gdLst>
                <a:gd name="connsiteX0" fmla="*/ 217539 w 435077"/>
                <a:gd name="connsiteY0" fmla="*/ 217533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2 h 435077"/>
                <a:gd name="connsiteX7" fmla="*/ 435077 w 435077"/>
                <a:gd name="connsiteY7" fmla="*/ 217541 h 435077"/>
                <a:gd name="connsiteX8" fmla="*/ 435077 w 435077"/>
                <a:gd name="connsiteY8" fmla="*/ 217541 h 435077"/>
                <a:gd name="connsiteX9" fmla="*/ 435077 w 435077"/>
                <a:gd name="connsiteY9" fmla="*/ 217539 h 435077"/>
                <a:gd name="connsiteX10" fmla="*/ 435077 w 435077"/>
                <a:gd name="connsiteY10" fmla="*/ 217533 h 435077"/>
                <a:gd name="connsiteX11" fmla="*/ 435077 w 435077"/>
                <a:gd name="connsiteY11" fmla="*/ 217533 h 435077"/>
                <a:gd name="connsiteX12" fmla="*/ 217539 w 435077"/>
                <a:gd name="connsiteY12" fmla="*/ 5 h 435077"/>
                <a:gd name="connsiteX13" fmla="*/ 217539 w 435077"/>
                <a:gd name="connsiteY13" fmla="*/ 217533 h 435077"/>
                <a:gd name="connsiteX14" fmla="*/ 217539 w 435077"/>
                <a:gd name="connsiteY14" fmla="*/ 21753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3"/>
                  </a:moveTo>
                  <a:lnTo>
                    <a:pt x="217539" y="0"/>
                  </a:lnTo>
                  <a:lnTo>
                    <a:pt x="0" y="0"/>
                  </a:lnTo>
                  <a:lnTo>
                    <a:pt x="217539" y="217539"/>
                  </a:lnTo>
                  <a:lnTo>
                    <a:pt x="0" y="435077"/>
                  </a:lnTo>
                  <a:lnTo>
                    <a:pt x="217539" y="435077"/>
                  </a:lnTo>
                  <a:lnTo>
                    <a:pt x="217539" y="435072"/>
                  </a:lnTo>
                  <a:lnTo>
                    <a:pt x="435077" y="217541"/>
                  </a:lnTo>
                  <a:lnTo>
                    <a:pt x="435077" y="217541"/>
                  </a:lnTo>
                  <a:lnTo>
                    <a:pt x="435077" y="217539"/>
                  </a:lnTo>
                  <a:lnTo>
                    <a:pt x="435077" y="217533"/>
                  </a:lnTo>
                  <a:lnTo>
                    <a:pt x="435077" y="217533"/>
                  </a:lnTo>
                  <a:lnTo>
                    <a:pt x="217539" y="5"/>
                  </a:lnTo>
                  <a:lnTo>
                    <a:pt x="217539" y="217533"/>
                  </a:lnTo>
                  <a:lnTo>
                    <a:pt x="217539" y="217533"/>
                  </a:lnTo>
                  <a:close/>
                </a:path>
              </a:pathLst>
            </a:custGeom>
            <a:grpFill/>
            <a:ln w="27192" cap="flat">
              <a:noFill/>
              <a:prstDash val="solid"/>
              <a:miter/>
            </a:ln>
          </p:spPr>
          <p:txBody>
            <a:bodyPr rtlCol="0" anchor="ctr"/>
            <a:lstStyle/>
            <a:p>
              <a:endParaRPr lang="uk-UA" sz="900"/>
            </a:p>
          </p:txBody>
        </p:sp>
        <p:sp>
          <p:nvSpPr>
            <p:cNvPr id="163" name="Freeform: Shape 162">
              <a:extLst>
                <a:ext uri="{FF2B5EF4-FFF2-40B4-BE49-F238E27FC236}">
                  <a16:creationId xmlns:a16="http://schemas.microsoft.com/office/drawing/2014/main" id="{0BB1CC12-A5D0-CF60-DEE2-C8E08670E05F}"/>
                </a:ext>
              </a:extLst>
            </p:cNvPr>
            <p:cNvSpPr/>
            <p:nvPr/>
          </p:nvSpPr>
          <p:spPr>
            <a:xfrm>
              <a:off x="14758382" y="1968909"/>
              <a:ext cx="435077" cy="435077"/>
            </a:xfrm>
            <a:custGeom>
              <a:avLst/>
              <a:gdLst>
                <a:gd name="connsiteX0" fmla="*/ 217539 w 435077"/>
                <a:gd name="connsiteY0" fmla="*/ 0 h 435077"/>
                <a:gd name="connsiteX1" fmla="*/ 217539 w 435077"/>
                <a:gd name="connsiteY1" fmla="*/ 0 h 435077"/>
                <a:gd name="connsiteX2" fmla="*/ 0 w 435077"/>
                <a:gd name="connsiteY2" fmla="*/ 0 h 435077"/>
                <a:gd name="connsiteX3" fmla="*/ 0 w 435077"/>
                <a:gd name="connsiteY3" fmla="*/ 217539 h 435077"/>
                <a:gd name="connsiteX4" fmla="*/ 217539 w 435077"/>
                <a:gd name="connsiteY4" fmla="*/ 5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217539" y="0"/>
                  </a:lnTo>
                  <a:lnTo>
                    <a:pt x="0" y="0"/>
                  </a:lnTo>
                  <a:lnTo>
                    <a:pt x="0" y="217539"/>
                  </a:lnTo>
                  <a:lnTo>
                    <a:pt x="217539" y="5"/>
                  </a:lnTo>
                  <a:lnTo>
                    <a:pt x="435077" y="217539"/>
                  </a:lnTo>
                  <a:lnTo>
                    <a:pt x="217539" y="435077"/>
                  </a:lnTo>
                  <a:lnTo>
                    <a:pt x="0" y="217539"/>
                  </a:lnTo>
                  <a:lnTo>
                    <a:pt x="0" y="435077"/>
                  </a:lnTo>
                  <a:lnTo>
                    <a:pt x="217539" y="435077"/>
                  </a:lnTo>
                  <a:lnTo>
                    <a:pt x="435077" y="435077"/>
                  </a:lnTo>
                  <a:lnTo>
                    <a:pt x="435077" y="217539"/>
                  </a:lnTo>
                  <a:lnTo>
                    <a:pt x="435077" y="0"/>
                  </a:lnTo>
                  <a:lnTo>
                    <a:pt x="217539" y="0"/>
                  </a:lnTo>
                  <a:close/>
                </a:path>
              </a:pathLst>
            </a:custGeom>
            <a:grpFill/>
            <a:ln w="27192" cap="flat">
              <a:noFill/>
              <a:prstDash val="solid"/>
              <a:miter/>
            </a:ln>
          </p:spPr>
          <p:txBody>
            <a:bodyPr rtlCol="0" anchor="ctr"/>
            <a:lstStyle/>
            <a:p>
              <a:endParaRPr lang="uk-UA" sz="900"/>
            </a:p>
          </p:txBody>
        </p:sp>
        <p:sp>
          <p:nvSpPr>
            <p:cNvPr id="164" name="Freeform: Shape 163">
              <a:extLst>
                <a:ext uri="{FF2B5EF4-FFF2-40B4-BE49-F238E27FC236}">
                  <a16:creationId xmlns:a16="http://schemas.microsoft.com/office/drawing/2014/main" id="{C50824FE-D2BD-E0A4-BE95-227D6AE0896E}"/>
                </a:ext>
              </a:extLst>
            </p:cNvPr>
            <p:cNvSpPr/>
            <p:nvPr/>
          </p:nvSpPr>
          <p:spPr>
            <a:xfrm>
              <a:off x="13888200" y="1968909"/>
              <a:ext cx="435077" cy="435077"/>
            </a:xfrm>
            <a:custGeom>
              <a:avLst/>
              <a:gdLst>
                <a:gd name="connsiteX0" fmla="*/ 0 w 435077"/>
                <a:gd name="connsiteY0" fmla="*/ 435077 h 435077"/>
                <a:gd name="connsiteX1" fmla="*/ 217539 w 435077"/>
                <a:gd name="connsiteY1" fmla="*/ 435077 h 435077"/>
                <a:gd name="connsiteX2" fmla="*/ 217539 w 435077"/>
                <a:gd name="connsiteY2" fmla="*/ 217547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28 h 435077"/>
                <a:gd name="connsiteX7" fmla="*/ 217539 w 435077"/>
                <a:gd name="connsiteY7" fmla="*/ 0 h 435077"/>
                <a:gd name="connsiteX8" fmla="*/ 435077 w 435077"/>
                <a:gd name="connsiteY8" fmla="*/ 435077 h 435077"/>
                <a:gd name="connsiteX9" fmla="*/ 217565 w 435077"/>
                <a:gd name="connsiteY9" fmla="*/ 435077 h 435077"/>
                <a:gd name="connsiteX10" fmla="*/ 435077 w 435077"/>
                <a:gd name="connsiteY10" fmla="*/ 217547 h 435077"/>
                <a:gd name="connsiteX11" fmla="*/ 435077 w 435077"/>
                <a:gd name="connsiteY11" fmla="*/ 435077 h 435077"/>
                <a:gd name="connsiteX12" fmla="*/ 435077 w 435077"/>
                <a:gd name="connsiteY12" fmla="*/ 3 h 435077"/>
                <a:gd name="connsiteX13" fmla="*/ 217565 w 435077"/>
                <a:gd name="connsiteY13" fmla="*/ 3 h 435077"/>
                <a:gd name="connsiteX14" fmla="*/ 435077 w 435077"/>
                <a:gd name="connsiteY14" fmla="*/ 217531 h 435077"/>
                <a:gd name="connsiteX15" fmla="*/ 435077 w 435077"/>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47"/>
                  </a:lnTo>
                  <a:lnTo>
                    <a:pt x="0" y="435077"/>
                  </a:lnTo>
                  <a:close/>
                  <a:moveTo>
                    <a:pt x="217539" y="0"/>
                  </a:moveTo>
                  <a:lnTo>
                    <a:pt x="0" y="0"/>
                  </a:lnTo>
                  <a:lnTo>
                    <a:pt x="217539" y="217528"/>
                  </a:lnTo>
                  <a:lnTo>
                    <a:pt x="217539" y="0"/>
                  </a:lnTo>
                  <a:close/>
                  <a:moveTo>
                    <a:pt x="435077" y="435077"/>
                  </a:moveTo>
                  <a:lnTo>
                    <a:pt x="217565" y="435077"/>
                  </a:lnTo>
                  <a:lnTo>
                    <a:pt x="435077" y="217547"/>
                  </a:lnTo>
                  <a:lnTo>
                    <a:pt x="435077" y="435077"/>
                  </a:lnTo>
                  <a:close/>
                  <a:moveTo>
                    <a:pt x="435077" y="3"/>
                  </a:moveTo>
                  <a:lnTo>
                    <a:pt x="217565" y="3"/>
                  </a:lnTo>
                  <a:lnTo>
                    <a:pt x="435077" y="217531"/>
                  </a:lnTo>
                  <a:lnTo>
                    <a:pt x="435077" y="3"/>
                  </a:lnTo>
                  <a:close/>
                </a:path>
              </a:pathLst>
            </a:custGeom>
            <a:grpFill/>
            <a:ln w="27192" cap="flat">
              <a:noFill/>
              <a:prstDash val="solid"/>
              <a:miter/>
            </a:ln>
          </p:spPr>
          <p:txBody>
            <a:bodyPr rtlCol="0" anchor="ctr"/>
            <a:lstStyle/>
            <a:p>
              <a:endParaRPr lang="uk-UA" sz="900"/>
            </a:p>
          </p:txBody>
        </p:sp>
        <p:sp>
          <p:nvSpPr>
            <p:cNvPr id="165" name="Freeform: Shape 164">
              <a:extLst>
                <a:ext uri="{FF2B5EF4-FFF2-40B4-BE49-F238E27FC236}">
                  <a16:creationId xmlns:a16="http://schemas.microsoft.com/office/drawing/2014/main" id="{F9938CC4-63A1-5CFD-543E-48A00F265704}"/>
                </a:ext>
              </a:extLst>
            </p:cNvPr>
            <p:cNvSpPr/>
            <p:nvPr/>
          </p:nvSpPr>
          <p:spPr>
            <a:xfrm>
              <a:off x="15628536" y="1968909"/>
              <a:ext cx="435077" cy="435077"/>
            </a:xfrm>
            <a:custGeom>
              <a:avLst/>
              <a:gdLst>
                <a:gd name="connsiteX0" fmla="*/ 371367 w 435077"/>
                <a:gd name="connsiteY0" fmla="*/ 63714 h 435077"/>
                <a:gd name="connsiteX1" fmla="*/ 435077 w 435077"/>
                <a:gd name="connsiteY1" fmla="*/ 217539 h 435077"/>
                <a:gd name="connsiteX2" fmla="*/ 217730 w 435077"/>
                <a:gd name="connsiteY2" fmla="*/ 217539 h 435077"/>
                <a:gd name="connsiteX3" fmla="*/ 371367 w 435077"/>
                <a:gd name="connsiteY3" fmla="*/ 281253 h 435077"/>
                <a:gd name="connsiteX4" fmla="*/ 435077 w 435077"/>
                <a:gd name="connsiteY4" fmla="*/ 435077 h 435077"/>
                <a:gd name="connsiteX5" fmla="*/ 217539 w 435077"/>
                <a:gd name="connsiteY5" fmla="*/ 435077 h 435077"/>
                <a:gd name="connsiteX6" fmla="*/ 0 w 435077"/>
                <a:gd name="connsiteY6" fmla="*/ 435077 h 435077"/>
                <a:gd name="connsiteX7" fmla="*/ 63739 w 435077"/>
                <a:gd name="connsiteY7" fmla="*/ 281253 h 435077"/>
                <a:gd name="connsiteX8" fmla="*/ 217376 w 435077"/>
                <a:gd name="connsiteY8" fmla="*/ 217539 h 435077"/>
                <a:gd name="connsiteX9" fmla="*/ 0 w 435077"/>
                <a:gd name="connsiteY9" fmla="*/ 217539 h 435077"/>
                <a:gd name="connsiteX10" fmla="*/ 63712 w 435077"/>
                <a:gd name="connsiteY10" fmla="*/ 63714 h 435077"/>
                <a:gd name="connsiteX11" fmla="*/ 217539 w 435077"/>
                <a:gd name="connsiteY11" fmla="*/ 0 h 435077"/>
                <a:gd name="connsiteX12" fmla="*/ 371367 w 435077"/>
                <a:gd name="connsiteY12" fmla="*/ 63714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7" y="63714"/>
                  </a:moveTo>
                  <a:cubicBezTo>
                    <a:pt x="412155" y="104511"/>
                    <a:pt x="435077" y="159842"/>
                    <a:pt x="435077" y="217539"/>
                  </a:cubicBezTo>
                  <a:lnTo>
                    <a:pt x="217730" y="217539"/>
                  </a:lnTo>
                  <a:cubicBezTo>
                    <a:pt x="275351" y="217582"/>
                    <a:pt x="330605" y="240497"/>
                    <a:pt x="371367" y="281253"/>
                  </a:cubicBezTo>
                  <a:cubicBezTo>
                    <a:pt x="412182" y="322050"/>
                    <a:pt x="435077" y="377381"/>
                    <a:pt x="435077" y="435077"/>
                  </a:cubicBezTo>
                  <a:lnTo>
                    <a:pt x="217539" y="435077"/>
                  </a:lnTo>
                  <a:lnTo>
                    <a:pt x="0" y="435077"/>
                  </a:lnTo>
                  <a:cubicBezTo>
                    <a:pt x="0" y="377381"/>
                    <a:pt x="22924" y="322050"/>
                    <a:pt x="63739" y="281253"/>
                  </a:cubicBezTo>
                  <a:cubicBezTo>
                    <a:pt x="104474" y="240497"/>
                    <a:pt x="159755" y="217582"/>
                    <a:pt x="217376" y="217539"/>
                  </a:cubicBezTo>
                  <a:lnTo>
                    <a:pt x="0" y="217539"/>
                  </a:lnTo>
                  <a:cubicBezTo>
                    <a:pt x="0" y="159842"/>
                    <a:pt x="22924" y="104511"/>
                    <a:pt x="63712" y="63714"/>
                  </a:cubicBezTo>
                  <a:cubicBezTo>
                    <a:pt x="104527" y="22918"/>
                    <a:pt x="159865" y="0"/>
                    <a:pt x="217539" y="0"/>
                  </a:cubicBezTo>
                  <a:cubicBezTo>
                    <a:pt x="275241" y="0"/>
                    <a:pt x="330578" y="22918"/>
                    <a:pt x="371367" y="63714"/>
                  </a:cubicBezTo>
                  <a:close/>
                </a:path>
              </a:pathLst>
            </a:custGeom>
            <a:grpFill/>
            <a:ln w="27192" cap="flat">
              <a:noFill/>
              <a:prstDash val="solid"/>
              <a:miter/>
            </a:ln>
          </p:spPr>
          <p:txBody>
            <a:bodyPr rtlCol="0" anchor="ctr"/>
            <a:lstStyle/>
            <a:p>
              <a:endParaRPr lang="uk-UA" sz="900"/>
            </a:p>
          </p:txBody>
        </p:sp>
        <p:sp>
          <p:nvSpPr>
            <p:cNvPr id="166" name="Freeform: Shape 165">
              <a:extLst>
                <a:ext uri="{FF2B5EF4-FFF2-40B4-BE49-F238E27FC236}">
                  <a16:creationId xmlns:a16="http://schemas.microsoft.com/office/drawing/2014/main" id="{68736B0F-C940-B767-4F4E-863532ADFBB8}"/>
                </a:ext>
              </a:extLst>
            </p:cNvPr>
            <p:cNvSpPr/>
            <p:nvPr/>
          </p:nvSpPr>
          <p:spPr>
            <a:xfrm>
              <a:off x="16498719" y="1968909"/>
              <a:ext cx="435077" cy="435074"/>
            </a:xfrm>
            <a:custGeom>
              <a:avLst/>
              <a:gdLst>
                <a:gd name="connsiteX0" fmla="*/ 217539 w 435077"/>
                <a:gd name="connsiteY0" fmla="*/ 217533 h 435074"/>
                <a:gd name="connsiteX1" fmla="*/ 217539 w 435077"/>
                <a:gd name="connsiteY1" fmla="*/ 0 h 435074"/>
                <a:gd name="connsiteX2" fmla="*/ 0 w 435077"/>
                <a:gd name="connsiteY2" fmla="*/ 0 h 435074"/>
                <a:gd name="connsiteX3" fmla="*/ 217539 w 435077"/>
                <a:gd name="connsiteY3" fmla="*/ 217539 h 435074"/>
                <a:gd name="connsiteX4" fmla="*/ 0 w 435077"/>
                <a:gd name="connsiteY4" fmla="*/ 435075 h 435074"/>
                <a:gd name="connsiteX5" fmla="*/ 217539 w 435077"/>
                <a:gd name="connsiteY5" fmla="*/ 435075 h 435074"/>
                <a:gd name="connsiteX6" fmla="*/ 217539 w 435077"/>
                <a:gd name="connsiteY6" fmla="*/ 435072 h 435074"/>
                <a:gd name="connsiteX7" fmla="*/ 435049 w 435077"/>
                <a:gd name="connsiteY7" fmla="*/ 217541 h 435074"/>
                <a:gd name="connsiteX8" fmla="*/ 435077 w 435077"/>
                <a:gd name="connsiteY8" fmla="*/ 217541 h 435074"/>
                <a:gd name="connsiteX9" fmla="*/ 435049 w 435077"/>
                <a:gd name="connsiteY9" fmla="*/ 217536 h 435074"/>
                <a:gd name="connsiteX10" fmla="*/ 435077 w 435077"/>
                <a:gd name="connsiteY10" fmla="*/ 217533 h 435074"/>
                <a:gd name="connsiteX11" fmla="*/ 435049 w 435077"/>
                <a:gd name="connsiteY11" fmla="*/ 217533 h 435074"/>
                <a:gd name="connsiteX12" fmla="*/ 217539 w 435077"/>
                <a:gd name="connsiteY12" fmla="*/ 3 h 435074"/>
                <a:gd name="connsiteX13" fmla="*/ 217539 w 435077"/>
                <a:gd name="connsiteY13" fmla="*/ 217533 h 435074"/>
                <a:gd name="connsiteX14" fmla="*/ 217539 w 435077"/>
                <a:gd name="connsiteY14" fmla="*/ 217533 h 43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4">
                  <a:moveTo>
                    <a:pt x="217539" y="217533"/>
                  </a:moveTo>
                  <a:lnTo>
                    <a:pt x="217539" y="0"/>
                  </a:lnTo>
                  <a:lnTo>
                    <a:pt x="0" y="0"/>
                  </a:lnTo>
                  <a:lnTo>
                    <a:pt x="217539" y="217539"/>
                  </a:lnTo>
                  <a:lnTo>
                    <a:pt x="0" y="435075"/>
                  </a:lnTo>
                  <a:lnTo>
                    <a:pt x="217539" y="435075"/>
                  </a:lnTo>
                  <a:lnTo>
                    <a:pt x="217539" y="435072"/>
                  </a:lnTo>
                  <a:lnTo>
                    <a:pt x="435049" y="217541"/>
                  </a:lnTo>
                  <a:lnTo>
                    <a:pt x="435077" y="217541"/>
                  </a:lnTo>
                  <a:lnTo>
                    <a:pt x="435049" y="217536"/>
                  </a:lnTo>
                  <a:lnTo>
                    <a:pt x="435077" y="217533"/>
                  </a:lnTo>
                  <a:lnTo>
                    <a:pt x="435049" y="217533"/>
                  </a:lnTo>
                  <a:lnTo>
                    <a:pt x="217539" y="3"/>
                  </a:lnTo>
                  <a:lnTo>
                    <a:pt x="217539" y="217533"/>
                  </a:lnTo>
                  <a:lnTo>
                    <a:pt x="217539" y="217533"/>
                  </a:lnTo>
                  <a:close/>
                </a:path>
              </a:pathLst>
            </a:custGeom>
            <a:grpFill/>
            <a:ln w="27192" cap="flat">
              <a:noFill/>
              <a:prstDash val="solid"/>
              <a:miter/>
            </a:ln>
          </p:spPr>
          <p:txBody>
            <a:bodyPr rtlCol="0" anchor="ctr"/>
            <a:lstStyle/>
            <a:p>
              <a:endParaRPr lang="uk-UA" sz="900"/>
            </a:p>
          </p:txBody>
        </p:sp>
        <p:sp>
          <p:nvSpPr>
            <p:cNvPr id="167" name="Freeform: Shape 166">
              <a:extLst>
                <a:ext uri="{FF2B5EF4-FFF2-40B4-BE49-F238E27FC236}">
                  <a16:creationId xmlns:a16="http://schemas.microsoft.com/office/drawing/2014/main" id="{ECF8CC35-8288-9AF1-FEF2-5772666B3878}"/>
                </a:ext>
              </a:extLst>
            </p:cNvPr>
            <p:cNvSpPr/>
            <p:nvPr/>
          </p:nvSpPr>
          <p:spPr>
            <a:xfrm>
              <a:off x="18239029" y="196890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168" name="Freeform: Shape 167">
              <a:extLst>
                <a:ext uri="{FF2B5EF4-FFF2-40B4-BE49-F238E27FC236}">
                  <a16:creationId xmlns:a16="http://schemas.microsoft.com/office/drawing/2014/main" id="{0E45D1F2-0A38-1659-A20E-BFF8FA68C8DE}"/>
                </a:ext>
              </a:extLst>
            </p:cNvPr>
            <p:cNvSpPr/>
            <p:nvPr/>
          </p:nvSpPr>
          <p:spPr>
            <a:xfrm>
              <a:off x="17368874" y="1968909"/>
              <a:ext cx="435077" cy="435077"/>
            </a:xfrm>
            <a:custGeom>
              <a:avLst/>
              <a:gdLst>
                <a:gd name="connsiteX0" fmla="*/ 0 w 435077"/>
                <a:gd name="connsiteY0" fmla="*/ 435077 h 435077"/>
                <a:gd name="connsiteX1" fmla="*/ 217539 w 435077"/>
                <a:gd name="connsiteY1" fmla="*/ 435077 h 435077"/>
                <a:gd name="connsiteX2" fmla="*/ 217539 w 435077"/>
                <a:gd name="connsiteY2" fmla="*/ 217547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28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47 h 435077"/>
                <a:gd name="connsiteX11" fmla="*/ 435077 w 435077"/>
                <a:gd name="connsiteY11" fmla="*/ 435077 h 435077"/>
                <a:gd name="connsiteX12" fmla="*/ 435077 w 435077"/>
                <a:gd name="connsiteY12" fmla="*/ 3 h 435077"/>
                <a:gd name="connsiteX13" fmla="*/ 217539 w 435077"/>
                <a:gd name="connsiteY13" fmla="*/ 3 h 435077"/>
                <a:gd name="connsiteX14" fmla="*/ 435077 w 435077"/>
                <a:gd name="connsiteY14" fmla="*/ 217531 h 435077"/>
                <a:gd name="connsiteX15" fmla="*/ 435077 w 435077"/>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47"/>
                  </a:lnTo>
                  <a:lnTo>
                    <a:pt x="0" y="435077"/>
                  </a:lnTo>
                  <a:close/>
                  <a:moveTo>
                    <a:pt x="217539" y="0"/>
                  </a:moveTo>
                  <a:lnTo>
                    <a:pt x="0" y="0"/>
                  </a:lnTo>
                  <a:lnTo>
                    <a:pt x="217539" y="217528"/>
                  </a:lnTo>
                  <a:lnTo>
                    <a:pt x="217539" y="0"/>
                  </a:lnTo>
                  <a:close/>
                  <a:moveTo>
                    <a:pt x="435077" y="435077"/>
                  </a:moveTo>
                  <a:lnTo>
                    <a:pt x="217539" y="435077"/>
                  </a:lnTo>
                  <a:lnTo>
                    <a:pt x="435077" y="217547"/>
                  </a:lnTo>
                  <a:lnTo>
                    <a:pt x="435077" y="435077"/>
                  </a:lnTo>
                  <a:close/>
                  <a:moveTo>
                    <a:pt x="435077" y="3"/>
                  </a:moveTo>
                  <a:lnTo>
                    <a:pt x="217539" y="3"/>
                  </a:lnTo>
                  <a:lnTo>
                    <a:pt x="435077" y="217531"/>
                  </a:lnTo>
                  <a:lnTo>
                    <a:pt x="435077" y="3"/>
                  </a:lnTo>
                  <a:close/>
                </a:path>
              </a:pathLst>
            </a:custGeom>
            <a:grpFill/>
            <a:ln w="27192" cap="flat">
              <a:noFill/>
              <a:prstDash val="solid"/>
              <a:miter/>
            </a:ln>
          </p:spPr>
          <p:txBody>
            <a:bodyPr rtlCol="0" anchor="ctr"/>
            <a:lstStyle/>
            <a:p>
              <a:endParaRPr lang="uk-UA" sz="900"/>
            </a:p>
          </p:txBody>
        </p:sp>
        <p:sp>
          <p:nvSpPr>
            <p:cNvPr id="169" name="Freeform: Shape 168">
              <a:extLst>
                <a:ext uri="{FF2B5EF4-FFF2-40B4-BE49-F238E27FC236}">
                  <a16:creationId xmlns:a16="http://schemas.microsoft.com/office/drawing/2014/main" id="{D84324AA-E433-570B-81DC-483F55DBDDE6}"/>
                </a:ext>
              </a:extLst>
            </p:cNvPr>
            <p:cNvSpPr/>
            <p:nvPr/>
          </p:nvSpPr>
          <p:spPr>
            <a:xfrm>
              <a:off x="19109210" y="1968909"/>
              <a:ext cx="435077" cy="435077"/>
            </a:xfrm>
            <a:custGeom>
              <a:avLst/>
              <a:gdLst>
                <a:gd name="connsiteX0" fmla="*/ 371339 w 435077"/>
                <a:gd name="connsiteY0" fmla="*/ 63714 h 435077"/>
                <a:gd name="connsiteX1" fmla="*/ 435077 w 435077"/>
                <a:gd name="connsiteY1" fmla="*/ 217539 h 435077"/>
                <a:gd name="connsiteX2" fmla="*/ 217701 w 435077"/>
                <a:gd name="connsiteY2" fmla="*/ 217539 h 435077"/>
                <a:gd name="connsiteX3" fmla="*/ 371365 w 435077"/>
                <a:gd name="connsiteY3" fmla="*/ 281253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3 h 435077"/>
                <a:gd name="connsiteX8" fmla="*/ 217376 w 435077"/>
                <a:gd name="connsiteY8" fmla="*/ 217539 h 435077"/>
                <a:gd name="connsiteX9" fmla="*/ 0 w 435077"/>
                <a:gd name="connsiteY9" fmla="*/ 217539 h 435077"/>
                <a:gd name="connsiteX10" fmla="*/ 63712 w 435077"/>
                <a:gd name="connsiteY10" fmla="*/ 63714 h 435077"/>
                <a:gd name="connsiteX11" fmla="*/ 217539 w 435077"/>
                <a:gd name="connsiteY11" fmla="*/ 0 h 435077"/>
                <a:gd name="connsiteX12" fmla="*/ 371339 w 435077"/>
                <a:gd name="connsiteY12" fmla="*/ 63714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14"/>
                  </a:moveTo>
                  <a:cubicBezTo>
                    <a:pt x="412154" y="104511"/>
                    <a:pt x="435077" y="159842"/>
                    <a:pt x="435077" y="217539"/>
                  </a:cubicBezTo>
                  <a:lnTo>
                    <a:pt x="217701" y="217539"/>
                  </a:lnTo>
                  <a:cubicBezTo>
                    <a:pt x="275322" y="217582"/>
                    <a:pt x="330605" y="240497"/>
                    <a:pt x="371365" y="281253"/>
                  </a:cubicBezTo>
                  <a:cubicBezTo>
                    <a:pt x="412154" y="322050"/>
                    <a:pt x="435077" y="377381"/>
                    <a:pt x="435077" y="435077"/>
                  </a:cubicBezTo>
                  <a:lnTo>
                    <a:pt x="217539" y="435077"/>
                  </a:lnTo>
                  <a:lnTo>
                    <a:pt x="0" y="435077"/>
                  </a:lnTo>
                  <a:cubicBezTo>
                    <a:pt x="0" y="377381"/>
                    <a:pt x="22924" y="322050"/>
                    <a:pt x="63712" y="281253"/>
                  </a:cubicBezTo>
                  <a:cubicBezTo>
                    <a:pt x="104472" y="240497"/>
                    <a:pt x="159728" y="217582"/>
                    <a:pt x="217376" y="217539"/>
                  </a:cubicBezTo>
                  <a:lnTo>
                    <a:pt x="0" y="217539"/>
                  </a:lnTo>
                  <a:cubicBezTo>
                    <a:pt x="0" y="159842"/>
                    <a:pt x="22895" y="104511"/>
                    <a:pt x="63712" y="63714"/>
                  </a:cubicBezTo>
                  <a:cubicBezTo>
                    <a:pt x="104501" y="22918"/>
                    <a:pt x="159836" y="0"/>
                    <a:pt x="217539" y="0"/>
                  </a:cubicBezTo>
                  <a:cubicBezTo>
                    <a:pt x="275215" y="0"/>
                    <a:pt x="330550" y="22918"/>
                    <a:pt x="371339" y="63714"/>
                  </a:cubicBezTo>
                  <a:close/>
                </a:path>
              </a:pathLst>
            </a:custGeom>
            <a:grpFill/>
            <a:ln w="27192" cap="flat">
              <a:noFill/>
              <a:prstDash val="solid"/>
              <a:miter/>
            </a:ln>
          </p:spPr>
          <p:txBody>
            <a:bodyPr rtlCol="0" anchor="ctr"/>
            <a:lstStyle/>
            <a:p>
              <a:endParaRPr lang="uk-UA" sz="900"/>
            </a:p>
          </p:txBody>
        </p:sp>
        <p:sp>
          <p:nvSpPr>
            <p:cNvPr id="170" name="Freeform: Shape 169">
              <a:extLst>
                <a:ext uri="{FF2B5EF4-FFF2-40B4-BE49-F238E27FC236}">
                  <a16:creationId xmlns:a16="http://schemas.microsoft.com/office/drawing/2014/main" id="{A7E54C38-90D6-818A-817B-8B42A49E673A}"/>
                </a:ext>
              </a:extLst>
            </p:cNvPr>
            <p:cNvSpPr/>
            <p:nvPr/>
          </p:nvSpPr>
          <p:spPr>
            <a:xfrm>
              <a:off x="19979365" y="1968909"/>
              <a:ext cx="435077" cy="435074"/>
            </a:xfrm>
            <a:custGeom>
              <a:avLst/>
              <a:gdLst>
                <a:gd name="connsiteX0" fmla="*/ 217539 w 435077"/>
                <a:gd name="connsiteY0" fmla="*/ 217533 h 435074"/>
                <a:gd name="connsiteX1" fmla="*/ 217539 w 435077"/>
                <a:gd name="connsiteY1" fmla="*/ 0 h 435074"/>
                <a:gd name="connsiteX2" fmla="*/ 0 w 435077"/>
                <a:gd name="connsiteY2" fmla="*/ 0 h 435074"/>
                <a:gd name="connsiteX3" fmla="*/ 217539 w 435077"/>
                <a:gd name="connsiteY3" fmla="*/ 217539 h 435074"/>
                <a:gd name="connsiteX4" fmla="*/ 0 w 435077"/>
                <a:gd name="connsiteY4" fmla="*/ 435075 h 435074"/>
                <a:gd name="connsiteX5" fmla="*/ 217539 w 435077"/>
                <a:gd name="connsiteY5" fmla="*/ 435075 h 435074"/>
                <a:gd name="connsiteX6" fmla="*/ 217539 w 435077"/>
                <a:gd name="connsiteY6" fmla="*/ 435072 h 435074"/>
                <a:gd name="connsiteX7" fmla="*/ 435051 w 435077"/>
                <a:gd name="connsiteY7" fmla="*/ 217541 h 435074"/>
                <a:gd name="connsiteX8" fmla="*/ 435077 w 435077"/>
                <a:gd name="connsiteY8" fmla="*/ 217541 h 435074"/>
                <a:gd name="connsiteX9" fmla="*/ 435077 w 435077"/>
                <a:gd name="connsiteY9" fmla="*/ 217536 h 435074"/>
                <a:gd name="connsiteX10" fmla="*/ 435077 w 435077"/>
                <a:gd name="connsiteY10" fmla="*/ 217533 h 435074"/>
                <a:gd name="connsiteX11" fmla="*/ 435077 w 435077"/>
                <a:gd name="connsiteY11" fmla="*/ 217533 h 435074"/>
                <a:gd name="connsiteX12" fmla="*/ 217539 w 435077"/>
                <a:gd name="connsiteY12" fmla="*/ 3 h 435074"/>
                <a:gd name="connsiteX13" fmla="*/ 217539 w 435077"/>
                <a:gd name="connsiteY13" fmla="*/ 217533 h 435074"/>
                <a:gd name="connsiteX14" fmla="*/ 217539 w 435077"/>
                <a:gd name="connsiteY14" fmla="*/ 217533 h 43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4">
                  <a:moveTo>
                    <a:pt x="217539" y="217533"/>
                  </a:moveTo>
                  <a:lnTo>
                    <a:pt x="217539" y="0"/>
                  </a:lnTo>
                  <a:lnTo>
                    <a:pt x="0" y="0"/>
                  </a:lnTo>
                  <a:lnTo>
                    <a:pt x="217539" y="217539"/>
                  </a:lnTo>
                  <a:lnTo>
                    <a:pt x="0" y="435075"/>
                  </a:lnTo>
                  <a:lnTo>
                    <a:pt x="217539" y="435075"/>
                  </a:lnTo>
                  <a:lnTo>
                    <a:pt x="217539" y="435072"/>
                  </a:lnTo>
                  <a:lnTo>
                    <a:pt x="435051" y="217541"/>
                  </a:lnTo>
                  <a:lnTo>
                    <a:pt x="435077" y="217541"/>
                  </a:lnTo>
                  <a:lnTo>
                    <a:pt x="435077" y="217536"/>
                  </a:lnTo>
                  <a:lnTo>
                    <a:pt x="435077" y="217533"/>
                  </a:lnTo>
                  <a:lnTo>
                    <a:pt x="435077" y="217533"/>
                  </a:lnTo>
                  <a:lnTo>
                    <a:pt x="217539" y="3"/>
                  </a:lnTo>
                  <a:lnTo>
                    <a:pt x="217539" y="217533"/>
                  </a:lnTo>
                  <a:lnTo>
                    <a:pt x="217539" y="217533"/>
                  </a:lnTo>
                  <a:close/>
                </a:path>
              </a:pathLst>
            </a:custGeom>
            <a:grpFill/>
            <a:ln w="27192" cap="flat">
              <a:noFill/>
              <a:prstDash val="solid"/>
              <a:miter/>
            </a:ln>
          </p:spPr>
          <p:txBody>
            <a:bodyPr rtlCol="0" anchor="ctr"/>
            <a:lstStyle/>
            <a:p>
              <a:endParaRPr lang="uk-UA" sz="900"/>
            </a:p>
          </p:txBody>
        </p:sp>
        <p:sp>
          <p:nvSpPr>
            <p:cNvPr id="171" name="Freeform: Shape 170">
              <a:extLst>
                <a:ext uri="{FF2B5EF4-FFF2-40B4-BE49-F238E27FC236}">
                  <a16:creationId xmlns:a16="http://schemas.microsoft.com/office/drawing/2014/main" id="{A55DFB5F-0FE1-DF0A-70EE-AB1D77735F1F}"/>
                </a:ext>
              </a:extLst>
            </p:cNvPr>
            <p:cNvSpPr/>
            <p:nvPr/>
          </p:nvSpPr>
          <p:spPr>
            <a:xfrm>
              <a:off x="21719702" y="196890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172" name="Freeform: Shape 171">
              <a:extLst>
                <a:ext uri="{FF2B5EF4-FFF2-40B4-BE49-F238E27FC236}">
                  <a16:creationId xmlns:a16="http://schemas.microsoft.com/office/drawing/2014/main" id="{84A53EDA-BD15-479D-A53A-FAEB09077515}"/>
                </a:ext>
              </a:extLst>
            </p:cNvPr>
            <p:cNvSpPr/>
            <p:nvPr/>
          </p:nvSpPr>
          <p:spPr>
            <a:xfrm>
              <a:off x="20849520" y="1968909"/>
              <a:ext cx="435077" cy="435077"/>
            </a:xfrm>
            <a:custGeom>
              <a:avLst/>
              <a:gdLst>
                <a:gd name="connsiteX0" fmla="*/ 0 w 435077"/>
                <a:gd name="connsiteY0" fmla="*/ 435077 h 435077"/>
                <a:gd name="connsiteX1" fmla="*/ 217539 w 435077"/>
                <a:gd name="connsiteY1" fmla="*/ 435077 h 435077"/>
                <a:gd name="connsiteX2" fmla="*/ 217539 w 435077"/>
                <a:gd name="connsiteY2" fmla="*/ 217547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28 h 435077"/>
                <a:gd name="connsiteX7" fmla="*/ 217539 w 435077"/>
                <a:gd name="connsiteY7" fmla="*/ 0 h 435077"/>
                <a:gd name="connsiteX8" fmla="*/ 435077 w 435077"/>
                <a:gd name="connsiteY8" fmla="*/ 435077 h 435077"/>
                <a:gd name="connsiteX9" fmla="*/ 217565 w 435077"/>
                <a:gd name="connsiteY9" fmla="*/ 435077 h 435077"/>
                <a:gd name="connsiteX10" fmla="*/ 435077 w 435077"/>
                <a:gd name="connsiteY10" fmla="*/ 217547 h 435077"/>
                <a:gd name="connsiteX11" fmla="*/ 435077 w 435077"/>
                <a:gd name="connsiteY11" fmla="*/ 435077 h 435077"/>
                <a:gd name="connsiteX12" fmla="*/ 435077 w 435077"/>
                <a:gd name="connsiteY12" fmla="*/ 3 h 435077"/>
                <a:gd name="connsiteX13" fmla="*/ 217565 w 435077"/>
                <a:gd name="connsiteY13" fmla="*/ 3 h 435077"/>
                <a:gd name="connsiteX14" fmla="*/ 435077 w 435077"/>
                <a:gd name="connsiteY14" fmla="*/ 217531 h 435077"/>
                <a:gd name="connsiteX15" fmla="*/ 435077 w 435077"/>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47"/>
                  </a:lnTo>
                  <a:lnTo>
                    <a:pt x="0" y="435077"/>
                  </a:lnTo>
                  <a:close/>
                  <a:moveTo>
                    <a:pt x="217539" y="0"/>
                  </a:moveTo>
                  <a:lnTo>
                    <a:pt x="0" y="0"/>
                  </a:lnTo>
                  <a:lnTo>
                    <a:pt x="217539" y="217528"/>
                  </a:lnTo>
                  <a:lnTo>
                    <a:pt x="217539" y="0"/>
                  </a:lnTo>
                  <a:close/>
                  <a:moveTo>
                    <a:pt x="435077" y="435077"/>
                  </a:moveTo>
                  <a:lnTo>
                    <a:pt x="217565" y="435077"/>
                  </a:lnTo>
                  <a:lnTo>
                    <a:pt x="435077" y="217547"/>
                  </a:lnTo>
                  <a:lnTo>
                    <a:pt x="435077" y="435077"/>
                  </a:lnTo>
                  <a:close/>
                  <a:moveTo>
                    <a:pt x="435077" y="3"/>
                  </a:moveTo>
                  <a:lnTo>
                    <a:pt x="217565" y="3"/>
                  </a:lnTo>
                  <a:lnTo>
                    <a:pt x="435077" y="217531"/>
                  </a:lnTo>
                  <a:lnTo>
                    <a:pt x="435077" y="3"/>
                  </a:lnTo>
                  <a:close/>
                </a:path>
              </a:pathLst>
            </a:custGeom>
            <a:grpFill/>
            <a:ln w="27192" cap="flat">
              <a:noFill/>
              <a:prstDash val="solid"/>
              <a:miter/>
            </a:ln>
          </p:spPr>
          <p:txBody>
            <a:bodyPr rtlCol="0" anchor="ctr"/>
            <a:lstStyle/>
            <a:p>
              <a:endParaRPr lang="uk-UA" sz="900"/>
            </a:p>
          </p:txBody>
        </p:sp>
        <p:sp>
          <p:nvSpPr>
            <p:cNvPr id="173" name="Freeform: Shape 172">
              <a:extLst>
                <a:ext uri="{FF2B5EF4-FFF2-40B4-BE49-F238E27FC236}">
                  <a16:creationId xmlns:a16="http://schemas.microsoft.com/office/drawing/2014/main" id="{1FB19B5D-0A12-E28C-E14E-CAEB0A90AE42}"/>
                </a:ext>
              </a:extLst>
            </p:cNvPr>
            <p:cNvSpPr/>
            <p:nvPr/>
          </p:nvSpPr>
          <p:spPr>
            <a:xfrm>
              <a:off x="22589856" y="1968909"/>
              <a:ext cx="435077" cy="435077"/>
            </a:xfrm>
            <a:custGeom>
              <a:avLst/>
              <a:gdLst>
                <a:gd name="connsiteX0" fmla="*/ 371367 w 435077"/>
                <a:gd name="connsiteY0" fmla="*/ 63714 h 435077"/>
                <a:gd name="connsiteX1" fmla="*/ 435077 w 435077"/>
                <a:gd name="connsiteY1" fmla="*/ 217539 h 435077"/>
                <a:gd name="connsiteX2" fmla="*/ 217703 w 435077"/>
                <a:gd name="connsiteY2" fmla="*/ 217539 h 435077"/>
                <a:gd name="connsiteX3" fmla="*/ 371367 w 435077"/>
                <a:gd name="connsiteY3" fmla="*/ 281253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3 h 435077"/>
                <a:gd name="connsiteX8" fmla="*/ 217376 w 435077"/>
                <a:gd name="connsiteY8" fmla="*/ 217539 h 435077"/>
                <a:gd name="connsiteX9" fmla="*/ 0 w 435077"/>
                <a:gd name="connsiteY9" fmla="*/ 217539 h 435077"/>
                <a:gd name="connsiteX10" fmla="*/ 63712 w 435077"/>
                <a:gd name="connsiteY10" fmla="*/ 63714 h 435077"/>
                <a:gd name="connsiteX11" fmla="*/ 217539 w 435077"/>
                <a:gd name="connsiteY11" fmla="*/ 0 h 435077"/>
                <a:gd name="connsiteX12" fmla="*/ 371367 w 435077"/>
                <a:gd name="connsiteY12" fmla="*/ 63714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7" y="63714"/>
                  </a:moveTo>
                  <a:cubicBezTo>
                    <a:pt x="412155" y="104511"/>
                    <a:pt x="435077" y="159842"/>
                    <a:pt x="435077" y="217539"/>
                  </a:cubicBezTo>
                  <a:lnTo>
                    <a:pt x="217703" y="217539"/>
                  </a:lnTo>
                  <a:cubicBezTo>
                    <a:pt x="275351" y="217582"/>
                    <a:pt x="330605" y="240497"/>
                    <a:pt x="371367" y="281253"/>
                  </a:cubicBezTo>
                  <a:cubicBezTo>
                    <a:pt x="412155" y="322050"/>
                    <a:pt x="435077" y="377381"/>
                    <a:pt x="435077" y="435077"/>
                  </a:cubicBezTo>
                  <a:lnTo>
                    <a:pt x="217539" y="435077"/>
                  </a:lnTo>
                  <a:lnTo>
                    <a:pt x="0" y="435077"/>
                  </a:lnTo>
                  <a:cubicBezTo>
                    <a:pt x="0" y="377381"/>
                    <a:pt x="22924" y="322050"/>
                    <a:pt x="63712" y="281253"/>
                  </a:cubicBezTo>
                  <a:cubicBezTo>
                    <a:pt x="104474" y="240497"/>
                    <a:pt x="159755" y="217582"/>
                    <a:pt x="217376" y="217539"/>
                  </a:cubicBezTo>
                  <a:lnTo>
                    <a:pt x="0" y="217539"/>
                  </a:lnTo>
                  <a:cubicBezTo>
                    <a:pt x="0" y="159842"/>
                    <a:pt x="22924" y="104511"/>
                    <a:pt x="63712" y="63714"/>
                  </a:cubicBezTo>
                  <a:cubicBezTo>
                    <a:pt x="104529" y="22918"/>
                    <a:pt x="159838" y="0"/>
                    <a:pt x="217539" y="0"/>
                  </a:cubicBezTo>
                  <a:cubicBezTo>
                    <a:pt x="275241" y="0"/>
                    <a:pt x="330578" y="22918"/>
                    <a:pt x="371367" y="63714"/>
                  </a:cubicBezTo>
                  <a:close/>
                </a:path>
              </a:pathLst>
            </a:custGeom>
            <a:grpFill/>
            <a:ln w="27192" cap="flat">
              <a:noFill/>
              <a:prstDash val="solid"/>
              <a:miter/>
            </a:ln>
          </p:spPr>
          <p:txBody>
            <a:bodyPr rtlCol="0" anchor="ctr"/>
            <a:lstStyle/>
            <a:p>
              <a:endParaRPr lang="uk-UA" sz="900"/>
            </a:p>
          </p:txBody>
        </p:sp>
        <p:sp>
          <p:nvSpPr>
            <p:cNvPr id="174" name="Freeform: Shape 173">
              <a:extLst>
                <a:ext uri="{FF2B5EF4-FFF2-40B4-BE49-F238E27FC236}">
                  <a16:creationId xmlns:a16="http://schemas.microsoft.com/office/drawing/2014/main" id="{77FCDC68-322D-E3CD-ED62-A1AB511C2C9E}"/>
                </a:ext>
              </a:extLst>
            </p:cNvPr>
            <p:cNvSpPr/>
            <p:nvPr/>
          </p:nvSpPr>
          <p:spPr>
            <a:xfrm>
              <a:off x="23460039" y="1968909"/>
              <a:ext cx="435077" cy="435074"/>
            </a:xfrm>
            <a:custGeom>
              <a:avLst/>
              <a:gdLst>
                <a:gd name="connsiteX0" fmla="*/ 217539 w 435077"/>
                <a:gd name="connsiteY0" fmla="*/ 217533 h 435074"/>
                <a:gd name="connsiteX1" fmla="*/ 217539 w 435077"/>
                <a:gd name="connsiteY1" fmla="*/ 0 h 435074"/>
                <a:gd name="connsiteX2" fmla="*/ 0 w 435077"/>
                <a:gd name="connsiteY2" fmla="*/ 0 h 435074"/>
                <a:gd name="connsiteX3" fmla="*/ 217539 w 435077"/>
                <a:gd name="connsiteY3" fmla="*/ 217539 h 435074"/>
                <a:gd name="connsiteX4" fmla="*/ 0 w 435077"/>
                <a:gd name="connsiteY4" fmla="*/ 435075 h 435074"/>
                <a:gd name="connsiteX5" fmla="*/ 217510 w 435077"/>
                <a:gd name="connsiteY5" fmla="*/ 435075 h 435074"/>
                <a:gd name="connsiteX6" fmla="*/ 217510 w 435077"/>
                <a:gd name="connsiteY6" fmla="*/ 435072 h 435074"/>
                <a:gd name="connsiteX7" fmla="*/ 435049 w 435077"/>
                <a:gd name="connsiteY7" fmla="*/ 217541 h 435074"/>
                <a:gd name="connsiteX8" fmla="*/ 435077 w 435077"/>
                <a:gd name="connsiteY8" fmla="*/ 217541 h 435074"/>
                <a:gd name="connsiteX9" fmla="*/ 435049 w 435077"/>
                <a:gd name="connsiteY9" fmla="*/ 217536 h 435074"/>
                <a:gd name="connsiteX10" fmla="*/ 435049 w 435077"/>
                <a:gd name="connsiteY10" fmla="*/ 217533 h 435074"/>
                <a:gd name="connsiteX11" fmla="*/ 435049 w 435077"/>
                <a:gd name="connsiteY11" fmla="*/ 217533 h 435074"/>
                <a:gd name="connsiteX12" fmla="*/ 217539 w 435077"/>
                <a:gd name="connsiteY12" fmla="*/ 3 h 435074"/>
                <a:gd name="connsiteX13" fmla="*/ 217539 w 435077"/>
                <a:gd name="connsiteY13" fmla="*/ 217533 h 435074"/>
                <a:gd name="connsiteX14" fmla="*/ 217539 w 435077"/>
                <a:gd name="connsiteY14" fmla="*/ 217533 h 43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4">
                  <a:moveTo>
                    <a:pt x="217539" y="217533"/>
                  </a:moveTo>
                  <a:lnTo>
                    <a:pt x="217539" y="0"/>
                  </a:lnTo>
                  <a:lnTo>
                    <a:pt x="0" y="0"/>
                  </a:lnTo>
                  <a:lnTo>
                    <a:pt x="217539" y="217539"/>
                  </a:lnTo>
                  <a:lnTo>
                    <a:pt x="0" y="435075"/>
                  </a:lnTo>
                  <a:lnTo>
                    <a:pt x="217510" y="435075"/>
                  </a:lnTo>
                  <a:lnTo>
                    <a:pt x="217510" y="435072"/>
                  </a:lnTo>
                  <a:lnTo>
                    <a:pt x="435049" y="217541"/>
                  </a:lnTo>
                  <a:lnTo>
                    <a:pt x="435077" y="217541"/>
                  </a:lnTo>
                  <a:lnTo>
                    <a:pt x="435049" y="217536"/>
                  </a:lnTo>
                  <a:lnTo>
                    <a:pt x="435049" y="217533"/>
                  </a:lnTo>
                  <a:lnTo>
                    <a:pt x="435049" y="217533"/>
                  </a:lnTo>
                  <a:lnTo>
                    <a:pt x="217539" y="3"/>
                  </a:lnTo>
                  <a:lnTo>
                    <a:pt x="217539" y="217533"/>
                  </a:lnTo>
                  <a:lnTo>
                    <a:pt x="217539" y="217533"/>
                  </a:lnTo>
                  <a:close/>
                </a:path>
              </a:pathLst>
            </a:custGeom>
            <a:grpFill/>
            <a:ln w="27192" cap="flat">
              <a:noFill/>
              <a:prstDash val="solid"/>
              <a:miter/>
            </a:ln>
          </p:spPr>
          <p:txBody>
            <a:bodyPr rtlCol="0" anchor="ctr"/>
            <a:lstStyle/>
            <a:p>
              <a:endParaRPr lang="uk-UA" sz="900"/>
            </a:p>
          </p:txBody>
        </p:sp>
        <p:sp>
          <p:nvSpPr>
            <p:cNvPr id="175" name="Freeform: Shape 174">
              <a:extLst>
                <a:ext uri="{FF2B5EF4-FFF2-40B4-BE49-F238E27FC236}">
                  <a16:creationId xmlns:a16="http://schemas.microsoft.com/office/drawing/2014/main" id="{641BBC90-A8B1-E67A-D514-EBE4C495DF63}"/>
                </a:ext>
              </a:extLst>
            </p:cNvPr>
            <p:cNvSpPr/>
            <p:nvPr/>
          </p:nvSpPr>
          <p:spPr>
            <a:xfrm>
              <a:off x="24330194" y="1968909"/>
              <a:ext cx="435077" cy="435077"/>
            </a:xfrm>
            <a:custGeom>
              <a:avLst/>
              <a:gdLst>
                <a:gd name="connsiteX0" fmla="*/ 0 w 435077"/>
                <a:gd name="connsiteY0" fmla="*/ 435077 h 435077"/>
                <a:gd name="connsiteX1" fmla="*/ 217539 w 435077"/>
                <a:gd name="connsiteY1" fmla="*/ 435077 h 435077"/>
                <a:gd name="connsiteX2" fmla="*/ 217539 w 435077"/>
                <a:gd name="connsiteY2" fmla="*/ 217547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28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47 h 435077"/>
                <a:gd name="connsiteX11" fmla="*/ 435077 w 435077"/>
                <a:gd name="connsiteY11" fmla="*/ 435077 h 435077"/>
                <a:gd name="connsiteX12" fmla="*/ 435077 w 435077"/>
                <a:gd name="connsiteY12" fmla="*/ 3 h 435077"/>
                <a:gd name="connsiteX13" fmla="*/ 217539 w 435077"/>
                <a:gd name="connsiteY13" fmla="*/ 3 h 435077"/>
                <a:gd name="connsiteX14" fmla="*/ 435077 w 435077"/>
                <a:gd name="connsiteY14" fmla="*/ 217531 h 435077"/>
                <a:gd name="connsiteX15" fmla="*/ 435077 w 435077"/>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47"/>
                  </a:lnTo>
                  <a:lnTo>
                    <a:pt x="0" y="435077"/>
                  </a:lnTo>
                  <a:close/>
                  <a:moveTo>
                    <a:pt x="217539" y="0"/>
                  </a:moveTo>
                  <a:lnTo>
                    <a:pt x="0" y="0"/>
                  </a:lnTo>
                  <a:lnTo>
                    <a:pt x="217539" y="217528"/>
                  </a:lnTo>
                  <a:lnTo>
                    <a:pt x="217539" y="0"/>
                  </a:lnTo>
                  <a:close/>
                  <a:moveTo>
                    <a:pt x="435077" y="435077"/>
                  </a:moveTo>
                  <a:lnTo>
                    <a:pt x="217539" y="435077"/>
                  </a:lnTo>
                  <a:lnTo>
                    <a:pt x="435077" y="217547"/>
                  </a:lnTo>
                  <a:lnTo>
                    <a:pt x="435077" y="435077"/>
                  </a:lnTo>
                  <a:close/>
                  <a:moveTo>
                    <a:pt x="435077" y="3"/>
                  </a:moveTo>
                  <a:lnTo>
                    <a:pt x="217539" y="3"/>
                  </a:lnTo>
                  <a:lnTo>
                    <a:pt x="435077" y="217531"/>
                  </a:lnTo>
                  <a:lnTo>
                    <a:pt x="435077" y="3"/>
                  </a:lnTo>
                  <a:close/>
                </a:path>
              </a:pathLst>
            </a:custGeom>
            <a:grpFill/>
            <a:ln w="27192" cap="flat">
              <a:noFill/>
              <a:prstDash val="solid"/>
              <a:miter/>
            </a:ln>
          </p:spPr>
          <p:txBody>
            <a:bodyPr rtlCol="0" anchor="ctr"/>
            <a:lstStyle/>
            <a:p>
              <a:endParaRPr lang="uk-UA" sz="900"/>
            </a:p>
          </p:txBody>
        </p:sp>
        <p:sp>
          <p:nvSpPr>
            <p:cNvPr id="176" name="Freeform: Shape 175">
              <a:extLst>
                <a:ext uri="{FF2B5EF4-FFF2-40B4-BE49-F238E27FC236}">
                  <a16:creationId xmlns:a16="http://schemas.microsoft.com/office/drawing/2014/main" id="{BD975A4A-60C6-60BE-6163-5B6E57BA5B5B}"/>
                </a:ext>
              </a:extLst>
            </p:cNvPr>
            <p:cNvSpPr/>
            <p:nvPr/>
          </p:nvSpPr>
          <p:spPr>
            <a:xfrm>
              <a:off x="835769" y="2839064"/>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3 h 435077"/>
                <a:gd name="connsiteX6" fmla="*/ 217511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3"/>
                  </a:lnTo>
                  <a:lnTo>
                    <a:pt x="217511" y="217539"/>
                  </a:lnTo>
                  <a:lnTo>
                    <a:pt x="0" y="435077"/>
                  </a:lnTo>
                  <a:close/>
                </a:path>
              </a:pathLst>
            </a:custGeom>
            <a:grpFill/>
            <a:ln w="27192" cap="flat">
              <a:noFill/>
              <a:prstDash val="solid"/>
              <a:miter/>
            </a:ln>
          </p:spPr>
          <p:txBody>
            <a:bodyPr rtlCol="0" anchor="ctr"/>
            <a:lstStyle/>
            <a:p>
              <a:endParaRPr lang="uk-UA" sz="900"/>
            </a:p>
          </p:txBody>
        </p:sp>
        <p:sp>
          <p:nvSpPr>
            <p:cNvPr id="177" name="Freeform: Shape 176">
              <a:extLst>
                <a:ext uri="{FF2B5EF4-FFF2-40B4-BE49-F238E27FC236}">
                  <a16:creationId xmlns:a16="http://schemas.microsoft.com/office/drawing/2014/main" id="{3EBEBA74-1F60-510A-1C74-50C8C1C3CD4A}"/>
                </a:ext>
              </a:extLst>
            </p:cNvPr>
            <p:cNvSpPr/>
            <p:nvPr/>
          </p:nvSpPr>
          <p:spPr>
            <a:xfrm>
              <a:off x="-34398" y="2839064"/>
              <a:ext cx="435090" cy="435077"/>
            </a:xfrm>
            <a:custGeom>
              <a:avLst/>
              <a:gdLst>
                <a:gd name="connsiteX0" fmla="*/ 0 w 435090"/>
                <a:gd name="connsiteY0" fmla="*/ 435077 h 435077"/>
                <a:gd name="connsiteX1" fmla="*/ 0 w 435090"/>
                <a:gd name="connsiteY1" fmla="*/ 0 h 435077"/>
                <a:gd name="connsiteX2" fmla="*/ 217525 w 435090"/>
                <a:gd name="connsiteY2" fmla="*/ 217539 h 435077"/>
                <a:gd name="connsiteX3" fmla="*/ 0 w 435090"/>
                <a:gd name="connsiteY3" fmla="*/ 435077 h 435077"/>
                <a:gd name="connsiteX4" fmla="*/ 217552 w 435090"/>
                <a:gd name="connsiteY4" fmla="*/ 435077 h 435077"/>
                <a:gd name="connsiteX5" fmla="*/ 217552 w 435090"/>
                <a:gd name="connsiteY5" fmla="*/ 0 h 435077"/>
                <a:gd name="connsiteX6" fmla="*/ 435091 w 435090"/>
                <a:gd name="connsiteY6" fmla="*/ 217539 h 435077"/>
                <a:gd name="connsiteX7" fmla="*/ 217552 w 435090"/>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90" h="435077">
                  <a:moveTo>
                    <a:pt x="0" y="435077"/>
                  </a:moveTo>
                  <a:lnTo>
                    <a:pt x="0" y="0"/>
                  </a:lnTo>
                  <a:lnTo>
                    <a:pt x="217525" y="217539"/>
                  </a:lnTo>
                  <a:lnTo>
                    <a:pt x="0" y="435077"/>
                  </a:lnTo>
                  <a:close/>
                  <a:moveTo>
                    <a:pt x="217552" y="435077"/>
                  </a:moveTo>
                  <a:lnTo>
                    <a:pt x="217552" y="0"/>
                  </a:lnTo>
                  <a:lnTo>
                    <a:pt x="435091" y="217539"/>
                  </a:lnTo>
                  <a:lnTo>
                    <a:pt x="217552" y="435077"/>
                  </a:lnTo>
                  <a:close/>
                </a:path>
              </a:pathLst>
            </a:custGeom>
            <a:grpFill/>
            <a:ln w="27192" cap="flat">
              <a:noFill/>
              <a:prstDash val="solid"/>
              <a:miter/>
            </a:ln>
          </p:spPr>
          <p:txBody>
            <a:bodyPr rtlCol="0" anchor="ctr"/>
            <a:lstStyle/>
            <a:p>
              <a:endParaRPr lang="uk-UA" sz="900"/>
            </a:p>
          </p:txBody>
        </p:sp>
        <p:sp>
          <p:nvSpPr>
            <p:cNvPr id="178" name="Freeform: Shape 177">
              <a:extLst>
                <a:ext uri="{FF2B5EF4-FFF2-40B4-BE49-F238E27FC236}">
                  <a16:creationId xmlns:a16="http://schemas.microsoft.com/office/drawing/2014/main" id="{E31CC17A-092E-55C9-418F-6105F2B84307}"/>
                </a:ext>
              </a:extLst>
            </p:cNvPr>
            <p:cNvSpPr/>
            <p:nvPr/>
          </p:nvSpPr>
          <p:spPr>
            <a:xfrm>
              <a:off x="1705924" y="2839064"/>
              <a:ext cx="435077" cy="435077"/>
            </a:xfrm>
            <a:custGeom>
              <a:avLst/>
              <a:gdLst>
                <a:gd name="connsiteX0" fmla="*/ 63711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1 w 435077"/>
                <a:gd name="connsiteY6" fmla="*/ 153827 h 435077"/>
                <a:gd name="connsiteX7" fmla="*/ 63711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1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1" y="153827"/>
                  </a:moveTo>
                  <a:cubicBezTo>
                    <a:pt x="22923" y="113038"/>
                    <a:pt x="0" y="57694"/>
                    <a:pt x="0" y="0"/>
                  </a:cubicBezTo>
                  <a:lnTo>
                    <a:pt x="217539" y="0"/>
                  </a:lnTo>
                  <a:lnTo>
                    <a:pt x="435077" y="0"/>
                  </a:lnTo>
                  <a:cubicBezTo>
                    <a:pt x="435077" y="57694"/>
                    <a:pt x="412154" y="113038"/>
                    <a:pt x="371366" y="153827"/>
                  </a:cubicBezTo>
                  <a:cubicBezTo>
                    <a:pt x="330577" y="194616"/>
                    <a:pt x="275241" y="217539"/>
                    <a:pt x="217539" y="217539"/>
                  </a:cubicBezTo>
                  <a:cubicBezTo>
                    <a:pt x="159836" y="217539"/>
                    <a:pt x="104527" y="194616"/>
                    <a:pt x="63711" y="153827"/>
                  </a:cubicBezTo>
                  <a:close/>
                  <a:moveTo>
                    <a:pt x="63711" y="281250"/>
                  </a:moveTo>
                  <a:cubicBezTo>
                    <a:pt x="22923" y="322039"/>
                    <a:pt x="0" y="377375"/>
                    <a:pt x="0" y="435077"/>
                  </a:cubicBezTo>
                  <a:lnTo>
                    <a:pt x="217539" y="435077"/>
                  </a:lnTo>
                  <a:lnTo>
                    <a:pt x="435077" y="435077"/>
                  </a:lnTo>
                  <a:cubicBezTo>
                    <a:pt x="435077" y="377375"/>
                    <a:pt x="412154" y="322039"/>
                    <a:pt x="371366" y="281250"/>
                  </a:cubicBezTo>
                  <a:cubicBezTo>
                    <a:pt x="330577" y="240462"/>
                    <a:pt x="275241" y="217539"/>
                    <a:pt x="217539" y="217539"/>
                  </a:cubicBezTo>
                  <a:cubicBezTo>
                    <a:pt x="159836" y="217539"/>
                    <a:pt x="104527" y="240462"/>
                    <a:pt x="63711" y="281250"/>
                  </a:cubicBezTo>
                  <a:close/>
                </a:path>
              </a:pathLst>
            </a:custGeom>
            <a:grpFill/>
            <a:ln w="27192" cap="flat">
              <a:noFill/>
              <a:prstDash val="solid"/>
              <a:miter/>
            </a:ln>
          </p:spPr>
          <p:txBody>
            <a:bodyPr rtlCol="0" anchor="ctr"/>
            <a:lstStyle/>
            <a:p>
              <a:endParaRPr lang="uk-UA" sz="900"/>
            </a:p>
          </p:txBody>
        </p:sp>
        <p:sp>
          <p:nvSpPr>
            <p:cNvPr id="179" name="Freeform: Shape 178">
              <a:extLst>
                <a:ext uri="{FF2B5EF4-FFF2-40B4-BE49-F238E27FC236}">
                  <a16:creationId xmlns:a16="http://schemas.microsoft.com/office/drawing/2014/main" id="{FBB5437E-7F4B-540F-62EB-1A10F64401BF}"/>
                </a:ext>
              </a:extLst>
            </p:cNvPr>
            <p:cNvSpPr/>
            <p:nvPr/>
          </p:nvSpPr>
          <p:spPr>
            <a:xfrm>
              <a:off x="2576106" y="2839064"/>
              <a:ext cx="435077" cy="435077"/>
            </a:xfrm>
            <a:custGeom>
              <a:avLst/>
              <a:gdLst>
                <a:gd name="connsiteX0" fmla="*/ 435077 w 435077"/>
                <a:gd name="connsiteY0" fmla="*/ 435077 h 435077"/>
                <a:gd name="connsiteX1" fmla="*/ 435077 w 435077"/>
                <a:gd name="connsiteY1" fmla="*/ 217539 h 435077"/>
                <a:gd name="connsiteX2" fmla="*/ 435077 w 435077"/>
                <a:gd name="connsiteY2" fmla="*/ 14 h 435077"/>
                <a:gd name="connsiteX3" fmla="*/ 217539 w 435077"/>
                <a:gd name="connsiteY3" fmla="*/ 14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14"/>
                  </a:lnTo>
                  <a:lnTo>
                    <a:pt x="217539" y="14"/>
                  </a:lnTo>
                  <a:lnTo>
                    <a:pt x="435077" y="217539"/>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180" name="Freeform: Shape 179">
              <a:extLst>
                <a:ext uri="{FF2B5EF4-FFF2-40B4-BE49-F238E27FC236}">
                  <a16:creationId xmlns:a16="http://schemas.microsoft.com/office/drawing/2014/main" id="{2983EDD4-86AC-9942-67B9-F73A9CBC3E4D}"/>
                </a:ext>
              </a:extLst>
            </p:cNvPr>
            <p:cNvSpPr/>
            <p:nvPr/>
          </p:nvSpPr>
          <p:spPr>
            <a:xfrm>
              <a:off x="4316442" y="2839064"/>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3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3"/>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181" name="Freeform: Shape 180">
              <a:extLst>
                <a:ext uri="{FF2B5EF4-FFF2-40B4-BE49-F238E27FC236}">
                  <a16:creationId xmlns:a16="http://schemas.microsoft.com/office/drawing/2014/main" id="{E31A1D90-3F9C-2492-05EA-C6261C7AB1F3}"/>
                </a:ext>
              </a:extLst>
            </p:cNvPr>
            <p:cNvSpPr/>
            <p:nvPr/>
          </p:nvSpPr>
          <p:spPr>
            <a:xfrm>
              <a:off x="3446261" y="2839064"/>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182" name="Freeform: Shape 181">
              <a:extLst>
                <a:ext uri="{FF2B5EF4-FFF2-40B4-BE49-F238E27FC236}">
                  <a16:creationId xmlns:a16="http://schemas.microsoft.com/office/drawing/2014/main" id="{67C7C382-7FE5-3F56-D77B-2EDA15F365FA}"/>
                </a:ext>
              </a:extLst>
            </p:cNvPr>
            <p:cNvSpPr/>
            <p:nvPr/>
          </p:nvSpPr>
          <p:spPr>
            <a:xfrm>
              <a:off x="5186597" y="283906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8"/>
                    <a:pt x="0" y="57694"/>
                    <a:pt x="0" y="0"/>
                  </a:cubicBezTo>
                  <a:lnTo>
                    <a:pt x="217539" y="0"/>
                  </a:lnTo>
                  <a:lnTo>
                    <a:pt x="435077" y="0"/>
                  </a:lnTo>
                  <a:cubicBezTo>
                    <a:pt x="435077" y="57694"/>
                    <a:pt x="412155" y="113038"/>
                    <a:pt x="371366" y="153827"/>
                  </a:cubicBezTo>
                  <a:cubicBezTo>
                    <a:pt x="330550" y="194616"/>
                    <a:pt x="275241" y="217539"/>
                    <a:pt x="217539" y="217539"/>
                  </a:cubicBezTo>
                  <a:cubicBezTo>
                    <a:pt x="159837" y="217539"/>
                    <a:pt x="104501" y="194616"/>
                    <a:pt x="63712" y="153827"/>
                  </a:cubicBezTo>
                  <a:close/>
                  <a:moveTo>
                    <a:pt x="63712" y="281250"/>
                  </a:moveTo>
                  <a:cubicBezTo>
                    <a:pt x="22924" y="322039"/>
                    <a:pt x="0" y="377375"/>
                    <a:pt x="0" y="435077"/>
                  </a:cubicBezTo>
                  <a:lnTo>
                    <a:pt x="217539" y="435077"/>
                  </a:lnTo>
                  <a:lnTo>
                    <a:pt x="435077" y="435077"/>
                  </a:lnTo>
                  <a:cubicBezTo>
                    <a:pt x="435077" y="377375"/>
                    <a:pt x="412155" y="322039"/>
                    <a:pt x="371366" y="281250"/>
                  </a:cubicBezTo>
                  <a:cubicBezTo>
                    <a:pt x="330550" y="240462"/>
                    <a:pt x="275241" y="217539"/>
                    <a:pt x="217539" y="217539"/>
                  </a:cubicBezTo>
                  <a:cubicBezTo>
                    <a:pt x="159837" y="217539"/>
                    <a:pt x="104501" y="240462"/>
                    <a:pt x="63712" y="281250"/>
                  </a:cubicBezTo>
                  <a:close/>
                </a:path>
              </a:pathLst>
            </a:custGeom>
            <a:grpFill/>
            <a:ln w="27192" cap="flat">
              <a:noFill/>
              <a:prstDash val="solid"/>
              <a:miter/>
            </a:ln>
          </p:spPr>
          <p:txBody>
            <a:bodyPr rtlCol="0" anchor="ctr"/>
            <a:lstStyle/>
            <a:p>
              <a:endParaRPr lang="uk-UA" sz="900"/>
            </a:p>
          </p:txBody>
        </p:sp>
        <p:sp>
          <p:nvSpPr>
            <p:cNvPr id="183" name="Freeform: Shape 182">
              <a:extLst>
                <a:ext uri="{FF2B5EF4-FFF2-40B4-BE49-F238E27FC236}">
                  <a16:creationId xmlns:a16="http://schemas.microsoft.com/office/drawing/2014/main" id="{2904812F-BF77-6F90-A0FA-E2EC07BC4057}"/>
                </a:ext>
              </a:extLst>
            </p:cNvPr>
            <p:cNvSpPr/>
            <p:nvPr/>
          </p:nvSpPr>
          <p:spPr>
            <a:xfrm>
              <a:off x="6056752" y="2839064"/>
              <a:ext cx="435077" cy="435077"/>
            </a:xfrm>
            <a:custGeom>
              <a:avLst/>
              <a:gdLst>
                <a:gd name="connsiteX0" fmla="*/ 435077 w 435077"/>
                <a:gd name="connsiteY0" fmla="*/ 435077 h 435077"/>
                <a:gd name="connsiteX1" fmla="*/ 435077 w 435077"/>
                <a:gd name="connsiteY1" fmla="*/ 217539 h 435077"/>
                <a:gd name="connsiteX2" fmla="*/ 435077 w 435077"/>
                <a:gd name="connsiteY2" fmla="*/ 14 h 435077"/>
                <a:gd name="connsiteX3" fmla="*/ 217539 w 435077"/>
                <a:gd name="connsiteY3" fmla="*/ 14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14"/>
                  </a:lnTo>
                  <a:lnTo>
                    <a:pt x="217539" y="14"/>
                  </a:lnTo>
                  <a:lnTo>
                    <a:pt x="435077" y="217539"/>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184" name="Freeform: Shape 183">
              <a:extLst>
                <a:ext uri="{FF2B5EF4-FFF2-40B4-BE49-F238E27FC236}">
                  <a16:creationId xmlns:a16="http://schemas.microsoft.com/office/drawing/2014/main" id="{72E7E3EF-8015-2F06-901F-DDB971CD5A97}"/>
                </a:ext>
              </a:extLst>
            </p:cNvPr>
            <p:cNvSpPr/>
            <p:nvPr/>
          </p:nvSpPr>
          <p:spPr>
            <a:xfrm>
              <a:off x="7797089" y="2839064"/>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3 h 435077"/>
                <a:gd name="connsiteX6" fmla="*/ 217511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3"/>
                  </a:lnTo>
                  <a:lnTo>
                    <a:pt x="217511" y="217539"/>
                  </a:lnTo>
                  <a:lnTo>
                    <a:pt x="0" y="435077"/>
                  </a:lnTo>
                  <a:close/>
                </a:path>
              </a:pathLst>
            </a:custGeom>
            <a:grpFill/>
            <a:ln w="27192" cap="flat">
              <a:noFill/>
              <a:prstDash val="solid"/>
              <a:miter/>
            </a:ln>
          </p:spPr>
          <p:txBody>
            <a:bodyPr rtlCol="0" anchor="ctr"/>
            <a:lstStyle/>
            <a:p>
              <a:endParaRPr lang="uk-UA" sz="900"/>
            </a:p>
          </p:txBody>
        </p:sp>
        <p:sp>
          <p:nvSpPr>
            <p:cNvPr id="185" name="Freeform: Shape 184">
              <a:extLst>
                <a:ext uri="{FF2B5EF4-FFF2-40B4-BE49-F238E27FC236}">
                  <a16:creationId xmlns:a16="http://schemas.microsoft.com/office/drawing/2014/main" id="{1A6D3C74-6905-476E-BD64-A84BCDAC34A7}"/>
                </a:ext>
              </a:extLst>
            </p:cNvPr>
            <p:cNvSpPr/>
            <p:nvPr/>
          </p:nvSpPr>
          <p:spPr>
            <a:xfrm>
              <a:off x="6926907" y="2839064"/>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186" name="Freeform: Shape 185">
              <a:extLst>
                <a:ext uri="{FF2B5EF4-FFF2-40B4-BE49-F238E27FC236}">
                  <a16:creationId xmlns:a16="http://schemas.microsoft.com/office/drawing/2014/main" id="{5CA717B0-78E3-3B81-A000-16559779D783}"/>
                </a:ext>
              </a:extLst>
            </p:cNvPr>
            <p:cNvSpPr/>
            <p:nvPr/>
          </p:nvSpPr>
          <p:spPr>
            <a:xfrm>
              <a:off x="8667217" y="2839064"/>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39 w 435077"/>
                <a:gd name="connsiteY6" fmla="*/ 153827 h 435077"/>
                <a:gd name="connsiteX7" fmla="*/ 63739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39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4" y="113038"/>
                    <a:pt x="0" y="57694"/>
                    <a:pt x="0" y="0"/>
                  </a:cubicBezTo>
                  <a:lnTo>
                    <a:pt x="217539" y="0"/>
                  </a:lnTo>
                  <a:lnTo>
                    <a:pt x="435077" y="0"/>
                  </a:lnTo>
                  <a:cubicBezTo>
                    <a:pt x="435077" y="57694"/>
                    <a:pt x="412182" y="113038"/>
                    <a:pt x="371366" y="153827"/>
                  </a:cubicBezTo>
                  <a:cubicBezTo>
                    <a:pt x="330578" y="194616"/>
                    <a:pt x="275241" y="217539"/>
                    <a:pt x="217539" y="217539"/>
                  </a:cubicBezTo>
                  <a:cubicBezTo>
                    <a:pt x="159864" y="217539"/>
                    <a:pt x="104527" y="194616"/>
                    <a:pt x="63739" y="153827"/>
                  </a:cubicBezTo>
                  <a:close/>
                  <a:moveTo>
                    <a:pt x="63739" y="281250"/>
                  </a:moveTo>
                  <a:cubicBezTo>
                    <a:pt x="22924" y="322039"/>
                    <a:pt x="0" y="377375"/>
                    <a:pt x="0" y="435077"/>
                  </a:cubicBezTo>
                  <a:lnTo>
                    <a:pt x="217539" y="435077"/>
                  </a:lnTo>
                  <a:lnTo>
                    <a:pt x="435077" y="435077"/>
                  </a:lnTo>
                  <a:cubicBezTo>
                    <a:pt x="435077" y="377375"/>
                    <a:pt x="412182" y="322039"/>
                    <a:pt x="371366" y="281250"/>
                  </a:cubicBezTo>
                  <a:cubicBezTo>
                    <a:pt x="330578" y="240462"/>
                    <a:pt x="275241" y="217539"/>
                    <a:pt x="217539" y="217539"/>
                  </a:cubicBezTo>
                  <a:cubicBezTo>
                    <a:pt x="159864" y="217539"/>
                    <a:pt x="104527" y="240462"/>
                    <a:pt x="63739" y="281250"/>
                  </a:cubicBezTo>
                  <a:close/>
                </a:path>
              </a:pathLst>
            </a:custGeom>
            <a:grpFill/>
            <a:ln w="27192" cap="flat">
              <a:noFill/>
              <a:prstDash val="solid"/>
              <a:miter/>
            </a:ln>
          </p:spPr>
          <p:txBody>
            <a:bodyPr rtlCol="0" anchor="ctr"/>
            <a:lstStyle/>
            <a:p>
              <a:endParaRPr lang="uk-UA" sz="900"/>
            </a:p>
          </p:txBody>
        </p:sp>
        <p:sp>
          <p:nvSpPr>
            <p:cNvPr id="187" name="Freeform: Shape 186">
              <a:extLst>
                <a:ext uri="{FF2B5EF4-FFF2-40B4-BE49-F238E27FC236}">
                  <a16:creationId xmlns:a16="http://schemas.microsoft.com/office/drawing/2014/main" id="{8F6EB1BC-E859-93E5-241D-3B5455E1422D}"/>
                </a:ext>
              </a:extLst>
            </p:cNvPr>
            <p:cNvSpPr/>
            <p:nvPr/>
          </p:nvSpPr>
          <p:spPr>
            <a:xfrm>
              <a:off x="9537399" y="2839064"/>
              <a:ext cx="435077" cy="435077"/>
            </a:xfrm>
            <a:custGeom>
              <a:avLst/>
              <a:gdLst>
                <a:gd name="connsiteX0" fmla="*/ 435077 w 435077"/>
                <a:gd name="connsiteY0" fmla="*/ 435077 h 435077"/>
                <a:gd name="connsiteX1" fmla="*/ 435077 w 435077"/>
                <a:gd name="connsiteY1" fmla="*/ 217539 h 435077"/>
                <a:gd name="connsiteX2" fmla="*/ 435077 w 435077"/>
                <a:gd name="connsiteY2" fmla="*/ 14 h 435077"/>
                <a:gd name="connsiteX3" fmla="*/ 217539 w 435077"/>
                <a:gd name="connsiteY3" fmla="*/ 14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1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1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14"/>
                  </a:lnTo>
                  <a:lnTo>
                    <a:pt x="217539" y="14"/>
                  </a:lnTo>
                  <a:lnTo>
                    <a:pt x="435077" y="217539"/>
                  </a:lnTo>
                  <a:lnTo>
                    <a:pt x="217539" y="435077"/>
                  </a:lnTo>
                  <a:lnTo>
                    <a:pt x="435077" y="435077"/>
                  </a:lnTo>
                  <a:close/>
                  <a:moveTo>
                    <a:pt x="0" y="217539"/>
                  </a:moveTo>
                  <a:lnTo>
                    <a:pt x="0" y="0"/>
                  </a:lnTo>
                  <a:lnTo>
                    <a:pt x="217511" y="217539"/>
                  </a:lnTo>
                  <a:lnTo>
                    <a:pt x="0" y="217539"/>
                  </a:lnTo>
                  <a:close/>
                  <a:moveTo>
                    <a:pt x="0" y="435077"/>
                  </a:moveTo>
                  <a:lnTo>
                    <a:pt x="0" y="217539"/>
                  </a:lnTo>
                  <a:lnTo>
                    <a:pt x="217511" y="217539"/>
                  </a:lnTo>
                  <a:lnTo>
                    <a:pt x="0" y="435077"/>
                  </a:lnTo>
                  <a:close/>
                </a:path>
              </a:pathLst>
            </a:custGeom>
            <a:grpFill/>
            <a:ln w="27192" cap="flat">
              <a:noFill/>
              <a:prstDash val="solid"/>
              <a:miter/>
            </a:ln>
          </p:spPr>
          <p:txBody>
            <a:bodyPr rtlCol="0" anchor="ctr"/>
            <a:lstStyle/>
            <a:p>
              <a:endParaRPr lang="uk-UA" sz="900"/>
            </a:p>
          </p:txBody>
        </p:sp>
        <p:sp>
          <p:nvSpPr>
            <p:cNvPr id="188" name="Freeform: Shape 187">
              <a:extLst>
                <a:ext uri="{FF2B5EF4-FFF2-40B4-BE49-F238E27FC236}">
                  <a16:creationId xmlns:a16="http://schemas.microsoft.com/office/drawing/2014/main" id="{C5989DDD-BE02-F646-9168-F2676BA1D0EA}"/>
                </a:ext>
              </a:extLst>
            </p:cNvPr>
            <p:cNvSpPr/>
            <p:nvPr/>
          </p:nvSpPr>
          <p:spPr>
            <a:xfrm>
              <a:off x="11277709" y="2839064"/>
              <a:ext cx="435077" cy="435077"/>
            </a:xfrm>
            <a:custGeom>
              <a:avLst/>
              <a:gdLst>
                <a:gd name="connsiteX0" fmla="*/ 435077 w 435077"/>
                <a:gd name="connsiteY0" fmla="*/ 435077 h 435077"/>
                <a:gd name="connsiteX1" fmla="*/ 435077 w 435077"/>
                <a:gd name="connsiteY1" fmla="*/ 0 h 435077"/>
                <a:gd name="connsiteX2" fmla="*/ 217565 w 435077"/>
                <a:gd name="connsiteY2" fmla="*/ 217539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39"/>
                  </a:lnTo>
                  <a:lnTo>
                    <a:pt x="435077" y="435077"/>
                  </a:lnTo>
                  <a:close/>
                  <a:moveTo>
                    <a:pt x="0" y="435077"/>
                  </a:moveTo>
                  <a:lnTo>
                    <a:pt x="0" y="3"/>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189" name="Freeform: Shape 188">
              <a:extLst>
                <a:ext uri="{FF2B5EF4-FFF2-40B4-BE49-F238E27FC236}">
                  <a16:creationId xmlns:a16="http://schemas.microsoft.com/office/drawing/2014/main" id="{453367F5-4B53-230C-3E51-6B0328CC28F5}"/>
                </a:ext>
              </a:extLst>
            </p:cNvPr>
            <p:cNvSpPr/>
            <p:nvPr/>
          </p:nvSpPr>
          <p:spPr>
            <a:xfrm>
              <a:off x="10407554" y="2839064"/>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190" name="Freeform: Shape 189">
              <a:extLst>
                <a:ext uri="{FF2B5EF4-FFF2-40B4-BE49-F238E27FC236}">
                  <a16:creationId xmlns:a16="http://schemas.microsoft.com/office/drawing/2014/main" id="{09002475-6829-689D-FEDD-D35CE9BFFFD5}"/>
                </a:ext>
              </a:extLst>
            </p:cNvPr>
            <p:cNvSpPr/>
            <p:nvPr/>
          </p:nvSpPr>
          <p:spPr>
            <a:xfrm>
              <a:off x="12147864" y="2839064"/>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39 w 435077"/>
                <a:gd name="connsiteY6" fmla="*/ 153827 h 435077"/>
                <a:gd name="connsiteX7" fmla="*/ 63739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0 h 435077"/>
                <a:gd name="connsiteX12" fmla="*/ 217539 w 435077"/>
                <a:gd name="connsiteY12" fmla="*/ 217539 h 435077"/>
                <a:gd name="connsiteX13" fmla="*/ 63739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2" y="113038"/>
                    <a:pt x="0" y="57694"/>
                    <a:pt x="0" y="0"/>
                  </a:cubicBezTo>
                  <a:lnTo>
                    <a:pt x="217539" y="0"/>
                  </a:lnTo>
                  <a:lnTo>
                    <a:pt x="435077" y="0"/>
                  </a:lnTo>
                  <a:cubicBezTo>
                    <a:pt x="435077" y="57694"/>
                    <a:pt x="412180" y="113038"/>
                    <a:pt x="371365" y="153827"/>
                  </a:cubicBezTo>
                  <a:cubicBezTo>
                    <a:pt x="330577" y="194616"/>
                    <a:pt x="275239" y="217539"/>
                    <a:pt x="217539" y="217539"/>
                  </a:cubicBezTo>
                  <a:cubicBezTo>
                    <a:pt x="159863" y="217539"/>
                    <a:pt x="104527" y="194616"/>
                    <a:pt x="63739" y="153827"/>
                  </a:cubicBezTo>
                  <a:close/>
                  <a:moveTo>
                    <a:pt x="63739" y="281250"/>
                  </a:moveTo>
                  <a:cubicBezTo>
                    <a:pt x="22922" y="322039"/>
                    <a:pt x="0" y="377375"/>
                    <a:pt x="0" y="435077"/>
                  </a:cubicBezTo>
                  <a:lnTo>
                    <a:pt x="217539" y="435077"/>
                  </a:lnTo>
                  <a:lnTo>
                    <a:pt x="435077" y="435077"/>
                  </a:lnTo>
                  <a:cubicBezTo>
                    <a:pt x="435077" y="377375"/>
                    <a:pt x="412180" y="322039"/>
                    <a:pt x="371365" y="281250"/>
                  </a:cubicBezTo>
                  <a:cubicBezTo>
                    <a:pt x="330577" y="240462"/>
                    <a:pt x="275239" y="217539"/>
                    <a:pt x="217539" y="217539"/>
                  </a:cubicBezTo>
                  <a:cubicBezTo>
                    <a:pt x="159863" y="217539"/>
                    <a:pt x="104527" y="240462"/>
                    <a:pt x="63739" y="281250"/>
                  </a:cubicBezTo>
                  <a:close/>
                </a:path>
              </a:pathLst>
            </a:custGeom>
            <a:grpFill/>
            <a:ln w="27192" cap="flat">
              <a:noFill/>
              <a:prstDash val="solid"/>
              <a:miter/>
            </a:ln>
          </p:spPr>
          <p:txBody>
            <a:bodyPr rtlCol="0" anchor="ctr"/>
            <a:lstStyle/>
            <a:p>
              <a:endParaRPr lang="uk-UA" sz="900"/>
            </a:p>
          </p:txBody>
        </p:sp>
        <p:sp>
          <p:nvSpPr>
            <p:cNvPr id="191" name="Freeform: Shape 190">
              <a:extLst>
                <a:ext uri="{FF2B5EF4-FFF2-40B4-BE49-F238E27FC236}">
                  <a16:creationId xmlns:a16="http://schemas.microsoft.com/office/drawing/2014/main" id="{94D17308-09F3-6A0F-E07F-65A846DF83B4}"/>
                </a:ext>
              </a:extLst>
            </p:cNvPr>
            <p:cNvSpPr/>
            <p:nvPr/>
          </p:nvSpPr>
          <p:spPr>
            <a:xfrm>
              <a:off x="13018045" y="2839064"/>
              <a:ext cx="435077" cy="435077"/>
            </a:xfrm>
            <a:custGeom>
              <a:avLst/>
              <a:gdLst>
                <a:gd name="connsiteX0" fmla="*/ 435077 w 435077"/>
                <a:gd name="connsiteY0" fmla="*/ 435077 h 435077"/>
                <a:gd name="connsiteX1" fmla="*/ 435077 w 435077"/>
                <a:gd name="connsiteY1" fmla="*/ 217539 h 435077"/>
                <a:gd name="connsiteX2" fmla="*/ 435077 w 435077"/>
                <a:gd name="connsiteY2" fmla="*/ 14 h 435077"/>
                <a:gd name="connsiteX3" fmla="*/ 217539 w 435077"/>
                <a:gd name="connsiteY3" fmla="*/ 14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14"/>
                  </a:lnTo>
                  <a:lnTo>
                    <a:pt x="217539" y="14"/>
                  </a:lnTo>
                  <a:lnTo>
                    <a:pt x="435077" y="217539"/>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192" name="Freeform: Shape 191">
              <a:extLst>
                <a:ext uri="{FF2B5EF4-FFF2-40B4-BE49-F238E27FC236}">
                  <a16:creationId xmlns:a16="http://schemas.microsoft.com/office/drawing/2014/main" id="{CA6B9F11-39CD-8572-E1B7-12F63A0580DC}"/>
                </a:ext>
              </a:extLst>
            </p:cNvPr>
            <p:cNvSpPr/>
            <p:nvPr/>
          </p:nvSpPr>
          <p:spPr>
            <a:xfrm>
              <a:off x="14758382" y="2839064"/>
              <a:ext cx="435077" cy="435077"/>
            </a:xfrm>
            <a:custGeom>
              <a:avLst/>
              <a:gdLst>
                <a:gd name="connsiteX0" fmla="*/ 435077 w 435077"/>
                <a:gd name="connsiteY0" fmla="*/ 435077 h 435077"/>
                <a:gd name="connsiteX1" fmla="*/ 435077 w 435077"/>
                <a:gd name="connsiteY1" fmla="*/ 0 h 435077"/>
                <a:gd name="connsiteX2" fmla="*/ 217567 w 435077"/>
                <a:gd name="connsiteY2" fmla="*/ 217539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7" y="217539"/>
                  </a:lnTo>
                  <a:lnTo>
                    <a:pt x="435077" y="435077"/>
                  </a:lnTo>
                  <a:close/>
                  <a:moveTo>
                    <a:pt x="0" y="435077"/>
                  </a:moveTo>
                  <a:lnTo>
                    <a:pt x="0" y="3"/>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193" name="Freeform: Shape 192">
              <a:extLst>
                <a:ext uri="{FF2B5EF4-FFF2-40B4-BE49-F238E27FC236}">
                  <a16:creationId xmlns:a16="http://schemas.microsoft.com/office/drawing/2014/main" id="{7438D8E0-542A-57D0-CDE4-B2108DEA4039}"/>
                </a:ext>
              </a:extLst>
            </p:cNvPr>
            <p:cNvSpPr/>
            <p:nvPr/>
          </p:nvSpPr>
          <p:spPr>
            <a:xfrm>
              <a:off x="13888200" y="2839064"/>
              <a:ext cx="435103" cy="435077"/>
            </a:xfrm>
            <a:custGeom>
              <a:avLst/>
              <a:gdLst>
                <a:gd name="connsiteX0" fmla="*/ 0 w 435103"/>
                <a:gd name="connsiteY0" fmla="*/ 435077 h 435077"/>
                <a:gd name="connsiteX1" fmla="*/ 0 w 435103"/>
                <a:gd name="connsiteY1" fmla="*/ 0 h 435077"/>
                <a:gd name="connsiteX2" fmla="*/ 217539 w 435103"/>
                <a:gd name="connsiteY2" fmla="*/ 217539 h 435077"/>
                <a:gd name="connsiteX3" fmla="*/ 0 w 435103"/>
                <a:gd name="connsiteY3" fmla="*/ 435077 h 435077"/>
                <a:gd name="connsiteX4" fmla="*/ 217565 w 435103"/>
                <a:gd name="connsiteY4" fmla="*/ 435077 h 435077"/>
                <a:gd name="connsiteX5" fmla="*/ 217565 w 435103"/>
                <a:gd name="connsiteY5" fmla="*/ 0 h 435077"/>
                <a:gd name="connsiteX6" fmla="*/ 435104 w 435103"/>
                <a:gd name="connsiteY6" fmla="*/ 217539 h 435077"/>
                <a:gd name="connsiteX7" fmla="*/ 217565 w 435103"/>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103" h="435077">
                  <a:moveTo>
                    <a:pt x="0" y="435077"/>
                  </a:moveTo>
                  <a:lnTo>
                    <a:pt x="0" y="0"/>
                  </a:lnTo>
                  <a:lnTo>
                    <a:pt x="217539" y="217539"/>
                  </a:lnTo>
                  <a:lnTo>
                    <a:pt x="0" y="435077"/>
                  </a:lnTo>
                  <a:close/>
                  <a:moveTo>
                    <a:pt x="217565" y="435077"/>
                  </a:moveTo>
                  <a:lnTo>
                    <a:pt x="217565" y="0"/>
                  </a:lnTo>
                  <a:lnTo>
                    <a:pt x="435104" y="217539"/>
                  </a:lnTo>
                  <a:lnTo>
                    <a:pt x="217565" y="435077"/>
                  </a:lnTo>
                  <a:close/>
                </a:path>
              </a:pathLst>
            </a:custGeom>
            <a:grpFill/>
            <a:ln w="27192" cap="flat">
              <a:noFill/>
              <a:prstDash val="solid"/>
              <a:miter/>
            </a:ln>
          </p:spPr>
          <p:txBody>
            <a:bodyPr rtlCol="0" anchor="ctr"/>
            <a:lstStyle/>
            <a:p>
              <a:endParaRPr lang="uk-UA" sz="900"/>
            </a:p>
          </p:txBody>
        </p:sp>
        <p:sp>
          <p:nvSpPr>
            <p:cNvPr id="194" name="Freeform: Shape 193">
              <a:extLst>
                <a:ext uri="{FF2B5EF4-FFF2-40B4-BE49-F238E27FC236}">
                  <a16:creationId xmlns:a16="http://schemas.microsoft.com/office/drawing/2014/main" id="{974BC314-339A-CBCD-B415-27D0718FA628}"/>
                </a:ext>
              </a:extLst>
            </p:cNvPr>
            <p:cNvSpPr/>
            <p:nvPr/>
          </p:nvSpPr>
          <p:spPr>
            <a:xfrm>
              <a:off x="15628536" y="283906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8"/>
                    <a:pt x="0" y="57694"/>
                    <a:pt x="0" y="0"/>
                  </a:cubicBezTo>
                  <a:lnTo>
                    <a:pt x="217539" y="0"/>
                  </a:lnTo>
                  <a:lnTo>
                    <a:pt x="435077" y="0"/>
                  </a:lnTo>
                  <a:cubicBezTo>
                    <a:pt x="435077" y="57694"/>
                    <a:pt x="412155" y="113038"/>
                    <a:pt x="371367" y="153827"/>
                  </a:cubicBezTo>
                  <a:cubicBezTo>
                    <a:pt x="330578" y="194616"/>
                    <a:pt x="275241" y="217539"/>
                    <a:pt x="217539" y="217539"/>
                  </a:cubicBezTo>
                  <a:cubicBezTo>
                    <a:pt x="159865" y="217539"/>
                    <a:pt x="104527" y="194616"/>
                    <a:pt x="63712" y="153827"/>
                  </a:cubicBezTo>
                  <a:close/>
                  <a:moveTo>
                    <a:pt x="63712" y="281250"/>
                  </a:moveTo>
                  <a:cubicBezTo>
                    <a:pt x="22924" y="322039"/>
                    <a:pt x="0" y="377375"/>
                    <a:pt x="0" y="435077"/>
                  </a:cubicBezTo>
                  <a:lnTo>
                    <a:pt x="217539" y="435077"/>
                  </a:lnTo>
                  <a:lnTo>
                    <a:pt x="435077" y="435077"/>
                  </a:lnTo>
                  <a:cubicBezTo>
                    <a:pt x="435077" y="377375"/>
                    <a:pt x="412155" y="322039"/>
                    <a:pt x="371367" y="281250"/>
                  </a:cubicBezTo>
                  <a:cubicBezTo>
                    <a:pt x="330578" y="240462"/>
                    <a:pt x="275241" y="217539"/>
                    <a:pt x="217539" y="217539"/>
                  </a:cubicBezTo>
                  <a:cubicBezTo>
                    <a:pt x="159865" y="217539"/>
                    <a:pt x="104527" y="240462"/>
                    <a:pt x="63712" y="281250"/>
                  </a:cubicBezTo>
                  <a:close/>
                </a:path>
              </a:pathLst>
            </a:custGeom>
            <a:grpFill/>
            <a:ln w="27192" cap="flat">
              <a:noFill/>
              <a:prstDash val="solid"/>
              <a:miter/>
            </a:ln>
          </p:spPr>
          <p:txBody>
            <a:bodyPr rtlCol="0" anchor="ctr"/>
            <a:lstStyle/>
            <a:p>
              <a:endParaRPr lang="uk-UA" sz="900"/>
            </a:p>
          </p:txBody>
        </p:sp>
        <p:sp>
          <p:nvSpPr>
            <p:cNvPr id="195" name="Freeform: Shape 194">
              <a:extLst>
                <a:ext uri="{FF2B5EF4-FFF2-40B4-BE49-F238E27FC236}">
                  <a16:creationId xmlns:a16="http://schemas.microsoft.com/office/drawing/2014/main" id="{1A1AB5F9-A186-F2F2-DFF3-AC817DFAD4B9}"/>
                </a:ext>
              </a:extLst>
            </p:cNvPr>
            <p:cNvSpPr/>
            <p:nvPr/>
          </p:nvSpPr>
          <p:spPr>
            <a:xfrm>
              <a:off x="16498719" y="2839064"/>
              <a:ext cx="435077" cy="435077"/>
            </a:xfrm>
            <a:custGeom>
              <a:avLst/>
              <a:gdLst>
                <a:gd name="connsiteX0" fmla="*/ 435077 w 435077"/>
                <a:gd name="connsiteY0" fmla="*/ 435077 h 435077"/>
                <a:gd name="connsiteX1" fmla="*/ 435077 w 435077"/>
                <a:gd name="connsiteY1" fmla="*/ 217539 h 435077"/>
                <a:gd name="connsiteX2" fmla="*/ 435077 w 435077"/>
                <a:gd name="connsiteY2" fmla="*/ 14 h 435077"/>
                <a:gd name="connsiteX3" fmla="*/ 217539 w 435077"/>
                <a:gd name="connsiteY3" fmla="*/ 14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0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0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14"/>
                  </a:lnTo>
                  <a:lnTo>
                    <a:pt x="217539" y="14"/>
                  </a:lnTo>
                  <a:lnTo>
                    <a:pt x="435077" y="217539"/>
                  </a:lnTo>
                  <a:lnTo>
                    <a:pt x="217539" y="435077"/>
                  </a:lnTo>
                  <a:lnTo>
                    <a:pt x="435077" y="435077"/>
                  </a:lnTo>
                  <a:close/>
                  <a:moveTo>
                    <a:pt x="0" y="217539"/>
                  </a:moveTo>
                  <a:lnTo>
                    <a:pt x="0" y="0"/>
                  </a:lnTo>
                  <a:lnTo>
                    <a:pt x="217510" y="217539"/>
                  </a:lnTo>
                  <a:lnTo>
                    <a:pt x="0" y="217539"/>
                  </a:lnTo>
                  <a:close/>
                  <a:moveTo>
                    <a:pt x="0" y="435077"/>
                  </a:moveTo>
                  <a:lnTo>
                    <a:pt x="0" y="217539"/>
                  </a:lnTo>
                  <a:lnTo>
                    <a:pt x="217510" y="217539"/>
                  </a:lnTo>
                  <a:lnTo>
                    <a:pt x="0" y="435077"/>
                  </a:lnTo>
                  <a:close/>
                </a:path>
              </a:pathLst>
            </a:custGeom>
            <a:grpFill/>
            <a:ln w="27192" cap="flat">
              <a:noFill/>
              <a:prstDash val="solid"/>
              <a:miter/>
            </a:ln>
          </p:spPr>
          <p:txBody>
            <a:bodyPr rtlCol="0" anchor="ctr"/>
            <a:lstStyle/>
            <a:p>
              <a:endParaRPr lang="uk-UA" sz="900"/>
            </a:p>
          </p:txBody>
        </p:sp>
        <p:sp>
          <p:nvSpPr>
            <p:cNvPr id="196" name="Freeform: Shape 195">
              <a:extLst>
                <a:ext uri="{FF2B5EF4-FFF2-40B4-BE49-F238E27FC236}">
                  <a16:creationId xmlns:a16="http://schemas.microsoft.com/office/drawing/2014/main" id="{E3144E12-520D-9D0D-4802-5064AE228EFE}"/>
                </a:ext>
              </a:extLst>
            </p:cNvPr>
            <p:cNvSpPr/>
            <p:nvPr/>
          </p:nvSpPr>
          <p:spPr>
            <a:xfrm>
              <a:off x="18239029" y="2839064"/>
              <a:ext cx="435077" cy="435077"/>
            </a:xfrm>
            <a:custGeom>
              <a:avLst/>
              <a:gdLst>
                <a:gd name="connsiteX0" fmla="*/ 435077 w 435077"/>
                <a:gd name="connsiteY0" fmla="*/ 435077 h 435077"/>
                <a:gd name="connsiteX1" fmla="*/ 435077 w 435077"/>
                <a:gd name="connsiteY1" fmla="*/ 0 h 435077"/>
                <a:gd name="connsiteX2" fmla="*/ 217565 w 435077"/>
                <a:gd name="connsiteY2" fmla="*/ 217539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39"/>
                  </a:lnTo>
                  <a:lnTo>
                    <a:pt x="435077" y="435077"/>
                  </a:lnTo>
                  <a:close/>
                  <a:moveTo>
                    <a:pt x="0" y="435077"/>
                  </a:moveTo>
                  <a:lnTo>
                    <a:pt x="0" y="3"/>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197" name="Freeform: Shape 196">
              <a:extLst>
                <a:ext uri="{FF2B5EF4-FFF2-40B4-BE49-F238E27FC236}">
                  <a16:creationId xmlns:a16="http://schemas.microsoft.com/office/drawing/2014/main" id="{A428111F-5864-C89E-64FC-C3027DF284D6}"/>
                </a:ext>
              </a:extLst>
            </p:cNvPr>
            <p:cNvSpPr/>
            <p:nvPr/>
          </p:nvSpPr>
          <p:spPr>
            <a:xfrm>
              <a:off x="17368874" y="2839064"/>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198" name="Freeform: Shape 197">
              <a:extLst>
                <a:ext uri="{FF2B5EF4-FFF2-40B4-BE49-F238E27FC236}">
                  <a16:creationId xmlns:a16="http://schemas.microsoft.com/office/drawing/2014/main" id="{ACE1637E-0020-932C-11F6-8A0BDE1C10E3}"/>
                </a:ext>
              </a:extLst>
            </p:cNvPr>
            <p:cNvSpPr/>
            <p:nvPr/>
          </p:nvSpPr>
          <p:spPr>
            <a:xfrm>
              <a:off x="19109210" y="283906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895" y="113038"/>
                    <a:pt x="0" y="57694"/>
                    <a:pt x="0" y="0"/>
                  </a:cubicBezTo>
                  <a:lnTo>
                    <a:pt x="217539" y="0"/>
                  </a:lnTo>
                  <a:lnTo>
                    <a:pt x="435077" y="0"/>
                  </a:lnTo>
                  <a:cubicBezTo>
                    <a:pt x="435077" y="57694"/>
                    <a:pt x="412154" y="113038"/>
                    <a:pt x="371339" y="153827"/>
                  </a:cubicBezTo>
                  <a:cubicBezTo>
                    <a:pt x="330550" y="194616"/>
                    <a:pt x="275215" y="217539"/>
                    <a:pt x="217539" y="217539"/>
                  </a:cubicBezTo>
                  <a:cubicBezTo>
                    <a:pt x="159836" y="217539"/>
                    <a:pt x="104501" y="194616"/>
                    <a:pt x="63712" y="153827"/>
                  </a:cubicBezTo>
                  <a:close/>
                  <a:moveTo>
                    <a:pt x="63712" y="281250"/>
                  </a:moveTo>
                  <a:cubicBezTo>
                    <a:pt x="22895" y="322039"/>
                    <a:pt x="0" y="377375"/>
                    <a:pt x="0" y="435077"/>
                  </a:cubicBezTo>
                  <a:lnTo>
                    <a:pt x="217539" y="435077"/>
                  </a:lnTo>
                  <a:lnTo>
                    <a:pt x="435077" y="435077"/>
                  </a:lnTo>
                  <a:cubicBezTo>
                    <a:pt x="435077" y="377375"/>
                    <a:pt x="412154" y="322039"/>
                    <a:pt x="371339" y="281250"/>
                  </a:cubicBezTo>
                  <a:cubicBezTo>
                    <a:pt x="330550" y="240462"/>
                    <a:pt x="275215" y="217539"/>
                    <a:pt x="217539" y="217539"/>
                  </a:cubicBezTo>
                  <a:cubicBezTo>
                    <a:pt x="159836" y="217539"/>
                    <a:pt x="104501" y="240462"/>
                    <a:pt x="63712" y="281250"/>
                  </a:cubicBezTo>
                  <a:close/>
                </a:path>
              </a:pathLst>
            </a:custGeom>
            <a:grpFill/>
            <a:ln w="27192" cap="flat">
              <a:noFill/>
              <a:prstDash val="solid"/>
              <a:miter/>
            </a:ln>
          </p:spPr>
          <p:txBody>
            <a:bodyPr rtlCol="0" anchor="ctr"/>
            <a:lstStyle/>
            <a:p>
              <a:endParaRPr lang="uk-UA" sz="900"/>
            </a:p>
          </p:txBody>
        </p:sp>
        <p:sp>
          <p:nvSpPr>
            <p:cNvPr id="199" name="Freeform: Shape 198">
              <a:extLst>
                <a:ext uri="{FF2B5EF4-FFF2-40B4-BE49-F238E27FC236}">
                  <a16:creationId xmlns:a16="http://schemas.microsoft.com/office/drawing/2014/main" id="{855FE830-ACB9-ED4E-7C6E-DB74988B56C9}"/>
                </a:ext>
              </a:extLst>
            </p:cNvPr>
            <p:cNvSpPr/>
            <p:nvPr/>
          </p:nvSpPr>
          <p:spPr>
            <a:xfrm>
              <a:off x="19979365" y="2839064"/>
              <a:ext cx="435077" cy="435077"/>
            </a:xfrm>
            <a:custGeom>
              <a:avLst/>
              <a:gdLst>
                <a:gd name="connsiteX0" fmla="*/ 435077 w 435077"/>
                <a:gd name="connsiteY0" fmla="*/ 435077 h 435077"/>
                <a:gd name="connsiteX1" fmla="*/ 435077 w 435077"/>
                <a:gd name="connsiteY1" fmla="*/ 217539 h 435077"/>
                <a:gd name="connsiteX2" fmla="*/ 435077 w 435077"/>
                <a:gd name="connsiteY2" fmla="*/ 14 h 435077"/>
                <a:gd name="connsiteX3" fmla="*/ 217539 w 435077"/>
                <a:gd name="connsiteY3" fmla="*/ 14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14"/>
                  </a:lnTo>
                  <a:lnTo>
                    <a:pt x="217539" y="14"/>
                  </a:lnTo>
                  <a:lnTo>
                    <a:pt x="435077" y="217539"/>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200" name="Freeform: Shape 199">
              <a:extLst>
                <a:ext uri="{FF2B5EF4-FFF2-40B4-BE49-F238E27FC236}">
                  <a16:creationId xmlns:a16="http://schemas.microsoft.com/office/drawing/2014/main" id="{F617B9BC-CE4B-1097-C0C0-5DC0D05ACE9A}"/>
                </a:ext>
              </a:extLst>
            </p:cNvPr>
            <p:cNvSpPr/>
            <p:nvPr/>
          </p:nvSpPr>
          <p:spPr>
            <a:xfrm>
              <a:off x="21719702" y="2839064"/>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3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3"/>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201" name="Freeform: Shape 200">
              <a:extLst>
                <a:ext uri="{FF2B5EF4-FFF2-40B4-BE49-F238E27FC236}">
                  <a16:creationId xmlns:a16="http://schemas.microsoft.com/office/drawing/2014/main" id="{55DD96E5-2398-8DFA-AFDB-D513CA09E923}"/>
                </a:ext>
              </a:extLst>
            </p:cNvPr>
            <p:cNvSpPr/>
            <p:nvPr/>
          </p:nvSpPr>
          <p:spPr>
            <a:xfrm>
              <a:off x="20849520" y="2839064"/>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65 w 435077"/>
                <a:gd name="connsiteY4" fmla="*/ 435077 h 435077"/>
                <a:gd name="connsiteX5" fmla="*/ 217565 w 435077"/>
                <a:gd name="connsiteY5" fmla="*/ 0 h 435077"/>
                <a:gd name="connsiteX6" fmla="*/ 435077 w 435077"/>
                <a:gd name="connsiteY6" fmla="*/ 217539 h 435077"/>
                <a:gd name="connsiteX7" fmla="*/ 217565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65" y="435077"/>
                  </a:moveTo>
                  <a:lnTo>
                    <a:pt x="217565" y="0"/>
                  </a:lnTo>
                  <a:lnTo>
                    <a:pt x="435077" y="217539"/>
                  </a:lnTo>
                  <a:lnTo>
                    <a:pt x="217565" y="435077"/>
                  </a:lnTo>
                  <a:close/>
                </a:path>
              </a:pathLst>
            </a:custGeom>
            <a:grpFill/>
            <a:ln w="27192" cap="flat">
              <a:noFill/>
              <a:prstDash val="solid"/>
              <a:miter/>
            </a:ln>
          </p:spPr>
          <p:txBody>
            <a:bodyPr rtlCol="0" anchor="ctr"/>
            <a:lstStyle/>
            <a:p>
              <a:endParaRPr lang="uk-UA" sz="900"/>
            </a:p>
          </p:txBody>
        </p:sp>
        <p:sp>
          <p:nvSpPr>
            <p:cNvPr id="202" name="Freeform: Shape 201">
              <a:extLst>
                <a:ext uri="{FF2B5EF4-FFF2-40B4-BE49-F238E27FC236}">
                  <a16:creationId xmlns:a16="http://schemas.microsoft.com/office/drawing/2014/main" id="{3C09A8B5-346A-4D63-51EE-0F323BA69DBC}"/>
                </a:ext>
              </a:extLst>
            </p:cNvPr>
            <p:cNvSpPr/>
            <p:nvPr/>
          </p:nvSpPr>
          <p:spPr>
            <a:xfrm>
              <a:off x="22589856" y="283906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8"/>
                    <a:pt x="0" y="57694"/>
                    <a:pt x="0" y="0"/>
                  </a:cubicBezTo>
                  <a:lnTo>
                    <a:pt x="217539" y="0"/>
                  </a:lnTo>
                  <a:lnTo>
                    <a:pt x="435077" y="0"/>
                  </a:lnTo>
                  <a:cubicBezTo>
                    <a:pt x="435077" y="57694"/>
                    <a:pt x="412155" y="113038"/>
                    <a:pt x="371367" y="153827"/>
                  </a:cubicBezTo>
                  <a:cubicBezTo>
                    <a:pt x="330578" y="194616"/>
                    <a:pt x="275241" y="217539"/>
                    <a:pt x="217539" y="217539"/>
                  </a:cubicBezTo>
                  <a:cubicBezTo>
                    <a:pt x="159838" y="217539"/>
                    <a:pt x="104529" y="194616"/>
                    <a:pt x="63712" y="153827"/>
                  </a:cubicBezTo>
                  <a:close/>
                  <a:moveTo>
                    <a:pt x="63712" y="281250"/>
                  </a:moveTo>
                  <a:cubicBezTo>
                    <a:pt x="22924" y="322039"/>
                    <a:pt x="0" y="377375"/>
                    <a:pt x="0" y="435077"/>
                  </a:cubicBezTo>
                  <a:lnTo>
                    <a:pt x="217539" y="435077"/>
                  </a:lnTo>
                  <a:lnTo>
                    <a:pt x="435077" y="435077"/>
                  </a:lnTo>
                  <a:cubicBezTo>
                    <a:pt x="435077" y="377375"/>
                    <a:pt x="412155" y="322039"/>
                    <a:pt x="371367" y="281250"/>
                  </a:cubicBezTo>
                  <a:cubicBezTo>
                    <a:pt x="330578" y="240462"/>
                    <a:pt x="275241" y="217539"/>
                    <a:pt x="217539" y="217539"/>
                  </a:cubicBezTo>
                  <a:cubicBezTo>
                    <a:pt x="159838" y="217539"/>
                    <a:pt x="104529" y="240462"/>
                    <a:pt x="63712" y="281250"/>
                  </a:cubicBezTo>
                  <a:close/>
                </a:path>
              </a:pathLst>
            </a:custGeom>
            <a:grpFill/>
            <a:ln w="27192" cap="flat">
              <a:noFill/>
              <a:prstDash val="solid"/>
              <a:miter/>
            </a:ln>
          </p:spPr>
          <p:txBody>
            <a:bodyPr rtlCol="0" anchor="ctr"/>
            <a:lstStyle/>
            <a:p>
              <a:endParaRPr lang="uk-UA" sz="900"/>
            </a:p>
          </p:txBody>
        </p:sp>
        <p:sp>
          <p:nvSpPr>
            <p:cNvPr id="203" name="Freeform: Shape 202">
              <a:extLst>
                <a:ext uri="{FF2B5EF4-FFF2-40B4-BE49-F238E27FC236}">
                  <a16:creationId xmlns:a16="http://schemas.microsoft.com/office/drawing/2014/main" id="{50203639-BA89-D49F-7297-EB1EAA8F15E8}"/>
                </a:ext>
              </a:extLst>
            </p:cNvPr>
            <p:cNvSpPr/>
            <p:nvPr/>
          </p:nvSpPr>
          <p:spPr>
            <a:xfrm>
              <a:off x="23460011" y="2839064"/>
              <a:ext cx="435105" cy="435077"/>
            </a:xfrm>
            <a:custGeom>
              <a:avLst/>
              <a:gdLst>
                <a:gd name="connsiteX0" fmla="*/ 435106 w 435105"/>
                <a:gd name="connsiteY0" fmla="*/ 435077 h 435077"/>
                <a:gd name="connsiteX1" fmla="*/ 435106 w 435105"/>
                <a:gd name="connsiteY1" fmla="*/ 217539 h 435077"/>
                <a:gd name="connsiteX2" fmla="*/ 435106 w 435105"/>
                <a:gd name="connsiteY2" fmla="*/ 14 h 435077"/>
                <a:gd name="connsiteX3" fmla="*/ 217567 w 435105"/>
                <a:gd name="connsiteY3" fmla="*/ 14 h 435077"/>
                <a:gd name="connsiteX4" fmla="*/ 435106 w 435105"/>
                <a:gd name="connsiteY4" fmla="*/ 217539 h 435077"/>
                <a:gd name="connsiteX5" fmla="*/ 217567 w 435105"/>
                <a:gd name="connsiteY5" fmla="*/ 435077 h 435077"/>
                <a:gd name="connsiteX6" fmla="*/ 435106 w 435105"/>
                <a:gd name="connsiteY6" fmla="*/ 435077 h 435077"/>
                <a:gd name="connsiteX7" fmla="*/ 0 w 435105"/>
                <a:gd name="connsiteY7" fmla="*/ 217539 h 435077"/>
                <a:gd name="connsiteX8" fmla="*/ 0 w 435105"/>
                <a:gd name="connsiteY8" fmla="*/ 0 h 435077"/>
                <a:gd name="connsiteX9" fmla="*/ 217539 w 435105"/>
                <a:gd name="connsiteY9" fmla="*/ 217539 h 435077"/>
                <a:gd name="connsiteX10" fmla="*/ 0 w 435105"/>
                <a:gd name="connsiteY10" fmla="*/ 217539 h 435077"/>
                <a:gd name="connsiteX11" fmla="*/ 0 w 435105"/>
                <a:gd name="connsiteY11" fmla="*/ 435077 h 435077"/>
                <a:gd name="connsiteX12" fmla="*/ 0 w 435105"/>
                <a:gd name="connsiteY12" fmla="*/ 217539 h 435077"/>
                <a:gd name="connsiteX13" fmla="*/ 217539 w 435105"/>
                <a:gd name="connsiteY13" fmla="*/ 217539 h 435077"/>
                <a:gd name="connsiteX14" fmla="*/ 0 w 435105"/>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105" h="435077">
                  <a:moveTo>
                    <a:pt x="435106" y="435077"/>
                  </a:moveTo>
                  <a:lnTo>
                    <a:pt x="435106" y="217539"/>
                  </a:lnTo>
                  <a:lnTo>
                    <a:pt x="435106" y="14"/>
                  </a:lnTo>
                  <a:lnTo>
                    <a:pt x="217567" y="14"/>
                  </a:lnTo>
                  <a:lnTo>
                    <a:pt x="435106" y="217539"/>
                  </a:lnTo>
                  <a:lnTo>
                    <a:pt x="217567" y="435077"/>
                  </a:lnTo>
                  <a:lnTo>
                    <a:pt x="435106"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04" name="Freeform: Shape 203">
              <a:extLst>
                <a:ext uri="{FF2B5EF4-FFF2-40B4-BE49-F238E27FC236}">
                  <a16:creationId xmlns:a16="http://schemas.microsoft.com/office/drawing/2014/main" id="{C6921872-8B4A-55D1-5694-32B1F9A02A54}"/>
                </a:ext>
              </a:extLst>
            </p:cNvPr>
            <p:cNvSpPr/>
            <p:nvPr/>
          </p:nvSpPr>
          <p:spPr>
            <a:xfrm>
              <a:off x="24330194" y="2839064"/>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205" name="Freeform: Shape 204">
              <a:extLst>
                <a:ext uri="{FF2B5EF4-FFF2-40B4-BE49-F238E27FC236}">
                  <a16:creationId xmlns:a16="http://schemas.microsoft.com/office/drawing/2014/main" id="{C3FA843B-7F3F-1066-4CAE-DBCF6994DA23}"/>
                </a:ext>
              </a:extLst>
            </p:cNvPr>
            <p:cNvSpPr/>
            <p:nvPr/>
          </p:nvSpPr>
          <p:spPr>
            <a:xfrm>
              <a:off x="835769" y="3709219"/>
              <a:ext cx="435077" cy="435077"/>
            </a:xfrm>
            <a:custGeom>
              <a:avLst/>
              <a:gdLst>
                <a:gd name="connsiteX0" fmla="*/ 0 w 435077"/>
                <a:gd name="connsiteY0" fmla="*/ 435077 h 435077"/>
                <a:gd name="connsiteX1" fmla="*/ 217511 w 435077"/>
                <a:gd name="connsiteY1" fmla="*/ 435077 h 435077"/>
                <a:gd name="connsiteX2" fmla="*/ 217511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11" y="435077"/>
                  </a:lnTo>
                  <a:lnTo>
                    <a:pt x="217511"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206" name="Freeform: Shape 205">
              <a:extLst>
                <a:ext uri="{FF2B5EF4-FFF2-40B4-BE49-F238E27FC236}">
                  <a16:creationId xmlns:a16="http://schemas.microsoft.com/office/drawing/2014/main" id="{6E3BD570-2113-EC46-D9BE-90708FBDF7C3}"/>
                </a:ext>
              </a:extLst>
            </p:cNvPr>
            <p:cNvSpPr/>
            <p:nvPr/>
          </p:nvSpPr>
          <p:spPr>
            <a:xfrm>
              <a:off x="-34398" y="3709219"/>
              <a:ext cx="435063" cy="435077"/>
            </a:xfrm>
            <a:custGeom>
              <a:avLst/>
              <a:gdLst>
                <a:gd name="connsiteX0" fmla="*/ 217525 w 435063"/>
                <a:gd name="connsiteY0" fmla="*/ 217539 h 435077"/>
                <a:gd name="connsiteX1" fmla="*/ 217525 w 435063"/>
                <a:gd name="connsiteY1" fmla="*/ 0 h 435077"/>
                <a:gd name="connsiteX2" fmla="*/ 0 w 435063"/>
                <a:gd name="connsiteY2" fmla="*/ 0 h 435077"/>
                <a:gd name="connsiteX3" fmla="*/ 217525 w 435063"/>
                <a:gd name="connsiteY3" fmla="*/ 217539 h 435077"/>
                <a:gd name="connsiteX4" fmla="*/ 0 w 435063"/>
                <a:gd name="connsiteY4" fmla="*/ 435077 h 435077"/>
                <a:gd name="connsiteX5" fmla="*/ 217525 w 435063"/>
                <a:gd name="connsiteY5" fmla="*/ 435077 h 435077"/>
                <a:gd name="connsiteX6" fmla="*/ 217525 w 435063"/>
                <a:gd name="connsiteY6" fmla="*/ 435077 h 435077"/>
                <a:gd name="connsiteX7" fmla="*/ 435064 w 435063"/>
                <a:gd name="connsiteY7" fmla="*/ 217539 h 435077"/>
                <a:gd name="connsiteX8" fmla="*/ 435064 w 435063"/>
                <a:gd name="connsiteY8" fmla="*/ 217539 h 435077"/>
                <a:gd name="connsiteX9" fmla="*/ 435064 w 435063"/>
                <a:gd name="connsiteY9" fmla="*/ 217539 h 435077"/>
                <a:gd name="connsiteX10" fmla="*/ 435064 w 435063"/>
                <a:gd name="connsiteY10" fmla="*/ 217539 h 435077"/>
                <a:gd name="connsiteX11" fmla="*/ 435064 w 435063"/>
                <a:gd name="connsiteY11" fmla="*/ 217539 h 435077"/>
                <a:gd name="connsiteX12" fmla="*/ 217525 w 435063"/>
                <a:gd name="connsiteY12" fmla="*/ 0 h 435077"/>
                <a:gd name="connsiteX13" fmla="*/ 217525 w 435063"/>
                <a:gd name="connsiteY13" fmla="*/ 217539 h 435077"/>
                <a:gd name="connsiteX14" fmla="*/ 217525 w 435063"/>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63" h="435077">
                  <a:moveTo>
                    <a:pt x="217525" y="217539"/>
                  </a:moveTo>
                  <a:lnTo>
                    <a:pt x="217525" y="0"/>
                  </a:lnTo>
                  <a:lnTo>
                    <a:pt x="0" y="0"/>
                  </a:lnTo>
                  <a:lnTo>
                    <a:pt x="217525" y="217539"/>
                  </a:lnTo>
                  <a:lnTo>
                    <a:pt x="0" y="435077"/>
                  </a:lnTo>
                  <a:lnTo>
                    <a:pt x="217525" y="435077"/>
                  </a:lnTo>
                  <a:lnTo>
                    <a:pt x="217525" y="435077"/>
                  </a:lnTo>
                  <a:lnTo>
                    <a:pt x="435064" y="217539"/>
                  </a:lnTo>
                  <a:lnTo>
                    <a:pt x="435064" y="217539"/>
                  </a:lnTo>
                  <a:lnTo>
                    <a:pt x="435064" y="217539"/>
                  </a:lnTo>
                  <a:lnTo>
                    <a:pt x="435064" y="217539"/>
                  </a:lnTo>
                  <a:lnTo>
                    <a:pt x="435064" y="217539"/>
                  </a:lnTo>
                  <a:lnTo>
                    <a:pt x="217525" y="0"/>
                  </a:lnTo>
                  <a:lnTo>
                    <a:pt x="217525" y="217539"/>
                  </a:lnTo>
                  <a:lnTo>
                    <a:pt x="217525" y="217539"/>
                  </a:lnTo>
                  <a:close/>
                </a:path>
              </a:pathLst>
            </a:custGeom>
            <a:grpFill/>
            <a:ln w="27192" cap="flat">
              <a:noFill/>
              <a:prstDash val="solid"/>
              <a:miter/>
            </a:ln>
          </p:spPr>
          <p:txBody>
            <a:bodyPr rtlCol="0" anchor="ctr"/>
            <a:lstStyle/>
            <a:p>
              <a:endParaRPr lang="uk-UA" sz="900"/>
            </a:p>
          </p:txBody>
        </p:sp>
        <p:sp>
          <p:nvSpPr>
            <p:cNvPr id="207" name="Freeform: Shape 206">
              <a:extLst>
                <a:ext uri="{FF2B5EF4-FFF2-40B4-BE49-F238E27FC236}">
                  <a16:creationId xmlns:a16="http://schemas.microsoft.com/office/drawing/2014/main" id="{E576E215-A85F-A72B-48D1-10B0D63E84A8}"/>
                </a:ext>
              </a:extLst>
            </p:cNvPr>
            <p:cNvSpPr/>
            <p:nvPr/>
          </p:nvSpPr>
          <p:spPr>
            <a:xfrm>
              <a:off x="1705924" y="3709219"/>
              <a:ext cx="435104" cy="435077"/>
            </a:xfrm>
            <a:custGeom>
              <a:avLst/>
              <a:gdLst>
                <a:gd name="connsiteX0" fmla="*/ 217539 w 435104"/>
                <a:gd name="connsiteY0" fmla="*/ 0 h 435077"/>
                <a:gd name="connsiteX1" fmla="*/ 0 w 435104"/>
                <a:gd name="connsiteY1" fmla="*/ 0 h 435077"/>
                <a:gd name="connsiteX2" fmla="*/ 0 w 435104"/>
                <a:gd name="connsiteY2" fmla="*/ 217539 h 435077"/>
                <a:gd name="connsiteX3" fmla="*/ 217539 w 435104"/>
                <a:gd name="connsiteY3" fmla="*/ 0 h 435077"/>
                <a:gd name="connsiteX4" fmla="*/ 435104 w 435104"/>
                <a:gd name="connsiteY4" fmla="*/ 0 h 435077"/>
                <a:gd name="connsiteX5" fmla="*/ 435104 w 435104"/>
                <a:gd name="connsiteY5" fmla="*/ 217539 h 435077"/>
                <a:gd name="connsiteX6" fmla="*/ 217566 w 435104"/>
                <a:gd name="connsiteY6" fmla="*/ 0 h 435077"/>
                <a:gd name="connsiteX7" fmla="*/ 435104 w 435104"/>
                <a:gd name="connsiteY7" fmla="*/ 0 h 435077"/>
                <a:gd name="connsiteX8" fmla="*/ 217566 w 435104"/>
                <a:gd name="connsiteY8" fmla="*/ 435077 h 435077"/>
                <a:gd name="connsiteX9" fmla="*/ 435104 w 435104"/>
                <a:gd name="connsiteY9" fmla="*/ 217539 h 435077"/>
                <a:gd name="connsiteX10" fmla="*/ 435104 w 435104"/>
                <a:gd name="connsiteY10" fmla="*/ 435077 h 435077"/>
                <a:gd name="connsiteX11" fmla="*/ 217566 w 435104"/>
                <a:gd name="connsiteY11" fmla="*/ 435077 h 435077"/>
                <a:gd name="connsiteX12" fmla="*/ 217566 w 435104"/>
                <a:gd name="connsiteY12" fmla="*/ 435077 h 435077"/>
                <a:gd name="connsiteX13" fmla="*/ 27 w 435104"/>
                <a:gd name="connsiteY13" fmla="*/ 217539 h 435077"/>
                <a:gd name="connsiteX14" fmla="*/ 27 w 435104"/>
                <a:gd name="connsiteY14" fmla="*/ 435077 h 435077"/>
                <a:gd name="connsiteX15" fmla="*/ 217566 w 435104"/>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4" h="435077">
                  <a:moveTo>
                    <a:pt x="217539" y="0"/>
                  </a:moveTo>
                  <a:lnTo>
                    <a:pt x="0" y="0"/>
                  </a:lnTo>
                  <a:lnTo>
                    <a:pt x="0" y="217539"/>
                  </a:lnTo>
                  <a:lnTo>
                    <a:pt x="217539" y="0"/>
                  </a:lnTo>
                  <a:close/>
                  <a:moveTo>
                    <a:pt x="435104" y="0"/>
                  </a:moveTo>
                  <a:lnTo>
                    <a:pt x="435104" y="217539"/>
                  </a:lnTo>
                  <a:lnTo>
                    <a:pt x="217566" y="0"/>
                  </a:lnTo>
                  <a:lnTo>
                    <a:pt x="435104" y="0"/>
                  </a:lnTo>
                  <a:close/>
                  <a:moveTo>
                    <a:pt x="217566" y="435077"/>
                  </a:moveTo>
                  <a:lnTo>
                    <a:pt x="435104" y="217539"/>
                  </a:lnTo>
                  <a:lnTo>
                    <a:pt x="435104" y="435077"/>
                  </a:lnTo>
                  <a:lnTo>
                    <a:pt x="217566" y="435077"/>
                  </a:lnTo>
                  <a:close/>
                  <a:moveTo>
                    <a:pt x="217566" y="435077"/>
                  </a:moveTo>
                  <a:lnTo>
                    <a:pt x="27" y="217539"/>
                  </a:lnTo>
                  <a:lnTo>
                    <a:pt x="27" y="435077"/>
                  </a:lnTo>
                  <a:lnTo>
                    <a:pt x="217566" y="435077"/>
                  </a:lnTo>
                  <a:close/>
                </a:path>
              </a:pathLst>
            </a:custGeom>
            <a:grpFill/>
            <a:ln w="27192" cap="flat">
              <a:noFill/>
              <a:prstDash val="solid"/>
              <a:miter/>
            </a:ln>
          </p:spPr>
          <p:txBody>
            <a:bodyPr rtlCol="0" anchor="ctr"/>
            <a:lstStyle/>
            <a:p>
              <a:endParaRPr lang="uk-UA" sz="900"/>
            </a:p>
          </p:txBody>
        </p:sp>
        <p:sp>
          <p:nvSpPr>
            <p:cNvPr id="208" name="Freeform: Shape 207">
              <a:extLst>
                <a:ext uri="{FF2B5EF4-FFF2-40B4-BE49-F238E27FC236}">
                  <a16:creationId xmlns:a16="http://schemas.microsoft.com/office/drawing/2014/main" id="{1ACF2AE2-FA22-1DB9-8A0C-1107791B0A62}"/>
                </a:ext>
              </a:extLst>
            </p:cNvPr>
            <p:cNvSpPr/>
            <p:nvPr/>
          </p:nvSpPr>
          <p:spPr>
            <a:xfrm>
              <a:off x="2576106" y="3709219"/>
              <a:ext cx="435077" cy="435077"/>
            </a:xfrm>
            <a:custGeom>
              <a:avLst/>
              <a:gdLst>
                <a:gd name="connsiteX0" fmla="*/ 371366 w 435077"/>
                <a:gd name="connsiteY0" fmla="*/ 63712 h 435077"/>
                <a:gd name="connsiteX1" fmla="*/ 435077 w 435077"/>
                <a:gd name="connsiteY1" fmla="*/ 217539 h 435077"/>
                <a:gd name="connsiteX2" fmla="*/ 218925 w 435077"/>
                <a:gd name="connsiteY2" fmla="*/ 217539 h 435077"/>
                <a:gd name="connsiteX3" fmla="*/ 371366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25 w 435077"/>
                <a:gd name="connsiteY8" fmla="*/ 217539 h 435077"/>
                <a:gd name="connsiteX9" fmla="*/ 0 w 435077"/>
                <a:gd name="connsiteY9" fmla="*/ 217539 h 435077"/>
                <a:gd name="connsiteX10" fmla="*/ 63712 w 435077"/>
                <a:gd name="connsiteY10" fmla="*/ 63712 h 435077"/>
                <a:gd name="connsiteX11" fmla="*/ 217539 w 435077"/>
                <a:gd name="connsiteY11" fmla="*/ 0 h 435077"/>
                <a:gd name="connsiteX12" fmla="*/ 371366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2"/>
                  </a:moveTo>
                  <a:cubicBezTo>
                    <a:pt x="412154" y="104500"/>
                    <a:pt x="435077" y="159837"/>
                    <a:pt x="435077" y="217539"/>
                  </a:cubicBezTo>
                  <a:lnTo>
                    <a:pt x="218925" y="217539"/>
                  </a:lnTo>
                  <a:cubicBezTo>
                    <a:pt x="276138" y="217892"/>
                    <a:pt x="330904" y="240788"/>
                    <a:pt x="371366" y="281250"/>
                  </a:cubicBezTo>
                  <a:cubicBezTo>
                    <a:pt x="412154" y="322039"/>
                    <a:pt x="435077" y="377375"/>
                    <a:pt x="435077" y="435077"/>
                  </a:cubicBezTo>
                  <a:lnTo>
                    <a:pt x="217539" y="435077"/>
                  </a:lnTo>
                  <a:lnTo>
                    <a:pt x="0" y="435077"/>
                  </a:lnTo>
                  <a:cubicBezTo>
                    <a:pt x="0" y="377375"/>
                    <a:pt x="22923" y="322039"/>
                    <a:pt x="63712" y="281250"/>
                  </a:cubicBezTo>
                  <a:cubicBezTo>
                    <a:pt x="104174" y="240788"/>
                    <a:pt x="158939" y="217892"/>
                    <a:pt x="216125" y="217539"/>
                  </a:cubicBezTo>
                  <a:lnTo>
                    <a:pt x="0" y="217539"/>
                  </a:lnTo>
                  <a:cubicBezTo>
                    <a:pt x="0" y="159837"/>
                    <a:pt x="22923" y="104500"/>
                    <a:pt x="63712" y="63712"/>
                  </a:cubicBezTo>
                  <a:cubicBezTo>
                    <a:pt x="104500" y="22923"/>
                    <a:pt x="159837" y="0"/>
                    <a:pt x="217539" y="0"/>
                  </a:cubicBezTo>
                  <a:cubicBezTo>
                    <a:pt x="275214" y="0"/>
                    <a:pt x="330550" y="22923"/>
                    <a:pt x="371366" y="63712"/>
                  </a:cubicBezTo>
                  <a:close/>
                </a:path>
              </a:pathLst>
            </a:custGeom>
            <a:grpFill/>
            <a:ln w="27192" cap="flat">
              <a:noFill/>
              <a:prstDash val="solid"/>
              <a:miter/>
            </a:ln>
          </p:spPr>
          <p:txBody>
            <a:bodyPr rtlCol="0" anchor="ctr"/>
            <a:lstStyle/>
            <a:p>
              <a:endParaRPr lang="uk-UA" sz="900"/>
            </a:p>
          </p:txBody>
        </p:sp>
        <p:sp>
          <p:nvSpPr>
            <p:cNvPr id="209" name="Freeform: Shape 208">
              <a:extLst>
                <a:ext uri="{FF2B5EF4-FFF2-40B4-BE49-F238E27FC236}">
                  <a16:creationId xmlns:a16="http://schemas.microsoft.com/office/drawing/2014/main" id="{C00FE9F8-27E0-DC00-ADB7-39B7CC74A4AA}"/>
                </a:ext>
              </a:extLst>
            </p:cNvPr>
            <p:cNvSpPr/>
            <p:nvPr/>
          </p:nvSpPr>
          <p:spPr>
            <a:xfrm>
              <a:off x="4316442" y="3709219"/>
              <a:ext cx="435050" cy="435077"/>
            </a:xfrm>
            <a:custGeom>
              <a:avLst/>
              <a:gdLst>
                <a:gd name="connsiteX0" fmla="*/ 0 w 435050"/>
                <a:gd name="connsiteY0" fmla="*/ 435077 h 435077"/>
                <a:gd name="connsiteX1" fmla="*/ 217512 w 435050"/>
                <a:gd name="connsiteY1" fmla="*/ 435077 h 435077"/>
                <a:gd name="connsiteX2" fmla="*/ 217512 w 435050"/>
                <a:gd name="connsiteY2" fmla="*/ 217539 h 435077"/>
                <a:gd name="connsiteX3" fmla="*/ 0 w 435050"/>
                <a:gd name="connsiteY3" fmla="*/ 435077 h 435077"/>
                <a:gd name="connsiteX4" fmla="*/ 217512 w 435050"/>
                <a:gd name="connsiteY4" fmla="*/ 0 h 435077"/>
                <a:gd name="connsiteX5" fmla="*/ 0 w 435050"/>
                <a:gd name="connsiteY5" fmla="*/ 0 h 435077"/>
                <a:gd name="connsiteX6" fmla="*/ 217512 w 435050"/>
                <a:gd name="connsiteY6" fmla="*/ 217539 h 435077"/>
                <a:gd name="connsiteX7" fmla="*/ 217512 w 435050"/>
                <a:gd name="connsiteY7" fmla="*/ 0 h 435077"/>
                <a:gd name="connsiteX8" fmla="*/ 435051 w 435050"/>
                <a:gd name="connsiteY8" fmla="*/ 435077 h 435077"/>
                <a:gd name="connsiteX9" fmla="*/ 217539 w 435050"/>
                <a:gd name="connsiteY9" fmla="*/ 435077 h 435077"/>
                <a:gd name="connsiteX10" fmla="*/ 435051 w 435050"/>
                <a:gd name="connsiteY10" fmla="*/ 217539 h 435077"/>
                <a:gd name="connsiteX11" fmla="*/ 435051 w 435050"/>
                <a:gd name="connsiteY11" fmla="*/ 435077 h 435077"/>
                <a:gd name="connsiteX12" fmla="*/ 435051 w 435050"/>
                <a:gd name="connsiteY12" fmla="*/ 0 h 435077"/>
                <a:gd name="connsiteX13" fmla="*/ 217539 w 435050"/>
                <a:gd name="connsiteY13" fmla="*/ 0 h 435077"/>
                <a:gd name="connsiteX14" fmla="*/ 435051 w 435050"/>
                <a:gd name="connsiteY14" fmla="*/ 217539 h 435077"/>
                <a:gd name="connsiteX15" fmla="*/ 435051 w 435050"/>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50" h="435077">
                  <a:moveTo>
                    <a:pt x="0" y="435077"/>
                  </a:moveTo>
                  <a:lnTo>
                    <a:pt x="217512" y="435077"/>
                  </a:lnTo>
                  <a:lnTo>
                    <a:pt x="217512" y="217539"/>
                  </a:lnTo>
                  <a:lnTo>
                    <a:pt x="0" y="435077"/>
                  </a:lnTo>
                  <a:close/>
                  <a:moveTo>
                    <a:pt x="217512" y="0"/>
                  </a:moveTo>
                  <a:lnTo>
                    <a:pt x="0" y="0"/>
                  </a:lnTo>
                  <a:lnTo>
                    <a:pt x="217512" y="217539"/>
                  </a:lnTo>
                  <a:lnTo>
                    <a:pt x="217512" y="0"/>
                  </a:lnTo>
                  <a:close/>
                  <a:moveTo>
                    <a:pt x="435051" y="435077"/>
                  </a:moveTo>
                  <a:lnTo>
                    <a:pt x="217539" y="435077"/>
                  </a:lnTo>
                  <a:lnTo>
                    <a:pt x="435051" y="217539"/>
                  </a:lnTo>
                  <a:lnTo>
                    <a:pt x="435051" y="435077"/>
                  </a:lnTo>
                  <a:close/>
                  <a:moveTo>
                    <a:pt x="435051" y="0"/>
                  </a:moveTo>
                  <a:lnTo>
                    <a:pt x="217539" y="0"/>
                  </a:lnTo>
                  <a:lnTo>
                    <a:pt x="435051" y="217539"/>
                  </a:lnTo>
                  <a:lnTo>
                    <a:pt x="435051" y="0"/>
                  </a:lnTo>
                  <a:close/>
                </a:path>
              </a:pathLst>
            </a:custGeom>
            <a:grpFill/>
            <a:ln w="27192" cap="flat">
              <a:noFill/>
              <a:prstDash val="solid"/>
              <a:miter/>
            </a:ln>
          </p:spPr>
          <p:txBody>
            <a:bodyPr rtlCol="0" anchor="ctr"/>
            <a:lstStyle/>
            <a:p>
              <a:endParaRPr lang="uk-UA" sz="900"/>
            </a:p>
          </p:txBody>
        </p:sp>
        <p:sp>
          <p:nvSpPr>
            <p:cNvPr id="210" name="Freeform: Shape 209">
              <a:extLst>
                <a:ext uri="{FF2B5EF4-FFF2-40B4-BE49-F238E27FC236}">
                  <a16:creationId xmlns:a16="http://schemas.microsoft.com/office/drawing/2014/main" id="{FA0C44CD-693B-C727-2245-F7CD31A4C74B}"/>
                </a:ext>
              </a:extLst>
            </p:cNvPr>
            <p:cNvSpPr/>
            <p:nvPr/>
          </p:nvSpPr>
          <p:spPr>
            <a:xfrm>
              <a:off x="3446261" y="370921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211" name="Freeform: Shape 210">
              <a:extLst>
                <a:ext uri="{FF2B5EF4-FFF2-40B4-BE49-F238E27FC236}">
                  <a16:creationId xmlns:a16="http://schemas.microsoft.com/office/drawing/2014/main" id="{2620EFF1-F568-F6A5-F4E1-017926A4FA3E}"/>
                </a:ext>
              </a:extLst>
            </p:cNvPr>
            <p:cNvSpPr/>
            <p:nvPr/>
          </p:nvSpPr>
          <p:spPr>
            <a:xfrm>
              <a:off x="5186597" y="3709219"/>
              <a:ext cx="435077" cy="435077"/>
            </a:xfrm>
            <a:custGeom>
              <a:avLst/>
              <a:gdLst>
                <a:gd name="connsiteX0" fmla="*/ 217539 w 435077"/>
                <a:gd name="connsiteY0" fmla="*/ 0 h 435077"/>
                <a:gd name="connsiteX1" fmla="*/ 217539 w 435077"/>
                <a:gd name="connsiteY1" fmla="*/ 0 h 435077"/>
                <a:gd name="connsiteX2" fmla="*/ 0 w 435077"/>
                <a:gd name="connsiteY2" fmla="*/ 0 h 435077"/>
                <a:gd name="connsiteX3" fmla="*/ 0 w 435077"/>
                <a:gd name="connsiteY3" fmla="*/ 217539 h 435077"/>
                <a:gd name="connsiteX4" fmla="*/ 217539 w 435077"/>
                <a:gd name="connsiteY4" fmla="*/ 0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217539" y="0"/>
                  </a:lnTo>
                  <a:lnTo>
                    <a:pt x="0" y="0"/>
                  </a:lnTo>
                  <a:lnTo>
                    <a:pt x="0" y="217539"/>
                  </a:lnTo>
                  <a:lnTo>
                    <a:pt x="217539" y="0"/>
                  </a:lnTo>
                  <a:lnTo>
                    <a:pt x="435077" y="217539"/>
                  </a:lnTo>
                  <a:lnTo>
                    <a:pt x="217539" y="435077"/>
                  </a:lnTo>
                  <a:lnTo>
                    <a:pt x="0" y="217539"/>
                  </a:lnTo>
                  <a:lnTo>
                    <a:pt x="0" y="435077"/>
                  </a:lnTo>
                  <a:lnTo>
                    <a:pt x="217539" y="435077"/>
                  </a:lnTo>
                  <a:lnTo>
                    <a:pt x="435077" y="435077"/>
                  </a:lnTo>
                  <a:lnTo>
                    <a:pt x="435077" y="217539"/>
                  </a:lnTo>
                  <a:lnTo>
                    <a:pt x="435077" y="0"/>
                  </a:lnTo>
                  <a:lnTo>
                    <a:pt x="217539" y="0"/>
                  </a:lnTo>
                  <a:close/>
                </a:path>
              </a:pathLst>
            </a:custGeom>
            <a:grpFill/>
            <a:ln w="27192" cap="flat">
              <a:noFill/>
              <a:prstDash val="solid"/>
              <a:miter/>
            </a:ln>
          </p:spPr>
          <p:txBody>
            <a:bodyPr rtlCol="0" anchor="ctr"/>
            <a:lstStyle/>
            <a:p>
              <a:endParaRPr lang="uk-UA" sz="900"/>
            </a:p>
          </p:txBody>
        </p:sp>
        <p:sp>
          <p:nvSpPr>
            <p:cNvPr id="212" name="Freeform: Shape 211">
              <a:extLst>
                <a:ext uri="{FF2B5EF4-FFF2-40B4-BE49-F238E27FC236}">
                  <a16:creationId xmlns:a16="http://schemas.microsoft.com/office/drawing/2014/main" id="{DFD5D916-6F29-F973-B296-84C337528E25}"/>
                </a:ext>
              </a:extLst>
            </p:cNvPr>
            <p:cNvSpPr/>
            <p:nvPr/>
          </p:nvSpPr>
          <p:spPr>
            <a:xfrm>
              <a:off x="6056752" y="3709219"/>
              <a:ext cx="435077" cy="435077"/>
            </a:xfrm>
            <a:custGeom>
              <a:avLst/>
              <a:gdLst>
                <a:gd name="connsiteX0" fmla="*/ 371366 w 435077"/>
                <a:gd name="connsiteY0" fmla="*/ 63712 h 435077"/>
                <a:gd name="connsiteX1" fmla="*/ 435077 w 435077"/>
                <a:gd name="connsiteY1" fmla="*/ 217539 h 435077"/>
                <a:gd name="connsiteX2" fmla="*/ 218953 w 435077"/>
                <a:gd name="connsiteY2" fmla="*/ 217539 h 435077"/>
                <a:gd name="connsiteX3" fmla="*/ 371366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25 w 435077"/>
                <a:gd name="connsiteY8" fmla="*/ 217539 h 435077"/>
                <a:gd name="connsiteX9" fmla="*/ 0 w 435077"/>
                <a:gd name="connsiteY9" fmla="*/ 217539 h 435077"/>
                <a:gd name="connsiteX10" fmla="*/ 63712 w 435077"/>
                <a:gd name="connsiteY10" fmla="*/ 63712 h 435077"/>
                <a:gd name="connsiteX11" fmla="*/ 217539 w 435077"/>
                <a:gd name="connsiteY11" fmla="*/ 0 h 435077"/>
                <a:gd name="connsiteX12" fmla="*/ 371366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2"/>
                  </a:moveTo>
                  <a:cubicBezTo>
                    <a:pt x="412155" y="104500"/>
                    <a:pt x="435077" y="159837"/>
                    <a:pt x="435077" y="217539"/>
                  </a:cubicBezTo>
                  <a:lnTo>
                    <a:pt x="218953" y="217539"/>
                  </a:lnTo>
                  <a:cubicBezTo>
                    <a:pt x="276138" y="217892"/>
                    <a:pt x="330904" y="240788"/>
                    <a:pt x="371366" y="281250"/>
                  </a:cubicBezTo>
                  <a:cubicBezTo>
                    <a:pt x="412155" y="322039"/>
                    <a:pt x="435077" y="377375"/>
                    <a:pt x="435077" y="435077"/>
                  </a:cubicBezTo>
                  <a:lnTo>
                    <a:pt x="217539" y="435077"/>
                  </a:lnTo>
                  <a:lnTo>
                    <a:pt x="0" y="435077"/>
                  </a:lnTo>
                  <a:cubicBezTo>
                    <a:pt x="0" y="377375"/>
                    <a:pt x="22924" y="322039"/>
                    <a:pt x="63712" y="281250"/>
                  </a:cubicBezTo>
                  <a:cubicBezTo>
                    <a:pt x="104175" y="240788"/>
                    <a:pt x="158939" y="217892"/>
                    <a:pt x="216125" y="217539"/>
                  </a:cubicBezTo>
                  <a:lnTo>
                    <a:pt x="0" y="217539"/>
                  </a:lnTo>
                  <a:cubicBezTo>
                    <a:pt x="0" y="159837"/>
                    <a:pt x="22924" y="104500"/>
                    <a:pt x="63712" y="63712"/>
                  </a:cubicBezTo>
                  <a:cubicBezTo>
                    <a:pt x="104501" y="22923"/>
                    <a:pt x="159837" y="0"/>
                    <a:pt x="217539" y="0"/>
                  </a:cubicBezTo>
                  <a:cubicBezTo>
                    <a:pt x="275241" y="0"/>
                    <a:pt x="330550" y="22923"/>
                    <a:pt x="371366" y="63712"/>
                  </a:cubicBezTo>
                  <a:close/>
                </a:path>
              </a:pathLst>
            </a:custGeom>
            <a:grpFill/>
            <a:ln w="27192" cap="flat">
              <a:noFill/>
              <a:prstDash val="solid"/>
              <a:miter/>
            </a:ln>
          </p:spPr>
          <p:txBody>
            <a:bodyPr rtlCol="0" anchor="ctr"/>
            <a:lstStyle/>
            <a:p>
              <a:endParaRPr lang="uk-UA" sz="900"/>
            </a:p>
          </p:txBody>
        </p:sp>
        <p:sp>
          <p:nvSpPr>
            <p:cNvPr id="213" name="Freeform: Shape 212">
              <a:extLst>
                <a:ext uri="{FF2B5EF4-FFF2-40B4-BE49-F238E27FC236}">
                  <a16:creationId xmlns:a16="http://schemas.microsoft.com/office/drawing/2014/main" id="{3707E91B-D987-7D3C-F03E-6E0F7FFA6D43}"/>
                </a:ext>
              </a:extLst>
            </p:cNvPr>
            <p:cNvSpPr/>
            <p:nvPr/>
          </p:nvSpPr>
          <p:spPr>
            <a:xfrm>
              <a:off x="7797089" y="3709219"/>
              <a:ext cx="435050" cy="435077"/>
            </a:xfrm>
            <a:custGeom>
              <a:avLst/>
              <a:gdLst>
                <a:gd name="connsiteX0" fmla="*/ 0 w 435050"/>
                <a:gd name="connsiteY0" fmla="*/ 435077 h 435077"/>
                <a:gd name="connsiteX1" fmla="*/ 217511 w 435050"/>
                <a:gd name="connsiteY1" fmla="*/ 435077 h 435077"/>
                <a:gd name="connsiteX2" fmla="*/ 217511 w 435050"/>
                <a:gd name="connsiteY2" fmla="*/ 217539 h 435077"/>
                <a:gd name="connsiteX3" fmla="*/ 0 w 435050"/>
                <a:gd name="connsiteY3" fmla="*/ 435077 h 435077"/>
                <a:gd name="connsiteX4" fmla="*/ 217511 w 435050"/>
                <a:gd name="connsiteY4" fmla="*/ 0 h 435077"/>
                <a:gd name="connsiteX5" fmla="*/ 0 w 435050"/>
                <a:gd name="connsiteY5" fmla="*/ 0 h 435077"/>
                <a:gd name="connsiteX6" fmla="*/ 217511 w 435050"/>
                <a:gd name="connsiteY6" fmla="*/ 217539 h 435077"/>
                <a:gd name="connsiteX7" fmla="*/ 217511 w 435050"/>
                <a:gd name="connsiteY7" fmla="*/ 0 h 435077"/>
                <a:gd name="connsiteX8" fmla="*/ 435050 w 435050"/>
                <a:gd name="connsiteY8" fmla="*/ 435077 h 435077"/>
                <a:gd name="connsiteX9" fmla="*/ 217539 w 435050"/>
                <a:gd name="connsiteY9" fmla="*/ 435077 h 435077"/>
                <a:gd name="connsiteX10" fmla="*/ 435050 w 435050"/>
                <a:gd name="connsiteY10" fmla="*/ 217539 h 435077"/>
                <a:gd name="connsiteX11" fmla="*/ 435050 w 435050"/>
                <a:gd name="connsiteY11" fmla="*/ 435077 h 435077"/>
                <a:gd name="connsiteX12" fmla="*/ 435050 w 435050"/>
                <a:gd name="connsiteY12" fmla="*/ 0 h 435077"/>
                <a:gd name="connsiteX13" fmla="*/ 217539 w 435050"/>
                <a:gd name="connsiteY13" fmla="*/ 0 h 435077"/>
                <a:gd name="connsiteX14" fmla="*/ 435050 w 435050"/>
                <a:gd name="connsiteY14" fmla="*/ 217539 h 435077"/>
                <a:gd name="connsiteX15" fmla="*/ 435050 w 435050"/>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50" h="435077">
                  <a:moveTo>
                    <a:pt x="0" y="435077"/>
                  </a:moveTo>
                  <a:lnTo>
                    <a:pt x="217511" y="435077"/>
                  </a:lnTo>
                  <a:lnTo>
                    <a:pt x="217511" y="217539"/>
                  </a:lnTo>
                  <a:lnTo>
                    <a:pt x="0" y="435077"/>
                  </a:lnTo>
                  <a:close/>
                  <a:moveTo>
                    <a:pt x="217511" y="0"/>
                  </a:moveTo>
                  <a:lnTo>
                    <a:pt x="0" y="0"/>
                  </a:lnTo>
                  <a:lnTo>
                    <a:pt x="217511" y="217539"/>
                  </a:lnTo>
                  <a:lnTo>
                    <a:pt x="217511" y="0"/>
                  </a:lnTo>
                  <a:close/>
                  <a:moveTo>
                    <a:pt x="435050" y="435077"/>
                  </a:moveTo>
                  <a:lnTo>
                    <a:pt x="217539" y="435077"/>
                  </a:lnTo>
                  <a:lnTo>
                    <a:pt x="435050" y="217539"/>
                  </a:lnTo>
                  <a:lnTo>
                    <a:pt x="435050" y="435077"/>
                  </a:lnTo>
                  <a:close/>
                  <a:moveTo>
                    <a:pt x="435050" y="0"/>
                  </a:moveTo>
                  <a:lnTo>
                    <a:pt x="217539" y="0"/>
                  </a:lnTo>
                  <a:lnTo>
                    <a:pt x="435050" y="217539"/>
                  </a:lnTo>
                  <a:lnTo>
                    <a:pt x="435050" y="0"/>
                  </a:lnTo>
                  <a:close/>
                </a:path>
              </a:pathLst>
            </a:custGeom>
            <a:grpFill/>
            <a:ln w="27192" cap="flat">
              <a:noFill/>
              <a:prstDash val="solid"/>
              <a:miter/>
            </a:ln>
          </p:spPr>
          <p:txBody>
            <a:bodyPr rtlCol="0" anchor="ctr"/>
            <a:lstStyle/>
            <a:p>
              <a:endParaRPr lang="uk-UA" sz="900"/>
            </a:p>
          </p:txBody>
        </p:sp>
        <p:sp>
          <p:nvSpPr>
            <p:cNvPr id="214" name="Freeform: Shape 213">
              <a:extLst>
                <a:ext uri="{FF2B5EF4-FFF2-40B4-BE49-F238E27FC236}">
                  <a16:creationId xmlns:a16="http://schemas.microsoft.com/office/drawing/2014/main" id="{F0CCC6CA-D709-37D4-B8E3-6338D58538E0}"/>
                </a:ext>
              </a:extLst>
            </p:cNvPr>
            <p:cNvSpPr/>
            <p:nvPr/>
          </p:nvSpPr>
          <p:spPr>
            <a:xfrm>
              <a:off x="6926907" y="3709219"/>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0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39 h 435077"/>
                <a:gd name="connsiteX9" fmla="*/ 435077 w 435077"/>
                <a:gd name="connsiteY9" fmla="*/ 217539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0"/>
                  </a:lnTo>
                  <a:lnTo>
                    <a:pt x="435077" y="217539"/>
                  </a:lnTo>
                  <a:lnTo>
                    <a:pt x="435077" y="217539"/>
                  </a:lnTo>
                  <a:lnTo>
                    <a:pt x="435077" y="217539"/>
                  </a:lnTo>
                  <a:lnTo>
                    <a:pt x="435077" y="217539"/>
                  </a:lnTo>
                  <a:lnTo>
                    <a:pt x="435077" y="217539"/>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215" name="Freeform: Shape 214">
              <a:extLst>
                <a:ext uri="{FF2B5EF4-FFF2-40B4-BE49-F238E27FC236}">
                  <a16:creationId xmlns:a16="http://schemas.microsoft.com/office/drawing/2014/main" id="{894849E7-20E0-185F-DB2B-118FCBBC79BC}"/>
                </a:ext>
              </a:extLst>
            </p:cNvPr>
            <p:cNvSpPr/>
            <p:nvPr/>
          </p:nvSpPr>
          <p:spPr>
            <a:xfrm>
              <a:off x="8667217" y="370921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p>
          </p:txBody>
        </p:sp>
        <p:sp>
          <p:nvSpPr>
            <p:cNvPr id="216" name="Freeform: Shape 215">
              <a:extLst>
                <a:ext uri="{FF2B5EF4-FFF2-40B4-BE49-F238E27FC236}">
                  <a16:creationId xmlns:a16="http://schemas.microsoft.com/office/drawing/2014/main" id="{25A61F76-47BA-6E6D-C308-EF55B3B73D85}"/>
                </a:ext>
              </a:extLst>
            </p:cNvPr>
            <p:cNvSpPr/>
            <p:nvPr/>
          </p:nvSpPr>
          <p:spPr>
            <a:xfrm>
              <a:off x="9537399" y="3709219"/>
              <a:ext cx="435077" cy="435077"/>
            </a:xfrm>
            <a:custGeom>
              <a:avLst/>
              <a:gdLst>
                <a:gd name="connsiteX0" fmla="*/ 371366 w 435077"/>
                <a:gd name="connsiteY0" fmla="*/ 63712 h 435077"/>
                <a:gd name="connsiteX1" fmla="*/ 435077 w 435077"/>
                <a:gd name="connsiteY1" fmla="*/ 217539 h 435077"/>
                <a:gd name="connsiteX2" fmla="*/ 218925 w 435077"/>
                <a:gd name="connsiteY2" fmla="*/ 217539 h 435077"/>
                <a:gd name="connsiteX3" fmla="*/ 371366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1 w 435077"/>
                <a:gd name="connsiteY7" fmla="*/ 281250 h 435077"/>
                <a:gd name="connsiteX8" fmla="*/ 216125 w 435077"/>
                <a:gd name="connsiteY8" fmla="*/ 217539 h 435077"/>
                <a:gd name="connsiteX9" fmla="*/ 0 w 435077"/>
                <a:gd name="connsiteY9" fmla="*/ 217539 h 435077"/>
                <a:gd name="connsiteX10" fmla="*/ 63711 w 435077"/>
                <a:gd name="connsiteY10" fmla="*/ 63712 h 435077"/>
                <a:gd name="connsiteX11" fmla="*/ 217539 w 435077"/>
                <a:gd name="connsiteY11" fmla="*/ 0 h 435077"/>
                <a:gd name="connsiteX12" fmla="*/ 371366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2"/>
                  </a:moveTo>
                  <a:cubicBezTo>
                    <a:pt x="412155" y="104500"/>
                    <a:pt x="435077" y="159837"/>
                    <a:pt x="435077" y="217539"/>
                  </a:cubicBezTo>
                  <a:lnTo>
                    <a:pt x="218925" y="217539"/>
                  </a:lnTo>
                  <a:cubicBezTo>
                    <a:pt x="276111" y="217892"/>
                    <a:pt x="330904" y="240788"/>
                    <a:pt x="371366" y="281250"/>
                  </a:cubicBezTo>
                  <a:cubicBezTo>
                    <a:pt x="412155" y="322039"/>
                    <a:pt x="435077" y="377375"/>
                    <a:pt x="435077" y="435077"/>
                  </a:cubicBezTo>
                  <a:lnTo>
                    <a:pt x="217539" y="435077"/>
                  </a:lnTo>
                  <a:lnTo>
                    <a:pt x="0" y="435077"/>
                  </a:lnTo>
                  <a:cubicBezTo>
                    <a:pt x="0" y="377375"/>
                    <a:pt x="22923" y="322039"/>
                    <a:pt x="63711" y="281250"/>
                  </a:cubicBezTo>
                  <a:cubicBezTo>
                    <a:pt x="104174" y="240788"/>
                    <a:pt x="158939" y="217892"/>
                    <a:pt x="216125" y="217539"/>
                  </a:cubicBezTo>
                  <a:lnTo>
                    <a:pt x="0" y="217539"/>
                  </a:lnTo>
                  <a:cubicBezTo>
                    <a:pt x="0" y="159837"/>
                    <a:pt x="22923" y="104500"/>
                    <a:pt x="63711" y="63712"/>
                  </a:cubicBezTo>
                  <a:cubicBezTo>
                    <a:pt x="104500" y="22923"/>
                    <a:pt x="159836" y="0"/>
                    <a:pt x="217539" y="0"/>
                  </a:cubicBezTo>
                  <a:cubicBezTo>
                    <a:pt x="275214" y="0"/>
                    <a:pt x="330550" y="22923"/>
                    <a:pt x="371366" y="63712"/>
                  </a:cubicBezTo>
                  <a:close/>
                </a:path>
              </a:pathLst>
            </a:custGeom>
            <a:grpFill/>
            <a:ln w="27192" cap="flat">
              <a:noFill/>
              <a:prstDash val="solid"/>
              <a:miter/>
            </a:ln>
          </p:spPr>
          <p:txBody>
            <a:bodyPr rtlCol="0" anchor="ctr"/>
            <a:lstStyle/>
            <a:p>
              <a:endParaRPr lang="uk-UA" sz="900"/>
            </a:p>
          </p:txBody>
        </p:sp>
        <p:sp>
          <p:nvSpPr>
            <p:cNvPr id="217" name="Freeform: Shape 216">
              <a:extLst>
                <a:ext uri="{FF2B5EF4-FFF2-40B4-BE49-F238E27FC236}">
                  <a16:creationId xmlns:a16="http://schemas.microsoft.com/office/drawing/2014/main" id="{00130628-6748-39DB-5808-072C8212BC9B}"/>
                </a:ext>
              </a:extLst>
            </p:cNvPr>
            <p:cNvSpPr/>
            <p:nvPr/>
          </p:nvSpPr>
          <p:spPr>
            <a:xfrm>
              <a:off x="11277709" y="3709219"/>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218" name="Freeform: Shape 217">
              <a:extLst>
                <a:ext uri="{FF2B5EF4-FFF2-40B4-BE49-F238E27FC236}">
                  <a16:creationId xmlns:a16="http://schemas.microsoft.com/office/drawing/2014/main" id="{2FD863D1-FF82-C985-E9EB-54FAA2FF88C6}"/>
                </a:ext>
              </a:extLst>
            </p:cNvPr>
            <p:cNvSpPr/>
            <p:nvPr/>
          </p:nvSpPr>
          <p:spPr>
            <a:xfrm>
              <a:off x="10407554" y="3709219"/>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0 h 435077"/>
                <a:gd name="connsiteX5" fmla="*/ 435050 w 435077"/>
                <a:gd name="connsiteY5" fmla="*/ 217539 h 435077"/>
                <a:gd name="connsiteX6" fmla="*/ 435077 w 435077"/>
                <a:gd name="connsiteY6" fmla="*/ 217539 h 435077"/>
                <a:gd name="connsiteX7" fmla="*/ 435050 w 435077"/>
                <a:gd name="connsiteY7" fmla="*/ 217539 h 435077"/>
                <a:gd name="connsiteX8" fmla="*/ 435077 w 435077"/>
                <a:gd name="connsiteY8" fmla="*/ 217539 h 435077"/>
                <a:gd name="connsiteX9" fmla="*/ 435050 w 435077"/>
                <a:gd name="connsiteY9" fmla="*/ 217539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0"/>
                  </a:lnTo>
                  <a:lnTo>
                    <a:pt x="435050" y="217539"/>
                  </a:lnTo>
                  <a:lnTo>
                    <a:pt x="435077" y="217539"/>
                  </a:lnTo>
                  <a:lnTo>
                    <a:pt x="435050" y="217539"/>
                  </a:lnTo>
                  <a:lnTo>
                    <a:pt x="435077" y="217539"/>
                  </a:lnTo>
                  <a:lnTo>
                    <a:pt x="435050" y="217539"/>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219" name="Freeform: Shape 218">
              <a:extLst>
                <a:ext uri="{FF2B5EF4-FFF2-40B4-BE49-F238E27FC236}">
                  <a16:creationId xmlns:a16="http://schemas.microsoft.com/office/drawing/2014/main" id="{DDAE6E6C-249B-0B70-E61D-13EEE78BB4A0}"/>
                </a:ext>
              </a:extLst>
            </p:cNvPr>
            <p:cNvSpPr/>
            <p:nvPr/>
          </p:nvSpPr>
          <p:spPr>
            <a:xfrm>
              <a:off x="12147864" y="3709219"/>
              <a:ext cx="435103" cy="435077"/>
            </a:xfrm>
            <a:custGeom>
              <a:avLst/>
              <a:gdLst>
                <a:gd name="connsiteX0" fmla="*/ 217539 w 435103"/>
                <a:gd name="connsiteY0" fmla="*/ 0 h 435077"/>
                <a:gd name="connsiteX1" fmla="*/ 0 w 435103"/>
                <a:gd name="connsiteY1" fmla="*/ 0 h 435077"/>
                <a:gd name="connsiteX2" fmla="*/ 0 w 435103"/>
                <a:gd name="connsiteY2" fmla="*/ 217539 h 435077"/>
                <a:gd name="connsiteX3" fmla="*/ 217539 w 435103"/>
                <a:gd name="connsiteY3" fmla="*/ 0 h 435077"/>
                <a:gd name="connsiteX4" fmla="*/ 435104 w 435103"/>
                <a:gd name="connsiteY4" fmla="*/ 0 h 435077"/>
                <a:gd name="connsiteX5" fmla="*/ 435104 w 435103"/>
                <a:gd name="connsiteY5" fmla="*/ 217539 h 435077"/>
                <a:gd name="connsiteX6" fmla="*/ 217565 w 435103"/>
                <a:gd name="connsiteY6" fmla="*/ 0 h 435077"/>
                <a:gd name="connsiteX7" fmla="*/ 435104 w 435103"/>
                <a:gd name="connsiteY7" fmla="*/ 0 h 435077"/>
                <a:gd name="connsiteX8" fmla="*/ 217565 w 435103"/>
                <a:gd name="connsiteY8" fmla="*/ 435077 h 435077"/>
                <a:gd name="connsiteX9" fmla="*/ 435104 w 435103"/>
                <a:gd name="connsiteY9" fmla="*/ 217539 h 435077"/>
                <a:gd name="connsiteX10" fmla="*/ 435104 w 435103"/>
                <a:gd name="connsiteY10" fmla="*/ 435077 h 435077"/>
                <a:gd name="connsiteX11" fmla="*/ 217565 w 435103"/>
                <a:gd name="connsiteY11" fmla="*/ 435077 h 435077"/>
                <a:gd name="connsiteX12" fmla="*/ 217565 w 435103"/>
                <a:gd name="connsiteY12" fmla="*/ 435077 h 435077"/>
                <a:gd name="connsiteX13" fmla="*/ 27 w 435103"/>
                <a:gd name="connsiteY13" fmla="*/ 217539 h 435077"/>
                <a:gd name="connsiteX14" fmla="*/ 27 w 435103"/>
                <a:gd name="connsiteY14" fmla="*/ 435077 h 435077"/>
                <a:gd name="connsiteX15" fmla="*/ 217565 w 435103"/>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3" h="435077">
                  <a:moveTo>
                    <a:pt x="217539" y="0"/>
                  </a:moveTo>
                  <a:lnTo>
                    <a:pt x="0" y="0"/>
                  </a:lnTo>
                  <a:lnTo>
                    <a:pt x="0" y="217539"/>
                  </a:lnTo>
                  <a:lnTo>
                    <a:pt x="217539" y="0"/>
                  </a:lnTo>
                  <a:close/>
                  <a:moveTo>
                    <a:pt x="435104" y="0"/>
                  </a:moveTo>
                  <a:lnTo>
                    <a:pt x="435104" y="217539"/>
                  </a:lnTo>
                  <a:lnTo>
                    <a:pt x="217565" y="0"/>
                  </a:lnTo>
                  <a:lnTo>
                    <a:pt x="435104" y="0"/>
                  </a:lnTo>
                  <a:close/>
                  <a:moveTo>
                    <a:pt x="217565" y="435077"/>
                  </a:moveTo>
                  <a:lnTo>
                    <a:pt x="435104" y="217539"/>
                  </a:lnTo>
                  <a:lnTo>
                    <a:pt x="435104" y="435077"/>
                  </a:lnTo>
                  <a:lnTo>
                    <a:pt x="217565" y="435077"/>
                  </a:lnTo>
                  <a:close/>
                  <a:moveTo>
                    <a:pt x="217565" y="435077"/>
                  </a:moveTo>
                  <a:lnTo>
                    <a:pt x="27" y="217539"/>
                  </a:lnTo>
                  <a:lnTo>
                    <a:pt x="27" y="435077"/>
                  </a:lnTo>
                  <a:lnTo>
                    <a:pt x="217565" y="435077"/>
                  </a:lnTo>
                  <a:close/>
                </a:path>
              </a:pathLst>
            </a:custGeom>
            <a:grpFill/>
            <a:ln w="27192" cap="flat">
              <a:noFill/>
              <a:prstDash val="solid"/>
              <a:miter/>
            </a:ln>
          </p:spPr>
          <p:txBody>
            <a:bodyPr rtlCol="0" anchor="ctr"/>
            <a:lstStyle/>
            <a:p>
              <a:endParaRPr lang="uk-UA" sz="900"/>
            </a:p>
          </p:txBody>
        </p:sp>
        <p:sp>
          <p:nvSpPr>
            <p:cNvPr id="220" name="Freeform: Shape 219">
              <a:extLst>
                <a:ext uri="{FF2B5EF4-FFF2-40B4-BE49-F238E27FC236}">
                  <a16:creationId xmlns:a16="http://schemas.microsoft.com/office/drawing/2014/main" id="{07FEE364-7C2B-1725-DC19-7C4ABF215635}"/>
                </a:ext>
              </a:extLst>
            </p:cNvPr>
            <p:cNvSpPr/>
            <p:nvPr/>
          </p:nvSpPr>
          <p:spPr>
            <a:xfrm>
              <a:off x="13018045" y="3709219"/>
              <a:ext cx="435077" cy="435077"/>
            </a:xfrm>
            <a:custGeom>
              <a:avLst/>
              <a:gdLst>
                <a:gd name="connsiteX0" fmla="*/ 371365 w 435077"/>
                <a:gd name="connsiteY0" fmla="*/ 63712 h 435077"/>
                <a:gd name="connsiteX1" fmla="*/ 435077 w 435077"/>
                <a:gd name="connsiteY1" fmla="*/ 217539 h 435077"/>
                <a:gd name="connsiteX2" fmla="*/ 218953 w 435077"/>
                <a:gd name="connsiteY2" fmla="*/ 217539 h 435077"/>
                <a:gd name="connsiteX3" fmla="*/ 371365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51 w 435077"/>
                <a:gd name="connsiteY8" fmla="*/ 217539 h 435077"/>
                <a:gd name="connsiteX9" fmla="*/ 0 w 435077"/>
                <a:gd name="connsiteY9" fmla="*/ 217539 h 435077"/>
                <a:gd name="connsiteX10" fmla="*/ 63712 w 435077"/>
                <a:gd name="connsiteY10" fmla="*/ 63712 h 435077"/>
                <a:gd name="connsiteX11" fmla="*/ 217539 w 435077"/>
                <a:gd name="connsiteY11" fmla="*/ 0 h 435077"/>
                <a:gd name="connsiteX12" fmla="*/ 371365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12"/>
                  </a:moveTo>
                  <a:cubicBezTo>
                    <a:pt x="412154" y="104500"/>
                    <a:pt x="435077" y="159837"/>
                    <a:pt x="435077" y="217539"/>
                  </a:cubicBezTo>
                  <a:lnTo>
                    <a:pt x="218953" y="217539"/>
                  </a:lnTo>
                  <a:cubicBezTo>
                    <a:pt x="276137" y="217892"/>
                    <a:pt x="330904" y="240788"/>
                    <a:pt x="371365" y="281250"/>
                  </a:cubicBezTo>
                  <a:cubicBezTo>
                    <a:pt x="412154" y="322039"/>
                    <a:pt x="435077" y="377375"/>
                    <a:pt x="435077" y="435077"/>
                  </a:cubicBezTo>
                  <a:lnTo>
                    <a:pt x="217539" y="435077"/>
                  </a:lnTo>
                  <a:lnTo>
                    <a:pt x="0" y="435077"/>
                  </a:lnTo>
                  <a:cubicBezTo>
                    <a:pt x="0" y="377375"/>
                    <a:pt x="22924" y="322039"/>
                    <a:pt x="63712" y="281250"/>
                  </a:cubicBezTo>
                  <a:cubicBezTo>
                    <a:pt x="104174" y="240788"/>
                    <a:pt x="158938" y="217892"/>
                    <a:pt x="216151" y="217539"/>
                  </a:cubicBezTo>
                  <a:lnTo>
                    <a:pt x="0" y="217539"/>
                  </a:lnTo>
                  <a:cubicBezTo>
                    <a:pt x="0" y="159837"/>
                    <a:pt x="22924" y="104500"/>
                    <a:pt x="63712" y="63712"/>
                  </a:cubicBezTo>
                  <a:cubicBezTo>
                    <a:pt x="104501" y="22923"/>
                    <a:pt x="159836" y="0"/>
                    <a:pt x="217539" y="0"/>
                  </a:cubicBezTo>
                  <a:cubicBezTo>
                    <a:pt x="275241" y="0"/>
                    <a:pt x="330550" y="22923"/>
                    <a:pt x="371365" y="63712"/>
                  </a:cubicBezTo>
                  <a:close/>
                </a:path>
              </a:pathLst>
            </a:custGeom>
            <a:grpFill/>
            <a:ln w="27192" cap="flat">
              <a:noFill/>
              <a:prstDash val="solid"/>
              <a:miter/>
            </a:ln>
          </p:spPr>
          <p:txBody>
            <a:bodyPr rtlCol="0" anchor="ctr"/>
            <a:lstStyle/>
            <a:p>
              <a:endParaRPr lang="uk-UA" sz="900"/>
            </a:p>
          </p:txBody>
        </p:sp>
        <p:sp>
          <p:nvSpPr>
            <p:cNvPr id="221" name="Freeform: Shape 220">
              <a:extLst>
                <a:ext uri="{FF2B5EF4-FFF2-40B4-BE49-F238E27FC236}">
                  <a16:creationId xmlns:a16="http://schemas.microsoft.com/office/drawing/2014/main" id="{E15B21B6-A4B6-F610-F3AA-F73E8F345F78}"/>
                </a:ext>
              </a:extLst>
            </p:cNvPr>
            <p:cNvSpPr/>
            <p:nvPr/>
          </p:nvSpPr>
          <p:spPr>
            <a:xfrm>
              <a:off x="14758382" y="3709219"/>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222" name="Freeform: Shape 221">
              <a:extLst>
                <a:ext uri="{FF2B5EF4-FFF2-40B4-BE49-F238E27FC236}">
                  <a16:creationId xmlns:a16="http://schemas.microsoft.com/office/drawing/2014/main" id="{019931D9-77E9-47B5-6150-E49A60A91734}"/>
                </a:ext>
              </a:extLst>
            </p:cNvPr>
            <p:cNvSpPr/>
            <p:nvPr/>
          </p:nvSpPr>
          <p:spPr>
            <a:xfrm>
              <a:off x="13888174" y="3709192"/>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223" name="Freeform: Shape 222">
              <a:extLst>
                <a:ext uri="{FF2B5EF4-FFF2-40B4-BE49-F238E27FC236}">
                  <a16:creationId xmlns:a16="http://schemas.microsoft.com/office/drawing/2014/main" id="{097E870D-DCE0-8408-6905-0EA0EE02F8E4}"/>
                </a:ext>
              </a:extLst>
            </p:cNvPr>
            <p:cNvSpPr/>
            <p:nvPr/>
          </p:nvSpPr>
          <p:spPr>
            <a:xfrm>
              <a:off x="15628536" y="3709219"/>
              <a:ext cx="435077" cy="435077"/>
            </a:xfrm>
            <a:custGeom>
              <a:avLst/>
              <a:gdLst>
                <a:gd name="connsiteX0" fmla="*/ 217567 w 435077"/>
                <a:gd name="connsiteY0" fmla="*/ 0 h 435077"/>
                <a:gd name="connsiteX1" fmla="*/ 217539 w 435077"/>
                <a:gd name="connsiteY1" fmla="*/ 0 h 435077"/>
                <a:gd name="connsiteX2" fmla="*/ 28 w 435077"/>
                <a:gd name="connsiteY2" fmla="*/ 0 h 435077"/>
                <a:gd name="connsiteX3" fmla="*/ 28 w 435077"/>
                <a:gd name="connsiteY3" fmla="*/ 217539 h 435077"/>
                <a:gd name="connsiteX4" fmla="*/ 217567 w 435077"/>
                <a:gd name="connsiteY4" fmla="*/ 0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67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67" y="0"/>
                  </a:moveTo>
                  <a:lnTo>
                    <a:pt x="217539" y="0"/>
                  </a:lnTo>
                  <a:lnTo>
                    <a:pt x="28" y="0"/>
                  </a:lnTo>
                  <a:lnTo>
                    <a:pt x="28" y="217539"/>
                  </a:lnTo>
                  <a:lnTo>
                    <a:pt x="217567" y="0"/>
                  </a:lnTo>
                  <a:lnTo>
                    <a:pt x="435077" y="217539"/>
                  </a:lnTo>
                  <a:lnTo>
                    <a:pt x="217539" y="435077"/>
                  </a:lnTo>
                  <a:lnTo>
                    <a:pt x="0" y="217539"/>
                  </a:lnTo>
                  <a:lnTo>
                    <a:pt x="0" y="435077"/>
                  </a:lnTo>
                  <a:lnTo>
                    <a:pt x="217539" y="435077"/>
                  </a:lnTo>
                  <a:lnTo>
                    <a:pt x="435077" y="435077"/>
                  </a:lnTo>
                  <a:lnTo>
                    <a:pt x="435077" y="217539"/>
                  </a:lnTo>
                  <a:lnTo>
                    <a:pt x="435077" y="0"/>
                  </a:lnTo>
                  <a:lnTo>
                    <a:pt x="217567" y="0"/>
                  </a:lnTo>
                  <a:close/>
                </a:path>
              </a:pathLst>
            </a:custGeom>
            <a:grpFill/>
            <a:ln w="27192" cap="flat">
              <a:noFill/>
              <a:prstDash val="solid"/>
              <a:miter/>
            </a:ln>
          </p:spPr>
          <p:txBody>
            <a:bodyPr rtlCol="0" anchor="ctr"/>
            <a:lstStyle/>
            <a:p>
              <a:endParaRPr lang="uk-UA" sz="900"/>
            </a:p>
          </p:txBody>
        </p:sp>
        <p:sp>
          <p:nvSpPr>
            <p:cNvPr id="224" name="Freeform: Shape 223">
              <a:extLst>
                <a:ext uri="{FF2B5EF4-FFF2-40B4-BE49-F238E27FC236}">
                  <a16:creationId xmlns:a16="http://schemas.microsoft.com/office/drawing/2014/main" id="{7B8C3A8F-3DDA-67C6-0176-C9F2AD4D96ED}"/>
                </a:ext>
              </a:extLst>
            </p:cNvPr>
            <p:cNvSpPr/>
            <p:nvPr/>
          </p:nvSpPr>
          <p:spPr>
            <a:xfrm>
              <a:off x="16498719" y="3709219"/>
              <a:ext cx="435077" cy="435077"/>
            </a:xfrm>
            <a:custGeom>
              <a:avLst/>
              <a:gdLst>
                <a:gd name="connsiteX0" fmla="*/ 371339 w 435077"/>
                <a:gd name="connsiteY0" fmla="*/ 63712 h 435077"/>
                <a:gd name="connsiteX1" fmla="*/ 435077 w 435077"/>
                <a:gd name="connsiteY1" fmla="*/ 217539 h 435077"/>
                <a:gd name="connsiteX2" fmla="*/ 218925 w 435077"/>
                <a:gd name="connsiteY2" fmla="*/ 217539 h 435077"/>
                <a:gd name="connsiteX3" fmla="*/ 371365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0 w 435077"/>
                <a:gd name="connsiteY7" fmla="*/ 281250 h 435077"/>
                <a:gd name="connsiteX8" fmla="*/ 216125 w 435077"/>
                <a:gd name="connsiteY8" fmla="*/ 217539 h 435077"/>
                <a:gd name="connsiteX9" fmla="*/ 0 w 435077"/>
                <a:gd name="connsiteY9" fmla="*/ 217539 h 435077"/>
                <a:gd name="connsiteX10" fmla="*/ 63710 w 435077"/>
                <a:gd name="connsiteY10" fmla="*/ 63712 h 435077"/>
                <a:gd name="connsiteX11" fmla="*/ 217539 w 435077"/>
                <a:gd name="connsiteY11" fmla="*/ 0 h 435077"/>
                <a:gd name="connsiteX12" fmla="*/ 371339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12"/>
                  </a:moveTo>
                  <a:cubicBezTo>
                    <a:pt x="412154" y="104500"/>
                    <a:pt x="435077" y="159837"/>
                    <a:pt x="435077" y="217539"/>
                  </a:cubicBezTo>
                  <a:lnTo>
                    <a:pt x="218925" y="217539"/>
                  </a:lnTo>
                  <a:cubicBezTo>
                    <a:pt x="276111" y="217892"/>
                    <a:pt x="330876" y="240788"/>
                    <a:pt x="371365" y="281250"/>
                  </a:cubicBezTo>
                  <a:cubicBezTo>
                    <a:pt x="412154" y="322039"/>
                    <a:pt x="435077" y="377375"/>
                    <a:pt x="435077" y="435077"/>
                  </a:cubicBezTo>
                  <a:lnTo>
                    <a:pt x="217539" y="435077"/>
                  </a:lnTo>
                  <a:lnTo>
                    <a:pt x="0" y="435077"/>
                  </a:lnTo>
                  <a:cubicBezTo>
                    <a:pt x="0" y="377375"/>
                    <a:pt x="22922" y="322039"/>
                    <a:pt x="63710" y="281250"/>
                  </a:cubicBezTo>
                  <a:cubicBezTo>
                    <a:pt x="104174" y="240788"/>
                    <a:pt x="158938" y="217892"/>
                    <a:pt x="216125" y="217539"/>
                  </a:cubicBezTo>
                  <a:lnTo>
                    <a:pt x="0" y="217539"/>
                  </a:lnTo>
                  <a:cubicBezTo>
                    <a:pt x="0" y="159837"/>
                    <a:pt x="22895" y="104500"/>
                    <a:pt x="63710" y="63712"/>
                  </a:cubicBezTo>
                  <a:cubicBezTo>
                    <a:pt x="104499" y="22923"/>
                    <a:pt x="159836" y="0"/>
                    <a:pt x="217539" y="0"/>
                  </a:cubicBezTo>
                  <a:cubicBezTo>
                    <a:pt x="275213" y="0"/>
                    <a:pt x="330550" y="22923"/>
                    <a:pt x="371339" y="63712"/>
                  </a:cubicBezTo>
                  <a:close/>
                </a:path>
              </a:pathLst>
            </a:custGeom>
            <a:grpFill/>
            <a:ln w="27192" cap="flat">
              <a:noFill/>
              <a:prstDash val="solid"/>
              <a:miter/>
            </a:ln>
          </p:spPr>
          <p:txBody>
            <a:bodyPr rtlCol="0" anchor="ctr"/>
            <a:lstStyle/>
            <a:p>
              <a:endParaRPr lang="uk-UA" sz="900"/>
            </a:p>
          </p:txBody>
        </p:sp>
        <p:sp>
          <p:nvSpPr>
            <p:cNvPr id="225" name="Freeform: Shape 224">
              <a:extLst>
                <a:ext uri="{FF2B5EF4-FFF2-40B4-BE49-F238E27FC236}">
                  <a16:creationId xmlns:a16="http://schemas.microsoft.com/office/drawing/2014/main" id="{0D151BC7-16C0-F6D8-D352-4FD7F3EF83D1}"/>
                </a:ext>
              </a:extLst>
            </p:cNvPr>
            <p:cNvSpPr/>
            <p:nvPr/>
          </p:nvSpPr>
          <p:spPr>
            <a:xfrm>
              <a:off x="18239029" y="3709219"/>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65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65"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226" name="Freeform: Shape 225">
              <a:extLst>
                <a:ext uri="{FF2B5EF4-FFF2-40B4-BE49-F238E27FC236}">
                  <a16:creationId xmlns:a16="http://schemas.microsoft.com/office/drawing/2014/main" id="{1FD54BFD-55B5-2433-E021-849D403E2C2D}"/>
                </a:ext>
              </a:extLst>
            </p:cNvPr>
            <p:cNvSpPr/>
            <p:nvPr/>
          </p:nvSpPr>
          <p:spPr>
            <a:xfrm>
              <a:off x="17368874" y="370921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227" name="Freeform: Shape 226">
              <a:extLst>
                <a:ext uri="{FF2B5EF4-FFF2-40B4-BE49-F238E27FC236}">
                  <a16:creationId xmlns:a16="http://schemas.microsoft.com/office/drawing/2014/main" id="{7955E061-21E9-67C8-243B-E75F94F4C840}"/>
                </a:ext>
              </a:extLst>
            </p:cNvPr>
            <p:cNvSpPr/>
            <p:nvPr/>
          </p:nvSpPr>
          <p:spPr>
            <a:xfrm>
              <a:off x="19109210" y="370921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228" name="Freeform: Shape 227">
              <a:extLst>
                <a:ext uri="{FF2B5EF4-FFF2-40B4-BE49-F238E27FC236}">
                  <a16:creationId xmlns:a16="http://schemas.microsoft.com/office/drawing/2014/main" id="{EE82D4BC-730C-451A-5E36-238F4451832B}"/>
                </a:ext>
              </a:extLst>
            </p:cNvPr>
            <p:cNvSpPr/>
            <p:nvPr/>
          </p:nvSpPr>
          <p:spPr>
            <a:xfrm>
              <a:off x="19979365" y="3709219"/>
              <a:ext cx="435077" cy="435077"/>
            </a:xfrm>
            <a:custGeom>
              <a:avLst/>
              <a:gdLst>
                <a:gd name="connsiteX0" fmla="*/ 371365 w 435077"/>
                <a:gd name="connsiteY0" fmla="*/ 63712 h 435077"/>
                <a:gd name="connsiteX1" fmla="*/ 435077 w 435077"/>
                <a:gd name="connsiteY1" fmla="*/ 217539 h 435077"/>
                <a:gd name="connsiteX2" fmla="*/ 218953 w 435077"/>
                <a:gd name="connsiteY2" fmla="*/ 217539 h 435077"/>
                <a:gd name="connsiteX3" fmla="*/ 371365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25 w 435077"/>
                <a:gd name="connsiteY8" fmla="*/ 217539 h 435077"/>
                <a:gd name="connsiteX9" fmla="*/ 0 w 435077"/>
                <a:gd name="connsiteY9" fmla="*/ 217539 h 435077"/>
                <a:gd name="connsiteX10" fmla="*/ 63712 w 435077"/>
                <a:gd name="connsiteY10" fmla="*/ 63712 h 435077"/>
                <a:gd name="connsiteX11" fmla="*/ 217539 w 435077"/>
                <a:gd name="connsiteY11" fmla="*/ 0 h 435077"/>
                <a:gd name="connsiteX12" fmla="*/ 371365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12"/>
                  </a:moveTo>
                  <a:cubicBezTo>
                    <a:pt x="412154" y="104500"/>
                    <a:pt x="435077" y="159837"/>
                    <a:pt x="435077" y="217539"/>
                  </a:cubicBezTo>
                  <a:lnTo>
                    <a:pt x="218953" y="217539"/>
                  </a:lnTo>
                  <a:cubicBezTo>
                    <a:pt x="276139" y="217892"/>
                    <a:pt x="330904" y="240788"/>
                    <a:pt x="371365" y="281250"/>
                  </a:cubicBezTo>
                  <a:cubicBezTo>
                    <a:pt x="412154" y="322039"/>
                    <a:pt x="435077" y="377375"/>
                    <a:pt x="435077" y="435077"/>
                  </a:cubicBezTo>
                  <a:lnTo>
                    <a:pt x="217539" y="435077"/>
                  </a:lnTo>
                  <a:lnTo>
                    <a:pt x="0" y="435077"/>
                  </a:lnTo>
                  <a:cubicBezTo>
                    <a:pt x="0" y="377375"/>
                    <a:pt x="22924" y="322039"/>
                    <a:pt x="63712" y="281250"/>
                  </a:cubicBezTo>
                  <a:cubicBezTo>
                    <a:pt x="104174" y="240788"/>
                    <a:pt x="158940" y="217892"/>
                    <a:pt x="216125" y="217539"/>
                  </a:cubicBezTo>
                  <a:lnTo>
                    <a:pt x="0" y="217539"/>
                  </a:lnTo>
                  <a:cubicBezTo>
                    <a:pt x="0" y="159837"/>
                    <a:pt x="22924" y="104500"/>
                    <a:pt x="63712" y="63712"/>
                  </a:cubicBezTo>
                  <a:cubicBezTo>
                    <a:pt x="104501" y="22923"/>
                    <a:pt x="159836" y="0"/>
                    <a:pt x="217539" y="0"/>
                  </a:cubicBezTo>
                  <a:cubicBezTo>
                    <a:pt x="275241" y="0"/>
                    <a:pt x="330550" y="22923"/>
                    <a:pt x="371365" y="63712"/>
                  </a:cubicBezTo>
                  <a:close/>
                </a:path>
              </a:pathLst>
            </a:custGeom>
            <a:grpFill/>
            <a:ln w="27192" cap="flat">
              <a:noFill/>
              <a:prstDash val="solid"/>
              <a:miter/>
            </a:ln>
          </p:spPr>
          <p:txBody>
            <a:bodyPr rtlCol="0" anchor="ctr"/>
            <a:lstStyle/>
            <a:p>
              <a:endParaRPr lang="uk-UA" sz="900"/>
            </a:p>
          </p:txBody>
        </p:sp>
        <p:sp>
          <p:nvSpPr>
            <p:cNvPr id="229" name="Freeform: Shape 228">
              <a:extLst>
                <a:ext uri="{FF2B5EF4-FFF2-40B4-BE49-F238E27FC236}">
                  <a16:creationId xmlns:a16="http://schemas.microsoft.com/office/drawing/2014/main" id="{D0CBDDFB-D0D0-8415-C423-97A7967B07C4}"/>
                </a:ext>
              </a:extLst>
            </p:cNvPr>
            <p:cNvSpPr/>
            <p:nvPr/>
          </p:nvSpPr>
          <p:spPr>
            <a:xfrm>
              <a:off x="21719702" y="3709219"/>
              <a:ext cx="435077" cy="435077"/>
            </a:xfrm>
            <a:custGeom>
              <a:avLst/>
              <a:gdLst>
                <a:gd name="connsiteX0" fmla="*/ 0 w 435077"/>
                <a:gd name="connsiteY0" fmla="*/ 435077 h 435077"/>
                <a:gd name="connsiteX1" fmla="*/ 217512 w 435077"/>
                <a:gd name="connsiteY1" fmla="*/ 435077 h 435077"/>
                <a:gd name="connsiteX2" fmla="*/ 217512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12" y="435077"/>
                  </a:lnTo>
                  <a:lnTo>
                    <a:pt x="217512"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230" name="Freeform: Shape 229">
              <a:extLst>
                <a:ext uri="{FF2B5EF4-FFF2-40B4-BE49-F238E27FC236}">
                  <a16:creationId xmlns:a16="http://schemas.microsoft.com/office/drawing/2014/main" id="{2EAA51A9-B2D9-D3EC-2EAC-E3387D829F92}"/>
                </a:ext>
              </a:extLst>
            </p:cNvPr>
            <p:cNvSpPr/>
            <p:nvPr/>
          </p:nvSpPr>
          <p:spPr>
            <a:xfrm>
              <a:off x="20849520" y="370921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231" name="Freeform: Shape 230">
              <a:extLst>
                <a:ext uri="{FF2B5EF4-FFF2-40B4-BE49-F238E27FC236}">
                  <a16:creationId xmlns:a16="http://schemas.microsoft.com/office/drawing/2014/main" id="{CE465BAD-395F-F36B-A6DA-23029C446684}"/>
                </a:ext>
              </a:extLst>
            </p:cNvPr>
            <p:cNvSpPr/>
            <p:nvPr/>
          </p:nvSpPr>
          <p:spPr>
            <a:xfrm>
              <a:off x="22589856" y="370921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232" name="Freeform: Shape 231">
              <a:extLst>
                <a:ext uri="{FF2B5EF4-FFF2-40B4-BE49-F238E27FC236}">
                  <a16:creationId xmlns:a16="http://schemas.microsoft.com/office/drawing/2014/main" id="{850819AE-7146-B1CF-8FDD-88550F279E1E}"/>
                </a:ext>
              </a:extLst>
            </p:cNvPr>
            <p:cNvSpPr/>
            <p:nvPr/>
          </p:nvSpPr>
          <p:spPr>
            <a:xfrm>
              <a:off x="23460039" y="3709219"/>
              <a:ext cx="435077" cy="435077"/>
            </a:xfrm>
            <a:custGeom>
              <a:avLst/>
              <a:gdLst>
                <a:gd name="connsiteX0" fmla="*/ 371339 w 435077"/>
                <a:gd name="connsiteY0" fmla="*/ 63712 h 435077"/>
                <a:gd name="connsiteX1" fmla="*/ 435077 w 435077"/>
                <a:gd name="connsiteY1" fmla="*/ 217539 h 435077"/>
                <a:gd name="connsiteX2" fmla="*/ 218925 w 435077"/>
                <a:gd name="connsiteY2" fmla="*/ 217539 h 435077"/>
                <a:gd name="connsiteX3" fmla="*/ 371339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25 w 435077"/>
                <a:gd name="connsiteY8" fmla="*/ 217539 h 435077"/>
                <a:gd name="connsiteX9" fmla="*/ 0 w 435077"/>
                <a:gd name="connsiteY9" fmla="*/ 217539 h 435077"/>
                <a:gd name="connsiteX10" fmla="*/ 63712 w 435077"/>
                <a:gd name="connsiteY10" fmla="*/ 63712 h 435077"/>
                <a:gd name="connsiteX11" fmla="*/ 217539 w 435077"/>
                <a:gd name="connsiteY11" fmla="*/ 0 h 435077"/>
                <a:gd name="connsiteX12" fmla="*/ 371339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12"/>
                  </a:moveTo>
                  <a:cubicBezTo>
                    <a:pt x="412154" y="104500"/>
                    <a:pt x="435077" y="159837"/>
                    <a:pt x="435077" y="217539"/>
                  </a:cubicBezTo>
                  <a:lnTo>
                    <a:pt x="218925" y="217539"/>
                  </a:lnTo>
                  <a:cubicBezTo>
                    <a:pt x="276111" y="217892"/>
                    <a:pt x="330876" y="240788"/>
                    <a:pt x="371339" y="281250"/>
                  </a:cubicBezTo>
                  <a:cubicBezTo>
                    <a:pt x="412154" y="322039"/>
                    <a:pt x="435077" y="377375"/>
                    <a:pt x="435077" y="435077"/>
                  </a:cubicBezTo>
                  <a:lnTo>
                    <a:pt x="217539" y="435077"/>
                  </a:lnTo>
                  <a:lnTo>
                    <a:pt x="0" y="435077"/>
                  </a:lnTo>
                  <a:cubicBezTo>
                    <a:pt x="0" y="377375"/>
                    <a:pt x="22895" y="322039"/>
                    <a:pt x="63712" y="281250"/>
                  </a:cubicBezTo>
                  <a:cubicBezTo>
                    <a:pt x="104174" y="240788"/>
                    <a:pt x="158938" y="217892"/>
                    <a:pt x="216125" y="217539"/>
                  </a:cubicBezTo>
                  <a:lnTo>
                    <a:pt x="0" y="217539"/>
                  </a:lnTo>
                  <a:cubicBezTo>
                    <a:pt x="0" y="159837"/>
                    <a:pt x="22895" y="104500"/>
                    <a:pt x="63712" y="63712"/>
                  </a:cubicBezTo>
                  <a:cubicBezTo>
                    <a:pt x="104501" y="22923"/>
                    <a:pt x="159836" y="0"/>
                    <a:pt x="217539" y="0"/>
                  </a:cubicBezTo>
                  <a:cubicBezTo>
                    <a:pt x="275213" y="0"/>
                    <a:pt x="330550" y="22923"/>
                    <a:pt x="371339" y="63712"/>
                  </a:cubicBezTo>
                  <a:close/>
                </a:path>
              </a:pathLst>
            </a:custGeom>
            <a:grpFill/>
            <a:ln w="27192" cap="flat">
              <a:noFill/>
              <a:prstDash val="solid"/>
              <a:miter/>
            </a:ln>
          </p:spPr>
          <p:txBody>
            <a:bodyPr rtlCol="0" anchor="ctr"/>
            <a:lstStyle/>
            <a:p>
              <a:endParaRPr lang="uk-UA" sz="900"/>
            </a:p>
          </p:txBody>
        </p:sp>
        <p:sp>
          <p:nvSpPr>
            <p:cNvPr id="233" name="Freeform: Shape 232">
              <a:extLst>
                <a:ext uri="{FF2B5EF4-FFF2-40B4-BE49-F238E27FC236}">
                  <a16:creationId xmlns:a16="http://schemas.microsoft.com/office/drawing/2014/main" id="{1ED798F2-4BC2-5969-5A70-7852B59D3246}"/>
                </a:ext>
              </a:extLst>
            </p:cNvPr>
            <p:cNvSpPr/>
            <p:nvPr/>
          </p:nvSpPr>
          <p:spPr>
            <a:xfrm>
              <a:off x="24330194" y="370921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234" name="Freeform: Shape 233">
              <a:extLst>
                <a:ext uri="{FF2B5EF4-FFF2-40B4-BE49-F238E27FC236}">
                  <a16:creationId xmlns:a16="http://schemas.microsoft.com/office/drawing/2014/main" id="{265DC971-15DC-A2CB-ABD4-609BAB0AF871}"/>
                </a:ext>
              </a:extLst>
            </p:cNvPr>
            <p:cNvSpPr/>
            <p:nvPr/>
          </p:nvSpPr>
          <p:spPr>
            <a:xfrm>
              <a:off x="835769" y="4579374"/>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35" name="Freeform: Shape 234">
              <a:extLst>
                <a:ext uri="{FF2B5EF4-FFF2-40B4-BE49-F238E27FC236}">
                  <a16:creationId xmlns:a16="http://schemas.microsoft.com/office/drawing/2014/main" id="{F3CD227B-9495-F5C8-D529-FFC770D5C8C9}"/>
                </a:ext>
              </a:extLst>
            </p:cNvPr>
            <p:cNvSpPr/>
            <p:nvPr/>
          </p:nvSpPr>
          <p:spPr>
            <a:xfrm>
              <a:off x="-34398" y="4579374"/>
              <a:ext cx="435063" cy="435077"/>
            </a:xfrm>
            <a:custGeom>
              <a:avLst/>
              <a:gdLst>
                <a:gd name="connsiteX0" fmla="*/ 435064 w 435063"/>
                <a:gd name="connsiteY0" fmla="*/ 435077 h 435077"/>
                <a:gd name="connsiteX1" fmla="*/ 435064 w 435063"/>
                <a:gd name="connsiteY1" fmla="*/ 217539 h 435077"/>
                <a:gd name="connsiteX2" fmla="*/ 435064 w 435063"/>
                <a:gd name="connsiteY2" fmla="*/ 27 h 435077"/>
                <a:gd name="connsiteX3" fmla="*/ 217552 w 435063"/>
                <a:gd name="connsiteY3" fmla="*/ 27 h 435077"/>
                <a:gd name="connsiteX4" fmla="*/ 435064 w 435063"/>
                <a:gd name="connsiteY4" fmla="*/ 217539 h 435077"/>
                <a:gd name="connsiteX5" fmla="*/ 217552 w 435063"/>
                <a:gd name="connsiteY5" fmla="*/ 435077 h 435077"/>
                <a:gd name="connsiteX6" fmla="*/ 435064 w 435063"/>
                <a:gd name="connsiteY6" fmla="*/ 435077 h 435077"/>
                <a:gd name="connsiteX7" fmla="*/ 0 w 435063"/>
                <a:gd name="connsiteY7" fmla="*/ 217539 h 435077"/>
                <a:gd name="connsiteX8" fmla="*/ 0 w 435063"/>
                <a:gd name="connsiteY8" fmla="*/ 0 h 435077"/>
                <a:gd name="connsiteX9" fmla="*/ 217525 w 435063"/>
                <a:gd name="connsiteY9" fmla="*/ 217539 h 435077"/>
                <a:gd name="connsiteX10" fmla="*/ 0 w 435063"/>
                <a:gd name="connsiteY10" fmla="*/ 217539 h 435077"/>
                <a:gd name="connsiteX11" fmla="*/ 0 w 435063"/>
                <a:gd name="connsiteY11" fmla="*/ 435077 h 435077"/>
                <a:gd name="connsiteX12" fmla="*/ 0 w 435063"/>
                <a:gd name="connsiteY12" fmla="*/ 217539 h 435077"/>
                <a:gd name="connsiteX13" fmla="*/ 217525 w 435063"/>
                <a:gd name="connsiteY13" fmla="*/ 217539 h 435077"/>
                <a:gd name="connsiteX14" fmla="*/ 0 w 435063"/>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63" h="435077">
                  <a:moveTo>
                    <a:pt x="435064" y="435077"/>
                  </a:moveTo>
                  <a:lnTo>
                    <a:pt x="435064" y="217539"/>
                  </a:lnTo>
                  <a:lnTo>
                    <a:pt x="435064" y="27"/>
                  </a:lnTo>
                  <a:lnTo>
                    <a:pt x="217552" y="27"/>
                  </a:lnTo>
                  <a:lnTo>
                    <a:pt x="435064" y="217539"/>
                  </a:lnTo>
                  <a:lnTo>
                    <a:pt x="217552" y="435077"/>
                  </a:lnTo>
                  <a:lnTo>
                    <a:pt x="435064" y="435077"/>
                  </a:lnTo>
                  <a:close/>
                  <a:moveTo>
                    <a:pt x="0" y="217539"/>
                  </a:moveTo>
                  <a:lnTo>
                    <a:pt x="0" y="0"/>
                  </a:lnTo>
                  <a:lnTo>
                    <a:pt x="217525" y="217539"/>
                  </a:lnTo>
                  <a:lnTo>
                    <a:pt x="0" y="217539"/>
                  </a:lnTo>
                  <a:close/>
                  <a:moveTo>
                    <a:pt x="0" y="435077"/>
                  </a:moveTo>
                  <a:lnTo>
                    <a:pt x="0" y="217539"/>
                  </a:lnTo>
                  <a:lnTo>
                    <a:pt x="217525" y="217539"/>
                  </a:lnTo>
                  <a:lnTo>
                    <a:pt x="0" y="435077"/>
                  </a:lnTo>
                  <a:close/>
                </a:path>
              </a:pathLst>
            </a:custGeom>
            <a:grpFill/>
            <a:ln w="27192" cap="flat">
              <a:noFill/>
              <a:prstDash val="solid"/>
              <a:miter/>
            </a:ln>
          </p:spPr>
          <p:txBody>
            <a:bodyPr rtlCol="0" anchor="ctr"/>
            <a:lstStyle/>
            <a:p>
              <a:endParaRPr lang="uk-UA" sz="900"/>
            </a:p>
          </p:txBody>
        </p:sp>
        <p:sp>
          <p:nvSpPr>
            <p:cNvPr id="236" name="Freeform: Shape 235">
              <a:extLst>
                <a:ext uri="{FF2B5EF4-FFF2-40B4-BE49-F238E27FC236}">
                  <a16:creationId xmlns:a16="http://schemas.microsoft.com/office/drawing/2014/main" id="{3758DF89-865A-2E11-5A7C-F586D997C031}"/>
                </a:ext>
              </a:extLst>
            </p:cNvPr>
            <p:cNvSpPr/>
            <p:nvPr/>
          </p:nvSpPr>
          <p:spPr>
            <a:xfrm>
              <a:off x="1705924" y="4579374"/>
              <a:ext cx="435077" cy="435077"/>
            </a:xfrm>
            <a:custGeom>
              <a:avLst/>
              <a:gdLst>
                <a:gd name="connsiteX0" fmla="*/ 435077 w 435077"/>
                <a:gd name="connsiteY0" fmla="*/ 435077 h 435077"/>
                <a:gd name="connsiteX1" fmla="*/ 435077 w 435077"/>
                <a:gd name="connsiteY1" fmla="*/ 0 h 435077"/>
                <a:gd name="connsiteX2" fmla="*/ 217566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6"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37" name="Freeform: Shape 236">
              <a:extLst>
                <a:ext uri="{FF2B5EF4-FFF2-40B4-BE49-F238E27FC236}">
                  <a16:creationId xmlns:a16="http://schemas.microsoft.com/office/drawing/2014/main" id="{59FDDD8B-C4A2-DE49-80BA-2E8093A103C9}"/>
                </a:ext>
              </a:extLst>
            </p:cNvPr>
            <p:cNvSpPr/>
            <p:nvPr/>
          </p:nvSpPr>
          <p:spPr>
            <a:xfrm>
              <a:off x="2576106" y="457937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3" y="113038"/>
                    <a:pt x="0" y="57702"/>
                    <a:pt x="0" y="0"/>
                  </a:cubicBezTo>
                  <a:lnTo>
                    <a:pt x="217539" y="0"/>
                  </a:lnTo>
                  <a:lnTo>
                    <a:pt x="435077" y="0"/>
                  </a:lnTo>
                  <a:cubicBezTo>
                    <a:pt x="435077" y="57702"/>
                    <a:pt x="412154" y="113038"/>
                    <a:pt x="371366" y="153827"/>
                  </a:cubicBezTo>
                  <a:cubicBezTo>
                    <a:pt x="330550" y="194616"/>
                    <a:pt x="275214" y="217539"/>
                    <a:pt x="217539" y="217539"/>
                  </a:cubicBezTo>
                  <a:cubicBezTo>
                    <a:pt x="159837" y="217539"/>
                    <a:pt x="104500" y="194616"/>
                    <a:pt x="63712" y="153827"/>
                  </a:cubicBezTo>
                  <a:close/>
                  <a:moveTo>
                    <a:pt x="63712" y="281250"/>
                  </a:moveTo>
                  <a:cubicBezTo>
                    <a:pt x="22923" y="322066"/>
                    <a:pt x="0" y="377375"/>
                    <a:pt x="0" y="435077"/>
                  </a:cubicBezTo>
                  <a:lnTo>
                    <a:pt x="217539" y="435077"/>
                  </a:lnTo>
                  <a:lnTo>
                    <a:pt x="435077" y="435077"/>
                  </a:lnTo>
                  <a:cubicBezTo>
                    <a:pt x="435077" y="377375"/>
                    <a:pt x="412154" y="322066"/>
                    <a:pt x="371366" y="281250"/>
                  </a:cubicBezTo>
                  <a:cubicBezTo>
                    <a:pt x="330550" y="240462"/>
                    <a:pt x="275214" y="217539"/>
                    <a:pt x="217539" y="217539"/>
                  </a:cubicBezTo>
                  <a:cubicBezTo>
                    <a:pt x="159837" y="217539"/>
                    <a:pt x="104500" y="240462"/>
                    <a:pt x="63712" y="281250"/>
                  </a:cubicBezTo>
                  <a:close/>
                </a:path>
              </a:pathLst>
            </a:custGeom>
            <a:grpFill/>
            <a:ln w="27192" cap="flat">
              <a:noFill/>
              <a:prstDash val="solid"/>
              <a:miter/>
            </a:ln>
          </p:spPr>
          <p:txBody>
            <a:bodyPr rtlCol="0" anchor="ctr"/>
            <a:lstStyle/>
            <a:p>
              <a:endParaRPr lang="uk-UA" sz="900"/>
            </a:p>
          </p:txBody>
        </p:sp>
        <p:sp>
          <p:nvSpPr>
            <p:cNvPr id="238" name="Freeform: Shape 237">
              <a:extLst>
                <a:ext uri="{FF2B5EF4-FFF2-40B4-BE49-F238E27FC236}">
                  <a16:creationId xmlns:a16="http://schemas.microsoft.com/office/drawing/2014/main" id="{4C049AAF-997A-A00F-442C-8A94E69AF996}"/>
                </a:ext>
              </a:extLst>
            </p:cNvPr>
            <p:cNvSpPr/>
            <p:nvPr/>
          </p:nvSpPr>
          <p:spPr>
            <a:xfrm>
              <a:off x="4316416" y="4579374"/>
              <a:ext cx="435077" cy="435077"/>
            </a:xfrm>
            <a:custGeom>
              <a:avLst/>
              <a:gdLst>
                <a:gd name="connsiteX0" fmla="*/ 217565 w 435077"/>
                <a:gd name="connsiteY0" fmla="*/ 435077 h 435077"/>
                <a:gd name="connsiteX1" fmla="*/ 217565 w 435077"/>
                <a:gd name="connsiteY1" fmla="*/ 0 h 435077"/>
                <a:gd name="connsiteX2" fmla="*/ 435077 w 435077"/>
                <a:gd name="connsiteY2" fmla="*/ 217539 h 435077"/>
                <a:gd name="connsiteX3" fmla="*/ 217565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65" y="435077"/>
                  </a:moveTo>
                  <a:lnTo>
                    <a:pt x="217565" y="0"/>
                  </a:lnTo>
                  <a:lnTo>
                    <a:pt x="435077" y="217539"/>
                  </a:lnTo>
                  <a:lnTo>
                    <a:pt x="217565"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39" name="Freeform: Shape 238">
              <a:extLst>
                <a:ext uri="{FF2B5EF4-FFF2-40B4-BE49-F238E27FC236}">
                  <a16:creationId xmlns:a16="http://schemas.microsoft.com/office/drawing/2014/main" id="{41FE1D9A-DA28-3A88-D6E2-E198AAFAE346}"/>
                </a:ext>
              </a:extLst>
            </p:cNvPr>
            <p:cNvSpPr/>
            <p:nvPr/>
          </p:nvSpPr>
          <p:spPr>
            <a:xfrm>
              <a:off x="3446261" y="4579374"/>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6 w 435077"/>
                <a:gd name="connsiteY3" fmla="*/ 27 h 435077"/>
                <a:gd name="connsiteX4" fmla="*/ 435077 w 435077"/>
                <a:gd name="connsiteY4" fmla="*/ 217539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6" y="27"/>
                  </a:lnTo>
                  <a:lnTo>
                    <a:pt x="435077" y="217539"/>
                  </a:lnTo>
                  <a:lnTo>
                    <a:pt x="217566"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40" name="Freeform: Shape 239">
              <a:extLst>
                <a:ext uri="{FF2B5EF4-FFF2-40B4-BE49-F238E27FC236}">
                  <a16:creationId xmlns:a16="http://schemas.microsoft.com/office/drawing/2014/main" id="{C4EE162F-7571-B9FB-92B9-6D8CC697054B}"/>
                </a:ext>
              </a:extLst>
            </p:cNvPr>
            <p:cNvSpPr/>
            <p:nvPr/>
          </p:nvSpPr>
          <p:spPr>
            <a:xfrm>
              <a:off x="5186597" y="4579374"/>
              <a:ext cx="435077" cy="435077"/>
            </a:xfrm>
            <a:custGeom>
              <a:avLst/>
              <a:gdLst>
                <a:gd name="connsiteX0" fmla="*/ 435077 w 435077"/>
                <a:gd name="connsiteY0" fmla="*/ 435077 h 435077"/>
                <a:gd name="connsiteX1" fmla="*/ 435077 w 435077"/>
                <a:gd name="connsiteY1" fmla="*/ 0 h 435077"/>
                <a:gd name="connsiteX2" fmla="*/ 217566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6"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41" name="Freeform: Shape 240">
              <a:extLst>
                <a:ext uri="{FF2B5EF4-FFF2-40B4-BE49-F238E27FC236}">
                  <a16:creationId xmlns:a16="http://schemas.microsoft.com/office/drawing/2014/main" id="{4A7FEF9C-C092-9A63-A858-B80BD4859A1B}"/>
                </a:ext>
              </a:extLst>
            </p:cNvPr>
            <p:cNvSpPr/>
            <p:nvPr/>
          </p:nvSpPr>
          <p:spPr>
            <a:xfrm>
              <a:off x="6056752" y="457937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8"/>
                    <a:pt x="0" y="57702"/>
                    <a:pt x="0" y="0"/>
                  </a:cubicBezTo>
                  <a:lnTo>
                    <a:pt x="217539" y="0"/>
                  </a:lnTo>
                  <a:lnTo>
                    <a:pt x="435077" y="0"/>
                  </a:lnTo>
                  <a:cubicBezTo>
                    <a:pt x="435077" y="57702"/>
                    <a:pt x="412155" y="113038"/>
                    <a:pt x="371366" y="153827"/>
                  </a:cubicBezTo>
                  <a:cubicBezTo>
                    <a:pt x="330550" y="194616"/>
                    <a:pt x="275241" y="217539"/>
                    <a:pt x="217539" y="217539"/>
                  </a:cubicBezTo>
                  <a:cubicBezTo>
                    <a:pt x="159837" y="217539"/>
                    <a:pt x="104501" y="194616"/>
                    <a:pt x="63712" y="153827"/>
                  </a:cubicBezTo>
                  <a:close/>
                  <a:moveTo>
                    <a:pt x="63712" y="281250"/>
                  </a:moveTo>
                  <a:cubicBezTo>
                    <a:pt x="22924" y="322066"/>
                    <a:pt x="0" y="377375"/>
                    <a:pt x="0" y="435077"/>
                  </a:cubicBezTo>
                  <a:lnTo>
                    <a:pt x="217539" y="435077"/>
                  </a:lnTo>
                  <a:lnTo>
                    <a:pt x="435077" y="435077"/>
                  </a:lnTo>
                  <a:cubicBezTo>
                    <a:pt x="435077" y="377375"/>
                    <a:pt x="412155" y="322066"/>
                    <a:pt x="371366" y="281250"/>
                  </a:cubicBezTo>
                  <a:cubicBezTo>
                    <a:pt x="330550" y="240462"/>
                    <a:pt x="275241" y="217539"/>
                    <a:pt x="217539" y="217539"/>
                  </a:cubicBezTo>
                  <a:cubicBezTo>
                    <a:pt x="159837" y="217539"/>
                    <a:pt x="104501" y="240462"/>
                    <a:pt x="63712" y="281250"/>
                  </a:cubicBezTo>
                  <a:close/>
                </a:path>
              </a:pathLst>
            </a:custGeom>
            <a:grpFill/>
            <a:ln w="27192" cap="flat">
              <a:noFill/>
              <a:prstDash val="solid"/>
              <a:miter/>
            </a:ln>
          </p:spPr>
          <p:txBody>
            <a:bodyPr rtlCol="0" anchor="ctr"/>
            <a:lstStyle/>
            <a:p>
              <a:endParaRPr lang="uk-UA" sz="900"/>
            </a:p>
          </p:txBody>
        </p:sp>
        <p:sp>
          <p:nvSpPr>
            <p:cNvPr id="242" name="Freeform: Shape 241">
              <a:extLst>
                <a:ext uri="{FF2B5EF4-FFF2-40B4-BE49-F238E27FC236}">
                  <a16:creationId xmlns:a16="http://schemas.microsoft.com/office/drawing/2014/main" id="{C79CBC62-7E12-9CF8-F247-A565C4B9A17F}"/>
                </a:ext>
              </a:extLst>
            </p:cNvPr>
            <p:cNvSpPr/>
            <p:nvPr/>
          </p:nvSpPr>
          <p:spPr>
            <a:xfrm>
              <a:off x="7797062" y="4579374"/>
              <a:ext cx="435077" cy="435077"/>
            </a:xfrm>
            <a:custGeom>
              <a:avLst/>
              <a:gdLst>
                <a:gd name="connsiteX0" fmla="*/ 217566 w 435077"/>
                <a:gd name="connsiteY0" fmla="*/ 435077 h 435077"/>
                <a:gd name="connsiteX1" fmla="*/ 217566 w 435077"/>
                <a:gd name="connsiteY1" fmla="*/ 0 h 435077"/>
                <a:gd name="connsiteX2" fmla="*/ 435077 w 435077"/>
                <a:gd name="connsiteY2" fmla="*/ 217539 h 435077"/>
                <a:gd name="connsiteX3" fmla="*/ 217566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66" y="435077"/>
                  </a:moveTo>
                  <a:lnTo>
                    <a:pt x="217566" y="0"/>
                  </a:lnTo>
                  <a:lnTo>
                    <a:pt x="435077" y="217539"/>
                  </a:lnTo>
                  <a:lnTo>
                    <a:pt x="217566"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43" name="Freeform: Shape 242">
              <a:extLst>
                <a:ext uri="{FF2B5EF4-FFF2-40B4-BE49-F238E27FC236}">
                  <a16:creationId xmlns:a16="http://schemas.microsoft.com/office/drawing/2014/main" id="{E50079FB-1EBB-E8DC-2125-1E4EC2207DE4}"/>
                </a:ext>
              </a:extLst>
            </p:cNvPr>
            <p:cNvSpPr/>
            <p:nvPr/>
          </p:nvSpPr>
          <p:spPr>
            <a:xfrm>
              <a:off x="6926907" y="4579374"/>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6 w 435077"/>
                <a:gd name="connsiteY3" fmla="*/ 27 h 435077"/>
                <a:gd name="connsiteX4" fmla="*/ 435077 w 435077"/>
                <a:gd name="connsiteY4" fmla="*/ 217539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6" y="27"/>
                  </a:lnTo>
                  <a:lnTo>
                    <a:pt x="435077" y="217539"/>
                  </a:lnTo>
                  <a:lnTo>
                    <a:pt x="217566"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44" name="Freeform: Shape 243">
              <a:extLst>
                <a:ext uri="{FF2B5EF4-FFF2-40B4-BE49-F238E27FC236}">
                  <a16:creationId xmlns:a16="http://schemas.microsoft.com/office/drawing/2014/main" id="{B7BE8EFE-F261-6CBA-F6E6-DDC2B14B3A94}"/>
                </a:ext>
              </a:extLst>
            </p:cNvPr>
            <p:cNvSpPr/>
            <p:nvPr/>
          </p:nvSpPr>
          <p:spPr>
            <a:xfrm>
              <a:off x="8667217" y="4579374"/>
              <a:ext cx="435104" cy="435077"/>
            </a:xfrm>
            <a:custGeom>
              <a:avLst/>
              <a:gdLst>
                <a:gd name="connsiteX0" fmla="*/ 435105 w 435104"/>
                <a:gd name="connsiteY0" fmla="*/ 435077 h 435077"/>
                <a:gd name="connsiteX1" fmla="*/ 435105 w 435104"/>
                <a:gd name="connsiteY1" fmla="*/ 0 h 435077"/>
                <a:gd name="connsiteX2" fmla="*/ 217566 w 435104"/>
                <a:gd name="connsiteY2" fmla="*/ 217539 h 435077"/>
                <a:gd name="connsiteX3" fmla="*/ 435105 w 435104"/>
                <a:gd name="connsiteY3" fmla="*/ 435077 h 435077"/>
                <a:gd name="connsiteX4" fmla="*/ 0 w 435104"/>
                <a:gd name="connsiteY4" fmla="*/ 435077 h 435077"/>
                <a:gd name="connsiteX5" fmla="*/ 0 w 435104"/>
                <a:gd name="connsiteY5" fmla="*/ 0 h 435077"/>
                <a:gd name="connsiteX6" fmla="*/ 217539 w 435104"/>
                <a:gd name="connsiteY6" fmla="*/ 217539 h 435077"/>
                <a:gd name="connsiteX7" fmla="*/ 0 w 435104"/>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104" h="435077">
                  <a:moveTo>
                    <a:pt x="435105" y="435077"/>
                  </a:moveTo>
                  <a:lnTo>
                    <a:pt x="435105" y="0"/>
                  </a:lnTo>
                  <a:lnTo>
                    <a:pt x="217566" y="217539"/>
                  </a:lnTo>
                  <a:lnTo>
                    <a:pt x="435105"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45" name="Freeform: Shape 244">
              <a:extLst>
                <a:ext uri="{FF2B5EF4-FFF2-40B4-BE49-F238E27FC236}">
                  <a16:creationId xmlns:a16="http://schemas.microsoft.com/office/drawing/2014/main" id="{8610BAC8-7A53-3CFE-7DB5-AE20546B93A4}"/>
                </a:ext>
              </a:extLst>
            </p:cNvPr>
            <p:cNvSpPr/>
            <p:nvPr/>
          </p:nvSpPr>
          <p:spPr>
            <a:xfrm>
              <a:off x="9537399" y="4579374"/>
              <a:ext cx="435077" cy="435077"/>
            </a:xfrm>
            <a:custGeom>
              <a:avLst/>
              <a:gdLst>
                <a:gd name="connsiteX0" fmla="*/ 63711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1 w 435077"/>
                <a:gd name="connsiteY6" fmla="*/ 153827 h 435077"/>
                <a:gd name="connsiteX7" fmla="*/ 63711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1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1" y="153827"/>
                  </a:moveTo>
                  <a:cubicBezTo>
                    <a:pt x="22923" y="113038"/>
                    <a:pt x="0" y="57702"/>
                    <a:pt x="0" y="0"/>
                  </a:cubicBezTo>
                  <a:lnTo>
                    <a:pt x="217539" y="0"/>
                  </a:lnTo>
                  <a:lnTo>
                    <a:pt x="435077" y="0"/>
                  </a:lnTo>
                  <a:cubicBezTo>
                    <a:pt x="435077" y="57702"/>
                    <a:pt x="412155" y="113038"/>
                    <a:pt x="371366" y="153827"/>
                  </a:cubicBezTo>
                  <a:cubicBezTo>
                    <a:pt x="330550" y="194616"/>
                    <a:pt x="275214" y="217539"/>
                    <a:pt x="217539" y="217539"/>
                  </a:cubicBezTo>
                  <a:cubicBezTo>
                    <a:pt x="159836" y="217539"/>
                    <a:pt x="104500" y="194616"/>
                    <a:pt x="63711" y="153827"/>
                  </a:cubicBezTo>
                  <a:close/>
                  <a:moveTo>
                    <a:pt x="63711" y="281250"/>
                  </a:moveTo>
                  <a:cubicBezTo>
                    <a:pt x="22923" y="322066"/>
                    <a:pt x="0" y="377375"/>
                    <a:pt x="0" y="435077"/>
                  </a:cubicBezTo>
                  <a:lnTo>
                    <a:pt x="217539" y="435077"/>
                  </a:lnTo>
                  <a:lnTo>
                    <a:pt x="435077" y="435077"/>
                  </a:lnTo>
                  <a:cubicBezTo>
                    <a:pt x="435077" y="377375"/>
                    <a:pt x="412155" y="322066"/>
                    <a:pt x="371366" y="281250"/>
                  </a:cubicBezTo>
                  <a:cubicBezTo>
                    <a:pt x="330550" y="240462"/>
                    <a:pt x="275214" y="217539"/>
                    <a:pt x="217539" y="217539"/>
                  </a:cubicBezTo>
                  <a:cubicBezTo>
                    <a:pt x="159836" y="217539"/>
                    <a:pt x="104500" y="240462"/>
                    <a:pt x="63711" y="281250"/>
                  </a:cubicBezTo>
                  <a:close/>
                </a:path>
              </a:pathLst>
            </a:custGeom>
            <a:grpFill/>
            <a:ln w="27192" cap="flat">
              <a:noFill/>
              <a:prstDash val="solid"/>
              <a:miter/>
            </a:ln>
          </p:spPr>
          <p:txBody>
            <a:bodyPr rtlCol="0" anchor="ctr"/>
            <a:lstStyle/>
            <a:p>
              <a:endParaRPr lang="uk-UA" sz="900"/>
            </a:p>
          </p:txBody>
        </p:sp>
        <p:sp>
          <p:nvSpPr>
            <p:cNvPr id="246" name="Freeform: Shape 245">
              <a:extLst>
                <a:ext uri="{FF2B5EF4-FFF2-40B4-BE49-F238E27FC236}">
                  <a16:creationId xmlns:a16="http://schemas.microsoft.com/office/drawing/2014/main" id="{97C8CE3E-8F36-3160-8EB8-5AE6535C3357}"/>
                </a:ext>
              </a:extLst>
            </p:cNvPr>
            <p:cNvSpPr/>
            <p:nvPr/>
          </p:nvSpPr>
          <p:spPr>
            <a:xfrm>
              <a:off x="11277709" y="4579374"/>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47" name="Freeform: Shape 246">
              <a:extLst>
                <a:ext uri="{FF2B5EF4-FFF2-40B4-BE49-F238E27FC236}">
                  <a16:creationId xmlns:a16="http://schemas.microsoft.com/office/drawing/2014/main" id="{4FF1A6E4-51A3-3A67-F8C4-4D6CDC8DB1C3}"/>
                </a:ext>
              </a:extLst>
            </p:cNvPr>
            <p:cNvSpPr/>
            <p:nvPr/>
          </p:nvSpPr>
          <p:spPr>
            <a:xfrm>
              <a:off x="10407554" y="4579374"/>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39 w 435077"/>
                <a:gd name="connsiteY3" fmla="*/ 27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1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1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39" y="27"/>
                  </a:lnTo>
                  <a:lnTo>
                    <a:pt x="435077" y="217539"/>
                  </a:lnTo>
                  <a:lnTo>
                    <a:pt x="217539" y="435077"/>
                  </a:lnTo>
                  <a:lnTo>
                    <a:pt x="435077" y="435077"/>
                  </a:lnTo>
                  <a:close/>
                  <a:moveTo>
                    <a:pt x="0" y="217539"/>
                  </a:moveTo>
                  <a:lnTo>
                    <a:pt x="0" y="0"/>
                  </a:lnTo>
                  <a:lnTo>
                    <a:pt x="217511" y="217539"/>
                  </a:lnTo>
                  <a:lnTo>
                    <a:pt x="0" y="217539"/>
                  </a:lnTo>
                  <a:close/>
                  <a:moveTo>
                    <a:pt x="0" y="435077"/>
                  </a:moveTo>
                  <a:lnTo>
                    <a:pt x="0" y="217539"/>
                  </a:lnTo>
                  <a:lnTo>
                    <a:pt x="217511" y="217539"/>
                  </a:lnTo>
                  <a:lnTo>
                    <a:pt x="0" y="435077"/>
                  </a:lnTo>
                  <a:close/>
                </a:path>
              </a:pathLst>
            </a:custGeom>
            <a:grpFill/>
            <a:ln w="27192" cap="flat">
              <a:noFill/>
              <a:prstDash val="solid"/>
              <a:miter/>
            </a:ln>
          </p:spPr>
          <p:txBody>
            <a:bodyPr rtlCol="0" anchor="ctr"/>
            <a:lstStyle/>
            <a:p>
              <a:endParaRPr lang="uk-UA" sz="900"/>
            </a:p>
          </p:txBody>
        </p:sp>
        <p:sp>
          <p:nvSpPr>
            <p:cNvPr id="248" name="Freeform: Shape 247">
              <a:extLst>
                <a:ext uri="{FF2B5EF4-FFF2-40B4-BE49-F238E27FC236}">
                  <a16:creationId xmlns:a16="http://schemas.microsoft.com/office/drawing/2014/main" id="{8CDC7A51-01A0-9F4A-4E76-86F010C55E0B}"/>
                </a:ext>
              </a:extLst>
            </p:cNvPr>
            <p:cNvSpPr/>
            <p:nvPr/>
          </p:nvSpPr>
          <p:spPr>
            <a:xfrm>
              <a:off x="12147891" y="4579374"/>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249" name="Freeform: Shape 248">
              <a:extLst>
                <a:ext uri="{FF2B5EF4-FFF2-40B4-BE49-F238E27FC236}">
                  <a16:creationId xmlns:a16="http://schemas.microsoft.com/office/drawing/2014/main" id="{8346011F-A9E2-2D51-A049-FFBE1BCB0990}"/>
                </a:ext>
              </a:extLst>
            </p:cNvPr>
            <p:cNvSpPr/>
            <p:nvPr/>
          </p:nvSpPr>
          <p:spPr>
            <a:xfrm>
              <a:off x="13018045" y="457937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8"/>
                    <a:pt x="0" y="57702"/>
                    <a:pt x="0" y="0"/>
                  </a:cubicBezTo>
                  <a:lnTo>
                    <a:pt x="217539" y="0"/>
                  </a:lnTo>
                  <a:lnTo>
                    <a:pt x="435077" y="0"/>
                  </a:lnTo>
                  <a:cubicBezTo>
                    <a:pt x="435077" y="57702"/>
                    <a:pt x="412154" y="113038"/>
                    <a:pt x="371365" y="153827"/>
                  </a:cubicBezTo>
                  <a:cubicBezTo>
                    <a:pt x="330550" y="194616"/>
                    <a:pt x="275241" y="217539"/>
                    <a:pt x="217539" y="217539"/>
                  </a:cubicBezTo>
                  <a:cubicBezTo>
                    <a:pt x="159836" y="217539"/>
                    <a:pt x="104501" y="194616"/>
                    <a:pt x="63712" y="153827"/>
                  </a:cubicBezTo>
                  <a:close/>
                  <a:moveTo>
                    <a:pt x="63712" y="281250"/>
                  </a:moveTo>
                  <a:cubicBezTo>
                    <a:pt x="22924" y="322066"/>
                    <a:pt x="0" y="377375"/>
                    <a:pt x="0" y="435077"/>
                  </a:cubicBezTo>
                  <a:lnTo>
                    <a:pt x="217539" y="435077"/>
                  </a:lnTo>
                  <a:lnTo>
                    <a:pt x="435077" y="435077"/>
                  </a:lnTo>
                  <a:cubicBezTo>
                    <a:pt x="435077" y="377375"/>
                    <a:pt x="412154" y="322066"/>
                    <a:pt x="371365" y="281250"/>
                  </a:cubicBezTo>
                  <a:cubicBezTo>
                    <a:pt x="330550" y="240462"/>
                    <a:pt x="275241" y="217539"/>
                    <a:pt x="217539" y="217539"/>
                  </a:cubicBezTo>
                  <a:cubicBezTo>
                    <a:pt x="159836" y="217539"/>
                    <a:pt x="104501" y="240462"/>
                    <a:pt x="63712" y="281250"/>
                  </a:cubicBezTo>
                  <a:close/>
                </a:path>
              </a:pathLst>
            </a:custGeom>
            <a:grpFill/>
            <a:ln w="27192" cap="flat">
              <a:noFill/>
              <a:prstDash val="solid"/>
              <a:miter/>
            </a:ln>
          </p:spPr>
          <p:txBody>
            <a:bodyPr rtlCol="0" anchor="ctr"/>
            <a:lstStyle/>
            <a:p>
              <a:endParaRPr lang="uk-UA" sz="900"/>
            </a:p>
          </p:txBody>
        </p:sp>
        <p:sp>
          <p:nvSpPr>
            <p:cNvPr id="250" name="Freeform: Shape 249">
              <a:extLst>
                <a:ext uri="{FF2B5EF4-FFF2-40B4-BE49-F238E27FC236}">
                  <a16:creationId xmlns:a16="http://schemas.microsoft.com/office/drawing/2014/main" id="{62FF4779-3719-8473-9B8D-001B15B9476F}"/>
                </a:ext>
              </a:extLst>
            </p:cNvPr>
            <p:cNvSpPr/>
            <p:nvPr/>
          </p:nvSpPr>
          <p:spPr>
            <a:xfrm>
              <a:off x="14758382" y="4579374"/>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51" name="Freeform: Shape 250">
              <a:extLst>
                <a:ext uri="{FF2B5EF4-FFF2-40B4-BE49-F238E27FC236}">
                  <a16:creationId xmlns:a16="http://schemas.microsoft.com/office/drawing/2014/main" id="{B22374F4-2DB0-AA4D-17F3-6B2A8DD9DDB0}"/>
                </a:ext>
              </a:extLst>
            </p:cNvPr>
            <p:cNvSpPr/>
            <p:nvPr/>
          </p:nvSpPr>
          <p:spPr>
            <a:xfrm>
              <a:off x="13888200" y="4579374"/>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5 w 435077"/>
                <a:gd name="connsiteY3" fmla="*/ 27 h 435077"/>
                <a:gd name="connsiteX4" fmla="*/ 435077 w 435077"/>
                <a:gd name="connsiteY4" fmla="*/ 217539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5" y="27"/>
                  </a:lnTo>
                  <a:lnTo>
                    <a:pt x="435077" y="217539"/>
                  </a:lnTo>
                  <a:lnTo>
                    <a:pt x="217565"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52" name="Freeform: Shape 251">
              <a:extLst>
                <a:ext uri="{FF2B5EF4-FFF2-40B4-BE49-F238E27FC236}">
                  <a16:creationId xmlns:a16="http://schemas.microsoft.com/office/drawing/2014/main" id="{E475277F-844E-692B-C31A-8C4C05A856D8}"/>
                </a:ext>
              </a:extLst>
            </p:cNvPr>
            <p:cNvSpPr/>
            <p:nvPr/>
          </p:nvSpPr>
          <p:spPr>
            <a:xfrm>
              <a:off x="15628565" y="4579374"/>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0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0" y="217539"/>
                  </a:lnTo>
                  <a:lnTo>
                    <a:pt x="0" y="435077"/>
                  </a:lnTo>
                  <a:close/>
                </a:path>
              </a:pathLst>
            </a:custGeom>
            <a:grpFill/>
            <a:ln w="27192" cap="flat">
              <a:noFill/>
              <a:prstDash val="solid"/>
              <a:miter/>
            </a:ln>
          </p:spPr>
          <p:txBody>
            <a:bodyPr rtlCol="0" anchor="ctr"/>
            <a:lstStyle/>
            <a:p>
              <a:endParaRPr lang="uk-UA" sz="900"/>
            </a:p>
          </p:txBody>
        </p:sp>
        <p:sp>
          <p:nvSpPr>
            <p:cNvPr id="253" name="Freeform: Shape 252">
              <a:extLst>
                <a:ext uri="{FF2B5EF4-FFF2-40B4-BE49-F238E27FC236}">
                  <a16:creationId xmlns:a16="http://schemas.microsoft.com/office/drawing/2014/main" id="{800E888D-6042-CDA2-1842-DE211608436B}"/>
                </a:ext>
              </a:extLst>
            </p:cNvPr>
            <p:cNvSpPr/>
            <p:nvPr/>
          </p:nvSpPr>
          <p:spPr>
            <a:xfrm>
              <a:off x="16498719" y="4579374"/>
              <a:ext cx="435077" cy="435077"/>
            </a:xfrm>
            <a:custGeom>
              <a:avLst/>
              <a:gdLst>
                <a:gd name="connsiteX0" fmla="*/ 63710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0 w 435077"/>
                <a:gd name="connsiteY6" fmla="*/ 153827 h 435077"/>
                <a:gd name="connsiteX7" fmla="*/ 63710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50 h 435077"/>
                <a:gd name="connsiteX12" fmla="*/ 217539 w 435077"/>
                <a:gd name="connsiteY12" fmla="*/ 217539 h 435077"/>
                <a:gd name="connsiteX13" fmla="*/ 63710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7"/>
                  </a:moveTo>
                  <a:cubicBezTo>
                    <a:pt x="22895" y="113038"/>
                    <a:pt x="0" y="57702"/>
                    <a:pt x="0" y="0"/>
                  </a:cubicBezTo>
                  <a:lnTo>
                    <a:pt x="217539" y="0"/>
                  </a:lnTo>
                  <a:lnTo>
                    <a:pt x="435077" y="0"/>
                  </a:lnTo>
                  <a:cubicBezTo>
                    <a:pt x="435077" y="57702"/>
                    <a:pt x="412154" y="113038"/>
                    <a:pt x="371339" y="153827"/>
                  </a:cubicBezTo>
                  <a:cubicBezTo>
                    <a:pt x="330550" y="194616"/>
                    <a:pt x="275213" y="217539"/>
                    <a:pt x="217539" y="217539"/>
                  </a:cubicBezTo>
                  <a:cubicBezTo>
                    <a:pt x="159836" y="217539"/>
                    <a:pt x="104499" y="194616"/>
                    <a:pt x="63710" y="153827"/>
                  </a:cubicBezTo>
                  <a:close/>
                  <a:moveTo>
                    <a:pt x="63710" y="281250"/>
                  </a:moveTo>
                  <a:cubicBezTo>
                    <a:pt x="22895" y="322066"/>
                    <a:pt x="0" y="377375"/>
                    <a:pt x="0" y="435077"/>
                  </a:cubicBezTo>
                  <a:lnTo>
                    <a:pt x="217539" y="435077"/>
                  </a:lnTo>
                  <a:lnTo>
                    <a:pt x="435077" y="435077"/>
                  </a:lnTo>
                  <a:cubicBezTo>
                    <a:pt x="435077" y="377375"/>
                    <a:pt x="412154" y="322066"/>
                    <a:pt x="371339" y="281250"/>
                  </a:cubicBezTo>
                  <a:cubicBezTo>
                    <a:pt x="330550" y="240462"/>
                    <a:pt x="275213" y="217539"/>
                    <a:pt x="217539" y="217539"/>
                  </a:cubicBezTo>
                  <a:cubicBezTo>
                    <a:pt x="159836" y="217539"/>
                    <a:pt x="104499" y="240462"/>
                    <a:pt x="63710" y="281250"/>
                  </a:cubicBezTo>
                  <a:close/>
                </a:path>
              </a:pathLst>
            </a:custGeom>
            <a:grpFill/>
            <a:ln w="27192" cap="flat">
              <a:noFill/>
              <a:prstDash val="solid"/>
              <a:miter/>
            </a:ln>
          </p:spPr>
          <p:txBody>
            <a:bodyPr rtlCol="0" anchor="ctr"/>
            <a:lstStyle/>
            <a:p>
              <a:endParaRPr lang="uk-UA" sz="900"/>
            </a:p>
          </p:txBody>
        </p:sp>
        <p:sp>
          <p:nvSpPr>
            <p:cNvPr id="254" name="Freeform: Shape 253">
              <a:extLst>
                <a:ext uri="{FF2B5EF4-FFF2-40B4-BE49-F238E27FC236}">
                  <a16:creationId xmlns:a16="http://schemas.microsoft.com/office/drawing/2014/main" id="{6D1B2421-74DD-0FC9-D138-1DB2AB8657C2}"/>
                </a:ext>
              </a:extLst>
            </p:cNvPr>
            <p:cNvSpPr/>
            <p:nvPr/>
          </p:nvSpPr>
          <p:spPr>
            <a:xfrm>
              <a:off x="18239029" y="4579374"/>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55" name="Freeform: Shape 254">
              <a:extLst>
                <a:ext uri="{FF2B5EF4-FFF2-40B4-BE49-F238E27FC236}">
                  <a16:creationId xmlns:a16="http://schemas.microsoft.com/office/drawing/2014/main" id="{DD7E8BC2-413C-4993-CAD2-73EDF2122BF9}"/>
                </a:ext>
              </a:extLst>
            </p:cNvPr>
            <p:cNvSpPr/>
            <p:nvPr/>
          </p:nvSpPr>
          <p:spPr>
            <a:xfrm>
              <a:off x="17368874" y="4579374"/>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39 w 435077"/>
                <a:gd name="connsiteY3" fmla="*/ 27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0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0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39" y="27"/>
                  </a:lnTo>
                  <a:lnTo>
                    <a:pt x="435077" y="217539"/>
                  </a:lnTo>
                  <a:lnTo>
                    <a:pt x="217539" y="435077"/>
                  </a:lnTo>
                  <a:lnTo>
                    <a:pt x="435077" y="435077"/>
                  </a:lnTo>
                  <a:close/>
                  <a:moveTo>
                    <a:pt x="0" y="217539"/>
                  </a:moveTo>
                  <a:lnTo>
                    <a:pt x="0" y="0"/>
                  </a:lnTo>
                  <a:lnTo>
                    <a:pt x="217510" y="217539"/>
                  </a:lnTo>
                  <a:lnTo>
                    <a:pt x="0" y="217539"/>
                  </a:lnTo>
                  <a:close/>
                  <a:moveTo>
                    <a:pt x="0" y="435077"/>
                  </a:moveTo>
                  <a:lnTo>
                    <a:pt x="0" y="217539"/>
                  </a:lnTo>
                  <a:lnTo>
                    <a:pt x="217510" y="217539"/>
                  </a:lnTo>
                  <a:lnTo>
                    <a:pt x="0" y="435077"/>
                  </a:lnTo>
                  <a:close/>
                </a:path>
              </a:pathLst>
            </a:custGeom>
            <a:grpFill/>
            <a:ln w="27192" cap="flat">
              <a:noFill/>
              <a:prstDash val="solid"/>
              <a:miter/>
            </a:ln>
          </p:spPr>
          <p:txBody>
            <a:bodyPr rtlCol="0" anchor="ctr"/>
            <a:lstStyle/>
            <a:p>
              <a:endParaRPr lang="uk-UA" sz="900"/>
            </a:p>
          </p:txBody>
        </p:sp>
        <p:sp>
          <p:nvSpPr>
            <p:cNvPr id="256" name="Freeform: Shape 255">
              <a:extLst>
                <a:ext uri="{FF2B5EF4-FFF2-40B4-BE49-F238E27FC236}">
                  <a16:creationId xmlns:a16="http://schemas.microsoft.com/office/drawing/2014/main" id="{C79A9192-7233-1774-D0FC-FEC9D93AFC07}"/>
                </a:ext>
              </a:extLst>
            </p:cNvPr>
            <p:cNvSpPr/>
            <p:nvPr/>
          </p:nvSpPr>
          <p:spPr>
            <a:xfrm>
              <a:off x="19109210" y="4579374"/>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257" name="Freeform: Shape 256">
              <a:extLst>
                <a:ext uri="{FF2B5EF4-FFF2-40B4-BE49-F238E27FC236}">
                  <a16:creationId xmlns:a16="http://schemas.microsoft.com/office/drawing/2014/main" id="{462091A6-7AD7-545C-E88D-80B9784498F1}"/>
                </a:ext>
              </a:extLst>
            </p:cNvPr>
            <p:cNvSpPr/>
            <p:nvPr/>
          </p:nvSpPr>
          <p:spPr>
            <a:xfrm>
              <a:off x="19979365" y="457937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8"/>
                    <a:pt x="0" y="57702"/>
                    <a:pt x="0" y="0"/>
                  </a:cubicBezTo>
                  <a:lnTo>
                    <a:pt x="217539" y="0"/>
                  </a:lnTo>
                  <a:lnTo>
                    <a:pt x="435077" y="0"/>
                  </a:lnTo>
                  <a:cubicBezTo>
                    <a:pt x="435077" y="57702"/>
                    <a:pt x="412154" y="113038"/>
                    <a:pt x="371365" y="153827"/>
                  </a:cubicBezTo>
                  <a:cubicBezTo>
                    <a:pt x="330550" y="194616"/>
                    <a:pt x="275241" y="217539"/>
                    <a:pt x="217539" y="217539"/>
                  </a:cubicBezTo>
                  <a:cubicBezTo>
                    <a:pt x="159836" y="217539"/>
                    <a:pt x="104501" y="194616"/>
                    <a:pt x="63712" y="153827"/>
                  </a:cubicBezTo>
                  <a:close/>
                  <a:moveTo>
                    <a:pt x="63712" y="281250"/>
                  </a:moveTo>
                  <a:cubicBezTo>
                    <a:pt x="22924" y="322066"/>
                    <a:pt x="0" y="377375"/>
                    <a:pt x="0" y="435077"/>
                  </a:cubicBezTo>
                  <a:lnTo>
                    <a:pt x="217539" y="435077"/>
                  </a:lnTo>
                  <a:lnTo>
                    <a:pt x="435077" y="435077"/>
                  </a:lnTo>
                  <a:cubicBezTo>
                    <a:pt x="435077" y="377375"/>
                    <a:pt x="412154" y="322066"/>
                    <a:pt x="371365" y="281250"/>
                  </a:cubicBezTo>
                  <a:cubicBezTo>
                    <a:pt x="330550" y="240462"/>
                    <a:pt x="275241" y="217539"/>
                    <a:pt x="217539" y="217539"/>
                  </a:cubicBezTo>
                  <a:cubicBezTo>
                    <a:pt x="159836" y="217539"/>
                    <a:pt x="104501" y="240462"/>
                    <a:pt x="63712" y="281250"/>
                  </a:cubicBezTo>
                  <a:close/>
                </a:path>
              </a:pathLst>
            </a:custGeom>
            <a:grpFill/>
            <a:ln w="27192" cap="flat">
              <a:noFill/>
              <a:prstDash val="solid"/>
              <a:miter/>
            </a:ln>
          </p:spPr>
          <p:txBody>
            <a:bodyPr rtlCol="0" anchor="ctr"/>
            <a:lstStyle/>
            <a:p>
              <a:endParaRPr lang="uk-UA" sz="900"/>
            </a:p>
          </p:txBody>
        </p:sp>
        <p:sp>
          <p:nvSpPr>
            <p:cNvPr id="258" name="Freeform: Shape 257">
              <a:extLst>
                <a:ext uri="{FF2B5EF4-FFF2-40B4-BE49-F238E27FC236}">
                  <a16:creationId xmlns:a16="http://schemas.microsoft.com/office/drawing/2014/main" id="{7076DCC2-E755-B191-0245-B2F803D5245F}"/>
                </a:ext>
              </a:extLst>
            </p:cNvPr>
            <p:cNvSpPr/>
            <p:nvPr/>
          </p:nvSpPr>
          <p:spPr>
            <a:xfrm>
              <a:off x="21719702" y="4579374"/>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0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0"/>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259" name="Freeform: Shape 258">
              <a:extLst>
                <a:ext uri="{FF2B5EF4-FFF2-40B4-BE49-F238E27FC236}">
                  <a16:creationId xmlns:a16="http://schemas.microsoft.com/office/drawing/2014/main" id="{46F9BFD8-B6C8-5CDE-1758-756CAB8B6CAF}"/>
                </a:ext>
              </a:extLst>
            </p:cNvPr>
            <p:cNvSpPr/>
            <p:nvPr/>
          </p:nvSpPr>
          <p:spPr>
            <a:xfrm>
              <a:off x="20849520" y="4579374"/>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5 w 435077"/>
                <a:gd name="connsiteY3" fmla="*/ 27 h 435077"/>
                <a:gd name="connsiteX4" fmla="*/ 435077 w 435077"/>
                <a:gd name="connsiteY4" fmla="*/ 217539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5" y="27"/>
                  </a:lnTo>
                  <a:lnTo>
                    <a:pt x="435077" y="217539"/>
                  </a:lnTo>
                  <a:lnTo>
                    <a:pt x="217565"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60" name="Freeform: Shape 259">
              <a:extLst>
                <a:ext uri="{FF2B5EF4-FFF2-40B4-BE49-F238E27FC236}">
                  <a16:creationId xmlns:a16="http://schemas.microsoft.com/office/drawing/2014/main" id="{F0F0BCCE-4BD0-5168-9040-B24FE599AD9C}"/>
                </a:ext>
              </a:extLst>
            </p:cNvPr>
            <p:cNvSpPr/>
            <p:nvPr/>
          </p:nvSpPr>
          <p:spPr>
            <a:xfrm>
              <a:off x="22589856" y="4579374"/>
              <a:ext cx="435077" cy="435077"/>
            </a:xfrm>
            <a:custGeom>
              <a:avLst/>
              <a:gdLst>
                <a:gd name="connsiteX0" fmla="*/ 435077 w 435077"/>
                <a:gd name="connsiteY0" fmla="*/ 435077 h 435077"/>
                <a:gd name="connsiteX1" fmla="*/ 435077 w 435077"/>
                <a:gd name="connsiteY1" fmla="*/ 0 h 435077"/>
                <a:gd name="connsiteX2" fmla="*/ 217567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7"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61" name="Freeform: Shape 260">
              <a:extLst>
                <a:ext uri="{FF2B5EF4-FFF2-40B4-BE49-F238E27FC236}">
                  <a16:creationId xmlns:a16="http://schemas.microsoft.com/office/drawing/2014/main" id="{9A389AAB-BE7C-9CF7-AAC5-B42E42953791}"/>
                </a:ext>
              </a:extLst>
            </p:cNvPr>
            <p:cNvSpPr/>
            <p:nvPr/>
          </p:nvSpPr>
          <p:spPr>
            <a:xfrm>
              <a:off x="23460039" y="457937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895" y="113038"/>
                    <a:pt x="0" y="57702"/>
                    <a:pt x="0" y="0"/>
                  </a:cubicBezTo>
                  <a:lnTo>
                    <a:pt x="217539" y="0"/>
                  </a:lnTo>
                  <a:lnTo>
                    <a:pt x="435077" y="0"/>
                  </a:lnTo>
                  <a:cubicBezTo>
                    <a:pt x="435077" y="57702"/>
                    <a:pt x="412154" y="113038"/>
                    <a:pt x="371339" y="153827"/>
                  </a:cubicBezTo>
                  <a:cubicBezTo>
                    <a:pt x="330550" y="194616"/>
                    <a:pt x="275213" y="217539"/>
                    <a:pt x="217539" y="217539"/>
                  </a:cubicBezTo>
                  <a:cubicBezTo>
                    <a:pt x="159836" y="217539"/>
                    <a:pt x="104501" y="194616"/>
                    <a:pt x="63712" y="153827"/>
                  </a:cubicBezTo>
                  <a:close/>
                  <a:moveTo>
                    <a:pt x="63712" y="281250"/>
                  </a:moveTo>
                  <a:cubicBezTo>
                    <a:pt x="22895" y="322066"/>
                    <a:pt x="0" y="377375"/>
                    <a:pt x="0" y="435077"/>
                  </a:cubicBezTo>
                  <a:lnTo>
                    <a:pt x="217539" y="435077"/>
                  </a:lnTo>
                  <a:lnTo>
                    <a:pt x="435077" y="435077"/>
                  </a:lnTo>
                  <a:cubicBezTo>
                    <a:pt x="435077" y="377375"/>
                    <a:pt x="412154" y="322066"/>
                    <a:pt x="371339" y="281250"/>
                  </a:cubicBezTo>
                  <a:cubicBezTo>
                    <a:pt x="330550" y="240462"/>
                    <a:pt x="275213" y="217539"/>
                    <a:pt x="217539" y="217539"/>
                  </a:cubicBezTo>
                  <a:cubicBezTo>
                    <a:pt x="159836" y="217539"/>
                    <a:pt x="104501" y="240462"/>
                    <a:pt x="63712" y="281250"/>
                  </a:cubicBezTo>
                  <a:close/>
                </a:path>
              </a:pathLst>
            </a:custGeom>
            <a:grpFill/>
            <a:ln w="27192" cap="flat">
              <a:noFill/>
              <a:prstDash val="solid"/>
              <a:miter/>
            </a:ln>
          </p:spPr>
          <p:txBody>
            <a:bodyPr rtlCol="0" anchor="ctr"/>
            <a:lstStyle/>
            <a:p>
              <a:endParaRPr lang="uk-UA" sz="900"/>
            </a:p>
          </p:txBody>
        </p:sp>
        <p:sp>
          <p:nvSpPr>
            <p:cNvPr id="262" name="Freeform: Shape 261">
              <a:extLst>
                <a:ext uri="{FF2B5EF4-FFF2-40B4-BE49-F238E27FC236}">
                  <a16:creationId xmlns:a16="http://schemas.microsoft.com/office/drawing/2014/main" id="{8E77ECBA-71E0-1D07-49EA-8CE90B76B983}"/>
                </a:ext>
              </a:extLst>
            </p:cNvPr>
            <p:cNvSpPr/>
            <p:nvPr/>
          </p:nvSpPr>
          <p:spPr>
            <a:xfrm>
              <a:off x="24330194" y="4579374"/>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39 w 435077"/>
                <a:gd name="connsiteY3" fmla="*/ 27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39" y="27"/>
                  </a:lnTo>
                  <a:lnTo>
                    <a:pt x="435077" y="217539"/>
                  </a:lnTo>
                  <a:lnTo>
                    <a:pt x="217539"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63" name="Freeform: Shape 262">
              <a:extLst>
                <a:ext uri="{FF2B5EF4-FFF2-40B4-BE49-F238E27FC236}">
                  <a16:creationId xmlns:a16="http://schemas.microsoft.com/office/drawing/2014/main" id="{CAC6C70A-A62C-4772-9C03-1C2765CDCA1B}"/>
                </a:ext>
              </a:extLst>
            </p:cNvPr>
            <p:cNvSpPr/>
            <p:nvPr/>
          </p:nvSpPr>
          <p:spPr>
            <a:xfrm>
              <a:off x="835769" y="718983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264" name="Freeform: Shape 263">
              <a:extLst>
                <a:ext uri="{FF2B5EF4-FFF2-40B4-BE49-F238E27FC236}">
                  <a16:creationId xmlns:a16="http://schemas.microsoft.com/office/drawing/2014/main" id="{446F3D54-F97D-2F3A-E9CD-4801CE50AEFE}"/>
                </a:ext>
              </a:extLst>
            </p:cNvPr>
            <p:cNvSpPr/>
            <p:nvPr/>
          </p:nvSpPr>
          <p:spPr>
            <a:xfrm>
              <a:off x="-34398" y="7189838"/>
              <a:ext cx="435090" cy="435077"/>
            </a:xfrm>
            <a:custGeom>
              <a:avLst/>
              <a:gdLst>
                <a:gd name="connsiteX0" fmla="*/ 0 w 435090"/>
                <a:gd name="connsiteY0" fmla="*/ 435077 h 435077"/>
                <a:gd name="connsiteX1" fmla="*/ 217525 w 435090"/>
                <a:gd name="connsiteY1" fmla="*/ 435077 h 435077"/>
                <a:gd name="connsiteX2" fmla="*/ 217525 w 435090"/>
                <a:gd name="connsiteY2" fmla="*/ 217539 h 435077"/>
                <a:gd name="connsiteX3" fmla="*/ 0 w 435090"/>
                <a:gd name="connsiteY3" fmla="*/ 435077 h 435077"/>
                <a:gd name="connsiteX4" fmla="*/ 217525 w 435090"/>
                <a:gd name="connsiteY4" fmla="*/ 0 h 435077"/>
                <a:gd name="connsiteX5" fmla="*/ 3 w 435090"/>
                <a:gd name="connsiteY5" fmla="*/ 0 h 435077"/>
                <a:gd name="connsiteX6" fmla="*/ 217525 w 435090"/>
                <a:gd name="connsiteY6" fmla="*/ 217539 h 435077"/>
                <a:gd name="connsiteX7" fmla="*/ 217525 w 435090"/>
                <a:gd name="connsiteY7" fmla="*/ 0 h 435077"/>
                <a:gd name="connsiteX8" fmla="*/ 435091 w 435090"/>
                <a:gd name="connsiteY8" fmla="*/ 435077 h 435077"/>
                <a:gd name="connsiteX9" fmla="*/ 217552 w 435090"/>
                <a:gd name="connsiteY9" fmla="*/ 435077 h 435077"/>
                <a:gd name="connsiteX10" fmla="*/ 435091 w 435090"/>
                <a:gd name="connsiteY10" fmla="*/ 217539 h 435077"/>
                <a:gd name="connsiteX11" fmla="*/ 435091 w 435090"/>
                <a:gd name="connsiteY11" fmla="*/ 435077 h 435077"/>
                <a:gd name="connsiteX12" fmla="*/ 435091 w 435090"/>
                <a:gd name="connsiteY12" fmla="*/ 0 h 435077"/>
                <a:gd name="connsiteX13" fmla="*/ 217552 w 435090"/>
                <a:gd name="connsiteY13" fmla="*/ 0 h 435077"/>
                <a:gd name="connsiteX14" fmla="*/ 435091 w 435090"/>
                <a:gd name="connsiteY14" fmla="*/ 217539 h 435077"/>
                <a:gd name="connsiteX15" fmla="*/ 435091 w 435090"/>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90" h="435077">
                  <a:moveTo>
                    <a:pt x="0" y="435077"/>
                  </a:moveTo>
                  <a:lnTo>
                    <a:pt x="217525" y="435077"/>
                  </a:lnTo>
                  <a:lnTo>
                    <a:pt x="217525" y="217539"/>
                  </a:lnTo>
                  <a:lnTo>
                    <a:pt x="0" y="435077"/>
                  </a:lnTo>
                  <a:close/>
                  <a:moveTo>
                    <a:pt x="217525" y="0"/>
                  </a:moveTo>
                  <a:lnTo>
                    <a:pt x="3" y="0"/>
                  </a:lnTo>
                  <a:lnTo>
                    <a:pt x="217525" y="217539"/>
                  </a:lnTo>
                  <a:lnTo>
                    <a:pt x="217525" y="0"/>
                  </a:lnTo>
                  <a:close/>
                  <a:moveTo>
                    <a:pt x="435091" y="435077"/>
                  </a:moveTo>
                  <a:lnTo>
                    <a:pt x="217552" y="435077"/>
                  </a:lnTo>
                  <a:lnTo>
                    <a:pt x="435091" y="217539"/>
                  </a:lnTo>
                  <a:lnTo>
                    <a:pt x="435091" y="435077"/>
                  </a:lnTo>
                  <a:close/>
                  <a:moveTo>
                    <a:pt x="435091" y="0"/>
                  </a:moveTo>
                  <a:lnTo>
                    <a:pt x="217552" y="0"/>
                  </a:lnTo>
                  <a:lnTo>
                    <a:pt x="435091" y="217539"/>
                  </a:lnTo>
                  <a:lnTo>
                    <a:pt x="435091" y="0"/>
                  </a:lnTo>
                  <a:close/>
                </a:path>
              </a:pathLst>
            </a:custGeom>
            <a:grpFill/>
            <a:ln w="27192" cap="flat">
              <a:noFill/>
              <a:prstDash val="solid"/>
              <a:miter/>
            </a:ln>
          </p:spPr>
          <p:txBody>
            <a:bodyPr rtlCol="0" anchor="ctr"/>
            <a:lstStyle/>
            <a:p>
              <a:endParaRPr lang="uk-UA" sz="900"/>
            </a:p>
          </p:txBody>
        </p:sp>
        <p:sp>
          <p:nvSpPr>
            <p:cNvPr id="265" name="Freeform: Shape 264">
              <a:extLst>
                <a:ext uri="{FF2B5EF4-FFF2-40B4-BE49-F238E27FC236}">
                  <a16:creationId xmlns:a16="http://schemas.microsoft.com/office/drawing/2014/main" id="{75F72EC3-C925-196E-A244-C3DF036FC101}"/>
                </a:ext>
              </a:extLst>
            </p:cNvPr>
            <p:cNvSpPr/>
            <p:nvPr/>
          </p:nvSpPr>
          <p:spPr>
            <a:xfrm>
              <a:off x="1705924" y="7189838"/>
              <a:ext cx="435077" cy="435077"/>
            </a:xfrm>
            <a:custGeom>
              <a:avLst/>
              <a:gdLst>
                <a:gd name="connsiteX0" fmla="*/ 371366 w 435077"/>
                <a:gd name="connsiteY0" fmla="*/ 63711 h 435077"/>
                <a:gd name="connsiteX1" fmla="*/ 435077 w 435077"/>
                <a:gd name="connsiteY1" fmla="*/ 217539 h 435077"/>
                <a:gd name="connsiteX2" fmla="*/ 218952 w 435077"/>
                <a:gd name="connsiteY2" fmla="*/ 217539 h 435077"/>
                <a:gd name="connsiteX3" fmla="*/ 371366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1 w 435077"/>
                <a:gd name="connsiteY7" fmla="*/ 281250 h 435077"/>
                <a:gd name="connsiteX8" fmla="*/ 216152 w 435077"/>
                <a:gd name="connsiteY8" fmla="*/ 217539 h 435077"/>
                <a:gd name="connsiteX9" fmla="*/ 0 w 435077"/>
                <a:gd name="connsiteY9" fmla="*/ 217539 h 435077"/>
                <a:gd name="connsiteX10" fmla="*/ 63711 w 435077"/>
                <a:gd name="connsiteY10" fmla="*/ 63711 h 435077"/>
                <a:gd name="connsiteX11" fmla="*/ 217539 w 435077"/>
                <a:gd name="connsiteY11" fmla="*/ 0 h 435077"/>
                <a:gd name="connsiteX12" fmla="*/ 371366 w 435077"/>
                <a:gd name="connsiteY12" fmla="*/ 63711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1"/>
                  </a:moveTo>
                  <a:cubicBezTo>
                    <a:pt x="412154" y="104527"/>
                    <a:pt x="435077" y="159836"/>
                    <a:pt x="435077" y="217539"/>
                  </a:cubicBezTo>
                  <a:lnTo>
                    <a:pt x="218952" y="217539"/>
                  </a:lnTo>
                  <a:cubicBezTo>
                    <a:pt x="276138" y="217920"/>
                    <a:pt x="330903" y="240788"/>
                    <a:pt x="371366" y="281250"/>
                  </a:cubicBezTo>
                  <a:cubicBezTo>
                    <a:pt x="412154" y="322039"/>
                    <a:pt x="435077" y="377375"/>
                    <a:pt x="435077" y="435077"/>
                  </a:cubicBezTo>
                  <a:lnTo>
                    <a:pt x="217539" y="435077"/>
                  </a:lnTo>
                  <a:lnTo>
                    <a:pt x="0" y="435077"/>
                  </a:lnTo>
                  <a:cubicBezTo>
                    <a:pt x="0" y="377375"/>
                    <a:pt x="22923" y="322039"/>
                    <a:pt x="63711" y="281250"/>
                  </a:cubicBezTo>
                  <a:cubicBezTo>
                    <a:pt x="104201" y="240788"/>
                    <a:pt x="158966" y="217920"/>
                    <a:pt x="216152" y="217539"/>
                  </a:cubicBezTo>
                  <a:lnTo>
                    <a:pt x="0" y="217539"/>
                  </a:lnTo>
                  <a:cubicBezTo>
                    <a:pt x="0" y="159836"/>
                    <a:pt x="22923" y="104527"/>
                    <a:pt x="63711" y="63711"/>
                  </a:cubicBezTo>
                  <a:cubicBezTo>
                    <a:pt x="104527" y="22923"/>
                    <a:pt x="159836" y="0"/>
                    <a:pt x="217539" y="0"/>
                  </a:cubicBezTo>
                  <a:cubicBezTo>
                    <a:pt x="275241" y="0"/>
                    <a:pt x="330577" y="22923"/>
                    <a:pt x="371366" y="63711"/>
                  </a:cubicBezTo>
                  <a:close/>
                </a:path>
              </a:pathLst>
            </a:custGeom>
            <a:grpFill/>
            <a:ln w="27192" cap="flat">
              <a:noFill/>
              <a:prstDash val="solid"/>
              <a:miter/>
            </a:ln>
          </p:spPr>
          <p:txBody>
            <a:bodyPr rtlCol="0" anchor="ctr"/>
            <a:lstStyle/>
            <a:p>
              <a:endParaRPr lang="uk-UA" sz="900"/>
            </a:p>
          </p:txBody>
        </p:sp>
        <p:sp>
          <p:nvSpPr>
            <p:cNvPr id="266" name="Freeform: Shape 265">
              <a:extLst>
                <a:ext uri="{FF2B5EF4-FFF2-40B4-BE49-F238E27FC236}">
                  <a16:creationId xmlns:a16="http://schemas.microsoft.com/office/drawing/2014/main" id="{602D2890-1DBE-408B-0885-B06C916B6B40}"/>
                </a:ext>
              </a:extLst>
            </p:cNvPr>
            <p:cNvSpPr/>
            <p:nvPr/>
          </p:nvSpPr>
          <p:spPr>
            <a:xfrm>
              <a:off x="2576106" y="718983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50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50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50" y="217539"/>
                  </a:lnTo>
                  <a:lnTo>
                    <a:pt x="435077" y="217539"/>
                  </a:lnTo>
                  <a:lnTo>
                    <a:pt x="435077" y="217539"/>
                  </a:lnTo>
                  <a:lnTo>
                    <a:pt x="435077" y="217539"/>
                  </a:lnTo>
                  <a:lnTo>
                    <a:pt x="435050"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267" name="Freeform: Shape 266">
              <a:extLst>
                <a:ext uri="{FF2B5EF4-FFF2-40B4-BE49-F238E27FC236}">
                  <a16:creationId xmlns:a16="http://schemas.microsoft.com/office/drawing/2014/main" id="{1FC6F5E0-963F-79D5-114D-1ACD14F68A79}"/>
                </a:ext>
              </a:extLst>
            </p:cNvPr>
            <p:cNvSpPr/>
            <p:nvPr/>
          </p:nvSpPr>
          <p:spPr>
            <a:xfrm>
              <a:off x="4316416" y="7189838"/>
              <a:ext cx="435077" cy="435077"/>
            </a:xfrm>
            <a:custGeom>
              <a:avLst/>
              <a:gdLst>
                <a:gd name="connsiteX0" fmla="*/ 217565 w 435077"/>
                <a:gd name="connsiteY0" fmla="*/ 0 h 435077"/>
                <a:gd name="connsiteX1" fmla="*/ 217539 w 435077"/>
                <a:gd name="connsiteY1" fmla="*/ 0 h 435077"/>
                <a:gd name="connsiteX2" fmla="*/ 27 w 435077"/>
                <a:gd name="connsiteY2" fmla="*/ 0 h 435077"/>
                <a:gd name="connsiteX3" fmla="*/ 27 w 435077"/>
                <a:gd name="connsiteY3" fmla="*/ 217539 h 435077"/>
                <a:gd name="connsiteX4" fmla="*/ 217565 w 435077"/>
                <a:gd name="connsiteY4" fmla="*/ 0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65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65" y="0"/>
                  </a:moveTo>
                  <a:lnTo>
                    <a:pt x="217539" y="0"/>
                  </a:lnTo>
                  <a:lnTo>
                    <a:pt x="27" y="0"/>
                  </a:lnTo>
                  <a:lnTo>
                    <a:pt x="27" y="217539"/>
                  </a:lnTo>
                  <a:lnTo>
                    <a:pt x="217565" y="0"/>
                  </a:lnTo>
                  <a:lnTo>
                    <a:pt x="435077" y="217539"/>
                  </a:lnTo>
                  <a:lnTo>
                    <a:pt x="217539" y="435077"/>
                  </a:lnTo>
                  <a:lnTo>
                    <a:pt x="0" y="217539"/>
                  </a:lnTo>
                  <a:lnTo>
                    <a:pt x="0" y="435077"/>
                  </a:lnTo>
                  <a:lnTo>
                    <a:pt x="217539" y="435077"/>
                  </a:lnTo>
                  <a:lnTo>
                    <a:pt x="435077" y="435077"/>
                  </a:lnTo>
                  <a:lnTo>
                    <a:pt x="435077" y="217539"/>
                  </a:lnTo>
                  <a:lnTo>
                    <a:pt x="435077" y="0"/>
                  </a:lnTo>
                  <a:lnTo>
                    <a:pt x="217565" y="0"/>
                  </a:lnTo>
                  <a:close/>
                </a:path>
              </a:pathLst>
            </a:custGeom>
            <a:grpFill/>
            <a:ln w="27192" cap="flat">
              <a:noFill/>
              <a:prstDash val="solid"/>
              <a:miter/>
            </a:ln>
          </p:spPr>
          <p:txBody>
            <a:bodyPr rtlCol="0" anchor="ctr"/>
            <a:lstStyle/>
            <a:p>
              <a:endParaRPr lang="uk-UA" sz="900"/>
            </a:p>
          </p:txBody>
        </p:sp>
        <p:sp>
          <p:nvSpPr>
            <p:cNvPr id="268" name="Freeform: Shape 267">
              <a:extLst>
                <a:ext uri="{FF2B5EF4-FFF2-40B4-BE49-F238E27FC236}">
                  <a16:creationId xmlns:a16="http://schemas.microsoft.com/office/drawing/2014/main" id="{8A64C88D-CEED-65A4-401E-29EB87580C43}"/>
                </a:ext>
              </a:extLst>
            </p:cNvPr>
            <p:cNvSpPr/>
            <p:nvPr/>
          </p:nvSpPr>
          <p:spPr>
            <a:xfrm>
              <a:off x="3446261" y="7189838"/>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66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66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66" y="435077"/>
                  </a:lnTo>
                  <a:lnTo>
                    <a:pt x="435077" y="217539"/>
                  </a:lnTo>
                  <a:lnTo>
                    <a:pt x="435077" y="435077"/>
                  </a:lnTo>
                  <a:close/>
                  <a:moveTo>
                    <a:pt x="435077" y="0"/>
                  </a:moveTo>
                  <a:lnTo>
                    <a:pt x="217566"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269" name="Freeform: Shape 268">
              <a:extLst>
                <a:ext uri="{FF2B5EF4-FFF2-40B4-BE49-F238E27FC236}">
                  <a16:creationId xmlns:a16="http://schemas.microsoft.com/office/drawing/2014/main" id="{DF279724-F9B0-4423-CC8A-4BB3450819E3}"/>
                </a:ext>
              </a:extLst>
            </p:cNvPr>
            <p:cNvSpPr/>
            <p:nvPr/>
          </p:nvSpPr>
          <p:spPr>
            <a:xfrm>
              <a:off x="5186597" y="7189838"/>
              <a:ext cx="435077" cy="435077"/>
            </a:xfrm>
            <a:custGeom>
              <a:avLst/>
              <a:gdLst>
                <a:gd name="connsiteX0" fmla="*/ 371366 w 435077"/>
                <a:gd name="connsiteY0" fmla="*/ 63711 h 435077"/>
                <a:gd name="connsiteX1" fmla="*/ 435077 w 435077"/>
                <a:gd name="connsiteY1" fmla="*/ 217539 h 435077"/>
                <a:gd name="connsiteX2" fmla="*/ 218953 w 435077"/>
                <a:gd name="connsiteY2" fmla="*/ 217539 h 435077"/>
                <a:gd name="connsiteX3" fmla="*/ 371366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25 w 435077"/>
                <a:gd name="connsiteY8" fmla="*/ 217539 h 435077"/>
                <a:gd name="connsiteX9" fmla="*/ 0 w 435077"/>
                <a:gd name="connsiteY9" fmla="*/ 217539 h 435077"/>
                <a:gd name="connsiteX10" fmla="*/ 63712 w 435077"/>
                <a:gd name="connsiteY10" fmla="*/ 63711 h 435077"/>
                <a:gd name="connsiteX11" fmla="*/ 217539 w 435077"/>
                <a:gd name="connsiteY11" fmla="*/ 0 h 435077"/>
                <a:gd name="connsiteX12" fmla="*/ 371366 w 435077"/>
                <a:gd name="connsiteY12" fmla="*/ 63711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1"/>
                  </a:moveTo>
                  <a:cubicBezTo>
                    <a:pt x="412155" y="104527"/>
                    <a:pt x="435077" y="159836"/>
                    <a:pt x="435077" y="217539"/>
                  </a:cubicBezTo>
                  <a:lnTo>
                    <a:pt x="218953" y="217539"/>
                  </a:lnTo>
                  <a:cubicBezTo>
                    <a:pt x="276138" y="217920"/>
                    <a:pt x="330904" y="240788"/>
                    <a:pt x="371366" y="281250"/>
                  </a:cubicBezTo>
                  <a:cubicBezTo>
                    <a:pt x="412155" y="322039"/>
                    <a:pt x="435077" y="377375"/>
                    <a:pt x="435077" y="435077"/>
                  </a:cubicBezTo>
                  <a:lnTo>
                    <a:pt x="217539" y="435077"/>
                  </a:lnTo>
                  <a:lnTo>
                    <a:pt x="0" y="435077"/>
                  </a:lnTo>
                  <a:cubicBezTo>
                    <a:pt x="0" y="377375"/>
                    <a:pt x="22924" y="322039"/>
                    <a:pt x="63712" y="281250"/>
                  </a:cubicBezTo>
                  <a:cubicBezTo>
                    <a:pt x="104175" y="240788"/>
                    <a:pt x="158939" y="217920"/>
                    <a:pt x="216125" y="217539"/>
                  </a:cubicBezTo>
                  <a:lnTo>
                    <a:pt x="0" y="217539"/>
                  </a:lnTo>
                  <a:cubicBezTo>
                    <a:pt x="0" y="159836"/>
                    <a:pt x="22924" y="104527"/>
                    <a:pt x="63712" y="63711"/>
                  </a:cubicBezTo>
                  <a:cubicBezTo>
                    <a:pt x="104501" y="22923"/>
                    <a:pt x="159837" y="0"/>
                    <a:pt x="217539" y="0"/>
                  </a:cubicBezTo>
                  <a:cubicBezTo>
                    <a:pt x="275241" y="0"/>
                    <a:pt x="330550" y="22923"/>
                    <a:pt x="371366" y="63711"/>
                  </a:cubicBezTo>
                  <a:close/>
                </a:path>
              </a:pathLst>
            </a:custGeom>
            <a:grpFill/>
            <a:ln w="27192" cap="flat">
              <a:noFill/>
              <a:prstDash val="solid"/>
              <a:miter/>
            </a:ln>
          </p:spPr>
          <p:txBody>
            <a:bodyPr rtlCol="0" anchor="ctr"/>
            <a:lstStyle/>
            <a:p>
              <a:endParaRPr lang="uk-UA" sz="900"/>
            </a:p>
          </p:txBody>
        </p:sp>
        <p:sp>
          <p:nvSpPr>
            <p:cNvPr id="270" name="Freeform: Shape 269">
              <a:extLst>
                <a:ext uri="{FF2B5EF4-FFF2-40B4-BE49-F238E27FC236}">
                  <a16:creationId xmlns:a16="http://schemas.microsoft.com/office/drawing/2014/main" id="{8BAB11F6-B5A5-0708-E238-287C5FD99B85}"/>
                </a:ext>
              </a:extLst>
            </p:cNvPr>
            <p:cNvSpPr/>
            <p:nvPr/>
          </p:nvSpPr>
          <p:spPr>
            <a:xfrm>
              <a:off x="6056752" y="7189838"/>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0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39 h 435077"/>
                <a:gd name="connsiteX9" fmla="*/ 435077 w 435077"/>
                <a:gd name="connsiteY9" fmla="*/ 217539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0"/>
                  </a:lnTo>
                  <a:lnTo>
                    <a:pt x="435077" y="217539"/>
                  </a:lnTo>
                  <a:lnTo>
                    <a:pt x="435077" y="217539"/>
                  </a:lnTo>
                  <a:lnTo>
                    <a:pt x="435077" y="217539"/>
                  </a:lnTo>
                  <a:lnTo>
                    <a:pt x="435077" y="217539"/>
                  </a:lnTo>
                  <a:lnTo>
                    <a:pt x="435077" y="217539"/>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271" name="Freeform: Shape 270">
              <a:extLst>
                <a:ext uri="{FF2B5EF4-FFF2-40B4-BE49-F238E27FC236}">
                  <a16:creationId xmlns:a16="http://schemas.microsoft.com/office/drawing/2014/main" id="{10671296-DB10-F1A7-5244-561028D14EB2}"/>
                </a:ext>
              </a:extLst>
            </p:cNvPr>
            <p:cNvSpPr/>
            <p:nvPr/>
          </p:nvSpPr>
          <p:spPr>
            <a:xfrm>
              <a:off x="7797062" y="718983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p>
          </p:txBody>
        </p:sp>
        <p:sp>
          <p:nvSpPr>
            <p:cNvPr id="272" name="Freeform: Shape 271">
              <a:extLst>
                <a:ext uri="{FF2B5EF4-FFF2-40B4-BE49-F238E27FC236}">
                  <a16:creationId xmlns:a16="http://schemas.microsoft.com/office/drawing/2014/main" id="{651E749C-D7DB-0BD7-8081-56F8ACE40C6B}"/>
                </a:ext>
              </a:extLst>
            </p:cNvPr>
            <p:cNvSpPr/>
            <p:nvPr/>
          </p:nvSpPr>
          <p:spPr>
            <a:xfrm>
              <a:off x="6926907" y="7189838"/>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273" name="Freeform: Shape 272">
              <a:extLst>
                <a:ext uri="{FF2B5EF4-FFF2-40B4-BE49-F238E27FC236}">
                  <a16:creationId xmlns:a16="http://schemas.microsoft.com/office/drawing/2014/main" id="{E9892BB5-0ACF-CC16-7663-E4021F999603}"/>
                </a:ext>
              </a:extLst>
            </p:cNvPr>
            <p:cNvSpPr/>
            <p:nvPr/>
          </p:nvSpPr>
          <p:spPr>
            <a:xfrm>
              <a:off x="8667217" y="7189838"/>
              <a:ext cx="435104" cy="435077"/>
            </a:xfrm>
            <a:custGeom>
              <a:avLst/>
              <a:gdLst>
                <a:gd name="connsiteX0" fmla="*/ 371366 w 435104"/>
                <a:gd name="connsiteY0" fmla="*/ 63711 h 435077"/>
                <a:gd name="connsiteX1" fmla="*/ 435077 w 435104"/>
                <a:gd name="connsiteY1" fmla="*/ 217539 h 435077"/>
                <a:gd name="connsiteX2" fmla="*/ 218953 w 435104"/>
                <a:gd name="connsiteY2" fmla="*/ 217539 h 435077"/>
                <a:gd name="connsiteX3" fmla="*/ 371366 w 435104"/>
                <a:gd name="connsiteY3" fmla="*/ 281250 h 435077"/>
                <a:gd name="connsiteX4" fmla="*/ 435105 w 435104"/>
                <a:gd name="connsiteY4" fmla="*/ 435077 h 435077"/>
                <a:gd name="connsiteX5" fmla="*/ 217566 w 435104"/>
                <a:gd name="connsiteY5" fmla="*/ 435077 h 435077"/>
                <a:gd name="connsiteX6" fmla="*/ 27 w 435104"/>
                <a:gd name="connsiteY6" fmla="*/ 435077 h 435077"/>
                <a:gd name="connsiteX7" fmla="*/ 63739 w 435104"/>
                <a:gd name="connsiteY7" fmla="*/ 281250 h 435077"/>
                <a:gd name="connsiteX8" fmla="*/ 216152 w 435104"/>
                <a:gd name="connsiteY8" fmla="*/ 217539 h 435077"/>
                <a:gd name="connsiteX9" fmla="*/ 0 w 435104"/>
                <a:gd name="connsiteY9" fmla="*/ 217539 h 435077"/>
                <a:gd name="connsiteX10" fmla="*/ 63739 w 435104"/>
                <a:gd name="connsiteY10" fmla="*/ 63711 h 435077"/>
                <a:gd name="connsiteX11" fmla="*/ 217539 w 435104"/>
                <a:gd name="connsiteY11" fmla="*/ 0 h 435077"/>
                <a:gd name="connsiteX12" fmla="*/ 371366 w 435104"/>
                <a:gd name="connsiteY12" fmla="*/ 63711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4" h="435077">
                  <a:moveTo>
                    <a:pt x="371366" y="63711"/>
                  </a:moveTo>
                  <a:cubicBezTo>
                    <a:pt x="412182" y="104527"/>
                    <a:pt x="435077" y="159836"/>
                    <a:pt x="435077" y="217539"/>
                  </a:cubicBezTo>
                  <a:lnTo>
                    <a:pt x="218953" y="217539"/>
                  </a:lnTo>
                  <a:cubicBezTo>
                    <a:pt x="276138" y="217920"/>
                    <a:pt x="330904" y="240788"/>
                    <a:pt x="371366" y="281250"/>
                  </a:cubicBezTo>
                  <a:cubicBezTo>
                    <a:pt x="412182" y="322039"/>
                    <a:pt x="435105" y="377375"/>
                    <a:pt x="435105" y="435077"/>
                  </a:cubicBezTo>
                  <a:lnTo>
                    <a:pt x="217566" y="435077"/>
                  </a:lnTo>
                  <a:lnTo>
                    <a:pt x="27" y="435077"/>
                  </a:lnTo>
                  <a:cubicBezTo>
                    <a:pt x="27" y="377375"/>
                    <a:pt x="22924" y="322039"/>
                    <a:pt x="63739" y="281250"/>
                  </a:cubicBezTo>
                  <a:cubicBezTo>
                    <a:pt x="104201" y="240788"/>
                    <a:pt x="158967" y="217920"/>
                    <a:pt x="216152" y="217539"/>
                  </a:cubicBezTo>
                  <a:lnTo>
                    <a:pt x="0" y="217539"/>
                  </a:lnTo>
                  <a:cubicBezTo>
                    <a:pt x="0" y="159836"/>
                    <a:pt x="22924" y="104527"/>
                    <a:pt x="63739" y="63711"/>
                  </a:cubicBezTo>
                  <a:cubicBezTo>
                    <a:pt x="104527" y="22923"/>
                    <a:pt x="159864" y="0"/>
                    <a:pt x="217539" y="0"/>
                  </a:cubicBezTo>
                  <a:cubicBezTo>
                    <a:pt x="275241" y="0"/>
                    <a:pt x="330578" y="22923"/>
                    <a:pt x="371366" y="63711"/>
                  </a:cubicBezTo>
                  <a:close/>
                </a:path>
              </a:pathLst>
            </a:custGeom>
            <a:grpFill/>
            <a:ln w="27192" cap="flat">
              <a:noFill/>
              <a:prstDash val="solid"/>
              <a:miter/>
            </a:ln>
          </p:spPr>
          <p:txBody>
            <a:bodyPr rtlCol="0" anchor="ctr"/>
            <a:lstStyle/>
            <a:p>
              <a:endParaRPr lang="uk-UA" sz="900"/>
            </a:p>
          </p:txBody>
        </p:sp>
        <p:sp>
          <p:nvSpPr>
            <p:cNvPr id="274" name="Freeform: Shape 273">
              <a:extLst>
                <a:ext uri="{FF2B5EF4-FFF2-40B4-BE49-F238E27FC236}">
                  <a16:creationId xmlns:a16="http://schemas.microsoft.com/office/drawing/2014/main" id="{E2688B02-6DBA-6339-5160-5E25E270BC67}"/>
                </a:ext>
              </a:extLst>
            </p:cNvPr>
            <p:cNvSpPr/>
            <p:nvPr/>
          </p:nvSpPr>
          <p:spPr>
            <a:xfrm>
              <a:off x="9537399" y="7189838"/>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0 h 435077"/>
                <a:gd name="connsiteX5" fmla="*/ 435050 w 435077"/>
                <a:gd name="connsiteY5" fmla="*/ 217539 h 435077"/>
                <a:gd name="connsiteX6" fmla="*/ 435077 w 435077"/>
                <a:gd name="connsiteY6" fmla="*/ 217539 h 435077"/>
                <a:gd name="connsiteX7" fmla="*/ 435050 w 435077"/>
                <a:gd name="connsiteY7" fmla="*/ 217539 h 435077"/>
                <a:gd name="connsiteX8" fmla="*/ 435077 w 435077"/>
                <a:gd name="connsiteY8" fmla="*/ 217539 h 435077"/>
                <a:gd name="connsiteX9" fmla="*/ 435050 w 435077"/>
                <a:gd name="connsiteY9" fmla="*/ 217539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0"/>
                  </a:lnTo>
                  <a:lnTo>
                    <a:pt x="435050" y="217539"/>
                  </a:lnTo>
                  <a:lnTo>
                    <a:pt x="435077" y="217539"/>
                  </a:lnTo>
                  <a:lnTo>
                    <a:pt x="435050" y="217539"/>
                  </a:lnTo>
                  <a:lnTo>
                    <a:pt x="435077" y="217539"/>
                  </a:lnTo>
                  <a:lnTo>
                    <a:pt x="435050" y="217539"/>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275" name="Freeform: Shape 274">
              <a:extLst>
                <a:ext uri="{FF2B5EF4-FFF2-40B4-BE49-F238E27FC236}">
                  <a16:creationId xmlns:a16="http://schemas.microsoft.com/office/drawing/2014/main" id="{91F4C269-62DA-DE64-5EA6-496E5C953248}"/>
                </a:ext>
              </a:extLst>
            </p:cNvPr>
            <p:cNvSpPr/>
            <p:nvPr/>
          </p:nvSpPr>
          <p:spPr>
            <a:xfrm>
              <a:off x="11277709" y="718983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276" name="Freeform: Shape 275">
              <a:extLst>
                <a:ext uri="{FF2B5EF4-FFF2-40B4-BE49-F238E27FC236}">
                  <a16:creationId xmlns:a16="http://schemas.microsoft.com/office/drawing/2014/main" id="{D4238802-72A0-A2E6-ABA1-9DB28BF92EDB}"/>
                </a:ext>
              </a:extLst>
            </p:cNvPr>
            <p:cNvSpPr/>
            <p:nvPr/>
          </p:nvSpPr>
          <p:spPr>
            <a:xfrm>
              <a:off x="10407554" y="7189838"/>
              <a:ext cx="435077" cy="435077"/>
            </a:xfrm>
            <a:custGeom>
              <a:avLst/>
              <a:gdLst>
                <a:gd name="connsiteX0" fmla="*/ 0 w 435077"/>
                <a:gd name="connsiteY0" fmla="*/ 435077 h 435077"/>
                <a:gd name="connsiteX1" fmla="*/ 217511 w 435077"/>
                <a:gd name="connsiteY1" fmla="*/ 435077 h 435077"/>
                <a:gd name="connsiteX2" fmla="*/ 217511 w 435077"/>
                <a:gd name="connsiteY2" fmla="*/ 217539 h 435077"/>
                <a:gd name="connsiteX3" fmla="*/ 0 w 435077"/>
                <a:gd name="connsiteY3" fmla="*/ 435077 h 435077"/>
                <a:gd name="connsiteX4" fmla="*/ 217511 w 435077"/>
                <a:gd name="connsiteY4" fmla="*/ 0 h 435077"/>
                <a:gd name="connsiteX5" fmla="*/ 0 w 435077"/>
                <a:gd name="connsiteY5" fmla="*/ 0 h 435077"/>
                <a:gd name="connsiteX6" fmla="*/ 217511 w 435077"/>
                <a:gd name="connsiteY6" fmla="*/ 217539 h 435077"/>
                <a:gd name="connsiteX7" fmla="*/ 217511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11" y="435077"/>
                  </a:lnTo>
                  <a:lnTo>
                    <a:pt x="217511" y="217539"/>
                  </a:lnTo>
                  <a:lnTo>
                    <a:pt x="0" y="435077"/>
                  </a:lnTo>
                  <a:close/>
                  <a:moveTo>
                    <a:pt x="217511" y="0"/>
                  </a:moveTo>
                  <a:lnTo>
                    <a:pt x="0" y="0"/>
                  </a:lnTo>
                  <a:lnTo>
                    <a:pt x="217511" y="217539"/>
                  </a:lnTo>
                  <a:lnTo>
                    <a:pt x="217511"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277" name="Freeform: Shape 276">
              <a:extLst>
                <a:ext uri="{FF2B5EF4-FFF2-40B4-BE49-F238E27FC236}">
                  <a16:creationId xmlns:a16="http://schemas.microsoft.com/office/drawing/2014/main" id="{4E955BD4-4B60-BEFF-D437-C5391DCAB7E3}"/>
                </a:ext>
              </a:extLst>
            </p:cNvPr>
            <p:cNvSpPr/>
            <p:nvPr/>
          </p:nvSpPr>
          <p:spPr>
            <a:xfrm>
              <a:off x="12147864" y="7189838"/>
              <a:ext cx="435103" cy="435077"/>
            </a:xfrm>
            <a:custGeom>
              <a:avLst/>
              <a:gdLst>
                <a:gd name="connsiteX0" fmla="*/ 371365 w 435103"/>
                <a:gd name="connsiteY0" fmla="*/ 63711 h 435077"/>
                <a:gd name="connsiteX1" fmla="*/ 435077 w 435103"/>
                <a:gd name="connsiteY1" fmla="*/ 217539 h 435077"/>
                <a:gd name="connsiteX2" fmla="*/ 218953 w 435103"/>
                <a:gd name="connsiteY2" fmla="*/ 217539 h 435077"/>
                <a:gd name="connsiteX3" fmla="*/ 371365 w 435103"/>
                <a:gd name="connsiteY3" fmla="*/ 281250 h 435077"/>
                <a:gd name="connsiteX4" fmla="*/ 435104 w 435103"/>
                <a:gd name="connsiteY4" fmla="*/ 435077 h 435077"/>
                <a:gd name="connsiteX5" fmla="*/ 217565 w 435103"/>
                <a:gd name="connsiteY5" fmla="*/ 435077 h 435077"/>
                <a:gd name="connsiteX6" fmla="*/ 27 w 435103"/>
                <a:gd name="connsiteY6" fmla="*/ 435077 h 435077"/>
                <a:gd name="connsiteX7" fmla="*/ 63739 w 435103"/>
                <a:gd name="connsiteY7" fmla="*/ 281250 h 435077"/>
                <a:gd name="connsiteX8" fmla="*/ 216151 w 435103"/>
                <a:gd name="connsiteY8" fmla="*/ 217539 h 435077"/>
                <a:gd name="connsiteX9" fmla="*/ 0 w 435103"/>
                <a:gd name="connsiteY9" fmla="*/ 217539 h 435077"/>
                <a:gd name="connsiteX10" fmla="*/ 63739 w 435103"/>
                <a:gd name="connsiteY10" fmla="*/ 63711 h 435077"/>
                <a:gd name="connsiteX11" fmla="*/ 217539 w 435103"/>
                <a:gd name="connsiteY11" fmla="*/ 0 h 435077"/>
                <a:gd name="connsiteX12" fmla="*/ 371365 w 435103"/>
                <a:gd name="connsiteY12" fmla="*/ 63711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3" h="435077">
                  <a:moveTo>
                    <a:pt x="371365" y="63711"/>
                  </a:moveTo>
                  <a:cubicBezTo>
                    <a:pt x="412180" y="104527"/>
                    <a:pt x="435077" y="159836"/>
                    <a:pt x="435077" y="217539"/>
                  </a:cubicBezTo>
                  <a:lnTo>
                    <a:pt x="218953" y="217539"/>
                  </a:lnTo>
                  <a:cubicBezTo>
                    <a:pt x="276137" y="217920"/>
                    <a:pt x="330902" y="240788"/>
                    <a:pt x="371365" y="281250"/>
                  </a:cubicBezTo>
                  <a:cubicBezTo>
                    <a:pt x="412180" y="322039"/>
                    <a:pt x="435104" y="377375"/>
                    <a:pt x="435104" y="435077"/>
                  </a:cubicBezTo>
                  <a:lnTo>
                    <a:pt x="217565" y="435077"/>
                  </a:lnTo>
                  <a:lnTo>
                    <a:pt x="27" y="435077"/>
                  </a:lnTo>
                  <a:cubicBezTo>
                    <a:pt x="27" y="377375"/>
                    <a:pt x="22922" y="322039"/>
                    <a:pt x="63739" y="281250"/>
                  </a:cubicBezTo>
                  <a:cubicBezTo>
                    <a:pt x="104200" y="240788"/>
                    <a:pt x="158965" y="217920"/>
                    <a:pt x="216151" y="217539"/>
                  </a:cubicBezTo>
                  <a:lnTo>
                    <a:pt x="0" y="217539"/>
                  </a:lnTo>
                  <a:cubicBezTo>
                    <a:pt x="0" y="159836"/>
                    <a:pt x="22922" y="104527"/>
                    <a:pt x="63739" y="63711"/>
                  </a:cubicBezTo>
                  <a:cubicBezTo>
                    <a:pt x="104527" y="22923"/>
                    <a:pt x="159863" y="0"/>
                    <a:pt x="217539" y="0"/>
                  </a:cubicBezTo>
                  <a:cubicBezTo>
                    <a:pt x="275239" y="0"/>
                    <a:pt x="330577" y="22923"/>
                    <a:pt x="371365" y="63711"/>
                  </a:cubicBezTo>
                  <a:close/>
                </a:path>
              </a:pathLst>
            </a:custGeom>
            <a:grpFill/>
            <a:ln w="27192" cap="flat">
              <a:noFill/>
              <a:prstDash val="solid"/>
              <a:miter/>
            </a:ln>
          </p:spPr>
          <p:txBody>
            <a:bodyPr rtlCol="0" anchor="ctr"/>
            <a:lstStyle/>
            <a:p>
              <a:endParaRPr lang="uk-UA" sz="900"/>
            </a:p>
          </p:txBody>
        </p:sp>
        <p:sp>
          <p:nvSpPr>
            <p:cNvPr id="278" name="Freeform: Shape 277">
              <a:extLst>
                <a:ext uri="{FF2B5EF4-FFF2-40B4-BE49-F238E27FC236}">
                  <a16:creationId xmlns:a16="http://schemas.microsoft.com/office/drawing/2014/main" id="{E2696F5F-FA38-53D4-16B6-55EEBE2BD1B5}"/>
                </a:ext>
              </a:extLst>
            </p:cNvPr>
            <p:cNvSpPr/>
            <p:nvPr/>
          </p:nvSpPr>
          <p:spPr>
            <a:xfrm>
              <a:off x="13017991" y="7189811"/>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279" name="Freeform: Shape 278">
              <a:extLst>
                <a:ext uri="{FF2B5EF4-FFF2-40B4-BE49-F238E27FC236}">
                  <a16:creationId xmlns:a16="http://schemas.microsoft.com/office/drawing/2014/main" id="{BE34902E-CD43-5674-3E5B-1DB967780319}"/>
                </a:ext>
              </a:extLst>
            </p:cNvPr>
            <p:cNvSpPr/>
            <p:nvPr/>
          </p:nvSpPr>
          <p:spPr>
            <a:xfrm>
              <a:off x="14758382" y="7189838"/>
              <a:ext cx="435077" cy="435077"/>
            </a:xfrm>
            <a:custGeom>
              <a:avLst/>
              <a:gdLst>
                <a:gd name="connsiteX0" fmla="*/ 217539 w 435077"/>
                <a:gd name="connsiteY0" fmla="*/ 0 h 435077"/>
                <a:gd name="connsiteX1" fmla="*/ 217539 w 435077"/>
                <a:gd name="connsiteY1" fmla="*/ 0 h 435077"/>
                <a:gd name="connsiteX2" fmla="*/ 0 w 435077"/>
                <a:gd name="connsiteY2" fmla="*/ 0 h 435077"/>
                <a:gd name="connsiteX3" fmla="*/ 0 w 435077"/>
                <a:gd name="connsiteY3" fmla="*/ 217539 h 435077"/>
                <a:gd name="connsiteX4" fmla="*/ 217539 w 435077"/>
                <a:gd name="connsiteY4" fmla="*/ 0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217539" y="0"/>
                  </a:lnTo>
                  <a:lnTo>
                    <a:pt x="0" y="0"/>
                  </a:lnTo>
                  <a:lnTo>
                    <a:pt x="0" y="217539"/>
                  </a:lnTo>
                  <a:lnTo>
                    <a:pt x="217539" y="0"/>
                  </a:lnTo>
                  <a:lnTo>
                    <a:pt x="435077" y="217539"/>
                  </a:lnTo>
                  <a:lnTo>
                    <a:pt x="217539" y="435077"/>
                  </a:lnTo>
                  <a:lnTo>
                    <a:pt x="0" y="217539"/>
                  </a:lnTo>
                  <a:lnTo>
                    <a:pt x="0" y="435077"/>
                  </a:lnTo>
                  <a:lnTo>
                    <a:pt x="217539" y="435077"/>
                  </a:lnTo>
                  <a:lnTo>
                    <a:pt x="435077" y="435077"/>
                  </a:lnTo>
                  <a:lnTo>
                    <a:pt x="435077" y="217539"/>
                  </a:lnTo>
                  <a:lnTo>
                    <a:pt x="435077" y="0"/>
                  </a:lnTo>
                  <a:lnTo>
                    <a:pt x="217539" y="0"/>
                  </a:lnTo>
                  <a:close/>
                </a:path>
              </a:pathLst>
            </a:custGeom>
            <a:grpFill/>
            <a:ln w="27192" cap="flat">
              <a:noFill/>
              <a:prstDash val="solid"/>
              <a:miter/>
            </a:ln>
          </p:spPr>
          <p:txBody>
            <a:bodyPr rtlCol="0" anchor="ctr"/>
            <a:lstStyle/>
            <a:p>
              <a:endParaRPr lang="uk-UA" sz="900"/>
            </a:p>
          </p:txBody>
        </p:sp>
        <p:sp>
          <p:nvSpPr>
            <p:cNvPr id="280" name="Freeform: Shape 279">
              <a:extLst>
                <a:ext uri="{FF2B5EF4-FFF2-40B4-BE49-F238E27FC236}">
                  <a16:creationId xmlns:a16="http://schemas.microsoft.com/office/drawing/2014/main" id="{0AC2CDE5-4E52-B0FB-C26F-C16907114259}"/>
                </a:ext>
              </a:extLst>
            </p:cNvPr>
            <p:cNvSpPr/>
            <p:nvPr/>
          </p:nvSpPr>
          <p:spPr>
            <a:xfrm>
              <a:off x="13888200" y="7189838"/>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65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65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65" y="435077"/>
                  </a:lnTo>
                  <a:lnTo>
                    <a:pt x="435077" y="217539"/>
                  </a:lnTo>
                  <a:lnTo>
                    <a:pt x="435077" y="435077"/>
                  </a:lnTo>
                  <a:close/>
                  <a:moveTo>
                    <a:pt x="435077" y="0"/>
                  </a:moveTo>
                  <a:lnTo>
                    <a:pt x="217565"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281" name="Freeform: Shape 280">
              <a:extLst>
                <a:ext uri="{FF2B5EF4-FFF2-40B4-BE49-F238E27FC236}">
                  <a16:creationId xmlns:a16="http://schemas.microsoft.com/office/drawing/2014/main" id="{540B84D8-DA53-0BDE-2B3E-C8B8AE3A9F12}"/>
                </a:ext>
              </a:extLst>
            </p:cNvPr>
            <p:cNvSpPr/>
            <p:nvPr/>
          </p:nvSpPr>
          <p:spPr>
            <a:xfrm>
              <a:off x="15628536" y="7189838"/>
              <a:ext cx="435077" cy="435077"/>
            </a:xfrm>
            <a:custGeom>
              <a:avLst/>
              <a:gdLst>
                <a:gd name="connsiteX0" fmla="*/ 371367 w 435077"/>
                <a:gd name="connsiteY0" fmla="*/ 63711 h 435077"/>
                <a:gd name="connsiteX1" fmla="*/ 435077 w 435077"/>
                <a:gd name="connsiteY1" fmla="*/ 217539 h 435077"/>
                <a:gd name="connsiteX2" fmla="*/ 218953 w 435077"/>
                <a:gd name="connsiteY2" fmla="*/ 217539 h 435077"/>
                <a:gd name="connsiteX3" fmla="*/ 371367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39 w 435077"/>
                <a:gd name="connsiteY7" fmla="*/ 281250 h 435077"/>
                <a:gd name="connsiteX8" fmla="*/ 216153 w 435077"/>
                <a:gd name="connsiteY8" fmla="*/ 217539 h 435077"/>
                <a:gd name="connsiteX9" fmla="*/ 0 w 435077"/>
                <a:gd name="connsiteY9" fmla="*/ 217539 h 435077"/>
                <a:gd name="connsiteX10" fmla="*/ 63712 w 435077"/>
                <a:gd name="connsiteY10" fmla="*/ 63711 h 435077"/>
                <a:gd name="connsiteX11" fmla="*/ 217539 w 435077"/>
                <a:gd name="connsiteY11" fmla="*/ 0 h 435077"/>
                <a:gd name="connsiteX12" fmla="*/ 371367 w 435077"/>
                <a:gd name="connsiteY12" fmla="*/ 63711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7" y="63711"/>
                  </a:moveTo>
                  <a:cubicBezTo>
                    <a:pt x="412155" y="104527"/>
                    <a:pt x="435077" y="159836"/>
                    <a:pt x="435077" y="217539"/>
                  </a:cubicBezTo>
                  <a:lnTo>
                    <a:pt x="218953" y="217539"/>
                  </a:lnTo>
                  <a:cubicBezTo>
                    <a:pt x="276139" y="217920"/>
                    <a:pt x="330904" y="240788"/>
                    <a:pt x="371367" y="281250"/>
                  </a:cubicBezTo>
                  <a:cubicBezTo>
                    <a:pt x="412182" y="322039"/>
                    <a:pt x="435077" y="377375"/>
                    <a:pt x="435077" y="435077"/>
                  </a:cubicBezTo>
                  <a:lnTo>
                    <a:pt x="217539" y="435077"/>
                  </a:lnTo>
                  <a:lnTo>
                    <a:pt x="0" y="435077"/>
                  </a:lnTo>
                  <a:cubicBezTo>
                    <a:pt x="0" y="377375"/>
                    <a:pt x="22924" y="322039"/>
                    <a:pt x="63739" y="281250"/>
                  </a:cubicBezTo>
                  <a:cubicBezTo>
                    <a:pt x="104202" y="240788"/>
                    <a:pt x="158967" y="217920"/>
                    <a:pt x="216153" y="217539"/>
                  </a:cubicBezTo>
                  <a:lnTo>
                    <a:pt x="0" y="217539"/>
                  </a:lnTo>
                  <a:cubicBezTo>
                    <a:pt x="0" y="159836"/>
                    <a:pt x="22924" y="104527"/>
                    <a:pt x="63712" y="63711"/>
                  </a:cubicBezTo>
                  <a:cubicBezTo>
                    <a:pt x="104527" y="22923"/>
                    <a:pt x="159865" y="0"/>
                    <a:pt x="217539" y="0"/>
                  </a:cubicBezTo>
                  <a:cubicBezTo>
                    <a:pt x="275241" y="0"/>
                    <a:pt x="330578" y="22923"/>
                    <a:pt x="371367" y="63711"/>
                  </a:cubicBezTo>
                  <a:close/>
                </a:path>
              </a:pathLst>
            </a:custGeom>
            <a:grpFill/>
            <a:ln w="27192" cap="flat">
              <a:noFill/>
              <a:prstDash val="solid"/>
              <a:miter/>
            </a:ln>
          </p:spPr>
          <p:txBody>
            <a:bodyPr rtlCol="0" anchor="ctr"/>
            <a:lstStyle/>
            <a:p>
              <a:endParaRPr lang="uk-UA" sz="900"/>
            </a:p>
          </p:txBody>
        </p:sp>
        <p:sp>
          <p:nvSpPr>
            <p:cNvPr id="282" name="Freeform: Shape 281">
              <a:extLst>
                <a:ext uri="{FF2B5EF4-FFF2-40B4-BE49-F238E27FC236}">
                  <a16:creationId xmlns:a16="http://schemas.microsoft.com/office/drawing/2014/main" id="{6C4774FE-4AB4-191B-ABAE-9F8653964670}"/>
                </a:ext>
              </a:extLst>
            </p:cNvPr>
            <p:cNvSpPr/>
            <p:nvPr/>
          </p:nvSpPr>
          <p:spPr>
            <a:xfrm>
              <a:off x="16498719" y="718983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49 w 435077"/>
                <a:gd name="connsiteY7" fmla="*/ 217539 h 435077"/>
                <a:gd name="connsiteX8" fmla="*/ 435077 w 435077"/>
                <a:gd name="connsiteY8" fmla="*/ 217539 h 435077"/>
                <a:gd name="connsiteX9" fmla="*/ 435049 w 435077"/>
                <a:gd name="connsiteY9" fmla="*/ 217539 h 435077"/>
                <a:gd name="connsiteX10" fmla="*/ 435077 w 435077"/>
                <a:gd name="connsiteY10" fmla="*/ 217539 h 435077"/>
                <a:gd name="connsiteX11" fmla="*/ 435049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49" y="217539"/>
                  </a:lnTo>
                  <a:lnTo>
                    <a:pt x="435077" y="217539"/>
                  </a:lnTo>
                  <a:lnTo>
                    <a:pt x="435049" y="217539"/>
                  </a:lnTo>
                  <a:lnTo>
                    <a:pt x="435077" y="217539"/>
                  </a:lnTo>
                  <a:lnTo>
                    <a:pt x="435049"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283" name="Freeform: Shape 282">
              <a:extLst>
                <a:ext uri="{FF2B5EF4-FFF2-40B4-BE49-F238E27FC236}">
                  <a16:creationId xmlns:a16="http://schemas.microsoft.com/office/drawing/2014/main" id="{D25BA2CB-911A-DBB1-BC76-747C593F864B}"/>
                </a:ext>
              </a:extLst>
            </p:cNvPr>
            <p:cNvSpPr/>
            <p:nvPr/>
          </p:nvSpPr>
          <p:spPr>
            <a:xfrm>
              <a:off x="18239029" y="718983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284" name="Freeform: Shape 283">
              <a:extLst>
                <a:ext uri="{FF2B5EF4-FFF2-40B4-BE49-F238E27FC236}">
                  <a16:creationId xmlns:a16="http://schemas.microsoft.com/office/drawing/2014/main" id="{E2403443-C573-2CE8-A299-306E4C6E6487}"/>
                </a:ext>
              </a:extLst>
            </p:cNvPr>
            <p:cNvSpPr/>
            <p:nvPr/>
          </p:nvSpPr>
          <p:spPr>
            <a:xfrm>
              <a:off x="17368874" y="7189838"/>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285" name="Freeform: Shape 284">
              <a:extLst>
                <a:ext uri="{FF2B5EF4-FFF2-40B4-BE49-F238E27FC236}">
                  <a16:creationId xmlns:a16="http://schemas.microsoft.com/office/drawing/2014/main" id="{FDADE595-02FC-5442-E04F-5824F3D1CAFE}"/>
                </a:ext>
              </a:extLst>
            </p:cNvPr>
            <p:cNvSpPr/>
            <p:nvPr/>
          </p:nvSpPr>
          <p:spPr>
            <a:xfrm>
              <a:off x="19109210" y="7189838"/>
              <a:ext cx="435077" cy="435077"/>
            </a:xfrm>
            <a:custGeom>
              <a:avLst/>
              <a:gdLst>
                <a:gd name="connsiteX0" fmla="*/ 371339 w 435077"/>
                <a:gd name="connsiteY0" fmla="*/ 63711 h 435077"/>
                <a:gd name="connsiteX1" fmla="*/ 435077 w 435077"/>
                <a:gd name="connsiteY1" fmla="*/ 217539 h 435077"/>
                <a:gd name="connsiteX2" fmla="*/ 218926 w 435077"/>
                <a:gd name="connsiteY2" fmla="*/ 217539 h 435077"/>
                <a:gd name="connsiteX3" fmla="*/ 371365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25 w 435077"/>
                <a:gd name="connsiteY8" fmla="*/ 217539 h 435077"/>
                <a:gd name="connsiteX9" fmla="*/ 0 w 435077"/>
                <a:gd name="connsiteY9" fmla="*/ 217539 h 435077"/>
                <a:gd name="connsiteX10" fmla="*/ 63712 w 435077"/>
                <a:gd name="connsiteY10" fmla="*/ 63711 h 435077"/>
                <a:gd name="connsiteX11" fmla="*/ 217539 w 435077"/>
                <a:gd name="connsiteY11" fmla="*/ 0 h 435077"/>
                <a:gd name="connsiteX12" fmla="*/ 371339 w 435077"/>
                <a:gd name="connsiteY12" fmla="*/ 63711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11"/>
                  </a:moveTo>
                  <a:cubicBezTo>
                    <a:pt x="412154" y="104527"/>
                    <a:pt x="435077" y="159836"/>
                    <a:pt x="435077" y="217539"/>
                  </a:cubicBezTo>
                  <a:lnTo>
                    <a:pt x="218926" y="217539"/>
                  </a:lnTo>
                  <a:cubicBezTo>
                    <a:pt x="276111" y="217920"/>
                    <a:pt x="330877" y="240788"/>
                    <a:pt x="371365" y="281250"/>
                  </a:cubicBezTo>
                  <a:cubicBezTo>
                    <a:pt x="412154" y="322039"/>
                    <a:pt x="435077" y="377375"/>
                    <a:pt x="435077" y="435077"/>
                  </a:cubicBezTo>
                  <a:lnTo>
                    <a:pt x="217539" y="435077"/>
                  </a:lnTo>
                  <a:lnTo>
                    <a:pt x="0" y="435077"/>
                  </a:lnTo>
                  <a:cubicBezTo>
                    <a:pt x="0" y="377375"/>
                    <a:pt x="22924" y="322039"/>
                    <a:pt x="63712" y="281250"/>
                  </a:cubicBezTo>
                  <a:cubicBezTo>
                    <a:pt x="104174" y="240788"/>
                    <a:pt x="158940" y="217920"/>
                    <a:pt x="216125" y="217539"/>
                  </a:cubicBezTo>
                  <a:lnTo>
                    <a:pt x="0" y="217539"/>
                  </a:lnTo>
                  <a:cubicBezTo>
                    <a:pt x="0" y="159836"/>
                    <a:pt x="22895" y="104527"/>
                    <a:pt x="63712" y="63711"/>
                  </a:cubicBezTo>
                  <a:cubicBezTo>
                    <a:pt x="104501" y="22923"/>
                    <a:pt x="159836" y="0"/>
                    <a:pt x="217539" y="0"/>
                  </a:cubicBezTo>
                  <a:cubicBezTo>
                    <a:pt x="275215" y="0"/>
                    <a:pt x="330550" y="22923"/>
                    <a:pt x="371339" y="63711"/>
                  </a:cubicBezTo>
                  <a:close/>
                </a:path>
              </a:pathLst>
            </a:custGeom>
            <a:grpFill/>
            <a:ln w="27192" cap="flat">
              <a:noFill/>
              <a:prstDash val="solid"/>
              <a:miter/>
            </a:ln>
          </p:spPr>
          <p:txBody>
            <a:bodyPr rtlCol="0" anchor="ctr"/>
            <a:lstStyle/>
            <a:p>
              <a:endParaRPr lang="uk-UA" sz="900"/>
            </a:p>
          </p:txBody>
        </p:sp>
        <p:sp>
          <p:nvSpPr>
            <p:cNvPr id="286" name="Freeform: Shape 285">
              <a:extLst>
                <a:ext uri="{FF2B5EF4-FFF2-40B4-BE49-F238E27FC236}">
                  <a16:creationId xmlns:a16="http://schemas.microsoft.com/office/drawing/2014/main" id="{BB0E70F4-FE2A-A505-9228-6298AEF8C633}"/>
                </a:ext>
              </a:extLst>
            </p:cNvPr>
            <p:cNvSpPr/>
            <p:nvPr/>
          </p:nvSpPr>
          <p:spPr>
            <a:xfrm>
              <a:off x="19979365" y="718983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51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51"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287" name="Freeform: Shape 286">
              <a:extLst>
                <a:ext uri="{FF2B5EF4-FFF2-40B4-BE49-F238E27FC236}">
                  <a16:creationId xmlns:a16="http://schemas.microsoft.com/office/drawing/2014/main" id="{B8DCC521-8AA0-C6FF-0BF3-36E2621F63CC}"/>
                </a:ext>
              </a:extLst>
            </p:cNvPr>
            <p:cNvSpPr/>
            <p:nvPr/>
          </p:nvSpPr>
          <p:spPr>
            <a:xfrm>
              <a:off x="21719702" y="718983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288" name="Freeform: Shape 287">
              <a:extLst>
                <a:ext uri="{FF2B5EF4-FFF2-40B4-BE49-F238E27FC236}">
                  <a16:creationId xmlns:a16="http://schemas.microsoft.com/office/drawing/2014/main" id="{54A95C27-00CE-2069-EF07-9DEC4121671C}"/>
                </a:ext>
              </a:extLst>
            </p:cNvPr>
            <p:cNvSpPr/>
            <p:nvPr/>
          </p:nvSpPr>
          <p:spPr>
            <a:xfrm>
              <a:off x="20849520" y="7189838"/>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65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65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65" y="435077"/>
                  </a:lnTo>
                  <a:lnTo>
                    <a:pt x="435077" y="217539"/>
                  </a:lnTo>
                  <a:lnTo>
                    <a:pt x="435077" y="435077"/>
                  </a:lnTo>
                  <a:close/>
                  <a:moveTo>
                    <a:pt x="435077" y="0"/>
                  </a:moveTo>
                  <a:lnTo>
                    <a:pt x="217565"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289" name="Freeform: Shape 288">
              <a:extLst>
                <a:ext uri="{FF2B5EF4-FFF2-40B4-BE49-F238E27FC236}">
                  <a16:creationId xmlns:a16="http://schemas.microsoft.com/office/drawing/2014/main" id="{77EF2081-7E7F-A4D1-7212-4C7F0BC8077F}"/>
                </a:ext>
              </a:extLst>
            </p:cNvPr>
            <p:cNvSpPr/>
            <p:nvPr/>
          </p:nvSpPr>
          <p:spPr>
            <a:xfrm>
              <a:off x="22589856" y="7189838"/>
              <a:ext cx="435077" cy="435077"/>
            </a:xfrm>
            <a:custGeom>
              <a:avLst/>
              <a:gdLst>
                <a:gd name="connsiteX0" fmla="*/ 371367 w 435077"/>
                <a:gd name="connsiteY0" fmla="*/ 63711 h 435077"/>
                <a:gd name="connsiteX1" fmla="*/ 435077 w 435077"/>
                <a:gd name="connsiteY1" fmla="*/ 217539 h 435077"/>
                <a:gd name="connsiteX2" fmla="*/ 218953 w 435077"/>
                <a:gd name="connsiteY2" fmla="*/ 217539 h 435077"/>
                <a:gd name="connsiteX3" fmla="*/ 371367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53 w 435077"/>
                <a:gd name="connsiteY8" fmla="*/ 217539 h 435077"/>
                <a:gd name="connsiteX9" fmla="*/ 0 w 435077"/>
                <a:gd name="connsiteY9" fmla="*/ 217539 h 435077"/>
                <a:gd name="connsiteX10" fmla="*/ 63712 w 435077"/>
                <a:gd name="connsiteY10" fmla="*/ 63711 h 435077"/>
                <a:gd name="connsiteX11" fmla="*/ 217539 w 435077"/>
                <a:gd name="connsiteY11" fmla="*/ 0 h 435077"/>
                <a:gd name="connsiteX12" fmla="*/ 371367 w 435077"/>
                <a:gd name="connsiteY12" fmla="*/ 63711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7" y="63711"/>
                  </a:moveTo>
                  <a:cubicBezTo>
                    <a:pt x="412155" y="104527"/>
                    <a:pt x="435077" y="159836"/>
                    <a:pt x="435077" y="217539"/>
                  </a:cubicBezTo>
                  <a:lnTo>
                    <a:pt x="218953" y="217539"/>
                  </a:lnTo>
                  <a:cubicBezTo>
                    <a:pt x="276139" y="217920"/>
                    <a:pt x="330904" y="240788"/>
                    <a:pt x="371367" y="281250"/>
                  </a:cubicBezTo>
                  <a:cubicBezTo>
                    <a:pt x="412155" y="322039"/>
                    <a:pt x="435077" y="377375"/>
                    <a:pt x="435077" y="435077"/>
                  </a:cubicBezTo>
                  <a:lnTo>
                    <a:pt x="217539" y="435077"/>
                  </a:lnTo>
                  <a:lnTo>
                    <a:pt x="0" y="435077"/>
                  </a:lnTo>
                  <a:cubicBezTo>
                    <a:pt x="0" y="377375"/>
                    <a:pt x="22924" y="322039"/>
                    <a:pt x="63712" y="281250"/>
                  </a:cubicBezTo>
                  <a:cubicBezTo>
                    <a:pt x="104202" y="240788"/>
                    <a:pt x="158967" y="217920"/>
                    <a:pt x="216153" y="217539"/>
                  </a:cubicBezTo>
                  <a:lnTo>
                    <a:pt x="0" y="217539"/>
                  </a:lnTo>
                  <a:cubicBezTo>
                    <a:pt x="0" y="159836"/>
                    <a:pt x="22924" y="104527"/>
                    <a:pt x="63712" y="63711"/>
                  </a:cubicBezTo>
                  <a:cubicBezTo>
                    <a:pt x="104529" y="22923"/>
                    <a:pt x="159838" y="0"/>
                    <a:pt x="217539" y="0"/>
                  </a:cubicBezTo>
                  <a:cubicBezTo>
                    <a:pt x="275241" y="0"/>
                    <a:pt x="330578" y="22923"/>
                    <a:pt x="371367" y="63711"/>
                  </a:cubicBezTo>
                  <a:close/>
                </a:path>
              </a:pathLst>
            </a:custGeom>
            <a:grpFill/>
            <a:ln w="27192" cap="flat">
              <a:noFill/>
              <a:prstDash val="solid"/>
              <a:miter/>
            </a:ln>
          </p:spPr>
          <p:txBody>
            <a:bodyPr rtlCol="0" anchor="ctr"/>
            <a:lstStyle/>
            <a:p>
              <a:endParaRPr lang="uk-UA" sz="900"/>
            </a:p>
          </p:txBody>
        </p:sp>
        <p:sp>
          <p:nvSpPr>
            <p:cNvPr id="290" name="Freeform: Shape 289">
              <a:extLst>
                <a:ext uri="{FF2B5EF4-FFF2-40B4-BE49-F238E27FC236}">
                  <a16:creationId xmlns:a16="http://schemas.microsoft.com/office/drawing/2014/main" id="{92D363CE-1043-EB81-A170-76348A7164A8}"/>
                </a:ext>
              </a:extLst>
            </p:cNvPr>
            <p:cNvSpPr/>
            <p:nvPr/>
          </p:nvSpPr>
          <p:spPr>
            <a:xfrm>
              <a:off x="23460039" y="718983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10 w 435077"/>
                <a:gd name="connsiteY5" fmla="*/ 435077 h 435077"/>
                <a:gd name="connsiteX6" fmla="*/ 217510 w 435077"/>
                <a:gd name="connsiteY6" fmla="*/ 435077 h 435077"/>
                <a:gd name="connsiteX7" fmla="*/ 435049 w 435077"/>
                <a:gd name="connsiteY7" fmla="*/ 217539 h 435077"/>
                <a:gd name="connsiteX8" fmla="*/ 435077 w 435077"/>
                <a:gd name="connsiteY8" fmla="*/ 217539 h 435077"/>
                <a:gd name="connsiteX9" fmla="*/ 435049 w 435077"/>
                <a:gd name="connsiteY9" fmla="*/ 217539 h 435077"/>
                <a:gd name="connsiteX10" fmla="*/ 435049 w 435077"/>
                <a:gd name="connsiteY10" fmla="*/ 217539 h 435077"/>
                <a:gd name="connsiteX11" fmla="*/ 435049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10" y="435077"/>
                  </a:lnTo>
                  <a:lnTo>
                    <a:pt x="217510" y="435077"/>
                  </a:lnTo>
                  <a:lnTo>
                    <a:pt x="435049" y="217539"/>
                  </a:lnTo>
                  <a:lnTo>
                    <a:pt x="435077" y="217539"/>
                  </a:lnTo>
                  <a:lnTo>
                    <a:pt x="435049" y="217539"/>
                  </a:lnTo>
                  <a:lnTo>
                    <a:pt x="435049" y="217539"/>
                  </a:lnTo>
                  <a:lnTo>
                    <a:pt x="435049"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291" name="Freeform: Shape 290">
              <a:extLst>
                <a:ext uri="{FF2B5EF4-FFF2-40B4-BE49-F238E27FC236}">
                  <a16:creationId xmlns:a16="http://schemas.microsoft.com/office/drawing/2014/main" id="{C41B87BB-9308-A692-8E9F-1DE91248ED8E}"/>
                </a:ext>
              </a:extLst>
            </p:cNvPr>
            <p:cNvSpPr/>
            <p:nvPr/>
          </p:nvSpPr>
          <p:spPr>
            <a:xfrm>
              <a:off x="24330194" y="7189838"/>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292" name="Freeform: Shape 291">
              <a:extLst>
                <a:ext uri="{FF2B5EF4-FFF2-40B4-BE49-F238E27FC236}">
                  <a16:creationId xmlns:a16="http://schemas.microsoft.com/office/drawing/2014/main" id="{E050A21D-15AD-609E-ADD5-D5F904E992F8}"/>
                </a:ext>
              </a:extLst>
            </p:cNvPr>
            <p:cNvSpPr/>
            <p:nvPr/>
          </p:nvSpPr>
          <p:spPr>
            <a:xfrm>
              <a:off x="835769" y="805999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1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1" y="217539"/>
                  </a:lnTo>
                  <a:lnTo>
                    <a:pt x="0" y="435077"/>
                  </a:lnTo>
                  <a:close/>
                </a:path>
              </a:pathLst>
            </a:custGeom>
            <a:grpFill/>
            <a:ln w="27192" cap="flat">
              <a:noFill/>
              <a:prstDash val="solid"/>
              <a:miter/>
            </a:ln>
          </p:spPr>
          <p:txBody>
            <a:bodyPr rtlCol="0" anchor="ctr"/>
            <a:lstStyle/>
            <a:p>
              <a:endParaRPr lang="uk-UA" sz="900"/>
            </a:p>
          </p:txBody>
        </p:sp>
        <p:sp>
          <p:nvSpPr>
            <p:cNvPr id="293" name="Freeform: Shape 292">
              <a:extLst>
                <a:ext uri="{FF2B5EF4-FFF2-40B4-BE49-F238E27FC236}">
                  <a16:creationId xmlns:a16="http://schemas.microsoft.com/office/drawing/2014/main" id="{49D36B96-A350-CB1C-D493-1E51AD268AAA}"/>
                </a:ext>
              </a:extLst>
            </p:cNvPr>
            <p:cNvSpPr/>
            <p:nvPr/>
          </p:nvSpPr>
          <p:spPr>
            <a:xfrm>
              <a:off x="-34398" y="8059993"/>
              <a:ext cx="435090" cy="435077"/>
            </a:xfrm>
            <a:custGeom>
              <a:avLst/>
              <a:gdLst>
                <a:gd name="connsiteX0" fmla="*/ 217552 w 435090"/>
                <a:gd name="connsiteY0" fmla="*/ 435077 h 435077"/>
                <a:gd name="connsiteX1" fmla="*/ 217552 w 435090"/>
                <a:gd name="connsiteY1" fmla="*/ 0 h 435077"/>
                <a:gd name="connsiteX2" fmla="*/ 435091 w 435090"/>
                <a:gd name="connsiteY2" fmla="*/ 217539 h 435077"/>
                <a:gd name="connsiteX3" fmla="*/ 217552 w 435090"/>
                <a:gd name="connsiteY3" fmla="*/ 435077 h 435077"/>
                <a:gd name="connsiteX4" fmla="*/ 0 w 435090"/>
                <a:gd name="connsiteY4" fmla="*/ 435077 h 435077"/>
                <a:gd name="connsiteX5" fmla="*/ 0 w 435090"/>
                <a:gd name="connsiteY5" fmla="*/ 27 h 435077"/>
                <a:gd name="connsiteX6" fmla="*/ 217525 w 435090"/>
                <a:gd name="connsiteY6" fmla="*/ 217566 h 435077"/>
                <a:gd name="connsiteX7" fmla="*/ 0 w 435090"/>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90" h="435077">
                  <a:moveTo>
                    <a:pt x="217552" y="435077"/>
                  </a:moveTo>
                  <a:lnTo>
                    <a:pt x="217552" y="0"/>
                  </a:lnTo>
                  <a:lnTo>
                    <a:pt x="435091" y="217539"/>
                  </a:lnTo>
                  <a:lnTo>
                    <a:pt x="217552" y="435077"/>
                  </a:lnTo>
                  <a:close/>
                  <a:moveTo>
                    <a:pt x="0" y="435077"/>
                  </a:moveTo>
                  <a:lnTo>
                    <a:pt x="0" y="27"/>
                  </a:lnTo>
                  <a:lnTo>
                    <a:pt x="217525" y="217566"/>
                  </a:lnTo>
                  <a:lnTo>
                    <a:pt x="0" y="435077"/>
                  </a:lnTo>
                  <a:close/>
                </a:path>
              </a:pathLst>
            </a:custGeom>
            <a:grpFill/>
            <a:ln w="27192" cap="flat">
              <a:noFill/>
              <a:prstDash val="solid"/>
              <a:miter/>
            </a:ln>
          </p:spPr>
          <p:txBody>
            <a:bodyPr rtlCol="0" anchor="ctr"/>
            <a:lstStyle/>
            <a:p>
              <a:endParaRPr lang="uk-UA" sz="900"/>
            </a:p>
          </p:txBody>
        </p:sp>
        <p:sp>
          <p:nvSpPr>
            <p:cNvPr id="294" name="Freeform: Shape 293">
              <a:extLst>
                <a:ext uri="{FF2B5EF4-FFF2-40B4-BE49-F238E27FC236}">
                  <a16:creationId xmlns:a16="http://schemas.microsoft.com/office/drawing/2014/main" id="{B19FA4C0-1C8F-1E6B-5194-B3F4DD59800E}"/>
                </a:ext>
              </a:extLst>
            </p:cNvPr>
            <p:cNvSpPr/>
            <p:nvPr/>
          </p:nvSpPr>
          <p:spPr>
            <a:xfrm>
              <a:off x="1705924" y="8059993"/>
              <a:ext cx="435077" cy="435077"/>
            </a:xfrm>
            <a:custGeom>
              <a:avLst/>
              <a:gdLst>
                <a:gd name="connsiteX0" fmla="*/ 63711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1 w 435077"/>
                <a:gd name="connsiteY6" fmla="*/ 153827 h 435077"/>
                <a:gd name="connsiteX7" fmla="*/ 63711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1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1" y="153827"/>
                  </a:moveTo>
                  <a:cubicBezTo>
                    <a:pt x="22923" y="113039"/>
                    <a:pt x="0" y="57702"/>
                    <a:pt x="0" y="0"/>
                  </a:cubicBezTo>
                  <a:lnTo>
                    <a:pt x="217539" y="0"/>
                  </a:lnTo>
                  <a:lnTo>
                    <a:pt x="435077" y="0"/>
                  </a:lnTo>
                  <a:cubicBezTo>
                    <a:pt x="435077" y="57702"/>
                    <a:pt x="412154" y="113039"/>
                    <a:pt x="371366" y="153827"/>
                  </a:cubicBezTo>
                  <a:cubicBezTo>
                    <a:pt x="330577" y="194616"/>
                    <a:pt x="275241" y="217539"/>
                    <a:pt x="217539" y="217539"/>
                  </a:cubicBezTo>
                  <a:cubicBezTo>
                    <a:pt x="159836" y="217539"/>
                    <a:pt x="104527" y="194616"/>
                    <a:pt x="63711" y="153827"/>
                  </a:cubicBezTo>
                  <a:close/>
                  <a:moveTo>
                    <a:pt x="63711" y="281250"/>
                  </a:moveTo>
                  <a:cubicBezTo>
                    <a:pt x="22923" y="322066"/>
                    <a:pt x="0" y="377402"/>
                    <a:pt x="0" y="435077"/>
                  </a:cubicBezTo>
                  <a:lnTo>
                    <a:pt x="217539" y="435077"/>
                  </a:lnTo>
                  <a:lnTo>
                    <a:pt x="435077" y="435077"/>
                  </a:lnTo>
                  <a:cubicBezTo>
                    <a:pt x="435077" y="377402"/>
                    <a:pt x="412154" y="322066"/>
                    <a:pt x="371366" y="281250"/>
                  </a:cubicBezTo>
                  <a:cubicBezTo>
                    <a:pt x="330577" y="240462"/>
                    <a:pt x="275241" y="217539"/>
                    <a:pt x="217539" y="217539"/>
                  </a:cubicBezTo>
                  <a:cubicBezTo>
                    <a:pt x="159836" y="217539"/>
                    <a:pt x="104527" y="240462"/>
                    <a:pt x="63711" y="281250"/>
                  </a:cubicBezTo>
                  <a:close/>
                </a:path>
              </a:pathLst>
            </a:custGeom>
            <a:grpFill/>
            <a:ln w="27192" cap="flat">
              <a:noFill/>
              <a:prstDash val="solid"/>
              <a:miter/>
            </a:ln>
          </p:spPr>
          <p:txBody>
            <a:bodyPr rtlCol="0" anchor="ctr"/>
            <a:lstStyle/>
            <a:p>
              <a:endParaRPr lang="uk-UA" sz="900"/>
            </a:p>
          </p:txBody>
        </p:sp>
        <p:sp>
          <p:nvSpPr>
            <p:cNvPr id="295" name="Freeform: Shape 294">
              <a:extLst>
                <a:ext uri="{FF2B5EF4-FFF2-40B4-BE49-F238E27FC236}">
                  <a16:creationId xmlns:a16="http://schemas.microsoft.com/office/drawing/2014/main" id="{B209BFF9-D721-EA51-D584-C77BB1DFC3BD}"/>
                </a:ext>
              </a:extLst>
            </p:cNvPr>
            <p:cNvSpPr/>
            <p:nvPr/>
          </p:nvSpPr>
          <p:spPr>
            <a:xfrm>
              <a:off x="2576106" y="805999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296" name="Freeform: Shape 295">
              <a:extLst>
                <a:ext uri="{FF2B5EF4-FFF2-40B4-BE49-F238E27FC236}">
                  <a16:creationId xmlns:a16="http://schemas.microsoft.com/office/drawing/2014/main" id="{882074F1-3C18-7A9E-28BF-2234C1531F20}"/>
                </a:ext>
              </a:extLst>
            </p:cNvPr>
            <p:cNvSpPr/>
            <p:nvPr/>
          </p:nvSpPr>
          <p:spPr>
            <a:xfrm>
              <a:off x="4316416" y="8059993"/>
              <a:ext cx="435077" cy="435077"/>
            </a:xfrm>
            <a:custGeom>
              <a:avLst/>
              <a:gdLst>
                <a:gd name="connsiteX0" fmla="*/ 435077 w 435077"/>
                <a:gd name="connsiteY0" fmla="*/ 435077 h 435077"/>
                <a:gd name="connsiteX1" fmla="*/ 435077 w 435077"/>
                <a:gd name="connsiteY1" fmla="*/ 0 h 435077"/>
                <a:gd name="connsiteX2" fmla="*/ 217565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97" name="Freeform: Shape 296">
              <a:extLst>
                <a:ext uri="{FF2B5EF4-FFF2-40B4-BE49-F238E27FC236}">
                  <a16:creationId xmlns:a16="http://schemas.microsoft.com/office/drawing/2014/main" id="{F697CF43-010E-48AE-F5DD-EC2CDA76A9EB}"/>
                </a:ext>
              </a:extLst>
            </p:cNvPr>
            <p:cNvSpPr/>
            <p:nvPr/>
          </p:nvSpPr>
          <p:spPr>
            <a:xfrm>
              <a:off x="3446261" y="8059993"/>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27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27"/>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298" name="Freeform: Shape 297">
              <a:extLst>
                <a:ext uri="{FF2B5EF4-FFF2-40B4-BE49-F238E27FC236}">
                  <a16:creationId xmlns:a16="http://schemas.microsoft.com/office/drawing/2014/main" id="{4AA32CA9-F3E1-3165-3169-DF559257FDB3}"/>
                </a:ext>
              </a:extLst>
            </p:cNvPr>
            <p:cNvSpPr/>
            <p:nvPr/>
          </p:nvSpPr>
          <p:spPr>
            <a:xfrm>
              <a:off x="5186597" y="805999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6" y="153827"/>
                  </a:cubicBezTo>
                  <a:cubicBezTo>
                    <a:pt x="330550" y="194616"/>
                    <a:pt x="275241" y="217539"/>
                    <a:pt x="217539" y="217539"/>
                  </a:cubicBezTo>
                  <a:cubicBezTo>
                    <a:pt x="159837" y="217539"/>
                    <a:pt x="104501" y="194616"/>
                    <a:pt x="63712" y="153827"/>
                  </a:cubicBezTo>
                  <a:close/>
                  <a:moveTo>
                    <a:pt x="63712" y="281250"/>
                  </a:moveTo>
                  <a:cubicBezTo>
                    <a:pt x="22924" y="322066"/>
                    <a:pt x="0" y="377402"/>
                    <a:pt x="0" y="435077"/>
                  </a:cubicBezTo>
                  <a:lnTo>
                    <a:pt x="217539" y="435077"/>
                  </a:lnTo>
                  <a:lnTo>
                    <a:pt x="435077" y="435077"/>
                  </a:lnTo>
                  <a:cubicBezTo>
                    <a:pt x="435077" y="377402"/>
                    <a:pt x="412155" y="322066"/>
                    <a:pt x="371366" y="281250"/>
                  </a:cubicBezTo>
                  <a:cubicBezTo>
                    <a:pt x="330550" y="240462"/>
                    <a:pt x="275241" y="217539"/>
                    <a:pt x="217539" y="217539"/>
                  </a:cubicBezTo>
                  <a:cubicBezTo>
                    <a:pt x="159837" y="217539"/>
                    <a:pt x="104501" y="240462"/>
                    <a:pt x="63712" y="281250"/>
                  </a:cubicBezTo>
                  <a:close/>
                </a:path>
              </a:pathLst>
            </a:custGeom>
            <a:grpFill/>
            <a:ln w="27192" cap="flat">
              <a:noFill/>
              <a:prstDash val="solid"/>
              <a:miter/>
            </a:ln>
          </p:spPr>
          <p:txBody>
            <a:bodyPr rtlCol="0" anchor="ctr"/>
            <a:lstStyle/>
            <a:p>
              <a:endParaRPr lang="uk-UA" sz="900"/>
            </a:p>
          </p:txBody>
        </p:sp>
        <p:sp>
          <p:nvSpPr>
            <p:cNvPr id="299" name="Freeform: Shape 298">
              <a:extLst>
                <a:ext uri="{FF2B5EF4-FFF2-40B4-BE49-F238E27FC236}">
                  <a16:creationId xmlns:a16="http://schemas.microsoft.com/office/drawing/2014/main" id="{0EADE6F5-0383-46F1-08A0-494286FD1958}"/>
                </a:ext>
              </a:extLst>
            </p:cNvPr>
            <p:cNvSpPr/>
            <p:nvPr/>
          </p:nvSpPr>
          <p:spPr>
            <a:xfrm>
              <a:off x="6056752" y="805999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300" name="Freeform: Shape 299">
              <a:extLst>
                <a:ext uri="{FF2B5EF4-FFF2-40B4-BE49-F238E27FC236}">
                  <a16:creationId xmlns:a16="http://schemas.microsoft.com/office/drawing/2014/main" id="{181282FB-F21F-1E8A-D03F-678D5A94F2EC}"/>
                </a:ext>
              </a:extLst>
            </p:cNvPr>
            <p:cNvSpPr/>
            <p:nvPr/>
          </p:nvSpPr>
          <p:spPr>
            <a:xfrm>
              <a:off x="7797062" y="8059993"/>
              <a:ext cx="435077" cy="435077"/>
            </a:xfrm>
            <a:custGeom>
              <a:avLst/>
              <a:gdLst>
                <a:gd name="connsiteX0" fmla="*/ 435077 w 435077"/>
                <a:gd name="connsiteY0" fmla="*/ 435077 h 435077"/>
                <a:gd name="connsiteX1" fmla="*/ 435077 w 435077"/>
                <a:gd name="connsiteY1" fmla="*/ 0 h 435077"/>
                <a:gd name="connsiteX2" fmla="*/ 217566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6"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301" name="Freeform: Shape 300">
              <a:extLst>
                <a:ext uri="{FF2B5EF4-FFF2-40B4-BE49-F238E27FC236}">
                  <a16:creationId xmlns:a16="http://schemas.microsoft.com/office/drawing/2014/main" id="{D160EC50-C8EB-44E1-3F00-8FD87ABD42A3}"/>
                </a:ext>
              </a:extLst>
            </p:cNvPr>
            <p:cNvSpPr/>
            <p:nvPr/>
          </p:nvSpPr>
          <p:spPr>
            <a:xfrm>
              <a:off x="6926907" y="8059993"/>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27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27"/>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302" name="Freeform: Shape 301">
              <a:extLst>
                <a:ext uri="{FF2B5EF4-FFF2-40B4-BE49-F238E27FC236}">
                  <a16:creationId xmlns:a16="http://schemas.microsoft.com/office/drawing/2014/main" id="{04E2E98B-4500-B74C-78AF-97776B92E520}"/>
                </a:ext>
              </a:extLst>
            </p:cNvPr>
            <p:cNvSpPr/>
            <p:nvPr/>
          </p:nvSpPr>
          <p:spPr>
            <a:xfrm>
              <a:off x="8667217" y="8059993"/>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39 w 435077"/>
                <a:gd name="connsiteY6" fmla="*/ 153827 h 435077"/>
                <a:gd name="connsiteX7" fmla="*/ 63739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39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4" y="113039"/>
                    <a:pt x="0" y="57702"/>
                    <a:pt x="0" y="0"/>
                  </a:cubicBezTo>
                  <a:lnTo>
                    <a:pt x="217539" y="0"/>
                  </a:lnTo>
                  <a:lnTo>
                    <a:pt x="435077" y="0"/>
                  </a:lnTo>
                  <a:cubicBezTo>
                    <a:pt x="435077" y="57702"/>
                    <a:pt x="412182" y="113039"/>
                    <a:pt x="371366" y="153827"/>
                  </a:cubicBezTo>
                  <a:cubicBezTo>
                    <a:pt x="330578" y="194616"/>
                    <a:pt x="275241" y="217539"/>
                    <a:pt x="217539" y="217539"/>
                  </a:cubicBezTo>
                  <a:cubicBezTo>
                    <a:pt x="159864" y="217539"/>
                    <a:pt x="104527" y="194616"/>
                    <a:pt x="63739" y="153827"/>
                  </a:cubicBezTo>
                  <a:close/>
                  <a:moveTo>
                    <a:pt x="63739" y="281250"/>
                  </a:moveTo>
                  <a:cubicBezTo>
                    <a:pt x="22924" y="322066"/>
                    <a:pt x="0" y="377402"/>
                    <a:pt x="0" y="435077"/>
                  </a:cubicBezTo>
                  <a:lnTo>
                    <a:pt x="217539" y="435077"/>
                  </a:lnTo>
                  <a:lnTo>
                    <a:pt x="435077" y="435077"/>
                  </a:lnTo>
                  <a:cubicBezTo>
                    <a:pt x="435077" y="377402"/>
                    <a:pt x="412182" y="322066"/>
                    <a:pt x="371366" y="281250"/>
                  </a:cubicBezTo>
                  <a:cubicBezTo>
                    <a:pt x="330578" y="240462"/>
                    <a:pt x="275241" y="217539"/>
                    <a:pt x="217539" y="217539"/>
                  </a:cubicBezTo>
                  <a:cubicBezTo>
                    <a:pt x="159864" y="217539"/>
                    <a:pt x="104527" y="240462"/>
                    <a:pt x="63739" y="281250"/>
                  </a:cubicBezTo>
                  <a:close/>
                </a:path>
              </a:pathLst>
            </a:custGeom>
            <a:grpFill/>
            <a:ln w="27192" cap="flat">
              <a:noFill/>
              <a:prstDash val="solid"/>
              <a:miter/>
            </a:ln>
          </p:spPr>
          <p:txBody>
            <a:bodyPr rtlCol="0" anchor="ctr"/>
            <a:lstStyle/>
            <a:p>
              <a:endParaRPr lang="uk-UA" sz="900"/>
            </a:p>
          </p:txBody>
        </p:sp>
        <p:sp>
          <p:nvSpPr>
            <p:cNvPr id="303" name="Freeform: Shape 302">
              <a:extLst>
                <a:ext uri="{FF2B5EF4-FFF2-40B4-BE49-F238E27FC236}">
                  <a16:creationId xmlns:a16="http://schemas.microsoft.com/office/drawing/2014/main" id="{CF0D0609-5B6D-964A-FCAD-DA23035171B0}"/>
                </a:ext>
              </a:extLst>
            </p:cNvPr>
            <p:cNvSpPr/>
            <p:nvPr/>
          </p:nvSpPr>
          <p:spPr>
            <a:xfrm>
              <a:off x="9537399" y="805999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1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1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1" y="217539"/>
                  </a:lnTo>
                  <a:lnTo>
                    <a:pt x="0" y="217539"/>
                  </a:lnTo>
                  <a:close/>
                  <a:moveTo>
                    <a:pt x="0" y="435077"/>
                  </a:moveTo>
                  <a:lnTo>
                    <a:pt x="0" y="217539"/>
                  </a:lnTo>
                  <a:lnTo>
                    <a:pt x="217511" y="217539"/>
                  </a:lnTo>
                  <a:lnTo>
                    <a:pt x="0" y="435077"/>
                  </a:lnTo>
                  <a:close/>
                </a:path>
              </a:pathLst>
            </a:custGeom>
            <a:grpFill/>
            <a:ln w="27192" cap="flat">
              <a:noFill/>
              <a:prstDash val="solid"/>
              <a:miter/>
            </a:ln>
          </p:spPr>
          <p:txBody>
            <a:bodyPr rtlCol="0" anchor="ctr"/>
            <a:lstStyle/>
            <a:p>
              <a:endParaRPr lang="uk-UA" sz="900"/>
            </a:p>
          </p:txBody>
        </p:sp>
        <p:sp>
          <p:nvSpPr>
            <p:cNvPr id="304" name="Freeform: Shape 303">
              <a:extLst>
                <a:ext uri="{FF2B5EF4-FFF2-40B4-BE49-F238E27FC236}">
                  <a16:creationId xmlns:a16="http://schemas.microsoft.com/office/drawing/2014/main" id="{A34B9304-D73E-DC70-A437-3AA81EE4EF00}"/>
                </a:ext>
              </a:extLst>
            </p:cNvPr>
            <p:cNvSpPr/>
            <p:nvPr/>
          </p:nvSpPr>
          <p:spPr>
            <a:xfrm>
              <a:off x="11277709" y="805999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0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0" y="217539"/>
                  </a:lnTo>
                  <a:lnTo>
                    <a:pt x="0" y="435077"/>
                  </a:lnTo>
                  <a:close/>
                </a:path>
              </a:pathLst>
            </a:custGeom>
            <a:grpFill/>
            <a:ln w="27192" cap="flat">
              <a:noFill/>
              <a:prstDash val="solid"/>
              <a:miter/>
            </a:ln>
          </p:spPr>
          <p:txBody>
            <a:bodyPr rtlCol="0" anchor="ctr"/>
            <a:lstStyle/>
            <a:p>
              <a:endParaRPr lang="uk-UA" sz="900"/>
            </a:p>
          </p:txBody>
        </p:sp>
        <p:sp>
          <p:nvSpPr>
            <p:cNvPr id="305" name="Freeform: Shape 304">
              <a:extLst>
                <a:ext uri="{FF2B5EF4-FFF2-40B4-BE49-F238E27FC236}">
                  <a16:creationId xmlns:a16="http://schemas.microsoft.com/office/drawing/2014/main" id="{9F4EFCA4-B257-4EC3-730F-85BB6BF609CC}"/>
                </a:ext>
              </a:extLst>
            </p:cNvPr>
            <p:cNvSpPr/>
            <p:nvPr/>
          </p:nvSpPr>
          <p:spPr>
            <a:xfrm>
              <a:off x="10407554" y="8059993"/>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27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27"/>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306" name="Freeform: Shape 305">
              <a:extLst>
                <a:ext uri="{FF2B5EF4-FFF2-40B4-BE49-F238E27FC236}">
                  <a16:creationId xmlns:a16="http://schemas.microsoft.com/office/drawing/2014/main" id="{F5B37114-0454-299A-0DD2-6CE0402E08D1}"/>
                </a:ext>
              </a:extLst>
            </p:cNvPr>
            <p:cNvSpPr/>
            <p:nvPr/>
          </p:nvSpPr>
          <p:spPr>
            <a:xfrm>
              <a:off x="12147864" y="8059993"/>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39 w 435077"/>
                <a:gd name="connsiteY6" fmla="*/ 153827 h 435077"/>
                <a:gd name="connsiteX7" fmla="*/ 63739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0 h 435077"/>
                <a:gd name="connsiteX12" fmla="*/ 217539 w 435077"/>
                <a:gd name="connsiteY12" fmla="*/ 217539 h 435077"/>
                <a:gd name="connsiteX13" fmla="*/ 63739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2" y="113039"/>
                    <a:pt x="0" y="57702"/>
                    <a:pt x="0" y="0"/>
                  </a:cubicBezTo>
                  <a:lnTo>
                    <a:pt x="217539" y="0"/>
                  </a:lnTo>
                  <a:lnTo>
                    <a:pt x="435077" y="0"/>
                  </a:lnTo>
                  <a:cubicBezTo>
                    <a:pt x="435077" y="57702"/>
                    <a:pt x="412180" y="113039"/>
                    <a:pt x="371365" y="153827"/>
                  </a:cubicBezTo>
                  <a:cubicBezTo>
                    <a:pt x="330577" y="194616"/>
                    <a:pt x="275239" y="217539"/>
                    <a:pt x="217539" y="217539"/>
                  </a:cubicBezTo>
                  <a:cubicBezTo>
                    <a:pt x="159863" y="217539"/>
                    <a:pt x="104527" y="194616"/>
                    <a:pt x="63739" y="153827"/>
                  </a:cubicBezTo>
                  <a:close/>
                  <a:moveTo>
                    <a:pt x="63739" y="281250"/>
                  </a:moveTo>
                  <a:cubicBezTo>
                    <a:pt x="22922" y="322066"/>
                    <a:pt x="0" y="377402"/>
                    <a:pt x="0" y="435077"/>
                  </a:cubicBezTo>
                  <a:lnTo>
                    <a:pt x="217539" y="435077"/>
                  </a:lnTo>
                  <a:lnTo>
                    <a:pt x="435077" y="435077"/>
                  </a:lnTo>
                  <a:cubicBezTo>
                    <a:pt x="435077" y="377402"/>
                    <a:pt x="412180" y="322066"/>
                    <a:pt x="371365" y="281250"/>
                  </a:cubicBezTo>
                  <a:cubicBezTo>
                    <a:pt x="330577" y="240462"/>
                    <a:pt x="275239" y="217539"/>
                    <a:pt x="217539" y="217539"/>
                  </a:cubicBezTo>
                  <a:cubicBezTo>
                    <a:pt x="159863" y="217539"/>
                    <a:pt x="104527" y="240462"/>
                    <a:pt x="63739" y="281250"/>
                  </a:cubicBezTo>
                  <a:close/>
                </a:path>
              </a:pathLst>
            </a:custGeom>
            <a:grpFill/>
            <a:ln w="27192" cap="flat">
              <a:noFill/>
              <a:prstDash val="solid"/>
              <a:miter/>
            </a:ln>
          </p:spPr>
          <p:txBody>
            <a:bodyPr rtlCol="0" anchor="ctr"/>
            <a:lstStyle/>
            <a:p>
              <a:endParaRPr lang="uk-UA" sz="900"/>
            </a:p>
          </p:txBody>
        </p:sp>
        <p:sp>
          <p:nvSpPr>
            <p:cNvPr id="307" name="Freeform: Shape 306">
              <a:extLst>
                <a:ext uri="{FF2B5EF4-FFF2-40B4-BE49-F238E27FC236}">
                  <a16:creationId xmlns:a16="http://schemas.microsoft.com/office/drawing/2014/main" id="{D029C17D-0369-BE48-B400-A6F4A8EB025C}"/>
                </a:ext>
              </a:extLst>
            </p:cNvPr>
            <p:cNvSpPr/>
            <p:nvPr/>
          </p:nvSpPr>
          <p:spPr>
            <a:xfrm>
              <a:off x="13018045" y="805999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308" name="Freeform: Shape 307">
              <a:extLst>
                <a:ext uri="{FF2B5EF4-FFF2-40B4-BE49-F238E27FC236}">
                  <a16:creationId xmlns:a16="http://schemas.microsoft.com/office/drawing/2014/main" id="{73F2D757-31C5-2977-1C15-4F55B172868A}"/>
                </a:ext>
              </a:extLst>
            </p:cNvPr>
            <p:cNvSpPr/>
            <p:nvPr/>
          </p:nvSpPr>
          <p:spPr>
            <a:xfrm>
              <a:off x="14758382" y="805999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309" name="Freeform: Shape 308">
              <a:extLst>
                <a:ext uri="{FF2B5EF4-FFF2-40B4-BE49-F238E27FC236}">
                  <a16:creationId xmlns:a16="http://schemas.microsoft.com/office/drawing/2014/main" id="{8606AF48-E57E-65DF-E1C2-FE96BA85866C}"/>
                </a:ext>
              </a:extLst>
            </p:cNvPr>
            <p:cNvSpPr/>
            <p:nvPr/>
          </p:nvSpPr>
          <p:spPr>
            <a:xfrm>
              <a:off x="13888200" y="8059993"/>
              <a:ext cx="435103" cy="435077"/>
            </a:xfrm>
            <a:custGeom>
              <a:avLst/>
              <a:gdLst>
                <a:gd name="connsiteX0" fmla="*/ 217565 w 435103"/>
                <a:gd name="connsiteY0" fmla="*/ 435077 h 435077"/>
                <a:gd name="connsiteX1" fmla="*/ 217565 w 435103"/>
                <a:gd name="connsiteY1" fmla="*/ 0 h 435077"/>
                <a:gd name="connsiteX2" fmla="*/ 435104 w 435103"/>
                <a:gd name="connsiteY2" fmla="*/ 217539 h 435077"/>
                <a:gd name="connsiteX3" fmla="*/ 217565 w 435103"/>
                <a:gd name="connsiteY3" fmla="*/ 435077 h 435077"/>
                <a:gd name="connsiteX4" fmla="*/ 0 w 435103"/>
                <a:gd name="connsiteY4" fmla="*/ 435077 h 435077"/>
                <a:gd name="connsiteX5" fmla="*/ 0 w 435103"/>
                <a:gd name="connsiteY5" fmla="*/ 27 h 435077"/>
                <a:gd name="connsiteX6" fmla="*/ 217539 w 435103"/>
                <a:gd name="connsiteY6" fmla="*/ 217566 h 435077"/>
                <a:gd name="connsiteX7" fmla="*/ 0 w 435103"/>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103" h="435077">
                  <a:moveTo>
                    <a:pt x="217565" y="435077"/>
                  </a:moveTo>
                  <a:lnTo>
                    <a:pt x="217565" y="0"/>
                  </a:lnTo>
                  <a:lnTo>
                    <a:pt x="435104" y="217539"/>
                  </a:lnTo>
                  <a:lnTo>
                    <a:pt x="217565" y="435077"/>
                  </a:lnTo>
                  <a:close/>
                  <a:moveTo>
                    <a:pt x="0" y="435077"/>
                  </a:moveTo>
                  <a:lnTo>
                    <a:pt x="0" y="27"/>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310" name="Freeform: Shape 309">
              <a:extLst>
                <a:ext uri="{FF2B5EF4-FFF2-40B4-BE49-F238E27FC236}">
                  <a16:creationId xmlns:a16="http://schemas.microsoft.com/office/drawing/2014/main" id="{3B8F48B4-6C81-6315-17ED-62AD57CAA169}"/>
                </a:ext>
              </a:extLst>
            </p:cNvPr>
            <p:cNvSpPr/>
            <p:nvPr/>
          </p:nvSpPr>
          <p:spPr>
            <a:xfrm>
              <a:off x="15628536" y="805999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7" y="153827"/>
                  </a:cubicBezTo>
                  <a:cubicBezTo>
                    <a:pt x="330578" y="194616"/>
                    <a:pt x="275241" y="217539"/>
                    <a:pt x="217539" y="217539"/>
                  </a:cubicBezTo>
                  <a:cubicBezTo>
                    <a:pt x="159865" y="217539"/>
                    <a:pt x="104527" y="194616"/>
                    <a:pt x="63712" y="153827"/>
                  </a:cubicBezTo>
                  <a:close/>
                  <a:moveTo>
                    <a:pt x="63712" y="281250"/>
                  </a:moveTo>
                  <a:cubicBezTo>
                    <a:pt x="22924" y="322066"/>
                    <a:pt x="0" y="377402"/>
                    <a:pt x="0" y="435077"/>
                  </a:cubicBezTo>
                  <a:lnTo>
                    <a:pt x="217539" y="435077"/>
                  </a:lnTo>
                  <a:lnTo>
                    <a:pt x="435077" y="435077"/>
                  </a:lnTo>
                  <a:cubicBezTo>
                    <a:pt x="435077" y="377402"/>
                    <a:pt x="412155" y="322066"/>
                    <a:pt x="371367" y="281250"/>
                  </a:cubicBezTo>
                  <a:cubicBezTo>
                    <a:pt x="330578" y="240462"/>
                    <a:pt x="275241" y="217539"/>
                    <a:pt x="217539" y="217539"/>
                  </a:cubicBezTo>
                  <a:cubicBezTo>
                    <a:pt x="159865" y="217539"/>
                    <a:pt x="104527" y="240462"/>
                    <a:pt x="63712" y="281250"/>
                  </a:cubicBezTo>
                  <a:close/>
                </a:path>
              </a:pathLst>
            </a:custGeom>
            <a:grpFill/>
            <a:ln w="27192" cap="flat">
              <a:noFill/>
              <a:prstDash val="solid"/>
              <a:miter/>
            </a:ln>
          </p:spPr>
          <p:txBody>
            <a:bodyPr rtlCol="0" anchor="ctr"/>
            <a:lstStyle/>
            <a:p>
              <a:endParaRPr lang="uk-UA" sz="900"/>
            </a:p>
          </p:txBody>
        </p:sp>
        <p:sp>
          <p:nvSpPr>
            <p:cNvPr id="311" name="Freeform: Shape 310">
              <a:extLst>
                <a:ext uri="{FF2B5EF4-FFF2-40B4-BE49-F238E27FC236}">
                  <a16:creationId xmlns:a16="http://schemas.microsoft.com/office/drawing/2014/main" id="{27335533-4B9B-E7F7-CC1A-06D552AF74C5}"/>
                </a:ext>
              </a:extLst>
            </p:cNvPr>
            <p:cNvSpPr/>
            <p:nvPr/>
          </p:nvSpPr>
          <p:spPr>
            <a:xfrm>
              <a:off x="16498719" y="805999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0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0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0" y="217539"/>
                  </a:lnTo>
                  <a:lnTo>
                    <a:pt x="0" y="217539"/>
                  </a:lnTo>
                  <a:close/>
                  <a:moveTo>
                    <a:pt x="0" y="435077"/>
                  </a:moveTo>
                  <a:lnTo>
                    <a:pt x="0" y="217539"/>
                  </a:lnTo>
                  <a:lnTo>
                    <a:pt x="217510" y="217539"/>
                  </a:lnTo>
                  <a:lnTo>
                    <a:pt x="0" y="435077"/>
                  </a:lnTo>
                  <a:close/>
                </a:path>
              </a:pathLst>
            </a:custGeom>
            <a:grpFill/>
            <a:ln w="27192" cap="flat">
              <a:noFill/>
              <a:prstDash val="solid"/>
              <a:miter/>
            </a:ln>
          </p:spPr>
          <p:txBody>
            <a:bodyPr rtlCol="0" anchor="ctr"/>
            <a:lstStyle/>
            <a:p>
              <a:endParaRPr lang="uk-UA" sz="900"/>
            </a:p>
          </p:txBody>
        </p:sp>
        <p:sp>
          <p:nvSpPr>
            <p:cNvPr id="312" name="Freeform: Shape 311">
              <a:extLst>
                <a:ext uri="{FF2B5EF4-FFF2-40B4-BE49-F238E27FC236}">
                  <a16:creationId xmlns:a16="http://schemas.microsoft.com/office/drawing/2014/main" id="{0DEADE0C-84A8-2B81-8A53-DC78DB6A0F80}"/>
                </a:ext>
              </a:extLst>
            </p:cNvPr>
            <p:cNvSpPr/>
            <p:nvPr/>
          </p:nvSpPr>
          <p:spPr>
            <a:xfrm>
              <a:off x="18239029" y="8059993"/>
              <a:ext cx="435077" cy="435077"/>
            </a:xfrm>
            <a:custGeom>
              <a:avLst/>
              <a:gdLst>
                <a:gd name="connsiteX0" fmla="*/ 435077 w 435077"/>
                <a:gd name="connsiteY0" fmla="*/ 435077 h 435077"/>
                <a:gd name="connsiteX1" fmla="*/ 435077 w 435077"/>
                <a:gd name="connsiteY1" fmla="*/ 0 h 435077"/>
                <a:gd name="connsiteX2" fmla="*/ 217565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313" name="Freeform: Shape 312">
              <a:extLst>
                <a:ext uri="{FF2B5EF4-FFF2-40B4-BE49-F238E27FC236}">
                  <a16:creationId xmlns:a16="http://schemas.microsoft.com/office/drawing/2014/main" id="{E798C721-A267-7DA3-13F3-D70AB24F8951}"/>
                </a:ext>
              </a:extLst>
            </p:cNvPr>
            <p:cNvSpPr/>
            <p:nvPr/>
          </p:nvSpPr>
          <p:spPr>
            <a:xfrm>
              <a:off x="17368874" y="8059993"/>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27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27"/>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314" name="Freeform: Shape 313">
              <a:extLst>
                <a:ext uri="{FF2B5EF4-FFF2-40B4-BE49-F238E27FC236}">
                  <a16:creationId xmlns:a16="http://schemas.microsoft.com/office/drawing/2014/main" id="{396B82D4-997C-7B13-9EC6-B6F575483340}"/>
                </a:ext>
              </a:extLst>
            </p:cNvPr>
            <p:cNvSpPr/>
            <p:nvPr/>
          </p:nvSpPr>
          <p:spPr>
            <a:xfrm>
              <a:off x="19109210" y="805999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895" y="113039"/>
                    <a:pt x="0" y="57702"/>
                    <a:pt x="0" y="0"/>
                  </a:cubicBezTo>
                  <a:lnTo>
                    <a:pt x="217539" y="0"/>
                  </a:lnTo>
                  <a:lnTo>
                    <a:pt x="435077" y="0"/>
                  </a:lnTo>
                  <a:cubicBezTo>
                    <a:pt x="435077" y="57702"/>
                    <a:pt x="412154" y="113039"/>
                    <a:pt x="371339" y="153827"/>
                  </a:cubicBezTo>
                  <a:cubicBezTo>
                    <a:pt x="330550" y="194616"/>
                    <a:pt x="275215" y="217539"/>
                    <a:pt x="217539" y="217539"/>
                  </a:cubicBezTo>
                  <a:cubicBezTo>
                    <a:pt x="159836" y="217539"/>
                    <a:pt x="104501" y="194616"/>
                    <a:pt x="63712" y="153827"/>
                  </a:cubicBezTo>
                  <a:close/>
                  <a:moveTo>
                    <a:pt x="63712" y="281250"/>
                  </a:moveTo>
                  <a:cubicBezTo>
                    <a:pt x="22895" y="322066"/>
                    <a:pt x="0" y="377402"/>
                    <a:pt x="0" y="435077"/>
                  </a:cubicBezTo>
                  <a:lnTo>
                    <a:pt x="217539" y="435077"/>
                  </a:lnTo>
                  <a:lnTo>
                    <a:pt x="435077" y="435077"/>
                  </a:lnTo>
                  <a:cubicBezTo>
                    <a:pt x="435077" y="377402"/>
                    <a:pt x="412154" y="322066"/>
                    <a:pt x="371339" y="281250"/>
                  </a:cubicBezTo>
                  <a:cubicBezTo>
                    <a:pt x="330550" y="240462"/>
                    <a:pt x="275215" y="217539"/>
                    <a:pt x="217539" y="217539"/>
                  </a:cubicBezTo>
                  <a:cubicBezTo>
                    <a:pt x="159836" y="217539"/>
                    <a:pt x="104501" y="240462"/>
                    <a:pt x="63712" y="281250"/>
                  </a:cubicBezTo>
                  <a:close/>
                </a:path>
              </a:pathLst>
            </a:custGeom>
            <a:grpFill/>
            <a:ln w="27192" cap="flat">
              <a:noFill/>
              <a:prstDash val="solid"/>
              <a:miter/>
            </a:ln>
          </p:spPr>
          <p:txBody>
            <a:bodyPr rtlCol="0" anchor="ctr"/>
            <a:lstStyle/>
            <a:p>
              <a:endParaRPr lang="uk-UA" sz="900"/>
            </a:p>
          </p:txBody>
        </p:sp>
        <p:sp>
          <p:nvSpPr>
            <p:cNvPr id="315" name="Freeform: Shape 314">
              <a:extLst>
                <a:ext uri="{FF2B5EF4-FFF2-40B4-BE49-F238E27FC236}">
                  <a16:creationId xmlns:a16="http://schemas.microsoft.com/office/drawing/2014/main" id="{16FF2D91-1413-E7B3-E6A5-D595352B2B10}"/>
                </a:ext>
              </a:extLst>
            </p:cNvPr>
            <p:cNvSpPr/>
            <p:nvPr/>
          </p:nvSpPr>
          <p:spPr>
            <a:xfrm>
              <a:off x="19979365" y="805999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316" name="Freeform: Shape 315">
              <a:extLst>
                <a:ext uri="{FF2B5EF4-FFF2-40B4-BE49-F238E27FC236}">
                  <a16:creationId xmlns:a16="http://schemas.microsoft.com/office/drawing/2014/main" id="{9505C0E4-60B9-BD48-84D3-27E52FBBF201}"/>
                </a:ext>
              </a:extLst>
            </p:cNvPr>
            <p:cNvSpPr/>
            <p:nvPr/>
          </p:nvSpPr>
          <p:spPr>
            <a:xfrm>
              <a:off x="21719702" y="805999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317" name="Freeform: Shape 316">
              <a:extLst>
                <a:ext uri="{FF2B5EF4-FFF2-40B4-BE49-F238E27FC236}">
                  <a16:creationId xmlns:a16="http://schemas.microsoft.com/office/drawing/2014/main" id="{3F34D62C-B2F9-34B5-4618-09420600691E}"/>
                </a:ext>
              </a:extLst>
            </p:cNvPr>
            <p:cNvSpPr/>
            <p:nvPr/>
          </p:nvSpPr>
          <p:spPr>
            <a:xfrm>
              <a:off x="20849520" y="8059993"/>
              <a:ext cx="435077" cy="435077"/>
            </a:xfrm>
            <a:custGeom>
              <a:avLst/>
              <a:gdLst>
                <a:gd name="connsiteX0" fmla="*/ 217565 w 435077"/>
                <a:gd name="connsiteY0" fmla="*/ 435077 h 435077"/>
                <a:gd name="connsiteX1" fmla="*/ 217565 w 435077"/>
                <a:gd name="connsiteY1" fmla="*/ 0 h 435077"/>
                <a:gd name="connsiteX2" fmla="*/ 435077 w 435077"/>
                <a:gd name="connsiteY2" fmla="*/ 217539 h 435077"/>
                <a:gd name="connsiteX3" fmla="*/ 217565 w 435077"/>
                <a:gd name="connsiteY3" fmla="*/ 435077 h 435077"/>
                <a:gd name="connsiteX4" fmla="*/ 0 w 435077"/>
                <a:gd name="connsiteY4" fmla="*/ 435077 h 435077"/>
                <a:gd name="connsiteX5" fmla="*/ 0 w 435077"/>
                <a:gd name="connsiteY5" fmla="*/ 27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65" y="435077"/>
                  </a:moveTo>
                  <a:lnTo>
                    <a:pt x="217565" y="0"/>
                  </a:lnTo>
                  <a:lnTo>
                    <a:pt x="435077" y="217539"/>
                  </a:lnTo>
                  <a:lnTo>
                    <a:pt x="217565" y="435077"/>
                  </a:lnTo>
                  <a:close/>
                  <a:moveTo>
                    <a:pt x="0" y="435077"/>
                  </a:moveTo>
                  <a:lnTo>
                    <a:pt x="0" y="27"/>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318" name="Freeform: Shape 317">
              <a:extLst>
                <a:ext uri="{FF2B5EF4-FFF2-40B4-BE49-F238E27FC236}">
                  <a16:creationId xmlns:a16="http://schemas.microsoft.com/office/drawing/2014/main" id="{FB278430-0172-F8F8-1996-1FD00F80DF50}"/>
                </a:ext>
              </a:extLst>
            </p:cNvPr>
            <p:cNvSpPr/>
            <p:nvPr/>
          </p:nvSpPr>
          <p:spPr>
            <a:xfrm>
              <a:off x="22589856" y="805999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7" y="153827"/>
                  </a:cubicBezTo>
                  <a:cubicBezTo>
                    <a:pt x="330578" y="194616"/>
                    <a:pt x="275241" y="217539"/>
                    <a:pt x="217539" y="217539"/>
                  </a:cubicBezTo>
                  <a:cubicBezTo>
                    <a:pt x="159838" y="217539"/>
                    <a:pt x="104529" y="194616"/>
                    <a:pt x="63712" y="153827"/>
                  </a:cubicBezTo>
                  <a:close/>
                  <a:moveTo>
                    <a:pt x="63712" y="281250"/>
                  </a:moveTo>
                  <a:cubicBezTo>
                    <a:pt x="22924" y="322066"/>
                    <a:pt x="0" y="377402"/>
                    <a:pt x="0" y="435077"/>
                  </a:cubicBezTo>
                  <a:lnTo>
                    <a:pt x="217539" y="435077"/>
                  </a:lnTo>
                  <a:lnTo>
                    <a:pt x="435077" y="435077"/>
                  </a:lnTo>
                  <a:cubicBezTo>
                    <a:pt x="435077" y="377402"/>
                    <a:pt x="412155" y="322066"/>
                    <a:pt x="371367" y="281250"/>
                  </a:cubicBezTo>
                  <a:cubicBezTo>
                    <a:pt x="330578" y="240462"/>
                    <a:pt x="275241" y="217539"/>
                    <a:pt x="217539" y="217539"/>
                  </a:cubicBezTo>
                  <a:cubicBezTo>
                    <a:pt x="159838" y="217539"/>
                    <a:pt x="104529" y="240462"/>
                    <a:pt x="63712" y="281250"/>
                  </a:cubicBezTo>
                  <a:close/>
                </a:path>
              </a:pathLst>
            </a:custGeom>
            <a:grpFill/>
            <a:ln w="27192" cap="flat">
              <a:noFill/>
              <a:prstDash val="solid"/>
              <a:miter/>
            </a:ln>
          </p:spPr>
          <p:txBody>
            <a:bodyPr rtlCol="0" anchor="ctr"/>
            <a:lstStyle/>
            <a:p>
              <a:endParaRPr lang="uk-UA" sz="900"/>
            </a:p>
          </p:txBody>
        </p:sp>
        <p:sp>
          <p:nvSpPr>
            <p:cNvPr id="319" name="Freeform: Shape 318">
              <a:extLst>
                <a:ext uri="{FF2B5EF4-FFF2-40B4-BE49-F238E27FC236}">
                  <a16:creationId xmlns:a16="http://schemas.microsoft.com/office/drawing/2014/main" id="{B5BFDB85-4B59-714D-714F-B89B847CE6AD}"/>
                </a:ext>
              </a:extLst>
            </p:cNvPr>
            <p:cNvSpPr/>
            <p:nvPr/>
          </p:nvSpPr>
          <p:spPr>
            <a:xfrm>
              <a:off x="23460011" y="8059993"/>
              <a:ext cx="435105" cy="435077"/>
            </a:xfrm>
            <a:custGeom>
              <a:avLst/>
              <a:gdLst>
                <a:gd name="connsiteX0" fmla="*/ 435106 w 435105"/>
                <a:gd name="connsiteY0" fmla="*/ 435077 h 435077"/>
                <a:gd name="connsiteX1" fmla="*/ 435106 w 435105"/>
                <a:gd name="connsiteY1" fmla="*/ 217566 h 435077"/>
                <a:gd name="connsiteX2" fmla="*/ 435106 w 435105"/>
                <a:gd name="connsiteY2" fmla="*/ 27 h 435077"/>
                <a:gd name="connsiteX3" fmla="*/ 217567 w 435105"/>
                <a:gd name="connsiteY3" fmla="*/ 27 h 435077"/>
                <a:gd name="connsiteX4" fmla="*/ 435106 w 435105"/>
                <a:gd name="connsiteY4" fmla="*/ 217566 h 435077"/>
                <a:gd name="connsiteX5" fmla="*/ 217567 w 435105"/>
                <a:gd name="connsiteY5" fmla="*/ 435077 h 435077"/>
                <a:gd name="connsiteX6" fmla="*/ 435106 w 435105"/>
                <a:gd name="connsiteY6" fmla="*/ 435077 h 435077"/>
                <a:gd name="connsiteX7" fmla="*/ 0 w 435105"/>
                <a:gd name="connsiteY7" fmla="*/ 217539 h 435077"/>
                <a:gd name="connsiteX8" fmla="*/ 0 w 435105"/>
                <a:gd name="connsiteY8" fmla="*/ 0 h 435077"/>
                <a:gd name="connsiteX9" fmla="*/ 217539 w 435105"/>
                <a:gd name="connsiteY9" fmla="*/ 217539 h 435077"/>
                <a:gd name="connsiteX10" fmla="*/ 0 w 435105"/>
                <a:gd name="connsiteY10" fmla="*/ 217539 h 435077"/>
                <a:gd name="connsiteX11" fmla="*/ 0 w 435105"/>
                <a:gd name="connsiteY11" fmla="*/ 435077 h 435077"/>
                <a:gd name="connsiteX12" fmla="*/ 0 w 435105"/>
                <a:gd name="connsiteY12" fmla="*/ 217539 h 435077"/>
                <a:gd name="connsiteX13" fmla="*/ 217539 w 435105"/>
                <a:gd name="connsiteY13" fmla="*/ 217539 h 435077"/>
                <a:gd name="connsiteX14" fmla="*/ 0 w 435105"/>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105" h="435077">
                  <a:moveTo>
                    <a:pt x="435106" y="435077"/>
                  </a:moveTo>
                  <a:lnTo>
                    <a:pt x="435106" y="217566"/>
                  </a:lnTo>
                  <a:lnTo>
                    <a:pt x="435106" y="27"/>
                  </a:lnTo>
                  <a:lnTo>
                    <a:pt x="217567" y="27"/>
                  </a:lnTo>
                  <a:lnTo>
                    <a:pt x="435106" y="217566"/>
                  </a:lnTo>
                  <a:lnTo>
                    <a:pt x="217567" y="435077"/>
                  </a:lnTo>
                  <a:lnTo>
                    <a:pt x="435106"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320" name="Freeform: Shape 319">
              <a:extLst>
                <a:ext uri="{FF2B5EF4-FFF2-40B4-BE49-F238E27FC236}">
                  <a16:creationId xmlns:a16="http://schemas.microsoft.com/office/drawing/2014/main" id="{6C4000A2-A44F-3582-C750-786ECACC95F8}"/>
                </a:ext>
              </a:extLst>
            </p:cNvPr>
            <p:cNvSpPr/>
            <p:nvPr/>
          </p:nvSpPr>
          <p:spPr>
            <a:xfrm>
              <a:off x="24330194" y="8059993"/>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27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27"/>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321" name="Freeform: Shape 320">
              <a:extLst>
                <a:ext uri="{FF2B5EF4-FFF2-40B4-BE49-F238E27FC236}">
                  <a16:creationId xmlns:a16="http://schemas.microsoft.com/office/drawing/2014/main" id="{90B1D269-41F9-8DB9-4913-B55B6AFF10C7}"/>
                </a:ext>
              </a:extLst>
            </p:cNvPr>
            <p:cNvSpPr/>
            <p:nvPr/>
          </p:nvSpPr>
          <p:spPr>
            <a:xfrm>
              <a:off x="835769" y="8930148"/>
              <a:ext cx="435077" cy="435104"/>
            </a:xfrm>
            <a:custGeom>
              <a:avLst/>
              <a:gdLst>
                <a:gd name="connsiteX0" fmla="*/ 0 w 435077"/>
                <a:gd name="connsiteY0" fmla="*/ 435077 h 435104"/>
                <a:gd name="connsiteX1" fmla="*/ 217511 w 435077"/>
                <a:gd name="connsiteY1" fmla="*/ 435077 h 435104"/>
                <a:gd name="connsiteX2" fmla="*/ 217511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11" y="435077"/>
                  </a:lnTo>
                  <a:lnTo>
                    <a:pt x="217511"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322" name="Freeform: Shape 321">
              <a:extLst>
                <a:ext uri="{FF2B5EF4-FFF2-40B4-BE49-F238E27FC236}">
                  <a16:creationId xmlns:a16="http://schemas.microsoft.com/office/drawing/2014/main" id="{F1B01F71-D12D-AC6E-68E3-A557854E5804}"/>
                </a:ext>
              </a:extLst>
            </p:cNvPr>
            <p:cNvSpPr/>
            <p:nvPr/>
          </p:nvSpPr>
          <p:spPr>
            <a:xfrm>
              <a:off x="-34398" y="8930148"/>
              <a:ext cx="435063" cy="435077"/>
            </a:xfrm>
            <a:custGeom>
              <a:avLst/>
              <a:gdLst>
                <a:gd name="connsiteX0" fmla="*/ 217525 w 435063"/>
                <a:gd name="connsiteY0" fmla="*/ 217539 h 435077"/>
                <a:gd name="connsiteX1" fmla="*/ 217525 w 435063"/>
                <a:gd name="connsiteY1" fmla="*/ 0 h 435077"/>
                <a:gd name="connsiteX2" fmla="*/ 0 w 435063"/>
                <a:gd name="connsiteY2" fmla="*/ 0 h 435077"/>
                <a:gd name="connsiteX3" fmla="*/ 217525 w 435063"/>
                <a:gd name="connsiteY3" fmla="*/ 217539 h 435077"/>
                <a:gd name="connsiteX4" fmla="*/ 0 w 435063"/>
                <a:gd name="connsiteY4" fmla="*/ 435077 h 435077"/>
                <a:gd name="connsiteX5" fmla="*/ 217525 w 435063"/>
                <a:gd name="connsiteY5" fmla="*/ 435077 h 435077"/>
                <a:gd name="connsiteX6" fmla="*/ 217525 w 435063"/>
                <a:gd name="connsiteY6" fmla="*/ 435077 h 435077"/>
                <a:gd name="connsiteX7" fmla="*/ 435064 w 435063"/>
                <a:gd name="connsiteY7" fmla="*/ 217566 h 435077"/>
                <a:gd name="connsiteX8" fmla="*/ 435064 w 435063"/>
                <a:gd name="connsiteY8" fmla="*/ 217566 h 435077"/>
                <a:gd name="connsiteX9" fmla="*/ 435064 w 435063"/>
                <a:gd name="connsiteY9" fmla="*/ 217539 h 435077"/>
                <a:gd name="connsiteX10" fmla="*/ 435064 w 435063"/>
                <a:gd name="connsiteY10" fmla="*/ 217539 h 435077"/>
                <a:gd name="connsiteX11" fmla="*/ 435064 w 435063"/>
                <a:gd name="connsiteY11" fmla="*/ 217539 h 435077"/>
                <a:gd name="connsiteX12" fmla="*/ 217525 w 435063"/>
                <a:gd name="connsiteY12" fmla="*/ 27 h 435077"/>
                <a:gd name="connsiteX13" fmla="*/ 217525 w 435063"/>
                <a:gd name="connsiteY13" fmla="*/ 217539 h 435077"/>
                <a:gd name="connsiteX14" fmla="*/ 217525 w 435063"/>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63" h="435077">
                  <a:moveTo>
                    <a:pt x="217525" y="217539"/>
                  </a:moveTo>
                  <a:lnTo>
                    <a:pt x="217525" y="0"/>
                  </a:lnTo>
                  <a:lnTo>
                    <a:pt x="0" y="0"/>
                  </a:lnTo>
                  <a:lnTo>
                    <a:pt x="217525" y="217539"/>
                  </a:lnTo>
                  <a:lnTo>
                    <a:pt x="0" y="435077"/>
                  </a:lnTo>
                  <a:lnTo>
                    <a:pt x="217525" y="435077"/>
                  </a:lnTo>
                  <a:lnTo>
                    <a:pt x="217525" y="435077"/>
                  </a:lnTo>
                  <a:lnTo>
                    <a:pt x="435064" y="217566"/>
                  </a:lnTo>
                  <a:lnTo>
                    <a:pt x="435064" y="217566"/>
                  </a:lnTo>
                  <a:lnTo>
                    <a:pt x="435064" y="217539"/>
                  </a:lnTo>
                  <a:lnTo>
                    <a:pt x="435064" y="217539"/>
                  </a:lnTo>
                  <a:lnTo>
                    <a:pt x="435064" y="217539"/>
                  </a:lnTo>
                  <a:lnTo>
                    <a:pt x="217525" y="27"/>
                  </a:lnTo>
                  <a:lnTo>
                    <a:pt x="217525" y="217539"/>
                  </a:lnTo>
                  <a:lnTo>
                    <a:pt x="217525" y="217539"/>
                  </a:lnTo>
                  <a:close/>
                </a:path>
              </a:pathLst>
            </a:custGeom>
            <a:grpFill/>
            <a:ln w="27192" cap="flat">
              <a:noFill/>
              <a:prstDash val="solid"/>
              <a:miter/>
            </a:ln>
          </p:spPr>
          <p:txBody>
            <a:bodyPr rtlCol="0" anchor="ctr"/>
            <a:lstStyle/>
            <a:p>
              <a:endParaRPr lang="uk-UA" sz="900"/>
            </a:p>
          </p:txBody>
        </p:sp>
        <p:sp>
          <p:nvSpPr>
            <p:cNvPr id="323" name="Freeform: Shape 322">
              <a:extLst>
                <a:ext uri="{FF2B5EF4-FFF2-40B4-BE49-F238E27FC236}">
                  <a16:creationId xmlns:a16="http://schemas.microsoft.com/office/drawing/2014/main" id="{BA0E6300-2DC3-B353-2C49-24159515D682}"/>
                </a:ext>
              </a:extLst>
            </p:cNvPr>
            <p:cNvSpPr/>
            <p:nvPr/>
          </p:nvSpPr>
          <p:spPr>
            <a:xfrm>
              <a:off x="1705924" y="8930148"/>
              <a:ext cx="435104" cy="435077"/>
            </a:xfrm>
            <a:custGeom>
              <a:avLst/>
              <a:gdLst>
                <a:gd name="connsiteX0" fmla="*/ 217539 w 435104"/>
                <a:gd name="connsiteY0" fmla="*/ 0 h 435077"/>
                <a:gd name="connsiteX1" fmla="*/ 0 w 435104"/>
                <a:gd name="connsiteY1" fmla="*/ 0 h 435077"/>
                <a:gd name="connsiteX2" fmla="*/ 0 w 435104"/>
                <a:gd name="connsiteY2" fmla="*/ 217539 h 435077"/>
                <a:gd name="connsiteX3" fmla="*/ 217539 w 435104"/>
                <a:gd name="connsiteY3" fmla="*/ 0 h 435077"/>
                <a:gd name="connsiteX4" fmla="*/ 435104 w 435104"/>
                <a:gd name="connsiteY4" fmla="*/ 27 h 435077"/>
                <a:gd name="connsiteX5" fmla="*/ 435104 w 435104"/>
                <a:gd name="connsiteY5" fmla="*/ 217566 h 435077"/>
                <a:gd name="connsiteX6" fmla="*/ 217566 w 435104"/>
                <a:gd name="connsiteY6" fmla="*/ 27 h 435077"/>
                <a:gd name="connsiteX7" fmla="*/ 435104 w 435104"/>
                <a:gd name="connsiteY7" fmla="*/ 27 h 435077"/>
                <a:gd name="connsiteX8" fmla="*/ 217566 w 435104"/>
                <a:gd name="connsiteY8" fmla="*/ 435077 h 435077"/>
                <a:gd name="connsiteX9" fmla="*/ 435104 w 435104"/>
                <a:gd name="connsiteY9" fmla="*/ 217566 h 435077"/>
                <a:gd name="connsiteX10" fmla="*/ 435104 w 435104"/>
                <a:gd name="connsiteY10" fmla="*/ 435077 h 435077"/>
                <a:gd name="connsiteX11" fmla="*/ 217566 w 435104"/>
                <a:gd name="connsiteY11" fmla="*/ 435077 h 435077"/>
                <a:gd name="connsiteX12" fmla="*/ 217566 w 435104"/>
                <a:gd name="connsiteY12" fmla="*/ 435077 h 435077"/>
                <a:gd name="connsiteX13" fmla="*/ 27 w 435104"/>
                <a:gd name="connsiteY13" fmla="*/ 217566 h 435077"/>
                <a:gd name="connsiteX14" fmla="*/ 27 w 435104"/>
                <a:gd name="connsiteY14" fmla="*/ 435077 h 435077"/>
                <a:gd name="connsiteX15" fmla="*/ 217566 w 435104"/>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4" h="435077">
                  <a:moveTo>
                    <a:pt x="217539" y="0"/>
                  </a:moveTo>
                  <a:lnTo>
                    <a:pt x="0" y="0"/>
                  </a:lnTo>
                  <a:lnTo>
                    <a:pt x="0" y="217539"/>
                  </a:lnTo>
                  <a:lnTo>
                    <a:pt x="217539" y="0"/>
                  </a:lnTo>
                  <a:close/>
                  <a:moveTo>
                    <a:pt x="435104" y="27"/>
                  </a:moveTo>
                  <a:lnTo>
                    <a:pt x="435104" y="217566"/>
                  </a:lnTo>
                  <a:lnTo>
                    <a:pt x="217566" y="27"/>
                  </a:lnTo>
                  <a:lnTo>
                    <a:pt x="435104" y="27"/>
                  </a:lnTo>
                  <a:close/>
                  <a:moveTo>
                    <a:pt x="217566" y="435077"/>
                  </a:moveTo>
                  <a:lnTo>
                    <a:pt x="435104" y="217566"/>
                  </a:lnTo>
                  <a:lnTo>
                    <a:pt x="435104" y="435077"/>
                  </a:lnTo>
                  <a:lnTo>
                    <a:pt x="217566" y="435077"/>
                  </a:lnTo>
                  <a:close/>
                  <a:moveTo>
                    <a:pt x="217566" y="435077"/>
                  </a:moveTo>
                  <a:lnTo>
                    <a:pt x="27" y="217566"/>
                  </a:lnTo>
                  <a:lnTo>
                    <a:pt x="27" y="435077"/>
                  </a:lnTo>
                  <a:lnTo>
                    <a:pt x="217566" y="435077"/>
                  </a:lnTo>
                  <a:close/>
                </a:path>
              </a:pathLst>
            </a:custGeom>
            <a:grpFill/>
            <a:ln w="27192" cap="flat">
              <a:noFill/>
              <a:prstDash val="solid"/>
              <a:miter/>
            </a:ln>
          </p:spPr>
          <p:txBody>
            <a:bodyPr rtlCol="0" anchor="ctr"/>
            <a:lstStyle/>
            <a:p>
              <a:endParaRPr lang="uk-UA" sz="900"/>
            </a:p>
          </p:txBody>
        </p:sp>
        <p:sp>
          <p:nvSpPr>
            <p:cNvPr id="324" name="Freeform: Shape 323">
              <a:extLst>
                <a:ext uri="{FF2B5EF4-FFF2-40B4-BE49-F238E27FC236}">
                  <a16:creationId xmlns:a16="http://schemas.microsoft.com/office/drawing/2014/main" id="{8FBBBC25-C27A-E858-AD6B-8DC20F3D3A78}"/>
                </a:ext>
              </a:extLst>
            </p:cNvPr>
            <p:cNvSpPr/>
            <p:nvPr/>
          </p:nvSpPr>
          <p:spPr>
            <a:xfrm>
              <a:off x="2576106" y="8930148"/>
              <a:ext cx="435077" cy="435077"/>
            </a:xfrm>
            <a:custGeom>
              <a:avLst/>
              <a:gdLst>
                <a:gd name="connsiteX0" fmla="*/ 371366 w 435077"/>
                <a:gd name="connsiteY0" fmla="*/ 63739 h 435077"/>
                <a:gd name="connsiteX1" fmla="*/ 435077 w 435077"/>
                <a:gd name="connsiteY1" fmla="*/ 217539 h 435077"/>
                <a:gd name="connsiteX2" fmla="*/ 217702 w 435077"/>
                <a:gd name="connsiteY2" fmla="*/ 217539 h 435077"/>
                <a:gd name="connsiteX3" fmla="*/ 371366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6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39"/>
                  </a:moveTo>
                  <a:cubicBezTo>
                    <a:pt x="412154" y="104527"/>
                    <a:pt x="435077" y="159864"/>
                    <a:pt x="435077" y="217539"/>
                  </a:cubicBezTo>
                  <a:lnTo>
                    <a:pt x="217702" y="217539"/>
                  </a:lnTo>
                  <a:cubicBezTo>
                    <a:pt x="275350" y="217593"/>
                    <a:pt x="330605" y="240516"/>
                    <a:pt x="371366" y="281277"/>
                  </a:cubicBezTo>
                  <a:cubicBezTo>
                    <a:pt x="412154" y="322066"/>
                    <a:pt x="435077" y="377402"/>
                    <a:pt x="435077" y="435077"/>
                  </a:cubicBezTo>
                  <a:lnTo>
                    <a:pt x="217539" y="435077"/>
                  </a:lnTo>
                  <a:lnTo>
                    <a:pt x="0" y="435077"/>
                  </a:lnTo>
                  <a:cubicBezTo>
                    <a:pt x="0" y="377402"/>
                    <a:pt x="22923" y="322066"/>
                    <a:pt x="63712" y="281277"/>
                  </a:cubicBezTo>
                  <a:cubicBezTo>
                    <a:pt x="104473" y="240516"/>
                    <a:pt x="159728" y="217593"/>
                    <a:pt x="217376" y="217539"/>
                  </a:cubicBezTo>
                  <a:lnTo>
                    <a:pt x="0" y="217539"/>
                  </a:lnTo>
                  <a:cubicBezTo>
                    <a:pt x="0" y="159864"/>
                    <a:pt x="22923" y="104527"/>
                    <a:pt x="63712" y="63739"/>
                  </a:cubicBezTo>
                  <a:cubicBezTo>
                    <a:pt x="104500" y="22923"/>
                    <a:pt x="159837" y="0"/>
                    <a:pt x="217539" y="0"/>
                  </a:cubicBezTo>
                  <a:cubicBezTo>
                    <a:pt x="275214" y="0"/>
                    <a:pt x="330550" y="22923"/>
                    <a:pt x="371366" y="63739"/>
                  </a:cubicBezTo>
                  <a:close/>
                </a:path>
              </a:pathLst>
            </a:custGeom>
            <a:grpFill/>
            <a:ln w="27192" cap="flat">
              <a:noFill/>
              <a:prstDash val="solid"/>
              <a:miter/>
            </a:ln>
          </p:spPr>
          <p:txBody>
            <a:bodyPr rtlCol="0" anchor="ctr"/>
            <a:lstStyle/>
            <a:p>
              <a:endParaRPr lang="uk-UA" sz="900"/>
            </a:p>
          </p:txBody>
        </p:sp>
        <p:sp>
          <p:nvSpPr>
            <p:cNvPr id="325" name="Freeform: Shape 324">
              <a:extLst>
                <a:ext uri="{FF2B5EF4-FFF2-40B4-BE49-F238E27FC236}">
                  <a16:creationId xmlns:a16="http://schemas.microsoft.com/office/drawing/2014/main" id="{8FA25D4A-E4DC-804F-3338-3E384B74B552}"/>
                </a:ext>
              </a:extLst>
            </p:cNvPr>
            <p:cNvSpPr/>
            <p:nvPr/>
          </p:nvSpPr>
          <p:spPr>
            <a:xfrm>
              <a:off x="4316442" y="8930148"/>
              <a:ext cx="435050" cy="435104"/>
            </a:xfrm>
            <a:custGeom>
              <a:avLst/>
              <a:gdLst>
                <a:gd name="connsiteX0" fmla="*/ 0 w 435050"/>
                <a:gd name="connsiteY0" fmla="*/ 435077 h 435104"/>
                <a:gd name="connsiteX1" fmla="*/ 217512 w 435050"/>
                <a:gd name="connsiteY1" fmla="*/ 435077 h 435104"/>
                <a:gd name="connsiteX2" fmla="*/ 217512 w 435050"/>
                <a:gd name="connsiteY2" fmla="*/ 217566 h 435104"/>
                <a:gd name="connsiteX3" fmla="*/ 0 w 435050"/>
                <a:gd name="connsiteY3" fmla="*/ 435077 h 435104"/>
                <a:gd name="connsiteX4" fmla="*/ 217512 w 435050"/>
                <a:gd name="connsiteY4" fmla="*/ 0 h 435104"/>
                <a:gd name="connsiteX5" fmla="*/ 0 w 435050"/>
                <a:gd name="connsiteY5" fmla="*/ 0 h 435104"/>
                <a:gd name="connsiteX6" fmla="*/ 217512 w 435050"/>
                <a:gd name="connsiteY6" fmla="*/ 217539 h 435104"/>
                <a:gd name="connsiteX7" fmla="*/ 217512 w 435050"/>
                <a:gd name="connsiteY7" fmla="*/ 0 h 435104"/>
                <a:gd name="connsiteX8" fmla="*/ 435051 w 435050"/>
                <a:gd name="connsiteY8" fmla="*/ 435105 h 435104"/>
                <a:gd name="connsiteX9" fmla="*/ 217539 w 435050"/>
                <a:gd name="connsiteY9" fmla="*/ 435105 h 435104"/>
                <a:gd name="connsiteX10" fmla="*/ 435051 w 435050"/>
                <a:gd name="connsiteY10" fmla="*/ 217566 h 435104"/>
                <a:gd name="connsiteX11" fmla="*/ 435051 w 435050"/>
                <a:gd name="connsiteY11" fmla="*/ 435105 h 435104"/>
                <a:gd name="connsiteX12" fmla="*/ 435051 w 435050"/>
                <a:gd name="connsiteY12" fmla="*/ 27 h 435104"/>
                <a:gd name="connsiteX13" fmla="*/ 217539 w 435050"/>
                <a:gd name="connsiteY13" fmla="*/ 27 h 435104"/>
                <a:gd name="connsiteX14" fmla="*/ 435051 w 435050"/>
                <a:gd name="connsiteY14" fmla="*/ 217539 h 435104"/>
                <a:gd name="connsiteX15" fmla="*/ 435051 w 435050"/>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50" h="435104">
                  <a:moveTo>
                    <a:pt x="0" y="435077"/>
                  </a:moveTo>
                  <a:lnTo>
                    <a:pt x="217512" y="435077"/>
                  </a:lnTo>
                  <a:lnTo>
                    <a:pt x="217512" y="217566"/>
                  </a:lnTo>
                  <a:lnTo>
                    <a:pt x="0" y="435077"/>
                  </a:lnTo>
                  <a:close/>
                  <a:moveTo>
                    <a:pt x="217512" y="0"/>
                  </a:moveTo>
                  <a:lnTo>
                    <a:pt x="0" y="0"/>
                  </a:lnTo>
                  <a:lnTo>
                    <a:pt x="217512" y="217539"/>
                  </a:lnTo>
                  <a:lnTo>
                    <a:pt x="217512" y="0"/>
                  </a:lnTo>
                  <a:close/>
                  <a:moveTo>
                    <a:pt x="435051" y="435105"/>
                  </a:moveTo>
                  <a:lnTo>
                    <a:pt x="217539" y="435105"/>
                  </a:lnTo>
                  <a:lnTo>
                    <a:pt x="435051" y="217566"/>
                  </a:lnTo>
                  <a:lnTo>
                    <a:pt x="435051" y="435105"/>
                  </a:lnTo>
                  <a:close/>
                  <a:moveTo>
                    <a:pt x="435051" y="27"/>
                  </a:moveTo>
                  <a:lnTo>
                    <a:pt x="217539" y="27"/>
                  </a:lnTo>
                  <a:lnTo>
                    <a:pt x="435051" y="217539"/>
                  </a:lnTo>
                  <a:lnTo>
                    <a:pt x="435051" y="27"/>
                  </a:lnTo>
                  <a:close/>
                </a:path>
              </a:pathLst>
            </a:custGeom>
            <a:grpFill/>
            <a:ln w="27192" cap="flat">
              <a:noFill/>
              <a:prstDash val="solid"/>
              <a:miter/>
            </a:ln>
          </p:spPr>
          <p:txBody>
            <a:bodyPr rtlCol="0" anchor="ctr"/>
            <a:lstStyle/>
            <a:p>
              <a:endParaRPr lang="uk-UA" sz="900"/>
            </a:p>
          </p:txBody>
        </p:sp>
        <p:sp>
          <p:nvSpPr>
            <p:cNvPr id="326" name="Freeform: Shape 325">
              <a:extLst>
                <a:ext uri="{FF2B5EF4-FFF2-40B4-BE49-F238E27FC236}">
                  <a16:creationId xmlns:a16="http://schemas.microsoft.com/office/drawing/2014/main" id="{3DBD8EDC-27C2-65D4-ADE7-0EB9055E12E1}"/>
                </a:ext>
              </a:extLst>
            </p:cNvPr>
            <p:cNvSpPr/>
            <p:nvPr/>
          </p:nvSpPr>
          <p:spPr>
            <a:xfrm>
              <a:off x="3446261" y="893014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327" name="Freeform: Shape 326">
              <a:extLst>
                <a:ext uri="{FF2B5EF4-FFF2-40B4-BE49-F238E27FC236}">
                  <a16:creationId xmlns:a16="http://schemas.microsoft.com/office/drawing/2014/main" id="{FB5A81AF-A103-F91C-F3D3-B9694A5C96DE}"/>
                </a:ext>
              </a:extLst>
            </p:cNvPr>
            <p:cNvSpPr/>
            <p:nvPr/>
          </p:nvSpPr>
          <p:spPr>
            <a:xfrm>
              <a:off x="5186597" y="8930148"/>
              <a:ext cx="435077" cy="435077"/>
            </a:xfrm>
            <a:custGeom>
              <a:avLst/>
              <a:gdLst>
                <a:gd name="connsiteX0" fmla="*/ 217539 w 435077"/>
                <a:gd name="connsiteY0" fmla="*/ 0 h 435077"/>
                <a:gd name="connsiteX1" fmla="*/ 217539 w 435077"/>
                <a:gd name="connsiteY1" fmla="*/ 0 h 435077"/>
                <a:gd name="connsiteX2" fmla="*/ 0 w 435077"/>
                <a:gd name="connsiteY2" fmla="*/ 0 h 435077"/>
                <a:gd name="connsiteX3" fmla="*/ 0 w 435077"/>
                <a:gd name="connsiteY3" fmla="*/ 217539 h 435077"/>
                <a:gd name="connsiteX4" fmla="*/ 217539 w 435077"/>
                <a:gd name="connsiteY4" fmla="*/ 27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217539" y="0"/>
                  </a:lnTo>
                  <a:lnTo>
                    <a:pt x="0" y="0"/>
                  </a:lnTo>
                  <a:lnTo>
                    <a:pt x="0" y="217539"/>
                  </a:lnTo>
                  <a:lnTo>
                    <a:pt x="217539" y="27"/>
                  </a:lnTo>
                  <a:lnTo>
                    <a:pt x="435077" y="217539"/>
                  </a:lnTo>
                  <a:lnTo>
                    <a:pt x="217539" y="435077"/>
                  </a:lnTo>
                  <a:lnTo>
                    <a:pt x="0" y="217539"/>
                  </a:lnTo>
                  <a:lnTo>
                    <a:pt x="0" y="435077"/>
                  </a:lnTo>
                  <a:lnTo>
                    <a:pt x="217539" y="435077"/>
                  </a:lnTo>
                  <a:lnTo>
                    <a:pt x="435077" y="435077"/>
                  </a:lnTo>
                  <a:lnTo>
                    <a:pt x="435077" y="217539"/>
                  </a:lnTo>
                  <a:lnTo>
                    <a:pt x="435077" y="0"/>
                  </a:lnTo>
                  <a:lnTo>
                    <a:pt x="217539" y="0"/>
                  </a:lnTo>
                  <a:close/>
                </a:path>
              </a:pathLst>
            </a:custGeom>
            <a:grpFill/>
            <a:ln w="27192" cap="flat">
              <a:noFill/>
              <a:prstDash val="solid"/>
              <a:miter/>
            </a:ln>
          </p:spPr>
          <p:txBody>
            <a:bodyPr rtlCol="0" anchor="ctr"/>
            <a:lstStyle/>
            <a:p>
              <a:endParaRPr lang="uk-UA" sz="900"/>
            </a:p>
          </p:txBody>
        </p:sp>
        <p:sp>
          <p:nvSpPr>
            <p:cNvPr id="328" name="Freeform: Shape 327">
              <a:extLst>
                <a:ext uri="{FF2B5EF4-FFF2-40B4-BE49-F238E27FC236}">
                  <a16:creationId xmlns:a16="http://schemas.microsoft.com/office/drawing/2014/main" id="{37B8438D-929F-4CE6-5DA9-EF833EFB92D4}"/>
                </a:ext>
              </a:extLst>
            </p:cNvPr>
            <p:cNvSpPr/>
            <p:nvPr/>
          </p:nvSpPr>
          <p:spPr>
            <a:xfrm>
              <a:off x="6056752" y="8930148"/>
              <a:ext cx="435077" cy="435077"/>
            </a:xfrm>
            <a:custGeom>
              <a:avLst/>
              <a:gdLst>
                <a:gd name="connsiteX0" fmla="*/ 371366 w 435077"/>
                <a:gd name="connsiteY0" fmla="*/ 63739 h 435077"/>
                <a:gd name="connsiteX1" fmla="*/ 435077 w 435077"/>
                <a:gd name="connsiteY1" fmla="*/ 217539 h 435077"/>
                <a:gd name="connsiteX2" fmla="*/ 217702 w 435077"/>
                <a:gd name="connsiteY2" fmla="*/ 217539 h 435077"/>
                <a:gd name="connsiteX3" fmla="*/ 371366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6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39"/>
                  </a:moveTo>
                  <a:cubicBezTo>
                    <a:pt x="412155" y="104527"/>
                    <a:pt x="435077" y="159864"/>
                    <a:pt x="435077" y="217539"/>
                  </a:cubicBezTo>
                  <a:lnTo>
                    <a:pt x="217702" y="217539"/>
                  </a:lnTo>
                  <a:cubicBezTo>
                    <a:pt x="275350" y="217593"/>
                    <a:pt x="330605" y="240516"/>
                    <a:pt x="371366" y="281277"/>
                  </a:cubicBezTo>
                  <a:cubicBezTo>
                    <a:pt x="412155" y="322066"/>
                    <a:pt x="435077" y="377402"/>
                    <a:pt x="435077" y="435077"/>
                  </a:cubicBezTo>
                  <a:lnTo>
                    <a:pt x="217539" y="435077"/>
                  </a:lnTo>
                  <a:lnTo>
                    <a:pt x="0" y="435077"/>
                  </a:lnTo>
                  <a:cubicBezTo>
                    <a:pt x="0" y="377402"/>
                    <a:pt x="22924" y="322066"/>
                    <a:pt x="63712" y="281277"/>
                  </a:cubicBezTo>
                  <a:cubicBezTo>
                    <a:pt x="104473" y="240516"/>
                    <a:pt x="159728" y="217593"/>
                    <a:pt x="217376" y="217539"/>
                  </a:cubicBezTo>
                  <a:lnTo>
                    <a:pt x="0" y="217539"/>
                  </a:lnTo>
                  <a:cubicBezTo>
                    <a:pt x="0" y="159864"/>
                    <a:pt x="22924" y="104527"/>
                    <a:pt x="63712" y="63739"/>
                  </a:cubicBezTo>
                  <a:cubicBezTo>
                    <a:pt x="104501" y="22923"/>
                    <a:pt x="159837" y="0"/>
                    <a:pt x="217539" y="0"/>
                  </a:cubicBezTo>
                  <a:cubicBezTo>
                    <a:pt x="275241" y="0"/>
                    <a:pt x="330550" y="22923"/>
                    <a:pt x="371366" y="63739"/>
                  </a:cubicBezTo>
                  <a:close/>
                </a:path>
              </a:pathLst>
            </a:custGeom>
            <a:grpFill/>
            <a:ln w="27192" cap="flat">
              <a:noFill/>
              <a:prstDash val="solid"/>
              <a:miter/>
            </a:ln>
          </p:spPr>
          <p:txBody>
            <a:bodyPr rtlCol="0" anchor="ctr"/>
            <a:lstStyle/>
            <a:p>
              <a:endParaRPr lang="uk-UA" sz="900"/>
            </a:p>
          </p:txBody>
        </p:sp>
        <p:sp>
          <p:nvSpPr>
            <p:cNvPr id="329" name="Freeform: Shape 328">
              <a:extLst>
                <a:ext uri="{FF2B5EF4-FFF2-40B4-BE49-F238E27FC236}">
                  <a16:creationId xmlns:a16="http://schemas.microsoft.com/office/drawing/2014/main" id="{36B467AC-FE42-9B38-BC4F-D4CD3399C1FB}"/>
                </a:ext>
              </a:extLst>
            </p:cNvPr>
            <p:cNvSpPr/>
            <p:nvPr/>
          </p:nvSpPr>
          <p:spPr>
            <a:xfrm>
              <a:off x="7797089" y="8930148"/>
              <a:ext cx="435050" cy="435104"/>
            </a:xfrm>
            <a:custGeom>
              <a:avLst/>
              <a:gdLst>
                <a:gd name="connsiteX0" fmla="*/ 0 w 435050"/>
                <a:gd name="connsiteY0" fmla="*/ 435077 h 435104"/>
                <a:gd name="connsiteX1" fmla="*/ 217511 w 435050"/>
                <a:gd name="connsiteY1" fmla="*/ 435077 h 435104"/>
                <a:gd name="connsiteX2" fmla="*/ 217511 w 435050"/>
                <a:gd name="connsiteY2" fmla="*/ 217566 h 435104"/>
                <a:gd name="connsiteX3" fmla="*/ 0 w 435050"/>
                <a:gd name="connsiteY3" fmla="*/ 435077 h 435104"/>
                <a:gd name="connsiteX4" fmla="*/ 217511 w 435050"/>
                <a:gd name="connsiteY4" fmla="*/ 0 h 435104"/>
                <a:gd name="connsiteX5" fmla="*/ 0 w 435050"/>
                <a:gd name="connsiteY5" fmla="*/ 0 h 435104"/>
                <a:gd name="connsiteX6" fmla="*/ 217511 w 435050"/>
                <a:gd name="connsiteY6" fmla="*/ 217539 h 435104"/>
                <a:gd name="connsiteX7" fmla="*/ 217511 w 435050"/>
                <a:gd name="connsiteY7" fmla="*/ 0 h 435104"/>
                <a:gd name="connsiteX8" fmla="*/ 435050 w 435050"/>
                <a:gd name="connsiteY8" fmla="*/ 435105 h 435104"/>
                <a:gd name="connsiteX9" fmla="*/ 217539 w 435050"/>
                <a:gd name="connsiteY9" fmla="*/ 435105 h 435104"/>
                <a:gd name="connsiteX10" fmla="*/ 435050 w 435050"/>
                <a:gd name="connsiteY10" fmla="*/ 217566 h 435104"/>
                <a:gd name="connsiteX11" fmla="*/ 435050 w 435050"/>
                <a:gd name="connsiteY11" fmla="*/ 435105 h 435104"/>
                <a:gd name="connsiteX12" fmla="*/ 435050 w 435050"/>
                <a:gd name="connsiteY12" fmla="*/ 27 h 435104"/>
                <a:gd name="connsiteX13" fmla="*/ 217539 w 435050"/>
                <a:gd name="connsiteY13" fmla="*/ 27 h 435104"/>
                <a:gd name="connsiteX14" fmla="*/ 435050 w 435050"/>
                <a:gd name="connsiteY14" fmla="*/ 217539 h 435104"/>
                <a:gd name="connsiteX15" fmla="*/ 435050 w 435050"/>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50" h="435104">
                  <a:moveTo>
                    <a:pt x="0" y="435077"/>
                  </a:moveTo>
                  <a:lnTo>
                    <a:pt x="217511" y="435077"/>
                  </a:lnTo>
                  <a:lnTo>
                    <a:pt x="217511" y="217566"/>
                  </a:lnTo>
                  <a:lnTo>
                    <a:pt x="0" y="435077"/>
                  </a:lnTo>
                  <a:close/>
                  <a:moveTo>
                    <a:pt x="217511" y="0"/>
                  </a:moveTo>
                  <a:lnTo>
                    <a:pt x="0" y="0"/>
                  </a:lnTo>
                  <a:lnTo>
                    <a:pt x="217511" y="217539"/>
                  </a:lnTo>
                  <a:lnTo>
                    <a:pt x="217511" y="0"/>
                  </a:lnTo>
                  <a:close/>
                  <a:moveTo>
                    <a:pt x="435050" y="435105"/>
                  </a:moveTo>
                  <a:lnTo>
                    <a:pt x="217539" y="435105"/>
                  </a:lnTo>
                  <a:lnTo>
                    <a:pt x="435050" y="217566"/>
                  </a:lnTo>
                  <a:lnTo>
                    <a:pt x="435050" y="435105"/>
                  </a:lnTo>
                  <a:close/>
                  <a:moveTo>
                    <a:pt x="435050" y="27"/>
                  </a:moveTo>
                  <a:lnTo>
                    <a:pt x="217539" y="27"/>
                  </a:lnTo>
                  <a:lnTo>
                    <a:pt x="435050" y="217539"/>
                  </a:lnTo>
                  <a:lnTo>
                    <a:pt x="435050" y="27"/>
                  </a:lnTo>
                  <a:close/>
                </a:path>
              </a:pathLst>
            </a:custGeom>
            <a:grpFill/>
            <a:ln w="27192" cap="flat">
              <a:noFill/>
              <a:prstDash val="solid"/>
              <a:miter/>
            </a:ln>
          </p:spPr>
          <p:txBody>
            <a:bodyPr rtlCol="0" anchor="ctr"/>
            <a:lstStyle/>
            <a:p>
              <a:endParaRPr lang="uk-UA" sz="900"/>
            </a:p>
          </p:txBody>
        </p:sp>
        <p:sp>
          <p:nvSpPr>
            <p:cNvPr id="330" name="Freeform: Shape 329">
              <a:extLst>
                <a:ext uri="{FF2B5EF4-FFF2-40B4-BE49-F238E27FC236}">
                  <a16:creationId xmlns:a16="http://schemas.microsoft.com/office/drawing/2014/main" id="{3C352369-A364-D06D-15CA-20A7864AE99C}"/>
                </a:ext>
              </a:extLst>
            </p:cNvPr>
            <p:cNvSpPr/>
            <p:nvPr/>
          </p:nvSpPr>
          <p:spPr>
            <a:xfrm>
              <a:off x="6926907" y="8930148"/>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27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66 h 435077"/>
                <a:gd name="connsiteX9" fmla="*/ 435077 w 435077"/>
                <a:gd name="connsiteY9" fmla="*/ 217566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27"/>
                  </a:lnTo>
                  <a:lnTo>
                    <a:pt x="435077" y="217539"/>
                  </a:lnTo>
                  <a:lnTo>
                    <a:pt x="435077" y="217539"/>
                  </a:lnTo>
                  <a:lnTo>
                    <a:pt x="435077" y="217539"/>
                  </a:lnTo>
                  <a:lnTo>
                    <a:pt x="435077" y="217566"/>
                  </a:lnTo>
                  <a:lnTo>
                    <a:pt x="435077" y="217566"/>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331" name="Freeform: Shape 330">
              <a:extLst>
                <a:ext uri="{FF2B5EF4-FFF2-40B4-BE49-F238E27FC236}">
                  <a16:creationId xmlns:a16="http://schemas.microsoft.com/office/drawing/2014/main" id="{9F086EBE-EB8D-911E-DA3E-2775A69925D3}"/>
                </a:ext>
              </a:extLst>
            </p:cNvPr>
            <p:cNvSpPr/>
            <p:nvPr/>
          </p:nvSpPr>
          <p:spPr>
            <a:xfrm>
              <a:off x="8667217" y="893014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p>
          </p:txBody>
        </p:sp>
        <p:sp>
          <p:nvSpPr>
            <p:cNvPr id="332" name="Freeform: Shape 331">
              <a:extLst>
                <a:ext uri="{FF2B5EF4-FFF2-40B4-BE49-F238E27FC236}">
                  <a16:creationId xmlns:a16="http://schemas.microsoft.com/office/drawing/2014/main" id="{4EB91365-6DD4-F0EF-40F6-087F62B4E171}"/>
                </a:ext>
              </a:extLst>
            </p:cNvPr>
            <p:cNvSpPr/>
            <p:nvPr/>
          </p:nvSpPr>
          <p:spPr>
            <a:xfrm>
              <a:off x="9537399" y="8930148"/>
              <a:ext cx="435077" cy="435077"/>
            </a:xfrm>
            <a:custGeom>
              <a:avLst/>
              <a:gdLst>
                <a:gd name="connsiteX0" fmla="*/ 371366 w 435077"/>
                <a:gd name="connsiteY0" fmla="*/ 63739 h 435077"/>
                <a:gd name="connsiteX1" fmla="*/ 435077 w 435077"/>
                <a:gd name="connsiteY1" fmla="*/ 217539 h 435077"/>
                <a:gd name="connsiteX2" fmla="*/ 217702 w 435077"/>
                <a:gd name="connsiteY2" fmla="*/ 217539 h 435077"/>
                <a:gd name="connsiteX3" fmla="*/ 371366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1 w 435077"/>
                <a:gd name="connsiteY7" fmla="*/ 281277 h 435077"/>
                <a:gd name="connsiteX8" fmla="*/ 217375 w 435077"/>
                <a:gd name="connsiteY8" fmla="*/ 217539 h 435077"/>
                <a:gd name="connsiteX9" fmla="*/ 0 w 435077"/>
                <a:gd name="connsiteY9" fmla="*/ 217539 h 435077"/>
                <a:gd name="connsiteX10" fmla="*/ 63711 w 435077"/>
                <a:gd name="connsiteY10" fmla="*/ 63739 h 435077"/>
                <a:gd name="connsiteX11" fmla="*/ 217539 w 435077"/>
                <a:gd name="connsiteY11" fmla="*/ 0 h 435077"/>
                <a:gd name="connsiteX12" fmla="*/ 371366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39"/>
                  </a:moveTo>
                  <a:cubicBezTo>
                    <a:pt x="412155" y="104527"/>
                    <a:pt x="435077" y="159864"/>
                    <a:pt x="435077" y="217539"/>
                  </a:cubicBezTo>
                  <a:lnTo>
                    <a:pt x="217702" y="217539"/>
                  </a:lnTo>
                  <a:cubicBezTo>
                    <a:pt x="275322" y="217593"/>
                    <a:pt x="330604" y="240516"/>
                    <a:pt x="371366" y="281277"/>
                  </a:cubicBezTo>
                  <a:cubicBezTo>
                    <a:pt x="412155" y="322066"/>
                    <a:pt x="435077" y="377402"/>
                    <a:pt x="435077" y="435077"/>
                  </a:cubicBezTo>
                  <a:lnTo>
                    <a:pt x="217539" y="435077"/>
                  </a:lnTo>
                  <a:lnTo>
                    <a:pt x="0" y="435077"/>
                  </a:lnTo>
                  <a:cubicBezTo>
                    <a:pt x="0" y="377402"/>
                    <a:pt x="22923" y="322066"/>
                    <a:pt x="63711" y="281277"/>
                  </a:cubicBezTo>
                  <a:cubicBezTo>
                    <a:pt x="104473" y="240516"/>
                    <a:pt x="159728" y="217593"/>
                    <a:pt x="217375" y="217539"/>
                  </a:cubicBezTo>
                  <a:lnTo>
                    <a:pt x="0" y="217539"/>
                  </a:lnTo>
                  <a:cubicBezTo>
                    <a:pt x="0" y="159864"/>
                    <a:pt x="22923" y="104527"/>
                    <a:pt x="63711" y="63739"/>
                  </a:cubicBezTo>
                  <a:cubicBezTo>
                    <a:pt x="104500" y="22923"/>
                    <a:pt x="159836" y="0"/>
                    <a:pt x="217539" y="0"/>
                  </a:cubicBezTo>
                  <a:cubicBezTo>
                    <a:pt x="275214" y="0"/>
                    <a:pt x="330550" y="22923"/>
                    <a:pt x="371366" y="63739"/>
                  </a:cubicBezTo>
                  <a:close/>
                </a:path>
              </a:pathLst>
            </a:custGeom>
            <a:grpFill/>
            <a:ln w="27192" cap="flat">
              <a:noFill/>
              <a:prstDash val="solid"/>
              <a:miter/>
            </a:ln>
          </p:spPr>
          <p:txBody>
            <a:bodyPr rtlCol="0" anchor="ctr"/>
            <a:lstStyle/>
            <a:p>
              <a:endParaRPr lang="uk-UA" sz="900"/>
            </a:p>
          </p:txBody>
        </p:sp>
        <p:sp>
          <p:nvSpPr>
            <p:cNvPr id="333" name="Freeform: Shape 332">
              <a:extLst>
                <a:ext uri="{FF2B5EF4-FFF2-40B4-BE49-F238E27FC236}">
                  <a16:creationId xmlns:a16="http://schemas.microsoft.com/office/drawing/2014/main" id="{DE8A812A-B9F6-2EF3-6790-313ED149B48B}"/>
                </a:ext>
              </a:extLst>
            </p:cNvPr>
            <p:cNvSpPr/>
            <p:nvPr/>
          </p:nvSpPr>
          <p:spPr>
            <a:xfrm>
              <a:off x="11277709" y="893014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334" name="Freeform: Shape 333">
              <a:extLst>
                <a:ext uri="{FF2B5EF4-FFF2-40B4-BE49-F238E27FC236}">
                  <a16:creationId xmlns:a16="http://schemas.microsoft.com/office/drawing/2014/main" id="{A20EA3EB-77D1-48E3-3D3A-89349E67EBBA}"/>
                </a:ext>
              </a:extLst>
            </p:cNvPr>
            <p:cNvSpPr/>
            <p:nvPr/>
          </p:nvSpPr>
          <p:spPr>
            <a:xfrm>
              <a:off x="10407554" y="8930148"/>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27 h 435077"/>
                <a:gd name="connsiteX5" fmla="*/ 435050 w 435077"/>
                <a:gd name="connsiteY5" fmla="*/ 217539 h 435077"/>
                <a:gd name="connsiteX6" fmla="*/ 435077 w 435077"/>
                <a:gd name="connsiteY6" fmla="*/ 217539 h 435077"/>
                <a:gd name="connsiteX7" fmla="*/ 435050 w 435077"/>
                <a:gd name="connsiteY7" fmla="*/ 217539 h 435077"/>
                <a:gd name="connsiteX8" fmla="*/ 435077 w 435077"/>
                <a:gd name="connsiteY8" fmla="*/ 217566 h 435077"/>
                <a:gd name="connsiteX9" fmla="*/ 435050 w 435077"/>
                <a:gd name="connsiteY9" fmla="*/ 217566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27"/>
                  </a:lnTo>
                  <a:lnTo>
                    <a:pt x="435050" y="217539"/>
                  </a:lnTo>
                  <a:lnTo>
                    <a:pt x="435077" y="217539"/>
                  </a:lnTo>
                  <a:lnTo>
                    <a:pt x="435050" y="217539"/>
                  </a:lnTo>
                  <a:lnTo>
                    <a:pt x="435077" y="217566"/>
                  </a:lnTo>
                  <a:lnTo>
                    <a:pt x="435050" y="217566"/>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335" name="Freeform: Shape 334">
              <a:extLst>
                <a:ext uri="{FF2B5EF4-FFF2-40B4-BE49-F238E27FC236}">
                  <a16:creationId xmlns:a16="http://schemas.microsoft.com/office/drawing/2014/main" id="{10F38D06-EC16-F8E5-8511-544051A80DC9}"/>
                </a:ext>
              </a:extLst>
            </p:cNvPr>
            <p:cNvSpPr/>
            <p:nvPr/>
          </p:nvSpPr>
          <p:spPr>
            <a:xfrm>
              <a:off x="12147864" y="8930148"/>
              <a:ext cx="435103" cy="435077"/>
            </a:xfrm>
            <a:custGeom>
              <a:avLst/>
              <a:gdLst>
                <a:gd name="connsiteX0" fmla="*/ 217539 w 435103"/>
                <a:gd name="connsiteY0" fmla="*/ 0 h 435077"/>
                <a:gd name="connsiteX1" fmla="*/ 0 w 435103"/>
                <a:gd name="connsiteY1" fmla="*/ 0 h 435077"/>
                <a:gd name="connsiteX2" fmla="*/ 0 w 435103"/>
                <a:gd name="connsiteY2" fmla="*/ 217539 h 435077"/>
                <a:gd name="connsiteX3" fmla="*/ 217539 w 435103"/>
                <a:gd name="connsiteY3" fmla="*/ 0 h 435077"/>
                <a:gd name="connsiteX4" fmla="*/ 435104 w 435103"/>
                <a:gd name="connsiteY4" fmla="*/ 27 h 435077"/>
                <a:gd name="connsiteX5" fmla="*/ 435104 w 435103"/>
                <a:gd name="connsiteY5" fmla="*/ 217566 h 435077"/>
                <a:gd name="connsiteX6" fmla="*/ 217565 w 435103"/>
                <a:gd name="connsiteY6" fmla="*/ 27 h 435077"/>
                <a:gd name="connsiteX7" fmla="*/ 435104 w 435103"/>
                <a:gd name="connsiteY7" fmla="*/ 27 h 435077"/>
                <a:gd name="connsiteX8" fmla="*/ 217565 w 435103"/>
                <a:gd name="connsiteY8" fmla="*/ 435077 h 435077"/>
                <a:gd name="connsiteX9" fmla="*/ 435104 w 435103"/>
                <a:gd name="connsiteY9" fmla="*/ 217566 h 435077"/>
                <a:gd name="connsiteX10" fmla="*/ 435104 w 435103"/>
                <a:gd name="connsiteY10" fmla="*/ 435077 h 435077"/>
                <a:gd name="connsiteX11" fmla="*/ 217565 w 435103"/>
                <a:gd name="connsiteY11" fmla="*/ 435077 h 435077"/>
                <a:gd name="connsiteX12" fmla="*/ 217565 w 435103"/>
                <a:gd name="connsiteY12" fmla="*/ 435077 h 435077"/>
                <a:gd name="connsiteX13" fmla="*/ 27 w 435103"/>
                <a:gd name="connsiteY13" fmla="*/ 217566 h 435077"/>
                <a:gd name="connsiteX14" fmla="*/ 27 w 435103"/>
                <a:gd name="connsiteY14" fmla="*/ 435077 h 435077"/>
                <a:gd name="connsiteX15" fmla="*/ 217565 w 435103"/>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3" h="435077">
                  <a:moveTo>
                    <a:pt x="217539" y="0"/>
                  </a:moveTo>
                  <a:lnTo>
                    <a:pt x="0" y="0"/>
                  </a:lnTo>
                  <a:lnTo>
                    <a:pt x="0" y="217539"/>
                  </a:lnTo>
                  <a:lnTo>
                    <a:pt x="217539" y="0"/>
                  </a:lnTo>
                  <a:close/>
                  <a:moveTo>
                    <a:pt x="435104" y="27"/>
                  </a:moveTo>
                  <a:lnTo>
                    <a:pt x="435104" y="217566"/>
                  </a:lnTo>
                  <a:lnTo>
                    <a:pt x="217565" y="27"/>
                  </a:lnTo>
                  <a:lnTo>
                    <a:pt x="435104" y="27"/>
                  </a:lnTo>
                  <a:close/>
                  <a:moveTo>
                    <a:pt x="217565" y="435077"/>
                  </a:moveTo>
                  <a:lnTo>
                    <a:pt x="435104" y="217566"/>
                  </a:lnTo>
                  <a:lnTo>
                    <a:pt x="435104" y="435077"/>
                  </a:lnTo>
                  <a:lnTo>
                    <a:pt x="217565" y="435077"/>
                  </a:lnTo>
                  <a:close/>
                  <a:moveTo>
                    <a:pt x="217565" y="435077"/>
                  </a:moveTo>
                  <a:lnTo>
                    <a:pt x="27" y="217566"/>
                  </a:lnTo>
                  <a:lnTo>
                    <a:pt x="27" y="435077"/>
                  </a:lnTo>
                  <a:lnTo>
                    <a:pt x="217565" y="435077"/>
                  </a:lnTo>
                  <a:close/>
                </a:path>
              </a:pathLst>
            </a:custGeom>
            <a:grpFill/>
            <a:ln w="27192" cap="flat">
              <a:noFill/>
              <a:prstDash val="solid"/>
              <a:miter/>
            </a:ln>
          </p:spPr>
          <p:txBody>
            <a:bodyPr rtlCol="0" anchor="ctr"/>
            <a:lstStyle/>
            <a:p>
              <a:endParaRPr lang="uk-UA" sz="900"/>
            </a:p>
          </p:txBody>
        </p:sp>
        <p:sp>
          <p:nvSpPr>
            <p:cNvPr id="336" name="Freeform: Shape 335">
              <a:extLst>
                <a:ext uri="{FF2B5EF4-FFF2-40B4-BE49-F238E27FC236}">
                  <a16:creationId xmlns:a16="http://schemas.microsoft.com/office/drawing/2014/main" id="{C7B7F383-EEFB-4F25-ECDD-19E09B2C4066}"/>
                </a:ext>
              </a:extLst>
            </p:cNvPr>
            <p:cNvSpPr/>
            <p:nvPr/>
          </p:nvSpPr>
          <p:spPr>
            <a:xfrm>
              <a:off x="13018045" y="8930148"/>
              <a:ext cx="435077" cy="435077"/>
            </a:xfrm>
            <a:custGeom>
              <a:avLst/>
              <a:gdLst>
                <a:gd name="connsiteX0" fmla="*/ 371365 w 435077"/>
                <a:gd name="connsiteY0" fmla="*/ 63739 h 435077"/>
                <a:gd name="connsiteX1" fmla="*/ 435077 w 435077"/>
                <a:gd name="connsiteY1" fmla="*/ 217539 h 435077"/>
                <a:gd name="connsiteX2" fmla="*/ 217701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5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39"/>
                  </a:moveTo>
                  <a:cubicBezTo>
                    <a:pt x="412154" y="104527"/>
                    <a:pt x="435077" y="159864"/>
                    <a:pt x="435077" y="217539"/>
                  </a:cubicBezTo>
                  <a:lnTo>
                    <a:pt x="217701" y="217539"/>
                  </a:lnTo>
                  <a:cubicBezTo>
                    <a:pt x="275349" y="217593"/>
                    <a:pt x="330605" y="240516"/>
                    <a:pt x="371365" y="281277"/>
                  </a:cubicBezTo>
                  <a:cubicBezTo>
                    <a:pt x="412154" y="322066"/>
                    <a:pt x="435077" y="377402"/>
                    <a:pt x="435077" y="435077"/>
                  </a:cubicBezTo>
                  <a:lnTo>
                    <a:pt x="217539" y="435077"/>
                  </a:lnTo>
                  <a:lnTo>
                    <a:pt x="0" y="435077"/>
                  </a:lnTo>
                  <a:cubicBezTo>
                    <a:pt x="0" y="377402"/>
                    <a:pt x="22924" y="322066"/>
                    <a:pt x="63712" y="281277"/>
                  </a:cubicBezTo>
                  <a:cubicBezTo>
                    <a:pt x="104472" y="240516"/>
                    <a:pt x="159728" y="217593"/>
                    <a:pt x="217376" y="217539"/>
                  </a:cubicBezTo>
                  <a:lnTo>
                    <a:pt x="0" y="217539"/>
                  </a:lnTo>
                  <a:cubicBezTo>
                    <a:pt x="0" y="159864"/>
                    <a:pt x="22924" y="104527"/>
                    <a:pt x="63712" y="63739"/>
                  </a:cubicBezTo>
                  <a:cubicBezTo>
                    <a:pt x="104501" y="22923"/>
                    <a:pt x="159836" y="0"/>
                    <a:pt x="217539" y="0"/>
                  </a:cubicBezTo>
                  <a:cubicBezTo>
                    <a:pt x="275241" y="0"/>
                    <a:pt x="330550" y="22923"/>
                    <a:pt x="371365" y="63739"/>
                  </a:cubicBezTo>
                  <a:close/>
                </a:path>
              </a:pathLst>
            </a:custGeom>
            <a:grpFill/>
            <a:ln w="27192" cap="flat">
              <a:noFill/>
              <a:prstDash val="solid"/>
              <a:miter/>
            </a:ln>
          </p:spPr>
          <p:txBody>
            <a:bodyPr rtlCol="0" anchor="ctr"/>
            <a:lstStyle/>
            <a:p>
              <a:endParaRPr lang="uk-UA" sz="900"/>
            </a:p>
          </p:txBody>
        </p:sp>
        <p:sp>
          <p:nvSpPr>
            <p:cNvPr id="337" name="Freeform: Shape 336">
              <a:extLst>
                <a:ext uri="{FF2B5EF4-FFF2-40B4-BE49-F238E27FC236}">
                  <a16:creationId xmlns:a16="http://schemas.microsoft.com/office/drawing/2014/main" id="{C580173D-F36C-0D33-2AD2-524608CD0898}"/>
                </a:ext>
              </a:extLst>
            </p:cNvPr>
            <p:cNvSpPr/>
            <p:nvPr/>
          </p:nvSpPr>
          <p:spPr>
            <a:xfrm>
              <a:off x="14758382" y="893014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338" name="Freeform: Shape 337">
              <a:extLst>
                <a:ext uri="{FF2B5EF4-FFF2-40B4-BE49-F238E27FC236}">
                  <a16:creationId xmlns:a16="http://schemas.microsoft.com/office/drawing/2014/main" id="{361A2EED-789E-CC64-15E2-C0580730EA41}"/>
                </a:ext>
              </a:extLst>
            </p:cNvPr>
            <p:cNvSpPr/>
            <p:nvPr/>
          </p:nvSpPr>
          <p:spPr>
            <a:xfrm>
              <a:off x="13888174" y="893014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339" name="Freeform: Shape 338">
              <a:extLst>
                <a:ext uri="{FF2B5EF4-FFF2-40B4-BE49-F238E27FC236}">
                  <a16:creationId xmlns:a16="http://schemas.microsoft.com/office/drawing/2014/main" id="{35762759-8D4F-FBA0-5D06-11DF9A54191A}"/>
                </a:ext>
              </a:extLst>
            </p:cNvPr>
            <p:cNvSpPr/>
            <p:nvPr/>
          </p:nvSpPr>
          <p:spPr>
            <a:xfrm>
              <a:off x="15628536" y="8930148"/>
              <a:ext cx="435077" cy="435077"/>
            </a:xfrm>
            <a:custGeom>
              <a:avLst/>
              <a:gdLst>
                <a:gd name="connsiteX0" fmla="*/ 217567 w 435077"/>
                <a:gd name="connsiteY0" fmla="*/ 0 h 435077"/>
                <a:gd name="connsiteX1" fmla="*/ 217539 w 435077"/>
                <a:gd name="connsiteY1" fmla="*/ 0 h 435077"/>
                <a:gd name="connsiteX2" fmla="*/ 28 w 435077"/>
                <a:gd name="connsiteY2" fmla="*/ 0 h 435077"/>
                <a:gd name="connsiteX3" fmla="*/ 28 w 435077"/>
                <a:gd name="connsiteY3" fmla="*/ 217539 h 435077"/>
                <a:gd name="connsiteX4" fmla="*/ 217567 w 435077"/>
                <a:gd name="connsiteY4" fmla="*/ 27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67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67" y="0"/>
                  </a:moveTo>
                  <a:lnTo>
                    <a:pt x="217539" y="0"/>
                  </a:lnTo>
                  <a:lnTo>
                    <a:pt x="28" y="0"/>
                  </a:lnTo>
                  <a:lnTo>
                    <a:pt x="28" y="217539"/>
                  </a:lnTo>
                  <a:lnTo>
                    <a:pt x="217567" y="27"/>
                  </a:lnTo>
                  <a:lnTo>
                    <a:pt x="435077" y="217539"/>
                  </a:lnTo>
                  <a:lnTo>
                    <a:pt x="217539" y="435077"/>
                  </a:lnTo>
                  <a:lnTo>
                    <a:pt x="0" y="217539"/>
                  </a:lnTo>
                  <a:lnTo>
                    <a:pt x="0" y="435077"/>
                  </a:lnTo>
                  <a:lnTo>
                    <a:pt x="217539" y="435077"/>
                  </a:lnTo>
                  <a:lnTo>
                    <a:pt x="435077" y="435077"/>
                  </a:lnTo>
                  <a:lnTo>
                    <a:pt x="435077" y="217539"/>
                  </a:lnTo>
                  <a:lnTo>
                    <a:pt x="435077" y="0"/>
                  </a:lnTo>
                  <a:lnTo>
                    <a:pt x="217567" y="0"/>
                  </a:lnTo>
                  <a:close/>
                </a:path>
              </a:pathLst>
            </a:custGeom>
            <a:grpFill/>
            <a:ln w="27192" cap="flat">
              <a:noFill/>
              <a:prstDash val="solid"/>
              <a:miter/>
            </a:ln>
          </p:spPr>
          <p:txBody>
            <a:bodyPr rtlCol="0" anchor="ctr"/>
            <a:lstStyle/>
            <a:p>
              <a:endParaRPr lang="uk-UA" sz="900"/>
            </a:p>
          </p:txBody>
        </p:sp>
        <p:sp>
          <p:nvSpPr>
            <p:cNvPr id="340" name="Freeform: Shape 339">
              <a:extLst>
                <a:ext uri="{FF2B5EF4-FFF2-40B4-BE49-F238E27FC236}">
                  <a16:creationId xmlns:a16="http://schemas.microsoft.com/office/drawing/2014/main" id="{184A2227-48C2-2332-DD1E-E0C2CE0DE50D}"/>
                </a:ext>
              </a:extLst>
            </p:cNvPr>
            <p:cNvSpPr/>
            <p:nvPr/>
          </p:nvSpPr>
          <p:spPr>
            <a:xfrm>
              <a:off x="16498719" y="8930148"/>
              <a:ext cx="435077" cy="435077"/>
            </a:xfrm>
            <a:custGeom>
              <a:avLst/>
              <a:gdLst>
                <a:gd name="connsiteX0" fmla="*/ 371339 w 435077"/>
                <a:gd name="connsiteY0" fmla="*/ 63739 h 435077"/>
                <a:gd name="connsiteX1" fmla="*/ 435077 w 435077"/>
                <a:gd name="connsiteY1" fmla="*/ 217539 h 435077"/>
                <a:gd name="connsiteX2" fmla="*/ 217701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0 w 435077"/>
                <a:gd name="connsiteY7" fmla="*/ 281277 h 435077"/>
                <a:gd name="connsiteX8" fmla="*/ 217374 w 435077"/>
                <a:gd name="connsiteY8" fmla="*/ 217539 h 435077"/>
                <a:gd name="connsiteX9" fmla="*/ 0 w 435077"/>
                <a:gd name="connsiteY9" fmla="*/ 217539 h 435077"/>
                <a:gd name="connsiteX10" fmla="*/ 63710 w 435077"/>
                <a:gd name="connsiteY10" fmla="*/ 63739 h 435077"/>
                <a:gd name="connsiteX11" fmla="*/ 217539 w 435077"/>
                <a:gd name="connsiteY11" fmla="*/ 0 h 435077"/>
                <a:gd name="connsiteX12" fmla="*/ 371339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39"/>
                  </a:moveTo>
                  <a:cubicBezTo>
                    <a:pt x="412154" y="104527"/>
                    <a:pt x="435077" y="159864"/>
                    <a:pt x="435077" y="217539"/>
                  </a:cubicBezTo>
                  <a:lnTo>
                    <a:pt x="217701" y="217539"/>
                  </a:lnTo>
                  <a:cubicBezTo>
                    <a:pt x="275322" y="217593"/>
                    <a:pt x="330603" y="240516"/>
                    <a:pt x="371365" y="281277"/>
                  </a:cubicBezTo>
                  <a:cubicBezTo>
                    <a:pt x="412154" y="322066"/>
                    <a:pt x="435077" y="377402"/>
                    <a:pt x="435077" y="435077"/>
                  </a:cubicBezTo>
                  <a:lnTo>
                    <a:pt x="217539" y="435077"/>
                  </a:lnTo>
                  <a:lnTo>
                    <a:pt x="0" y="435077"/>
                  </a:lnTo>
                  <a:cubicBezTo>
                    <a:pt x="0" y="377402"/>
                    <a:pt x="22922" y="322066"/>
                    <a:pt x="63710" y="281277"/>
                  </a:cubicBezTo>
                  <a:cubicBezTo>
                    <a:pt x="104472" y="240516"/>
                    <a:pt x="159727" y="217593"/>
                    <a:pt x="217374" y="217539"/>
                  </a:cubicBezTo>
                  <a:lnTo>
                    <a:pt x="0" y="217539"/>
                  </a:lnTo>
                  <a:cubicBezTo>
                    <a:pt x="0" y="159864"/>
                    <a:pt x="22895" y="104527"/>
                    <a:pt x="63710" y="63739"/>
                  </a:cubicBezTo>
                  <a:cubicBezTo>
                    <a:pt x="104499" y="22923"/>
                    <a:pt x="159836" y="0"/>
                    <a:pt x="217539" y="0"/>
                  </a:cubicBezTo>
                  <a:cubicBezTo>
                    <a:pt x="275213" y="0"/>
                    <a:pt x="330550" y="22923"/>
                    <a:pt x="371339" y="63739"/>
                  </a:cubicBezTo>
                  <a:close/>
                </a:path>
              </a:pathLst>
            </a:custGeom>
            <a:grpFill/>
            <a:ln w="27192" cap="flat">
              <a:noFill/>
              <a:prstDash val="solid"/>
              <a:miter/>
            </a:ln>
          </p:spPr>
          <p:txBody>
            <a:bodyPr rtlCol="0" anchor="ctr"/>
            <a:lstStyle/>
            <a:p>
              <a:endParaRPr lang="uk-UA" sz="900"/>
            </a:p>
          </p:txBody>
        </p:sp>
        <p:sp>
          <p:nvSpPr>
            <p:cNvPr id="341" name="Freeform: Shape 340">
              <a:extLst>
                <a:ext uri="{FF2B5EF4-FFF2-40B4-BE49-F238E27FC236}">
                  <a16:creationId xmlns:a16="http://schemas.microsoft.com/office/drawing/2014/main" id="{C9BB89B9-F9B9-0977-EA94-C8A64732EE90}"/>
                </a:ext>
              </a:extLst>
            </p:cNvPr>
            <p:cNvSpPr/>
            <p:nvPr/>
          </p:nvSpPr>
          <p:spPr>
            <a:xfrm>
              <a:off x="18239029" y="893014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342" name="Freeform: Shape 341">
              <a:extLst>
                <a:ext uri="{FF2B5EF4-FFF2-40B4-BE49-F238E27FC236}">
                  <a16:creationId xmlns:a16="http://schemas.microsoft.com/office/drawing/2014/main" id="{17710AE2-8F05-6249-F7A1-0D55C40D7E64}"/>
                </a:ext>
              </a:extLst>
            </p:cNvPr>
            <p:cNvSpPr/>
            <p:nvPr/>
          </p:nvSpPr>
          <p:spPr>
            <a:xfrm>
              <a:off x="17368874" y="893014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343" name="Freeform: Shape 342">
              <a:extLst>
                <a:ext uri="{FF2B5EF4-FFF2-40B4-BE49-F238E27FC236}">
                  <a16:creationId xmlns:a16="http://schemas.microsoft.com/office/drawing/2014/main" id="{BB4EBEFF-C2EF-A155-3FA0-334454A7939E}"/>
                </a:ext>
              </a:extLst>
            </p:cNvPr>
            <p:cNvSpPr/>
            <p:nvPr/>
          </p:nvSpPr>
          <p:spPr>
            <a:xfrm>
              <a:off x="19109210" y="893014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27 h 435077"/>
                <a:gd name="connsiteX5" fmla="*/ 435077 w 435077"/>
                <a:gd name="connsiteY5" fmla="*/ 217566 h 435077"/>
                <a:gd name="connsiteX6" fmla="*/ 217539 w 435077"/>
                <a:gd name="connsiteY6" fmla="*/ 27 h 435077"/>
                <a:gd name="connsiteX7" fmla="*/ 435077 w 435077"/>
                <a:gd name="connsiteY7" fmla="*/ 27 h 435077"/>
                <a:gd name="connsiteX8" fmla="*/ 217539 w 435077"/>
                <a:gd name="connsiteY8" fmla="*/ 435077 h 435077"/>
                <a:gd name="connsiteX9" fmla="*/ 435077 w 435077"/>
                <a:gd name="connsiteY9" fmla="*/ 217566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66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27"/>
                  </a:moveTo>
                  <a:lnTo>
                    <a:pt x="435077" y="217566"/>
                  </a:lnTo>
                  <a:lnTo>
                    <a:pt x="217539" y="27"/>
                  </a:lnTo>
                  <a:lnTo>
                    <a:pt x="435077" y="27"/>
                  </a:lnTo>
                  <a:close/>
                  <a:moveTo>
                    <a:pt x="217539" y="435077"/>
                  </a:moveTo>
                  <a:lnTo>
                    <a:pt x="435077" y="217566"/>
                  </a:lnTo>
                  <a:lnTo>
                    <a:pt x="435077" y="435077"/>
                  </a:lnTo>
                  <a:lnTo>
                    <a:pt x="217539" y="435077"/>
                  </a:lnTo>
                  <a:close/>
                  <a:moveTo>
                    <a:pt x="217539" y="435077"/>
                  </a:moveTo>
                  <a:lnTo>
                    <a:pt x="0" y="217566"/>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344" name="Freeform: Shape 343">
              <a:extLst>
                <a:ext uri="{FF2B5EF4-FFF2-40B4-BE49-F238E27FC236}">
                  <a16:creationId xmlns:a16="http://schemas.microsoft.com/office/drawing/2014/main" id="{A3EAC384-F257-435F-FCAB-1A2CA7F9E58E}"/>
                </a:ext>
              </a:extLst>
            </p:cNvPr>
            <p:cNvSpPr/>
            <p:nvPr/>
          </p:nvSpPr>
          <p:spPr>
            <a:xfrm>
              <a:off x="19979365" y="8930148"/>
              <a:ext cx="435077" cy="435077"/>
            </a:xfrm>
            <a:custGeom>
              <a:avLst/>
              <a:gdLst>
                <a:gd name="connsiteX0" fmla="*/ 371365 w 435077"/>
                <a:gd name="connsiteY0" fmla="*/ 63739 h 435077"/>
                <a:gd name="connsiteX1" fmla="*/ 435077 w 435077"/>
                <a:gd name="connsiteY1" fmla="*/ 217539 h 435077"/>
                <a:gd name="connsiteX2" fmla="*/ 217701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5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39"/>
                  </a:moveTo>
                  <a:cubicBezTo>
                    <a:pt x="412154" y="104527"/>
                    <a:pt x="435077" y="159864"/>
                    <a:pt x="435077" y="217539"/>
                  </a:cubicBezTo>
                  <a:lnTo>
                    <a:pt x="217701" y="217539"/>
                  </a:lnTo>
                  <a:cubicBezTo>
                    <a:pt x="275349" y="217593"/>
                    <a:pt x="330605" y="240516"/>
                    <a:pt x="371365" y="281277"/>
                  </a:cubicBezTo>
                  <a:cubicBezTo>
                    <a:pt x="412154" y="322066"/>
                    <a:pt x="435077" y="377402"/>
                    <a:pt x="435077" y="435077"/>
                  </a:cubicBezTo>
                  <a:lnTo>
                    <a:pt x="217539" y="435077"/>
                  </a:lnTo>
                  <a:lnTo>
                    <a:pt x="0" y="435077"/>
                  </a:lnTo>
                  <a:cubicBezTo>
                    <a:pt x="0" y="377402"/>
                    <a:pt x="22924" y="322066"/>
                    <a:pt x="63712" y="281277"/>
                  </a:cubicBezTo>
                  <a:cubicBezTo>
                    <a:pt x="104472" y="240516"/>
                    <a:pt x="159728" y="217593"/>
                    <a:pt x="217376" y="217539"/>
                  </a:cubicBezTo>
                  <a:lnTo>
                    <a:pt x="0" y="217539"/>
                  </a:lnTo>
                  <a:cubicBezTo>
                    <a:pt x="0" y="159864"/>
                    <a:pt x="22924" y="104527"/>
                    <a:pt x="63712" y="63739"/>
                  </a:cubicBezTo>
                  <a:cubicBezTo>
                    <a:pt x="104501" y="22923"/>
                    <a:pt x="159836" y="0"/>
                    <a:pt x="217539" y="0"/>
                  </a:cubicBezTo>
                  <a:cubicBezTo>
                    <a:pt x="275241" y="0"/>
                    <a:pt x="330550" y="22923"/>
                    <a:pt x="371365" y="63739"/>
                  </a:cubicBezTo>
                  <a:close/>
                </a:path>
              </a:pathLst>
            </a:custGeom>
            <a:grpFill/>
            <a:ln w="27192" cap="flat">
              <a:noFill/>
              <a:prstDash val="solid"/>
              <a:miter/>
            </a:ln>
          </p:spPr>
          <p:txBody>
            <a:bodyPr rtlCol="0" anchor="ctr"/>
            <a:lstStyle/>
            <a:p>
              <a:endParaRPr lang="uk-UA" sz="900"/>
            </a:p>
          </p:txBody>
        </p:sp>
        <p:sp>
          <p:nvSpPr>
            <p:cNvPr id="345" name="Freeform: Shape 344">
              <a:extLst>
                <a:ext uri="{FF2B5EF4-FFF2-40B4-BE49-F238E27FC236}">
                  <a16:creationId xmlns:a16="http://schemas.microsoft.com/office/drawing/2014/main" id="{2D91FED1-12FF-DA33-FABD-FEDA4314764D}"/>
                </a:ext>
              </a:extLst>
            </p:cNvPr>
            <p:cNvSpPr/>
            <p:nvPr/>
          </p:nvSpPr>
          <p:spPr>
            <a:xfrm>
              <a:off x="21719702" y="8930148"/>
              <a:ext cx="435077" cy="435104"/>
            </a:xfrm>
            <a:custGeom>
              <a:avLst/>
              <a:gdLst>
                <a:gd name="connsiteX0" fmla="*/ 0 w 435077"/>
                <a:gd name="connsiteY0" fmla="*/ 435077 h 435104"/>
                <a:gd name="connsiteX1" fmla="*/ 217512 w 435077"/>
                <a:gd name="connsiteY1" fmla="*/ 435077 h 435104"/>
                <a:gd name="connsiteX2" fmla="*/ 217512 w 435077"/>
                <a:gd name="connsiteY2" fmla="*/ 217566 h 435104"/>
                <a:gd name="connsiteX3" fmla="*/ 0 w 435077"/>
                <a:gd name="connsiteY3" fmla="*/ 435077 h 435104"/>
                <a:gd name="connsiteX4" fmla="*/ 217512 w 435077"/>
                <a:gd name="connsiteY4" fmla="*/ 0 h 435104"/>
                <a:gd name="connsiteX5" fmla="*/ 0 w 435077"/>
                <a:gd name="connsiteY5" fmla="*/ 0 h 435104"/>
                <a:gd name="connsiteX6" fmla="*/ 217512 w 435077"/>
                <a:gd name="connsiteY6" fmla="*/ 217539 h 435104"/>
                <a:gd name="connsiteX7" fmla="*/ 217512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12" y="435077"/>
                  </a:lnTo>
                  <a:lnTo>
                    <a:pt x="217512" y="217566"/>
                  </a:lnTo>
                  <a:lnTo>
                    <a:pt x="0" y="435077"/>
                  </a:lnTo>
                  <a:close/>
                  <a:moveTo>
                    <a:pt x="217512" y="0"/>
                  </a:moveTo>
                  <a:lnTo>
                    <a:pt x="0" y="0"/>
                  </a:lnTo>
                  <a:lnTo>
                    <a:pt x="217512" y="217539"/>
                  </a:lnTo>
                  <a:lnTo>
                    <a:pt x="217512"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346" name="Freeform: Shape 345">
              <a:extLst>
                <a:ext uri="{FF2B5EF4-FFF2-40B4-BE49-F238E27FC236}">
                  <a16:creationId xmlns:a16="http://schemas.microsoft.com/office/drawing/2014/main" id="{ED2AE294-4187-F62D-0B41-84FFF9F03D45}"/>
                </a:ext>
              </a:extLst>
            </p:cNvPr>
            <p:cNvSpPr/>
            <p:nvPr/>
          </p:nvSpPr>
          <p:spPr>
            <a:xfrm>
              <a:off x="20849520" y="893014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347" name="Freeform: Shape 346">
              <a:extLst>
                <a:ext uri="{FF2B5EF4-FFF2-40B4-BE49-F238E27FC236}">
                  <a16:creationId xmlns:a16="http://schemas.microsoft.com/office/drawing/2014/main" id="{0B3B8B64-0685-D965-CF01-0EF038C4BD36}"/>
                </a:ext>
              </a:extLst>
            </p:cNvPr>
            <p:cNvSpPr/>
            <p:nvPr/>
          </p:nvSpPr>
          <p:spPr>
            <a:xfrm>
              <a:off x="22589856" y="893014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27 h 435077"/>
                <a:gd name="connsiteX5" fmla="*/ 435077 w 435077"/>
                <a:gd name="connsiteY5" fmla="*/ 217566 h 435077"/>
                <a:gd name="connsiteX6" fmla="*/ 217539 w 435077"/>
                <a:gd name="connsiteY6" fmla="*/ 27 h 435077"/>
                <a:gd name="connsiteX7" fmla="*/ 435077 w 435077"/>
                <a:gd name="connsiteY7" fmla="*/ 27 h 435077"/>
                <a:gd name="connsiteX8" fmla="*/ 217539 w 435077"/>
                <a:gd name="connsiteY8" fmla="*/ 435077 h 435077"/>
                <a:gd name="connsiteX9" fmla="*/ 435077 w 435077"/>
                <a:gd name="connsiteY9" fmla="*/ 217566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66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27"/>
                  </a:moveTo>
                  <a:lnTo>
                    <a:pt x="435077" y="217566"/>
                  </a:lnTo>
                  <a:lnTo>
                    <a:pt x="217539" y="27"/>
                  </a:lnTo>
                  <a:lnTo>
                    <a:pt x="435077" y="27"/>
                  </a:lnTo>
                  <a:close/>
                  <a:moveTo>
                    <a:pt x="217539" y="435077"/>
                  </a:moveTo>
                  <a:lnTo>
                    <a:pt x="435077" y="217566"/>
                  </a:lnTo>
                  <a:lnTo>
                    <a:pt x="435077" y="435077"/>
                  </a:lnTo>
                  <a:lnTo>
                    <a:pt x="217539" y="435077"/>
                  </a:lnTo>
                  <a:close/>
                  <a:moveTo>
                    <a:pt x="217539" y="435077"/>
                  </a:moveTo>
                  <a:lnTo>
                    <a:pt x="0" y="217566"/>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348" name="Freeform: Shape 347">
              <a:extLst>
                <a:ext uri="{FF2B5EF4-FFF2-40B4-BE49-F238E27FC236}">
                  <a16:creationId xmlns:a16="http://schemas.microsoft.com/office/drawing/2014/main" id="{20E46D97-D62F-022A-B796-DD19C413643F}"/>
                </a:ext>
              </a:extLst>
            </p:cNvPr>
            <p:cNvSpPr/>
            <p:nvPr/>
          </p:nvSpPr>
          <p:spPr>
            <a:xfrm>
              <a:off x="23460039" y="8930148"/>
              <a:ext cx="435077" cy="435077"/>
            </a:xfrm>
            <a:custGeom>
              <a:avLst/>
              <a:gdLst>
                <a:gd name="connsiteX0" fmla="*/ 371339 w 435077"/>
                <a:gd name="connsiteY0" fmla="*/ 63739 h 435077"/>
                <a:gd name="connsiteX1" fmla="*/ 435077 w 435077"/>
                <a:gd name="connsiteY1" fmla="*/ 217539 h 435077"/>
                <a:gd name="connsiteX2" fmla="*/ 217701 w 435077"/>
                <a:gd name="connsiteY2" fmla="*/ 217539 h 435077"/>
                <a:gd name="connsiteX3" fmla="*/ 371339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48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39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39"/>
                  </a:moveTo>
                  <a:cubicBezTo>
                    <a:pt x="412154" y="104527"/>
                    <a:pt x="435077" y="159864"/>
                    <a:pt x="435077" y="217539"/>
                  </a:cubicBezTo>
                  <a:lnTo>
                    <a:pt x="217701" y="217539"/>
                  </a:lnTo>
                  <a:cubicBezTo>
                    <a:pt x="275322" y="217593"/>
                    <a:pt x="330605" y="240516"/>
                    <a:pt x="371339" y="281277"/>
                  </a:cubicBezTo>
                  <a:cubicBezTo>
                    <a:pt x="412154" y="322066"/>
                    <a:pt x="435077" y="377402"/>
                    <a:pt x="435077" y="435077"/>
                  </a:cubicBezTo>
                  <a:lnTo>
                    <a:pt x="217539" y="435077"/>
                  </a:lnTo>
                  <a:lnTo>
                    <a:pt x="0" y="435077"/>
                  </a:lnTo>
                  <a:cubicBezTo>
                    <a:pt x="0" y="377402"/>
                    <a:pt x="22895" y="322066"/>
                    <a:pt x="63712" y="281277"/>
                  </a:cubicBezTo>
                  <a:cubicBezTo>
                    <a:pt x="104472" y="240516"/>
                    <a:pt x="159727" y="217593"/>
                    <a:pt x="217348" y="217539"/>
                  </a:cubicBezTo>
                  <a:lnTo>
                    <a:pt x="0" y="217539"/>
                  </a:lnTo>
                  <a:cubicBezTo>
                    <a:pt x="0" y="159864"/>
                    <a:pt x="22895" y="104527"/>
                    <a:pt x="63712" y="63739"/>
                  </a:cubicBezTo>
                  <a:cubicBezTo>
                    <a:pt x="104501" y="22923"/>
                    <a:pt x="159836" y="0"/>
                    <a:pt x="217539" y="0"/>
                  </a:cubicBezTo>
                  <a:cubicBezTo>
                    <a:pt x="275213" y="0"/>
                    <a:pt x="330550" y="22923"/>
                    <a:pt x="371339" y="63739"/>
                  </a:cubicBezTo>
                  <a:close/>
                </a:path>
              </a:pathLst>
            </a:custGeom>
            <a:grpFill/>
            <a:ln w="27192" cap="flat">
              <a:noFill/>
              <a:prstDash val="solid"/>
              <a:miter/>
            </a:ln>
          </p:spPr>
          <p:txBody>
            <a:bodyPr rtlCol="0" anchor="ctr"/>
            <a:lstStyle/>
            <a:p>
              <a:endParaRPr lang="uk-UA" sz="900"/>
            </a:p>
          </p:txBody>
        </p:sp>
        <p:sp>
          <p:nvSpPr>
            <p:cNvPr id="349" name="Freeform: Shape 348">
              <a:extLst>
                <a:ext uri="{FF2B5EF4-FFF2-40B4-BE49-F238E27FC236}">
                  <a16:creationId xmlns:a16="http://schemas.microsoft.com/office/drawing/2014/main" id="{D5C02AE7-8E5E-A9DC-B41E-22B6994801FB}"/>
                </a:ext>
              </a:extLst>
            </p:cNvPr>
            <p:cNvSpPr/>
            <p:nvPr/>
          </p:nvSpPr>
          <p:spPr>
            <a:xfrm>
              <a:off x="24330194" y="893014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350" name="Freeform: Shape 349">
              <a:extLst>
                <a:ext uri="{FF2B5EF4-FFF2-40B4-BE49-F238E27FC236}">
                  <a16:creationId xmlns:a16="http://schemas.microsoft.com/office/drawing/2014/main" id="{D40825C1-67E6-6463-AB80-FEB65EFF8217}"/>
                </a:ext>
              </a:extLst>
            </p:cNvPr>
            <p:cNvSpPr/>
            <p:nvPr/>
          </p:nvSpPr>
          <p:spPr>
            <a:xfrm>
              <a:off x="835769" y="9800303"/>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351" name="Freeform: Shape 350">
              <a:extLst>
                <a:ext uri="{FF2B5EF4-FFF2-40B4-BE49-F238E27FC236}">
                  <a16:creationId xmlns:a16="http://schemas.microsoft.com/office/drawing/2014/main" id="{DBA0D9F7-6433-F6A8-1883-B0F6FFFCE6AF}"/>
                </a:ext>
              </a:extLst>
            </p:cNvPr>
            <p:cNvSpPr/>
            <p:nvPr/>
          </p:nvSpPr>
          <p:spPr>
            <a:xfrm>
              <a:off x="-34398" y="9800303"/>
              <a:ext cx="435063" cy="435077"/>
            </a:xfrm>
            <a:custGeom>
              <a:avLst/>
              <a:gdLst>
                <a:gd name="connsiteX0" fmla="*/ 435064 w 435063"/>
                <a:gd name="connsiteY0" fmla="*/ 435077 h 435077"/>
                <a:gd name="connsiteX1" fmla="*/ 435064 w 435063"/>
                <a:gd name="connsiteY1" fmla="*/ 217566 h 435077"/>
                <a:gd name="connsiteX2" fmla="*/ 435064 w 435063"/>
                <a:gd name="connsiteY2" fmla="*/ 27 h 435077"/>
                <a:gd name="connsiteX3" fmla="*/ 217552 w 435063"/>
                <a:gd name="connsiteY3" fmla="*/ 27 h 435077"/>
                <a:gd name="connsiteX4" fmla="*/ 435064 w 435063"/>
                <a:gd name="connsiteY4" fmla="*/ 217566 h 435077"/>
                <a:gd name="connsiteX5" fmla="*/ 217552 w 435063"/>
                <a:gd name="connsiteY5" fmla="*/ 435077 h 435077"/>
                <a:gd name="connsiteX6" fmla="*/ 435064 w 435063"/>
                <a:gd name="connsiteY6" fmla="*/ 435077 h 435077"/>
                <a:gd name="connsiteX7" fmla="*/ 0 w 435063"/>
                <a:gd name="connsiteY7" fmla="*/ 217539 h 435077"/>
                <a:gd name="connsiteX8" fmla="*/ 0 w 435063"/>
                <a:gd name="connsiteY8" fmla="*/ 0 h 435077"/>
                <a:gd name="connsiteX9" fmla="*/ 217525 w 435063"/>
                <a:gd name="connsiteY9" fmla="*/ 217539 h 435077"/>
                <a:gd name="connsiteX10" fmla="*/ 0 w 435063"/>
                <a:gd name="connsiteY10" fmla="*/ 217539 h 435077"/>
                <a:gd name="connsiteX11" fmla="*/ 0 w 435063"/>
                <a:gd name="connsiteY11" fmla="*/ 435077 h 435077"/>
                <a:gd name="connsiteX12" fmla="*/ 0 w 435063"/>
                <a:gd name="connsiteY12" fmla="*/ 217566 h 435077"/>
                <a:gd name="connsiteX13" fmla="*/ 217525 w 435063"/>
                <a:gd name="connsiteY13" fmla="*/ 217566 h 435077"/>
                <a:gd name="connsiteX14" fmla="*/ 0 w 435063"/>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63" h="435077">
                  <a:moveTo>
                    <a:pt x="435064" y="435077"/>
                  </a:moveTo>
                  <a:lnTo>
                    <a:pt x="435064" y="217566"/>
                  </a:lnTo>
                  <a:lnTo>
                    <a:pt x="435064" y="27"/>
                  </a:lnTo>
                  <a:lnTo>
                    <a:pt x="217552" y="27"/>
                  </a:lnTo>
                  <a:lnTo>
                    <a:pt x="435064" y="217566"/>
                  </a:lnTo>
                  <a:lnTo>
                    <a:pt x="217552" y="435077"/>
                  </a:lnTo>
                  <a:lnTo>
                    <a:pt x="435064" y="435077"/>
                  </a:lnTo>
                  <a:close/>
                  <a:moveTo>
                    <a:pt x="0" y="217539"/>
                  </a:moveTo>
                  <a:lnTo>
                    <a:pt x="0" y="0"/>
                  </a:lnTo>
                  <a:lnTo>
                    <a:pt x="217525" y="217539"/>
                  </a:lnTo>
                  <a:lnTo>
                    <a:pt x="0" y="217539"/>
                  </a:lnTo>
                  <a:close/>
                  <a:moveTo>
                    <a:pt x="0" y="435077"/>
                  </a:moveTo>
                  <a:lnTo>
                    <a:pt x="0" y="217566"/>
                  </a:lnTo>
                  <a:lnTo>
                    <a:pt x="217525" y="217566"/>
                  </a:lnTo>
                  <a:lnTo>
                    <a:pt x="0" y="435077"/>
                  </a:lnTo>
                  <a:close/>
                </a:path>
              </a:pathLst>
            </a:custGeom>
            <a:grpFill/>
            <a:ln w="27192" cap="flat">
              <a:noFill/>
              <a:prstDash val="solid"/>
              <a:miter/>
            </a:ln>
          </p:spPr>
          <p:txBody>
            <a:bodyPr rtlCol="0" anchor="ctr"/>
            <a:lstStyle/>
            <a:p>
              <a:endParaRPr lang="uk-UA" sz="900"/>
            </a:p>
          </p:txBody>
        </p:sp>
        <p:sp>
          <p:nvSpPr>
            <p:cNvPr id="352" name="Freeform: Shape 351">
              <a:extLst>
                <a:ext uri="{FF2B5EF4-FFF2-40B4-BE49-F238E27FC236}">
                  <a16:creationId xmlns:a16="http://schemas.microsoft.com/office/drawing/2014/main" id="{0AD99F76-4ADE-FBF6-7FE9-E8B73150E472}"/>
                </a:ext>
              </a:extLst>
            </p:cNvPr>
            <p:cNvSpPr/>
            <p:nvPr/>
          </p:nvSpPr>
          <p:spPr>
            <a:xfrm>
              <a:off x="1705924" y="9800330"/>
              <a:ext cx="435077" cy="435050"/>
            </a:xfrm>
            <a:custGeom>
              <a:avLst/>
              <a:gdLst>
                <a:gd name="connsiteX0" fmla="*/ 435077 w 435077"/>
                <a:gd name="connsiteY0" fmla="*/ 435050 h 435050"/>
                <a:gd name="connsiteX1" fmla="*/ 435077 w 435077"/>
                <a:gd name="connsiteY1" fmla="*/ 0 h 435050"/>
                <a:gd name="connsiteX2" fmla="*/ 217566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39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66" y="217539"/>
                  </a:lnTo>
                  <a:lnTo>
                    <a:pt x="435077" y="435050"/>
                  </a:lnTo>
                  <a:close/>
                  <a:moveTo>
                    <a:pt x="0" y="435050"/>
                  </a:moveTo>
                  <a:lnTo>
                    <a:pt x="0" y="0"/>
                  </a:lnTo>
                  <a:lnTo>
                    <a:pt x="217539" y="217539"/>
                  </a:lnTo>
                  <a:lnTo>
                    <a:pt x="0" y="435050"/>
                  </a:lnTo>
                  <a:close/>
                </a:path>
              </a:pathLst>
            </a:custGeom>
            <a:grpFill/>
            <a:ln w="27192" cap="flat">
              <a:noFill/>
              <a:prstDash val="solid"/>
              <a:miter/>
            </a:ln>
          </p:spPr>
          <p:txBody>
            <a:bodyPr rtlCol="0" anchor="ctr"/>
            <a:lstStyle/>
            <a:p>
              <a:endParaRPr lang="uk-UA" sz="900"/>
            </a:p>
          </p:txBody>
        </p:sp>
        <p:sp>
          <p:nvSpPr>
            <p:cNvPr id="353" name="Freeform: Shape 352">
              <a:extLst>
                <a:ext uri="{FF2B5EF4-FFF2-40B4-BE49-F238E27FC236}">
                  <a16:creationId xmlns:a16="http://schemas.microsoft.com/office/drawing/2014/main" id="{2BB8A862-79AF-D05C-E8A8-DA97F547D8B5}"/>
                </a:ext>
              </a:extLst>
            </p:cNvPr>
            <p:cNvSpPr/>
            <p:nvPr/>
          </p:nvSpPr>
          <p:spPr>
            <a:xfrm>
              <a:off x="2576106" y="980030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3" y="113039"/>
                    <a:pt x="0" y="57702"/>
                    <a:pt x="0" y="0"/>
                  </a:cubicBezTo>
                  <a:lnTo>
                    <a:pt x="217539" y="0"/>
                  </a:lnTo>
                  <a:lnTo>
                    <a:pt x="435077" y="0"/>
                  </a:lnTo>
                  <a:cubicBezTo>
                    <a:pt x="435077" y="57702"/>
                    <a:pt x="412154" y="113039"/>
                    <a:pt x="371366" y="153827"/>
                  </a:cubicBezTo>
                  <a:cubicBezTo>
                    <a:pt x="330550" y="194642"/>
                    <a:pt x="275214" y="217539"/>
                    <a:pt x="217539" y="217539"/>
                  </a:cubicBezTo>
                  <a:cubicBezTo>
                    <a:pt x="159837" y="217539"/>
                    <a:pt x="104500" y="194642"/>
                    <a:pt x="63712" y="153827"/>
                  </a:cubicBezTo>
                  <a:close/>
                  <a:moveTo>
                    <a:pt x="63712" y="281277"/>
                  </a:moveTo>
                  <a:cubicBezTo>
                    <a:pt x="22923" y="322066"/>
                    <a:pt x="0" y="377402"/>
                    <a:pt x="0" y="435077"/>
                  </a:cubicBezTo>
                  <a:lnTo>
                    <a:pt x="217539" y="435077"/>
                  </a:lnTo>
                  <a:lnTo>
                    <a:pt x="435077" y="435077"/>
                  </a:lnTo>
                  <a:cubicBezTo>
                    <a:pt x="435077" y="377402"/>
                    <a:pt x="412154" y="322066"/>
                    <a:pt x="371366" y="281277"/>
                  </a:cubicBezTo>
                  <a:cubicBezTo>
                    <a:pt x="330550" y="240462"/>
                    <a:pt x="275214" y="217539"/>
                    <a:pt x="217539" y="217539"/>
                  </a:cubicBezTo>
                  <a:cubicBezTo>
                    <a:pt x="159837" y="217539"/>
                    <a:pt x="104500" y="240462"/>
                    <a:pt x="63712" y="281277"/>
                  </a:cubicBezTo>
                  <a:close/>
                </a:path>
              </a:pathLst>
            </a:custGeom>
            <a:grpFill/>
            <a:ln w="27192" cap="flat">
              <a:noFill/>
              <a:prstDash val="solid"/>
              <a:miter/>
            </a:ln>
          </p:spPr>
          <p:txBody>
            <a:bodyPr rtlCol="0" anchor="ctr"/>
            <a:lstStyle/>
            <a:p>
              <a:endParaRPr lang="uk-UA" sz="900"/>
            </a:p>
          </p:txBody>
        </p:sp>
        <p:sp>
          <p:nvSpPr>
            <p:cNvPr id="354" name="Freeform: Shape 353">
              <a:extLst>
                <a:ext uri="{FF2B5EF4-FFF2-40B4-BE49-F238E27FC236}">
                  <a16:creationId xmlns:a16="http://schemas.microsoft.com/office/drawing/2014/main" id="{49F71BFD-ED98-8D0C-61C7-AEBDF2A6512C}"/>
                </a:ext>
              </a:extLst>
            </p:cNvPr>
            <p:cNvSpPr/>
            <p:nvPr/>
          </p:nvSpPr>
          <p:spPr>
            <a:xfrm>
              <a:off x="4316416" y="9800303"/>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65 w 435077"/>
                <a:gd name="connsiteY4" fmla="*/ 435077 h 435077"/>
                <a:gd name="connsiteX5" fmla="*/ 217565 w 435077"/>
                <a:gd name="connsiteY5" fmla="*/ 0 h 435077"/>
                <a:gd name="connsiteX6" fmla="*/ 435077 w 435077"/>
                <a:gd name="connsiteY6" fmla="*/ 217566 h 435077"/>
                <a:gd name="connsiteX7" fmla="*/ 217565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65" y="435077"/>
                  </a:moveTo>
                  <a:lnTo>
                    <a:pt x="217565" y="0"/>
                  </a:lnTo>
                  <a:lnTo>
                    <a:pt x="435077" y="217566"/>
                  </a:lnTo>
                  <a:lnTo>
                    <a:pt x="217565" y="435077"/>
                  </a:lnTo>
                  <a:close/>
                </a:path>
              </a:pathLst>
            </a:custGeom>
            <a:grpFill/>
            <a:ln w="27192" cap="flat">
              <a:noFill/>
              <a:prstDash val="solid"/>
              <a:miter/>
            </a:ln>
          </p:spPr>
          <p:txBody>
            <a:bodyPr rtlCol="0" anchor="ctr"/>
            <a:lstStyle/>
            <a:p>
              <a:endParaRPr lang="uk-UA" sz="900"/>
            </a:p>
          </p:txBody>
        </p:sp>
        <p:sp>
          <p:nvSpPr>
            <p:cNvPr id="355" name="Freeform: Shape 354">
              <a:extLst>
                <a:ext uri="{FF2B5EF4-FFF2-40B4-BE49-F238E27FC236}">
                  <a16:creationId xmlns:a16="http://schemas.microsoft.com/office/drawing/2014/main" id="{593C3CB0-53F6-D500-59D2-F57CDE84C81B}"/>
                </a:ext>
              </a:extLst>
            </p:cNvPr>
            <p:cNvSpPr/>
            <p:nvPr/>
          </p:nvSpPr>
          <p:spPr>
            <a:xfrm>
              <a:off x="3446261" y="980030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6 w 435077"/>
                <a:gd name="connsiteY3" fmla="*/ 27 h 435077"/>
                <a:gd name="connsiteX4" fmla="*/ 435077 w 435077"/>
                <a:gd name="connsiteY4" fmla="*/ 217566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6" y="27"/>
                  </a:lnTo>
                  <a:lnTo>
                    <a:pt x="435077" y="217566"/>
                  </a:lnTo>
                  <a:lnTo>
                    <a:pt x="217566"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356" name="Freeform: Shape 355">
              <a:extLst>
                <a:ext uri="{FF2B5EF4-FFF2-40B4-BE49-F238E27FC236}">
                  <a16:creationId xmlns:a16="http://schemas.microsoft.com/office/drawing/2014/main" id="{E3108F50-294F-1172-8519-17373858606F}"/>
                </a:ext>
              </a:extLst>
            </p:cNvPr>
            <p:cNvSpPr/>
            <p:nvPr/>
          </p:nvSpPr>
          <p:spPr>
            <a:xfrm>
              <a:off x="5186597" y="9800330"/>
              <a:ext cx="435077" cy="435050"/>
            </a:xfrm>
            <a:custGeom>
              <a:avLst/>
              <a:gdLst>
                <a:gd name="connsiteX0" fmla="*/ 435077 w 435077"/>
                <a:gd name="connsiteY0" fmla="*/ 435050 h 435050"/>
                <a:gd name="connsiteX1" fmla="*/ 435077 w 435077"/>
                <a:gd name="connsiteY1" fmla="*/ 0 h 435050"/>
                <a:gd name="connsiteX2" fmla="*/ 217566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39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66" y="217539"/>
                  </a:lnTo>
                  <a:lnTo>
                    <a:pt x="435077" y="435050"/>
                  </a:lnTo>
                  <a:close/>
                  <a:moveTo>
                    <a:pt x="0" y="435050"/>
                  </a:moveTo>
                  <a:lnTo>
                    <a:pt x="0" y="0"/>
                  </a:lnTo>
                  <a:lnTo>
                    <a:pt x="217539" y="217539"/>
                  </a:lnTo>
                  <a:lnTo>
                    <a:pt x="0" y="435050"/>
                  </a:lnTo>
                  <a:close/>
                </a:path>
              </a:pathLst>
            </a:custGeom>
            <a:grpFill/>
            <a:ln w="27192" cap="flat">
              <a:noFill/>
              <a:prstDash val="solid"/>
              <a:miter/>
            </a:ln>
          </p:spPr>
          <p:txBody>
            <a:bodyPr rtlCol="0" anchor="ctr"/>
            <a:lstStyle/>
            <a:p>
              <a:endParaRPr lang="uk-UA" sz="900"/>
            </a:p>
          </p:txBody>
        </p:sp>
        <p:sp>
          <p:nvSpPr>
            <p:cNvPr id="357" name="Freeform: Shape 356">
              <a:extLst>
                <a:ext uri="{FF2B5EF4-FFF2-40B4-BE49-F238E27FC236}">
                  <a16:creationId xmlns:a16="http://schemas.microsoft.com/office/drawing/2014/main" id="{B4676F4F-A29D-E79B-1442-1911A26CFFE4}"/>
                </a:ext>
              </a:extLst>
            </p:cNvPr>
            <p:cNvSpPr/>
            <p:nvPr/>
          </p:nvSpPr>
          <p:spPr>
            <a:xfrm>
              <a:off x="6056752" y="980030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6" y="153827"/>
                  </a:cubicBezTo>
                  <a:cubicBezTo>
                    <a:pt x="330550" y="194642"/>
                    <a:pt x="275241" y="217539"/>
                    <a:pt x="217539" y="217539"/>
                  </a:cubicBezTo>
                  <a:cubicBezTo>
                    <a:pt x="159837"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5" y="322066"/>
                    <a:pt x="371366" y="281277"/>
                  </a:cubicBezTo>
                  <a:cubicBezTo>
                    <a:pt x="330550" y="240462"/>
                    <a:pt x="275241" y="217539"/>
                    <a:pt x="217539" y="217539"/>
                  </a:cubicBezTo>
                  <a:cubicBezTo>
                    <a:pt x="159837" y="217539"/>
                    <a:pt x="104501" y="240462"/>
                    <a:pt x="63712" y="281277"/>
                  </a:cubicBezTo>
                  <a:close/>
                </a:path>
              </a:pathLst>
            </a:custGeom>
            <a:grpFill/>
            <a:ln w="27192" cap="flat">
              <a:noFill/>
              <a:prstDash val="solid"/>
              <a:miter/>
            </a:ln>
          </p:spPr>
          <p:txBody>
            <a:bodyPr rtlCol="0" anchor="ctr"/>
            <a:lstStyle/>
            <a:p>
              <a:endParaRPr lang="uk-UA" sz="900"/>
            </a:p>
          </p:txBody>
        </p:sp>
        <p:sp>
          <p:nvSpPr>
            <p:cNvPr id="358" name="Freeform: Shape 357">
              <a:extLst>
                <a:ext uri="{FF2B5EF4-FFF2-40B4-BE49-F238E27FC236}">
                  <a16:creationId xmlns:a16="http://schemas.microsoft.com/office/drawing/2014/main" id="{54D921E0-833D-1265-A12D-711606AD331B}"/>
                </a:ext>
              </a:extLst>
            </p:cNvPr>
            <p:cNvSpPr/>
            <p:nvPr/>
          </p:nvSpPr>
          <p:spPr>
            <a:xfrm>
              <a:off x="7797062" y="9800303"/>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66 w 435077"/>
                <a:gd name="connsiteY4" fmla="*/ 435077 h 435077"/>
                <a:gd name="connsiteX5" fmla="*/ 217566 w 435077"/>
                <a:gd name="connsiteY5" fmla="*/ 0 h 435077"/>
                <a:gd name="connsiteX6" fmla="*/ 435077 w 435077"/>
                <a:gd name="connsiteY6" fmla="*/ 217566 h 435077"/>
                <a:gd name="connsiteX7" fmla="*/ 217566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66" y="435077"/>
                  </a:moveTo>
                  <a:lnTo>
                    <a:pt x="217566" y="0"/>
                  </a:lnTo>
                  <a:lnTo>
                    <a:pt x="435077" y="217566"/>
                  </a:lnTo>
                  <a:lnTo>
                    <a:pt x="217566" y="435077"/>
                  </a:lnTo>
                  <a:close/>
                </a:path>
              </a:pathLst>
            </a:custGeom>
            <a:grpFill/>
            <a:ln w="27192" cap="flat">
              <a:noFill/>
              <a:prstDash val="solid"/>
              <a:miter/>
            </a:ln>
          </p:spPr>
          <p:txBody>
            <a:bodyPr rtlCol="0" anchor="ctr"/>
            <a:lstStyle/>
            <a:p>
              <a:endParaRPr lang="uk-UA" sz="900"/>
            </a:p>
          </p:txBody>
        </p:sp>
        <p:sp>
          <p:nvSpPr>
            <p:cNvPr id="359" name="Freeform: Shape 358">
              <a:extLst>
                <a:ext uri="{FF2B5EF4-FFF2-40B4-BE49-F238E27FC236}">
                  <a16:creationId xmlns:a16="http://schemas.microsoft.com/office/drawing/2014/main" id="{3AF960DC-545F-377F-FFFC-825D2E6928B4}"/>
                </a:ext>
              </a:extLst>
            </p:cNvPr>
            <p:cNvSpPr/>
            <p:nvPr/>
          </p:nvSpPr>
          <p:spPr>
            <a:xfrm>
              <a:off x="6926907" y="980030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6 w 435077"/>
                <a:gd name="connsiteY3" fmla="*/ 27 h 435077"/>
                <a:gd name="connsiteX4" fmla="*/ 435077 w 435077"/>
                <a:gd name="connsiteY4" fmla="*/ 217566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6" y="27"/>
                  </a:lnTo>
                  <a:lnTo>
                    <a:pt x="435077" y="217566"/>
                  </a:lnTo>
                  <a:lnTo>
                    <a:pt x="217566"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360" name="Freeform: Shape 359">
              <a:extLst>
                <a:ext uri="{FF2B5EF4-FFF2-40B4-BE49-F238E27FC236}">
                  <a16:creationId xmlns:a16="http://schemas.microsoft.com/office/drawing/2014/main" id="{B8AD5AE0-4294-8AFA-5432-DFA892344433}"/>
                </a:ext>
              </a:extLst>
            </p:cNvPr>
            <p:cNvSpPr/>
            <p:nvPr/>
          </p:nvSpPr>
          <p:spPr>
            <a:xfrm>
              <a:off x="8667244" y="980033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1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1" y="217539"/>
                  </a:lnTo>
                  <a:lnTo>
                    <a:pt x="0" y="435050"/>
                  </a:lnTo>
                  <a:close/>
                </a:path>
              </a:pathLst>
            </a:custGeom>
            <a:grpFill/>
            <a:ln w="27192" cap="flat">
              <a:noFill/>
              <a:prstDash val="solid"/>
              <a:miter/>
            </a:ln>
          </p:spPr>
          <p:txBody>
            <a:bodyPr rtlCol="0" anchor="ctr"/>
            <a:lstStyle/>
            <a:p>
              <a:endParaRPr lang="uk-UA" sz="900"/>
            </a:p>
          </p:txBody>
        </p:sp>
        <p:sp>
          <p:nvSpPr>
            <p:cNvPr id="361" name="Freeform: Shape 360">
              <a:extLst>
                <a:ext uri="{FF2B5EF4-FFF2-40B4-BE49-F238E27FC236}">
                  <a16:creationId xmlns:a16="http://schemas.microsoft.com/office/drawing/2014/main" id="{0F2EAF3C-FBBD-7A67-B7D9-ACE9B45D29B0}"/>
                </a:ext>
              </a:extLst>
            </p:cNvPr>
            <p:cNvSpPr/>
            <p:nvPr/>
          </p:nvSpPr>
          <p:spPr>
            <a:xfrm>
              <a:off x="9537399" y="9800303"/>
              <a:ext cx="435077" cy="435077"/>
            </a:xfrm>
            <a:custGeom>
              <a:avLst/>
              <a:gdLst>
                <a:gd name="connsiteX0" fmla="*/ 63711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1 w 435077"/>
                <a:gd name="connsiteY6" fmla="*/ 153827 h 435077"/>
                <a:gd name="connsiteX7" fmla="*/ 63711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11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1" y="153827"/>
                  </a:moveTo>
                  <a:cubicBezTo>
                    <a:pt x="22923" y="113039"/>
                    <a:pt x="0" y="57702"/>
                    <a:pt x="0" y="0"/>
                  </a:cubicBezTo>
                  <a:lnTo>
                    <a:pt x="217539" y="0"/>
                  </a:lnTo>
                  <a:lnTo>
                    <a:pt x="435077" y="0"/>
                  </a:lnTo>
                  <a:cubicBezTo>
                    <a:pt x="435077" y="57702"/>
                    <a:pt x="412155" y="113039"/>
                    <a:pt x="371366" y="153827"/>
                  </a:cubicBezTo>
                  <a:cubicBezTo>
                    <a:pt x="330550" y="194642"/>
                    <a:pt x="275214" y="217539"/>
                    <a:pt x="217539" y="217539"/>
                  </a:cubicBezTo>
                  <a:cubicBezTo>
                    <a:pt x="159836" y="217539"/>
                    <a:pt x="104500" y="194642"/>
                    <a:pt x="63711" y="153827"/>
                  </a:cubicBezTo>
                  <a:close/>
                  <a:moveTo>
                    <a:pt x="63711" y="281277"/>
                  </a:moveTo>
                  <a:cubicBezTo>
                    <a:pt x="22923" y="322066"/>
                    <a:pt x="0" y="377402"/>
                    <a:pt x="0" y="435077"/>
                  </a:cubicBezTo>
                  <a:lnTo>
                    <a:pt x="217539" y="435077"/>
                  </a:lnTo>
                  <a:lnTo>
                    <a:pt x="435077" y="435077"/>
                  </a:lnTo>
                  <a:cubicBezTo>
                    <a:pt x="435077" y="377402"/>
                    <a:pt x="412155" y="322066"/>
                    <a:pt x="371366" y="281277"/>
                  </a:cubicBezTo>
                  <a:cubicBezTo>
                    <a:pt x="330550" y="240462"/>
                    <a:pt x="275214" y="217539"/>
                    <a:pt x="217539" y="217539"/>
                  </a:cubicBezTo>
                  <a:cubicBezTo>
                    <a:pt x="159836" y="217539"/>
                    <a:pt x="104500" y="240462"/>
                    <a:pt x="63711" y="281277"/>
                  </a:cubicBezTo>
                  <a:close/>
                </a:path>
              </a:pathLst>
            </a:custGeom>
            <a:grpFill/>
            <a:ln w="27192" cap="flat">
              <a:noFill/>
              <a:prstDash val="solid"/>
              <a:miter/>
            </a:ln>
          </p:spPr>
          <p:txBody>
            <a:bodyPr rtlCol="0" anchor="ctr"/>
            <a:lstStyle/>
            <a:p>
              <a:endParaRPr lang="uk-UA" sz="900"/>
            </a:p>
          </p:txBody>
        </p:sp>
        <p:sp>
          <p:nvSpPr>
            <p:cNvPr id="362" name="Freeform: Shape 361">
              <a:extLst>
                <a:ext uri="{FF2B5EF4-FFF2-40B4-BE49-F238E27FC236}">
                  <a16:creationId xmlns:a16="http://schemas.microsoft.com/office/drawing/2014/main" id="{1BD2BB58-C188-7393-6005-EC2B9691EB09}"/>
                </a:ext>
              </a:extLst>
            </p:cNvPr>
            <p:cNvSpPr/>
            <p:nvPr/>
          </p:nvSpPr>
          <p:spPr>
            <a:xfrm>
              <a:off x="11277709" y="9800303"/>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363" name="Freeform: Shape 362">
              <a:extLst>
                <a:ext uri="{FF2B5EF4-FFF2-40B4-BE49-F238E27FC236}">
                  <a16:creationId xmlns:a16="http://schemas.microsoft.com/office/drawing/2014/main" id="{9BE60CBA-518F-81B1-6494-6FF198629A08}"/>
                </a:ext>
              </a:extLst>
            </p:cNvPr>
            <p:cNvSpPr/>
            <p:nvPr/>
          </p:nvSpPr>
          <p:spPr>
            <a:xfrm>
              <a:off x="10407554" y="980030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1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11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1" y="217539"/>
                  </a:lnTo>
                  <a:lnTo>
                    <a:pt x="0" y="217539"/>
                  </a:lnTo>
                  <a:close/>
                  <a:moveTo>
                    <a:pt x="0" y="435077"/>
                  </a:moveTo>
                  <a:lnTo>
                    <a:pt x="0" y="217566"/>
                  </a:lnTo>
                  <a:lnTo>
                    <a:pt x="217511" y="217566"/>
                  </a:lnTo>
                  <a:lnTo>
                    <a:pt x="0" y="435077"/>
                  </a:lnTo>
                  <a:close/>
                </a:path>
              </a:pathLst>
            </a:custGeom>
            <a:grpFill/>
            <a:ln w="27192" cap="flat">
              <a:noFill/>
              <a:prstDash val="solid"/>
              <a:miter/>
            </a:ln>
          </p:spPr>
          <p:txBody>
            <a:bodyPr rtlCol="0" anchor="ctr"/>
            <a:lstStyle/>
            <a:p>
              <a:endParaRPr lang="uk-UA" sz="900"/>
            </a:p>
          </p:txBody>
        </p:sp>
        <p:sp>
          <p:nvSpPr>
            <p:cNvPr id="364" name="Freeform: Shape 363">
              <a:extLst>
                <a:ext uri="{FF2B5EF4-FFF2-40B4-BE49-F238E27FC236}">
                  <a16:creationId xmlns:a16="http://schemas.microsoft.com/office/drawing/2014/main" id="{58660536-6428-55D0-E325-34768CBD75A4}"/>
                </a:ext>
              </a:extLst>
            </p:cNvPr>
            <p:cNvSpPr/>
            <p:nvPr/>
          </p:nvSpPr>
          <p:spPr>
            <a:xfrm>
              <a:off x="12147891" y="980033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2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2" y="217539"/>
                  </a:lnTo>
                  <a:lnTo>
                    <a:pt x="0" y="435050"/>
                  </a:lnTo>
                  <a:close/>
                </a:path>
              </a:pathLst>
            </a:custGeom>
            <a:grpFill/>
            <a:ln w="27192" cap="flat">
              <a:noFill/>
              <a:prstDash val="solid"/>
              <a:miter/>
            </a:ln>
          </p:spPr>
          <p:txBody>
            <a:bodyPr rtlCol="0" anchor="ctr"/>
            <a:lstStyle/>
            <a:p>
              <a:endParaRPr lang="uk-UA" sz="900"/>
            </a:p>
          </p:txBody>
        </p:sp>
        <p:sp>
          <p:nvSpPr>
            <p:cNvPr id="365" name="Freeform: Shape 364">
              <a:extLst>
                <a:ext uri="{FF2B5EF4-FFF2-40B4-BE49-F238E27FC236}">
                  <a16:creationId xmlns:a16="http://schemas.microsoft.com/office/drawing/2014/main" id="{EE44A181-8FB7-D7B9-1D19-812372D89DD0}"/>
                </a:ext>
              </a:extLst>
            </p:cNvPr>
            <p:cNvSpPr/>
            <p:nvPr/>
          </p:nvSpPr>
          <p:spPr>
            <a:xfrm>
              <a:off x="13018045" y="980030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4" y="113039"/>
                    <a:pt x="371365" y="153827"/>
                  </a:cubicBezTo>
                  <a:cubicBezTo>
                    <a:pt x="330550" y="194642"/>
                    <a:pt x="275241" y="217539"/>
                    <a:pt x="217539" y="217539"/>
                  </a:cubicBezTo>
                  <a:cubicBezTo>
                    <a:pt x="159836"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4" y="322066"/>
                    <a:pt x="371365" y="281277"/>
                  </a:cubicBezTo>
                  <a:cubicBezTo>
                    <a:pt x="330550" y="240462"/>
                    <a:pt x="275241" y="217539"/>
                    <a:pt x="217539" y="217539"/>
                  </a:cubicBezTo>
                  <a:cubicBezTo>
                    <a:pt x="159836" y="217539"/>
                    <a:pt x="104501" y="240462"/>
                    <a:pt x="63712" y="281277"/>
                  </a:cubicBezTo>
                  <a:close/>
                </a:path>
              </a:pathLst>
            </a:custGeom>
            <a:grpFill/>
            <a:ln w="27192" cap="flat">
              <a:noFill/>
              <a:prstDash val="solid"/>
              <a:miter/>
            </a:ln>
          </p:spPr>
          <p:txBody>
            <a:bodyPr rtlCol="0" anchor="ctr"/>
            <a:lstStyle/>
            <a:p>
              <a:endParaRPr lang="uk-UA" sz="900"/>
            </a:p>
          </p:txBody>
        </p:sp>
        <p:sp>
          <p:nvSpPr>
            <p:cNvPr id="366" name="Freeform: Shape 365">
              <a:extLst>
                <a:ext uri="{FF2B5EF4-FFF2-40B4-BE49-F238E27FC236}">
                  <a16:creationId xmlns:a16="http://schemas.microsoft.com/office/drawing/2014/main" id="{030963F9-17B7-1133-7343-2200B5AB82ED}"/>
                </a:ext>
              </a:extLst>
            </p:cNvPr>
            <p:cNvSpPr/>
            <p:nvPr/>
          </p:nvSpPr>
          <p:spPr>
            <a:xfrm>
              <a:off x="14758382" y="9800303"/>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367" name="Freeform: Shape 366">
              <a:extLst>
                <a:ext uri="{FF2B5EF4-FFF2-40B4-BE49-F238E27FC236}">
                  <a16:creationId xmlns:a16="http://schemas.microsoft.com/office/drawing/2014/main" id="{C04A0E7B-99AB-8B1C-AF76-6A6A7F903860}"/>
                </a:ext>
              </a:extLst>
            </p:cNvPr>
            <p:cNvSpPr/>
            <p:nvPr/>
          </p:nvSpPr>
          <p:spPr>
            <a:xfrm>
              <a:off x="13888200" y="980030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5 w 435077"/>
                <a:gd name="connsiteY3" fmla="*/ 27 h 435077"/>
                <a:gd name="connsiteX4" fmla="*/ 435077 w 435077"/>
                <a:gd name="connsiteY4" fmla="*/ 217566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5" y="27"/>
                  </a:lnTo>
                  <a:lnTo>
                    <a:pt x="435077" y="217566"/>
                  </a:lnTo>
                  <a:lnTo>
                    <a:pt x="217565"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368" name="Freeform: Shape 367">
              <a:extLst>
                <a:ext uri="{FF2B5EF4-FFF2-40B4-BE49-F238E27FC236}">
                  <a16:creationId xmlns:a16="http://schemas.microsoft.com/office/drawing/2014/main" id="{5347F872-F60F-E8B9-BF9E-D9353366D333}"/>
                </a:ext>
              </a:extLst>
            </p:cNvPr>
            <p:cNvSpPr/>
            <p:nvPr/>
          </p:nvSpPr>
          <p:spPr>
            <a:xfrm>
              <a:off x="15628565" y="980033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0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0" y="217539"/>
                  </a:lnTo>
                  <a:lnTo>
                    <a:pt x="0" y="435050"/>
                  </a:lnTo>
                  <a:close/>
                </a:path>
              </a:pathLst>
            </a:custGeom>
            <a:grpFill/>
            <a:ln w="27192" cap="flat">
              <a:noFill/>
              <a:prstDash val="solid"/>
              <a:miter/>
            </a:ln>
          </p:spPr>
          <p:txBody>
            <a:bodyPr rtlCol="0" anchor="ctr"/>
            <a:lstStyle/>
            <a:p>
              <a:endParaRPr lang="uk-UA" sz="900"/>
            </a:p>
          </p:txBody>
        </p:sp>
        <p:sp>
          <p:nvSpPr>
            <p:cNvPr id="369" name="Freeform: Shape 368">
              <a:extLst>
                <a:ext uri="{FF2B5EF4-FFF2-40B4-BE49-F238E27FC236}">
                  <a16:creationId xmlns:a16="http://schemas.microsoft.com/office/drawing/2014/main" id="{5584ED50-BED0-1C6A-9F7B-E297781A6133}"/>
                </a:ext>
              </a:extLst>
            </p:cNvPr>
            <p:cNvSpPr/>
            <p:nvPr/>
          </p:nvSpPr>
          <p:spPr>
            <a:xfrm>
              <a:off x="16498719" y="9800303"/>
              <a:ext cx="435077" cy="435077"/>
            </a:xfrm>
            <a:custGeom>
              <a:avLst/>
              <a:gdLst>
                <a:gd name="connsiteX0" fmla="*/ 63710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0 w 435077"/>
                <a:gd name="connsiteY6" fmla="*/ 153827 h 435077"/>
                <a:gd name="connsiteX7" fmla="*/ 63710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77 h 435077"/>
                <a:gd name="connsiteX12" fmla="*/ 217539 w 435077"/>
                <a:gd name="connsiteY12" fmla="*/ 217539 h 435077"/>
                <a:gd name="connsiteX13" fmla="*/ 63710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7"/>
                  </a:moveTo>
                  <a:cubicBezTo>
                    <a:pt x="22895" y="113039"/>
                    <a:pt x="0" y="57702"/>
                    <a:pt x="0" y="0"/>
                  </a:cubicBezTo>
                  <a:lnTo>
                    <a:pt x="217539" y="0"/>
                  </a:lnTo>
                  <a:lnTo>
                    <a:pt x="435077" y="0"/>
                  </a:lnTo>
                  <a:cubicBezTo>
                    <a:pt x="435077" y="57702"/>
                    <a:pt x="412154" y="113039"/>
                    <a:pt x="371339" y="153827"/>
                  </a:cubicBezTo>
                  <a:cubicBezTo>
                    <a:pt x="330550" y="194642"/>
                    <a:pt x="275213" y="217539"/>
                    <a:pt x="217539" y="217539"/>
                  </a:cubicBezTo>
                  <a:cubicBezTo>
                    <a:pt x="159836" y="217539"/>
                    <a:pt x="104499" y="194642"/>
                    <a:pt x="63710" y="153827"/>
                  </a:cubicBezTo>
                  <a:close/>
                  <a:moveTo>
                    <a:pt x="63710" y="281277"/>
                  </a:moveTo>
                  <a:cubicBezTo>
                    <a:pt x="22895" y="322066"/>
                    <a:pt x="0" y="377402"/>
                    <a:pt x="0" y="435077"/>
                  </a:cubicBezTo>
                  <a:lnTo>
                    <a:pt x="217539" y="435077"/>
                  </a:lnTo>
                  <a:lnTo>
                    <a:pt x="435077" y="435077"/>
                  </a:lnTo>
                  <a:cubicBezTo>
                    <a:pt x="435077" y="377402"/>
                    <a:pt x="412154" y="322066"/>
                    <a:pt x="371339" y="281277"/>
                  </a:cubicBezTo>
                  <a:cubicBezTo>
                    <a:pt x="330550" y="240462"/>
                    <a:pt x="275213" y="217539"/>
                    <a:pt x="217539" y="217539"/>
                  </a:cubicBezTo>
                  <a:cubicBezTo>
                    <a:pt x="159836" y="217539"/>
                    <a:pt x="104499" y="240462"/>
                    <a:pt x="63710" y="281277"/>
                  </a:cubicBezTo>
                  <a:close/>
                </a:path>
              </a:pathLst>
            </a:custGeom>
            <a:grpFill/>
            <a:ln w="27192" cap="flat">
              <a:noFill/>
              <a:prstDash val="solid"/>
              <a:miter/>
            </a:ln>
          </p:spPr>
          <p:txBody>
            <a:bodyPr rtlCol="0" anchor="ctr"/>
            <a:lstStyle/>
            <a:p>
              <a:endParaRPr lang="uk-UA" sz="900"/>
            </a:p>
          </p:txBody>
        </p:sp>
        <p:sp>
          <p:nvSpPr>
            <p:cNvPr id="370" name="Freeform: Shape 369">
              <a:extLst>
                <a:ext uri="{FF2B5EF4-FFF2-40B4-BE49-F238E27FC236}">
                  <a16:creationId xmlns:a16="http://schemas.microsoft.com/office/drawing/2014/main" id="{4087F72A-80B9-1245-68D0-491194A8074A}"/>
                </a:ext>
              </a:extLst>
            </p:cNvPr>
            <p:cNvSpPr/>
            <p:nvPr/>
          </p:nvSpPr>
          <p:spPr>
            <a:xfrm>
              <a:off x="18239029" y="9800303"/>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371" name="Freeform: Shape 370">
              <a:extLst>
                <a:ext uri="{FF2B5EF4-FFF2-40B4-BE49-F238E27FC236}">
                  <a16:creationId xmlns:a16="http://schemas.microsoft.com/office/drawing/2014/main" id="{9321B40A-C5EB-FDE2-8343-D445067C33AE}"/>
                </a:ext>
              </a:extLst>
            </p:cNvPr>
            <p:cNvSpPr/>
            <p:nvPr/>
          </p:nvSpPr>
          <p:spPr>
            <a:xfrm>
              <a:off x="17368874" y="980030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0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10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0" y="217539"/>
                  </a:lnTo>
                  <a:lnTo>
                    <a:pt x="0" y="217539"/>
                  </a:lnTo>
                  <a:close/>
                  <a:moveTo>
                    <a:pt x="0" y="435077"/>
                  </a:moveTo>
                  <a:lnTo>
                    <a:pt x="0" y="217566"/>
                  </a:lnTo>
                  <a:lnTo>
                    <a:pt x="217510" y="217566"/>
                  </a:lnTo>
                  <a:lnTo>
                    <a:pt x="0" y="435077"/>
                  </a:lnTo>
                  <a:close/>
                </a:path>
              </a:pathLst>
            </a:custGeom>
            <a:grpFill/>
            <a:ln w="27192" cap="flat">
              <a:noFill/>
              <a:prstDash val="solid"/>
              <a:miter/>
            </a:ln>
          </p:spPr>
          <p:txBody>
            <a:bodyPr rtlCol="0" anchor="ctr"/>
            <a:lstStyle/>
            <a:p>
              <a:endParaRPr lang="uk-UA" sz="900"/>
            </a:p>
          </p:txBody>
        </p:sp>
        <p:sp>
          <p:nvSpPr>
            <p:cNvPr id="372" name="Freeform: Shape 371">
              <a:extLst>
                <a:ext uri="{FF2B5EF4-FFF2-40B4-BE49-F238E27FC236}">
                  <a16:creationId xmlns:a16="http://schemas.microsoft.com/office/drawing/2014/main" id="{A135DC37-A601-1B3F-8E75-00FC0CCB8FDD}"/>
                </a:ext>
              </a:extLst>
            </p:cNvPr>
            <p:cNvSpPr/>
            <p:nvPr/>
          </p:nvSpPr>
          <p:spPr>
            <a:xfrm>
              <a:off x="19109210" y="9800303"/>
              <a:ext cx="435077" cy="435077"/>
            </a:xfrm>
            <a:custGeom>
              <a:avLst/>
              <a:gdLst>
                <a:gd name="connsiteX0" fmla="*/ 435077 w 435077"/>
                <a:gd name="connsiteY0" fmla="*/ 435077 h 435077"/>
                <a:gd name="connsiteX1" fmla="*/ 435077 w 435077"/>
                <a:gd name="connsiteY1" fmla="*/ 0 h 435077"/>
                <a:gd name="connsiteX2" fmla="*/ 217539 w 435077"/>
                <a:gd name="connsiteY2" fmla="*/ 217566 h 435077"/>
                <a:gd name="connsiteX3" fmla="*/ 435077 w 435077"/>
                <a:gd name="connsiteY3" fmla="*/ 435077 h 435077"/>
                <a:gd name="connsiteX4" fmla="*/ 0 w 435077"/>
                <a:gd name="connsiteY4" fmla="*/ 435077 h 435077"/>
                <a:gd name="connsiteX5" fmla="*/ 0 w 435077"/>
                <a:gd name="connsiteY5" fmla="*/ 0 h 435077"/>
                <a:gd name="connsiteX6" fmla="*/ 217512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66"/>
                  </a:lnTo>
                  <a:lnTo>
                    <a:pt x="435077" y="435077"/>
                  </a:lnTo>
                  <a:close/>
                  <a:moveTo>
                    <a:pt x="0" y="435077"/>
                  </a:moveTo>
                  <a:lnTo>
                    <a:pt x="0" y="0"/>
                  </a:lnTo>
                  <a:lnTo>
                    <a:pt x="217512" y="217566"/>
                  </a:lnTo>
                  <a:lnTo>
                    <a:pt x="0" y="435077"/>
                  </a:lnTo>
                  <a:close/>
                </a:path>
              </a:pathLst>
            </a:custGeom>
            <a:grpFill/>
            <a:ln w="27192" cap="flat">
              <a:noFill/>
              <a:prstDash val="solid"/>
              <a:miter/>
            </a:ln>
          </p:spPr>
          <p:txBody>
            <a:bodyPr rtlCol="0" anchor="ctr"/>
            <a:lstStyle/>
            <a:p>
              <a:endParaRPr lang="uk-UA" sz="900"/>
            </a:p>
          </p:txBody>
        </p:sp>
        <p:sp>
          <p:nvSpPr>
            <p:cNvPr id="373" name="Freeform: Shape 372">
              <a:extLst>
                <a:ext uri="{FF2B5EF4-FFF2-40B4-BE49-F238E27FC236}">
                  <a16:creationId xmlns:a16="http://schemas.microsoft.com/office/drawing/2014/main" id="{E50A0CB8-4760-E751-FA10-5E9E00BC58C6}"/>
                </a:ext>
              </a:extLst>
            </p:cNvPr>
            <p:cNvSpPr/>
            <p:nvPr/>
          </p:nvSpPr>
          <p:spPr>
            <a:xfrm>
              <a:off x="19979365" y="980030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4" y="113039"/>
                    <a:pt x="371365" y="153827"/>
                  </a:cubicBezTo>
                  <a:cubicBezTo>
                    <a:pt x="330550" y="194642"/>
                    <a:pt x="275241" y="217539"/>
                    <a:pt x="217539" y="217539"/>
                  </a:cubicBezTo>
                  <a:cubicBezTo>
                    <a:pt x="159836"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4" y="322066"/>
                    <a:pt x="371365" y="281277"/>
                  </a:cubicBezTo>
                  <a:cubicBezTo>
                    <a:pt x="330550" y="240462"/>
                    <a:pt x="275241" y="217539"/>
                    <a:pt x="217539" y="217539"/>
                  </a:cubicBezTo>
                  <a:cubicBezTo>
                    <a:pt x="159836" y="217539"/>
                    <a:pt x="104501" y="240462"/>
                    <a:pt x="63712" y="281277"/>
                  </a:cubicBezTo>
                  <a:close/>
                </a:path>
              </a:pathLst>
            </a:custGeom>
            <a:grpFill/>
            <a:ln w="27192" cap="flat">
              <a:noFill/>
              <a:prstDash val="solid"/>
              <a:miter/>
            </a:ln>
          </p:spPr>
          <p:txBody>
            <a:bodyPr rtlCol="0" anchor="ctr"/>
            <a:lstStyle/>
            <a:p>
              <a:endParaRPr lang="uk-UA" sz="900"/>
            </a:p>
          </p:txBody>
        </p:sp>
        <p:sp>
          <p:nvSpPr>
            <p:cNvPr id="374" name="Freeform: Shape 373">
              <a:extLst>
                <a:ext uri="{FF2B5EF4-FFF2-40B4-BE49-F238E27FC236}">
                  <a16:creationId xmlns:a16="http://schemas.microsoft.com/office/drawing/2014/main" id="{5A0DC31C-E80B-1C12-1657-A1E02C59219C}"/>
                </a:ext>
              </a:extLst>
            </p:cNvPr>
            <p:cNvSpPr/>
            <p:nvPr/>
          </p:nvSpPr>
          <p:spPr>
            <a:xfrm>
              <a:off x="21719702" y="9800303"/>
              <a:ext cx="435077" cy="435077"/>
            </a:xfrm>
            <a:custGeom>
              <a:avLst/>
              <a:gdLst>
                <a:gd name="connsiteX0" fmla="*/ 0 w 435077"/>
                <a:gd name="connsiteY0" fmla="*/ 435077 h 435077"/>
                <a:gd name="connsiteX1" fmla="*/ 0 w 435077"/>
                <a:gd name="connsiteY1" fmla="*/ 0 h 435077"/>
                <a:gd name="connsiteX2" fmla="*/ 217512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12"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375" name="Freeform: Shape 374">
              <a:extLst>
                <a:ext uri="{FF2B5EF4-FFF2-40B4-BE49-F238E27FC236}">
                  <a16:creationId xmlns:a16="http://schemas.microsoft.com/office/drawing/2014/main" id="{3C27C920-FCCA-BF92-46BF-FDBAEC6F6DF2}"/>
                </a:ext>
              </a:extLst>
            </p:cNvPr>
            <p:cNvSpPr/>
            <p:nvPr/>
          </p:nvSpPr>
          <p:spPr>
            <a:xfrm>
              <a:off x="20849520" y="980030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5 w 435077"/>
                <a:gd name="connsiteY3" fmla="*/ 27 h 435077"/>
                <a:gd name="connsiteX4" fmla="*/ 435077 w 435077"/>
                <a:gd name="connsiteY4" fmla="*/ 217566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5" y="27"/>
                  </a:lnTo>
                  <a:lnTo>
                    <a:pt x="435077" y="217566"/>
                  </a:lnTo>
                  <a:lnTo>
                    <a:pt x="217565"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376" name="Freeform: Shape 375">
              <a:extLst>
                <a:ext uri="{FF2B5EF4-FFF2-40B4-BE49-F238E27FC236}">
                  <a16:creationId xmlns:a16="http://schemas.microsoft.com/office/drawing/2014/main" id="{C73EF426-8571-AEAE-F4F5-6102AA4B6FA2}"/>
                </a:ext>
              </a:extLst>
            </p:cNvPr>
            <p:cNvSpPr/>
            <p:nvPr/>
          </p:nvSpPr>
          <p:spPr>
            <a:xfrm>
              <a:off x="22589856" y="9800303"/>
              <a:ext cx="435077" cy="435077"/>
            </a:xfrm>
            <a:custGeom>
              <a:avLst/>
              <a:gdLst>
                <a:gd name="connsiteX0" fmla="*/ 435077 w 435077"/>
                <a:gd name="connsiteY0" fmla="*/ 435077 h 435077"/>
                <a:gd name="connsiteX1" fmla="*/ 435077 w 435077"/>
                <a:gd name="connsiteY1" fmla="*/ 0 h 435077"/>
                <a:gd name="connsiteX2" fmla="*/ 217567 w 435077"/>
                <a:gd name="connsiteY2" fmla="*/ 217566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7" y="217566"/>
                  </a:lnTo>
                  <a:lnTo>
                    <a:pt x="435077" y="435077"/>
                  </a:lnTo>
                  <a:close/>
                  <a:moveTo>
                    <a:pt x="0" y="435077"/>
                  </a:moveTo>
                  <a:lnTo>
                    <a:pt x="0" y="0"/>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377" name="Freeform: Shape 376">
              <a:extLst>
                <a:ext uri="{FF2B5EF4-FFF2-40B4-BE49-F238E27FC236}">
                  <a16:creationId xmlns:a16="http://schemas.microsoft.com/office/drawing/2014/main" id="{C4BEA6BF-B7EB-3FC9-7F3E-F9EE243E16B6}"/>
                </a:ext>
              </a:extLst>
            </p:cNvPr>
            <p:cNvSpPr/>
            <p:nvPr/>
          </p:nvSpPr>
          <p:spPr>
            <a:xfrm>
              <a:off x="23460039" y="980030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895" y="113039"/>
                    <a:pt x="0" y="57702"/>
                    <a:pt x="0" y="0"/>
                  </a:cubicBezTo>
                  <a:lnTo>
                    <a:pt x="217539" y="0"/>
                  </a:lnTo>
                  <a:lnTo>
                    <a:pt x="435077" y="0"/>
                  </a:lnTo>
                  <a:cubicBezTo>
                    <a:pt x="435077" y="57702"/>
                    <a:pt x="412154" y="113039"/>
                    <a:pt x="371339" y="153827"/>
                  </a:cubicBezTo>
                  <a:cubicBezTo>
                    <a:pt x="330550" y="194642"/>
                    <a:pt x="275213" y="217539"/>
                    <a:pt x="217539" y="217539"/>
                  </a:cubicBezTo>
                  <a:cubicBezTo>
                    <a:pt x="159836" y="217539"/>
                    <a:pt x="104501" y="194642"/>
                    <a:pt x="63712" y="153827"/>
                  </a:cubicBezTo>
                  <a:close/>
                  <a:moveTo>
                    <a:pt x="63712" y="281277"/>
                  </a:moveTo>
                  <a:cubicBezTo>
                    <a:pt x="22895" y="322066"/>
                    <a:pt x="0" y="377402"/>
                    <a:pt x="0" y="435077"/>
                  </a:cubicBezTo>
                  <a:lnTo>
                    <a:pt x="217539" y="435077"/>
                  </a:lnTo>
                  <a:lnTo>
                    <a:pt x="435077" y="435077"/>
                  </a:lnTo>
                  <a:cubicBezTo>
                    <a:pt x="435077" y="377402"/>
                    <a:pt x="412154" y="322066"/>
                    <a:pt x="371339" y="281277"/>
                  </a:cubicBezTo>
                  <a:cubicBezTo>
                    <a:pt x="330550" y="240462"/>
                    <a:pt x="275213" y="217539"/>
                    <a:pt x="217539" y="217539"/>
                  </a:cubicBezTo>
                  <a:cubicBezTo>
                    <a:pt x="159836" y="217539"/>
                    <a:pt x="104501" y="240462"/>
                    <a:pt x="63712" y="281277"/>
                  </a:cubicBezTo>
                  <a:close/>
                </a:path>
              </a:pathLst>
            </a:custGeom>
            <a:grpFill/>
            <a:ln w="27192" cap="flat">
              <a:noFill/>
              <a:prstDash val="solid"/>
              <a:miter/>
            </a:ln>
          </p:spPr>
          <p:txBody>
            <a:bodyPr rtlCol="0" anchor="ctr"/>
            <a:lstStyle/>
            <a:p>
              <a:endParaRPr lang="uk-UA" sz="900"/>
            </a:p>
          </p:txBody>
        </p:sp>
        <p:sp>
          <p:nvSpPr>
            <p:cNvPr id="378" name="Freeform: Shape 377">
              <a:extLst>
                <a:ext uri="{FF2B5EF4-FFF2-40B4-BE49-F238E27FC236}">
                  <a16:creationId xmlns:a16="http://schemas.microsoft.com/office/drawing/2014/main" id="{F32324A6-9039-BA56-3502-7C747257D54E}"/>
                </a:ext>
              </a:extLst>
            </p:cNvPr>
            <p:cNvSpPr/>
            <p:nvPr/>
          </p:nvSpPr>
          <p:spPr>
            <a:xfrm>
              <a:off x="24330194" y="980030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379" name="Freeform: Shape 378">
              <a:extLst>
                <a:ext uri="{FF2B5EF4-FFF2-40B4-BE49-F238E27FC236}">
                  <a16:creationId xmlns:a16="http://schemas.microsoft.com/office/drawing/2014/main" id="{70BFB394-5AB7-6702-2236-C97A168FFAB1}"/>
                </a:ext>
              </a:extLst>
            </p:cNvPr>
            <p:cNvSpPr/>
            <p:nvPr/>
          </p:nvSpPr>
          <p:spPr>
            <a:xfrm>
              <a:off x="835742" y="1067045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380" name="Freeform: Shape 379">
              <a:extLst>
                <a:ext uri="{FF2B5EF4-FFF2-40B4-BE49-F238E27FC236}">
                  <a16:creationId xmlns:a16="http://schemas.microsoft.com/office/drawing/2014/main" id="{B034BCB1-386B-A2BA-1D28-6354FCC420EB}"/>
                </a:ext>
              </a:extLst>
            </p:cNvPr>
            <p:cNvSpPr/>
            <p:nvPr/>
          </p:nvSpPr>
          <p:spPr>
            <a:xfrm>
              <a:off x="-34407" y="10670458"/>
              <a:ext cx="435072" cy="435077"/>
            </a:xfrm>
            <a:custGeom>
              <a:avLst/>
              <a:gdLst>
                <a:gd name="connsiteX0" fmla="*/ 371360 w 435072"/>
                <a:gd name="connsiteY0" fmla="*/ 63739 h 435077"/>
                <a:gd name="connsiteX1" fmla="*/ 435072 w 435072"/>
                <a:gd name="connsiteY1" fmla="*/ 217539 h 435077"/>
                <a:gd name="connsiteX2" fmla="*/ 217724 w 435072"/>
                <a:gd name="connsiteY2" fmla="*/ 217539 h 435077"/>
                <a:gd name="connsiteX3" fmla="*/ 371360 w 435072"/>
                <a:gd name="connsiteY3" fmla="*/ 281277 h 435077"/>
                <a:gd name="connsiteX4" fmla="*/ 435072 w 435072"/>
                <a:gd name="connsiteY4" fmla="*/ 435077 h 435077"/>
                <a:gd name="connsiteX5" fmla="*/ 217533 w 435072"/>
                <a:gd name="connsiteY5" fmla="*/ 435077 h 435077"/>
                <a:gd name="connsiteX6" fmla="*/ 5 w 435072"/>
                <a:gd name="connsiteY6" fmla="*/ 435077 h 435077"/>
                <a:gd name="connsiteX7" fmla="*/ 63720 w 435072"/>
                <a:gd name="connsiteY7" fmla="*/ 281277 h 435077"/>
                <a:gd name="connsiteX8" fmla="*/ 217370 w 435072"/>
                <a:gd name="connsiteY8" fmla="*/ 217539 h 435077"/>
                <a:gd name="connsiteX9" fmla="*/ 0 w 435072"/>
                <a:gd name="connsiteY9" fmla="*/ 217539 h 435077"/>
                <a:gd name="connsiteX10" fmla="*/ 63717 w 435072"/>
                <a:gd name="connsiteY10" fmla="*/ 63739 h 435077"/>
                <a:gd name="connsiteX11" fmla="*/ 217533 w 435072"/>
                <a:gd name="connsiteY11" fmla="*/ 0 h 435077"/>
                <a:gd name="connsiteX12" fmla="*/ 371360 w 435072"/>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2" h="435077">
                  <a:moveTo>
                    <a:pt x="371360" y="63739"/>
                  </a:moveTo>
                  <a:cubicBezTo>
                    <a:pt x="412149" y="104527"/>
                    <a:pt x="435072" y="159864"/>
                    <a:pt x="435072" y="217539"/>
                  </a:cubicBezTo>
                  <a:lnTo>
                    <a:pt x="217724" y="217539"/>
                  </a:lnTo>
                  <a:cubicBezTo>
                    <a:pt x="275344" y="217593"/>
                    <a:pt x="330599" y="240516"/>
                    <a:pt x="371360" y="281277"/>
                  </a:cubicBezTo>
                  <a:cubicBezTo>
                    <a:pt x="412176" y="322066"/>
                    <a:pt x="435072" y="377402"/>
                    <a:pt x="435072" y="435077"/>
                  </a:cubicBezTo>
                  <a:lnTo>
                    <a:pt x="217533" y="435077"/>
                  </a:lnTo>
                  <a:lnTo>
                    <a:pt x="5" y="435077"/>
                  </a:lnTo>
                  <a:cubicBezTo>
                    <a:pt x="5" y="377402"/>
                    <a:pt x="22923" y="322066"/>
                    <a:pt x="63720" y="281277"/>
                  </a:cubicBezTo>
                  <a:cubicBezTo>
                    <a:pt x="104476" y="240516"/>
                    <a:pt x="159750" y="217593"/>
                    <a:pt x="217370" y="217539"/>
                  </a:cubicBezTo>
                  <a:lnTo>
                    <a:pt x="0" y="217539"/>
                  </a:lnTo>
                  <a:cubicBezTo>
                    <a:pt x="0" y="159864"/>
                    <a:pt x="22921" y="104527"/>
                    <a:pt x="63717" y="63739"/>
                  </a:cubicBezTo>
                  <a:cubicBezTo>
                    <a:pt x="104514" y="22923"/>
                    <a:pt x="159858" y="0"/>
                    <a:pt x="217533" y="0"/>
                  </a:cubicBezTo>
                  <a:cubicBezTo>
                    <a:pt x="275236" y="0"/>
                    <a:pt x="330572" y="22923"/>
                    <a:pt x="371360" y="63739"/>
                  </a:cubicBezTo>
                  <a:close/>
                </a:path>
              </a:pathLst>
            </a:custGeom>
            <a:grpFill/>
            <a:ln w="27192" cap="flat">
              <a:noFill/>
              <a:prstDash val="solid"/>
              <a:miter/>
            </a:ln>
          </p:spPr>
          <p:txBody>
            <a:bodyPr rtlCol="0" anchor="ctr"/>
            <a:lstStyle/>
            <a:p>
              <a:endParaRPr lang="uk-UA" sz="900"/>
            </a:p>
          </p:txBody>
        </p:sp>
        <p:sp>
          <p:nvSpPr>
            <p:cNvPr id="381" name="Freeform: Shape 380">
              <a:extLst>
                <a:ext uri="{FF2B5EF4-FFF2-40B4-BE49-F238E27FC236}">
                  <a16:creationId xmlns:a16="http://schemas.microsoft.com/office/drawing/2014/main" id="{4D8FD069-92D8-39E4-3DC7-D4258C053DAE}"/>
                </a:ext>
              </a:extLst>
            </p:cNvPr>
            <p:cNvSpPr/>
            <p:nvPr/>
          </p:nvSpPr>
          <p:spPr>
            <a:xfrm>
              <a:off x="1705924" y="1067045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382" name="Freeform: Shape 381">
              <a:extLst>
                <a:ext uri="{FF2B5EF4-FFF2-40B4-BE49-F238E27FC236}">
                  <a16:creationId xmlns:a16="http://schemas.microsoft.com/office/drawing/2014/main" id="{827CF896-C0CE-0853-886D-F8B905F9CECD}"/>
                </a:ext>
              </a:extLst>
            </p:cNvPr>
            <p:cNvSpPr/>
            <p:nvPr/>
          </p:nvSpPr>
          <p:spPr>
            <a:xfrm>
              <a:off x="2576079" y="10670458"/>
              <a:ext cx="435104" cy="435077"/>
            </a:xfrm>
            <a:custGeom>
              <a:avLst/>
              <a:gdLst>
                <a:gd name="connsiteX0" fmla="*/ 217539 w 435104"/>
                <a:gd name="connsiteY0" fmla="*/ 0 h 435077"/>
                <a:gd name="connsiteX1" fmla="*/ 0 w 435104"/>
                <a:gd name="connsiteY1" fmla="*/ 0 h 435077"/>
                <a:gd name="connsiteX2" fmla="*/ 0 w 435104"/>
                <a:gd name="connsiteY2" fmla="*/ 217539 h 435077"/>
                <a:gd name="connsiteX3" fmla="*/ 217539 w 435104"/>
                <a:gd name="connsiteY3" fmla="*/ 0 h 435077"/>
                <a:gd name="connsiteX4" fmla="*/ 435104 w 435104"/>
                <a:gd name="connsiteY4" fmla="*/ 0 h 435077"/>
                <a:gd name="connsiteX5" fmla="*/ 435104 w 435104"/>
                <a:gd name="connsiteY5" fmla="*/ 217539 h 435077"/>
                <a:gd name="connsiteX6" fmla="*/ 217566 w 435104"/>
                <a:gd name="connsiteY6" fmla="*/ 0 h 435077"/>
                <a:gd name="connsiteX7" fmla="*/ 435104 w 435104"/>
                <a:gd name="connsiteY7" fmla="*/ 0 h 435077"/>
                <a:gd name="connsiteX8" fmla="*/ 217566 w 435104"/>
                <a:gd name="connsiteY8" fmla="*/ 435077 h 435077"/>
                <a:gd name="connsiteX9" fmla="*/ 435104 w 435104"/>
                <a:gd name="connsiteY9" fmla="*/ 217539 h 435077"/>
                <a:gd name="connsiteX10" fmla="*/ 435104 w 435104"/>
                <a:gd name="connsiteY10" fmla="*/ 435077 h 435077"/>
                <a:gd name="connsiteX11" fmla="*/ 217566 w 435104"/>
                <a:gd name="connsiteY11" fmla="*/ 435077 h 435077"/>
                <a:gd name="connsiteX12" fmla="*/ 217566 w 435104"/>
                <a:gd name="connsiteY12" fmla="*/ 435077 h 435077"/>
                <a:gd name="connsiteX13" fmla="*/ 27 w 435104"/>
                <a:gd name="connsiteY13" fmla="*/ 217539 h 435077"/>
                <a:gd name="connsiteX14" fmla="*/ 27 w 435104"/>
                <a:gd name="connsiteY14" fmla="*/ 435077 h 435077"/>
                <a:gd name="connsiteX15" fmla="*/ 217566 w 435104"/>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4" h="435077">
                  <a:moveTo>
                    <a:pt x="217539" y="0"/>
                  </a:moveTo>
                  <a:lnTo>
                    <a:pt x="0" y="0"/>
                  </a:lnTo>
                  <a:lnTo>
                    <a:pt x="0" y="217539"/>
                  </a:lnTo>
                  <a:lnTo>
                    <a:pt x="217539" y="0"/>
                  </a:lnTo>
                  <a:close/>
                  <a:moveTo>
                    <a:pt x="435104" y="0"/>
                  </a:moveTo>
                  <a:lnTo>
                    <a:pt x="435104" y="217539"/>
                  </a:lnTo>
                  <a:lnTo>
                    <a:pt x="217566" y="0"/>
                  </a:lnTo>
                  <a:lnTo>
                    <a:pt x="435104" y="0"/>
                  </a:lnTo>
                  <a:close/>
                  <a:moveTo>
                    <a:pt x="217566" y="435077"/>
                  </a:moveTo>
                  <a:lnTo>
                    <a:pt x="435104" y="217539"/>
                  </a:lnTo>
                  <a:lnTo>
                    <a:pt x="435104" y="435077"/>
                  </a:lnTo>
                  <a:lnTo>
                    <a:pt x="217566" y="435077"/>
                  </a:lnTo>
                  <a:close/>
                  <a:moveTo>
                    <a:pt x="217566" y="435077"/>
                  </a:moveTo>
                  <a:lnTo>
                    <a:pt x="27" y="217539"/>
                  </a:lnTo>
                  <a:lnTo>
                    <a:pt x="27" y="435077"/>
                  </a:lnTo>
                  <a:lnTo>
                    <a:pt x="217566" y="435077"/>
                  </a:lnTo>
                  <a:close/>
                </a:path>
              </a:pathLst>
            </a:custGeom>
            <a:grpFill/>
            <a:ln w="27192" cap="flat">
              <a:noFill/>
              <a:prstDash val="solid"/>
              <a:miter/>
            </a:ln>
          </p:spPr>
          <p:txBody>
            <a:bodyPr rtlCol="0" anchor="ctr"/>
            <a:lstStyle/>
            <a:p>
              <a:endParaRPr lang="uk-UA" sz="900"/>
            </a:p>
          </p:txBody>
        </p:sp>
        <p:sp>
          <p:nvSpPr>
            <p:cNvPr id="383" name="Freeform: Shape 382">
              <a:extLst>
                <a:ext uri="{FF2B5EF4-FFF2-40B4-BE49-F238E27FC236}">
                  <a16:creationId xmlns:a16="http://schemas.microsoft.com/office/drawing/2014/main" id="{51ED0B3C-09F4-E896-4E67-A8899521D2AB}"/>
                </a:ext>
              </a:extLst>
            </p:cNvPr>
            <p:cNvSpPr/>
            <p:nvPr/>
          </p:nvSpPr>
          <p:spPr>
            <a:xfrm>
              <a:off x="4316416" y="1067045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384" name="Freeform: Shape 383">
              <a:extLst>
                <a:ext uri="{FF2B5EF4-FFF2-40B4-BE49-F238E27FC236}">
                  <a16:creationId xmlns:a16="http://schemas.microsoft.com/office/drawing/2014/main" id="{50EF2D02-0FCF-824D-55F2-062690E2295E}"/>
                </a:ext>
              </a:extLst>
            </p:cNvPr>
            <p:cNvSpPr/>
            <p:nvPr/>
          </p:nvSpPr>
          <p:spPr>
            <a:xfrm>
              <a:off x="3446261" y="10670458"/>
              <a:ext cx="435077" cy="435077"/>
            </a:xfrm>
            <a:custGeom>
              <a:avLst/>
              <a:gdLst>
                <a:gd name="connsiteX0" fmla="*/ 371366 w 435077"/>
                <a:gd name="connsiteY0" fmla="*/ 63739 h 435077"/>
                <a:gd name="connsiteX1" fmla="*/ 435077 w 435077"/>
                <a:gd name="connsiteY1" fmla="*/ 217539 h 435077"/>
                <a:gd name="connsiteX2" fmla="*/ 217702 w 435077"/>
                <a:gd name="connsiteY2" fmla="*/ 217539 h 435077"/>
                <a:gd name="connsiteX3" fmla="*/ 371366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6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39"/>
                  </a:moveTo>
                  <a:cubicBezTo>
                    <a:pt x="412154" y="104527"/>
                    <a:pt x="435077" y="159864"/>
                    <a:pt x="435077" y="217539"/>
                  </a:cubicBezTo>
                  <a:lnTo>
                    <a:pt x="217702" y="217539"/>
                  </a:lnTo>
                  <a:cubicBezTo>
                    <a:pt x="275350" y="217593"/>
                    <a:pt x="330605" y="240516"/>
                    <a:pt x="371366" y="281277"/>
                  </a:cubicBezTo>
                  <a:cubicBezTo>
                    <a:pt x="412154" y="322066"/>
                    <a:pt x="435077" y="377402"/>
                    <a:pt x="435077" y="435077"/>
                  </a:cubicBezTo>
                  <a:lnTo>
                    <a:pt x="217539" y="435077"/>
                  </a:lnTo>
                  <a:lnTo>
                    <a:pt x="0" y="435077"/>
                  </a:lnTo>
                  <a:cubicBezTo>
                    <a:pt x="0" y="377402"/>
                    <a:pt x="22923" y="322066"/>
                    <a:pt x="63712" y="281277"/>
                  </a:cubicBezTo>
                  <a:cubicBezTo>
                    <a:pt x="104473" y="240516"/>
                    <a:pt x="159728" y="217593"/>
                    <a:pt x="217376" y="217539"/>
                  </a:cubicBezTo>
                  <a:lnTo>
                    <a:pt x="0" y="217539"/>
                  </a:lnTo>
                  <a:cubicBezTo>
                    <a:pt x="0" y="159864"/>
                    <a:pt x="22923" y="104527"/>
                    <a:pt x="63712" y="63739"/>
                  </a:cubicBezTo>
                  <a:cubicBezTo>
                    <a:pt x="104500" y="22923"/>
                    <a:pt x="159837" y="0"/>
                    <a:pt x="217539" y="0"/>
                  </a:cubicBezTo>
                  <a:cubicBezTo>
                    <a:pt x="275241" y="0"/>
                    <a:pt x="330577" y="22923"/>
                    <a:pt x="371366" y="63739"/>
                  </a:cubicBezTo>
                  <a:close/>
                </a:path>
              </a:pathLst>
            </a:custGeom>
            <a:grpFill/>
            <a:ln w="27192" cap="flat">
              <a:noFill/>
              <a:prstDash val="solid"/>
              <a:miter/>
            </a:ln>
          </p:spPr>
          <p:txBody>
            <a:bodyPr rtlCol="0" anchor="ctr"/>
            <a:lstStyle/>
            <a:p>
              <a:endParaRPr lang="uk-UA" sz="900"/>
            </a:p>
          </p:txBody>
        </p:sp>
        <p:sp>
          <p:nvSpPr>
            <p:cNvPr id="385" name="Freeform: Shape 384">
              <a:extLst>
                <a:ext uri="{FF2B5EF4-FFF2-40B4-BE49-F238E27FC236}">
                  <a16:creationId xmlns:a16="http://schemas.microsoft.com/office/drawing/2014/main" id="{6293BA9C-B61F-E403-1D17-8873A39E0AFC}"/>
                </a:ext>
              </a:extLst>
            </p:cNvPr>
            <p:cNvSpPr/>
            <p:nvPr/>
          </p:nvSpPr>
          <p:spPr>
            <a:xfrm>
              <a:off x="5186597" y="10670458"/>
              <a:ext cx="435077" cy="435104"/>
            </a:xfrm>
            <a:custGeom>
              <a:avLst/>
              <a:gdLst>
                <a:gd name="connsiteX0" fmla="*/ 0 w 435077"/>
                <a:gd name="connsiteY0" fmla="*/ 435077 h 435104"/>
                <a:gd name="connsiteX1" fmla="*/ 217512 w 435077"/>
                <a:gd name="connsiteY1" fmla="*/ 435077 h 435104"/>
                <a:gd name="connsiteX2" fmla="*/ 217512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12" y="435077"/>
                  </a:lnTo>
                  <a:lnTo>
                    <a:pt x="217512"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386" name="Freeform: Shape 385">
              <a:extLst>
                <a:ext uri="{FF2B5EF4-FFF2-40B4-BE49-F238E27FC236}">
                  <a16:creationId xmlns:a16="http://schemas.microsoft.com/office/drawing/2014/main" id="{A54C1E27-6881-46CF-E7C8-03E26F09E03B}"/>
                </a:ext>
              </a:extLst>
            </p:cNvPr>
            <p:cNvSpPr/>
            <p:nvPr/>
          </p:nvSpPr>
          <p:spPr>
            <a:xfrm>
              <a:off x="6056752" y="10670458"/>
              <a:ext cx="435077" cy="435077"/>
            </a:xfrm>
            <a:custGeom>
              <a:avLst/>
              <a:gdLst>
                <a:gd name="connsiteX0" fmla="*/ 217539 w 435077"/>
                <a:gd name="connsiteY0" fmla="*/ 0 h 435077"/>
                <a:gd name="connsiteX1" fmla="*/ 217539 w 435077"/>
                <a:gd name="connsiteY1" fmla="*/ 0 h 435077"/>
                <a:gd name="connsiteX2" fmla="*/ 0 w 435077"/>
                <a:gd name="connsiteY2" fmla="*/ 0 h 435077"/>
                <a:gd name="connsiteX3" fmla="*/ 0 w 435077"/>
                <a:gd name="connsiteY3" fmla="*/ 217539 h 435077"/>
                <a:gd name="connsiteX4" fmla="*/ 217539 w 435077"/>
                <a:gd name="connsiteY4" fmla="*/ 27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217539" y="0"/>
                  </a:lnTo>
                  <a:lnTo>
                    <a:pt x="0" y="0"/>
                  </a:lnTo>
                  <a:lnTo>
                    <a:pt x="0" y="217539"/>
                  </a:lnTo>
                  <a:lnTo>
                    <a:pt x="217539" y="27"/>
                  </a:lnTo>
                  <a:lnTo>
                    <a:pt x="435077" y="217539"/>
                  </a:lnTo>
                  <a:lnTo>
                    <a:pt x="217539" y="435077"/>
                  </a:lnTo>
                  <a:lnTo>
                    <a:pt x="0" y="217539"/>
                  </a:lnTo>
                  <a:lnTo>
                    <a:pt x="0" y="435077"/>
                  </a:lnTo>
                  <a:lnTo>
                    <a:pt x="217539" y="435077"/>
                  </a:lnTo>
                  <a:lnTo>
                    <a:pt x="435077" y="435077"/>
                  </a:lnTo>
                  <a:lnTo>
                    <a:pt x="435077" y="217539"/>
                  </a:lnTo>
                  <a:lnTo>
                    <a:pt x="435077" y="0"/>
                  </a:lnTo>
                  <a:lnTo>
                    <a:pt x="217539" y="0"/>
                  </a:lnTo>
                  <a:close/>
                </a:path>
              </a:pathLst>
            </a:custGeom>
            <a:grpFill/>
            <a:ln w="27192" cap="flat">
              <a:noFill/>
              <a:prstDash val="solid"/>
              <a:miter/>
            </a:ln>
          </p:spPr>
          <p:txBody>
            <a:bodyPr rtlCol="0" anchor="ctr"/>
            <a:lstStyle/>
            <a:p>
              <a:endParaRPr lang="uk-UA" sz="900"/>
            </a:p>
          </p:txBody>
        </p:sp>
        <p:sp>
          <p:nvSpPr>
            <p:cNvPr id="387" name="Freeform: Shape 386">
              <a:extLst>
                <a:ext uri="{FF2B5EF4-FFF2-40B4-BE49-F238E27FC236}">
                  <a16:creationId xmlns:a16="http://schemas.microsoft.com/office/drawing/2014/main" id="{FDC0972F-E229-5A4A-CBE3-A81A3D324632}"/>
                </a:ext>
              </a:extLst>
            </p:cNvPr>
            <p:cNvSpPr/>
            <p:nvPr/>
          </p:nvSpPr>
          <p:spPr>
            <a:xfrm>
              <a:off x="7797062" y="10670458"/>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27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66 h 435077"/>
                <a:gd name="connsiteX9" fmla="*/ 435077 w 435077"/>
                <a:gd name="connsiteY9" fmla="*/ 217566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27"/>
                  </a:lnTo>
                  <a:lnTo>
                    <a:pt x="435077" y="217539"/>
                  </a:lnTo>
                  <a:lnTo>
                    <a:pt x="435077" y="217539"/>
                  </a:lnTo>
                  <a:lnTo>
                    <a:pt x="435077" y="217539"/>
                  </a:lnTo>
                  <a:lnTo>
                    <a:pt x="435077" y="217566"/>
                  </a:lnTo>
                  <a:lnTo>
                    <a:pt x="435077" y="217566"/>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388" name="Freeform: Shape 387">
              <a:extLst>
                <a:ext uri="{FF2B5EF4-FFF2-40B4-BE49-F238E27FC236}">
                  <a16:creationId xmlns:a16="http://schemas.microsoft.com/office/drawing/2014/main" id="{B94F97B9-B0D4-D551-E9CC-9B8E4914C29C}"/>
                </a:ext>
              </a:extLst>
            </p:cNvPr>
            <p:cNvSpPr/>
            <p:nvPr/>
          </p:nvSpPr>
          <p:spPr>
            <a:xfrm>
              <a:off x="6926907" y="10670458"/>
              <a:ext cx="435077" cy="435077"/>
            </a:xfrm>
            <a:custGeom>
              <a:avLst/>
              <a:gdLst>
                <a:gd name="connsiteX0" fmla="*/ 371366 w 435077"/>
                <a:gd name="connsiteY0" fmla="*/ 63739 h 435077"/>
                <a:gd name="connsiteX1" fmla="*/ 435077 w 435077"/>
                <a:gd name="connsiteY1" fmla="*/ 217539 h 435077"/>
                <a:gd name="connsiteX2" fmla="*/ 217702 w 435077"/>
                <a:gd name="connsiteY2" fmla="*/ 217539 h 435077"/>
                <a:gd name="connsiteX3" fmla="*/ 371366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6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39"/>
                  </a:moveTo>
                  <a:cubicBezTo>
                    <a:pt x="412155" y="104527"/>
                    <a:pt x="435077" y="159864"/>
                    <a:pt x="435077" y="217539"/>
                  </a:cubicBezTo>
                  <a:lnTo>
                    <a:pt x="217702" y="217539"/>
                  </a:lnTo>
                  <a:cubicBezTo>
                    <a:pt x="275350" y="217593"/>
                    <a:pt x="330605" y="240516"/>
                    <a:pt x="371366" y="281277"/>
                  </a:cubicBezTo>
                  <a:cubicBezTo>
                    <a:pt x="412155" y="322066"/>
                    <a:pt x="435077" y="377402"/>
                    <a:pt x="435077" y="435077"/>
                  </a:cubicBezTo>
                  <a:lnTo>
                    <a:pt x="217539" y="435077"/>
                  </a:lnTo>
                  <a:lnTo>
                    <a:pt x="0" y="435077"/>
                  </a:lnTo>
                  <a:cubicBezTo>
                    <a:pt x="0" y="377402"/>
                    <a:pt x="22924" y="322066"/>
                    <a:pt x="63712" y="281277"/>
                  </a:cubicBezTo>
                  <a:cubicBezTo>
                    <a:pt x="104473" y="240516"/>
                    <a:pt x="159728" y="217593"/>
                    <a:pt x="217376" y="217539"/>
                  </a:cubicBezTo>
                  <a:lnTo>
                    <a:pt x="0" y="217539"/>
                  </a:lnTo>
                  <a:cubicBezTo>
                    <a:pt x="0" y="159864"/>
                    <a:pt x="22924" y="104527"/>
                    <a:pt x="63712" y="63739"/>
                  </a:cubicBezTo>
                  <a:cubicBezTo>
                    <a:pt x="104501" y="22923"/>
                    <a:pt x="159837" y="0"/>
                    <a:pt x="217539" y="0"/>
                  </a:cubicBezTo>
                  <a:cubicBezTo>
                    <a:pt x="275241" y="0"/>
                    <a:pt x="330550" y="22923"/>
                    <a:pt x="371366" y="63739"/>
                  </a:cubicBezTo>
                  <a:close/>
                </a:path>
              </a:pathLst>
            </a:custGeom>
            <a:grpFill/>
            <a:ln w="27192" cap="flat">
              <a:noFill/>
              <a:prstDash val="solid"/>
              <a:miter/>
            </a:ln>
          </p:spPr>
          <p:txBody>
            <a:bodyPr rtlCol="0" anchor="ctr"/>
            <a:lstStyle/>
            <a:p>
              <a:endParaRPr lang="uk-UA" sz="900"/>
            </a:p>
          </p:txBody>
        </p:sp>
        <p:sp>
          <p:nvSpPr>
            <p:cNvPr id="389" name="Freeform: Shape 388">
              <a:extLst>
                <a:ext uri="{FF2B5EF4-FFF2-40B4-BE49-F238E27FC236}">
                  <a16:creationId xmlns:a16="http://schemas.microsoft.com/office/drawing/2014/main" id="{BDBA9CA4-85E3-F4D3-2E35-8D86C1784837}"/>
                </a:ext>
              </a:extLst>
            </p:cNvPr>
            <p:cNvSpPr/>
            <p:nvPr/>
          </p:nvSpPr>
          <p:spPr>
            <a:xfrm>
              <a:off x="8667217" y="1067045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390" name="Freeform: Shape 389">
              <a:extLst>
                <a:ext uri="{FF2B5EF4-FFF2-40B4-BE49-F238E27FC236}">
                  <a16:creationId xmlns:a16="http://schemas.microsoft.com/office/drawing/2014/main" id="{E1D33914-8E7C-2420-122B-5ECBEA7D5029}"/>
                </a:ext>
              </a:extLst>
            </p:cNvPr>
            <p:cNvSpPr/>
            <p:nvPr/>
          </p:nvSpPr>
          <p:spPr>
            <a:xfrm>
              <a:off x="9537371" y="1067045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p>
          </p:txBody>
        </p:sp>
        <p:sp>
          <p:nvSpPr>
            <p:cNvPr id="391" name="Freeform: Shape 390">
              <a:extLst>
                <a:ext uri="{FF2B5EF4-FFF2-40B4-BE49-F238E27FC236}">
                  <a16:creationId xmlns:a16="http://schemas.microsoft.com/office/drawing/2014/main" id="{E5801374-B8ED-8BFB-B73C-DA3E4CD13079}"/>
                </a:ext>
              </a:extLst>
            </p:cNvPr>
            <p:cNvSpPr/>
            <p:nvPr/>
          </p:nvSpPr>
          <p:spPr>
            <a:xfrm>
              <a:off x="11277709" y="10670458"/>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27 h 435077"/>
                <a:gd name="connsiteX5" fmla="*/ 435049 w 435077"/>
                <a:gd name="connsiteY5" fmla="*/ 217539 h 435077"/>
                <a:gd name="connsiteX6" fmla="*/ 435077 w 435077"/>
                <a:gd name="connsiteY6" fmla="*/ 217539 h 435077"/>
                <a:gd name="connsiteX7" fmla="*/ 435049 w 435077"/>
                <a:gd name="connsiteY7" fmla="*/ 217539 h 435077"/>
                <a:gd name="connsiteX8" fmla="*/ 435077 w 435077"/>
                <a:gd name="connsiteY8" fmla="*/ 217566 h 435077"/>
                <a:gd name="connsiteX9" fmla="*/ 435049 w 435077"/>
                <a:gd name="connsiteY9" fmla="*/ 217566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27"/>
                  </a:lnTo>
                  <a:lnTo>
                    <a:pt x="435049" y="217539"/>
                  </a:lnTo>
                  <a:lnTo>
                    <a:pt x="435077" y="217539"/>
                  </a:lnTo>
                  <a:lnTo>
                    <a:pt x="435049" y="217539"/>
                  </a:lnTo>
                  <a:lnTo>
                    <a:pt x="435077" y="217566"/>
                  </a:lnTo>
                  <a:lnTo>
                    <a:pt x="435049" y="217566"/>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392" name="Freeform: Shape 391">
              <a:extLst>
                <a:ext uri="{FF2B5EF4-FFF2-40B4-BE49-F238E27FC236}">
                  <a16:creationId xmlns:a16="http://schemas.microsoft.com/office/drawing/2014/main" id="{2753ED4F-A856-7621-509E-1B3F03C70848}"/>
                </a:ext>
              </a:extLst>
            </p:cNvPr>
            <p:cNvSpPr/>
            <p:nvPr/>
          </p:nvSpPr>
          <p:spPr>
            <a:xfrm>
              <a:off x="10407526" y="10670458"/>
              <a:ext cx="435104" cy="435077"/>
            </a:xfrm>
            <a:custGeom>
              <a:avLst/>
              <a:gdLst>
                <a:gd name="connsiteX0" fmla="*/ 371366 w 435104"/>
                <a:gd name="connsiteY0" fmla="*/ 63739 h 435077"/>
                <a:gd name="connsiteX1" fmla="*/ 435077 w 435104"/>
                <a:gd name="connsiteY1" fmla="*/ 217539 h 435077"/>
                <a:gd name="connsiteX2" fmla="*/ 217730 w 435104"/>
                <a:gd name="connsiteY2" fmla="*/ 217539 h 435077"/>
                <a:gd name="connsiteX3" fmla="*/ 371366 w 435104"/>
                <a:gd name="connsiteY3" fmla="*/ 281277 h 435077"/>
                <a:gd name="connsiteX4" fmla="*/ 435105 w 435104"/>
                <a:gd name="connsiteY4" fmla="*/ 435077 h 435077"/>
                <a:gd name="connsiteX5" fmla="*/ 217566 w 435104"/>
                <a:gd name="connsiteY5" fmla="*/ 435077 h 435077"/>
                <a:gd name="connsiteX6" fmla="*/ 27 w 435104"/>
                <a:gd name="connsiteY6" fmla="*/ 435077 h 435077"/>
                <a:gd name="connsiteX7" fmla="*/ 63739 w 435104"/>
                <a:gd name="connsiteY7" fmla="*/ 281277 h 435077"/>
                <a:gd name="connsiteX8" fmla="*/ 217376 w 435104"/>
                <a:gd name="connsiteY8" fmla="*/ 217539 h 435077"/>
                <a:gd name="connsiteX9" fmla="*/ 0 w 435104"/>
                <a:gd name="connsiteY9" fmla="*/ 217539 h 435077"/>
                <a:gd name="connsiteX10" fmla="*/ 63739 w 435104"/>
                <a:gd name="connsiteY10" fmla="*/ 63739 h 435077"/>
                <a:gd name="connsiteX11" fmla="*/ 217539 w 435104"/>
                <a:gd name="connsiteY11" fmla="*/ 0 h 435077"/>
                <a:gd name="connsiteX12" fmla="*/ 371366 w 435104"/>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4" h="435077">
                  <a:moveTo>
                    <a:pt x="371366" y="63739"/>
                  </a:moveTo>
                  <a:cubicBezTo>
                    <a:pt x="412182" y="104527"/>
                    <a:pt x="435077" y="159864"/>
                    <a:pt x="435077" y="217539"/>
                  </a:cubicBezTo>
                  <a:lnTo>
                    <a:pt x="217730" y="217539"/>
                  </a:lnTo>
                  <a:cubicBezTo>
                    <a:pt x="275350" y="217593"/>
                    <a:pt x="330632" y="240516"/>
                    <a:pt x="371366" y="281277"/>
                  </a:cubicBezTo>
                  <a:cubicBezTo>
                    <a:pt x="412182" y="322066"/>
                    <a:pt x="435105" y="377402"/>
                    <a:pt x="435105" y="435077"/>
                  </a:cubicBezTo>
                  <a:lnTo>
                    <a:pt x="217566" y="435077"/>
                  </a:lnTo>
                  <a:lnTo>
                    <a:pt x="27" y="435077"/>
                  </a:lnTo>
                  <a:cubicBezTo>
                    <a:pt x="27" y="377402"/>
                    <a:pt x="22924" y="322066"/>
                    <a:pt x="63739" y="281277"/>
                  </a:cubicBezTo>
                  <a:cubicBezTo>
                    <a:pt x="104501" y="240516"/>
                    <a:pt x="159755" y="217593"/>
                    <a:pt x="217376" y="217539"/>
                  </a:cubicBezTo>
                  <a:lnTo>
                    <a:pt x="0" y="217539"/>
                  </a:lnTo>
                  <a:cubicBezTo>
                    <a:pt x="0" y="159864"/>
                    <a:pt x="22924" y="104527"/>
                    <a:pt x="63739" y="63739"/>
                  </a:cubicBezTo>
                  <a:cubicBezTo>
                    <a:pt x="104527" y="22923"/>
                    <a:pt x="159864" y="0"/>
                    <a:pt x="217539" y="0"/>
                  </a:cubicBezTo>
                  <a:cubicBezTo>
                    <a:pt x="275241" y="0"/>
                    <a:pt x="330578" y="22923"/>
                    <a:pt x="371366" y="63739"/>
                  </a:cubicBezTo>
                  <a:close/>
                </a:path>
              </a:pathLst>
            </a:custGeom>
            <a:grpFill/>
            <a:ln w="27192" cap="flat">
              <a:noFill/>
              <a:prstDash val="solid"/>
              <a:miter/>
            </a:ln>
          </p:spPr>
          <p:txBody>
            <a:bodyPr rtlCol="0" anchor="ctr"/>
            <a:lstStyle/>
            <a:p>
              <a:endParaRPr lang="uk-UA" sz="900"/>
            </a:p>
          </p:txBody>
        </p:sp>
        <p:sp>
          <p:nvSpPr>
            <p:cNvPr id="393" name="Freeform: Shape 392">
              <a:extLst>
                <a:ext uri="{FF2B5EF4-FFF2-40B4-BE49-F238E27FC236}">
                  <a16:creationId xmlns:a16="http://schemas.microsoft.com/office/drawing/2014/main" id="{0A9BE7A0-B5E9-B290-8352-8F9D90104F71}"/>
                </a:ext>
              </a:extLst>
            </p:cNvPr>
            <p:cNvSpPr/>
            <p:nvPr/>
          </p:nvSpPr>
          <p:spPr>
            <a:xfrm>
              <a:off x="12147864" y="1067045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394" name="Freeform: Shape 393">
              <a:extLst>
                <a:ext uri="{FF2B5EF4-FFF2-40B4-BE49-F238E27FC236}">
                  <a16:creationId xmlns:a16="http://schemas.microsoft.com/office/drawing/2014/main" id="{EFF82F05-FE29-7A31-88EC-976CF441E31E}"/>
                </a:ext>
              </a:extLst>
            </p:cNvPr>
            <p:cNvSpPr/>
            <p:nvPr/>
          </p:nvSpPr>
          <p:spPr>
            <a:xfrm>
              <a:off x="13018045" y="1067045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395" name="Freeform: Shape 394">
              <a:extLst>
                <a:ext uri="{FF2B5EF4-FFF2-40B4-BE49-F238E27FC236}">
                  <a16:creationId xmlns:a16="http://schemas.microsoft.com/office/drawing/2014/main" id="{E32639B7-007A-7017-5AB1-7C1E592DF21E}"/>
                </a:ext>
              </a:extLst>
            </p:cNvPr>
            <p:cNvSpPr/>
            <p:nvPr/>
          </p:nvSpPr>
          <p:spPr>
            <a:xfrm>
              <a:off x="14758328" y="1067045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396" name="Freeform: Shape 395">
              <a:extLst>
                <a:ext uri="{FF2B5EF4-FFF2-40B4-BE49-F238E27FC236}">
                  <a16:creationId xmlns:a16="http://schemas.microsoft.com/office/drawing/2014/main" id="{50E91624-7634-6A0E-D610-058220B2DD4E}"/>
                </a:ext>
              </a:extLst>
            </p:cNvPr>
            <p:cNvSpPr/>
            <p:nvPr/>
          </p:nvSpPr>
          <p:spPr>
            <a:xfrm>
              <a:off x="13888200" y="10670458"/>
              <a:ext cx="435077" cy="435077"/>
            </a:xfrm>
            <a:custGeom>
              <a:avLst/>
              <a:gdLst>
                <a:gd name="connsiteX0" fmla="*/ 371365 w 435077"/>
                <a:gd name="connsiteY0" fmla="*/ 63739 h 435077"/>
                <a:gd name="connsiteX1" fmla="*/ 435077 w 435077"/>
                <a:gd name="connsiteY1" fmla="*/ 217539 h 435077"/>
                <a:gd name="connsiteX2" fmla="*/ 217730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39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5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39"/>
                  </a:moveTo>
                  <a:cubicBezTo>
                    <a:pt x="412154" y="104527"/>
                    <a:pt x="435077" y="159864"/>
                    <a:pt x="435077" y="217539"/>
                  </a:cubicBezTo>
                  <a:lnTo>
                    <a:pt x="217730" y="217539"/>
                  </a:lnTo>
                  <a:cubicBezTo>
                    <a:pt x="275349" y="217593"/>
                    <a:pt x="330605" y="240516"/>
                    <a:pt x="371365" y="281277"/>
                  </a:cubicBezTo>
                  <a:cubicBezTo>
                    <a:pt x="412182" y="322066"/>
                    <a:pt x="435077" y="377402"/>
                    <a:pt x="435077" y="435077"/>
                  </a:cubicBezTo>
                  <a:lnTo>
                    <a:pt x="217539" y="435077"/>
                  </a:lnTo>
                  <a:lnTo>
                    <a:pt x="0" y="435077"/>
                  </a:lnTo>
                  <a:cubicBezTo>
                    <a:pt x="0" y="377402"/>
                    <a:pt x="22924" y="322066"/>
                    <a:pt x="63739" y="281277"/>
                  </a:cubicBezTo>
                  <a:cubicBezTo>
                    <a:pt x="104472" y="240516"/>
                    <a:pt x="159755" y="217593"/>
                    <a:pt x="217376" y="217539"/>
                  </a:cubicBezTo>
                  <a:lnTo>
                    <a:pt x="0" y="217539"/>
                  </a:lnTo>
                  <a:cubicBezTo>
                    <a:pt x="0" y="159864"/>
                    <a:pt x="22924" y="104527"/>
                    <a:pt x="63712" y="63739"/>
                  </a:cubicBezTo>
                  <a:cubicBezTo>
                    <a:pt x="104527" y="22923"/>
                    <a:pt x="159836" y="0"/>
                    <a:pt x="217539" y="0"/>
                  </a:cubicBezTo>
                  <a:cubicBezTo>
                    <a:pt x="275241" y="0"/>
                    <a:pt x="330577" y="22923"/>
                    <a:pt x="371365" y="63739"/>
                  </a:cubicBezTo>
                  <a:close/>
                </a:path>
              </a:pathLst>
            </a:custGeom>
            <a:grpFill/>
            <a:ln w="27192" cap="flat">
              <a:noFill/>
              <a:prstDash val="solid"/>
              <a:miter/>
            </a:ln>
          </p:spPr>
          <p:txBody>
            <a:bodyPr rtlCol="0" anchor="ctr"/>
            <a:lstStyle/>
            <a:p>
              <a:endParaRPr lang="uk-UA" sz="900"/>
            </a:p>
          </p:txBody>
        </p:sp>
        <p:sp>
          <p:nvSpPr>
            <p:cNvPr id="397" name="Freeform: Shape 396">
              <a:extLst>
                <a:ext uri="{FF2B5EF4-FFF2-40B4-BE49-F238E27FC236}">
                  <a16:creationId xmlns:a16="http://schemas.microsoft.com/office/drawing/2014/main" id="{350AB415-FB67-A75A-85C2-3F11108AC26D}"/>
                </a:ext>
              </a:extLst>
            </p:cNvPr>
            <p:cNvSpPr/>
            <p:nvPr/>
          </p:nvSpPr>
          <p:spPr>
            <a:xfrm>
              <a:off x="15628536" y="1067045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398" name="Freeform: Shape 397">
              <a:extLst>
                <a:ext uri="{FF2B5EF4-FFF2-40B4-BE49-F238E27FC236}">
                  <a16:creationId xmlns:a16="http://schemas.microsoft.com/office/drawing/2014/main" id="{780BC2BB-5CAF-7BD4-794C-58C07FA9AAE5}"/>
                </a:ext>
              </a:extLst>
            </p:cNvPr>
            <p:cNvSpPr/>
            <p:nvPr/>
          </p:nvSpPr>
          <p:spPr>
            <a:xfrm>
              <a:off x="16498691" y="10670458"/>
              <a:ext cx="435077" cy="435077"/>
            </a:xfrm>
            <a:custGeom>
              <a:avLst/>
              <a:gdLst>
                <a:gd name="connsiteX0" fmla="*/ 217567 w 435077"/>
                <a:gd name="connsiteY0" fmla="*/ 0 h 435077"/>
                <a:gd name="connsiteX1" fmla="*/ 217539 w 435077"/>
                <a:gd name="connsiteY1" fmla="*/ 0 h 435077"/>
                <a:gd name="connsiteX2" fmla="*/ 28 w 435077"/>
                <a:gd name="connsiteY2" fmla="*/ 0 h 435077"/>
                <a:gd name="connsiteX3" fmla="*/ 28 w 435077"/>
                <a:gd name="connsiteY3" fmla="*/ 217539 h 435077"/>
                <a:gd name="connsiteX4" fmla="*/ 217567 w 435077"/>
                <a:gd name="connsiteY4" fmla="*/ 27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67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67" y="0"/>
                  </a:moveTo>
                  <a:lnTo>
                    <a:pt x="217539" y="0"/>
                  </a:lnTo>
                  <a:lnTo>
                    <a:pt x="28" y="0"/>
                  </a:lnTo>
                  <a:lnTo>
                    <a:pt x="28" y="217539"/>
                  </a:lnTo>
                  <a:lnTo>
                    <a:pt x="217567" y="27"/>
                  </a:lnTo>
                  <a:lnTo>
                    <a:pt x="435077" y="217539"/>
                  </a:lnTo>
                  <a:lnTo>
                    <a:pt x="217539" y="435077"/>
                  </a:lnTo>
                  <a:lnTo>
                    <a:pt x="0" y="217539"/>
                  </a:lnTo>
                  <a:lnTo>
                    <a:pt x="0" y="435077"/>
                  </a:lnTo>
                  <a:lnTo>
                    <a:pt x="217539" y="435077"/>
                  </a:lnTo>
                  <a:lnTo>
                    <a:pt x="435077" y="435077"/>
                  </a:lnTo>
                  <a:lnTo>
                    <a:pt x="435077" y="217539"/>
                  </a:lnTo>
                  <a:lnTo>
                    <a:pt x="435077" y="0"/>
                  </a:lnTo>
                  <a:lnTo>
                    <a:pt x="217567" y="0"/>
                  </a:lnTo>
                  <a:close/>
                </a:path>
              </a:pathLst>
            </a:custGeom>
            <a:grpFill/>
            <a:ln w="27192" cap="flat">
              <a:noFill/>
              <a:prstDash val="solid"/>
              <a:miter/>
            </a:ln>
          </p:spPr>
          <p:txBody>
            <a:bodyPr rtlCol="0" anchor="ctr"/>
            <a:lstStyle/>
            <a:p>
              <a:endParaRPr lang="uk-UA" sz="900"/>
            </a:p>
          </p:txBody>
        </p:sp>
        <p:sp>
          <p:nvSpPr>
            <p:cNvPr id="399" name="Freeform: Shape 398">
              <a:extLst>
                <a:ext uri="{FF2B5EF4-FFF2-40B4-BE49-F238E27FC236}">
                  <a16:creationId xmlns:a16="http://schemas.microsoft.com/office/drawing/2014/main" id="{D06A3F11-1A56-ABF7-7F0E-8C28190B0BCF}"/>
                </a:ext>
              </a:extLst>
            </p:cNvPr>
            <p:cNvSpPr/>
            <p:nvPr/>
          </p:nvSpPr>
          <p:spPr>
            <a:xfrm>
              <a:off x="18239029" y="1067045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400" name="Freeform: Shape 399">
              <a:extLst>
                <a:ext uri="{FF2B5EF4-FFF2-40B4-BE49-F238E27FC236}">
                  <a16:creationId xmlns:a16="http://schemas.microsoft.com/office/drawing/2014/main" id="{63CC0085-E706-60FC-0ABD-4586E549B998}"/>
                </a:ext>
              </a:extLst>
            </p:cNvPr>
            <p:cNvSpPr/>
            <p:nvPr/>
          </p:nvSpPr>
          <p:spPr>
            <a:xfrm>
              <a:off x="17368874" y="10670458"/>
              <a:ext cx="435077" cy="435077"/>
            </a:xfrm>
            <a:custGeom>
              <a:avLst/>
              <a:gdLst>
                <a:gd name="connsiteX0" fmla="*/ 371339 w 435077"/>
                <a:gd name="connsiteY0" fmla="*/ 63739 h 435077"/>
                <a:gd name="connsiteX1" fmla="*/ 435077 w 435077"/>
                <a:gd name="connsiteY1" fmla="*/ 217539 h 435077"/>
                <a:gd name="connsiteX2" fmla="*/ 217701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0 w 435077"/>
                <a:gd name="connsiteY7" fmla="*/ 281277 h 435077"/>
                <a:gd name="connsiteX8" fmla="*/ 217374 w 435077"/>
                <a:gd name="connsiteY8" fmla="*/ 217539 h 435077"/>
                <a:gd name="connsiteX9" fmla="*/ 0 w 435077"/>
                <a:gd name="connsiteY9" fmla="*/ 217539 h 435077"/>
                <a:gd name="connsiteX10" fmla="*/ 63710 w 435077"/>
                <a:gd name="connsiteY10" fmla="*/ 63739 h 435077"/>
                <a:gd name="connsiteX11" fmla="*/ 217539 w 435077"/>
                <a:gd name="connsiteY11" fmla="*/ 0 h 435077"/>
                <a:gd name="connsiteX12" fmla="*/ 371339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39"/>
                  </a:moveTo>
                  <a:cubicBezTo>
                    <a:pt x="412154" y="104527"/>
                    <a:pt x="435077" y="159864"/>
                    <a:pt x="435077" y="217539"/>
                  </a:cubicBezTo>
                  <a:lnTo>
                    <a:pt x="217701" y="217539"/>
                  </a:lnTo>
                  <a:cubicBezTo>
                    <a:pt x="275322" y="217593"/>
                    <a:pt x="330603" y="240516"/>
                    <a:pt x="371365" y="281277"/>
                  </a:cubicBezTo>
                  <a:cubicBezTo>
                    <a:pt x="412154" y="322066"/>
                    <a:pt x="435077" y="377402"/>
                    <a:pt x="435077" y="435077"/>
                  </a:cubicBezTo>
                  <a:lnTo>
                    <a:pt x="217539" y="435077"/>
                  </a:lnTo>
                  <a:lnTo>
                    <a:pt x="0" y="435077"/>
                  </a:lnTo>
                  <a:cubicBezTo>
                    <a:pt x="0" y="377402"/>
                    <a:pt x="22922" y="322066"/>
                    <a:pt x="63710" y="281277"/>
                  </a:cubicBezTo>
                  <a:cubicBezTo>
                    <a:pt x="104472" y="240516"/>
                    <a:pt x="159727" y="217593"/>
                    <a:pt x="217374" y="217539"/>
                  </a:cubicBezTo>
                  <a:lnTo>
                    <a:pt x="0" y="217539"/>
                  </a:lnTo>
                  <a:cubicBezTo>
                    <a:pt x="0" y="159864"/>
                    <a:pt x="22895" y="104527"/>
                    <a:pt x="63710" y="63739"/>
                  </a:cubicBezTo>
                  <a:cubicBezTo>
                    <a:pt x="104499" y="22923"/>
                    <a:pt x="159836" y="0"/>
                    <a:pt x="217539" y="0"/>
                  </a:cubicBezTo>
                  <a:cubicBezTo>
                    <a:pt x="275213" y="0"/>
                    <a:pt x="330550" y="22923"/>
                    <a:pt x="371339" y="63739"/>
                  </a:cubicBezTo>
                  <a:close/>
                </a:path>
              </a:pathLst>
            </a:custGeom>
            <a:grpFill/>
            <a:ln w="27192" cap="flat">
              <a:noFill/>
              <a:prstDash val="solid"/>
              <a:miter/>
            </a:ln>
          </p:spPr>
          <p:txBody>
            <a:bodyPr rtlCol="0" anchor="ctr"/>
            <a:lstStyle/>
            <a:p>
              <a:endParaRPr lang="uk-UA" sz="900"/>
            </a:p>
          </p:txBody>
        </p:sp>
        <p:sp>
          <p:nvSpPr>
            <p:cNvPr id="401" name="Freeform: Shape 400">
              <a:extLst>
                <a:ext uri="{FF2B5EF4-FFF2-40B4-BE49-F238E27FC236}">
                  <a16:creationId xmlns:a16="http://schemas.microsoft.com/office/drawing/2014/main" id="{359BBB53-63A4-F158-B23D-8A8759F06048}"/>
                </a:ext>
              </a:extLst>
            </p:cNvPr>
            <p:cNvSpPr/>
            <p:nvPr/>
          </p:nvSpPr>
          <p:spPr>
            <a:xfrm>
              <a:off x="19109184" y="1067045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65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65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65" y="435105"/>
                  </a:lnTo>
                  <a:lnTo>
                    <a:pt x="435077" y="217566"/>
                  </a:lnTo>
                  <a:lnTo>
                    <a:pt x="435077" y="435105"/>
                  </a:lnTo>
                  <a:close/>
                  <a:moveTo>
                    <a:pt x="435077" y="27"/>
                  </a:moveTo>
                  <a:lnTo>
                    <a:pt x="217565"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402" name="Freeform: Shape 401">
              <a:extLst>
                <a:ext uri="{FF2B5EF4-FFF2-40B4-BE49-F238E27FC236}">
                  <a16:creationId xmlns:a16="http://schemas.microsoft.com/office/drawing/2014/main" id="{2A54A2CD-09FF-EC1B-2BD9-4494299D61DE}"/>
                </a:ext>
              </a:extLst>
            </p:cNvPr>
            <p:cNvSpPr/>
            <p:nvPr/>
          </p:nvSpPr>
          <p:spPr>
            <a:xfrm>
              <a:off x="19979365" y="1067045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403" name="Freeform: Shape 402">
              <a:extLst>
                <a:ext uri="{FF2B5EF4-FFF2-40B4-BE49-F238E27FC236}">
                  <a16:creationId xmlns:a16="http://schemas.microsoft.com/office/drawing/2014/main" id="{BFAB6D0E-7DF3-9095-D204-7F56D766C709}"/>
                </a:ext>
              </a:extLst>
            </p:cNvPr>
            <p:cNvSpPr/>
            <p:nvPr/>
          </p:nvSpPr>
          <p:spPr>
            <a:xfrm>
              <a:off x="21719675" y="1067045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404" name="Freeform: Shape 403">
              <a:extLst>
                <a:ext uri="{FF2B5EF4-FFF2-40B4-BE49-F238E27FC236}">
                  <a16:creationId xmlns:a16="http://schemas.microsoft.com/office/drawing/2014/main" id="{98FAF6DA-F39B-3F29-0F10-FD3917A72049}"/>
                </a:ext>
              </a:extLst>
            </p:cNvPr>
            <p:cNvSpPr/>
            <p:nvPr/>
          </p:nvSpPr>
          <p:spPr>
            <a:xfrm>
              <a:off x="20849520" y="10670458"/>
              <a:ext cx="435077" cy="435077"/>
            </a:xfrm>
            <a:custGeom>
              <a:avLst/>
              <a:gdLst>
                <a:gd name="connsiteX0" fmla="*/ 371365 w 435077"/>
                <a:gd name="connsiteY0" fmla="*/ 63739 h 435077"/>
                <a:gd name="connsiteX1" fmla="*/ 435077 w 435077"/>
                <a:gd name="connsiteY1" fmla="*/ 217539 h 435077"/>
                <a:gd name="connsiteX2" fmla="*/ 217701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5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39"/>
                  </a:moveTo>
                  <a:cubicBezTo>
                    <a:pt x="412154" y="104527"/>
                    <a:pt x="435077" y="159864"/>
                    <a:pt x="435077" y="217539"/>
                  </a:cubicBezTo>
                  <a:lnTo>
                    <a:pt x="217701" y="217539"/>
                  </a:lnTo>
                  <a:cubicBezTo>
                    <a:pt x="275349" y="217593"/>
                    <a:pt x="330605" y="240516"/>
                    <a:pt x="371365" y="281277"/>
                  </a:cubicBezTo>
                  <a:cubicBezTo>
                    <a:pt x="412154" y="322066"/>
                    <a:pt x="435077" y="377402"/>
                    <a:pt x="435077" y="435077"/>
                  </a:cubicBezTo>
                  <a:lnTo>
                    <a:pt x="217539" y="435077"/>
                  </a:lnTo>
                  <a:lnTo>
                    <a:pt x="0" y="435077"/>
                  </a:lnTo>
                  <a:cubicBezTo>
                    <a:pt x="0" y="377402"/>
                    <a:pt x="22924" y="322066"/>
                    <a:pt x="63712" y="281277"/>
                  </a:cubicBezTo>
                  <a:cubicBezTo>
                    <a:pt x="104472" y="240516"/>
                    <a:pt x="159755" y="217593"/>
                    <a:pt x="217376" y="217539"/>
                  </a:cubicBezTo>
                  <a:lnTo>
                    <a:pt x="0" y="217539"/>
                  </a:lnTo>
                  <a:cubicBezTo>
                    <a:pt x="0" y="159864"/>
                    <a:pt x="22924" y="104527"/>
                    <a:pt x="63712" y="63739"/>
                  </a:cubicBezTo>
                  <a:cubicBezTo>
                    <a:pt x="104501" y="22923"/>
                    <a:pt x="159836" y="0"/>
                    <a:pt x="217539" y="0"/>
                  </a:cubicBezTo>
                  <a:cubicBezTo>
                    <a:pt x="275241" y="0"/>
                    <a:pt x="330577" y="22923"/>
                    <a:pt x="371365" y="63739"/>
                  </a:cubicBezTo>
                  <a:close/>
                </a:path>
              </a:pathLst>
            </a:custGeom>
            <a:grpFill/>
            <a:ln w="27192" cap="flat">
              <a:noFill/>
              <a:prstDash val="solid"/>
              <a:miter/>
            </a:ln>
          </p:spPr>
          <p:txBody>
            <a:bodyPr rtlCol="0" anchor="ctr"/>
            <a:lstStyle/>
            <a:p>
              <a:endParaRPr lang="uk-UA" sz="900"/>
            </a:p>
          </p:txBody>
        </p:sp>
        <p:sp>
          <p:nvSpPr>
            <p:cNvPr id="405" name="Freeform: Shape 404">
              <a:extLst>
                <a:ext uri="{FF2B5EF4-FFF2-40B4-BE49-F238E27FC236}">
                  <a16:creationId xmlns:a16="http://schemas.microsoft.com/office/drawing/2014/main" id="{CA6646F3-64B2-77A1-62B5-E75F6263D96C}"/>
                </a:ext>
              </a:extLst>
            </p:cNvPr>
            <p:cNvSpPr/>
            <p:nvPr/>
          </p:nvSpPr>
          <p:spPr>
            <a:xfrm>
              <a:off x="22589856" y="1067045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406" name="Freeform: Shape 405">
              <a:extLst>
                <a:ext uri="{FF2B5EF4-FFF2-40B4-BE49-F238E27FC236}">
                  <a16:creationId xmlns:a16="http://schemas.microsoft.com/office/drawing/2014/main" id="{02B634A5-D06D-3921-40F6-ECEE52D7B3A9}"/>
                </a:ext>
              </a:extLst>
            </p:cNvPr>
            <p:cNvSpPr/>
            <p:nvPr/>
          </p:nvSpPr>
          <p:spPr>
            <a:xfrm>
              <a:off x="23460011" y="10670458"/>
              <a:ext cx="435105" cy="435077"/>
            </a:xfrm>
            <a:custGeom>
              <a:avLst/>
              <a:gdLst>
                <a:gd name="connsiteX0" fmla="*/ 217539 w 435105"/>
                <a:gd name="connsiteY0" fmla="*/ 0 h 435077"/>
                <a:gd name="connsiteX1" fmla="*/ 0 w 435105"/>
                <a:gd name="connsiteY1" fmla="*/ 0 h 435077"/>
                <a:gd name="connsiteX2" fmla="*/ 0 w 435105"/>
                <a:gd name="connsiteY2" fmla="*/ 217539 h 435077"/>
                <a:gd name="connsiteX3" fmla="*/ 217539 w 435105"/>
                <a:gd name="connsiteY3" fmla="*/ 0 h 435077"/>
                <a:gd name="connsiteX4" fmla="*/ 435106 w 435105"/>
                <a:gd name="connsiteY4" fmla="*/ 27 h 435077"/>
                <a:gd name="connsiteX5" fmla="*/ 435106 w 435105"/>
                <a:gd name="connsiteY5" fmla="*/ 217566 h 435077"/>
                <a:gd name="connsiteX6" fmla="*/ 217567 w 435105"/>
                <a:gd name="connsiteY6" fmla="*/ 27 h 435077"/>
                <a:gd name="connsiteX7" fmla="*/ 435106 w 435105"/>
                <a:gd name="connsiteY7" fmla="*/ 27 h 435077"/>
                <a:gd name="connsiteX8" fmla="*/ 217567 w 435105"/>
                <a:gd name="connsiteY8" fmla="*/ 435077 h 435077"/>
                <a:gd name="connsiteX9" fmla="*/ 435106 w 435105"/>
                <a:gd name="connsiteY9" fmla="*/ 217566 h 435077"/>
                <a:gd name="connsiteX10" fmla="*/ 435106 w 435105"/>
                <a:gd name="connsiteY10" fmla="*/ 435077 h 435077"/>
                <a:gd name="connsiteX11" fmla="*/ 217567 w 435105"/>
                <a:gd name="connsiteY11" fmla="*/ 435077 h 435077"/>
                <a:gd name="connsiteX12" fmla="*/ 217567 w 435105"/>
                <a:gd name="connsiteY12" fmla="*/ 435077 h 435077"/>
                <a:gd name="connsiteX13" fmla="*/ 28 w 435105"/>
                <a:gd name="connsiteY13" fmla="*/ 217566 h 435077"/>
                <a:gd name="connsiteX14" fmla="*/ 28 w 435105"/>
                <a:gd name="connsiteY14" fmla="*/ 435077 h 435077"/>
                <a:gd name="connsiteX15" fmla="*/ 217567 w 435105"/>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5" h="435077">
                  <a:moveTo>
                    <a:pt x="217539" y="0"/>
                  </a:moveTo>
                  <a:lnTo>
                    <a:pt x="0" y="0"/>
                  </a:lnTo>
                  <a:lnTo>
                    <a:pt x="0" y="217539"/>
                  </a:lnTo>
                  <a:lnTo>
                    <a:pt x="217539" y="0"/>
                  </a:lnTo>
                  <a:close/>
                  <a:moveTo>
                    <a:pt x="435106" y="27"/>
                  </a:moveTo>
                  <a:lnTo>
                    <a:pt x="435106" y="217566"/>
                  </a:lnTo>
                  <a:lnTo>
                    <a:pt x="217567" y="27"/>
                  </a:lnTo>
                  <a:lnTo>
                    <a:pt x="435106" y="27"/>
                  </a:lnTo>
                  <a:close/>
                  <a:moveTo>
                    <a:pt x="217567" y="435077"/>
                  </a:moveTo>
                  <a:lnTo>
                    <a:pt x="435106" y="217566"/>
                  </a:lnTo>
                  <a:lnTo>
                    <a:pt x="435106" y="435077"/>
                  </a:lnTo>
                  <a:lnTo>
                    <a:pt x="217567" y="435077"/>
                  </a:lnTo>
                  <a:close/>
                  <a:moveTo>
                    <a:pt x="217567" y="435077"/>
                  </a:moveTo>
                  <a:lnTo>
                    <a:pt x="28" y="217566"/>
                  </a:lnTo>
                  <a:lnTo>
                    <a:pt x="28" y="435077"/>
                  </a:lnTo>
                  <a:lnTo>
                    <a:pt x="217567" y="435077"/>
                  </a:lnTo>
                  <a:close/>
                </a:path>
              </a:pathLst>
            </a:custGeom>
            <a:grpFill/>
            <a:ln w="27192" cap="flat">
              <a:noFill/>
              <a:prstDash val="solid"/>
              <a:miter/>
            </a:ln>
          </p:spPr>
          <p:txBody>
            <a:bodyPr rtlCol="0" anchor="ctr"/>
            <a:lstStyle/>
            <a:p>
              <a:endParaRPr lang="uk-UA" sz="900"/>
            </a:p>
          </p:txBody>
        </p:sp>
        <p:sp>
          <p:nvSpPr>
            <p:cNvPr id="407" name="Freeform: Shape 406">
              <a:extLst>
                <a:ext uri="{FF2B5EF4-FFF2-40B4-BE49-F238E27FC236}">
                  <a16:creationId xmlns:a16="http://schemas.microsoft.com/office/drawing/2014/main" id="{438CF70F-14C3-E410-72BD-A60B470E6743}"/>
                </a:ext>
              </a:extLst>
            </p:cNvPr>
            <p:cNvSpPr/>
            <p:nvPr/>
          </p:nvSpPr>
          <p:spPr>
            <a:xfrm>
              <a:off x="24330194" y="10670458"/>
              <a:ext cx="435077" cy="435077"/>
            </a:xfrm>
            <a:custGeom>
              <a:avLst/>
              <a:gdLst>
                <a:gd name="connsiteX0" fmla="*/ 371447 w 435077"/>
                <a:gd name="connsiteY0" fmla="*/ 63739 h 435077"/>
                <a:gd name="connsiteX1" fmla="*/ 435077 w 435077"/>
                <a:gd name="connsiteY1" fmla="*/ 217539 h 435077"/>
                <a:gd name="connsiteX2" fmla="*/ 217811 w 435077"/>
                <a:gd name="connsiteY2" fmla="*/ 217539 h 435077"/>
                <a:gd name="connsiteX3" fmla="*/ 371447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267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447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447" y="63739"/>
                  </a:moveTo>
                  <a:cubicBezTo>
                    <a:pt x="412235" y="104527"/>
                    <a:pt x="435077" y="159864"/>
                    <a:pt x="435077" y="217539"/>
                  </a:cubicBezTo>
                  <a:lnTo>
                    <a:pt x="217811" y="217539"/>
                  </a:lnTo>
                  <a:cubicBezTo>
                    <a:pt x="275459" y="217593"/>
                    <a:pt x="330658" y="240516"/>
                    <a:pt x="371447" y="281277"/>
                  </a:cubicBezTo>
                  <a:cubicBezTo>
                    <a:pt x="412235" y="322066"/>
                    <a:pt x="435077" y="377402"/>
                    <a:pt x="435077" y="435077"/>
                  </a:cubicBezTo>
                  <a:lnTo>
                    <a:pt x="217539" y="435077"/>
                  </a:lnTo>
                  <a:lnTo>
                    <a:pt x="0" y="435077"/>
                  </a:lnTo>
                  <a:cubicBezTo>
                    <a:pt x="0" y="377402"/>
                    <a:pt x="22924" y="322066"/>
                    <a:pt x="63712" y="281277"/>
                  </a:cubicBezTo>
                  <a:cubicBezTo>
                    <a:pt x="104472" y="240516"/>
                    <a:pt x="159727" y="217593"/>
                    <a:pt x="217267" y="217539"/>
                  </a:cubicBezTo>
                  <a:lnTo>
                    <a:pt x="0" y="217539"/>
                  </a:lnTo>
                  <a:cubicBezTo>
                    <a:pt x="0" y="159864"/>
                    <a:pt x="22924" y="104527"/>
                    <a:pt x="63712" y="63739"/>
                  </a:cubicBezTo>
                  <a:cubicBezTo>
                    <a:pt x="104501" y="22923"/>
                    <a:pt x="159836" y="0"/>
                    <a:pt x="217539" y="0"/>
                  </a:cubicBezTo>
                  <a:cubicBezTo>
                    <a:pt x="275186" y="0"/>
                    <a:pt x="330658" y="22923"/>
                    <a:pt x="371447" y="63739"/>
                  </a:cubicBezTo>
                  <a:close/>
                </a:path>
              </a:pathLst>
            </a:custGeom>
            <a:grpFill/>
            <a:ln w="27192" cap="flat">
              <a:noFill/>
              <a:prstDash val="solid"/>
              <a:miter/>
            </a:ln>
          </p:spPr>
          <p:txBody>
            <a:bodyPr rtlCol="0" anchor="ctr"/>
            <a:lstStyle/>
            <a:p>
              <a:endParaRPr lang="uk-UA" sz="900"/>
            </a:p>
          </p:txBody>
        </p:sp>
        <p:sp>
          <p:nvSpPr>
            <p:cNvPr id="408" name="Freeform: Shape 407">
              <a:extLst>
                <a:ext uri="{FF2B5EF4-FFF2-40B4-BE49-F238E27FC236}">
                  <a16:creationId xmlns:a16="http://schemas.microsoft.com/office/drawing/2014/main" id="{A2DF7987-C8AA-49FC-51A9-EFCA2533DE37}"/>
                </a:ext>
              </a:extLst>
            </p:cNvPr>
            <p:cNvSpPr/>
            <p:nvPr/>
          </p:nvSpPr>
          <p:spPr>
            <a:xfrm>
              <a:off x="835742" y="1154061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6 w 435077"/>
                <a:gd name="connsiteY3" fmla="*/ 27 h 435077"/>
                <a:gd name="connsiteX4" fmla="*/ 435077 w 435077"/>
                <a:gd name="connsiteY4" fmla="*/ 217566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6" y="27"/>
                  </a:lnTo>
                  <a:lnTo>
                    <a:pt x="435077" y="217566"/>
                  </a:lnTo>
                  <a:lnTo>
                    <a:pt x="217566"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409" name="Freeform: Shape 408">
              <a:extLst>
                <a:ext uri="{FF2B5EF4-FFF2-40B4-BE49-F238E27FC236}">
                  <a16:creationId xmlns:a16="http://schemas.microsoft.com/office/drawing/2014/main" id="{74E84A9F-6BED-A4DE-5BDE-EDF9D901433B}"/>
                </a:ext>
              </a:extLst>
            </p:cNvPr>
            <p:cNvSpPr/>
            <p:nvPr/>
          </p:nvSpPr>
          <p:spPr>
            <a:xfrm>
              <a:off x="-34407" y="11540612"/>
              <a:ext cx="435072" cy="435077"/>
            </a:xfrm>
            <a:custGeom>
              <a:avLst/>
              <a:gdLst>
                <a:gd name="connsiteX0" fmla="*/ 63717 w 435072"/>
                <a:gd name="connsiteY0" fmla="*/ 153827 h 435077"/>
                <a:gd name="connsiteX1" fmla="*/ 0 w 435072"/>
                <a:gd name="connsiteY1" fmla="*/ 0 h 435077"/>
                <a:gd name="connsiteX2" fmla="*/ 217533 w 435072"/>
                <a:gd name="connsiteY2" fmla="*/ 0 h 435077"/>
                <a:gd name="connsiteX3" fmla="*/ 435072 w 435072"/>
                <a:gd name="connsiteY3" fmla="*/ 0 h 435077"/>
                <a:gd name="connsiteX4" fmla="*/ 371360 w 435072"/>
                <a:gd name="connsiteY4" fmla="*/ 153827 h 435077"/>
                <a:gd name="connsiteX5" fmla="*/ 217533 w 435072"/>
                <a:gd name="connsiteY5" fmla="*/ 217539 h 435077"/>
                <a:gd name="connsiteX6" fmla="*/ 63717 w 435072"/>
                <a:gd name="connsiteY6" fmla="*/ 153827 h 435077"/>
                <a:gd name="connsiteX7" fmla="*/ 63717 w 435072"/>
                <a:gd name="connsiteY7" fmla="*/ 281277 h 435077"/>
                <a:gd name="connsiteX8" fmla="*/ 0 w 435072"/>
                <a:gd name="connsiteY8" fmla="*/ 435077 h 435077"/>
                <a:gd name="connsiteX9" fmla="*/ 217533 w 435072"/>
                <a:gd name="connsiteY9" fmla="*/ 435077 h 435077"/>
                <a:gd name="connsiteX10" fmla="*/ 435072 w 435072"/>
                <a:gd name="connsiteY10" fmla="*/ 435077 h 435077"/>
                <a:gd name="connsiteX11" fmla="*/ 371360 w 435072"/>
                <a:gd name="connsiteY11" fmla="*/ 281277 h 435077"/>
                <a:gd name="connsiteX12" fmla="*/ 217533 w 435072"/>
                <a:gd name="connsiteY12" fmla="*/ 217539 h 435077"/>
                <a:gd name="connsiteX13" fmla="*/ 63717 w 435072"/>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2" h="435077">
                  <a:moveTo>
                    <a:pt x="63717" y="153827"/>
                  </a:moveTo>
                  <a:cubicBezTo>
                    <a:pt x="22921" y="113039"/>
                    <a:pt x="0" y="57702"/>
                    <a:pt x="0" y="0"/>
                  </a:cubicBezTo>
                  <a:lnTo>
                    <a:pt x="217533" y="0"/>
                  </a:lnTo>
                  <a:lnTo>
                    <a:pt x="435072" y="0"/>
                  </a:lnTo>
                  <a:cubicBezTo>
                    <a:pt x="435072" y="57702"/>
                    <a:pt x="412149" y="113039"/>
                    <a:pt x="371360" y="153827"/>
                  </a:cubicBezTo>
                  <a:cubicBezTo>
                    <a:pt x="330572" y="194642"/>
                    <a:pt x="275236" y="217539"/>
                    <a:pt x="217533" y="217539"/>
                  </a:cubicBezTo>
                  <a:cubicBezTo>
                    <a:pt x="159858" y="217539"/>
                    <a:pt x="104514" y="194642"/>
                    <a:pt x="63717" y="153827"/>
                  </a:cubicBezTo>
                  <a:close/>
                  <a:moveTo>
                    <a:pt x="63717" y="281277"/>
                  </a:moveTo>
                  <a:cubicBezTo>
                    <a:pt x="22921" y="322066"/>
                    <a:pt x="0" y="377402"/>
                    <a:pt x="0" y="435077"/>
                  </a:cubicBezTo>
                  <a:lnTo>
                    <a:pt x="217533" y="435077"/>
                  </a:lnTo>
                  <a:lnTo>
                    <a:pt x="435072" y="435077"/>
                  </a:lnTo>
                  <a:cubicBezTo>
                    <a:pt x="435072" y="377402"/>
                    <a:pt x="412149" y="322066"/>
                    <a:pt x="371360" y="281277"/>
                  </a:cubicBezTo>
                  <a:cubicBezTo>
                    <a:pt x="330572" y="240462"/>
                    <a:pt x="275236" y="217539"/>
                    <a:pt x="217533" y="217539"/>
                  </a:cubicBezTo>
                  <a:cubicBezTo>
                    <a:pt x="159858" y="217539"/>
                    <a:pt x="104514" y="240462"/>
                    <a:pt x="63717" y="281277"/>
                  </a:cubicBezTo>
                  <a:close/>
                </a:path>
              </a:pathLst>
            </a:custGeom>
            <a:grpFill/>
            <a:ln w="27192" cap="flat">
              <a:noFill/>
              <a:prstDash val="solid"/>
              <a:miter/>
            </a:ln>
          </p:spPr>
          <p:txBody>
            <a:bodyPr rtlCol="0" anchor="ctr"/>
            <a:lstStyle/>
            <a:p>
              <a:endParaRPr lang="uk-UA" sz="900"/>
            </a:p>
          </p:txBody>
        </p:sp>
        <p:sp>
          <p:nvSpPr>
            <p:cNvPr id="410" name="Freeform: Shape 409">
              <a:extLst>
                <a:ext uri="{FF2B5EF4-FFF2-40B4-BE49-F238E27FC236}">
                  <a16:creationId xmlns:a16="http://schemas.microsoft.com/office/drawing/2014/main" id="{B0316AEF-9F8E-18D0-A94B-1AA4F14D37F3}"/>
                </a:ext>
              </a:extLst>
            </p:cNvPr>
            <p:cNvSpPr/>
            <p:nvPr/>
          </p:nvSpPr>
          <p:spPr>
            <a:xfrm>
              <a:off x="1705924" y="1154061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411" name="Freeform: Shape 410">
              <a:extLst>
                <a:ext uri="{FF2B5EF4-FFF2-40B4-BE49-F238E27FC236}">
                  <a16:creationId xmlns:a16="http://schemas.microsoft.com/office/drawing/2014/main" id="{40C8BA69-3447-5FC4-AD01-3431E180D6EC}"/>
                </a:ext>
              </a:extLst>
            </p:cNvPr>
            <p:cNvSpPr/>
            <p:nvPr/>
          </p:nvSpPr>
          <p:spPr>
            <a:xfrm>
              <a:off x="2576106" y="1154064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2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2" y="217539"/>
                  </a:lnTo>
                  <a:lnTo>
                    <a:pt x="0" y="435050"/>
                  </a:lnTo>
                  <a:close/>
                </a:path>
              </a:pathLst>
            </a:custGeom>
            <a:grpFill/>
            <a:ln w="27192" cap="flat">
              <a:noFill/>
              <a:prstDash val="solid"/>
              <a:miter/>
            </a:ln>
          </p:spPr>
          <p:txBody>
            <a:bodyPr rtlCol="0" anchor="ctr"/>
            <a:lstStyle/>
            <a:p>
              <a:endParaRPr lang="uk-UA" sz="900"/>
            </a:p>
          </p:txBody>
        </p:sp>
        <p:sp>
          <p:nvSpPr>
            <p:cNvPr id="412" name="Freeform: Shape 411">
              <a:extLst>
                <a:ext uri="{FF2B5EF4-FFF2-40B4-BE49-F238E27FC236}">
                  <a16:creationId xmlns:a16="http://schemas.microsoft.com/office/drawing/2014/main" id="{552AD917-D5F1-60C6-1972-CD7A80913AA3}"/>
                </a:ext>
              </a:extLst>
            </p:cNvPr>
            <p:cNvSpPr/>
            <p:nvPr/>
          </p:nvSpPr>
          <p:spPr>
            <a:xfrm>
              <a:off x="4316416" y="1154061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5 w 435077"/>
                <a:gd name="connsiteY3" fmla="*/ 27 h 435077"/>
                <a:gd name="connsiteX4" fmla="*/ 435077 w 435077"/>
                <a:gd name="connsiteY4" fmla="*/ 217566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5" y="27"/>
                  </a:lnTo>
                  <a:lnTo>
                    <a:pt x="435077" y="217566"/>
                  </a:lnTo>
                  <a:lnTo>
                    <a:pt x="217565"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413" name="Freeform: Shape 412">
              <a:extLst>
                <a:ext uri="{FF2B5EF4-FFF2-40B4-BE49-F238E27FC236}">
                  <a16:creationId xmlns:a16="http://schemas.microsoft.com/office/drawing/2014/main" id="{535C415E-A9AE-DCBD-7032-767D5691DE00}"/>
                </a:ext>
              </a:extLst>
            </p:cNvPr>
            <p:cNvSpPr/>
            <p:nvPr/>
          </p:nvSpPr>
          <p:spPr>
            <a:xfrm>
              <a:off x="3446261" y="1154061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3" y="113039"/>
                    <a:pt x="0" y="57702"/>
                    <a:pt x="0" y="0"/>
                  </a:cubicBezTo>
                  <a:lnTo>
                    <a:pt x="217539" y="0"/>
                  </a:lnTo>
                  <a:lnTo>
                    <a:pt x="435077" y="0"/>
                  </a:lnTo>
                  <a:cubicBezTo>
                    <a:pt x="435077" y="57702"/>
                    <a:pt x="412154" y="113039"/>
                    <a:pt x="371366" y="153827"/>
                  </a:cubicBezTo>
                  <a:cubicBezTo>
                    <a:pt x="330577" y="194642"/>
                    <a:pt x="275241" y="217539"/>
                    <a:pt x="217539" y="217539"/>
                  </a:cubicBezTo>
                  <a:cubicBezTo>
                    <a:pt x="159837" y="217539"/>
                    <a:pt x="104500" y="194642"/>
                    <a:pt x="63712" y="153827"/>
                  </a:cubicBezTo>
                  <a:close/>
                  <a:moveTo>
                    <a:pt x="63712" y="281277"/>
                  </a:moveTo>
                  <a:cubicBezTo>
                    <a:pt x="22923" y="322066"/>
                    <a:pt x="0" y="377402"/>
                    <a:pt x="0" y="435077"/>
                  </a:cubicBezTo>
                  <a:lnTo>
                    <a:pt x="217539" y="435077"/>
                  </a:lnTo>
                  <a:lnTo>
                    <a:pt x="435077" y="435077"/>
                  </a:lnTo>
                  <a:cubicBezTo>
                    <a:pt x="435077" y="377402"/>
                    <a:pt x="412154" y="322066"/>
                    <a:pt x="371366" y="281277"/>
                  </a:cubicBezTo>
                  <a:cubicBezTo>
                    <a:pt x="330577" y="240462"/>
                    <a:pt x="275241" y="217539"/>
                    <a:pt x="217539" y="217539"/>
                  </a:cubicBezTo>
                  <a:cubicBezTo>
                    <a:pt x="159837" y="217539"/>
                    <a:pt x="104500" y="240462"/>
                    <a:pt x="63712" y="281277"/>
                  </a:cubicBezTo>
                  <a:close/>
                </a:path>
              </a:pathLst>
            </a:custGeom>
            <a:grpFill/>
            <a:ln w="27192" cap="flat">
              <a:noFill/>
              <a:prstDash val="solid"/>
              <a:miter/>
            </a:ln>
          </p:spPr>
          <p:txBody>
            <a:bodyPr rtlCol="0" anchor="ctr"/>
            <a:lstStyle/>
            <a:p>
              <a:endParaRPr lang="uk-UA" sz="900"/>
            </a:p>
          </p:txBody>
        </p:sp>
        <p:sp>
          <p:nvSpPr>
            <p:cNvPr id="414" name="Freeform: Shape 413">
              <a:extLst>
                <a:ext uri="{FF2B5EF4-FFF2-40B4-BE49-F238E27FC236}">
                  <a16:creationId xmlns:a16="http://schemas.microsoft.com/office/drawing/2014/main" id="{B6ACF3E1-72B7-5BBE-A4E8-E194992E01CA}"/>
                </a:ext>
              </a:extLst>
            </p:cNvPr>
            <p:cNvSpPr/>
            <p:nvPr/>
          </p:nvSpPr>
          <p:spPr>
            <a:xfrm>
              <a:off x="5186597" y="11540612"/>
              <a:ext cx="435077" cy="435077"/>
            </a:xfrm>
            <a:custGeom>
              <a:avLst/>
              <a:gdLst>
                <a:gd name="connsiteX0" fmla="*/ 0 w 435077"/>
                <a:gd name="connsiteY0" fmla="*/ 435077 h 435077"/>
                <a:gd name="connsiteX1" fmla="*/ 0 w 435077"/>
                <a:gd name="connsiteY1" fmla="*/ 0 h 435077"/>
                <a:gd name="connsiteX2" fmla="*/ 217512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12"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415" name="Freeform: Shape 414">
              <a:extLst>
                <a:ext uri="{FF2B5EF4-FFF2-40B4-BE49-F238E27FC236}">
                  <a16:creationId xmlns:a16="http://schemas.microsoft.com/office/drawing/2014/main" id="{85D8CA9F-0441-2018-21CE-2A8F14D5FBB2}"/>
                </a:ext>
              </a:extLst>
            </p:cNvPr>
            <p:cNvSpPr/>
            <p:nvPr/>
          </p:nvSpPr>
          <p:spPr>
            <a:xfrm>
              <a:off x="6056752" y="1154064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2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2" y="217539"/>
                  </a:lnTo>
                  <a:lnTo>
                    <a:pt x="0" y="435050"/>
                  </a:lnTo>
                  <a:close/>
                </a:path>
              </a:pathLst>
            </a:custGeom>
            <a:grpFill/>
            <a:ln w="27192" cap="flat">
              <a:noFill/>
              <a:prstDash val="solid"/>
              <a:miter/>
            </a:ln>
          </p:spPr>
          <p:txBody>
            <a:bodyPr rtlCol="0" anchor="ctr"/>
            <a:lstStyle/>
            <a:p>
              <a:endParaRPr lang="uk-UA" sz="900"/>
            </a:p>
          </p:txBody>
        </p:sp>
        <p:sp>
          <p:nvSpPr>
            <p:cNvPr id="416" name="Freeform: Shape 415">
              <a:extLst>
                <a:ext uri="{FF2B5EF4-FFF2-40B4-BE49-F238E27FC236}">
                  <a16:creationId xmlns:a16="http://schemas.microsoft.com/office/drawing/2014/main" id="{5128F142-C2B0-1F20-0CF4-81E8DD32311B}"/>
                </a:ext>
              </a:extLst>
            </p:cNvPr>
            <p:cNvSpPr/>
            <p:nvPr/>
          </p:nvSpPr>
          <p:spPr>
            <a:xfrm>
              <a:off x="7797062" y="1154061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6 w 435077"/>
                <a:gd name="connsiteY3" fmla="*/ 27 h 435077"/>
                <a:gd name="connsiteX4" fmla="*/ 435077 w 435077"/>
                <a:gd name="connsiteY4" fmla="*/ 217566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6" y="27"/>
                  </a:lnTo>
                  <a:lnTo>
                    <a:pt x="435077" y="217566"/>
                  </a:lnTo>
                  <a:lnTo>
                    <a:pt x="217566"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417" name="Freeform: Shape 416">
              <a:extLst>
                <a:ext uri="{FF2B5EF4-FFF2-40B4-BE49-F238E27FC236}">
                  <a16:creationId xmlns:a16="http://schemas.microsoft.com/office/drawing/2014/main" id="{7A2401D4-7250-6343-68CD-778CB2609170}"/>
                </a:ext>
              </a:extLst>
            </p:cNvPr>
            <p:cNvSpPr/>
            <p:nvPr/>
          </p:nvSpPr>
          <p:spPr>
            <a:xfrm>
              <a:off x="6926907" y="1154061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6" y="153827"/>
                  </a:cubicBezTo>
                  <a:cubicBezTo>
                    <a:pt x="330550" y="194642"/>
                    <a:pt x="275241" y="217539"/>
                    <a:pt x="217539" y="217539"/>
                  </a:cubicBezTo>
                  <a:cubicBezTo>
                    <a:pt x="159837"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5" y="322066"/>
                    <a:pt x="371366" y="281277"/>
                  </a:cubicBezTo>
                  <a:cubicBezTo>
                    <a:pt x="330550" y="240462"/>
                    <a:pt x="275241" y="217539"/>
                    <a:pt x="217539" y="217539"/>
                  </a:cubicBezTo>
                  <a:cubicBezTo>
                    <a:pt x="159837" y="217539"/>
                    <a:pt x="104501" y="240462"/>
                    <a:pt x="63712" y="281277"/>
                  </a:cubicBezTo>
                  <a:close/>
                </a:path>
              </a:pathLst>
            </a:custGeom>
            <a:grpFill/>
            <a:ln w="27192" cap="flat">
              <a:noFill/>
              <a:prstDash val="solid"/>
              <a:miter/>
            </a:ln>
          </p:spPr>
          <p:txBody>
            <a:bodyPr rtlCol="0" anchor="ctr"/>
            <a:lstStyle/>
            <a:p>
              <a:endParaRPr lang="uk-UA" sz="900"/>
            </a:p>
          </p:txBody>
        </p:sp>
        <p:sp>
          <p:nvSpPr>
            <p:cNvPr id="418" name="Freeform: Shape 417">
              <a:extLst>
                <a:ext uri="{FF2B5EF4-FFF2-40B4-BE49-F238E27FC236}">
                  <a16:creationId xmlns:a16="http://schemas.microsoft.com/office/drawing/2014/main" id="{A18FCF8D-D5B7-D585-CB2A-DF38A1AF4D6D}"/>
                </a:ext>
              </a:extLst>
            </p:cNvPr>
            <p:cNvSpPr/>
            <p:nvPr/>
          </p:nvSpPr>
          <p:spPr>
            <a:xfrm>
              <a:off x="8667217" y="1154061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419" name="Freeform: Shape 418">
              <a:extLst>
                <a:ext uri="{FF2B5EF4-FFF2-40B4-BE49-F238E27FC236}">
                  <a16:creationId xmlns:a16="http://schemas.microsoft.com/office/drawing/2014/main" id="{1ED31D99-56A8-35A1-2E3A-962C16218109}"/>
                </a:ext>
              </a:extLst>
            </p:cNvPr>
            <p:cNvSpPr/>
            <p:nvPr/>
          </p:nvSpPr>
          <p:spPr>
            <a:xfrm>
              <a:off x="9537399" y="1154064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1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1" y="217539"/>
                  </a:lnTo>
                  <a:lnTo>
                    <a:pt x="0" y="435050"/>
                  </a:lnTo>
                  <a:close/>
                </a:path>
              </a:pathLst>
            </a:custGeom>
            <a:grpFill/>
            <a:ln w="27192" cap="flat">
              <a:noFill/>
              <a:prstDash val="solid"/>
              <a:miter/>
            </a:ln>
          </p:spPr>
          <p:txBody>
            <a:bodyPr rtlCol="0" anchor="ctr"/>
            <a:lstStyle/>
            <a:p>
              <a:endParaRPr lang="uk-UA" sz="900"/>
            </a:p>
          </p:txBody>
        </p:sp>
        <p:sp>
          <p:nvSpPr>
            <p:cNvPr id="420" name="Freeform: Shape 419">
              <a:extLst>
                <a:ext uri="{FF2B5EF4-FFF2-40B4-BE49-F238E27FC236}">
                  <a16:creationId xmlns:a16="http://schemas.microsoft.com/office/drawing/2014/main" id="{72B59D6B-736E-68E2-FD60-6CBEDC7E404A}"/>
                </a:ext>
              </a:extLst>
            </p:cNvPr>
            <p:cNvSpPr/>
            <p:nvPr/>
          </p:nvSpPr>
          <p:spPr>
            <a:xfrm>
              <a:off x="11277709" y="1154061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0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10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0" y="217539"/>
                  </a:lnTo>
                  <a:lnTo>
                    <a:pt x="0" y="217539"/>
                  </a:lnTo>
                  <a:close/>
                  <a:moveTo>
                    <a:pt x="0" y="435077"/>
                  </a:moveTo>
                  <a:lnTo>
                    <a:pt x="0" y="217566"/>
                  </a:lnTo>
                  <a:lnTo>
                    <a:pt x="217510" y="217566"/>
                  </a:lnTo>
                  <a:lnTo>
                    <a:pt x="0" y="435077"/>
                  </a:lnTo>
                  <a:close/>
                </a:path>
              </a:pathLst>
            </a:custGeom>
            <a:grpFill/>
            <a:ln w="27192" cap="flat">
              <a:noFill/>
              <a:prstDash val="solid"/>
              <a:miter/>
            </a:ln>
          </p:spPr>
          <p:txBody>
            <a:bodyPr rtlCol="0" anchor="ctr"/>
            <a:lstStyle/>
            <a:p>
              <a:endParaRPr lang="uk-UA" sz="900"/>
            </a:p>
          </p:txBody>
        </p:sp>
        <p:sp>
          <p:nvSpPr>
            <p:cNvPr id="421" name="Freeform: Shape 420">
              <a:extLst>
                <a:ext uri="{FF2B5EF4-FFF2-40B4-BE49-F238E27FC236}">
                  <a16:creationId xmlns:a16="http://schemas.microsoft.com/office/drawing/2014/main" id="{4D7F8994-05E4-8A37-FC1B-0FFD1E8D88E3}"/>
                </a:ext>
              </a:extLst>
            </p:cNvPr>
            <p:cNvSpPr/>
            <p:nvPr/>
          </p:nvSpPr>
          <p:spPr>
            <a:xfrm>
              <a:off x="10407526" y="11540612"/>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39 w 435077"/>
                <a:gd name="connsiteY6" fmla="*/ 153827 h 435077"/>
                <a:gd name="connsiteX7" fmla="*/ 63739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39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4" y="113039"/>
                    <a:pt x="0" y="57702"/>
                    <a:pt x="0" y="0"/>
                  </a:cubicBezTo>
                  <a:lnTo>
                    <a:pt x="217539" y="0"/>
                  </a:lnTo>
                  <a:lnTo>
                    <a:pt x="435077" y="0"/>
                  </a:lnTo>
                  <a:cubicBezTo>
                    <a:pt x="435077" y="57702"/>
                    <a:pt x="412182" y="113039"/>
                    <a:pt x="371366" y="153827"/>
                  </a:cubicBezTo>
                  <a:cubicBezTo>
                    <a:pt x="330578" y="194642"/>
                    <a:pt x="275241" y="217539"/>
                    <a:pt x="217539" y="217539"/>
                  </a:cubicBezTo>
                  <a:cubicBezTo>
                    <a:pt x="159864" y="217539"/>
                    <a:pt x="104527" y="194642"/>
                    <a:pt x="63739" y="153827"/>
                  </a:cubicBezTo>
                  <a:close/>
                  <a:moveTo>
                    <a:pt x="63739" y="281277"/>
                  </a:moveTo>
                  <a:cubicBezTo>
                    <a:pt x="22924" y="322066"/>
                    <a:pt x="0" y="377402"/>
                    <a:pt x="0" y="435077"/>
                  </a:cubicBezTo>
                  <a:lnTo>
                    <a:pt x="217539" y="435077"/>
                  </a:lnTo>
                  <a:lnTo>
                    <a:pt x="435077" y="435077"/>
                  </a:lnTo>
                  <a:cubicBezTo>
                    <a:pt x="435077" y="377402"/>
                    <a:pt x="412182" y="322066"/>
                    <a:pt x="371366" y="281277"/>
                  </a:cubicBezTo>
                  <a:cubicBezTo>
                    <a:pt x="330578" y="240462"/>
                    <a:pt x="275241" y="217539"/>
                    <a:pt x="217539" y="217539"/>
                  </a:cubicBezTo>
                  <a:cubicBezTo>
                    <a:pt x="159864" y="217539"/>
                    <a:pt x="104527" y="240462"/>
                    <a:pt x="63739" y="281277"/>
                  </a:cubicBezTo>
                  <a:close/>
                </a:path>
              </a:pathLst>
            </a:custGeom>
            <a:grpFill/>
            <a:ln w="27192" cap="flat">
              <a:noFill/>
              <a:prstDash val="solid"/>
              <a:miter/>
            </a:ln>
          </p:spPr>
          <p:txBody>
            <a:bodyPr rtlCol="0" anchor="ctr"/>
            <a:lstStyle/>
            <a:p>
              <a:endParaRPr lang="uk-UA" sz="900"/>
            </a:p>
          </p:txBody>
        </p:sp>
        <p:sp>
          <p:nvSpPr>
            <p:cNvPr id="422" name="Freeform: Shape 421">
              <a:extLst>
                <a:ext uri="{FF2B5EF4-FFF2-40B4-BE49-F238E27FC236}">
                  <a16:creationId xmlns:a16="http://schemas.microsoft.com/office/drawing/2014/main" id="{DA8D9A78-10C7-4C84-EAFC-7D827F9CAF6C}"/>
                </a:ext>
              </a:extLst>
            </p:cNvPr>
            <p:cNvSpPr/>
            <p:nvPr/>
          </p:nvSpPr>
          <p:spPr>
            <a:xfrm>
              <a:off x="12147864" y="1154061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423" name="Freeform: Shape 422">
              <a:extLst>
                <a:ext uri="{FF2B5EF4-FFF2-40B4-BE49-F238E27FC236}">
                  <a16:creationId xmlns:a16="http://schemas.microsoft.com/office/drawing/2014/main" id="{2C396062-AEAB-B643-C6B8-FF93E5565ABC}"/>
                </a:ext>
              </a:extLst>
            </p:cNvPr>
            <p:cNvSpPr/>
            <p:nvPr/>
          </p:nvSpPr>
          <p:spPr>
            <a:xfrm>
              <a:off x="13018045" y="1154064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2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2" y="217539"/>
                  </a:lnTo>
                  <a:lnTo>
                    <a:pt x="0" y="435050"/>
                  </a:lnTo>
                  <a:close/>
                </a:path>
              </a:pathLst>
            </a:custGeom>
            <a:grpFill/>
            <a:ln w="27192" cap="flat">
              <a:noFill/>
              <a:prstDash val="solid"/>
              <a:miter/>
            </a:ln>
          </p:spPr>
          <p:txBody>
            <a:bodyPr rtlCol="0" anchor="ctr"/>
            <a:lstStyle/>
            <a:p>
              <a:endParaRPr lang="uk-UA" sz="900"/>
            </a:p>
          </p:txBody>
        </p:sp>
        <p:sp>
          <p:nvSpPr>
            <p:cNvPr id="424" name="Freeform: Shape 423">
              <a:extLst>
                <a:ext uri="{FF2B5EF4-FFF2-40B4-BE49-F238E27FC236}">
                  <a16:creationId xmlns:a16="http://schemas.microsoft.com/office/drawing/2014/main" id="{E6357AF1-6B6F-6164-D7D0-48EA8E5BD31A}"/>
                </a:ext>
              </a:extLst>
            </p:cNvPr>
            <p:cNvSpPr/>
            <p:nvPr/>
          </p:nvSpPr>
          <p:spPr>
            <a:xfrm>
              <a:off x="14758355" y="11540612"/>
              <a:ext cx="435103" cy="435077"/>
            </a:xfrm>
            <a:custGeom>
              <a:avLst/>
              <a:gdLst>
                <a:gd name="connsiteX0" fmla="*/ 435104 w 435103"/>
                <a:gd name="connsiteY0" fmla="*/ 435077 h 435077"/>
                <a:gd name="connsiteX1" fmla="*/ 435104 w 435103"/>
                <a:gd name="connsiteY1" fmla="*/ 217566 h 435077"/>
                <a:gd name="connsiteX2" fmla="*/ 435104 w 435103"/>
                <a:gd name="connsiteY2" fmla="*/ 27 h 435077"/>
                <a:gd name="connsiteX3" fmla="*/ 217565 w 435103"/>
                <a:gd name="connsiteY3" fmla="*/ 27 h 435077"/>
                <a:gd name="connsiteX4" fmla="*/ 435104 w 435103"/>
                <a:gd name="connsiteY4" fmla="*/ 217566 h 435077"/>
                <a:gd name="connsiteX5" fmla="*/ 217565 w 435103"/>
                <a:gd name="connsiteY5" fmla="*/ 435077 h 435077"/>
                <a:gd name="connsiteX6" fmla="*/ 435104 w 435103"/>
                <a:gd name="connsiteY6" fmla="*/ 435077 h 435077"/>
                <a:gd name="connsiteX7" fmla="*/ 0 w 435103"/>
                <a:gd name="connsiteY7" fmla="*/ 217539 h 435077"/>
                <a:gd name="connsiteX8" fmla="*/ 0 w 435103"/>
                <a:gd name="connsiteY8" fmla="*/ 0 h 435077"/>
                <a:gd name="connsiteX9" fmla="*/ 217539 w 435103"/>
                <a:gd name="connsiteY9" fmla="*/ 217539 h 435077"/>
                <a:gd name="connsiteX10" fmla="*/ 0 w 435103"/>
                <a:gd name="connsiteY10" fmla="*/ 217539 h 435077"/>
                <a:gd name="connsiteX11" fmla="*/ 27 w 435103"/>
                <a:gd name="connsiteY11" fmla="*/ 435077 h 435077"/>
                <a:gd name="connsiteX12" fmla="*/ 27 w 435103"/>
                <a:gd name="connsiteY12" fmla="*/ 217566 h 435077"/>
                <a:gd name="connsiteX13" fmla="*/ 217539 w 435103"/>
                <a:gd name="connsiteY13" fmla="*/ 217566 h 435077"/>
                <a:gd name="connsiteX14" fmla="*/ 27 w 435103"/>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103" h="435077">
                  <a:moveTo>
                    <a:pt x="435104" y="435077"/>
                  </a:moveTo>
                  <a:lnTo>
                    <a:pt x="435104" y="217566"/>
                  </a:lnTo>
                  <a:lnTo>
                    <a:pt x="435104" y="27"/>
                  </a:lnTo>
                  <a:lnTo>
                    <a:pt x="217565" y="27"/>
                  </a:lnTo>
                  <a:lnTo>
                    <a:pt x="435104" y="217566"/>
                  </a:lnTo>
                  <a:lnTo>
                    <a:pt x="217565" y="435077"/>
                  </a:lnTo>
                  <a:lnTo>
                    <a:pt x="435104" y="435077"/>
                  </a:lnTo>
                  <a:close/>
                  <a:moveTo>
                    <a:pt x="0" y="217539"/>
                  </a:moveTo>
                  <a:lnTo>
                    <a:pt x="0" y="0"/>
                  </a:lnTo>
                  <a:lnTo>
                    <a:pt x="217539" y="217539"/>
                  </a:lnTo>
                  <a:lnTo>
                    <a:pt x="0" y="217539"/>
                  </a:lnTo>
                  <a:close/>
                  <a:moveTo>
                    <a:pt x="27" y="435077"/>
                  </a:moveTo>
                  <a:lnTo>
                    <a:pt x="27" y="217566"/>
                  </a:lnTo>
                  <a:lnTo>
                    <a:pt x="217539" y="217566"/>
                  </a:lnTo>
                  <a:lnTo>
                    <a:pt x="27" y="435077"/>
                  </a:lnTo>
                  <a:close/>
                </a:path>
              </a:pathLst>
            </a:custGeom>
            <a:grpFill/>
            <a:ln w="27192" cap="flat">
              <a:noFill/>
              <a:prstDash val="solid"/>
              <a:miter/>
            </a:ln>
          </p:spPr>
          <p:txBody>
            <a:bodyPr rtlCol="0" anchor="ctr"/>
            <a:lstStyle/>
            <a:p>
              <a:endParaRPr lang="uk-UA" sz="900"/>
            </a:p>
          </p:txBody>
        </p:sp>
        <p:sp>
          <p:nvSpPr>
            <p:cNvPr id="425" name="Freeform: Shape 424">
              <a:extLst>
                <a:ext uri="{FF2B5EF4-FFF2-40B4-BE49-F238E27FC236}">
                  <a16:creationId xmlns:a16="http://schemas.microsoft.com/office/drawing/2014/main" id="{712FEFD5-013F-5F28-F7F6-ED187D016C52}"/>
                </a:ext>
              </a:extLst>
            </p:cNvPr>
            <p:cNvSpPr/>
            <p:nvPr/>
          </p:nvSpPr>
          <p:spPr>
            <a:xfrm>
              <a:off x="13888200" y="1154061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4" y="113039"/>
                    <a:pt x="371365" y="153827"/>
                  </a:cubicBezTo>
                  <a:cubicBezTo>
                    <a:pt x="330577" y="194642"/>
                    <a:pt x="275241" y="217539"/>
                    <a:pt x="217539" y="217539"/>
                  </a:cubicBezTo>
                  <a:cubicBezTo>
                    <a:pt x="159836" y="217539"/>
                    <a:pt x="104527" y="194642"/>
                    <a:pt x="63712" y="153827"/>
                  </a:cubicBezTo>
                  <a:close/>
                  <a:moveTo>
                    <a:pt x="63712" y="281277"/>
                  </a:moveTo>
                  <a:cubicBezTo>
                    <a:pt x="22924" y="322066"/>
                    <a:pt x="0" y="377402"/>
                    <a:pt x="0" y="435077"/>
                  </a:cubicBezTo>
                  <a:lnTo>
                    <a:pt x="217539" y="435077"/>
                  </a:lnTo>
                  <a:lnTo>
                    <a:pt x="435077" y="435077"/>
                  </a:lnTo>
                  <a:cubicBezTo>
                    <a:pt x="435077" y="377402"/>
                    <a:pt x="412154" y="322066"/>
                    <a:pt x="371365" y="281277"/>
                  </a:cubicBezTo>
                  <a:cubicBezTo>
                    <a:pt x="330577" y="240462"/>
                    <a:pt x="275241" y="217539"/>
                    <a:pt x="217539" y="217539"/>
                  </a:cubicBezTo>
                  <a:cubicBezTo>
                    <a:pt x="159836" y="217539"/>
                    <a:pt x="104527" y="240462"/>
                    <a:pt x="63712" y="281277"/>
                  </a:cubicBezTo>
                  <a:close/>
                </a:path>
              </a:pathLst>
            </a:custGeom>
            <a:grpFill/>
            <a:ln w="27192" cap="flat">
              <a:noFill/>
              <a:prstDash val="solid"/>
              <a:miter/>
            </a:ln>
          </p:spPr>
          <p:txBody>
            <a:bodyPr rtlCol="0" anchor="ctr"/>
            <a:lstStyle/>
            <a:p>
              <a:endParaRPr lang="uk-UA" sz="900"/>
            </a:p>
          </p:txBody>
        </p:sp>
        <p:sp>
          <p:nvSpPr>
            <p:cNvPr id="426" name="Freeform: Shape 425">
              <a:extLst>
                <a:ext uri="{FF2B5EF4-FFF2-40B4-BE49-F238E27FC236}">
                  <a16:creationId xmlns:a16="http://schemas.microsoft.com/office/drawing/2014/main" id="{181F7E87-3519-190B-D445-698832C85C08}"/>
                </a:ext>
              </a:extLst>
            </p:cNvPr>
            <p:cNvSpPr/>
            <p:nvPr/>
          </p:nvSpPr>
          <p:spPr>
            <a:xfrm>
              <a:off x="15628536" y="1154061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427" name="Freeform: Shape 426">
              <a:extLst>
                <a:ext uri="{FF2B5EF4-FFF2-40B4-BE49-F238E27FC236}">
                  <a16:creationId xmlns:a16="http://schemas.microsoft.com/office/drawing/2014/main" id="{D8E4C2FA-C5E0-300A-43B6-5654DD4B3356}"/>
                </a:ext>
              </a:extLst>
            </p:cNvPr>
            <p:cNvSpPr/>
            <p:nvPr/>
          </p:nvSpPr>
          <p:spPr>
            <a:xfrm>
              <a:off x="16498719" y="1154064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0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0" y="217539"/>
                  </a:lnTo>
                  <a:lnTo>
                    <a:pt x="0" y="435050"/>
                  </a:lnTo>
                  <a:close/>
                </a:path>
              </a:pathLst>
            </a:custGeom>
            <a:grpFill/>
            <a:ln w="27192" cap="flat">
              <a:noFill/>
              <a:prstDash val="solid"/>
              <a:miter/>
            </a:ln>
          </p:spPr>
          <p:txBody>
            <a:bodyPr rtlCol="0" anchor="ctr"/>
            <a:lstStyle/>
            <a:p>
              <a:endParaRPr lang="uk-UA" sz="900"/>
            </a:p>
          </p:txBody>
        </p:sp>
        <p:sp>
          <p:nvSpPr>
            <p:cNvPr id="428" name="Freeform: Shape 427">
              <a:extLst>
                <a:ext uri="{FF2B5EF4-FFF2-40B4-BE49-F238E27FC236}">
                  <a16:creationId xmlns:a16="http://schemas.microsoft.com/office/drawing/2014/main" id="{588FDA5A-FE75-D962-4EB1-A1FBDBC03CC3}"/>
                </a:ext>
              </a:extLst>
            </p:cNvPr>
            <p:cNvSpPr/>
            <p:nvPr/>
          </p:nvSpPr>
          <p:spPr>
            <a:xfrm>
              <a:off x="18239029" y="1154061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0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10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0" y="217539"/>
                  </a:lnTo>
                  <a:lnTo>
                    <a:pt x="0" y="217539"/>
                  </a:lnTo>
                  <a:close/>
                  <a:moveTo>
                    <a:pt x="0" y="435077"/>
                  </a:moveTo>
                  <a:lnTo>
                    <a:pt x="0" y="217566"/>
                  </a:lnTo>
                  <a:lnTo>
                    <a:pt x="217510" y="217566"/>
                  </a:lnTo>
                  <a:lnTo>
                    <a:pt x="0" y="435077"/>
                  </a:lnTo>
                  <a:close/>
                </a:path>
              </a:pathLst>
            </a:custGeom>
            <a:grpFill/>
            <a:ln w="27192" cap="flat">
              <a:noFill/>
              <a:prstDash val="solid"/>
              <a:miter/>
            </a:ln>
          </p:spPr>
          <p:txBody>
            <a:bodyPr rtlCol="0" anchor="ctr"/>
            <a:lstStyle/>
            <a:p>
              <a:endParaRPr lang="uk-UA" sz="900"/>
            </a:p>
          </p:txBody>
        </p:sp>
        <p:sp>
          <p:nvSpPr>
            <p:cNvPr id="429" name="Freeform: Shape 428">
              <a:extLst>
                <a:ext uri="{FF2B5EF4-FFF2-40B4-BE49-F238E27FC236}">
                  <a16:creationId xmlns:a16="http://schemas.microsoft.com/office/drawing/2014/main" id="{991B4691-D7A3-38E0-E1DF-A8907D5345F8}"/>
                </a:ext>
              </a:extLst>
            </p:cNvPr>
            <p:cNvSpPr/>
            <p:nvPr/>
          </p:nvSpPr>
          <p:spPr>
            <a:xfrm>
              <a:off x="17368874" y="11540612"/>
              <a:ext cx="435077" cy="435077"/>
            </a:xfrm>
            <a:custGeom>
              <a:avLst/>
              <a:gdLst>
                <a:gd name="connsiteX0" fmla="*/ 63710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0 w 435077"/>
                <a:gd name="connsiteY6" fmla="*/ 153827 h 435077"/>
                <a:gd name="connsiteX7" fmla="*/ 63710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77 h 435077"/>
                <a:gd name="connsiteX12" fmla="*/ 217539 w 435077"/>
                <a:gd name="connsiteY12" fmla="*/ 217539 h 435077"/>
                <a:gd name="connsiteX13" fmla="*/ 63710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7"/>
                  </a:moveTo>
                  <a:cubicBezTo>
                    <a:pt x="22895" y="113039"/>
                    <a:pt x="0" y="57702"/>
                    <a:pt x="0" y="0"/>
                  </a:cubicBezTo>
                  <a:lnTo>
                    <a:pt x="217539" y="0"/>
                  </a:lnTo>
                  <a:lnTo>
                    <a:pt x="435077" y="0"/>
                  </a:lnTo>
                  <a:cubicBezTo>
                    <a:pt x="435077" y="57702"/>
                    <a:pt x="412154" y="113039"/>
                    <a:pt x="371339" y="153827"/>
                  </a:cubicBezTo>
                  <a:cubicBezTo>
                    <a:pt x="330550" y="194642"/>
                    <a:pt x="275213" y="217539"/>
                    <a:pt x="217539" y="217539"/>
                  </a:cubicBezTo>
                  <a:cubicBezTo>
                    <a:pt x="159836" y="217539"/>
                    <a:pt x="104499" y="194642"/>
                    <a:pt x="63710" y="153827"/>
                  </a:cubicBezTo>
                  <a:close/>
                  <a:moveTo>
                    <a:pt x="63710" y="281277"/>
                  </a:moveTo>
                  <a:cubicBezTo>
                    <a:pt x="22895" y="322066"/>
                    <a:pt x="0" y="377402"/>
                    <a:pt x="0" y="435077"/>
                  </a:cubicBezTo>
                  <a:lnTo>
                    <a:pt x="217539" y="435077"/>
                  </a:lnTo>
                  <a:lnTo>
                    <a:pt x="435077" y="435077"/>
                  </a:lnTo>
                  <a:cubicBezTo>
                    <a:pt x="435077" y="377402"/>
                    <a:pt x="412154" y="322066"/>
                    <a:pt x="371339" y="281277"/>
                  </a:cubicBezTo>
                  <a:cubicBezTo>
                    <a:pt x="330550" y="240462"/>
                    <a:pt x="275213" y="217539"/>
                    <a:pt x="217539" y="217539"/>
                  </a:cubicBezTo>
                  <a:cubicBezTo>
                    <a:pt x="159836" y="217539"/>
                    <a:pt x="104499" y="240462"/>
                    <a:pt x="63710" y="281277"/>
                  </a:cubicBezTo>
                  <a:close/>
                </a:path>
              </a:pathLst>
            </a:custGeom>
            <a:grpFill/>
            <a:ln w="27192" cap="flat">
              <a:noFill/>
              <a:prstDash val="solid"/>
              <a:miter/>
            </a:ln>
          </p:spPr>
          <p:txBody>
            <a:bodyPr rtlCol="0" anchor="ctr"/>
            <a:lstStyle/>
            <a:p>
              <a:endParaRPr lang="uk-UA" sz="900"/>
            </a:p>
          </p:txBody>
        </p:sp>
        <p:sp>
          <p:nvSpPr>
            <p:cNvPr id="430" name="Freeform: Shape 429">
              <a:extLst>
                <a:ext uri="{FF2B5EF4-FFF2-40B4-BE49-F238E27FC236}">
                  <a16:creationId xmlns:a16="http://schemas.microsoft.com/office/drawing/2014/main" id="{01AE160A-040B-D68D-CB06-351FBEB53F87}"/>
                </a:ext>
              </a:extLst>
            </p:cNvPr>
            <p:cNvSpPr/>
            <p:nvPr/>
          </p:nvSpPr>
          <p:spPr>
            <a:xfrm>
              <a:off x="19109184" y="1154061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431" name="Freeform: Shape 430">
              <a:extLst>
                <a:ext uri="{FF2B5EF4-FFF2-40B4-BE49-F238E27FC236}">
                  <a16:creationId xmlns:a16="http://schemas.microsoft.com/office/drawing/2014/main" id="{D5787A10-C32A-4B26-0298-28B874979B71}"/>
                </a:ext>
              </a:extLst>
            </p:cNvPr>
            <p:cNvSpPr/>
            <p:nvPr/>
          </p:nvSpPr>
          <p:spPr>
            <a:xfrm>
              <a:off x="19979365" y="11540612"/>
              <a:ext cx="435077" cy="435077"/>
            </a:xfrm>
            <a:custGeom>
              <a:avLst/>
              <a:gdLst>
                <a:gd name="connsiteX0" fmla="*/ 435077 w 435077"/>
                <a:gd name="connsiteY0" fmla="*/ 435077 h 435077"/>
                <a:gd name="connsiteX1" fmla="*/ 435077 w 435077"/>
                <a:gd name="connsiteY1" fmla="*/ 0 h 435077"/>
                <a:gd name="connsiteX2" fmla="*/ 217539 w 435077"/>
                <a:gd name="connsiteY2" fmla="*/ 217566 h 435077"/>
                <a:gd name="connsiteX3" fmla="*/ 435077 w 435077"/>
                <a:gd name="connsiteY3" fmla="*/ 435077 h 435077"/>
                <a:gd name="connsiteX4" fmla="*/ 0 w 435077"/>
                <a:gd name="connsiteY4" fmla="*/ 435077 h 435077"/>
                <a:gd name="connsiteX5" fmla="*/ 0 w 435077"/>
                <a:gd name="connsiteY5" fmla="*/ 0 h 435077"/>
                <a:gd name="connsiteX6" fmla="*/ 217512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66"/>
                  </a:lnTo>
                  <a:lnTo>
                    <a:pt x="435077" y="435077"/>
                  </a:lnTo>
                  <a:close/>
                  <a:moveTo>
                    <a:pt x="0" y="435077"/>
                  </a:moveTo>
                  <a:lnTo>
                    <a:pt x="0" y="0"/>
                  </a:lnTo>
                  <a:lnTo>
                    <a:pt x="217512" y="217566"/>
                  </a:lnTo>
                  <a:lnTo>
                    <a:pt x="0" y="435077"/>
                  </a:lnTo>
                  <a:close/>
                </a:path>
              </a:pathLst>
            </a:custGeom>
            <a:grpFill/>
            <a:ln w="27192" cap="flat">
              <a:noFill/>
              <a:prstDash val="solid"/>
              <a:miter/>
            </a:ln>
          </p:spPr>
          <p:txBody>
            <a:bodyPr rtlCol="0" anchor="ctr"/>
            <a:lstStyle/>
            <a:p>
              <a:endParaRPr lang="uk-UA" sz="900"/>
            </a:p>
          </p:txBody>
        </p:sp>
        <p:sp>
          <p:nvSpPr>
            <p:cNvPr id="432" name="Freeform: Shape 431">
              <a:extLst>
                <a:ext uri="{FF2B5EF4-FFF2-40B4-BE49-F238E27FC236}">
                  <a16:creationId xmlns:a16="http://schemas.microsoft.com/office/drawing/2014/main" id="{67C131D7-28DF-6D0F-1AB7-14445FB3BED6}"/>
                </a:ext>
              </a:extLst>
            </p:cNvPr>
            <p:cNvSpPr/>
            <p:nvPr/>
          </p:nvSpPr>
          <p:spPr>
            <a:xfrm>
              <a:off x="21719675" y="1154061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5 w 435077"/>
                <a:gd name="connsiteY3" fmla="*/ 27 h 435077"/>
                <a:gd name="connsiteX4" fmla="*/ 435077 w 435077"/>
                <a:gd name="connsiteY4" fmla="*/ 217566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5" y="27"/>
                  </a:lnTo>
                  <a:lnTo>
                    <a:pt x="435077" y="217566"/>
                  </a:lnTo>
                  <a:lnTo>
                    <a:pt x="217565"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433" name="Freeform: Shape 432">
              <a:extLst>
                <a:ext uri="{FF2B5EF4-FFF2-40B4-BE49-F238E27FC236}">
                  <a16:creationId xmlns:a16="http://schemas.microsoft.com/office/drawing/2014/main" id="{E2FBD339-1875-DDE7-5866-5DFE9BDB6EE2}"/>
                </a:ext>
              </a:extLst>
            </p:cNvPr>
            <p:cNvSpPr/>
            <p:nvPr/>
          </p:nvSpPr>
          <p:spPr>
            <a:xfrm>
              <a:off x="20849520" y="1154061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4" y="113039"/>
                    <a:pt x="371365" y="153827"/>
                  </a:cubicBezTo>
                  <a:cubicBezTo>
                    <a:pt x="330577" y="194642"/>
                    <a:pt x="275241" y="217539"/>
                    <a:pt x="217539" y="217539"/>
                  </a:cubicBezTo>
                  <a:cubicBezTo>
                    <a:pt x="159836"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4" y="322066"/>
                    <a:pt x="371365" y="281277"/>
                  </a:cubicBezTo>
                  <a:cubicBezTo>
                    <a:pt x="330577" y="240462"/>
                    <a:pt x="275241" y="217539"/>
                    <a:pt x="217539" y="217539"/>
                  </a:cubicBezTo>
                  <a:cubicBezTo>
                    <a:pt x="159836" y="217539"/>
                    <a:pt x="104501" y="240462"/>
                    <a:pt x="63712" y="281277"/>
                  </a:cubicBezTo>
                  <a:close/>
                </a:path>
              </a:pathLst>
            </a:custGeom>
            <a:grpFill/>
            <a:ln w="27192" cap="flat">
              <a:noFill/>
              <a:prstDash val="solid"/>
              <a:miter/>
            </a:ln>
          </p:spPr>
          <p:txBody>
            <a:bodyPr rtlCol="0" anchor="ctr"/>
            <a:lstStyle/>
            <a:p>
              <a:endParaRPr lang="uk-UA" sz="900"/>
            </a:p>
          </p:txBody>
        </p:sp>
        <p:sp>
          <p:nvSpPr>
            <p:cNvPr id="434" name="Freeform: Shape 433">
              <a:extLst>
                <a:ext uri="{FF2B5EF4-FFF2-40B4-BE49-F238E27FC236}">
                  <a16:creationId xmlns:a16="http://schemas.microsoft.com/office/drawing/2014/main" id="{394CBE46-D8F5-2CAB-E4D3-38276E45DE97}"/>
                </a:ext>
              </a:extLst>
            </p:cNvPr>
            <p:cNvSpPr/>
            <p:nvPr/>
          </p:nvSpPr>
          <p:spPr>
            <a:xfrm>
              <a:off x="22589856" y="1154061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435" name="Freeform: Shape 434">
              <a:extLst>
                <a:ext uri="{FF2B5EF4-FFF2-40B4-BE49-F238E27FC236}">
                  <a16:creationId xmlns:a16="http://schemas.microsoft.com/office/drawing/2014/main" id="{A3AF95AC-A585-081D-4054-A2622535A97B}"/>
                </a:ext>
              </a:extLst>
            </p:cNvPr>
            <p:cNvSpPr/>
            <p:nvPr/>
          </p:nvSpPr>
          <p:spPr>
            <a:xfrm>
              <a:off x="23460011" y="11540612"/>
              <a:ext cx="435077" cy="435077"/>
            </a:xfrm>
            <a:custGeom>
              <a:avLst/>
              <a:gdLst>
                <a:gd name="connsiteX0" fmla="*/ 435077 w 435077"/>
                <a:gd name="connsiteY0" fmla="*/ 435077 h 435077"/>
                <a:gd name="connsiteX1" fmla="*/ 435077 w 435077"/>
                <a:gd name="connsiteY1" fmla="*/ 0 h 435077"/>
                <a:gd name="connsiteX2" fmla="*/ 217567 w 435077"/>
                <a:gd name="connsiteY2" fmla="*/ 217566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7" y="217566"/>
                  </a:lnTo>
                  <a:lnTo>
                    <a:pt x="435077" y="435077"/>
                  </a:lnTo>
                  <a:close/>
                  <a:moveTo>
                    <a:pt x="0" y="435077"/>
                  </a:moveTo>
                  <a:lnTo>
                    <a:pt x="0" y="0"/>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436" name="Freeform: Shape 435">
              <a:extLst>
                <a:ext uri="{FF2B5EF4-FFF2-40B4-BE49-F238E27FC236}">
                  <a16:creationId xmlns:a16="http://schemas.microsoft.com/office/drawing/2014/main" id="{0DFCC5E1-6CA1-2284-CDB7-017859F40308}"/>
                </a:ext>
              </a:extLst>
            </p:cNvPr>
            <p:cNvSpPr/>
            <p:nvPr/>
          </p:nvSpPr>
          <p:spPr>
            <a:xfrm>
              <a:off x="24330194" y="1154061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447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447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235" y="113039"/>
                    <a:pt x="371447" y="153827"/>
                  </a:cubicBezTo>
                  <a:cubicBezTo>
                    <a:pt x="330658" y="194642"/>
                    <a:pt x="275186" y="217539"/>
                    <a:pt x="217539" y="217539"/>
                  </a:cubicBezTo>
                  <a:cubicBezTo>
                    <a:pt x="159836" y="217539"/>
                    <a:pt x="104501" y="194642"/>
                    <a:pt x="63712" y="153827"/>
                  </a:cubicBezTo>
                  <a:close/>
                  <a:moveTo>
                    <a:pt x="63712" y="281277"/>
                  </a:moveTo>
                  <a:cubicBezTo>
                    <a:pt x="22924" y="322066"/>
                    <a:pt x="0" y="377402"/>
                    <a:pt x="0" y="435077"/>
                  </a:cubicBezTo>
                  <a:lnTo>
                    <a:pt x="217539" y="435077"/>
                  </a:lnTo>
                  <a:lnTo>
                    <a:pt x="435077" y="435077"/>
                  </a:lnTo>
                  <a:cubicBezTo>
                    <a:pt x="435077" y="377402"/>
                    <a:pt x="412235" y="322066"/>
                    <a:pt x="371447" y="281277"/>
                  </a:cubicBezTo>
                  <a:cubicBezTo>
                    <a:pt x="330658" y="240462"/>
                    <a:pt x="275186" y="217539"/>
                    <a:pt x="217539" y="217539"/>
                  </a:cubicBezTo>
                  <a:cubicBezTo>
                    <a:pt x="159836" y="217539"/>
                    <a:pt x="104501" y="240462"/>
                    <a:pt x="63712" y="281277"/>
                  </a:cubicBezTo>
                  <a:close/>
                </a:path>
              </a:pathLst>
            </a:custGeom>
            <a:grpFill/>
            <a:ln w="27192" cap="flat">
              <a:noFill/>
              <a:prstDash val="solid"/>
              <a:miter/>
            </a:ln>
          </p:spPr>
          <p:txBody>
            <a:bodyPr rtlCol="0" anchor="ctr"/>
            <a:lstStyle/>
            <a:p>
              <a:endParaRPr lang="uk-UA" sz="900"/>
            </a:p>
          </p:txBody>
        </p:sp>
        <p:sp>
          <p:nvSpPr>
            <p:cNvPr id="437" name="Freeform: Shape 436">
              <a:extLst>
                <a:ext uri="{FF2B5EF4-FFF2-40B4-BE49-F238E27FC236}">
                  <a16:creationId xmlns:a16="http://schemas.microsoft.com/office/drawing/2014/main" id="{8BD96ABC-B727-8F12-F5DB-FE9132E19BF8}"/>
                </a:ext>
              </a:extLst>
            </p:cNvPr>
            <p:cNvSpPr/>
            <p:nvPr/>
          </p:nvSpPr>
          <p:spPr>
            <a:xfrm>
              <a:off x="835742" y="12410767"/>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p>
          </p:txBody>
        </p:sp>
        <p:sp>
          <p:nvSpPr>
            <p:cNvPr id="438" name="Freeform: Shape 437">
              <a:extLst>
                <a:ext uri="{FF2B5EF4-FFF2-40B4-BE49-F238E27FC236}">
                  <a16:creationId xmlns:a16="http://schemas.microsoft.com/office/drawing/2014/main" id="{2290D30B-AFE8-5A16-E921-F7D2FD734A24}"/>
                </a:ext>
              </a:extLst>
            </p:cNvPr>
            <p:cNvSpPr/>
            <p:nvPr/>
          </p:nvSpPr>
          <p:spPr>
            <a:xfrm>
              <a:off x="-34409" y="12410767"/>
              <a:ext cx="435074" cy="435104"/>
            </a:xfrm>
            <a:custGeom>
              <a:avLst/>
              <a:gdLst>
                <a:gd name="connsiteX0" fmla="*/ 0 w 435074"/>
                <a:gd name="connsiteY0" fmla="*/ 435077 h 435104"/>
                <a:gd name="connsiteX1" fmla="*/ 217536 w 435074"/>
                <a:gd name="connsiteY1" fmla="*/ 435077 h 435104"/>
                <a:gd name="connsiteX2" fmla="*/ 217536 w 435074"/>
                <a:gd name="connsiteY2" fmla="*/ 217566 h 435104"/>
                <a:gd name="connsiteX3" fmla="*/ 0 w 435074"/>
                <a:gd name="connsiteY3" fmla="*/ 435077 h 435104"/>
                <a:gd name="connsiteX4" fmla="*/ 217536 w 435074"/>
                <a:gd name="connsiteY4" fmla="*/ 0 h 435104"/>
                <a:gd name="connsiteX5" fmla="*/ 3 w 435074"/>
                <a:gd name="connsiteY5" fmla="*/ 0 h 435104"/>
                <a:gd name="connsiteX6" fmla="*/ 217536 w 435074"/>
                <a:gd name="connsiteY6" fmla="*/ 217539 h 435104"/>
                <a:gd name="connsiteX7" fmla="*/ 217536 w 435074"/>
                <a:gd name="connsiteY7" fmla="*/ 0 h 435104"/>
                <a:gd name="connsiteX8" fmla="*/ 435075 w 435074"/>
                <a:gd name="connsiteY8" fmla="*/ 435105 h 435104"/>
                <a:gd name="connsiteX9" fmla="*/ 217536 w 435074"/>
                <a:gd name="connsiteY9" fmla="*/ 435105 h 435104"/>
                <a:gd name="connsiteX10" fmla="*/ 435075 w 435074"/>
                <a:gd name="connsiteY10" fmla="*/ 217566 h 435104"/>
                <a:gd name="connsiteX11" fmla="*/ 435075 w 435074"/>
                <a:gd name="connsiteY11" fmla="*/ 435105 h 435104"/>
                <a:gd name="connsiteX12" fmla="*/ 435075 w 435074"/>
                <a:gd name="connsiteY12" fmla="*/ 27 h 435104"/>
                <a:gd name="connsiteX13" fmla="*/ 217536 w 435074"/>
                <a:gd name="connsiteY13" fmla="*/ 27 h 435104"/>
                <a:gd name="connsiteX14" fmla="*/ 435075 w 435074"/>
                <a:gd name="connsiteY14" fmla="*/ 217539 h 435104"/>
                <a:gd name="connsiteX15" fmla="*/ 435075 w 435074"/>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4" h="435104">
                  <a:moveTo>
                    <a:pt x="0" y="435077"/>
                  </a:moveTo>
                  <a:lnTo>
                    <a:pt x="217536" y="435077"/>
                  </a:lnTo>
                  <a:lnTo>
                    <a:pt x="217536" y="217566"/>
                  </a:lnTo>
                  <a:lnTo>
                    <a:pt x="0" y="435077"/>
                  </a:lnTo>
                  <a:close/>
                  <a:moveTo>
                    <a:pt x="217536" y="0"/>
                  </a:moveTo>
                  <a:lnTo>
                    <a:pt x="3" y="0"/>
                  </a:lnTo>
                  <a:lnTo>
                    <a:pt x="217536" y="217539"/>
                  </a:lnTo>
                  <a:lnTo>
                    <a:pt x="217536" y="0"/>
                  </a:lnTo>
                  <a:close/>
                  <a:moveTo>
                    <a:pt x="435075" y="435105"/>
                  </a:moveTo>
                  <a:lnTo>
                    <a:pt x="217536" y="435105"/>
                  </a:lnTo>
                  <a:lnTo>
                    <a:pt x="435075" y="217566"/>
                  </a:lnTo>
                  <a:lnTo>
                    <a:pt x="435075" y="435105"/>
                  </a:lnTo>
                  <a:close/>
                  <a:moveTo>
                    <a:pt x="435075" y="27"/>
                  </a:moveTo>
                  <a:lnTo>
                    <a:pt x="217536" y="27"/>
                  </a:lnTo>
                  <a:lnTo>
                    <a:pt x="435075" y="217539"/>
                  </a:lnTo>
                  <a:lnTo>
                    <a:pt x="435075" y="27"/>
                  </a:lnTo>
                  <a:close/>
                </a:path>
              </a:pathLst>
            </a:custGeom>
            <a:grpFill/>
            <a:ln w="27192" cap="flat">
              <a:noFill/>
              <a:prstDash val="solid"/>
              <a:miter/>
            </a:ln>
          </p:spPr>
          <p:txBody>
            <a:bodyPr rtlCol="0" anchor="ctr"/>
            <a:lstStyle/>
            <a:p>
              <a:endParaRPr lang="uk-UA" sz="900"/>
            </a:p>
          </p:txBody>
        </p:sp>
        <p:sp>
          <p:nvSpPr>
            <p:cNvPr id="439" name="Freeform: Shape 438">
              <a:extLst>
                <a:ext uri="{FF2B5EF4-FFF2-40B4-BE49-F238E27FC236}">
                  <a16:creationId xmlns:a16="http://schemas.microsoft.com/office/drawing/2014/main" id="{F317003A-9B64-6A83-0EC1-F3B740946190}"/>
                </a:ext>
              </a:extLst>
            </p:cNvPr>
            <p:cNvSpPr/>
            <p:nvPr/>
          </p:nvSpPr>
          <p:spPr>
            <a:xfrm>
              <a:off x="1705924" y="12410767"/>
              <a:ext cx="435077" cy="435077"/>
            </a:xfrm>
            <a:custGeom>
              <a:avLst/>
              <a:gdLst>
                <a:gd name="connsiteX0" fmla="*/ 371366 w 435077"/>
                <a:gd name="connsiteY0" fmla="*/ 63739 h 435077"/>
                <a:gd name="connsiteX1" fmla="*/ 435077 w 435077"/>
                <a:gd name="connsiteY1" fmla="*/ 217539 h 435077"/>
                <a:gd name="connsiteX2" fmla="*/ 217702 w 435077"/>
                <a:gd name="connsiteY2" fmla="*/ 217539 h 435077"/>
                <a:gd name="connsiteX3" fmla="*/ 371366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1 w 435077"/>
                <a:gd name="connsiteY7" fmla="*/ 281277 h 435077"/>
                <a:gd name="connsiteX8" fmla="*/ 217375 w 435077"/>
                <a:gd name="connsiteY8" fmla="*/ 217539 h 435077"/>
                <a:gd name="connsiteX9" fmla="*/ 0 w 435077"/>
                <a:gd name="connsiteY9" fmla="*/ 217539 h 435077"/>
                <a:gd name="connsiteX10" fmla="*/ 63711 w 435077"/>
                <a:gd name="connsiteY10" fmla="*/ 63739 h 435077"/>
                <a:gd name="connsiteX11" fmla="*/ 217539 w 435077"/>
                <a:gd name="connsiteY11" fmla="*/ 0 h 435077"/>
                <a:gd name="connsiteX12" fmla="*/ 371366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39"/>
                  </a:moveTo>
                  <a:cubicBezTo>
                    <a:pt x="412154" y="104527"/>
                    <a:pt x="435077" y="159864"/>
                    <a:pt x="435077" y="217539"/>
                  </a:cubicBezTo>
                  <a:lnTo>
                    <a:pt x="217702" y="217539"/>
                  </a:lnTo>
                  <a:cubicBezTo>
                    <a:pt x="275349" y="217593"/>
                    <a:pt x="330604" y="240516"/>
                    <a:pt x="371366" y="281277"/>
                  </a:cubicBezTo>
                  <a:cubicBezTo>
                    <a:pt x="412154" y="322066"/>
                    <a:pt x="435077" y="377402"/>
                    <a:pt x="435077" y="435077"/>
                  </a:cubicBezTo>
                  <a:lnTo>
                    <a:pt x="217539" y="435077"/>
                  </a:lnTo>
                  <a:lnTo>
                    <a:pt x="0" y="435077"/>
                  </a:lnTo>
                  <a:cubicBezTo>
                    <a:pt x="0" y="377402"/>
                    <a:pt x="22923" y="322066"/>
                    <a:pt x="63711" y="281277"/>
                  </a:cubicBezTo>
                  <a:cubicBezTo>
                    <a:pt x="104473" y="240516"/>
                    <a:pt x="159728" y="217593"/>
                    <a:pt x="217375" y="217539"/>
                  </a:cubicBezTo>
                  <a:lnTo>
                    <a:pt x="0" y="217539"/>
                  </a:lnTo>
                  <a:cubicBezTo>
                    <a:pt x="0" y="159864"/>
                    <a:pt x="22923" y="104527"/>
                    <a:pt x="63711" y="63739"/>
                  </a:cubicBezTo>
                  <a:cubicBezTo>
                    <a:pt x="104500" y="22923"/>
                    <a:pt x="159836" y="0"/>
                    <a:pt x="217539" y="0"/>
                  </a:cubicBezTo>
                  <a:cubicBezTo>
                    <a:pt x="275213" y="0"/>
                    <a:pt x="330550" y="22923"/>
                    <a:pt x="371366" y="63739"/>
                  </a:cubicBezTo>
                  <a:close/>
                </a:path>
              </a:pathLst>
            </a:custGeom>
            <a:grpFill/>
            <a:ln w="27192" cap="flat">
              <a:noFill/>
              <a:prstDash val="solid"/>
              <a:miter/>
            </a:ln>
          </p:spPr>
          <p:txBody>
            <a:bodyPr rtlCol="0" anchor="ctr"/>
            <a:lstStyle/>
            <a:p>
              <a:endParaRPr lang="uk-UA" sz="900"/>
            </a:p>
          </p:txBody>
        </p:sp>
        <p:sp>
          <p:nvSpPr>
            <p:cNvPr id="440" name="Freeform: Shape 439">
              <a:extLst>
                <a:ext uri="{FF2B5EF4-FFF2-40B4-BE49-F238E27FC236}">
                  <a16:creationId xmlns:a16="http://schemas.microsoft.com/office/drawing/2014/main" id="{9370FEFA-24AF-1BD1-34EA-40899AB8EA7F}"/>
                </a:ext>
              </a:extLst>
            </p:cNvPr>
            <p:cNvSpPr/>
            <p:nvPr/>
          </p:nvSpPr>
          <p:spPr>
            <a:xfrm>
              <a:off x="2576079" y="12410767"/>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441" name="Freeform: Shape 440">
              <a:extLst>
                <a:ext uri="{FF2B5EF4-FFF2-40B4-BE49-F238E27FC236}">
                  <a16:creationId xmlns:a16="http://schemas.microsoft.com/office/drawing/2014/main" id="{8D0D59C8-0092-29F3-885C-7CFDD153307F}"/>
                </a:ext>
              </a:extLst>
            </p:cNvPr>
            <p:cNvSpPr/>
            <p:nvPr/>
          </p:nvSpPr>
          <p:spPr>
            <a:xfrm>
              <a:off x="4316416" y="12410767"/>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442" name="Freeform: Shape 441">
              <a:extLst>
                <a:ext uri="{FF2B5EF4-FFF2-40B4-BE49-F238E27FC236}">
                  <a16:creationId xmlns:a16="http://schemas.microsoft.com/office/drawing/2014/main" id="{9C566BD1-98C7-451E-8D94-EC7EA1F36418}"/>
                </a:ext>
              </a:extLst>
            </p:cNvPr>
            <p:cNvSpPr/>
            <p:nvPr/>
          </p:nvSpPr>
          <p:spPr>
            <a:xfrm>
              <a:off x="3446261" y="12410767"/>
              <a:ext cx="435077" cy="435104"/>
            </a:xfrm>
            <a:custGeom>
              <a:avLst/>
              <a:gdLst>
                <a:gd name="connsiteX0" fmla="*/ 0 w 435077"/>
                <a:gd name="connsiteY0" fmla="*/ 435077 h 435104"/>
                <a:gd name="connsiteX1" fmla="*/ 217512 w 435077"/>
                <a:gd name="connsiteY1" fmla="*/ 435077 h 435104"/>
                <a:gd name="connsiteX2" fmla="*/ 217512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12" y="435077"/>
                  </a:lnTo>
                  <a:lnTo>
                    <a:pt x="217512"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443" name="Freeform: Shape 442">
              <a:extLst>
                <a:ext uri="{FF2B5EF4-FFF2-40B4-BE49-F238E27FC236}">
                  <a16:creationId xmlns:a16="http://schemas.microsoft.com/office/drawing/2014/main" id="{77B9E527-AB61-1537-29AC-A10CAF6C5AAA}"/>
                </a:ext>
              </a:extLst>
            </p:cNvPr>
            <p:cNvSpPr/>
            <p:nvPr/>
          </p:nvSpPr>
          <p:spPr>
            <a:xfrm>
              <a:off x="5186571" y="12410767"/>
              <a:ext cx="435103" cy="435077"/>
            </a:xfrm>
            <a:custGeom>
              <a:avLst/>
              <a:gdLst>
                <a:gd name="connsiteX0" fmla="*/ 371365 w 435103"/>
                <a:gd name="connsiteY0" fmla="*/ 63739 h 435077"/>
                <a:gd name="connsiteX1" fmla="*/ 435077 w 435103"/>
                <a:gd name="connsiteY1" fmla="*/ 217539 h 435077"/>
                <a:gd name="connsiteX2" fmla="*/ 217729 w 435103"/>
                <a:gd name="connsiteY2" fmla="*/ 217539 h 435077"/>
                <a:gd name="connsiteX3" fmla="*/ 371365 w 435103"/>
                <a:gd name="connsiteY3" fmla="*/ 281277 h 435077"/>
                <a:gd name="connsiteX4" fmla="*/ 435104 w 435103"/>
                <a:gd name="connsiteY4" fmla="*/ 435077 h 435077"/>
                <a:gd name="connsiteX5" fmla="*/ 217565 w 435103"/>
                <a:gd name="connsiteY5" fmla="*/ 435077 h 435077"/>
                <a:gd name="connsiteX6" fmla="*/ 27 w 435103"/>
                <a:gd name="connsiteY6" fmla="*/ 435077 h 435077"/>
                <a:gd name="connsiteX7" fmla="*/ 63739 w 435103"/>
                <a:gd name="connsiteY7" fmla="*/ 281277 h 435077"/>
                <a:gd name="connsiteX8" fmla="*/ 217375 w 435103"/>
                <a:gd name="connsiteY8" fmla="*/ 217539 h 435077"/>
                <a:gd name="connsiteX9" fmla="*/ 0 w 435103"/>
                <a:gd name="connsiteY9" fmla="*/ 217539 h 435077"/>
                <a:gd name="connsiteX10" fmla="*/ 63739 w 435103"/>
                <a:gd name="connsiteY10" fmla="*/ 63739 h 435077"/>
                <a:gd name="connsiteX11" fmla="*/ 217539 w 435103"/>
                <a:gd name="connsiteY11" fmla="*/ 0 h 435077"/>
                <a:gd name="connsiteX12" fmla="*/ 371365 w 435103"/>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3" h="435077">
                  <a:moveTo>
                    <a:pt x="371365" y="63739"/>
                  </a:moveTo>
                  <a:cubicBezTo>
                    <a:pt x="412181" y="104527"/>
                    <a:pt x="435077" y="159864"/>
                    <a:pt x="435077" y="217539"/>
                  </a:cubicBezTo>
                  <a:lnTo>
                    <a:pt x="217729" y="217539"/>
                  </a:lnTo>
                  <a:cubicBezTo>
                    <a:pt x="275349" y="217593"/>
                    <a:pt x="330632" y="240516"/>
                    <a:pt x="371365" y="281277"/>
                  </a:cubicBezTo>
                  <a:cubicBezTo>
                    <a:pt x="412181" y="322066"/>
                    <a:pt x="435104" y="377402"/>
                    <a:pt x="435104" y="435077"/>
                  </a:cubicBezTo>
                  <a:lnTo>
                    <a:pt x="217565" y="435077"/>
                  </a:lnTo>
                  <a:lnTo>
                    <a:pt x="27" y="435077"/>
                  </a:lnTo>
                  <a:cubicBezTo>
                    <a:pt x="27" y="377402"/>
                    <a:pt x="22923" y="322066"/>
                    <a:pt x="63739" y="281277"/>
                  </a:cubicBezTo>
                  <a:cubicBezTo>
                    <a:pt x="104500" y="240516"/>
                    <a:pt x="159755" y="217593"/>
                    <a:pt x="217375" y="217539"/>
                  </a:cubicBezTo>
                  <a:lnTo>
                    <a:pt x="0" y="217539"/>
                  </a:lnTo>
                  <a:cubicBezTo>
                    <a:pt x="0" y="159864"/>
                    <a:pt x="22923" y="104527"/>
                    <a:pt x="63739" y="63739"/>
                  </a:cubicBezTo>
                  <a:cubicBezTo>
                    <a:pt x="104527" y="22923"/>
                    <a:pt x="159864" y="0"/>
                    <a:pt x="217539" y="0"/>
                  </a:cubicBezTo>
                  <a:cubicBezTo>
                    <a:pt x="275240" y="0"/>
                    <a:pt x="330577" y="22923"/>
                    <a:pt x="371365" y="63739"/>
                  </a:cubicBezTo>
                  <a:close/>
                </a:path>
              </a:pathLst>
            </a:custGeom>
            <a:grpFill/>
            <a:ln w="27192" cap="flat">
              <a:noFill/>
              <a:prstDash val="solid"/>
              <a:miter/>
            </a:ln>
          </p:spPr>
          <p:txBody>
            <a:bodyPr rtlCol="0" anchor="ctr"/>
            <a:lstStyle/>
            <a:p>
              <a:endParaRPr lang="uk-UA" sz="900"/>
            </a:p>
          </p:txBody>
        </p:sp>
        <p:sp>
          <p:nvSpPr>
            <p:cNvPr id="444" name="Freeform: Shape 443">
              <a:extLst>
                <a:ext uri="{FF2B5EF4-FFF2-40B4-BE49-F238E27FC236}">
                  <a16:creationId xmlns:a16="http://schemas.microsoft.com/office/drawing/2014/main" id="{D0178CF2-031F-6CEA-A849-F98ADCB0C85C}"/>
                </a:ext>
              </a:extLst>
            </p:cNvPr>
            <p:cNvSpPr/>
            <p:nvPr/>
          </p:nvSpPr>
          <p:spPr>
            <a:xfrm>
              <a:off x="6056725" y="12410767"/>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445" name="Freeform: Shape 444">
              <a:extLst>
                <a:ext uri="{FF2B5EF4-FFF2-40B4-BE49-F238E27FC236}">
                  <a16:creationId xmlns:a16="http://schemas.microsoft.com/office/drawing/2014/main" id="{C3D76389-2707-325D-36A6-B99FA7466858}"/>
                </a:ext>
              </a:extLst>
            </p:cNvPr>
            <p:cNvSpPr/>
            <p:nvPr/>
          </p:nvSpPr>
          <p:spPr>
            <a:xfrm>
              <a:off x="7797062" y="12410767"/>
              <a:ext cx="435077" cy="435077"/>
            </a:xfrm>
            <a:custGeom>
              <a:avLst/>
              <a:gdLst>
                <a:gd name="connsiteX0" fmla="*/ 217539 w 435077"/>
                <a:gd name="connsiteY0" fmla="*/ 0 h 435077"/>
                <a:gd name="connsiteX1" fmla="*/ 217539 w 435077"/>
                <a:gd name="connsiteY1" fmla="*/ 0 h 435077"/>
                <a:gd name="connsiteX2" fmla="*/ 0 w 435077"/>
                <a:gd name="connsiteY2" fmla="*/ 0 h 435077"/>
                <a:gd name="connsiteX3" fmla="*/ 0 w 435077"/>
                <a:gd name="connsiteY3" fmla="*/ 217539 h 435077"/>
                <a:gd name="connsiteX4" fmla="*/ 217539 w 435077"/>
                <a:gd name="connsiteY4" fmla="*/ 27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217539" y="0"/>
                  </a:lnTo>
                  <a:lnTo>
                    <a:pt x="0" y="0"/>
                  </a:lnTo>
                  <a:lnTo>
                    <a:pt x="0" y="217539"/>
                  </a:lnTo>
                  <a:lnTo>
                    <a:pt x="217539" y="27"/>
                  </a:lnTo>
                  <a:lnTo>
                    <a:pt x="435077" y="217539"/>
                  </a:lnTo>
                  <a:lnTo>
                    <a:pt x="217539" y="435077"/>
                  </a:lnTo>
                  <a:lnTo>
                    <a:pt x="0" y="217539"/>
                  </a:lnTo>
                  <a:lnTo>
                    <a:pt x="0" y="435077"/>
                  </a:lnTo>
                  <a:lnTo>
                    <a:pt x="217539" y="435077"/>
                  </a:lnTo>
                  <a:lnTo>
                    <a:pt x="435077" y="435077"/>
                  </a:lnTo>
                  <a:lnTo>
                    <a:pt x="435077" y="217539"/>
                  </a:lnTo>
                  <a:lnTo>
                    <a:pt x="435077" y="0"/>
                  </a:lnTo>
                  <a:lnTo>
                    <a:pt x="217539" y="0"/>
                  </a:lnTo>
                  <a:close/>
                </a:path>
              </a:pathLst>
            </a:custGeom>
            <a:grpFill/>
            <a:ln w="27192" cap="flat">
              <a:noFill/>
              <a:prstDash val="solid"/>
              <a:miter/>
            </a:ln>
          </p:spPr>
          <p:txBody>
            <a:bodyPr rtlCol="0" anchor="ctr"/>
            <a:lstStyle/>
            <a:p>
              <a:endParaRPr lang="uk-UA" sz="900"/>
            </a:p>
          </p:txBody>
        </p:sp>
        <p:sp>
          <p:nvSpPr>
            <p:cNvPr id="446" name="Freeform: Shape 445">
              <a:extLst>
                <a:ext uri="{FF2B5EF4-FFF2-40B4-BE49-F238E27FC236}">
                  <a16:creationId xmlns:a16="http://schemas.microsoft.com/office/drawing/2014/main" id="{C781C4E2-2270-F7B3-0D95-73B610EDBB84}"/>
                </a:ext>
              </a:extLst>
            </p:cNvPr>
            <p:cNvSpPr/>
            <p:nvPr/>
          </p:nvSpPr>
          <p:spPr>
            <a:xfrm>
              <a:off x="6926907" y="12410767"/>
              <a:ext cx="435077" cy="435104"/>
            </a:xfrm>
            <a:custGeom>
              <a:avLst/>
              <a:gdLst>
                <a:gd name="connsiteX0" fmla="*/ 0 w 435077"/>
                <a:gd name="connsiteY0" fmla="*/ 435077 h 435104"/>
                <a:gd name="connsiteX1" fmla="*/ 217512 w 435077"/>
                <a:gd name="connsiteY1" fmla="*/ 435077 h 435104"/>
                <a:gd name="connsiteX2" fmla="*/ 217512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12" y="435077"/>
                  </a:lnTo>
                  <a:lnTo>
                    <a:pt x="217512"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447" name="Freeform: Shape 446">
              <a:extLst>
                <a:ext uri="{FF2B5EF4-FFF2-40B4-BE49-F238E27FC236}">
                  <a16:creationId xmlns:a16="http://schemas.microsoft.com/office/drawing/2014/main" id="{ACCC7589-B826-2812-9F15-405073A16652}"/>
                </a:ext>
              </a:extLst>
            </p:cNvPr>
            <p:cNvSpPr/>
            <p:nvPr/>
          </p:nvSpPr>
          <p:spPr>
            <a:xfrm>
              <a:off x="8667217" y="12410767"/>
              <a:ext cx="435077" cy="435077"/>
            </a:xfrm>
            <a:custGeom>
              <a:avLst/>
              <a:gdLst>
                <a:gd name="connsiteX0" fmla="*/ 371366 w 435077"/>
                <a:gd name="connsiteY0" fmla="*/ 63739 h 435077"/>
                <a:gd name="connsiteX1" fmla="*/ 435077 w 435077"/>
                <a:gd name="connsiteY1" fmla="*/ 217539 h 435077"/>
                <a:gd name="connsiteX2" fmla="*/ 217702 w 435077"/>
                <a:gd name="connsiteY2" fmla="*/ 217539 h 435077"/>
                <a:gd name="connsiteX3" fmla="*/ 371366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6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39"/>
                  </a:moveTo>
                  <a:cubicBezTo>
                    <a:pt x="412155" y="104527"/>
                    <a:pt x="435077" y="159864"/>
                    <a:pt x="435077" y="217539"/>
                  </a:cubicBezTo>
                  <a:lnTo>
                    <a:pt x="217702" y="217539"/>
                  </a:lnTo>
                  <a:cubicBezTo>
                    <a:pt x="275350" y="217593"/>
                    <a:pt x="330605" y="240516"/>
                    <a:pt x="371366" y="281277"/>
                  </a:cubicBezTo>
                  <a:cubicBezTo>
                    <a:pt x="412155" y="322066"/>
                    <a:pt x="435077" y="377402"/>
                    <a:pt x="435077" y="435077"/>
                  </a:cubicBezTo>
                  <a:lnTo>
                    <a:pt x="217539" y="435077"/>
                  </a:lnTo>
                  <a:lnTo>
                    <a:pt x="0" y="435077"/>
                  </a:lnTo>
                  <a:cubicBezTo>
                    <a:pt x="0" y="377402"/>
                    <a:pt x="22924" y="322066"/>
                    <a:pt x="63712" y="281277"/>
                  </a:cubicBezTo>
                  <a:cubicBezTo>
                    <a:pt x="104473" y="240516"/>
                    <a:pt x="159728" y="217593"/>
                    <a:pt x="217376" y="217539"/>
                  </a:cubicBezTo>
                  <a:lnTo>
                    <a:pt x="0" y="217539"/>
                  </a:lnTo>
                  <a:cubicBezTo>
                    <a:pt x="0" y="159864"/>
                    <a:pt x="22924" y="104527"/>
                    <a:pt x="63712" y="63739"/>
                  </a:cubicBezTo>
                  <a:cubicBezTo>
                    <a:pt x="104501" y="22923"/>
                    <a:pt x="159837" y="0"/>
                    <a:pt x="217539" y="0"/>
                  </a:cubicBezTo>
                  <a:cubicBezTo>
                    <a:pt x="275241" y="0"/>
                    <a:pt x="330550" y="22923"/>
                    <a:pt x="371366" y="63739"/>
                  </a:cubicBezTo>
                  <a:close/>
                </a:path>
              </a:pathLst>
            </a:custGeom>
            <a:grpFill/>
            <a:ln w="27192" cap="flat">
              <a:noFill/>
              <a:prstDash val="solid"/>
              <a:miter/>
            </a:ln>
          </p:spPr>
          <p:txBody>
            <a:bodyPr rtlCol="0" anchor="ctr"/>
            <a:lstStyle/>
            <a:p>
              <a:endParaRPr lang="uk-UA" sz="900"/>
            </a:p>
          </p:txBody>
        </p:sp>
        <p:sp>
          <p:nvSpPr>
            <p:cNvPr id="448" name="Freeform: Shape 447">
              <a:extLst>
                <a:ext uri="{FF2B5EF4-FFF2-40B4-BE49-F238E27FC236}">
                  <a16:creationId xmlns:a16="http://schemas.microsoft.com/office/drawing/2014/main" id="{E7F7204C-A54E-52D3-452A-44EC463A2CAF}"/>
                </a:ext>
              </a:extLst>
            </p:cNvPr>
            <p:cNvSpPr/>
            <p:nvPr/>
          </p:nvSpPr>
          <p:spPr>
            <a:xfrm>
              <a:off x="9537371" y="12410767"/>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27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66 h 435077"/>
                <a:gd name="connsiteX9" fmla="*/ 435077 w 435077"/>
                <a:gd name="connsiteY9" fmla="*/ 217566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27"/>
                  </a:lnTo>
                  <a:lnTo>
                    <a:pt x="435077" y="217539"/>
                  </a:lnTo>
                  <a:lnTo>
                    <a:pt x="435077" y="217539"/>
                  </a:lnTo>
                  <a:lnTo>
                    <a:pt x="435077" y="217539"/>
                  </a:lnTo>
                  <a:lnTo>
                    <a:pt x="435077" y="217566"/>
                  </a:lnTo>
                  <a:lnTo>
                    <a:pt x="435077" y="217566"/>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449" name="Freeform: Shape 448">
              <a:extLst>
                <a:ext uri="{FF2B5EF4-FFF2-40B4-BE49-F238E27FC236}">
                  <a16:creationId xmlns:a16="http://schemas.microsoft.com/office/drawing/2014/main" id="{842253C5-FE33-1735-2B5E-49DD375216DF}"/>
                </a:ext>
              </a:extLst>
            </p:cNvPr>
            <p:cNvSpPr/>
            <p:nvPr/>
          </p:nvSpPr>
          <p:spPr>
            <a:xfrm>
              <a:off x="11277681" y="12410767"/>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p>
          </p:txBody>
        </p:sp>
        <p:sp>
          <p:nvSpPr>
            <p:cNvPr id="450" name="Freeform: Shape 449">
              <a:extLst>
                <a:ext uri="{FF2B5EF4-FFF2-40B4-BE49-F238E27FC236}">
                  <a16:creationId xmlns:a16="http://schemas.microsoft.com/office/drawing/2014/main" id="{093D119F-A236-D28C-3C77-7C830B0CF16E}"/>
                </a:ext>
              </a:extLst>
            </p:cNvPr>
            <p:cNvSpPr/>
            <p:nvPr/>
          </p:nvSpPr>
          <p:spPr>
            <a:xfrm>
              <a:off x="10407526" y="12410767"/>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451" name="Freeform: Shape 450">
              <a:extLst>
                <a:ext uri="{FF2B5EF4-FFF2-40B4-BE49-F238E27FC236}">
                  <a16:creationId xmlns:a16="http://schemas.microsoft.com/office/drawing/2014/main" id="{01A824BC-9F41-8C7F-F410-503553CAB7C6}"/>
                </a:ext>
              </a:extLst>
            </p:cNvPr>
            <p:cNvSpPr/>
            <p:nvPr/>
          </p:nvSpPr>
          <p:spPr>
            <a:xfrm>
              <a:off x="12147864" y="12410767"/>
              <a:ext cx="435077" cy="435077"/>
            </a:xfrm>
            <a:custGeom>
              <a:avLst/>
              <a:gdLst>
                <a:gd name="connsiteX0" fmla="*/ 371365 w 435077"/>
                <a:gd name="connsiteY0" fmla="*/ 63739 h 435077"/>
                <a:gd name="connsiteX1" fmla="*/ 435077 w 435077"/>
                <a:gd name="connsiteY1" fmla="*/ 217539 h 435077"/>
                <a:gd name="connsiteX2" fmla="*/ 217701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0 w 435077"/>
                <a:gd name="connsiteY7" fmla="*/ 281277 h 435077"/>
                <a:gd name="connsiteX8" fmla="*/ 217374 w 435077"/>
                <a:gd name="connsiteY8" fmla="*/ 217539 h 435077"/>
                <a:gd name="connsiteX9" fmla="*/ 0 w 435077"/>
                <a:gd name="connsiteY9" fmla="*/ 217539 h 435077"/>
                <a:gd name="connsiteX10" fmla="*/ 63710 w 435077"/>
                <a:gd name="connsiteY10" fmla="*/ 63739 h 435077"/>
                <a:gd name="connsiteX11" fmla="*/ 217539 w 435077"/>
                <a:gd name="connsiteY11" fmla="*/ 0 h 435077"/>
                <a:gd name="connsiteX12" fmla="*/ 371365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39"/>
                  </a:moveTo>
                  <a:cubicBezTo>
                    <a:pt x="412154" y="104527"/>
                    <a:pt x="435077" y="159864"/>
                    <a:pt x="435077" y="217539"/>
                  </a:cubicBezTo>
                  <a:lnTo>
                    <a:pt x="217701" y="217539"/>
                  </a:lnTo>
                  <a:cubicBezTo>
                    <a:pt x="275349" y="217593"/>
                    <a:pt x="330603" y="240516"/>
                    <a:pt x="371365" y="281277"/>
                  </a:cubicBezTo>
                  <a:cubicBezTo>
                    <a:pt x="412154" y="322066"/>
                    <a:pt x="435077" y="377402"/>
                    <a:pt x="435077" y="435077"/>
                  </a:cubicBezTo>
                  <a:lnTo>
                    <a:pt x="217539" y="435077"/>
                  </a:lnTo>
                  <a:lnTo>
                    <a:pt x="0" y="435077"/>
                  </a:lnTo>
                  <a:cubicBezTo>
                    <a:pt x="0" y="377402"/>
                    <a:pt x="22922" y="322066"/>
                    <a:pt x="63710" y="281277"/>
                  </a:cubicBezTo>
                  <a:cubicBezTo>
                    <a:pt x="104472" y="240516"/>
                    <a:pt x="159727" y="217593"/>
                    <a:pt x="217374" y="217539"/>
                  </a:cubicBezTo>
                  <a:lnTo>
                    <a:pt x="0" y="217539"/>
                  </a:lnTo>
                  <a:cubicBezTo>
                    <a:pt x="0" y="159864"/>
                    <a:pt x="22922" y="104527"/>
                    <a:pt x="63710" y="63739"/>
                  </a:cubicBezTo>
                  <a:cubicBezTo>
                    <a:pt x="104499" y="22923"/>
                    <a:pt x="159836" y="0"/>
                    <a:pt x="217539" y="0"/>
                  </a:cubicBezTo>
                  <a:cubicBezTo>
                    <a:pt x="275239" y="0"/>
                    <a:pt x="330549" y="22923"/>
                    <a:pt x="371365" y="63739"/>
                  </a:cubicBezTo>
                  <a:close/>
                </a:path>
              </a:pathLst>
            </a:custGeom>
            <a:grpFill/>
            <a:ln w="27192" cap="flat">
              <a:noFill/>
              <a:prstDash val="solid"/>
              <a:miter/>
            </a:ln>
          </p:spPr>
          <p:txBody>
            <a:bodyPr rtlCol="0" anchor="ctr"/>
            <a:lstStyle/>
            <a:p>
              <a:endParaRPr lang="uk-UA" sz="900"/>
            </a:p>
          </p:txBody>
        </p:sp>
        <p:sp>
          <p:nvSpPr>
            <p:cNvPr id="452" name="Freeform: Shape 451">
              <a:extLst>
                <a:ext uri="{FF2B5EF4-FFF2-40B4-BE49-F238E27FC236}">
                  <a16:creationId xmlns:a16="http://schemas.microsoft.com/office/drawing/2014/main" id="{68ABAA27-6CE9-DE99-9481-D9E877EC20F4}"/>
                </a:ext>
              </a:extLst>
            </p:cNvPr>
            <p:cNvSpPr/>
            <p:nvPr/>
          </p:nvSpPr>
          <p:spPr>
            <a:xfrm>
              <a:off x="13018019" y="12410767"/>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27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66 h 435077"/>
                <a:gd name="connsiteX9" fmla="*/ 435077 w 435077"/>
                <a:gd name="connsiteY9" fmla="*/ 217566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27"/>
                  </a:lnTo>
                  <a:lnTo>
                    <a:pt x="435077" y="217539"/>
                  </a:lnTo>
                  <a:lnTo>
                    <a:pt x="435077" y="217539"/>
                  </a:lnTo>
                  <a:lnTo>
                    <a:pt x="435077" y="217539"/>
                  </a:lnTo>
                  <a:lnTo>
                    <a:pt x="435077" y="217566"/>
                  </a:lnTo>
                  <a:lnTo>
                    <a:pt x="435077" y="217566"/>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453" name="Freeform: Shape 452">
              <a:extLst>
                <a:ext uri="{FF2B5EF4-FFF2-40B4-BE49-F238E27FC236}">
                  <a16:creationId xmlns:a16="http://schemas.microsoft.com/office/drawing/2014/main" id="{BFE8805D-E3A6-9476-7B4A-29E825BFCC2E}"/>
                </a:ext>
              </a:extLst>
            </p:cNvPr>
            <p:cNvSpPr/>
            <p:nvPr/>
          </p:nvSpPr>
          <p:spPr>
            <a:xfrm>
              <a:off x="14758355" y="12410767"/>
              <a:ext cx="435103" cy="435077"/>
            </a:xfrm>
            <a:custGeom>
              <a:avLst/>
              <a:gdLst>
                <a:gd name="connsiteX0" fmla="*/ 217539 w 435103"/>
                <a:gd name="connsiteY0" fmla="*/ 0 h 435077"/>
                <a:gd name="connsiteX1" fmla="*/ 0 w 435103"/>
                <a:gd name="connsiteY1" fmla="*/ 0 h 435077"/>
                <a:gd name="connsiteX2" fmla="*/ 0 w 435103"/>
                <a:gd name="connsiteY2" fmla="*/ 217539 h 435077"/>
                <a:gd name="connsiteX3" fmla="*/ 217539 w 435103"/>
                <a:gd name="connsiteY3" fmla="*/ 0 h 435077"/>
                <a:gd name="connsiteX4" fmla="*/ 435104 w 435103"/>
                <a:gd name="connsiteY4" fmla="*/ 0 h 435077"/>
                <a:gd name="connsiteX5" fmla="*/ 435104 w 435103"/>
                <a:gd name="connsiteY5" fmla="*/ 217539 h 435077"/>
                <a:gd name="connsiteX6" fmla="*/ 217565 w 435103"/>
                <a:gd name="connsiteY6" fmla="*/ 0 h 435077"/>
                <a:gd name="connsiteX7" fmla="*/ 435104 w 435103"/>
                <a:gd name="connsiteY7" fmla="*/ 0 h 435077"/>
                <a:gd name="connsiteX8" fmla="*/ 217565 w 435103"/>
                <a:gd name="connsiteY8" fmla="*/ 435077 h 435077"/>
                <a:gd name="connsiteX9" fmla="*/ 435104 w 435103"/>
                <a:gd name="connsiteY9" fmla="*/ 217539 h 435077"/>
                <a:gd name="connsiteX10" fmla="*/ 435104 w 435103"/>
                <a:gd name="connsiteY10" fmla="*/ 435077 h 435077"/>
                <a:gd name="connsiteX11" fmla="*/ 217565 w 435103"/>
                <a:gd name="connsiteY11" fmla="*/ 435077 h 435077"/>
                <a:gd name="connsiteX12" fmla="*/ 217565 w 435103"/>
                <a:gd name="connsiteY12" fmla="*/ 435077 h 435077"/>
                <a:gd name="connsiteX13" fmla="*/ 27 w 435103"/>
                <a:gd name="connsiteY13" fmla="*/ 217539 h 435077"/>
                <a:gd name="connsiteX14" fmla="*/ 27 w 435103"/>
                <a:gd name="connsiteY14" fmla="*/ 435077 h 435077"/>
                <a:gd name="connsiteX15" fmla="*/ 217565 w 435103"/>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3" h="435077">
                  <a:moveTo>
                    <a:pt x="217539" y="0"/>
                  </a:moveTo>
                  <a:lnTo>
                    <a:pt x="0" y="0"/>
                  </a:lnTo>
                  <a:lnTo>
                    <a:pt x="0" y="217539"/>
                  </a:lnTo>
                  <a:lnTo>
                    <a:pt x="217539" y="0"/>
                  </a:lnTo>
                  <a:close/>
                  <a:moveTo>
                    <a:pt x="435104" y="0"/>
                  </a:moveTo>
                  <a:lnTo>
                    <a:pt x="435104" y="217539"/>
                  </a:lnTo>
                  <a:lnTo>
                    <a:pt x="217565" y="0"/>
                  </a:lnTo>
                  <a:lnTo>
                    <a:pt x="435104" y="0"/>
                  </a:lnTo>
                  <a:close/>
                  <a:moveTo>
                    <a:pt x="217565" y="435077"/>
                  </a:moveTo>
                  <a:lnTo>
                    <a:pt x="435104" y="217539"/>
                  </a:lnTo>
                  <a:lnTo>
                    <a:pt x="435104" y="435077"/>
                  </a:lnTo>
                  <a:lnTo>
                    <a:pt x="217565" y="435077"/>
                  </a:lnTo>
                  <a:close/>
                  <a:moveTo>
                    <a:pt x="217565" y="435077"/>
                  </a:moveTo>
                  <a:lnTo>
                    <a:pt x="27" y="217539"/>
                  </a:lnTo>
                  <a:lnTo>
                    <a:pt x="27" y="435077"/>
                  </a:lnTo>
                  <a:lnTo>
                    <a:pt x="217565" y="435077"/>
                  </a:lnTo>
                  <a:close/>
                </a:path>
              </a:pathLst>
            </a:custGeom>
            <a:grpFill/>
            <a:ln w="27192" cap="flat">
              <a:noFill/>
              <a:prstDash val="solid"/>
              <a:miter/>
            </a:ln>
          </p:spPr>
          <p:txBody>
            <a:bodyPr rtlCol="0" anchor="ctr"/>
            <a:lstStyle/>
            <a:p>
              <a:endParaRPr lang="uk-UA" sz="900"/>
            </a:p>
          </p:txBody>
        </p:sp>
        <p:sp>
          <p:nvSpPr>
            <p:cNvPr id="454" name="Freeform: Shape 453">
              <a:extLst>
                <a:ext uri="{FF2B5EF4-FFF2-40B4-BE49-F238E27FC236}">
                  <a16:creationId xmlns:a16="http://schemas.microsoft.com/office/drawing/2014/main" id="{FC61C8E5-1E8C-A434-36F5-0F88859FE842}"/>
                </a:ext>
              </a:extLst>
            </p:cNvPr>
            <p:cNvSpPr/>
            <p:nvPr/>
          </p:nvSpPr>
          <p:spPr>
            <a:xfrm>
              <a:off x="13888200" y="12410767"/>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455" name="Freeform: Shape 454">
              <a:extLst>
                <a:ext uri="{FF2B5EF4-FFF2-40B4-BE49-F238E27FC236}">
                  <a16:creationId xmlns:a16="http://schemas.microsoft.com/office/drawing/2014/main" id="{9EEE6DF9-8BDD-4A1E-1AD5-6C34041078A0}"/>
                </a:ext>
              </a:extLst>
            </p:cNvPr>
            <p:cNvSpPr/>
            <p:nvPr/>
          </p:nvSpPr>
          <p:spPr>
            <a:xfrm>
              <a:off x="15628536" y="12410767"/>
              <a:ext cx="435077" cy="435077"/>
            </a:xfrm>
            <a:custGeom>
              <a:avLst/>
              <a:gdLst>
                <a:gd name="connsiteX0" fmla="*/ 371367 w 435077"/>
                <a:gd name="connsiteY0" fmla="*/ 63739 h 435077"/>
                <a:gd name="connsiteX1" fmla="*/ 435077 w 435077"/>
                <a:gd name="connsiteY1" fmla="*/ 217539 h 435077"/>
                <a:gd name="connsiteX2" fmla="*/ 217703 w 435077"/>
                <a:gd name="connsiteY2" fmla="*/ 217539 h 435077"/>
                <a:gd name="connsiteX3" fmla="*/ 371367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7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7" y="63739"/>
                  </a:moveTo>
                  <a:cubicBezTo>
                    <a:pt x="412155" y="104527"/>
                    <a:pt x="435077" y="159864"/>
                    <a:pt x="435077" y="217539"/>
                  </a:cubicBezTo>
                  <a:lnTo>
                    <a:pt x="217703" y="217539"/>
                  </a:lnTo>
                  <a:cubicBezTo>
                    <a:pt x="275351" y="217593"/>
                    <a:pt x="330605" y="240516"/>
                    <a:pt x="371367" y="281277"/>
                  </a:cubicBezTo>
                  <a:cubicBezTo>
                    <a:pt x="412155" y="322066"/>
                    <a:pt x="435077" y="377402"/>
                    <a:pt x="435077" y="435077"/>
                  </a:cubicBezTo>
                  <a:lnTo>
                    <a:pt x="217539" y="435077"/>
                  </a:lnTo>
                  <a:lnTo>
                    <a:pt x="0" y="435077"/>
                  </a:lnTo>
                  <a:cubicBezTo>
                    <a:pt x="0" y="377402"/>
                    <a:pt x="22924" y="322066"/>
                    <a:pt x="63712" y="281277"/>
                  </a:cubicBezTo>
                  <a:cubicBezTo>
                    <a:pt x="104474" y="240516"/>
                    <a:pt x="159728" y="217593"/>
                    <a:pt x="217376" y="217539"/>
                  </a:cubicBezTo>
                  <a:lnTo>
                    <a:pt x="0" y="217539"/>
                  </a:lnTo>
                  <a:cubicBezTo>
                    <a:pt x="0" y="159864"/>
                    <a:pt x="22924" y="104527"/>
                    <a:pt x="63712" y="63739"/>
                  </a:cubicBezTo>
                  <a:cubicBezTo>
                    <a:pt x="104501" y="22923"/>
                    <a:pt x="159836" y="0"/>
                    <a:pt x="217539" y="0"/>
                  </a:cubicBezTo>
                  <a:cubicBezTo>
                    <a:pt x="275241" y="0"/>
                    <a:pt x="330550" y="22923"/>
                    <a:pt x="371367" y="63739"/>
                  </a:cubicBezTo>
                  <a:close/>
                </a:path>
              </a:pathLst>
            </a:custGeom>
            <a:grpFill/>
            <a:ln w="27192" cap="flat">
              <a:noFill/>
              <a:prstDash val="solid"/>
              <a:miter/>
            </a:ln>
          </p:spPr>
          <p:txBody>
            <a:bodyPr rtlCol="0" anchor="ctr"/>
            <a:lstStyle/>
            <a:p>
              <a:endParaRPr lang="uk-UA" sz="900"/>
            </a:p>
          </p:txBody>
        </p:sp>
        <p:sp>
          <p:nvSpPr>
            <p:cNvPr id="456" name="Freeform: Shape 455">
              <a:extLst>
                <a:ext uri="{FF2B5EF4-FFF2-40B4-BE49-F238E27FC236}">
                  <a16:creationId xmlns:a16="http://schemas.microsoft.com/office/drawing/2014/main" id="{585511F8-73B0-05AE-CFC4-FFD020A424EA}"/>
                </a:ext>
              </a:extLst>
            </p:cNvPr>
            <p:cNvSpPr/>
            <p:nvPr/>
          </p:nvSpPr>
          <p:spPr>
            <a:xfrm>
              <a:off x="16498665" y="12410767"/>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51 w 435077"/>
                <a:gd name="connsiteY7" fmla="*/ 217566 h 435077"/>
                <a:gd name="connsiteX8" fmla="*/ 435077 w 435077"/>
                <a:gd name="connsiteY8" fmla="*/ 217566 h 435077"/>
                <a:gd name="connsiteX9" fmla="*/ 435051 w 435077"/>
                <a:gd name="connsiteY9" fmla="*/ 217539 h 435077"/>
                <a:gd name="connsiteX10" fmla="*/ 435077 w 435077"/>
                <a:gd name="connsiteY10" fmla="*/ 217539 h 435077"/>
                <a:gd name="connsiteX11" fmla="*/ 435051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51" y="217566"/>
                  </a:lnTo>
                  <a:lnTo>
                    <a:pt x="435077" y="217566"/>
                  </a:lnTo>
                  <a:lnTo>
                    <a:pt x="435051" y="217539"/>
                  </a:lnTo>
                  <a:lnTo>
                    <a:pt x="435077" y="217539"/>
                  </a:lnTo>
                  <a:lnTo>
                    <a:pt x="435051"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457" name="Freeform: Shape 456">
              <a:extLst>
                <a:ext uri="{FF2B5EF4-FFF2-40B4-BE49-F238E27FC236}">
                  <a16:creationId xmlns:a16="http://schemas.microsoft.com/office/drawing/2014/main" id="{093AD73A-696C-9222-739F-D82F2A32F623}"/>
                </a:ext>
              </a:extLst>
            </p:cNvPr>
            <p:cNvSpPr/>
            <p:nvPr/>
          </p:nvSpPr>
          <p:spPr>
            <a:xfrm>
              <a:off x="18239029" y="12410767"/>
              <a:ext cx="435077" cy="435077"/>
            </a:xfrm>
            <a:custGeom>
              <a:avLst/>
              <a:gdLst>
                <a:gd name="connsiteX0" fmla="*/ 217539 w 435077"/>
                <a:gd name="connsiteY0" fmla="*/ 0 h 435077"/>
                <a:gd name="connsiteX1" fmla="*/ 217539 w 435077"/>
                <a:gd name="connsiteY1" fmla="*/ 0 h 435077"/>
                <a:gd name="connsiteX2" fmla="*/ 0 w 435077"/>
                <a:gd name="connsiteY2" fmla="*/ 0 h 435077"/>
                <a:gd name="connsiteX3" fmla="*/ 0 w 435077"/>
                <a:gd name="connsiteY3" fmla="*/ 217539 h 435077"/>
                <a:gd name="connsiteX4" fmla="*/ 217539 w 435077"/>
                <a:gd name="connsiteY4" fmla="*/ 27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217539" y="0"/>
                  </a:lnTo>
                  <a:lnTo>
                    <a:pt x="0" y="0"/>
                  </a:lnTo>
                  <a:lnTo>
                    <a:pt x="0" y="217539"/>
                  </a:lnTo>
                  <a:lnTo>
                    <a:pt x="217539" y="27"/>
                  </a:lnTo>
                  <a:lnTo>
                    <a:pt x="435077" y="217539"/>
                  </a:lnTo>
                  <a:lnTo>
                    <a:pt x="217539" y="435077"/>
                  </a:lnTo>
                  <a:lnTo>
                    <a:pt x="0" y="217539"/>
                  </a:lnTo>
                  <a:lnTo>
                    <a:pt x="0" y="435077"/>
                  </a:lnTo>
                  <a:lnTo>
                    <a:pt x="217539" y="435077"/>
                  </a:lnTo>
                  <a:lnTo>
                    <a:pt x="435077" y="435077"/>
                  </a:lnTo>
                  <a:lnTo>
                    <a:pt x="435077" y="217539"/>
                  </a:lnTo>
                  <a:lnTo>
                    <a:pt x="435077" y="0"/>
                  </a:lnTo>
                  <a:lnTo>
                    <a:pt x="217539" y="0"/>
                  </a:lnTo>
                  <a:close/>
                </a:path>
              </a:pathLst>
            </a:custGeom>
            <a:grpFill/>
            <a:ln w="27192" cap="flat">
              <a:noFill/>
              <a:prstDash val="solid"/>
              <a:miter/>
            </a:ln>
          </p:spPr>
          <p:txBody>
            <a:bodyPr rtlCol="0" anchor="ctr"/>
            <a:lstStyle/>
            <a:p>
              <a:endParaRPr lang="uk-UA" sz="900"/>
            </a:p>
          </p:txBody>
        </p:sp>
        <p:sp>
          <p:nvSpPr>
            <p:cNvPr id="458" name="Freeform: Shape 457">
              <a:extLst>
                <a:ext uri="{FF2B5EF4-FFF2-40B4-BE49-F238E27FC236}">
                  <a16:creationId xmlns:a16="http://schemas.microsoft.com/office/drawing/2014/main" id="{F11DC4A2-B9EF-D988-685B-49785B4CDE67}"/>
                </a:ext>
              </a:extLst>
            </p:cNvPr>
            <p:cNvSpPr/>
            <p:nvPr/>
          </p:nvSpPr>
          <p:spPr>
            <a:xfrm>
              <a:off x="17368846" y="12410767"/>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67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67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67" y="435105"/>
                  </a:lnTo>
                  <a:lnTo>
                    <a:pt x="435077" y="217566"/>
                  </a:lnTo>
                  <a:lnTo>
                    <a:pt x="435077" y="435105"/>
                  </a:lnTo>
                  <a:close/>
                  <a:moveTo>
                    <a:pt x="435077" y="27"/>
                  </a:moveTo>
                  <a:lnTo>
                    <a:pt x="217567"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459" name="Freeform: Shape 458">
              <a:extLst>
                <a:ext uri="{FF2B5EF4-FFF2-40B4-BE49-F238E27FC236}">
                  <a16:creationId xmlns:a16="http://schemas.microsoft.com/office/drawing/2014/main" id="{0AAFE614-6CCC-17A2-AE5D-5F282B7D007F}"/>
                </a:ext>
              </a:extLst>
            </p:cNvPr>
            <p:cNvSpPr/>
            <p:nvPr/>
          </p:nvSpPr>
          <p:spPr>
            <a:xfrm>
              <a:off x="19109184" y="12410767"/>
              <a:ext cx="435077" cy="435077"/>
            </a:xfrm>
            <a:custGeom>
              <a:avLst/>
              <a:gdLst>
                <a:gd name="connsiteX0" fmla="*/ 371365 w 435077"/>
                <a:gd name="connsiteY0" fmla="*/ 63739 h 435077"/>
                <a:gd name="connsiteX1" fmla="*/ 435077 w 435077"/>
                <a:gd name="connsiteY1" fmla="*/ 217539 h 435077"/>
                <a:gd name="connsiteX2" fmla="*/ 217701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0 w 435077"/>
                <a:gd name="connsiteY7" fmla="*/ 281277 h 435077"/>
                <a:gd name="connsiteX8" fmla="*/ 217374 w 435077"/>
                <a:gd name="connsiteY8" fmla="*/ 217539 h 435077"/>
                <a:gd name="connsiteX9" fmla="*/ 0 w 435077"/>
                <a:gd name="connsiteY9" fmla="*/ 217539 h 435077"/>
                <a:gd name="connsiteX10" fmla="*/ 63710 w 435077"/>
                <a:gd name="connsiteY10" fmla="*/ 63739 h 435077"/>
                <a:gd name="connsiteX11" fmla="*/ 217539 w 435077"/>
                <a:gd name="connsiteY11" fmla="*/ 0 h 435077"/>
                <a:gd name="connsiteX12" fmla="*/ 371365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39"/>
                  </a:moveTo>
                  <a:cubicBezTo>
                    <a:pt x="412154" y="104527"/>
                    <a:pt x="435077" y="159864"/>
                    <a:pt x="435077" y="217539"/>
                  </a:cubicBezTo>
                  <a:lnTo>
                    <a:pt x="217701" y="217539"/>
                  </a:lnTo>
                  <a:cubicBezTo>
                    <a:pt x="275349" y="217593"/>
                    <a:pt x="330603" y="240516"/>
                    <a:pt x="371365" y="281277"/>
                  </a:cubicBezTo>
                  <a:cubicBezTo>
                    <a:pt x="412154" y="322066"/>
                    <a:pt x="435077" y="377402"/>
                    <a:pt x="435077" y="435077"/>
                  </a:cubicBezTo>
                  <a:lnTo>
                    <a:pt x="217539" y="435077"/>
                  </a:lnTo>
                  <a:lnTo>
                    <a:pt x="0" y="435077"/>
                  </a:lnTo>
                  <a:cubicBezTo>
                    <a:pt x="0" y="377402"/>
                    <a:pt x="22922" y="322066"/>
                    <a:pt x="63710" y="281277"/>
                  </a:cubicBezTo>
                  <a:cubicBezTo>
                    <a:pt x="104472" y="240516"/>
                    <a:pt x="159755" y="217593"/>
                    <a:pt x="217374" y="217539"/>
                  </a:cubicBezTo>
                  <a:lnTo>
                    <a:pt x="0" y="217539"/>
                  </a:lnTo>
                  <a:cubicBezTo>
                    <a:pt x="0" y="159864"/>
                    <a:pt x="22922" y="104527"/>
                    <a:pt x="63710" y="63739"/>
                  </a:cubicBezTo>
                  <a:cubicBezTo>
                    <a:pt x="104527" y="22923"/>
                    <a:pt x="159836" y="0"/>
                    <a:pt x="217539" y="0"/>
                  </a:cubicBezTo>
                  <a:cubicBezTo>
                    <a:pt x="275241" y="0"/>
                    <a:pt x="330577" y="22923"/>
                    <a:pt x="371365" y="63739"/>
                  </a:cubicBezTo>
                  <a:close/>
                </a:path>
              </a:pathLst>
            </a:custGeom>
            <a:grpFill/>
            <a:ln w="27192" cap="flat">
              <a:noFill/>
              <a:prstDash val="solid"/>
              <a:miter/>
            </a:ln>
          </p:spPr>
          <p:txBody>
            <a:bodyPr rtlCol="0" anchor="ctr"/>
            <a:lstStyle/>
            <a:p>
              <a:endParaRPr lang="uk-UA" sz="900"/>
            </a:p>
          </p:txBody>
        </p:sp>
        <p:sp>
          <p:nvSpPr>
            <p:cNvPr id="460" name="Freeform: Shape 459">
              <a:extLst>
                <a:ext uri="{FF2B5EF4-FFF2-40B4-BE49-F238E27FC236}">
                  <a16:creationId xmlns:a16="http://schemas.microsoft.com/office/drawing/2014/main" id="{A444EC64-D563-3A08-0C90-B680D8CE504E}"/>
                </a:ext>
              </a:extLst>
            </p:cNvPr>
            <p:cNvSpPr/>
            <p:nvPr/>
          </p:nvSpPr>
          <p:spPr>
            <a:xfrm>
              <a:off x="19979339" y="12410767"/>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461" name="Freeform: Shape 460">
              <a:extLst>
                <a:ext uri="{FF2B5EF4-FFF2-40B4-BE49-F238E27FC236}">
                  <a16:creationId xmlns:a16="http://schemas.microsoft.com/office/drawing/2014/main" id="{30B8CF3E-3FA9-3438-D11B-98A39A8E9031}"/>
                </a:ext>
              </a:extLst>
            </p:cNvPr>
            <p:cNvSpPr/>
            <p:nvPr/>
          </p:nvSpPr>
          <p:spPr>
            <a:xfrm>
              <a:off x="21719675" y="12410767"/>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462" name="Freeform: Shape 461">
              <a:extLst>
                <a:ext uri="{FF2B5EF4-FFF2-40B4-BE49-F238E27FC236}">
                  <a16:creationId xmlns:a16="http://schemas.microsoft.com/office/drawing/2014/main" id="{FC5EB1E3-A944-749B-A22F-D862EC5C49FB}"/>
                </a:ext>
              </a:extLst>
            </p:cNvPr>
            <p:cNvSpPr/>
            <p:nvPr/>
          </p:nvSpPr>
          <p:spPr>
            <a:xfrm>
              <a:off x="20849520" y="12410767"/>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463" name="Freeform: Shape 462">
              <a:extLst>
                <a:ext uri="{FF2B5EF4-FFF2-40B4-BE49-F238E27FC236}">
                  <a16:creationId xmlns:a16="http://schemas.microsoft.com/office/drawing/2014/main" id="{CDCA25D9-E315-923D-19B1-A2016150E365}"/>
                </a:ext>
              </a:extLst>
            </p:cNvPr>
            <p:cNvSpPr/>
            <p:nvPr/>
          </p:nvSpPr>
          <p:spPr>
            <a:xfrm>
              <a:off x="22589856" y="12410767"/>
              <a:ext cx="435077" cy="435077"/>
            </a:xfrm>
            <a:custGeom>
              <a:avLst/>
              <a:gdLst>
                <a:gd name="connsiteX0" fmla="*/ 371367 w 435077"/>
                <a:gd name="connsiteY0" fmla="*/ 63739 h 435077"/>
                <a:gd name="connsiteX1" fmla="*/ 435077 w 435077"/>
                <a:gd name="connsiteY1" fmla="*/ 217539 h 435077"/>
                <a:gd name="connsiteX2" fmla="*/ 217703 w 435077"/>
                <a:gd name="connsiteY2" fmla="*/ 217539 h 435077"/>
                <a:gd name="connsiteX3" fmla="*/ 371367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7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7" y="63739"/>
                  </a:moveTo>
                  <a:cubicBezTo>
                    <a:pt x="412155" y="104527"/>
                    <a:pt x="435077" y="159864"/>
                    <a:pt x="435077" y="217539"/>
                  </a:cubicBezTo>
                  <a:lnTo>
                    <a:pt x="217703" y="217539"/>
                  </a:lnTo>
                  <a:cubicBezTo>
                    <a:pt x="275351" y="217593"/>
                    <a:pt x="330605" y="240516"/>
                    <a:pt x="371367" y="281277"/>
                  </a:cubicBezTo>
                  <a:cubicBezTo>
                    <a:pt x="412155" y="322066"/>
                    <a:pt x="435077" y="377402"/>
                    <a:pt x="435077" y="435077"/>
                  </a:cubicBezTo>
                  <a:lnTo>
                    <a:pt x="217539" y="435077"/>
                  </a:lnTo>
                  <a:lnTo>
                    <a:pt x="0" y="435077"/>
                  </a:lnTo>
                  <a:cubicBezTo>
                    <a:pt x="0" y="377402"/>
                    <a:pt x="22924" y="322066"/>
                    <a:pt x="63712" y="281277"/>
                  </a:cubicBezTo>
                  <a:cubicBezTo>
                    <a:pt x="104474" y="240516"/>
                    <a:pt x="159728" y="217593"/>
                    <a:pt x="217376" y="217539"/>
                  </a:cubicBezTo>
                  <a:lnTo>
                    <a:pt x="0" y="217539"/>
                  </a:lnTo>
                  <a:cubicBezTo>
                    <a:pt x="0" y="159864"/>
                    <a:pt x="22924" y="104527"/>
                    <a:pt x="63712" y="63739"/>
                  </a:cubicBezTo>
                  <a:cubicBezTo>
                    <a:pt x="104501" y="22923"/>
                    <a:pt x="159838" y="0"/>
                    <a:pt x="217539" y="0"/>
                  </a:cubicBezTo>
                  <a:cubicBezTo>
                    <a:pt x="275215" y="0"/>
                    <a:pt x="330550" y="22923"/>
                    <a:pt x="371367" y="63739"/>
                  </a:cubicBezTo>
                  <a:close/>
                </a:path>
              </a:pathLst>
            </a:custGeom>
            <a:grpFill/>
            <a:ln w="27192" cap="flat">
              <a:noFill/>
              <a:prstDash val="solid"/>
              <a:miter/>
            </a:ln>
          </p:spPr>
          <p:txBody>
            <a:bodyPr rtlCol="0" anchor="ctr"/>
            <a:lstStyle/>
            <a:p>
              <a:endParaRPr lang="uk-UA" sz="900"/>
            </a:p>
          </p:txBody>
        </p:sp>
        <p:sp>
          <p:nvSpPr>
            <p:cNvPr id="464" name="Freeform: Shape 463">
              <a:extLst>
                <a:ext uri="{FF2B5EF4-FFF2-40B4-BE49-F238E27FC236}">
                  <a16:creationId xmlns:a16="http://schemas.microsoft.com/office/drawing/2014/main" id="{C4CBE83B-148E-88D4-73B5-4433777B931D}"/>
                </a:ext>
              </a:extLst>
            </p:cNvPr>
            <p:cNvSpPr/>
            <p:nvPr/>
          </p:nvSpPr>
          <p:spPr>
            <a:xfrm>
              <a:off x="23460011" y="12410767"/>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465" name="Freeform: Shape 464">
              <a:extLst>
                <a:ext uri="{FF2B5EF4-FFF2-40B4-BE49-F238E27FC236}">
                  <a16:creationId xmlns:a16="http://schemas.microsoft.com/office/drawing/2014/main" id="{B28673B4-CF7C-60FD-9C7B-129E02172056}"/>
                </a:ext>
              </a:extLst>
            </p:cNvPr>
            <p:cNvSpPr/>
            <p:nvPr/>
          </p:nvSpPr>
          <p:spPr>
            <a:xfrm>
              <a:off x="24330194" y="12410767"/>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466" name="Freeform: Shape 465">
              <a:extLst>
                <a:ext uri="{FF2B5EF4-FFF2-40B4-BE49-F238E27FC236}">
                  <a16:creationId xmlns:a16="http://schemas.microsoft.com/office/drawing/2014/main" id="{4C80F170-4E82-BD83-3978-0CB7DD0EFF28}"/>
                </a:ext>
              </a:extLst>
            </p:cNvPr>
            <p:cNvSpPr/>
            <p:nvPr/>
          </p:nvSpPr>
          <p:spPr>
            <a:xfrm>
              <a:off x="835742" y="13280949"/>
              <a:ext cx="435077" cy="435050"/>
            </a:xfrm>
            <a:custGeom>
              <a:avLst/>
              <a:gdLst>
                <a:gd name="connsiteX0" fmla="*/ 435077 w 435077"/>
                <a:gd name="connsiteY0" fmla="*/ 435050 h 435050"/>
                <a:gd name="connsiteX1" fmla="*/ 435077 w 435077"/>
                <a:gd name="connsiteY1" fmla="*/ 0 h 435050"/>
                <a:gd name="connsiteX2" fmla="*/ 217566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39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66" y="217539"/>
                  </a:lnTo>
                  <a:lnTo>
                    <a:pt x="435077" y="435050"/>
                  </a:lnTo>
                  <a:close/>
                  <a:moveTo>
                    <a:pt x="0" y="435050"/>
                  </a:moveTo>
                  <a:lnTo>
                    <a:pt x="0" y="0"/>
                  </a:lnTo>
                  <a:lnTo>
                    <a:pt x="217539" y="217539"/>
                  </a:lnTo>
                  <a:lnTo>
                    <a:pt x="0" y="435050"/>
                  </a:lnTo>
                  <a:close/>
                </a:path>
              </a:pathLst>
            </a:custGeom>
            <a:grpFill/>
            <a:ln w="27192" cap="flat">
              <a:noFill/>
              <a:prstDash val="solid"/>
              <a:miter/>
            </a:ln>
          </p:spPr>
          <p:txBody>
            <a:bodyPr rtlCol="0" anchor="ctr"/>
            <a:lstStyle/>
            <a:p>
              <a:endParaRPr lang="uk-UA" sz="900"/>
            </a:p>
          </p:txBody>
        </p:sp>
        <p:sp>
          <p:nvSpPr>
            <p:cNvPr id="467" name="Freeform: Shape 466">
              <a:extLst>
                <a:ext uri="{FF2B5EF4-FFF2-40B4-BE49-F238E27FC236}">
                  <a16:creationId xmlns:a16="http://schemas.microsoft.com/office/drawing/2014/main" id="{2D7F812A-652D-ACFB-EFC9-4D91EAFC751F}"/>
                </a:ext>
              </a:extLst>
            </p:cNvPr>
            <p:cNvSpPr/>
            <p:nvPr/>
          </p:nvSpPr>
          <p:spPr>
            <a:xfrm>
              <a:off x="-34412" y="1328092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468" name="Freeform: Shape 467">
              <a:extLst>
                <a:ext uri="{FF2B5EF4-FFF2-40B4-BE49-F238E27FC236}">
                  <a16:creationId xmlns:a16="http://schemas.microsoft.com/office/drawing/2014/main" id="{8C69D1DA-C161-74DF-B711-B8321884E1B8}"/>
                </a:ext>
              </a:extLst>
            </p:cNvPr>
            <p:cNvSpPr/>
            <p:nvPr/>
          </p:nvSpPr>
          <p:spPr>
            <a:xfrm>
              <a:off x="1705924" y="13280922"/>
              <a:ext cx="435077" cy="435077"/>
            </a:xfrm>
            <a:custGeom>
              <a:avLst/>
              <a:gdLst>
                <a:gd name="connsiteX0" fmla="*/ 63711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1 w 435077"/>
                <a:gd name="connsiteY6" fmla="*/ 153827 h 435077"/>
                <a:gd name="connsiteX7" fmla="*/ 63711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11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1" y="153827"/>
                  </a:moveTo>
                  <a:cubicBezTo>
                    <a:pt x="22923" y="113039"/>
                    <a:pt x="0" y="57702"/>
                    <a:pt x="0" y="0"/>
                  </a:cubicBezTo>
                  <a:lnTo>
                    <a:pt x="217539" y="0"/>
                  </a:lnTo>
                  <a:lnTo>
                    <a:pt x="435077" y="0"/>
                  </a:lnTo>
                  <a:cubicBezTo>
                    <a:pt x="435077" y="57702"/>
                    <a:pt x="412154" y="113039"/>
                    <a:pt x="371366" y="153827"/>
                  </a:cubicBezTo>
                  <a:cubicBezTo>
                    <a:pt x="330550" y="194642"/>
                    <a:pt x="275213" y="217539"/>
                    <a:pt x="217539" y="217539"/>
                  </a:cubicBezTo>
                  <a:cubicBezTo>
                    <a:pt x="159836" y="217539"/>
                    <a:pt x="104500" y="194642"/>
                    <a:pt x="63711" y="153827"/>
                  </a:cubicBezTo>
                  <a:close/>
                  <a:moveTo>
                    <a:pt x="63711" y="281277"/>
                  </a:moveTo>
                  <a:cubicBezTo>
                    <a:pt x="22923" y="322066"/>
                    <a:pt x="0" y="377402"/>
                    <a:pt x="0" y="435077"/>
                  </a:cubicBezTo>
                  <a:lnTo>
                    <a:pt x="217539" y="435077"/>
                  </a:lnTo>
                  <a:lnTo>
                    <a:pt x="435077" y="435077"/>
                  </a:lnTo>
                  <a:cubicBezTo>
                    <a:pt x="435077" y="377402"/>
                    <a:pt x="412154" y="322066"/>
                    <a:pt x="371366" y="281277"/>
                  </a:cubicBezTo>
                  <a:cubicBezTo>
                    <a:pt x="330550" y="240462"/>
                    <a:pt x="275213" y="217539"/>
                    <a:pt x="217539" y="217539"/>
                  </a:cubicBezTo>
                  <a:cubicBezTo>
                    <a:pt x="159836" y="217539"/>
                    <a:pt x="104500" y="240462"/>
                    <a:pt x="63711" y="281277"/>
                  </a:cubicBezTo>
                  <a:close/>
                </a:path>
              </a:pathLst>
            </a:custGeom>
            <a:grpFill/>
            <a:ln w="27192" cap="flat">
              <a:noFill/>
              <a:prstDash val="solid"/>
              <a:miter/>
            </a:ln>
          </p:spPr>
          <p:txBody>
            <a:bodyPr rtlCol="0" anchor="ctr"/>
            <a:lstStyle/>
            <a:p>
              <a:endParaRPr lang="uk-UA" sz="900"/>
            </a:p>
          </p:txBody>
        </p:sp>
        <p:sp>
          <p:nvSpPr>
            <p:cNvPr id="469" name="Freeform: Shape 468">
              <a:extLst>
                <a:ext uri="{FF2B5EF4-FFF2-40B4-BE49-F238E27FC236}">
                  <a16:creationId xmlns:a16="http://schemas.microsoft.com/office/drawing/2014/main" id="{802110FB-C98E-1180-FC29-E1A7555E1405}"/>
                </a:ext>
              </a:extLst>
            </p:cNvPr>
            <p:cNvSpPr/>
            <p:nvPr/>
          </p:nvSpPr>
          <p:spPr>
            <a:xfrm>
              <a:off x="2576079" y="1328092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6 w 435077"/>
                <a:gd name="connsiteY3" fmla="*/ 27 h 435077"/>
                <a:gd name="connsiteX4" fmla="*/ 435077 w 435077"/>
                <a:gd name="connsiteY4" fmla="*/ 217566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6" y="27"/>
                  </a:lnTo>
                  <a:lnTo>
                    <a:pt x="435077" y="217566"/>
                  </a:lnTo>
                  <a:lnTo>
                    <a:pt x="217566"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470" name="Freeform: Shape 469">
              <a:extLst>
                <a:ext uri="{FF2B5EF4-FFF2-40B4-BE49-F238E27FC236}">
                  <a16:creationId xmlns:a16="http://schemas.microsoft.com/office/drawing/2014/main" id="{2093B8E9-E86A-8E63-5D9F-1A45566120B1}"/>
                </a:ext>
              </a:extLst>
            </p:cNvPr>
            <p:cNvSpPr/>
            <p:nvPr/>
          </p:nvSpPr>
          <p:spPr>
            <a:xfrm>
              <a:off x="4316416" y="13280949"/>
              <a:ext cx="435077" cy="435050"/>
            </a:xfrm>
            <a:custGeom>
              <a:avLst/>
              <a:gdLst>
                <a:gd name="connsiteX0" fmla="*/ 435077 w 435077"/>
                <a:gd name="connsiteY0" fmla="*/ 435050 h 435050"/>
                <a:gd name="connsiteX1" fmla="*/ 435077 w 435077"/>
                <a:gd name="connsiteY1" fmla="*/ 0 h 435050"/>
                <a:gd name="connsiteX2" fmla="*/ 217565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39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65" y="217539"/>
                  </a:lnTo>
                  <a:lnTo>
                    <a:pt x="435077" y="435050"/>
                  </a:lnTo>
                  <a:close/>
                  <a:moveTo>
                    <a:pt x="0" y="435050"/>
                  </a:moveTo>
                  <a:lnTo>
                    <a:pt x="0" y="0"/>
                  </a:lnTo>
                  <a:lnTo>
                    <a:pt x="217539" y="217539"/>
                  </a:lnTo>
                  <a:lnTo>
                    <a:pt x="0" y="435050"/>
                  </a:lnTo>
                  <a:close/>
                </a:path>
              </a:pathLst>
            </a:custGeom>
            <a:grpFill/>
            <a:ln w="27192" cap="flat">
              <a:noFill/>
              <a:prstDash val="solid"/>
              <a:miter/>
            </a:ln>
          </p:spPr>
          <p:txBody>
            <a:bodyPr rtlCol="0" anchor="ctr"/>
            <a:lstStyle/>
            <a:p>
              <a:endParaRPr lang="uk-UA" sz="900"/>
            </a:p>
          </p:txBody>
        </p:sp>
        <p:sp>
          <p:nvSpPr>
            <p:cNvPr id="471" name="Freeform: Shape 470">
              <a:extLst>
                <a:ext uri="{FF2B5EF4-FFF2-40B4-BE49-F238E27FC236}">
                  <a16:creationId xmlns:a16="http://schemas.microsoft.com/office/drawing/2014/main" id="{736788DD-607C-AF00-49CC-A3C89133D47C}"/>
                </a:ext>
              </a:extLst>
            </p:cNvPr>
            <p:cNvSpPr/>
            <p:nvPr/>
          </p:nvSpPr>
          <p:spPr>
            <a:xfrm>
              <a:off x="3446261" y="1328092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472" name="Freeform: Shape 471">
              <a:extLst>
                <a:ext uri="{FF2B5EF4-FFF2-40B4-BE49-F238E27FC236}">
                  <a16:creationId xmlns:a16="http://schemas.microsoft.com/office/drawing/2014/main" id="{6E950A50-8D86-DC55-1889-B74B40E53E61}"/>
                </a:ext>
              </a:extLst>
            </p:cNvPr>
            <p:cNvSpPr/>
            <p:nvPr/>
          </p:nvSpPr>
          <p:spPr>
            <a:xfrm>
              <a:off x="5186571" y="13280922"/>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39 w 435077"/>
                <a:gd name="connsiteY6" fmla="*/ 153827 h 435077"/>
                <a:gd name="connsiteX7" fmla="*/ 63739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77 h 435077"/>
                <a:gd name="connsiteX12" fmla="*/ 217539 w 435077"/>
                <a:gd name="connsiteY12" fmla="*/ 217539 h 435077"/>
                <a:gd name="connsiteX13" fmla="*/ 63739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3" y="113039"/>
                    <a:pt x="0" y="57702"/>
                    <a:pt x="0" y="0"/>
                  </a:cubicBezTo>
                  <a:lnTo>
                    <a:pt x="217539" y="0"/>
                  </a:lnTo>
                  <a:lnTo>
                    <a:pt x="435077" y="0"/>
                  </a:lnTo>
                  <a:cubicBezTo>
                    <a:pt x="435077" y="57702"/>
                    <a:pt x="412181" y="113039"/>
                    <a:pt x="371365" y="153827"/>
                  </a:cubicBezTo>
                  <a:cubicBezTo>
                    <a:pt x="330577" y="194642"/>
                    <a:pt x="275240" y="217539"/>
                    <a:pt x="217539" y="217539"/>
                  </a:cubicBezTo>
                  <a:cubicBezTo>
                    <a:pt x="159864" y="217539"/>
                    <a:pt x="104527" y="194642"/>
                    <a:pt x="63739" y="153827"/>
                  </a:cubicBezTo>
                  <a:close/>
                  <a:moveTo>
                    <a:pt x="63739" y="281277"/>
                  </a:moveTo>
                  <a:cubicBezTo>
                    <a:pt x="22923" y="322066"/>
                    <a:pt x="0" y="377402"/>
                    <a:pt x="0" y="435077"/>
                  </a:cubicBezTo>
                  <a:lnTo>
                    <a:pt x="217539" y="435077"/>
                  </a:lnTo>
                  <a:lnTo>
                    <a:pt x="435077" y="435077"/>
                  </a:lnTo>
                  <a:cubicBezTo>
                    <a:pt x="435077" y="377402"/>
                    <a:pt x="412181" y="322066"/>
                    <a:pt x="371365" y="281277"/>
                  </a:cubicBezTo>
                  <a:cubicBezTo>
                    <a:pt x="330577" y="240462"/>
                    <a:pt x="275240" y="217539"/>
                    <a:pt x="217539" y="217539"/>
                  </a:cubicBezTo>
                  <a:cubicBezTo>
                    <a:pt x="159864" y="217539"/>
                    <a:pt x="104527" y="240462"/>
                    <a:pt x="63739" y="281277"/>
                  </a:cubicBezTo>
                  <a:close/>
                </a:path>
              </a:pathLst>
            </a:custGeom>
            <a:grpFill/>
            <a:ln w="27192" cap="flat">
              <a:noFill/>
              <a:prstDash val="solid"/>
              <a:miter/>
            </a:ln>
          </p:spPr>
          <p:txBody>
            <a:bodyPr rtlCol="0" anchor="ctr"/>
            <a:lstStyle/>
            <a:p>
              <a:endParaRPr lang="uk-UA" sz="900"/>
            </a:p>
          </p:txBody>
        </p:sp>
        <p:sp>
          <p:nvSpPr>
            <p:cNvPr id="473" name="Freeform: Shape 472">
              <a:extLst>
                <a:ext uri="{FF2B5EF4-FFF2-40B4-BE49-F238E27FC236}">
                  <a16:creationId xmlns:a16="http://schemas.microsoft.com/office/drawing/2014/main" id="{E16BAEF5-65D7-B890-8251-9BEB36A5AEF5}"/>
                </a:ext>
              </a:extLst>
            </p:cNvPr>
            <p:cNvSpPr/>
            <p:nvPr/>
          </p:nvSpPr>
          <p:spPr>
            <a:xfrm>
              <a:off x="6056725" y="1328092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5 w 435077"/>
                <a:gd name="connsiteY3" fmla="*/ 27 h 435077"/>
                <a:gd name="connsiteX4" fmla="*/ 435077 w 435077"/>
                <a:gd name="connsiteY4" fmla="*/ 217566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5" y="27"/>
                  </a:lnTo>
                  <a:lnTo>
                    <a:pt x="435077" y="217566"/>
                  </a:lnTo>
                  <a:lnTo>
                    <a:pt x="217565"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474" name="Freeform: Shape 473">
              <a:extLst>
                <a:ext uri="{FF2B5EF4-FFF2-40B4-BE49-F238E27FC236}">
                  <a16:creationId xmlns:a16="http://schemas.microsoft.com/office/drawing/2014/main" id="{610199A5-9A93-8D11-D240-36FC5E5BB08B}"/>
                </a:ext>
              </a:extLst>
            </p:cNvPr>
            <p:cNvSpPr/>
            <p:nvPr/>
          </p:nvSpPr>
          <p:spPr>
            <a:xfrm>
              <a:off x="7797062" y="13280949"/>
              <a:ext cx="435077" cy="435050"/>
            </a:xfrm>
            <a:custGeom>
              <a:avLst/>
              <a:gdLst>
                <a:gd name="connsiteX0" fmla="*/ 435077 w 435077"/>
                <a:gd name="connsiteY0" fmla="*/ 435050 h 435050"/>
                <a:gd name="connsiteX1" fmla="*/ 435077 w 435077"/>
                <a:gd name="connsiteY1" fmla="*/ 0 h 435050"/>
                <a:gd name="connsiteX2" fmla="*/ 217566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39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66" y="217539"/>
                  </a:lnTo>
                  <a:lnTo>
                    <a:pt x="435077" y="435050"/>
                  </a:lnTo>
                  <a:close/>
                  <a:moveTo>
                    <a:pt x="0" y="435050"/>
                  </a:moveTo>
                  <a:lnTo>
                    <a:pt x="0" y="0"/>
                  </a:lnTo>
                  <a:lnTo>
                    <a:pt x="217539" y="217539"/>
                  </a:lnTo>
                  <a:lnTo>
                    <a:pt x="0" y="435050"/>
                  </a:lnTo>
                  <a:close/>
                </a:path>
              </a:pathLst>
            </a:custGeom>
            <a:grpFill/>
            <a:ln w="27192" cap="flat">
              <a:noFill/>
              <a:prstDash val="solid"/>
              <a:miter/>
            </a:ln>
          </p:spPr>
          <p:txBody>
            <a:bodyPr rtlCol="0" anchor="ctr"/>
            <a:lstStyle/>
            <a:p>
              <a:endParaRPr lang="uk-UA" sz="900"/>
            </a:p>
          </p:txBody>
        </p:sp>
        <p:sp>
          <p:nvSpPr>
            <p:cNvPr id="475" name="Freeform: Shape 474">
              <a:extLst>
                <a:ext uri="{FF2B5EF4-FFF2-40B4-BE49-F238E27FC236}">
                  <a16:creationId xmlns:a16="http://schemas.microsoft.com/office/drawing/2014/main" id="{50084ADA-928C-F35E-304B-AC34D44B59F4}"/>
                </a:ext>
              </a:extLst>
            </p:cNvPr>
            <p:cNvSpPr/>
            <p:nvPr/>
          </p:nvSpPr>
          <p:spPr>
            <a:xfrm>
              <a:off x="6926907" y="13280922"/>
              <a:ext cx="435077" cy="435077"/>
            </a:xfrm>
            <a:custGeom>
              <a:avLst/>
              <a:gdLst>
                <a:gd name="connsiteX0" fmla="*/ 0 w 435077"/>
                <a:gd name="connsiteY0" fmla="*/ 435077 h 435077"/>
                <a:gd name="connsiteX1" fmla="*/ 0 w 435077"/>
                <a:gd name="connsiteY1" fmla="*/ 0 h 435077"/>
                <a:gd name="connsiteX2" fmla="*/ 217512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12"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476" name="Freeform: Shape 475">
              <a:extLst>
                <a:ext uri="{FF2B5EF4-FFF2-40B4-BE49-F238E27FC236}">
                  <a16:creationId xmlns:a16="http://schemas.microsoft.com/office/drawing/2014/main" id="{28030654-0F6D-5044-485D-2E7996BAB484}"/>
                </a:ext>
              </a:extLst>
            </p:cNvPr>
            <p:cNvSpPr/>
            <p:nvPr/>
          </p:nvSpPr>
          <p:spPr>
            <a:xfrm>
              <a:off x="8667217" y="1328092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6" y="153827"/>
                  </a:cubicBezTo>
                  <a:cubicBezTo>
                    <a:pt x="330550" y="194642"/>
                    <a:pt x="275241" y="217539"/>
                    <a:pt x="217539" y="217539"/>
                  </a:cubicBezTo>
                  <a:cubicBezTo>
                    <a:pt x="159837"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5" y="322066"/>
                    <a:pt x="371366" y="281277"/>
                  </a:cubicBezTo>
                  <a:cubicBezTo>
                    <a:pt x="330550" y="240462"/>
                    <a:pt x="275241" y="217539"/>
                    <a:pt x="217539" y="217539"/>
                  </a:cubicBezTo>
                  <a:cubicBezTo>
                    <a:pt x="159837" y="217539"/>
                    <a:pt x="104501" y="240462"/>
                    <a:pt x="63712" y="281277"/>
                  </a:cubicBezTo>
                  <a:close/>
                </a:path>
              </a:pathLst>
            </a:custGeom>
            <a:grpFill/>
            <a:ln w="27192" cap="flat">
              <a:noFill/>
              <a:prstDash val="solid"/>
              <a:miter/>
            </a:ln>
          </p:spPr>
          <p:txBody>
            <a:bodyPr rtlCol="0" anchor="ctr"/>
            <a:lstStyle/>
            <a:p>
              <a:endParaRPr lang="uk-UA" sz="900"/>
            </a:p>
          </p:txBody>
        </p:sp>
        <p:sp>
          <p:nvSpPr>
            <p:cNvPr id="477" name="Freeform: Shape 476">
              <a:extLst>
                <a:ext uri="{FF2B5EF4-FFF2-40B4-BE49-F238E27FC236}">
                  <a16:creationId xmlns:a16="http://schemas.microsoft.com/office/drawing/2014/main" id="{8E9EBB2E-E7BC-8640-503A-185325D04B03}"/>
                </a:ext>
              </a:extLst>
            </p:cNvPr>
            <p:cNvSpPr/>
            <p:nvPr/>
          </p:nvSpPr>
          <p:spPr>
            <a:xfrm>
              <a:off x="9537371" y="1328092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6 w 435077"/>
                <a:gd name="connsiteY3" fmla="*/ 27 h 435077"/>
                <a:gd name="connsiteX4" fmla="*/ 435077 w 435077"/>
                <a:gd name="connsiteY4" fmla="*/ 217566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6" y="27"/>
                  </a:lnTo>
                  <a:lnTo>
                    <a:pt x="435077" y="217566"/>
                  </a:lnTo>
                  <a:lnTo>
                    <a:pt x="217566"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478" name="Freeform: Shape 477">
              <a:extLst>
                <a:ext uri="{FF2B5EF4-FFF2-40B4-BE49-F238E27FC236}">
                  <a16:creationId xmlns:a16="http://schemas.microsoft.com/office/drawing/2014/main" id="{AAE10BCC-1DC8-1CF8-64E7-189D2B367796}"/>
                </a:ext>
              </a:extLst>
            </p:cNvPr>
            <p:cNvSpPr/>
            <p:nvPr/>
          </p:nvSpPr>
          <p:spPr>
            <a:xfrm>
              <a:off x="11277709" y="13280949"/>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0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0" y="217539"/>
                  </a:lnTo>
                  <a:lnTo>
                    <a:pt x="0" y="435050"/>
                  </a:lnTo>
                  <a:close/>
                </a:path>
              </a:pathLst>
            </a:custGeom>
            <a:grpFill/>
            <a:ln w="27192" cap="flat">
              <a:noFill/>
              <a:prstDash val="solid"/>
              <a:miter/>
            </a:ln>
          </p:spPr>
          <p:txBody>
            <a:bodyPr rtlCol="0" anchor="ctr"/>
            <a:lstStyle/>
            <a:p>
              <a:endParaRPr lang="uk-UA" sz="900"/>
            </a:p>
          </p:txBody>
        </p:sp>
        <p:sp>
          <p:nvSpPr>
            <p:cNvPr id="479" name="Freeform: Shape 478">
              <a:extLst>
                <a:ext uri="{FF2B5EF4-FFF2-40B4-BE49-F238E27FC236}">
                  <a16:creationId xmlns:a16="http://schemas.microsoft.com/office/drawing/2014/main" id="{3E769481-233C-C80D-DFAD-1544935835B8}"/>
                </a:ext>
              </a:extLst>
            </p:cNvPr>
            <p:cNvSpPr/>
            <p:nvPr/>
          </p:nvSpPr>
          <p:spPr>
            <a:xfrm>
              <a:off x="10407526" y="1328092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480" name="Freeform: Shape 479">
              <a:extLst>
                <a:ext uri="{FF2B5EF4-FFF2-40B4-BE49-F238E27FC236}">
                  <a16:creationId xmlns:a16="http://schemas.microsoft.com/office/drawing/2014/main" id="{8ECAD28B-7A22-D5C0-8A99-B84724E2F5DB}"/>
                </a:ext>
              </a:extLst>
            </p:cNvPr>
            <p:cNvSpPr/>
            <p:nvPr/>
          </p:nvSpPr>
          <p:spPr>
            <a:xfrm>
              <a:off x="12147864" y="13280922"/>
              <a:ext cx="435077" cy="435077"/>
            </a:xfrm>
            <a:custGeom>
              <a:avLst/>
              <a:gdLst>
                <a:gd name="connsiteX0" fmla="*/ 63710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0 w 435077"/>
                <a:gd name="connsiteY6" fmla="*/ 153827 h 435077"/>
                <a:gd name="connsiteX7" fmla="*/ 63710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77 h 435077"/>
                <a:gd name="connsiteX12" fmla="*/ 217539 w 435077"/>
                <a:gd name="connsiteY12" fmla="*/ 217539 h 435077"/>
                <a:gd name="connsiteX13" fmla="*/ 63710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7"/>
                  </a:moveTo>
                  <a:cubicBezTo>
                    <a:pt x="22922" y="113039"/>
                    <a:pt x="0" y="57702"/>
                    <a:pt x="0" y="0"/>
                  </a:cubicBezTo>
                  <a:lnTo>
                    <a:pt x="217539" y="0"/>
                  </a:lnTo>
                  <a:lnTo>
                    <a:pt x="435077" y="0"/>
                  </a:lnTo>
                  <a:cubicBezTo>
                    <a:pt x="435077" y="57702"/>
                    <a:pt x="412154" y="113039"/>
                    <a:pt x="371365" y="153827"/>
                  </a:cubicBezTo>
                  <a:cubicBezTo>
                    <a:pt x="330549" y="194642"/>
                    <a:pt x="275239" y="217539"/>
                    <a:pt x="217539" y="217539"/>
                  </a:cubicBezTo>
                  <a:cubicBezTo>
                    <a:pt x="159836" y="217539"/>
                    <a:pt x="104499" y="194642"/>
                    <a:pt x="63710" y="153827"/>
                  </a:cubicBezTo>
                  <a:close/>
                  <a:moveTo>
                    <a:pt x="63710" y="281277"/>
                  </a:moveTo>
                  <a:cubicBezTo>
                    <a:pt x="22922" y="322066"/>
                    <a:pt x="0" y="377402"/>
                    <a:pt x="0" y="435077"/>
                  </a:cubicBezTo>
                  <a:lnTo>
                    <a:pt x="217539" y="435077"/>
                  </a:lnTo>
                  <a:lnTo>
                    <a:pt x="435077" y="435077"/>
                  </a:lnTo>
                  <a:cubicBezTo>
                    <a:pt x="435077" y="377402"/>
                    <a:pt x="412154" y="322066"/>
                    <a:pt x="371365" y="281277"/>
                  </a:cubicBezTo>
                  <a:cubicBezTo>
                    <a:pt x="330549" y="240462"/>
                    <a:pt x="275239" y="217539"/>
                    <a:pt x="217539" y="217539"/>
                  </a:cubicBezTo>
                  <a:cubicBezTo>
                    <a:pt x="159836" y="217539"/>
                    <a:pt x="104499" y="240462"/>
                    <a:pt x="63710" y="281277"/>
                  </a:cubicBezTo>
                  <a:close/>
                </a:path>
              </a:pathLst>
            </a:custGeom>
            <a:grpFill/>
            <a:ln w="27192" cap="flat">
              <a:noFill/>
              <a:prstDash val="solid"/>
              <a:miter/>
            </a:ln>
          </p:spPr>
          <p:txBody>
            <a:bodyPr rtlCol="0" anchor="ctr"/>
            <a:lstStyle/>
            <a:p>
              <a:endParaRPr lang="uk-UA" sz="900"/>
            </a:p>
          </p:txBody>
        </p:sp>
        <p:sp>
          <p:nvSpPr>
            <p:cNvPr id="481" name="Freeform: Shape 480">
              <a:extLst>
                <a:ext uri="{FF2B5EF4-FFF2-40B4-BE49-F238E27FC236}">
                  <a16:creationId xmlns:a16="http://schemas.microsoft.com/office/drawing/2014/main" id="{B1BFFC2C-548E-D97B-FEB3-5A7D4EEA0819}"/>
                </a:ext>
              </a:extLst>
            </p:cNvPr>
            <p:cNvSpPr/>
            <p:nvPr/>
          </p:nvSpPr>
          <p:spPr>
            <a:xfrm>
              <a:off x="13018019" y="1328092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5 w 435077"/>
                <a:gd name="connsiteY3" fmla="*/ 27 h 435077"/>
                <a:gd name="connsiteX4" fmla="*/ 435077 w 435077"/>
                <a:gd name="connsiteY4" fmla="*/ 217566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5" y="27"/>
                  </a:lnTo>
                  <a:lnTo>
                    <a:pt x="435077" y="217566"/>
                  </a:lnTo>
                  <a:lnTo>
                    <a:pt x="217565"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482" name="Freeform: Shape 481">
              <a:extLst>
                <a:ext uri="{FF2B5EF4-FFF2-40B4-BE49-F238E27FC236}">
                  <a16:creationId xmlns:a16="http://schemas.microsoft.com/office/drawing/2014/main" id="{D20D0889-8A2A-7BF4-2ACB-D9843089FEA5}"/>
                </a:ext>
              </a:extLst>
            </p:cNvPr>
            <p:cNvSpPr/>
            <p:nvPr/>
          </p:nvSpPr>
          <p:spPr>
            <a:xfrm>
              <a:off x="14758382" y="13280949"/>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2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2" y="217539"/>
                  </a:lnTo>
                  <a:lnTo>
                    <a:pt x="0" y="435050"/>
                  </a:lnTo>
                  <a:close/>
                </a:path>
              </a:pathLst>
            </a:custGeom>
            <a:grpFill/>
            <a:ln w="27192" cap="flat">
              <a:noFill/>
              <a:prstDash val="solid"/>
              <a:miter/>
            </a:ln>
          </p:spPr>
          <p:txBody>
            <a:bodyPr rtlCol="0" anchor="ctr"/>
            <a:lstStyle/>
            <a:p>
              <a:endParaRPr lang="uk-UA" sz="900"/>
            </a:p>
          </p:txBody>
        </p:sp>
        <p:sp>
          <p:nvSpPr>
            <p:cNvPr id="483" name="Freeform: Shape 482">
              <a:extLst>
                <a:ext uri="{FF2B5EF4-FFF2-40B4-BE49-F238E27FC236}">
                  <a16:creationId xmlns:a16="http://schemas.microsoft.com/office/drawing/2014/main" id="{A3F430B3-5013-26E3-2416-3117DFD5CCAA}"/>
                </a:ext>
              </a:extLst>
            </p:cNvPr>
            <p:cNvSpPr/>
            <p:nvPr/>
          </p:nvSpPr>
          <p:spPr>
            <a:xfrm>
              <a:off x="13888200" y="1328092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484" name="Freeform: Shape 483">
              <a:extLst>
                <a:ext uri="{FF2B5EF4-FFF2-40B4-BE49-F238E27FC236}">
                  <a16:creationId xmlns:a16="http://schemas.microsoft.com/office/drawing/2014/main" id="{B67DFA43-D033-0735-E1F1-C3C4DFDD9AD1}"/>
                </a:ext>
              </a:extLst>
            </p:cNvPr>
            <p:cNvSpPr/>
            <p:nvPr/>
          </p:nvSpPr>
          <p:spPr>
            <a:xfrm>
              <a:off x="15628536" y="1328092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7" y="153827"/>
                  </a:cubicBezTo>
                  <a:cubicBezTo>
                    <a:pt x="330550" y="194642"/>
                    <a:pt x="275241" y="217539"/>
                    <a:pt x="217539" y="217539"/>
                  </a:cubicBezTo>
                  <a:cubicBezTo>
                    <a:pt x="159836"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5" y="322066"/>
                    <a:pt x="371367" y="281277"/>
                  </a:cubicBezTo>
                  <a:cubicBezTo>
                    <a:pt x="330550" y="240462"/>
                    <a:pt x="275241" y="217539"/>
                    <a:pt x="217539" y="217539"/>
                  </a:cubicBezTo>
                  <a:cubicBezTo>
                    <a:pt x="159836" y="217539"/>
                    <a:pt x="104501" y="240462"/>
                    <a:pt x="63712" y="281277"/>
                  </a:cubicBezTo>
                  <a:close/>
                </a:path>
              </a:pathLst>
            </a:custGeom>
            <a:grpFill/>
            <a:ln w="27192" cap="flat">
              <a:noFill/>
              <a:prstDash val="solid"/>
              <a:miter/>
            </a:ln>
          </p:spPr>
          <p:txBody>
            <a:bodyPr rtlCol="0" anchor="ctr"/>
            <a:lstStyle/>
            <a:p>
              <a:endParaRPr lang="uk-UA" sz="900"/>
            </a:p>
          </p:txBody>
        </p:sp>
        <p:sp>
          <p:nvSpPr>
            <p:cNvPr id="485" name="Freeform: Shape 484">
              <a:extLst>
                <a:ext uri="{FF2B5EF4-FFF2-40B4-BE49-F238E27FC236}">
                  <a16:creationId xmlns:a16="http://schemas.microsoft.com/office/drawing/2014/main" id="{27C60126-8E91-E594-A7FB-D620B590543B}"/>
                </a:ext>
              </a:extLst>
            </p:cNvPr>
            <p:cNvSpPr/>
            <p:nvPr/>
          </p:nvSpPr>
          <p:spPr>
            <a:xfrm>
              <a:off x="16498691" y="1328092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7 w 435077"/>
                <a:gd name="connsiteY3" fmla="*/ 27 h 435077"/>
                <a:gd name="connsiteX4" fmla="*/ 435077 w 435077"/>
                <a:gd name="connsiteY4" fmla="*/ 217566 h 435077"/>
                <a:gd name="connsiteX5" fmla="*/ 217567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7" y="27"/>
                  </a:lnTo>
                  <a:lnTo>
                    <a:pt x="435077" y="217566"/>
                  </a:lnTo>
                  <a:lnTo>
                    <a:pt x="217567"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486" name="Freeform: Shape 485">
              <a:extLst>
                <a:ext uri="{FF2B5EF4-FFF2-40B4-BE49-F238E27FC236}">
                  <a16:creationId xmlns:a16="http://schemas.microsoft.com/office/drawing/2014/main" id="{63439DBB-298F-BFBF-46D5-7324EAA214C9}"/>
                </a:ext>
              </a:extLst>
            </p:cNvPr>
            <p:cNvSpPr/>
            <p:nvPr/>
          </p:nvSpPr>
          <p:spPr>
            <a:xfrm>
              <a:off x="18239029" y="13280949"/>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0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0" y="217539"/>
                  </a:lnTo>
                  <a:lnTo>
                    <a:pt x="0" y="435050"/>
                  </a:lnTo>
                  <a:close/>
                </a:path>
              </a:pathLst>
            </a:custGeom>
            <a:grpFill/>
            <a:ln w="27192" cap="flat">
              <a:noFill/>
              <a:prstDash val="solid"/>
              <a:miter/>
            </a:ln>
          </p:spPr>
          <p:txBody>
            <a:bodyPr rtlCol="0" anchor="ctr"/>
            <a:lstStyle/>
            <a:p>
              <a:endParaRPr lang="uk-UA" sz="900"/>
            </a:p>
          </p:txBody>
        </p:sp>
        <p:sp>
          <p:nvSpPr>
            <p:cNvPr id="487" name="Freeform: Shape 486">
              <a:extLst>
                <a:ext uri="{FF2B5EF4-FFF2-40B4-BE49-F238E27FC236}">
                  <a16:creationId xmlns:a16="http://schemas.microsoft.com/office/drawing/2014/main" id="{3C26AB2E-5071-2D60-C51B-66748A60E37D}"/>
                </a:ext>
              </a:extLst>
            </p:cNvPr>
            <p:cNvSpPr/>
            <p:nvPr/>
          </p:nvSpPr>
          <p:spPr>
            <a:xfrm>
              <a:off x="17368846" y="1328092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67 w 435077"/>
                <a:gd name="connsiteY4" fmla="*/ 435077 h 435077"/>
                <a:gd name="connsiteX5" fmla="*/ 217567 w 435077"/>
                <a:gd name="connsiteY5" fmla="*/ 0 h 435077"/>
                <a:gd name="connsiteX6" fmla="*/ 435077 w 435077"/>
                <a:gd name="connsiteY6" fmla="*/ 217566 h 435077"/>
                <a:gd name="connsiteX7" fmla="*/ 217567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67" y="435077"/>
                  </a:moveTo>
                  <a:lnTo>
                    <a:pt x="217567" y="0"/>
                  </a:lnTo>
                  <a:lnTo>
                    <a:pt x="435077" y="217566"/>
                  </a:lnTo>
                  <a:lnTo>
                    <a:pt x="217567" y="435077"/>
                  </a:lnTo>
                  <a:close/>
                </a:path>
              </a:pathLst>
            </a:custGeom>
            <a:grpFill/>
            <a:ln w="27192" cap="flat">
              <a:noFill/>
              <a:prstDash val="solid"/>
              <a:miter/>
            </a:ln>
          </p:spPr>
          <p:txBody>
            <a:bodyPr rtlCol="0" anchor="ctr"/>
            <a:lstStyle/>
            <a:p>
              <a:endParaRPr lang="uk-UA" sz="900"/>
            </a:p>
          </p:txBody>
        </p:sp>
        <p:sp>
          <p:nvSpPr>
            <p:cNvPr id="488" name="Freeform: Shape 487">
              <a:extLst>
                <a:ext uri="{FF2B5EF4-FFF2-40B4-BE49-F238E27FC236}">
                  <a16:creationId xmlns:a16="http://schemas.microsoft.com/office/drawing/2014/main" id="{A58F8C4E-27BB-6BC4-6911-97C305CC4621}"/>
                </a:ext>
              </a:extLst>
            </p:cNvPr>
            <p:cNvSpPr/>
            <p:nvPr/>
          </p:nvSpPr>
          <p:spPr>
            <a:xfrm>
              <a:off x="19109184" y="13280922"/>
              <a:ext cx="435077" cy="435077"/>
            </a:xfrm>
            <a:custGeom>
              <a:avLst/>
              <a:gdLst>
                <a:gd name="connsiteX0" fmla="*/ 63710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0 w 435077"/>
                <a:gd name="connsiteY6" fmla="*/ 153827 h 435077"/>
                <a:gd name="connsiteX7" fmla="*/ 63710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77 h 435077"/>
                <a:gd name="connsiteX12" fmla="*/ 217539 w 435077"/>
                <a:gd name="connsiteY12" fmla="*/ 217539 h 435077"/>
                <a:gd name="connsiteX13" fmla="*/ 63710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7"/>
                  </a:moveTo>
                  <a:cubicBezTo>
                    <a:pt x="22922" y="113039"/>
                    <a:pt x="0" y="57702"/>
                    <a:pt x="0" y="0"/>
                  </a:cubicBezTo>
                  <a:lnTo>
                    <a:pt x="217539" y="0"/>
                  </a:lnTo>
                  <a:lnTo>
                    <a:pt x="435077" y="0"/>
                  </a:lnTo>
                  <a:cubicBezTo>
                    <a:pt x="435077" y="57702"/>
                    <a:pt x="412154" y="113039"/>
                    <a:pt x="371365" y="153827"/>
                  </a:cubicBezTo>
                  <a:cubicBezTo>
                    <a:pt x="330577" y="194642"/>
                    <a:pt x="275241" y="217539"/>
                    <a:pt x="217539" y="217539"/>
                  </a:cubicBezTo>
                  <a:cubicBezTo>
                    <a:pt x="159836" y="217539"/>
                    <a:pt x="104527" y="194642"/>
                    <a:pt x="63710" y="153827"/>
                  </a:cubicBezTo>
                  <a:close/>
                  <a:moveTo>
                    <a:pt x="63710" y="281277"/>
                  </a:moveTo>
                  <a:cubicBezTo>
                    <a:pt x="22922" y="322066"/>
                    <a:pt x="0" y="377402"/>
                    <a:pt x="0" y="435077"/>
                  </a:cubicBezTo>
                  <a:lnTo>
                    <a:pt x="217539" y="435077"/>
                  </a:lnTo>
                  <a:lnTo>
                    <a:pt x="435077" y="435077"/>
                  </a:lnTo>
                  <a:cubicBezTo>
                    <a:pt x="435077" y="377402"/>
                    <a:pt x="412154" y="322066"/>
                    <a:pt x="371365" y="281277"/>
                  </a:cubicBezTo>
                  <a:cubicBezTo>
                    <a:pt x="330577" y="240462"/>
                    <a:pt x="275241" y="217539"/>
                    <a:pt x="217539" y="217539"/>
                  </a:cubicBezTo>
                  <a:cubicBezTo>
                    <a:pt x="159836" y="217539"/>
                    <a:pt x="104527" y="240462"/>
                    <a:pt x="63710" y="281277"/>
                  </a:cubicBezTo>
                  <a:close/>
                </a:path>
              </a:pathLst>
            </a:custGeom>
            <a:grpFill/>
            <a:ln w="27192" cap="flat">
              <a:noFill/>
              <a:prstDash val="solid"/>
              <a:miter/>
            </a:ln>
          </p:spPr>
          <p:txBody>
            <a:bodyPr rtlCol="0" anchor="ctr"/>
            <a:lstStyle/>
            <a:p>
              <a:endParaRPr lang="uk-UA" sz="900"/>
            </a:p>
          </p:txBody>
        </p:sp>
        <p:sp>
          <p:nvSpPr>
            <p:cNvPr id="489" name="Freeform: Shape 488">
              <a:extLst>
                <a:ext uri="{FF2B5EF4-FFF2-40B4-BE49-F238E27FC236}">
                  <a16:creationId xmlns:a16="http://schemas.microsoft.com/office/drawing/2014/main" id="{7ED7DE51-513D-C8AF-C6FC-22CA978413F4}"/>
                </a:ext>
              </a:extLst>
            </p:cNvPr>
            <p:cNvSpPr/>
            <p:nvPr/>
          </p:nvSpPr>
          <p:spPr>
            <a:xfrm>
              <a:off x="19979339" y="1328092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5 w 435077"/>
                <a:gd name="connsiteY3" fmla="*/ 27 h 435077"/>
                <a:gd name="connsiteX4" fmla="*/ 435077 w 435077"/>
                <a:gd name="connsiteY4" fmla="*/ 217566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5" y="27"/>
                  </a:lnTo>
                  <a:lnTo>
                    <a:pt x="435077" y="217566"/>
                  </a:lnTo>
                  <a:lnTo>
                    <a:pt x="217565"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490" name="Freeform: Shape 489">
              <a:extLst>
                <a:ext uri="{FF2B5EF4-FFF2-40B4-BE49-F238E27FC236}">
                  <a16:creationId xmlns:a16="http://schemas.microsoft.com/office/drawing/2014/main" id="{5D9E3F76-3A57-CD9D-4D4F-CD6053CDF844}"/>
                </a:ext>
              </a:extLst>
            </p:cNvPr>
            <p:cNvSpPr/>
            <p:nvPr/>
          </p:nvSpPr>
          <p:spPr>
            <a:xfrm>
              <a:off x="21719675" y="13280922"/>
              <a:ext cx="435077" cy="435077"/>
            </a:xfrm>
            <a:custGeom>
              <a:avLst/>
              <a:gdLst>
                <a:gd name="connsiteX0" fmla="*/ 435077 w 435077"/>
                <a:gd name="connsiteY0" fmla="*/ 435077 h 435077"/>
                <a:gd name="connsiteX1" fmla="*/ 435077 w 435077"/>
                <a:gd name="connsiteY1" fmla="*/ 0 h 435077"/>
                <a:gd name="connsiteX2" fmla="*/ 217565 w 435077"/>
                <a:gd name="connsiteY2" fmla="*/ 217566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66"/>
                  </a:lnTo>
                  <a:lnTo>
                    <a:pt x="435077" y="435077"/>
                  </a:lnTo>
                  <a:close/>
                  <a:moveTo>
                    <a:pt x="0" y="435077"/>
                  </a:moveTo>
                  <a:lnTo>
                    <a:pt x="0" y="0"/>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491" name="Freeform: Shape 490">
              <a:extLst>
                <a:ext uri="{FF2B5EF4-FFF2-40B4-BE49-F238E27FC236}">
                  <a16:creationId xmlns:a16="http://schemas.microsoft.com/office/drawing/2014/main" id="{9D59E841-8F76-A967-1695-44EFBE4C4C00}"/>
                </a:ext>
              </a:extLst>
            </p:cNvPr>
            <p:cNvSpPr/>
            <p:nvPr/>
          </p:nvSpPr>
          <p:spPr>
            <a:xfrm>
              <a:off x="20849520" y="1328092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492" name="Freeform: Shape 491">
              <a:extLst>
                <a:ext uri="{FF2B5EF4-FFF2-40B4-BE49-F238E27FC236}">
                  <a16:creationId xmlns:a16="http://schemas.microsoft.com/office/drawing/2014/main" id="{FF8FC70B-C3B7-8732-72C6-C8702D985818}"/>
                </a:ext>
              </a:extLst>
            </p:cNvPr>
            <p:cNvSpPr/>
            <p:nvPr/>
          </p:nvSpPr>
          <p:spPr>
            <a:xfrm>
              <a:off x="22589856" y="1328092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7" y="153827"/>
                  </a:cubicBezTo>
                  <a:cubicBezTo>
                    <a:pt x="330550" y="194642"/>
                    <a:pt x="275215" y="217539"/>
                    <a:pt x="217539" y="217539"/>
                  </a:cubicBezTo>
                  <a:cubicBezTo>
                    <a:pt x="159838"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5" y="322066"/>
                    <a:pt x="371367" y="281277"/>
                  </a:cubicBezTo>
                  <a:cubicBezTo>
                    <a:pt x="330550" y="240462"/>
                    <a:pt x="275215" y="217539"/>
                    <a:pt x="217539" y="217539"/>
                  </a:cubicBezTo>
                  <a:cubicBezTo>
                    <a:pt x="159838" y="217539"/>
                    <a:pt x="104501" y="240462"/>
                    <a:pt x="63712" y="281277"/>
                  </a:cubicBezTo>
                  <a:close/>
                </a:path>
              </a:pathLst>
            </a:custGeom>
            <a:grpFill/>
            <a:ln w="27192" cap="flat">
              <a:noFill/>
              <a:prstDash val="solid"/>
              <a:miter/>
            </a:ln>
          </p:spPr>
          <p:txBody>
            <a:bodyPr rtlCol="0" anchor="ctr"/>
            <a:lstStyle/>
            <a:p>
              <a:endParaRPr lang="uk-UA" sz="900"/>
            </a:p>
          </p:txBody>
        </p:sp>
        <p:sp>
          <p:nvSpPr>
            <p:cNvPr id="493" name="Freeform: Shape 492">
              <a:extLst>
                <a:ext uri="{FF2B5EF4-FFF2-40B4-BE49-F238E27FC236}">
                  <a16:creationId xmlns:a16="http://schemas.microsoft.com/office/drawing/2014/main" id="{A61090F7-89BB-D746-5CAA-6613F7FB5CE7}"/>
                </a:ext>
              </a:extLst>
            </p:cNvPr>
            <p:cNvSpPr/>
            <p:nvPr/>
          </p:nvSpPr>
          <p:spPr>
            <a:xfrm>
              <a:off x="23460011" y="1328092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7 w 435077"/>
                <a:gd name="connsiteY3" fmla="*/ 27 h 435077"/>
                <a:gd name="connsiteX4" fmla="*/ 435077 w 435077"/>
                <a:gd name="connsiteY4" fmla="*/ 217566 h 435077"/>
                <a:gd name="connsiteX5" fmla="*/ 217567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12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7" y="27"/>
                  </a:lnTo>
                  <a:lnTo>
                    <a:pt x="435077" y="217566"/>
                  </a:lnTo>
                  <a:lnTo>
                    <a:pt x="217567" y="435077"/>
                  </a:lnTo>
                  <a:lnTo>
                    <a:pt x="435077" y="435077"/>
                  </a:lnTo>
                  <a:close/>
                  <a:moveTo>
                    <a:pt x="0" y="217539"/>
                  </a:moveTo>
                  <a:lnTo>
                    <a:pt x="0" y="0"/>
                  </a:lnTo>
                  <a:lnTo>
                    <a:pt x="217512" y="217539"/>
                  </a:lnTo>
                  <a:lnTo>
                    <a:pt x="0" y="217539"/>
                  </a:lnTo>
                  <a:close/>
                  <a:moveTo>
                    <a:pt x="0" y="435077"/>
                  </a:moveTo>
                  <a:lnTo>
                    <a:pt x="0" y="217566"/>
                  </a:lnTo>
                  <a:lnTo>
                    <a:pt x="217512" y="217566"/>
                  </a:lnTo>
                  <a:lnTo>
                    <a:pt x="0" y="435077"/>
                  </a:lnTo>
                  <a:close/>
                </a:path>
              </a:pathLst>
            </a:custGeom>
            <a:grpFill/>
            <a:ln w="27192" cap="flat">
              <a:noFill/>
              <a:prstDash val="solid"/>
              <a:miter/>
            </a:ln>
          </p:spPr>
          <p:txBody>
            <a:bodyPr rtlCol="0" anchor="ctr"/>
            <a:lstStyle/>
            <a:p>
              <a:endParaRPr lang="uk-UA" sz="900"/>
            </a:p>
          </p:txBody>
        </p:sp>
        <p:sp>
          <p:nvSpPr>
            <p:cNvPr id="494" name="Freeform: Shape 493">
              <a:extLst>
                <a:ext uri="{FF2B5EF4-FFF2-40B4-BE49-F238E27FC236}">
                  <a16:creationId xmlns:a16="http://schemas.microsoft.com/office/drawing/2014/main" id="{60C653CE-0A37-939C-ABF2-C5D45168A01B}"/>
                </a:ext>
              </a:extLst>
            </p:cNvPr>
            <p:cNvSpPr/>
            <p:nvPr/>
          </p:nvSpPr>
          <p:spPr>
            <a:xfrm>
              <a:off x="24330194" y="1328092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grpSp>
      <p:sp>
        <p:nvSpPr>
          <p:cNvPr id="2" name="TextBox 1">
            <a:extLst>
              <a:ext uri="{FF2B5EF4-FFF2-40B4-BE49-F238E27FC236}">
                <a16:creationId xmlns:a16="http://schemas.microsoft.com/office/drawing/2014/main" id="{D891FEFF-BA87-51F4-AE21-6A6C5E801C93}"/>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chemeClr val="bg1"/>
                </a:solidFill>
                <a:latin typeface="IBM Plex Sans" panose="020B0503050203000203" pitchFamily="34" charset="0"/>
                <a:ea typeface="+mj-ea"/>
                <a:cs typeface="+mj-cs"/>
                <a:sym typeface="IBM Plex Sans Light"/>
              </a:rPr>
              <a:t>#IBMTechXchange</a:t>
            </a:r>
          </a:p>
        </p:txBody>
      </p:sp>
    </p:spTree>
    <p:extLst>
      <p:ext uri="{BB962C8B-B14F-4D97-AF65-F5344CB8AC3E}">
        <p14:creationId xmlns:p14="http://schemas.microsoft.com/office/powerpoint/2010/main" val="3393332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Big text with pattern 2">
    <p:bg>
      <p:bgPr>
        <a:solidFill>
          <a:schemeClr val="bg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5A00BF2-10A0-8384-8F1F-60EBBEFA9497}"/>
              </a:ext>
            </a:extLst>
          </p:cNvPr>
          <p:cNvGrpSpPr>
            <a:grpSpLocks noChangeAspect="1"/>
          </p:cNvGrpSpPr>
          <p:nvPr userDrawn="1"/>
        </p:nvGrpSpPr>
        <p:grpSpPr>
          <a:xfrm>
            <a:off x="254136" y="251460"/>
            <a:ext cx="11683728" cy="6355080"/>
            <a:chOff x="-34412" y="228570"/>
            <a:chExt cx="24799683" cy="13487429"/>
          </a:xfrm>
          <a:solidFill>
            <a:schemeClr val="bg2"/>
          </a:solidFill>
        </p:grpSpPr>
        <p:sp>
          <p:nvSpPr>
            <p:cNvPr id="3" name="Freeform: Shape 2">
              <a:extLst>
                <a:ext uri="{FF2B5EF4-FFF2-40B4-BE49-F238E27FC236}">
                  <a16:creationId xmlns:a16="http://schemas.microsoft.com/office/drawing/2014/main" id="{236BF704-8AC8-FDF0-42F9-67BFB0FA8F15}"/>
                </a:ext>
              </a:extLst>
            </p:cNvPr>
            <p:cNvSpPr/>
            <p:nvPr/>
          </p:nvSpPr>
          <p:spPr>
            <a:xfrm>
              <a:off x="835769" y="228598"/>
              <a:ext cx="435077" cy="435073"/>
            </a:xfrm>
            <a:custGeom>
              <a:avLst/>
              <a:gdLst>
                <a:gd name="connsiteX0" fmla="*/ 371366 w 435077"/>
                <a:gd name="connsiteY0" fmla="*/ 63716 h 435073"/>
                <a:gd name="connsiteX1" fmla="*/ 435077 w 435077"/>
                <a:gd name="connsiteY1" fmla="*/ 217539 h 435073"/>
                <a:gd name="connsiteX2" fmla="*/ 218925 w 435077"/>
                <a:gd name="connsiteY2" fmla="*/ 217539 h 435073"/>
                <a:gd name="connsiteX3" fmla="*/ 371366 w 435077"/>
                <a:gd name="connsiteY3" fmla="*/ 281249 h 435073"/>
                <a:gd name="connsiteX4" fmla="*/ 435077 w 435077"/>
                <a:gd name="connsiteY4" fmla="*/ 435073 h 435073"/>
                <a:gd name="connsiteX5" fmla="*/ 217539 w 435077"/>
                <a:gd name="connsiteY5" fmla="*/ 435073 h 435073"/>
                <a:gd name="connsiteX6" fmla="*/ 0 w 435077"/>
                <a:gd name="connsiteY6" fmla="*/ 435073 h 435073"/>
                <a:gd name="connsiteX7" fmla="*/ 63711 w 435077"/>
                <a:gd name="connsiteY7" fmla="*/ 281249 h 435073"/>
                <a:gd name="connsiteX8" fmla="*/ 216125 w 435077"/>
                <a:gd name="connsiteY8" fmla="*/ 217539 h 435073"/>
                <a:gd name="connsiteX9" fmla="*/ 0 w 435077"/>
                <a:gd name="connsiteY9" fmla="*/ 217539 h 435073"/>
                <a:gd name="connsiteX10" fmla="*/ 63711 w 435077"/>
                <a:gd name="connsiteY10" fmla="*/ 63716 h 435073"/>
                <a:gd name="connsiteX11" fmla="*/ 217539 w 435077"/>
                <a:gd name="connsiteY11" fmla="*/ 0 h 435073"/>
                <a:gd name="connsiteX12" fmla="*/ 371366 w 435077"/>
                <a:gd name="connsiteY12" fmla="*/ 63716 h 43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3">
                  <a:moveTo>
                    <a:pt x="371366" y="63716"/>
                  </a:moveTo>
                  <a:cubicBezTo>
                    <a:pt x="412154" y="104512"/>
                    <a:pt x="435077" y="159844"/>
                    <a:pt x="435077" y="217539"/>
                  </a:cubicBezTo>
                  <a:lnTo>
                    <a:pt x="218925" y="217539"/>
                  </a:lnTo>
                  <a:cubicBezTo>
                    <a:pt x="276138" y="217907"/>
                    <a:pt x="330903" y="240784"/>
                    <a:pt x="371366" y="281249"/>
                  </a:cubicBezTo>
                  <a:cubicBezTo>
                    <a:pt x="412154" y="322046"/>
                    <a:pt x="435077" y="377379"/>
                    <a:pt x="435077" y="435073"/>
                  </a:cubicBezTo>
                  <a:lnTo>
                    <a:pt x="217539" y="435073"/>
                  </a:lnTo>
                  <a:lnTo>
                    <a:pt x="0" y="435073"/>
                  </a:lnTo>
                  <a:cubicBezTo>
                    <a:pt x="0" y="377379"/>
                    <a:pt x="22923" y="322046"/>
                    <a:pt x="63711" y="281249"/>
                  </a:cubicBezTo>
                  <a:cubicBezTo>
                    <a:pt x="104174" y="240784"/>
                    <a:pt x="158939" y="217907"/>
                    <a:pt x="216125" y="217539"/>
                  </a:cubicBezTo>
                  <a:lnTo>
                    <a:pt x="0" y="217539"/>
                  </a:lnTo>
                  <a:cubicBezTo>
                    <a:pt x="0" y="159844"/>
                    <a:pt x="22923" y="104512"/>
                    <a:pt x="63711" y="63716"/>
                  </a:cubicBezTo>
                  <a:cubicBezTo>
                    <a:pt x="104500" y="22919"/>
                    <a:pt x="159836" y="0"/>
                    <a:pt x="217539" y="0"/>
                  </a:cubicBezTo>
                  <a:cubicBezTo>
                    <a:pt x="275213" y="0"/>
                    <a:pt x="330550" y="22919"/>
                    <a:pt x="371366" y="63716"/>
                  </a:cubicBezTo>
                  <a:close/>
                </a:path>
              </a:pathLst>
            </a:custGeom>
            <a:grpFill/>
            <a:ln w="27192" cap="flat">
              <a:noFill/>
              <a:prstDash val="solid"/>
              <a:miter/>
            </a:ln>
          </p:spPr>
          <p:txBody>
            <a:bodyPr rtlCol="0" anchor="ctr"/>
            <a:lstStyle/>
            <a:p>
              <a:endParaRPr lang="uk-UA" sz="900"/>
            </a:p>
          </p:txBody>
        </p:sp>
        <p:sp>
          <p:nvSpPr>
            <p:cNvPr id="5" name="Freeform: Shape 4">
              <a:extLst>
                <a:ext uri="{FF2B5EF4-FFF2-40B4-BE49-F238E27FC236}">
                  <a16:creationId xmlns:a16="http://schemas.microsoft.com/office/drawing/2014/main" id="{8C130A3E-6C1D-13C1-9112-00C7362A2E68}"/>
                </a:ext>
              </a:extLst>
            </p:cNvPr>
            <p:cNvSpPr/>
            <p:nvPr/>
          </p:nvSpPr>
          <p:spPr>
            <a:xfrm>
              <a:off x="-34398" y="228598"/>
              <a:ext cx="435090" cy="435078"/>
            </a:xfrm>
            <a:custGeom>
              <a:avLst/>
              <a:gdLst>
                <a:gd name="connsiteX0" fmla="*/ 217525 w 435090"/>
                <a:gd name="connsiteY0" fmla="*/ 0 h 435078"/>
                <a:gd name="connsiteX1" fmla="*/ 0 w 435090"/>
                <a:gd name="connsiteY1" fmla="*/ 0 h 435078"/>
                <a:gd name="connsiteX2" fmla="*/ 0 w 435090"/>
                <a:gd name="connsiteY2" fmla="*/ 217539 h 435078"/>
                <a:gd name="connsiteX3" fmla="*/ 217525 w 435090"/>
                <a:gd name="connsiteY3" fmla="*/ 0 h 435078"/>
                <a:gd name="connsiteX4" fmla="*/ 435091 w 435090"/>
                <a:gd name="connsiteY4" fmla="*/ 0 h 435078"/>
                <a:gd name="connsiteX5" fmla="*/ 435091 w 435090"/>
                <a:gd name="connsiteY5" fmla="*/ 217539 h 435078"/>
                <a:gd name="connsiteX6" fmla="*/ 217552 w 435090"/>
                <a:gd name="connsiteY6" fmla="*/ 0 h 435078"/>
                <a:gd name="connsiteX7" fmla="*/ 435091 w 435090"/>
                <a:gd name="connsiteY7" fmla="*/ 0 h 435078"/>
                <a:gd name="connsiteX8" fmla="*/ 217552 w 435090"/>
                <a:gd name="connsiteY8" fmla="*/ 435079 h 435078"/>
                <a:gd name="connsiteX9" fmla="*/ 435091 w 435090"/>
                <a:gd name="connsiteY9" fmla="*/ 217539 h 435078"/>
                <a:gd name="connsiteX10" fmla="*/ 435091 w 435090"/>
                <a:gd name="connsiteY10" fmla="*/ 435079 h 435078"/>
                <a:gd name="connsiteX11" fmla="*/ 217552 w 435090"/>
                <a:gd name="connsiteY11" fmla="*/ 435079 h 435078"/>
                <a:gd name="connsiteX12" fmla="*/ 217552 w 435090"/>
                <a:gd name="connsiteY12" fmla="*/ 435079 h 435078"/>
                <a:gd name="connsiteX13" fmla="*/ 11 w 435090"/>
                <a:gd name="connsiteY13" fmla="*/ 217539 h 435078"/>
                <a:gd name="connsiteX14" fmla="*/ 11 w 435090"/>
                <a:gd name="connsiteY14" fmla="*/ 435079 h 435078"/>
                <a:gd name="connsiteX15" fmla="*/ 217552 w 435090"/>
                <a:gd name="connsiteY15" fmla="*/ 435079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90" h="435078">
                  <a:moveTo>
                    <a:pt x="217525" y="0"/>
                  </a:moveTo>
                  <a:lnTo>
                    <a:pt x="0" y="0"/>
                  </a:lnTo>
                  <a:lnTo>
                    <a:pt x="0" y="217539"/>
                  </a:lnTo>
                  <a:lnTo>
                    <a:pt x="217525" y="0"/>
                  </a:lnTo>
                  <a:close/>
                  <a:moveTo>
                    <a:pt x="435091" y="0"/>
                  </a:moveTo>
                  <a:lnTo>
                    <a:pt x="435091" y="217539"/>
                  </a:lnTo>
                  <a:lnTo>
                    <a:pt x="217552" y="0"/>
                  </a:lnTo>
                  <a:lnTo>
                    <a:pt x="435091" y="0"/>
                  </a:lnTo>
                  <a:close/>
                  <a:moveTo>
                    <a:pt x="217552" y="435079"/>
                  </a:moveTo>
                  <a:lnTo>
                    <a:pt x="435091" y="217539"/>
                  </a:lnTo>
                  <a:lnTo>
                    <a:pt x="435091" y="435079"/>
                  </a:lnTo>
                  <a:lnTo>
                    <a:pt x="217552" y="435079"/>
                  </a:lnTo>
                  <a:close/>
                  <a:moveTo>
                    <a:pt x="217552" y="435079"/>
                  </a:moveTo>
                  <a:lnTo>
                    <a:pt x="11" y="217539"/>
                  </a:lnTo>
                  <a:lnTo>
                    <a:pt x="11" y="435079"/>
                  </a:lnTo>
                  <a:lnTo>
                    <a:pt x="217552" y="435079"/>
                  </a:lnTo>
                  <a:close/>
                </a:path>
              </a:pathLst>
            </a:custGeom>
            <a:grpFill/>
            <a:ln w="27192" cap="flat">
              <a:noFill/>
              <a:prstDash val="solid"/>
              <a:miter/>
            </a:ln>
          </p:spPr>
          <p:txBody>
            <a:bodyPr rtlCol="0" anchor="ctr"/>
            <a:lstStyle/>
            <a:p>
              <a:endParaRPr lang="uk-UA" sz="900"/>
            </a:p>
          </p:txBody>
        </p:sp>
        <p:sp>
          <p:nvSpPr>
            <p:cNvPr id="7" name="Freeform: Shape 6">
              <a:extLst>
                <a:ext uri="{FF2B5EF4-FFF2-40B4-BE49-F238E27FC236}">
                  <a16:creationId xmlns:a16="http://schemas.microsoft.com/office/drawing/2014/main" id="{DFA30437-68DF-085D-54C0-D0865501336A}"/>
                </a:ext>
              </a:extLst>
            </p:cNvPr>
            <p:cNvSpPr/>
            <p:nvPr/>
          </p:nvSpPr>
          <p:spPr>
            <a:xfrm>
              <a:off x="1705924" y="228598"/>
              <a:ext cx="435077" cy="435075"/>
            </a:xfrm>
            <a:custGeom>
              <a:avLst/>
              <a:gdLst>
                <a:gd name="connsiteX0" fmla="*/ 217539 w 435077"/>
                <a:gd name="connsiteY0" fmla="*/ 217533 h 435075"/>
                <a:gd name="connsiteX1" fmla="*/ 217539 w 435077"/>
                <a:gd name="connsiteY1" fmla="*/ 0 h 435075"/>
                <a:gd name="connsiteX2" fmla="*/ 0 w 435077"/>
                <a:gd name="connsiteY2" fmla="*/ 0 h 435075"/>
                <a:gd name="connsiteX3" fmla="*/ 217539 w 435077"/>
                <a:gd name="connsiteY3" fmla="*/ 217538 h 435075"/>
                <a:gd name="connsiteX4" fmla="*/ 0 w 435077"/>
                <a:gd name="connsiteY4" fmla="*/ 435076 h 435075"/>
                <a:gd name="connsiteX5" fmla="*/ 217539 w 435077"/>
                <a:gd name="connsiteY5" fmla="*/ 435076 h 435075"/>
                <a:gd name="connsiteX6" fmla="*/ 217539 w 435077"/>
                <a:gd name="connsiteY6" fmla="*/ 435071 h 435075"/>
                <a:gd name="connsiteX7" fmla="*/ 435077 w 435077"/>
                <a:gd name="connsiteY7" fmla="*/ 217543 h 435075"/>
                <a:gd name="connsiteX8" fmla="*/ 435077 w 435077"/>
                <a:gd name="connsiteY8" fmla="*/ 217543 h 435075"/>
                <a:gd name="connsiteX9" fmla="*/ 435077 w 435077"/>
                <a:gd name="connsiteY9" fmla="*/ 217538 h 435075"/>
                <a:gd name="connsiteX10" fmla="*/ 435077 w 435077"/>
                <a:gd name="connsiteY10" fmla="*/ 217533 h 435075"/>
                <a:gd name="connsiteX11" fmla="*/ 435077 w 435077"/>
                <a:gd name="connsiteY11" fmla="*/ 217533 h 435075"/>
                <a:gd name="connsiteX12" fmla="*/ 217539 w 435077"/>
                <a:gd name="connsiteY12" fmla="*/ 5 h 435075"/>
                <a:gd name="connsiteX13" fmla="*/ 217539 w 435077"/>
                <a:gd name="connsiteY13" fmla="*/ 217533 h 435075"/>
                <a:gd name="connsiteX14" fmla="*/ 217539 w 435077"/>
                <a:gd name="connsiteY14" fmla="*/ 217533 h 43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5">
                  <a:moveTo>
                    <a:pt x="217539" y="217533"/>
                  </a:moveTo>
                  <a:lnTo>
                    <a:pt x="217539" y="0"/>
                  </a:lnTo>
                  <a:lnTo>
                    <a:pt x="0" y="0"/>
                  </a:lnTo>
                  <a:lnTo>
                    <a:pt x="217539" y="217538"/>
                  </a:lnTo>
                  <a:lnTo>
                    <a:pt x="0" y="435076"/>
                  </a:lnTo>
                  <a:lnTo>
                    <a:pt x="217539" y="435076"/>
                  </a:lnTo>
                  <a:lnTo>
                    <a:pt x="217539" y="435071"/>
                  </a:lnTo>
                  <a:lnTo>
                    <a:pt x="435077" y="217543"/>
                  </a:lnTo>
                  <a:lnTo>
                    <a:pt x="435077" y="217543"/>
                  </a:lnTo>
                  <a:lnTo>
                    <a:pt x="435077" y="217538"/>
                  </a:lnTo>
                  <a:lnTo>
                    <a:pt x="435077" y="217533"/>
                  </a:lnTo>
                  <a:lnTo>
                    <a:pt x="435077" y="217533"/>
                  </a:lnTo>
                  <a:lnTo>
                    <a:pt x="217539" y="5"/>
                  </a:lnTo>
                  <a:lnTo>
                    <a:pt x="217539" y="217533"/>
                  </a:lnTo>
                  <a:lnTo>
                    <a:pt x="217539" y="217533"/>
                  </a:lnTo>
                  <a:close/>
                </a:path>
              </a:pathLst>
            </a:custGeom>
            <a:grpFill/>
            <a:ln w="27192" cap="flat">
              <a:noFill/>
              <a:prstDash val="solid"/>
              <a:miter/>
            </a:ln>
          </p:spPr>
          <p:txBody>
            <a:bodyPr rtlCol="0" anchor="ctr"/>
            <a:lstStyle/>
            <a:p>
              <a:endParaRPr lang="uk-UA" sz="900"/>
            </a:p>
          </p:txBody>
        </p:sp>
        <p:sp>
          <p:nvSpPr>
            <p:cNvPr id="9" name="Freeform: Shape 8">
              <a:extLst>
                <a:ext uri="{FF2B5EF4-FFF2-40B4-BE49-F238E27FC236}">
                  <a16:creationId xmlns:a16="http://schemas.microsoft.com/office/drawing/2014/main" id="{CA154C5D-F62A-1BBC-6DFE-A2ADE201B591}"/>
                </a:ext>
              </a:extLst>
            </p:cNvPr>
            <p:cNvSpPr/>
            <p:nvPr/>
          </p:nvSpPr>
          <p:spPr>
            <a:xfrm>
              <a:off x="2576106" y="228598"/>
              <a:ext cx="435077" cy="435078"/>
            </a:xfrm>
            <a:custGeom>
              <a:avLst/>
              <a:gdLst>
                <a:gd name="connsiteX0" fmla="*/ 0 w 435077"/>
                <a:gd name="connsiteY0" fmla="*/ 435079 h 435078"/>
                <a:gd name="connsiteX1" fmla="*/ 217512 w 435077"/>
                <a:gd name="connsiteY1" fmla="*/ 435079 h 435078"/>
                <a:gd name="connsiteX2" fmla="*/ 217512 w 435077"/>
                <a:gd name="connsiteY2" fmla="*/ 217546 h 435078"/>
                <a:gd name="connsiteX3" fmla="*/ 0 w 435077"/>
                <a:gd name="connsiteY3" fmla="*/ 435079 h 435078"/>
                <a:gd name="connsiteX4" fmla="*/ 217539 w 435077"/>
                <a:gd name="connsiteY4" fmla="*/ 0 h 435078"/>
                <a:gd name="connsiteX5" fmla="*/ 0 w 435077"/>
                <a:gd name="connsiteY5" fmla="*/ 0 h 435078"/>
                <a:gd name="connsiteX6" fmla="*/ 217539 w 435077"/>
                <a:gd name="connsiteY6" fmla="*/ 217532 h 435078"/>
                <a:gd name="connsiteX7" fmla="*/ 217539 w 435077"/>
                <a:gd name="connsiteY7" fmla="*/ 0 h 435078"/>
                <a:gd name="connsiteX8" fmla="*/ 435077 w 435077"/>
                <a:gd name="connsiteY8" fmla="*/ 435079 h 435078"/>
                <a:gd name="connsiteX9" fmla="*/ 217539 w 435077"/>
                <a:gd name="connsiteY9" fmla="*/ 435079 h 435078"/>
                <a:gd name="connsiteX10" fmla="*/ 435077 w 435077"/>
                <a:gd name="connsiteY10" fmla="*/ 217546 h 435078"/>
                <a:gd name="connsiteX11" fmla="*/ 435077 w 435077"/>
                <a:gd name="connsiteY11" fmla="*/ 435079 h 435078"/>
                <a:gd name="connsiteX12" fmla="*/ 435077 w 435077"/>
                <a:gd name="connsiteY12" fmla="*/ 0 h 435078"/>
                <a:gd name="connsiteX13" fmla="*/ 217539 w 435077"/>
                <a:gd name="connsiteY13" fmla="*/ 0 h 435078"/>
                <a:gd name="connsiteX14" fmla="*/ 435077 w 435077"/>
                <a:gd name="connsiteY14" fmla="*/ 217532 h 435078"/>
                <a:gd name="connsiteX15" fmla="*/ 435077 w 435077"/>
                <a:gd name="connsiteY15"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8">
                  <a:moveTo>
                    <a:pt x="0" y="435079"/>
                  </a:moveTo>
                  <a:lnTo>
                    <a:pt x="217512" y="435079"/>
                  </a:lnTo>
                  <a:lnTo>
                    <a:pt x="217512" y="217546"/>
                  </a:lnTo>
                  <a:lnTo>
                    <a:pt x="0" y="435079"/>
                  </a:lnTo>
                  <a:close/>
                  <a:moveTo>
                    <a:pt x="217539" y="0"/>
                  </a:moveTo>
                  <a:lnTo>
                    <a:pt x="0" y="0"/>
                  </a:lnTo>
                  <a:lnTo>
                    <a:pt x="217539" y="217532"/>
                  </a:lnTo>
                  <a:lnTo>
                    <a:pt x="217539" y="0"/>
                  </a:lnTo>
                  <a:close/>
                  <a:moveTo>
                    <a:pt x="435077" y="435079"/>
                  </a:moveTo>
                  <a:lnTo>
                    <a:pt x="217539" y="435079"/>
                  </a:lnTo>
                  <a:lnTo>
                    <a:pt x="435077" y="217546"/>
                  </a:lnTo>
                  <a:lnTo>
                    <a:pt x="435077" y="435079"/>
                  </a:lnTo>
                  <a:close/>
                  <a:moveTo>
                    <a:pt x="435077" y="0"/>
                  </a:moveTo>
                  <a:lnTo>
                    <a:pt x="217539" y="0"/>
                  </a:lnTo>
                  <a:lnTo>
                    <a:pt x="435077" y="217532"/>
                  </a:lnTo>
                  <a:lnTo>
                    <a:pt x="435077" y="0"/>
                  </a:lnTo>
                  <a:close/>
                </a:path>
              </a:pathLst>
            </a:custGeom>
            <a:grpFill/>
            <a:ln w="27192" cap="flat">
              <a:noFill/>
              <a:prstDash val="solid"/>
              <a:miter/>
            </a:ln>
          </p:spPr>
          <p:txBody>
            <a:bodyPr rtlCol="0" anchor="ctr"/>
            <a:lstStyle/>
            <a:p>
              <a:endParaRPr lang="uk-UA" sz="900"/>
            </a:p>
          </p:txBody>
        </p:sp>
        <p:sp>
          <p:nvSpPr>
            <p:cNvPr id="10" name="Freeform: Shape 9">
              <a:extLst>
                <a:ext uri="{FF2B5EF4-FFF2-40B4-BE49-F238E27FC236}">
                  <a16:creationId xmlns:a16="http://schemas.microsoft.com/office/drawing/2014/main" id="{31B7A70D-CF7E-A211-7950-A19AFFAE4898}"/>
                </a:ext>
              </a:extLst>
            </p:cNvPr>
            <p:cNvSpPr/>
            <p:nvPr/>
          </p:nvSpPr>
          <p:spPr>
            <a:xfrm>
              <a:off x="4316416" y="228598"/>
              <a:ext cx="435103" cy="435073"/>
            </a:xfrm>
            <a:custGeom>
              <a:avLst/>
              <a:gdLst>
                <a:gd name="connsiteX0" fmla="*/ 371365 w 435103"/>
                <a:gd name="connsiteY0" fmla="*/ 63716 h 435073"/>
                <a:gd name="connsiteX1" fmla="*/ 435077 w 435103"/>
                <a:gd name="connsiteY1" fmla="*/ 217539 h 435073"/>
                <a:gd name="connsiteX2" fmla="*/ 218952 w 435103"/>
                <a:gd name="connsiteY2" fmla="*/ 217539 h 435073"/>
                <a:gd name="connsiteX3" fmla="*/ 371365 w 435103"/>
                <a:gd name="connsiteY3" fmla="*/ 281249 h 435073"/>
                <a:gd name="connsiteX4" fmla="*/ 435104 w 435103"/>
                <a:gd name="connsiteY4" fmla="*/ 435073 h 435073"/>
                <a:gd name="connsiteX5" fmla="*/ 217565 w 435103"/>
                <a:gd name="connsiteY5" fmla="*/ 435073 h 435073"/>
                <a:gd name="connsiteX6" fmla="*/ 27 w 435103"/>
                <a:gd name="connsiteY6" fmla="*/ 435073 h 435073"/>
                <a:gd name="connsiteX7" fmla="*/ 63739 w 435103"/>
                <a:gd name="connsiteY7" fmla="*/ 281249 h 435073"/>
                <a:gd name="connsiteX8" fmla="*/ 216151 w 435103"/>
                <a:gd name="connsiteY8" fmla="*/ 217539 h 435073"/>
                <a:gd name="connsiteX9" fmla="*/ 0 w 435103"/>
                <a:gd name="connsiteY9" fmla="*/ 217539 h 435073"/>
                <a:gd name="connsiteX10" fmla="*/ 63739 w 435103"/>
                <a:gd name="connsiteY10" fmla="*/ 63716 h 435073"/>
                <a:gd name="connsiteX11" fmla="*/ 217539 w 435103"/>
                <a:gd name="connsiteY11" fmla="*/ 0 h 435073"/>
                <a:gd name="connsiteX12" fmla="*/ 371365 w 435103"/>
                <a:gd name="connsiteY12" fmla="*/ 63716 h 43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3" h="435073">
                  <a:moveTo>
                    <a:pt x="371365" y="63716"/>
                  </a:moveTo>
                  <a:cubicBezTo>
                    <a:pt x="412181" y="104512"/>
                    <a:pt x="435077" y="159844"/>
                    <a:pt x="435077" y="217539"/>
                  </a:cubicBezTo>
                  <a:lnTo>
                    <a:pt x="218952" y="217539"/>
                  </a:lnTo>
                  <a:cubicBezTo>
                    <a:pt x="276138" y="217907"/>
                    <a:pt x="330903" y="240784"/>
                    <a:pt x="371365" y="281249"/>
                  </a:cubicBezTo>
                  <a:cubicBezTo>
                    <a:pt x="412181" y="322046"/>
                    <a:pt x="435104" y="377379"/>
                    <a:pt x="435104" y="435073"/>
                  </a:cubicBezTo>
                  <a:lnTo>
                    <a:pt x="217565" y="435073"/>
                  </a:lnTo>
                  <a:lnTo>
                    <a:pt x="27" y="435073"/>
                  </a:lnTo>
                  <a:cubicBezTo>
                    <a:pt x="27" y="377379"/>
                    <a:pt x="22923" y="322046"/>
                    <a:pt x="63739" y="281249"/>
                  </a:cubicBezTo>
                  <a:cubicBezTo>
                    <a:pt x="104201" y="240784"/>
                    <a:pt x="158966" y="217907"/>
                    <a:pt x="216151" y="217539"/>
                  </a:cubicBezTo>
                  <a:lnTo>
                    <a:pt x="0" y="217539"/>
                  </a:lnTo>
                  <a:cubicBezTo>
                    <a:pt x="0" y="159844"/>
                    <a:pt x="22923" y="104512"/>
                    <a:pt x="63739" y="63716"/>
                  </a:cubicBezTo>
                  <a:cubicBezTo>
                    <a:pt x="104527" y="22919"/>
                    <a:pt x="159864" y="0"/>
                    <a:pt x="217539" y="0"/>
                  </a:cubicBezTo>
                  <a:cubicBezTo>
                    <a:pt x="275240" y="0"/>
                    <a:pt x="330577" y="22919"/>
                    <a:pt x="371365" y="63716"/>
                  </a:cubicBezTo>
                  <a:close/>
                </a:path>
              </a:pathLst>
            </a:custGeom>
            <a:grpFill/>
            <a:ln w="27192" cap="flat">
              <a:noFill/>
              <a:prstDash val="solid"/>
              <a:miter/>
            </a:ln>
          </p:spPr>
          <p:txBody>
            <a:bodyPr rtlCol="0" anchor="ctr"/>
            <a:lstStyle/>
            <a:p>
              <a:endParaRPr lang="uk-UA" sz="900"/>
            </a:p>
          </p:txBody>
        </p:sp>
        <p:sp>
          <p:nvSpPr>
            <p:cNvPr id="11" name="Freeform: Shape 10">
              <a:extLst>
                <a:ext uri="{FF2B5EF4-FFF2-40B4-BE49-F238E27FC236}">
                  <a16:creationId xmlns:a16="http://schemas.microsoft.com/office/drawing/2014/main" id="{F8CE4DFD-26A0-1553-841B-4AA2326B1FF2}"/>
                </a:ext>
              </a:extLst>
            </p:cNvPr>
            <p:cNvSpPr/>
            <p:nvPr/>
          </p:nvSpPr>
          <p:spPr>
            <a:xfrm>
              <a:off x="3446261" y="228598"/>
              <a:ext cx="435077" cy="435078"/>
            </a:xfrm>
            <a:custGeom>
              <a:avLst/>
              <a:gdLst>
                <a:gd name="connsiteX0" fmla="*/ 217566 w 435077"/>
                <a:gd name="connsiteY0" fmla="*/ 0 h 435078"/>
                <a:gd name="connsiteX1" fmla="*/ 217539 w 435077"/>
                <a:gd name="connsiteY1" fmla="*/ 0 h 435078"/>
                <a:gd name="connsiteX2" fmla="*/ 27 w 435077"/>
                <a:gd name="connsiteY2" fmla="*/ 0 h 435078"/>
                <a:gd name="connsiteX3" fmla="*/ 27 w 435077"/>
                <a:gd name="connsiteY3" fmla="*/ 217539 h 435078"/>
                <a:gd name="connsiteX4" fmla="*/ 217539 w 435077"/>
                <a:gd name="connsiteY4" fmla="*/ 7 h 435078"/>
                <a:gd name="connsiteX5" fmla="*/ 435077 w 435077"/>
                <a:gd name="connsiteY5" fmla="*/ 217539 h 435078"/>
                <a:gd name="connsiteX6" fmla="*/ 217539 w 435077"/>
                <a:gd name="connsiteY6" fmla="*/ 435079 h 435078"/>
                <a:gd name="connsiteX7" fmla="*/ 0 w 435077"/>
                <a:gd name="connsiteY7" fmla="*/ 217539 h 435078"/>
                <a:gd name="connsiteX8" fmla="*/ 0 w 435077"/>
                <a:gd name="connsiteY8" fmla="*/ 435079 h 435078"/>
                <a:gd name="connsiteX9" fmla="*/ 217539 w 435077"/>
                <a:gd name="connsiteY9" fmla="*/ 435079 h 435078"/>
                <a:gd name="connsiteX10" fmla="*/ 435077 w 435077"/>
                <a:gd name="connsiteY10" fmla="*/ 435079 h 435078"/>
                <a:gd name="connsiteX11" fmla="*/ 435077 w 435077"/>
                <a:gd name="connsiteY11" fmla="*/ 217539 h 435078"/>
                <a:gd name="connsiteX12" fmla="*/ 435077 w 435077"/>
                <a:gd name="connsiteY12" fmla="*/ 0 h 435078"/>
                <a:gd name="connsiteX13" fmla="*/ 217566 w 435077"/>
                <a:gd name="connsiteY13"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8">
                  <a:moveTo>
                    <a:pt x="217566" y="0"/>
                  </a:moveTo>
                  <a:lnTo>
                    <a:pt x="217539" y="0"/>
                  </a:lnTo>
                  <a:lnTo>
                    <a:pt x="27" y="0"/>
                  </a:lnTo>
                  <a:lnTo>
                    <a:pt x="27" y="217539"/>
                  </a:lnTo>
                  <a:lnTo>
                    <a:pt x="217539" y="7"/>
                  </a:lnTo>
                  <a:lnTo>
                    <a:pt x="435077" y="217539"/>
                  </a:lnTo>
                  <a:lnTo>
                    <a:pt x="217539" y="435079"/>
                  </a:lnTo>
                  <a:lnTo>
                    <a:pt x="0" y="217539"/>
                  </a:lnTo>
                  <a:lnTo>
                    <a:pt x="0" y="435079"/>
                  </a:lnTo>
                  <a:lnTo>
                    <a:pt x="217539" y="435079"/>
                  </a:lnTo>
                  <a:lnTo>
                    <a:pt x="435077" y="435079"/>
                  </a:lnTo>
                  <a:lnTo>
                    <a:pt x="435077" y="217539"/>
                  </a:lnTo>
                  <a:lnTo>
                    <a:pt x="435077" y="0"/>
                  </a:lnTo>
                  <a:lnTo>
                    <a:pt x="217566" y="0"/>
                  </a:lnTo>
                  <a:close/>
                </a:path>
              </a:pathLst>
            </a:custGeom>
            <a:grpFill/>
            <a:ln w="27192" cap="flat">
              <a:noFill/>
              <a:prstDash val="solid"/>
              <a:miter/>
            </a:ln>
          </p:spPr>
          <p:txBody>
            <a:bodyPr rtlCol="0" anchor="ctr"/>
            <a:lstStyle/>
            <a:p>
              <a:endParaRPr lang="uk-UA" sz="900"/>
            </a:p>
          </p:txBody>
        </p:sp>
        <p:sp>
          <p:nvSpPr>
            <p:cNvPr id="12" name="Freeform: Shape 11">
              <a:extLst>
                <a:ext uri="{FF2B5EF4-FFF2-40B4-BE49-F238E27FC236}">
                  <a16:creationId xmlns:a16="http://schemas.microsoft.com/office/drawing/2014/main" id="{3B23976C-C536-0688-E3A6-FAF3EEB07D4F}"/>
                </a:ext>
              </a:extLst>
            </p:cNvPr>
            <p:cNvSpPr/>
            <p:nvPr/>
          </p:nvSpPr>
          <p:spPr>
            <a:xfrm>
              <a:off x="5186597" y="228598"/>
              <a:ext cx="435077" cy="435075"/>
            </a:xfrm>
            <a:custGeom>
              <a:avLst/>
              <a:gdLst>
                <a:gd name="connsiteX0" fmla="*/ 217539 w 435077"/>
                <a:gd name="connsiteY0" fmla="*/ 217540 h 435075"/>
                <a:gd name="connsiteX1" fmla="*/ 217539 w 435077"/>
                <a:gd name="connsiteY1" fmla="*/ 217537 h 435075"/>
                <a:gd name="connsiteX2" fmla="*/ 0 w 435077"/>
                <a:gd name="connsiteY2" fmla="*/ 0 h 435075"/>
                <a:gd name="connsiteX3" fmla="*/ 217539 w 435077"/>
                <a:gd name="connsiteY3" fmla="*/ 0 h 435075"/>
                <a:gd name="connsiteX4" fmla="*/ 217539 w 435077"/>
                <a:gd name="connsiteY4" fmla="*/ 5 h 435075"/>
                <a:gd name="connsiteX5" fmla="*/ 435077 w 435077"/>
                <a:gd name="connsiteY5" fmla="*/ 217533 h 435075"/>
                <a:gd name="connsiteX6" fmla="*/ 435077 w 435077"/>
                <a:gd name="connsiteY6" fmla="*/ 217533 h 435075"/>
                <a:gd name="connsiteX7" fmla="*/ 435077 w 435077"/>
                <a:gd name="connsiteY7" fmla="*/ 217538 h 435075"/>
                <a:gd name="connsiteX8" fmla="*/ 435077 w 435077"/>
                <a:gd name="connsiteY8" fmla="*/ 217542 h 435075"/>
                <a:gd name="connsiteX9" fmla="*/ 435077 w 435077"/>
                <a:gd name="connsiteY9" fmla="*/ 217542 h 435075"/>
                <a:gd name="connsiteX10" fmla="*/ 217539 w 435077"/>
                <a:gd name="connsiteY10" fmla="*/ 435071 h 435075"/>
                <a:gd name="connsiteX11" fmla="*/ 217539 w 435077"/>
                <a:gd name="connsiteY11" fmla="*/ 435076 h 435075"/>
                <a:gd name="connsiteX12" fmla="*/ 0 w 435077"/>
                <a:gd name="connsiteY12" fmla="*/ 435076 h 435075"/>
                <a:gd name="connsiteX13" fmla="*/ 217539 w 435077"/>
                <a:gd name="connsiteY13" fmla="*/ 217540 h 43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5">
                  <a:moveTo>
                    <a:pt x="217539" y="217540"/>
                  </a:moveTo>
                  <a:lnTo>
                    <a:pt x="217539" y="217537"/>
                  </a:lnTo>
                  <a:lnTo>
                    <a:pt x="0" y="0"/>
                  </a:lnTo>
                  <a:lnTo>
                    <a:pt x="217539" y="0"/>
                  </a:lnTo>
                  <a:lnTo>
                    <a:pt x="217539" y="5"/>
                  </a:lnTo>
                  <a:lnTo>
                    <a:pt x="435077" y="217533"/>
                  </a:lnTo>
                  <a:lnTo>
                    <a:pt x="435077" y="217533"/>
                  </a:lnTo>
                  <a:lnTo>
                    <a:pt x="435077" y="217538"/>
                  </a:lnTo>
                  <a:lnTo>
                    <a:pt x="435077" y="217542"/>
                  </a:lnTo>
                  <a:lnTo>
                    <a:pt x="435077" y="217542"/>
                  </a:lnTo>
                  <a:lnTo>
                    <a:pt x="217539" y="435071"/>
                  </a:lnTo>
                  <a:lnTo>
                    <a:pt x="217539" y="435076"/>
                  </a:lnTo>
                  <a:lnTo>
                    <a:pt x="0" y="435076"/>
                  </a:lnTo>
                  <a:lnTo>
                    <a:pt x="217539" y="217540"/>
                  </a:lnTo>
                  <a:close/>
                </a:path>
              </a:pathLst>
            </a:custGeom>
            <a:grpFill/>
            <a:ln w="27192" cap="flat">
              <a:noFill/>
              <a:prstDash val="solid"/>
              <a:miter/>
            </a:ln>
          </p:spPr>
          <p:txBody>
            <a:bodyPr rtlCol="0" anchor="ctr"/>
            <a:lstStyle/>
            <a:p>
              <a:endParaRPr lang="uk-UA" sz="900"/>
            </a:p>
          </p:txBody>
        </p:sp>
        <p:sp>
          <p:nvSpPr>
            <p:cNvPr id="13" name="Freeform: Shape 12">
              <a:extLst>
                <a:ext uri="{FF2B5EF4-FFF2-40B4-BE49-F238E27FC236}">
                  <a16:creationId xmlns:a16="http://schemas.microsoft.com/office/drawing/2014/main" id="{73F9B260-06EC-2683-5D37-5DE74B16C6D0}"/>
                </a:ext>
              </a:extLst>
            </p:cNvPr>
            <p:cNvSpPr/>
            <p:nvPr/>
          </p:nvSpPr>
          <p:spPr>
            <a:xfrm>
              <a:off x="6056752" y="228598"/>
              <a:ext cx="435077" cy="435078"/>
            </a:xfrm>
            <a:custGeom>
              <a:avLst/>
              <a:gdLst>
                <a:gd name="connsiteX0" fmla="*/ 0 w 435077"/>
                <a:gd name="connsiteY0" fmla="*/ 435079 h 435078"/>
                <a:gd name="connsiteX1" fmla="*/ 217539 w 435077"/>
                <a:gd name="connsiteY1" fmla="*/ 435079 h 435078"/>
                <a:gd name="connsiteX2" fmla="*/ 217539 w 435077"/>
                <a:gd name="connsiteY2" fmla="*/ 217546 h 435078"/>
                <a:gd name="connsiteX3" fmla="*/ 0 w 435077"/>
                <a:gd name="connsiteY3" fmla="*/ 435079 h 435078"/>
                <a:gd name="connsiteX4" fmla="*/ 217539 w 435077"/>
                <a:gd name="connsiteY4" fmla="*/ 0 h 435078"/>
                <a:gd name="connsiteX5" fmla="*/ 0 w 435077"/>
                <a:gd name="connsiteY5" fmla="*/ 0 h 435078"/>
                <a:gd name="connsiteX6" fmla="*/ 217539 w 435077"/>
                <a:gd name="connsiteY6" fmla="*/ 217532 h 435078"/>
                <a:gd name="connsiteX7" fmla="*/ 217539 w 435077"/>
                <a:gd name="connsiteY7" fmla="*/ 0 h 435078"/>
                <a:gd name="connsiteX8" fmla="*/ 435077 w 435077"/>
                <a:gd name="connsiteY8" fmla="*/ 435079 h 435078"/>
                <a:gd name="connsiteX9" fmla="*/ 217539 w 435077"/>
                <a:gd name="connsiteY9" fmla="*/ 435079 h 435078"/>
                <a:gd name="connsiteX10" fmla="*/ 435077 w 435077"/>
                <a:gd name="connsiteY10" fmla="*/ 217546 h 435078"/>
                <a:gd name="connsiteX11" fmla="*/ 435077 w 435077"/>
                <a:gd name="connsiteY11" fmla="*/ 435079 h 435078"/>
                <a:gd name="connsiteX12" fmla="*/ 435077 w 435077"/>
                <a:gd name="connsiteY12" fmla="*/ 0 h 435078"/>
                <a:gd name="connsiteX13" fmla="*/ 217539 w 435077"/>
                <a:gd name="connsiteY13" fmla="*/ 0 h 435078"/>
                <a:gd name="connsiteX14" fmla="*/ 435077 w 435077"/>
                <a:gd name="connsiteY14" fmla="*/ 217532 h 435078"/>
                <a:gd name="connsiteX15" fmla="*/ 435077 w 435077"/>
                <a:gd name="connsiteY15"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8">
                  <a:moveTo>
                    <a:pt x="0" y="435079"/>
                  </a:moveTo>
                  <a:lnTo>
                    <a:pt x="217539" y="435079"/>
                  </a:lnTo>
                  <a:lnTo>
                    <a:pt x="217539" y="217546"/>
                  </a:lnTo>
                  <a:lnTo>
                    <a:pt x="0" y="435079"/>
                  </a:lnTo>
                  <a:close/>
                  <a:moveTo>
                    <a:pt x="217539" y="0"/>
                  </a:moveTo>
                  <a:lnTo>
                    <a:pt x="0" y="0"/>
                  </a:lnTo>
                  <a:lnTo>
                    <a:pt x="217539" y="217532"/>
                  </a:lnTo>
                  <a:lnTo>
                    <a:pt x="217539" y="0"/>
                  </a:lnTo>
                  <a:close/>
                  <a:moveTo>
                    <a:pt x="435077" y="435079"/>
                  </a:moveTo>
                  <a:lnTo>
                    <a:pt x="217539" y="435079"/>
                  </a:lnTo>
                  <a:lnTo>
                    <a:pt x="435077" y="217546"/>
                  </a:lnTo>
                  <a:lnTo>
                    <a:pt x="435077" y="435079"/>
                  </a:lnTo>
                  <a:close/>
                  <a:moveTo>
                    <a:pt x="435077" y="0"/>
                  </a:moveTo>
                  <a:lnTo>
                    <a:pt x="217539" y="0"/>
                  </a:lnTo>
                  <a:lnTo>
                    <a:pt x="435077" y="217532"/>
                  </a:lnTo>
                  <a:lnTo>
                    <a:pt x="435077" y="0"/>
                  </a:lnTo>
                  <a:close/>
                </a:path>
              </a:pathLst>
            </a:custGeom>
            <a:grpFill/>
            <a:ln w="27192" cap="flat">
              <a:noFill/>
              <a:prstDash val="solid"/>
              <a:miter/>
            </a:ln>
          </p:spPr>
          <p:txBody>
            <a:bodyPr rtlCol="0" anchor="ctr"/>
            <a:lstStyle/>
            <a:p>
              <a:endParaRPr lang="uk-UA" sz="900"/>
            </a:p>
          </p:txBody>
        </p:sp>
        <p:sp>
          <p:nvSpPr>
            <p:cNvPr id="14" name="Freeform: Shape 13">
              <a:extLst>
                <a:ext uri="{FF2B5EF4-FFF2-40B4-BE49-F238E27FC236}">
                  <a16:creationId xmlns:a16="http://schemas.microsoft.com/office/drawing/2014/main" id="{FDC987B4-C88C-1281-4885-1F88A59B7F5A}"/>
                </a:ext>
              </a:extLst>
            </p:cNvPr>
            <p:cNvSpPr/>
            <p:nvPr/>
          </p:nvSpPr>
          <p:spPr>
            <a:xfrm>
              <a:off x="7797062" y="228598"/>
              <a:ext cx="435104" cy="435073"/>
            </a:xfrm>
            <a:custGeom>
              <a:avLst/>
              <a:gdLst>
                <a:gd name="connsiteX0" fmla="*/ 371366 w 435104"/>
                <a:gd name="connsiteY0" fmla="*/ 63716 h 435073"/>
                <a:gd name="connsiteX1" fmla="*/ 435077 w 435104"/>
                <a:gd name="connsiteY1" fmla="*/ 217539 h 435073"/>
                <a:gd name="connsiteX2" fmla="*/ 218953 w 435104"/>
                <a:gd name="connsiteY2" fmla="*/ 217539 h 435073"/>
                <a:gd name="connsiteX3" fmla="*/ 371366 w 435104"/>
                <a:gd name="connsiteY3" fmla="*/ 281249 h 435073"/>
                <a:gd name="connsiteX4" fmla="*/ 435105 w 435104"/>
                <a:gd name="connsiteY4" fmla="*/ 435073 h 435073"/>
                <a:gd name="connsiteX5" fmla="*/ 217566 w 435104"/>
                <a:gd name="connsiteY5" fmla="*/ 435073 h 435073"/>
                <a:gd name="connsiteX6" fmla="*/ 27 w 435104"/>
                <a:gd name="connsiteY6" fmla="*/ 435073 h 435073"/>
                <a:gd name="connsiteX7" fmla="*/ 63739 w 435104"/>
                <a:gd name="connsiteY7" fmla="*/ 281249 h 435073"/>
                <a:gd name="connsiteX8" fmla="*/ 216152 w 435104"/>
                <a:gd name="connsiteY8" fmla="*/ 217539 h 435073"/>
                <a:gd name="connsiteX9" fmla="*/ 0 w 435104"/>
                <a:gd name="connsiteY9" fmla="*/ 217539 h 435073"/>
                <a:gd name="connsiteX10" fmla="*/ 63739 w 435104"/>
                <a:gd name="connsiteY10" fmla="*/ 63716 h 435073"/>
                <a:gd name="connsiteX11" fmla="*/ 217539 w 435104"/>
                <a:gd name="connsiteY11" fmla="*/ 0 h 435073"/>
                <a:gd name="connsiteX12" fmla="*/ 371366 w 435104"/>
                <a:gd name="connsiteY12" fmla="*/ 63716 h 43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4" h="435073">
                  <a:moveTo>
                    <a:pt x="371366" y="63716"/>
                  </a:moveTo>
                  <a:cubicBezTo>
                    <a:pt x="412182" y="104512"/>
                    <a:pt x="435077" y="159844"/>
                    <a:pt x="435077" y="217539"/>
                  </a:cubicBezTo>
                  <a:lnTo>
                    <a:pt x="218953" y="217539"/>
                  </a:lnTo>
                  <a:cubicBezTo>
                    <a:pt x="276138" y="217907"/>
                    <a:pt x="330904" y="240784"/>
                    <a:pt x="371366" y="281249"/>
                  </a:cubicBezTo>
                  <a:cubicBezTo>
                    <a:pt x="412182" y="322046"/>
                    <a:pt x="435105" y="377379"/>
                    <a:pt x="435105" y="435073"/>
                  </a:cubicBezTo>
                  <a:lnTo>
                    <a:pt x="217566" y="435073"/>
                  </a:lnTo>
                  <a:lnTo>
                    <a:pt x="27" y="435073"/>
                  </a:lnTo>
                  <a:cubicBezTo>
                    <a:pt x="27" y="377379"/>
                    <a:pt x="22924" y="322046"/>
                    <a:pt x="63739" y="281249"/>
                  </a:cubicBezTo>
                  <a:cubicBezTo>
                    <a:pt x="104201" y="240784"/>
                    <a:pt x="158967" y="217907"/>
                    <a:pt x="216152" y="217539"/>
                  </a:cubicBezTo>
                  <a:lnTo>
                    <a:pt x="0" y="217539"/>
                  </a:lnTo>
                  <a:cubicBezTo>
                    <a:pt x="0" y="159844"/>
                    <a:pt x="22924" y="104512"/>
                    <a:pt x="63739" y="63716"/>
                  </a:cubicBezTo>
                  <a:cubicBezTo>
                    <a:pt x="104527" y="22919"/>
                    <a:pt x="159864" y="0"/>
                    <a:pt x="217539" y="0"/>
                  </a:cubicBezTo>
                  <a:cubicBezTo>
                    <a:pt x="275241" y="0"/>
                    <a:pt x="330578" y="22919"/>
                    <a:pt x="371366" y="63716"/>
                  </a:cubicBezTo>
                  <a:close/>
                </a:path>
              </a:pathLst>
            </a:custGeom>
            <a:grpFill/>
            <a:ln w="27192" cap="flat">
              <a:noFill/>
              <a:prstDash val="solid"/>
              <a:miter/>
            </a:ln>
          </p:spPr>
          <p:txBody>
            <a:bodyPr rtlCol="0" anchor="ctr"/>
            <a:lstStyle/>
            <a:p>
              <a:endParaRPr lang="uk-UA" sz="900"/>
            </a:p>
          </p:txBody>
        </p:sp>
        <p:sp>
          <p:nvSpPr>
            <p:cNvPr id="15" name="Freeform: Shape 14">
              <a:extLst>
                <a:ext uri="{FF2B5EF4-FFF2-40B4-BE49-F238E27FC236}">
                  <a16:creationId xmlns:a16="http://schemas.microsoft.com/office/drawing/2014/main" id="{B89844AA-D53D-5ED2-9ABD-3C4385BD7233}"/>
                </a:ext>
              </a:extLst>
            </p:cNvPr>
            <p:cNvSpPr/>
            <p:nvPr/>
          </p:nvSpPr>
          <p:spPr>
            <a:xfrm>
              <a:off x="6926907" y="228598"/>
              <a:ext cx="435077" cy="435078"/>
            </a:xfrm>
            <a:custGeom>
              <a:avLst/>
              <a:gdLst>
                <a:gd name="connsiteX0" fmla="*/ 217539 w 435077"/>
                <a:gd name="connsiteY0" fmla="*/ 0 h 435078"/>
                <a:gd name="connsiteX1" fmla="*/ 0 w 435077"/>
                <a:gd name="connsiteY1" fmla="*/ 0 h 435078"/>
                <a:gd name="connsiteX2" fmla="*/ 0 w 435077"/>
                <a:gd name="connsiteY2" fmla="*/ 217539 h 435078"/>
                <a:gd name="connsiteX3" fmla="*/ 0 w 435077"/>
                <a:gd name="connsiteY3" fmla="*/ 435079 h 435078"/>
                <a:gd name="connsiteX4" fmla="*/ 217539 w 435077"/>
                <a:gd name="connsiteY4" fmla="*/ 435079 h 435078"/>
                <a:gd name="connsiteX5" fmla="*/ 435077 w 435077"/>
                <a:gd name="connsiteY5" fmla="*/ 435079 h 435078"/>
                <a:gd name="connsiteX6" fmla="*/ 435077 w 435077"/>
                <a:gd name="connsiteY6" fmla="*/ 217539 h 435078"/>
                <a:gd name="connsiteX7" fmla="*/ 435077 w 435077"/>
                <a:gd name="connsiteY7" fmla="*/ 0 h 435078"/>
                <a:gd name="connsiteX8" fmla="*/ 217539 w 435077"/>
                <a:gd name="connsiteY8" fmla="*/ 0 h 435078"/>
                <a:gd name="connsiteX9" fmla="*/ 217539 w 435077"/>
                <a:gd name="connsiteY9" fmla="*/ 0 h 435078"/>
                <a:gd name="connsiteX10" fmla="*/ 435077 w 435077"/>
                <a:gd name="connsiteY10" fmla="*/ 217539 h 435078"/>
                <a:gd name="connsiteX11" fmla="*/ 217539 w 435077"/>
                <a:gd name="connsiteY11" fmla="*/ 435079 h 435078"/>
                <a:gd name="connsiteX12" fmla="*/ 0 w 435077"/>
                <a:gd name="connsiteY12" fmla="*/ 217539 h 435078"/>
                <a:gd name="connsiteX13" fmla="*/ 217539 w 435077"/>
                <a:gd name="connsiteY13"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8">
                  <a:moveTo>
                    <a:pt x="217539" y="0"/>
                  </a:moveTo>
                  <a:lnTo>
                    <a:pt x="0" y="0"/>
                  </a:lnTo>
                  <a:lnTo>
                    <a:pt x="0" y="217539"/>
                  </a:lnTo>
                  <a:lnTo>
                    <a:pt x="0" y="435079"/>
                  </a:lnTo>
                  <a:lnTo>
                    <a:pt x="217539" y="435079"/>
                  </a:lnTo>
                  <a:lnTo>
                    <a:pt x="435077" y="435079"/>
                  </a:lnTo>
                  <a:lnTo>
                    <a:pt x="435077" y="217539"/>
                  </a:lnTo>
                  <a:lnTo>
                    <a:pt x="435077" y="0"/>
                  </a:lnTo>
                  <a:lnTo>
                    <a:pt x="217539" y="0"/>
                  </a:lnTo>
                  <a:close/>
                  <a:moveTo>
                    <a:pt x="217539" y="0"/>
                  </a:moveTo>
                  <a:lnTo>
                    <a:pt x="435077" y="217539"/>
                  </a:lnTo>
                  <a:lnTo>
                    <a:pt x="217539" y="435079"/>
                  </a:lnTo>
                  <a:lnTo>
                    <a:pt x="0" y="217539"/>
                  </a:lnTo>
                  <a:lnTo>
                    <a:pt x="217539" y="0"/>
                  </a:lnTo>
                  <a:close/>
                </a:path>
              </a:pathLst>
            </a:custGeom>
            <a:grpFill/>
            <a:ln w="27192" cap="flat">
              <a:noFill/>
              <a:prstDash val="solid"/>
              <a:miter/>
            </a:ln>
          </p:spPr>
          <p:txBody>
            <a:bodyPr rtlCol="0" anchor="ctr"/>
            <a:lstStyle/>
            <a:p>
              <a:endParaRPr lang="uk-UA" sz="900"/>
            </a:p>
          </p:txBody>
        </p:sp>
        <p:sp>
          <p:nvSpPr>
            <p:cNvPr id="16" name="Freeform: Shape 15">
              <a:extLst>
                <a:ext uri="{FF2B5EF4-FFF2-40B4-BE49-F238E27FC236}">
                  <a16:creationId xmlns:a16="http://schemas.microsoft.com/office/drawing/2014/main" id="{8086FCE4-E7C4-C491-675A-A762567954F9}"/>
                </a:ext>
              </a:extLst>
            </p:cNvPr>
            <p:cNvSpPr/>
            <p:nvPr/>
          </p:nvSpPr>
          <p:spPr>
            <a:xfrm>
              <a:off x="8667217" y="228598"/>
              <a:ext cx="435077" cy="435075"/>
            </a:xfrm>
            <a:custGeom>
              <a:avLst/>
              <a:gdLst>
                <a:gd name="connsiteX0" fmla="*/ 217539 w 435077"/>
                <a:gd name="connsiteY0" fmla="*/ 217540 h 435075"/>
                <a:gd name="connsiteX1" fmla="*/ 217539 w 435077"/>
                <a:gd name="connsiteY1" fmla="*/ 217537 h 435075"/>
                <a:gd name="connsiteX2" fmla="*/ 0 w 435077"/>
                <a:gd name="connsiteY2" fmla="*/ 0 h 435075"/>
                <a:gd name="connsiteX3" fmla="*/ 217539 w 435077"/>
                <a:gd name="connsiteY3" fmla="*/ 0 h 435075"/>
                <a:gd name="connsiteX4" fmla="*/ 217539 w 435077"/>
                <a:gd name="connsiteY4" fmla="*/ 5 h 435075"/>
                <a:gd name="connsiteX5" fmla="*/ 435077 w 435077"/>
                <a:gd name="connsiteY5" fmla="*/ 217533 h 435075"/>
                <a:gd name="connsiteX6" fmla="*/ 435077 w 435077"/>
                <a:gd name="connsiteY6" fmla="*/ 217533 h 435075"/>
                <a:gd name="connsiteX7" fmla="*/ 435077 w 435077"/>
                <a:gd name="connsiteY7" fmla="*/ 217538 h 435075"/>
                <a:gd name="connsiteX8" fmla="*/ 435077 w 435077"/>
                <a:gd name="connsiteY8" fmla="*/ 217542 h 435075"/>
                <a:gd name="connsiteX9" fmla="*/ 435077 w 435077"/>
                <a:gd name="connsiteY9" fmla="*/ 217542 h 435075"/>
                <a:gd name="connsiteX10" fmla="*/ 217539 w 435077"/>
                <a:gd name="connsiteY10" fmla="*/ 435071 h 435075"/>
                <a:gd name="connsiteX11" fmla="*/ 217539 w 435077"/>
                <a:gd name="connsiteY11" fmla="*/ 435076 h 435075"/>
                <a:gd name="connsiteX12" fmla="*/ 0 w 435077"/>
                <a:gd name="connsiteY12" fmla="*/ 435076 h 435075"/>
                <a:gd name="connsiteX13" fmla="*/ 217539 w 435077"/>
                <a:gd name="connsiteY13" fmla="*/ 217540 h 43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5">
                  <a:moveTo>
                    <a:pt x="217539" y="217540"/>
                  </a:moveTo>
                  <a:lnTo>
                    <a:pt x="217539" y="217537"/>
                  </a:lnTo>
                  <a:lnTo>
                    <a:pt x="0" y="0"/>
                  </a:lnTo>
                  <a:lnTo>
                    <a:pt x="217539" y="0"/>
                  </a:lnTo>
                  <a:lnTo>
                    <a:pt x="217539" y="5"/>
                  </a:lnTo>
                  <a:lnTo>
                    <a:pt x="435077" y="217533"/>
                  </a:lnTo>
                  <a:lnTo>
                    <a:pt x="435077" y="217533"/>
                  </a:lnTo>
                  <a:lnTo>
                    <a:pt x="435077" y="217538"/>
                  </a:lnTo>
                  <a:lnTo>
                    <a:pt x="435077" y="217542"/>
                  </a:lnTo>
                  <a:lnTo>
                    <a:pt x="435077" y="217542"/>
                  </a:lnTo>
                  <a:lnTo>
                    <a:pt x="217539" y="435071"/>
                  </a:lnTo>
                  <a:lnTo>
                    <a:pt x="217539" y="435076"/>
                  </a:lnTo>
                  <a:lnTo>
                    <a:pt x="0" y="435076"/>
                  </a:lnTo>
                  <a:lnTo>
                    <a:pt x="217539" y="217540"/>
                  </a:lnTo>
                  <a:close/>
                </a:path>
              </a:pathLst>
            </a:custGeom>
            <a:grpFill/>
            <a:ln w="27192" cap="flat">
              <a:noFill/>
              <a:prstDash val="solid"/>
              <a:miter/>
            </a:ln>
          </p:spPr>
          <p:txBody>
            <a:bodyPr rtlCol="0" anchor="ctr"/>
            <a:lstStyle/>
            <a:p>
              <a:endParaRPr lang="uk-UA" sz="900"/>
            </a:p>
          </p:txBody>
        </p:sp>
        <p:sp>
          <p:nvSpPr>
            <p:cNvPr id="17" name="Freeform: Shape 16">
              <a:extLst>
                <a:ext uri="{FF2B5EF4-FFF2-40B4-BE49-F238E27FC236}">
                  <a16:creationId xmlns:a16="http://schemas.microsoft.com/office/drawing/2014/main" id="{797BA298-67AC-2F40-72AA-4C9910D0076C}"/>
                </a:ext>
              </a:extLst>
            </p:cNvPr>
            <p:cNvSpPr/>
            <p:nvPr/>
          </p:nvSpPr>
          <p:spPr>
            <a:xfrm>
              <a:off x="9537399" y="228598"/>
              <a:ext cx="435077" cy="435078"/>
            </a:xfrm>
            <a:custGeom>
              <a:avLst/>
              <a:gdLst>
                <a:gd name="connsiteX0" fmla="*/ 0 w 435077"/>
                <a:gd name="connsiteY0" fmla="*/ 435079 h 435078"/>
                <a:gd name="connsiteX1" fmla="*/ 217511 w 435077"/>
                <a:gd name="connsiteY1" fmla="*/ 435079 h 435078"/>
                <a:gd name="connsiteX2" fmla="*/ 217511 w 435077"/>
                <a:gd name="connsiteY2" fmla="*/ 217546 h 435078"/>
                <a:gd name="connsiteX3" fmla="*/ 0 w 435077"/>
                <a:gd name="connsiteY3" fmla="*/ 435079 h 435078"/>
                <a:gd name="connsiteX4" fmla="*/ 217511 w 435077"/>
                <a:gd name="connsiteY4" fmla="*/ 0 h 435078"/>
                <a:gd name="connsiteX5" fmla="*/ 0 w 435077"/>
                <a:gd name="connsiteY5" fmla="*/ 0 h 435078"/>
                <a:gd name="connsiteX6" fmla="*/ 217511 w 435077"/>
                <a:gd name="connsiteY6" fmla="*/ 217532 h 435078"/>
                <a:gd name="connsiteX7" fmla="*/ 217511 w 435077"/>
                <a:gd name="connsiteY7" fmla="*/ 0 h 435078"/>
                <a:gd name="connsiteX8" fmla="*/ 435077 w 435077"/>
                <a:gd name="connsiteY8" fmla="*/ 435079 h 435078"/>
                <a:gd name="connsiteX9" fmla="*/ 217539 w 435077"/>
                <a:gd name="connsiteY9" fmla="*/ 435079 h 435078"/>
                <a:gd name="connsiteX10" fmla="*/ 435077 w 435077"/>
                <a:gd name="connsiteY10" fmla="*/ 217546 h 435078"/>
                <a:gd name="connsiteX11" fmla="*/ 435077 w 435077"/>
                <a:gd name="connsiteY11" fmla="*/ 435079 h 435078"/>
                <a:gd name="connsiteX12" fmla="*/ 435077 w 435077"/>
                <a:gd name="connsiteY12" fmla="*/ 0 h 435078"/>
                <a:gd name="connsiteX13" fmla="*/ 217539 w 435077"/>
                <a:gd name="connsiteY13" fmla="*/ 0 h 435078"/>
                <a:gd name="connsiteX14" fmla="*/ 435077 w 435077"/>
                <a:gd name="connsiteY14" fmla="*/ 217532 h 435078"/>
                <a:gd name="connsiteX15" fmla="*/ 435077 w 435077"/>
                <a:gd name="connsiteY15"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8">
                  <a:moveTo>
                    <a:pt x="0" y="435079"/>
                  </a:moveTo>
                  <a:lnTo>
                    <a:pt x="217511" y="435079"/>
                  </a:lnTo>
                  <a:lnTo>
                    <a:pt x="217511" y="217546"/>
                  </a:lnTo>
                  <a:lnTo>
                    <a:pt x="0" y="435079"/>
                  </a:lnTo>
                  <a:close/>
                  <a:moveTo>
                    <a:pt x="217511" y="0"/>
                  </a:moveTo>
                  <a:lnTo>
                    <a:pt x="0" y="0"/>
                  </a:lnTo>
                  <a:lnTo>
                    <a:pt x="217511" y="217532"/>
                  </a:lnTo>
                  <a:lnTo>
                    <a:pt x="217511" y="0"/>
                  </a:lnTo>
                  <a:close/>
                  <a:moveTo>
                    <a:pt x="435077" y="435079"/>
                  </a:moveTo>
                  <a:lnTo>
                    <a:pt x="217539" y="435079"/>
                  </a:lnTo>
                  <a:lnTo>
                    <a:pt x="435077" y="217546"/>
                  </a:lnTo>
                  <a:lnTo>
                    <a:pt x="435077" y="435079"/>
                  </a:lnTo>
                  <a:close/>
                  <a:moveTo>
                    <a:pt x="435077" y="0"/>
                  </a:moveTo>
                  <a:lnTo>
                    <a:pt x="217539" y="0"/>
                  </a:lnTo>
                  <a:lnTo>
                    <a:pt x="435077" y="217532"/>
                  </a:lnTo>
                  <a:lnTo>
                    <a:pt x="435077" y="0"/>
                  </a:lnTo>
                  <a:close/>
                </a:path>
              </a:pathLst>
            </a:custGeom>
            <a:grpFill/>
            <a:ln w="27192" cap="flat">
              <a:noFill/>
              <a:prstDash val="solid"/>
              <a:miter/>
            </a:ln>
          </p:spPr>
          <p:txBody>
            <a:bodyPr rtlCol="0" anchor="ctr"/>
            <a:lstStyle/>
            <a:p>
              <a:endParaRPr lang="uk-UA" sz="900"/>
            </a:p>
          </p:txBody>
        </p:sp>
        <p:sp>
          <p:nvSpPr>
            <p:cNvPr id="18" name="Freeform: Shape 17">
              <a:extLst>
                <a:ext uri="{FF2B5EF4-FFF2-40B4-BE49-F238E27FC236}">
                  <a16:creationId xmlns:a16="http://schemas.microsoft.com/office/drawing/2014/main" id="{C00E37CD-7676-854C-6B1C-69D7C296FA1C}"/>
                </a:ext>
              </a:extLst>
            </p:cNvPr>
            <p:cNvSpPr/>
            <p:nvPr/>
          </p:nvSpPr>
          <p:spPr>
            <a:xfrm>
              <a:off x="11277709" y="228598"/>
              <a:ext cx="435077" cy="435073"/>
            </a:xfrm>
            <a:custGeom>
              <a:avLst/>
              <a:gdLst>
                <a:gd name="connsiteX0" fmla="*/ 371365 w 435077"/>
                <a:gd name="connsiteY0" fmla="*/ 63716 h 435073"/>
                <a:gd name="connsiteX1" fmla="*/ 435077 w 435077"/>
                <a:gd name="connsiteY1" fmla="*/ 217539 h 435073"/>
                <a:gd name="connsiteX2" fmla="*/ 218953 w 435077"/>
                <a:gd name="connsiteY2" fmla="*/ 217539 h 435073"/>
                <a:gd name="connsiteX3" fmla="*/ 371365 w 435077"/>
                <a:gd name="connsiteY3" fmla="*/ 281249 h 435073"/>
                <a:gd name="connsiteX4" fmla="*/ 435077 w 435077"/>
                <a:gd name="connsiteY4" fmla="*/ 435073 h 435073"/>
                <a:gd name="connsiteX5" fmla="*/ 217539 w 435077"/>
                <a:gd name="connsiteY5" fmla="*/ 435073 h 435073"/>
                <a:gd name="connsiteX6" fmla="*/ 0 w 435077"/>
                <a:gd name="connsiteY6" fmla="*/ 435073 h 435073"/>
                <a:gd name="connsiteX7" fmla="*/ 63710 w 435077"/>
                <a:gd name="connsiteY7" fmla="*/ 281249 h 435073"/>
                <a:gd name="connsiteX8" fmla="*/ 216151 w 435077"/>
                <a:gd name="connsiteY8" fmla="*/ 217539 h 435073"/>
                <a:gd name="connsiteX9" fmla="*/ 0 w 435077"/>
                <a:gd name="connsiteY9" fmla="*/ 217539 h 435073"/>
                <a:gd name="connsiteX10" fmla="*/ 63710 w 435077"/>
                <a:gd name="connsiteY10" fmla="*/ 63716 h 435073"/>
                <a:gd name="connsiteX11" fmla="*/ 217539 w 435077"/>
                <a:gd name="connsiteY11" fmla="*/ 0 h 435073"/>
                <a:gd name="connsiteX12" fmla="*/ 371365 w 435077"/>
                <a:gd name="connsiteY12" fmla="*/ 63716 h 43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3">
                  <a:moveTo>
                    <a:pt x="371365" y="63716"/>
                  </a:moveTo>
                  <a:cubicBezTo>
                    <a:pt x="412154" y="104512"/>
                    <a:pt x="435077" y="159844"/>
                    <a:pt x="435077" y="217539"/>
                  </a:cubicBezTo>
                  <a:lnTo>
                    <a:pt x="218953" y="217539"/>
                  </a:lnTo>
                  <a:cubicBezTo>
                    <a:pt x="276137" y="217907"/>
                    <a:pt x="330902" y="240784"/>
                    <a:pt x="371365" y="281249"/>
                  </a:cubicBezTo>
                  <a:cubicBezTo>
                    <a:pt x="412154" y="322046"/>
                    <a:pt x="435077" y="377379"/>
                    <a:pt x="435077" y="435073"/>
                  </a:cubicBezTo>
                  <a:lnTo>
                    <a:pt x="217539" y="435073"/>
                  </a:lnTo>
                  <a:lnTo>
                    <a:pt x="0" y="435073"/>
                  </a:lnTo>
                  <a:cubicBezTo>
                    <a:pt x="0" y="377379"/>
                    <a:pt x="22922" y="322046"/>
                    <a:pt x="63710" y="281249"/>
                  </a:cubicBezTo>
                  <a:cubicBezTo>
                    <a:pt x="104174" y="240784"/>
                    <a:pt x="158938" y="217907"/>
                    <a:pt x="216151" y="217539"/>
                  </a:cubicBezTo>
                  <a:lnTo>
                    <a:pt x="0" y="217539"/>
                  </a:lnTo>
                  <a:cubicBezTo>
                    <a:pt x="0" y="159844"/>
                    <a:pt x="22922" y="104512"/>
                    <a:pt x="63710" y="63716"/>
                  </a:cubicBezTo>
                  <a:cubicBezTo>
                    <a:pt x="104499" y="22919"/>
                    <a:pt x="159836" y="0"/>
                    <a:pt x="217539" y="0"/>
                  </a:cubicBezTo>
                  <a:cubicBezTo>
                    <a:pt x="275239" y="0"/>
                    <a:pt x="330549" y="22919"/>
                    <a:pt x="371365" y="63716"/>
                  </a:cubicBezTo>
                  <a:close/>
                </a:path>
              </a:pathLst>
            </a:custGeom>
            <a:grpFill/>
            <a:ln w="27192" cap="flat">
              <a:noFill/>
              <a:prstDash val="solid"/>
              <a:miter/>
            </a:ln>
          </p:spPr>
          <p:txBody>
            <a:bodyPr rtlCol="0" anchor="ctr"/>
            <a:lstStyle/>
            <a:p>
              <a:endParaRPr lang="uk-UA" sz="900"/>
            </a:p>
          </p:txBody>
        </p:sp>
        <p:sp>
          <p:nvSpPr>
            <p:cNvPr id="19" name="Freeform: Shape 18">
              <a:extLst>
                <a:ext uri="{FF2B5EF4-FFF2-40B4-BE49-F238E27FC236}">
                  <a16:creationId xmlns:a16="http://schemas.microsoft.com/office/drawing/2014/main" id="{F352DDD0-30AF-0C93-081A-96C5A31F6AC4}"/>
                </a:ext>
              </a:extLst>
            </p:cNvPr>
            <p:cNvSpPr/>
            <p:nvPr/>
          </p:nvSpPr>
          <p:spPr>
            <a:xfrm>
              <a:off x="10407554" y="228598"/>
              <a:ext cx="435077" cy="435078"/>
            </a:xfrm>
            <a:custGeom>
              <a:avLst/>
              <a:gdLst>
                <a:gd name="connsiteX0" fmla="*/ 217539 w 435077"/>
                <a:gd name="connsiteY0" fmla="*/ 0 h 435078"/>
                <a:gd name="connsiteX1" fmla="*/ 0 w 435077"/>
                <a:gd name="connsiteY1" fmla="*/ 0 h 435078"/>
                <a:gd name="connsiteX2" fmla="*/ 0 w 435077"/>
                <a:gd name="connsiteY2" fmla="*/ 217539 h 435078"/>
                <a:gd name="connsiteX3" fmla="*/ 217539 w 435077"/>
                <a:gd name="connsiteY3" fmla="*/ 0 h 435078"/>
                <a:gd name="connsiteX4" fmla="*/ 435077 w 435077"/>
                <a:gd name="connsiteY4" fmla="*/ 0 h 435078"/>
                <a:gd name="connsiteX5" fmla="*/ 435077 w 435077"/>
                <a:gd name="connsiteY5" fmla="*/ 217539 h 435078"/>
                <a:gd name="connsiteX6" fmla="*/ 217539 w 435077"/>
                <a:gd name="connsiteY6" fmla="*/ 0 h 435078"/>
                <a:gd name="connsiteX7" fmla="*/ 435077 w 435077"/>
                <a:gd name="connsiteY7" fmla="*/ 0 h 435078"/>
                <a:gd name="connsiteX8" fmla="*/ 217539 w 435077"/>
                <a:gd name="connsiteY8" fmla="*/ 435079 h 435078"/>
                <a:gd name="connsiteX9" fmla="*/ 435077 w 435077"/>
                <a:gd name="connsiteY9" fmla="*/ 217539 h 435078"/>
                <a:gd name="connsiteX10" fmla="*/ 435077 w 435077"/>
                <a:gd name="connsiteY10" fmla="*/ 435079 h 435078"/>
                <a:gd name="connsiteX11" fmla="*/ 217539 w 435077"/>
                <a:gd name="connsiteY11" fmla="*/ 435079 h 435078"/>
                <a:gd name="connsiteX12" fmla="*/ 217539 w 435077"/>
                <a:gd name="connsiteY12" fmla="*/ 435079 h 435078"/>
                <a:gd name="connsiteX13" fmla="*/ 0 w 435077"/>
                <a:gd name="connsiteY13" fmla="*/ 217539 h 435078"/>
                <a:gd name="connsiteX14" fmla="*/ 0 w 435077"/>
                <a:gd name="connsiteY14" fmla="*/ 435079 h 435078"/>
                <a:gd name="connsiteX15" fmla="*/ 217539 w 435077"/>
                <a:gd name="connsiteY15" fmla="*/ 435079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8">
                  <a:moveTo>
                    <a:pt x="217539" y="0"/>
                  </a:moveTo>
                  <a:lnTo>
                    <a:pt x="0" y="0"/>
                  </a:lnTo>
                  <a:lnTo>
                    <a:pt x="0" y="217539"/>
                  </a:lnTo>
                  <a:lnTo>
                    <a:pt x="217539" y="0"/>
                  </a:lnTo>
                  <a:close/>
                  <a:moveTo>
                    <a:pt x="435077" y="0"/>
                  </a:moveTo>
                  <a:lnTo>
                    <a:pt x="435077" y="217539"/>
                  </a:lnTo>
                  <a:lnTo>
                    <a:pt x="217539" y="0"/>
                  </a:lnTo>
                  <a:lnTo>
                    <a:pt x="435077" y="0"/>
                  </a:lnTo>
                  <a:close/>
                  <a:moveTo>
                    <a:pt x="217539" y="435079"/>
                  </a:moveTo>
                  <a:lnTo>
                    <a:pt x="435077" y="217539"/>
                  </a:lnTo>
                  <a:lnTo>
                    <a:pt x="435077" y="435079"/>
                  </a:lnTo>
                  <a:lnTo>
                    <a:pt x="217539" y="435079"/>
                  </a:lnTo>
                  <a:close/>
                  <a:moveTo>
                    <a:pt x="217539" y="435079"/>
                  </a:moveTo>
                  <a:lnTo>
                    <a:pt x="0" y="217539"/>
                  </a:lnTo>
                  <a:lnTo>
                    <a:pt x="0" y="435079"/>
                  </a:lnTo>
                  <a:lnTo>
                    <a:pt x="217539" y="435079"/>
                  </a:lnTo>
                  <a:close/>
                </a:path>
              </a:pathLst>
            </a:custGeom>
            <a:grpFill/>
            <a:ln w="27192" cap="flat">
              <a:noFill/>
              <a:prstDash val="solid"/>
              <a:miter/>
            </a:ln>
          </p:spPr>
          <p:txBody>
            <a:bodyPr rtlCol="0" anchor="ctr"/>
            <a:lstStyle/>
            <a:p>
              <a:endParaRPr lang="uk-UA" sz="900"/>
            </a:p>
          </p:txBody>
        </p:sp>
        <p:sp>
          <p:nvSpPr>
            <p:cNvPr id="20" name="Freeform: Shape 19">
              <a:extLst>
                <a:ext uri="{FF2B5EF4-FFF2-40B4-BE49-F238E27FC236}">
                  <a16:creationId xmlns:a16="http://schemas.microsoft.com/office/drawing/2014/main" id="{CD5CE0CD-4451-CA32-DDB7-0207E130E8F5}"/>
                </a:ext>
              </a:extLst>
            </p:cNvPr>
            <p:cNvSpPr/>
            <p:nvPr/>
          </p:nvSpPr>
          <p:spPr>
            <a:xfrm>
              <a:off x="12147836" y="228570"/>
              <a:ext cx="435077" cy="435076"/>
            </a:xfrm>
            <a:custGeom>
              <a:avLst/>
              <a:gdLst>
                <a:gd name="connsiteX0" fmla="*/ 217539 w 435077"/>
                <a:gd name="connsiteY0" fmla="*/ 217534 h 435076"/>
                <a:gd name="connsiteX1" fmla="*/ 217539 w 435077"/>
                <a:gd name="connsiteY1" fmla="*/ 0 h 435076"/>
                <a:gd name="connsiteX2" fmla="*/ 0 w 435077"/>
                <a:gd name="connsiteY2" fmla="*/ 0 h 435076"/>
                <a:gd name="connsiteX3" fmla="*/ 217539 w 435077"/>
                <a:gd name="connsiteY3" fmla="*/ 217538 h 435076"/>
                <a:gd name="connsiteX4" fmla="*/ 0 w 435077"/>
                <a:gd name="connsiteY4" fmla="*/ 435077 h 435076"/>
                <a:gd name="connsiteX5" fmla="*/ 217539 w 435077"/>
                <a:gd name="connsiteY5" fmla="*/ 435077 h 435076"/>
                <a:gd name="connsiteX6" fmla="*/ 217539 w 435077"/>
                <a:gd name="connsiteY6" fmla="*/ 435071 h 435076"/>
                <a:gd name="connsiteX7" fmla="*/ 435077 w 435077"/>
                <a:gd name="connsiteY7" fmla="*/ 217543 h 435076"/>
                <a:gd name="connsiteX8" fmla="*/ 435077 w 435077"/>
                <a:gd name="connsiteY8" fmla="*/ 217543 h 435076"/>
                <a:gd name="connsiteX9" fmla="*/ 435077 w 435077"/>
                <a:gd name="connsiteY9" fmla="*/ 217538 h 435076"/>
                <a:gd name="connsiteX10" fmla="*/ 435077 w 435077"/>
                <a:gd name="connsiteY10" fmla="*/ 217534 h 435076"/>
                <a:gd name="connsiteX11" fmla="*/ 435077 w 435077"/>
                <a:gd name="connsiteY11" fmla="*/ 217534 h 435076"/>
                <a:gd name="connsiteX12" fmla="*/ 217539 w 435077"/>
                <a:gd name="connsiteY12" fmla="*/ 5 h 435076"/>
                <a:gd name="connsiteX13" fmla="*/ 217539 w 435077"/>
                <a:gd name="connsiteY13" fmla="*/ 217534 h 435076"/>
                <a:gd name="connsiteX14" fmla="*/ 217539 w 435077"/>
                <a:gd name="connsiteY14" fmla="*/ 217534 h 435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6">
                  <a:moveTo>
                    <a:pt x="217539" y="217534"/>
                  </a:moveTo>
                  <a:lnTo>
                    <a:pt x="217539" y="0"/>
                  </a:lnTo>
                  <a:lnTo>
                    <a:pt x="0" y="0"/>
                  </a:lnTo>
                  <a:lnTo>
                    <a:pt x="217539" y="217538"/>
                  </a:lnTo>
                  <a:lnTo>
                    <a:pt x="0" y="435077"/>
                  </a:lnTo>
                  <a:lnTo>
                    <a:pt x="217539" y="435077"/>
                  </a:lnTo>
                  <a:lnTo>
                    <a:pt x="217539" y="435071"/>
                  </a:lnTo>
                  <a:lnTo>
                    <a:pt x="435077" y="217543"/>
                  </a:lnTo>
                  <a:lnTo>
                    <a:pt x="435077" y="217543"/>
                  </a:lnTo>
                  <a:lnTo>
                    <a:pt x="435077" y="217538"/>
                  </a:lnTo>
                  <a:lnTo>
                    <a:pt x="435077" y="217534"/>
                  </a:lnTo>
                  <a:lnTo>
                    <a:pt x="435077" y="217534"/>
                  </a:lnTo>
                  <a:lnTo>
                    <a:pt x="217539" y="5"/>
                  </a:lnTo>
                  <a:lnTo>
                    <a:pt x="217539" y="217534"/>
                  </a:lnTo>
                  <a:lnTo>
                    <a:pt x="217539" y="217534"/>
                  </a:lnTo>
                  <a:close/>
                </a:path>
              </a:pathLst>
            </a:custGeom>
            <a:grpFill/>
            <a:ln w="27192" cap="flat">
              <a:noFill/>
              <a:prstDash val="solid"/>
              <a:miter/>
            </a:ln>
          </p:spPr>
          <p:txBody>
            <a:bodyPr rtlCol="0" anchor="ctr"/>
            <a:lstStyle/>
            <a:p>
              <a:endParaRPr lang="uk-UA" sz="900"/>
            </a:p>
          </p:txBody>
        </p:sp>
        <p:sp>
          <p:nvSpPr>
            <p:cNvPr id="21" name="Freeform: Shape 20">
              <a:extLst>
                <a:ext uri="{FF2B5EF4-FFF2-40B4-BE49-F238E27FC236}">
                  <a16:creationId xmlns:a16="http://schemas.microsoft.com/office/drawing/2014/main" id="{B4F9E74F-EDBB-3A04-C065-5EFFBBD7E527}"/>
                </a:ext>
              </a:extLst>
            </p:cNvPr>
            <p:cNvSpPr/>
            <p:nvPr/>
          </p:nvSpPr>
          <p:spPr>
            <a:xfrm>
              <a:off x="13018045" y="228598"/>
              <a:ext cx="435077" cy="435078"/>
            </a:xfrm>
            <a:custGeom>
              <a:avLst/>
              <a:gdLst>
                <a:gd name="connsiteX0" fmla="*/ 0 w 435077"/>
                <a:gd name="connsiteY0" fmla="*/ 435079 h 435078"/>
                <a:gd name="connsiteX1" fmla="*/ 217539 w 435077"/>
                <a:gd name="connsiteY1" fmla="*/ 435079 h 435078"/>
                <a:gd name="connsiteX2" fmla="*/ 217539 w 435077"/>
                <a:gd name="connsiteY2" fmla="*/ 217546 h 435078"/>
                <a:gd name="connsiteX3" fmla="*/ 0 w 435077"/>
                <a:gd name="connsiteY3" fmla="*/ 435079 h 435078"/>
                <a:gd name="connsiteX4" fmla="*/ 217539 w 435077"/>
                <a:gd name="connsiteY4" fmla="*/ 0 h 435078"/>
                <a:gd name="connsiteX5" fmla="*/ 0 w 435077"/>
                <a:gd name="connsiteY5" fmla="*/ 0 h 435078"/>
                <a:gd name="connsiteX6" fmla="*/ 217539 w 435077"/>
                <a:gd name="connsiteY6" fmla="*/ 217532 h 435078"/>
                <a:gd name="connsiteX7" fmla="*/ 217539 w 435077"/>
                <a:gd name="connsiteY7" fmla="*/ 0 h 435078"/>
                <a:gd name="connsiteX8" fmla="*/ 435077 w 435077"/>
                <a:gd name="connsiteY8" fmla="*/ 435079 h 435078"/>
                <a:gd name="connsiteX9" fmla="*/ 217539 w 435077"/>
                <a:gd name="connsiteY9" fmla="*/ 435079 h 435078"/>
                <a:gd name="connsiteX10" fmla="*/ 435077 w 435077"/>
                <a:gd name="connsiteY10" fmla="*/ 217546 h 435078"/>
                <a:gd name="connsiteX11" fmla="*/ 435077 w 435077"/>
                <a:gd name="connsiteY11" fmla="*/ 435079 h 435078"/>
                <a:gd name="connsiteX12" fmla="*/ 435077 w 435077"/>
                <a:gd name="connsiteY12" fmla="*/ 0 h 435078"/>
                <a:gd name="connsiteX13" fmla="*/ 217539 w 435077"/>
                <a:gd name="connsiteY13" fmla="*/ 0 h 435078"/>
                <a:gd name="connsiteX14" fmla="*/ 435077 w 435077"/>
                <a:gd name="connsiteY14" fmla="*/ 217532 h 435078"/>
                <a:gd name="connsiteX15" fmla="*/ 435077 w 435077"/>
                <a:gd name="connsiteY15"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8">
                  <a:moveTo>
                    <a:pt x="0" y="435079"/>
                  </a:moveTo>
                  <a:lnTo>
                    <a:pt x="217539" y="435079"/>
                  </a:lnTo>
                  <a:lnTo>
                    <a:pt x="217539" y="217546"/>
                  </a:lnTo>
                  <a:lnTo>
                    <a:pt x="0" y="435079"/>
                  </a:lnTo>
                  <a:close/>
                  <a:moveTo>
                    <a:pt x="217539" y="0"/>
                  </a:moveTo>
                  <a:lnTo>
                    <a:pt x="0" y="0"/>
                  </a:lnTo>
                  <a:lnTo>
                    <a:pt x="217539" y="217532"/>
                  </a:lnTo>
                  <a:lnTo>
                    <a:pt x="217539" y="0"/>
                  </a:lnTo>
                  <a:close/>
                  <a:moveTo>
                    <a:pt x="435077" y="435079"/>
                  </a:moveTo>
                  <a:lnTo>
                    <a:pt x="217539" y="435079"/>
                  </a:lnTo>
                  <a:lnTo>
                    <a:pt x="435077" y="217546"/>
                  </a:lnTo>
                  <a:lnTo>
                    <a:pt x="435077" y="435079"/>
                  </a:lnTo>
                  <a:close/>
                  <a:moveTo>
                    <a:pt x="435077" y="0"/>
                  </a:moveTo>
                  <a:lnTo>
                    <a:pt x="217539" y="0"/>
                  </a:lnTo>
                  <a:lnTo>
                    <a:pt x="435077" y="217532"/>
                  </a:lnTo>
                  <a:lnTo>
                    <a:pt x="435077" y="0"/>
                  </a:lnTo>
                  <a:close/>
                </a:path>
              </a:pathLst>
            </a:custGeom>
            <a:grpFill/>
            <a:ln w="27192" cap="flat">
              <a:noFill/>
              <a:prstDash val="solid"/>
              <a:miter/>
            </a:ln>
          </p:spPr>
          <p:txBody>
            <a:bodyPr rtlCol="0" anchor="ctr"/>
            <a:lstStyle/>
            <a:p>
              <a:endParaRPr lang="uk-UA" sz="900"/>
            </a:p>
          </p:txBody>
        </p:sp>
        <p:sp>
          <p:nvSpPr>
            <p:cNvPr id="22" name="Freeform: Shape 21">
              <a:extLst>
                <a:ext uri="{FF2B5EF4-FFF2-40B4-BE49-F238E27FC236}">
                  <a16:creationId xmlns:a16="http://schemas.microsoft.com/office/drawing/2014/main" id="{6683EEEA-B043-D965-E68A-B3AD9F0DF8E8}"/>
                </a:ext>
              </a:extLst>
            </p:cNvPr>
            <p:cNvSpPr/>
            <p:nvPr/>
          </p:nvSpPr>
          <p:spPr>
            <a:xfrm>
              <a:off x="14758382" y="228598"/>
              <a:ext cx="435077" cy="435073"/>
            </a:xfrm>
            <a:custGeom>
              <a:avLst/>
              <a:gdLst>
                <a:gd name="connsiteX0" fmla="*/ 371367 w 435077"/>
                <a:gd name="connsiteY0" fmla="*/ 63716 h 435073"/>
                <a:gd name="connsiteX1" fmla="*/ 435077 w 435077"/>
                <a:gd name="connsiteY1" fmla="*/ 217539 h 435073"/>
                <a:gd name="connsiteX2" fmla="*/ 218953 w 435077"/>
                <a:gd name="connsiteY2" fmla="*/ 217539 h 435073"/>
                <a:gd name="connsiteX3" fmla="*/ 371367 w 435077"/>
                <a:gd name="connsiteY3" fmla="*/ 281249 h 435073"/>
                <a:gd name="connsiteX4" fmla="*/ 435077 w 435077"/>
                <a:gd name="connsiteY4" fmla="*/ 435073 h 435073"/>
                <a:gd name="connsiteX5" fmla="*/ 217539 w 435077"/>
                <a:gd name="connsiteY5" fmla="*/ 435073 h 435073"/>
                <a:gd name="connsiteX6" fmla="*/ 0 w 435077"/>
                <a:gd name="connsiteY6" fmla="*/ 435073 h 435073"/>
                <a:gd name="connsiteX7" fmla="*/ 63712 w 435077"/>
                <a:gd name="connsiteY7" fmla="*/ 281249 h 435073"/>
                <a:gd name="connsiteX8" fmla="*/ 216125 w 435077"/>
                <a:gd name="connsiteY8" fmla="*/ 217539 h 435073"/>
                <a:gd name="connsiteX9" fmla="*/ 0 w 435077"/>
                <a:gd name="connsiteY9" fmla="*/ 217539 h 435073"/>
                <a:gd name="connsiteX10" fmla="*/ 63712 w 435077"/>
                <a:gd name="connsiteY10" fmla="*/ 63716 h 435073"/>
                <a:gd name="connsiteX11" fmla="*/ 217539 w 435077"/>
                <a:gd name="connsiteY11" fmla="*/ 0 h 435073"/>
                <a:gd name="connsiteX12" fmla="*/ 371367 w 435077"/>
                <a:gd name="connsiteY12" fmla="*/ 63716 h 43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3">
                  <a:moveTo>
                    <a:pt x="371367" y="63716"/>
                  </a:moveTo>
                  <a:cubicBezTo>
                    <a:pt x="412155" y="104512"/>
                    <a:pt x="435077" y="159844"/>
                    <a:pt x="435077" y="217539"/>
                  </a:cubicBezTo>
                  <a:lnTo>
                    <a:pt x="218953" y="217539"/>
                  </a:lnTo>
                  <a:cubicBezTo>
                    <a:pt x="276139" y="217907"/>
                    <a:pt x="330904" y="240784"/>
                    <a:pt x="371367" y="281249"/>
                  </a:cubicBezTo>
                  <a:cubicBezTo>
                    <a:pt x="412155" y="322046"/>
                    <a:pt x="435077" y="377379"/>
                    <a:pt x="435077" y="435073"/>
                  </a:cubicBezTo>
                  <a:lnTo>
                    <a:pt x="217539" y="435073"/>
                  </a:lnTo>
                  <a:lnTo>
                    <a:pt x="0" y="435073"/>
                  </a:lnTo>
                  <a:cubicBezTo>
                    <a:pt x="0" y="377379"/>
                    <a:pt x="22924" y="322046"/>
                    <a:pt x="63712" y="281249"/>
                  </a:cubicBezTo>
                  <a:cubicBezTo>
                    <a:pt x="104174" y="240784"/>
                    <a:pt x="158940" y="217907"/>
                    <a:pt x="216125" y="217539"/>
                  </a:cubicBezTo>
                  <a:lnTo>
                    <a:pt x="0" y="217539"/>
                  </a:lnTo>
                  <a:cubicBezTo>
                    <a:pt x="0" y="159844"/>
                    <a:pt x="22924" y="104512"/>
                    <a:pt x="63712" y="63716"/>
                  </a:cubicBezTo>
                  <a:cubicBezTo>
                    <a:pt x="104501" y="22919"/>
                    <a:pt x="159836" y="0"/>
                    <a:pt x="217539" y="0"/>
                  </a:cubicBezTo>
                  <a:cubicBezTo>
                    <a:pt x="275241" y="0"/>
                    <a:pt x="330550" y="22919"/>
                    <a:pt x="371367" y="63716"/>
                  </a:cubicBezTo>
                  <a:close/>
                </a:path>
              </a:pathLst>
            </a:custGeom>
            <a:grpFill/>
            <a:ln w="27192" cap="flat">
              <a:noFill/>
              <a:prstDash val="solid"/>
              <a:miter/>
            </a:ln>
          </p:spPr>
          <p:txBody>
            <a:bodyPr rtlCol="0" anchor="ctr"/>
            <a:lstStyle/>
            <a:p>
              <a:endParaRPr lang="uk-UA" sz="900"/>
            </a:p>
          </p:txBody>
        </p:sp>
        <p:sp>
          <p:nvSpPr>
            <p:cNvPr id="23" name="Freeform: Shape 22">
              <a:extLst>
                <a:ext uri="{FF2B5EF4-FFF2-40B4-BE49-F238E27FC236}">
                  <a16:creationId xmlns:a16="http://schemas.microsoft.com/office/drawing/2014/main" id="{1C241DB8-3DE2-2EF2-7EB0-1A9B6DEC4419}"/>
                </a:ext>
              </a:extLst>
            </p:cNvPr>
            <p:cNvSpPr/>
            <p:nvPr/>
          </p:nvSpPr>
          <p:spPr>
            <a:xfrm>
              <a:off x="13888200" y="228598"/>
              <a:ext cx="435077" cy="435078"/>
            </a:xfrm>
            <a:custGeom>
              <a:avLst/>
              <a:gdLst>
                <a:gd name="connsiteX0" fmla="*/ 217565 w 435077"/>
                <a:gd name="connsiteY0" fmla="*/ 0 h 435078"/>
                <a:gd name="connsiteX1" fmla="*/ 217539 w 435077"/>
                <a:gd name="connsiteY1" fmla="*/ 0 h 435078"/>
                <a:gd name="connsiteX2" fmla="*/ 27 w 435077"/>
                <a:gd name="connsiteY2" fmla="*/ 0 h 435078"/>
                <a:gd name="connsiteX3" fmla="*/ 27 w 435077"/>
                <a:gd name="connsiteY3" fmla="*/ 217539 h 435078"/>
                <a:gd name="connsiteX4" fmla="*/ 217565 w 435077"/>
                <a:gd name="connsiteY4" fmla="*/ 7 h 435078"/>
                <a:gd name="connsiteX5" fmla="*/ 435077 w 435077"/>
                <a:gd name="connsiteY5" fmla="*/ 217539 h 435078"/>
                <a:gd name="connsiteX6" fmla="*/ 217539 w 435077"/>
                <a:gd name="connsiteY6" fmla="*/ 435079 h 435078"/>
                <a:gd name="connsiteX7" fmla="*/ 0 w 435077"/>
                <a:gd name="connsiteY7" fmla="*/ 217539 h 435078"/>
                <a:gd name="connsiteX8" fmla="*/ 0 w 435077"/>
                <a:gd name="connsiteY8" fmla="*/ 435079 h 435078"/>
                <a:gd name="connsiteX9" fmla="*/ 217539 w 435077"/>
                <a:gd name="connsiteY9" fmla="*/ 435079 h 435078"/>
                <a:gd name="connsiteX10" fmla="*/ 435077 w 435077"/>
                <a:gd name="connsiteY10" fmla="*/ 435079 h 435078"/>
                <a:gd name="connsiteX11" fmla="*/ 435077 w 435077"/>
                <a:gd name="connsiteY11" fmla="*/ 217539 h 435078"/>
                <a:gd name="connsiteX12" fmla="*/ 435077 w 435077"/>
                <a:gd name="connsiteY12" fmla="*/ 0 h 435078"/>
                <a:gd name="connsiteX13" fmla="*/ 217565 w 435077"/>
                <a:gd name="connsiteY13"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8">
                  <a:moveTo>
                    <a:pt x="217565" y="0"/>
                  </a:moveTo>
                  <a:lnTo>
                    <a:pt x="217539" y="0"/>
                  </a:lnTo>
                  <a:lnTo>
                    <a:pt x="27" y="0"/>
                  </a:lnTo>
                  <a:lnTo>
                    <a:pt x="27" y="217539"/>
                  </a:lnTo>
                  <a:lnTo>
                    <a:pt x="217565" y="7"/>
                  </a:lnTo>
                  <a:lnTo>
                    <a:pt x="435077" y="217539"/>
                  </a:lnTo>
                  <a:lnTo>
                    <a:pt x="217539" y="435079"/>
                  </a:lnTo>
                  <a:lnTo>
                    <a:pt x="0" y="217539"/>
                  </a:lnTo>
                  <a:lnTo>
                    <a:pt x="0" y="435079"/>
                  </a:lnTo>
                  <a:lnTo>
                    <a:pt x="217539" y="435079"/>
                  </a:lnTo>
                  <a:lnTo>
                    <a:pt x="435077" y="435079"/>
                  </a:lnTo>
                  <a:lnTo>
                    <a:pt x="435077" y="217539"/>
                  </a:lnTo>
                  <a:lnTo>
                    <a:pt x="435077" y="0"/>
                  </a:lnTo>
                  <a:lnTo>
                    <a:pt x="217565" y="0"/>
                  </a:lnTo>
                  <a:close/>
                </a:path>
              </a:pathLst>
            </a:custGeom>
            <a:grpFill/>
            <a:ln w="27192" cap="flat">
              <a:noFill/>
              <a:prstDash val="solid"/>
              <a:miter/>
            </a:ln>
          </p:spPr>
          <p:txBody>
            <a:bodyPr rtlCol="0" anchor="ctr"/>
            <a:lstStyle/>
            <a:p>
              <a:endParaRPr lang="uk-UA" sz="900"/>
            </a:p>
          </p:txBody>
        </p:sp>
        <p:sp>
          <p:nvSpPr>
            <p:cNvPr id="24" name="Freeform: Shape 23">
              <a:extLst>
                <a:ext uri="{FF2B5EF4-FFF2-40B4-BE49-F238E27FC236}">
                  <a16:creationId xmlns:a16="http://schemas.microsoft.com/office/drawing/2014/main" id="{87B67B92-A3E6-F7F9-2579-D0ADCA16E8F1}"/>
                </a:ext>
              </a:extLst>
            </p:cNvPr>
            <p:cNvSpPr/>
            <p:nvPr/>
          </p:nvSpPr>
          <p:spPr>
            <a:xfrm>
              <a:off x="15628536" y="228598"/>
              <a:ext cx="435077" cy="435075"/>
            </a:xfrm>
            <a:custGeom>
              <a:avLst/>
              <a:gdLst>
                <a:gd name="connsiteX0" fmla="*/ 217539 w 435077"/>
                <a:gd name="connsiteY0" fmla="*/ 217540 h 435075"/>
                <a:gd name="connsiteX1" fmla="*/ 217539 w 435077"/>
                <a:gd name="connsiteY1" fmla="*/ 217537 h 435075"/>
                <a:gd name="connsiteX2" fmla="*/ 0 w 435077"/>
                <a:gd name="connsiteY2" fmla="*/ 0 h 435075"/>
                <a:gd name="connsiteX3" fmla="*/ 217539 w 435077"/>
                <a:gd name="connsiteY3" fmla="*/ 0 h 435075"/>
                <a:gd name="connsiteX4" fmla="*/ 217539 w 435077"/>
                <a:gd name="connsiteY4" fmla="*/ 5 h 435075"/>
                <a:gd name="connsiteX5" fmla="*/ 435077 w 435077"/>
                <a:gd name="connsiteY5" fmla="*/ 217533 h 435075"/>
                <a:gd name="connsiteX6" fmla="*/ 435077 w 435077"/>
                <a:gd name="connsiteY6" fmla="*/ 217533 h 435075"/>
                <a:gd name="connsiteX7" fmla="*/ 435077 w 435077"/>
                <a:gd name="connsiteY7" fmla="*/ 217538 h 435075"/>
                <a:gd name="connsiteX8" fmla="*/ 435077 w 435077"/>
                <a:gd name="connsiteY8" fmla="*/ 217542 h 435075"/>
                <a:gd name="connsiteX9" fmla="*/ 435077 w 435077"/>
                <a:gd name="connsiteY9" fmla="*/ 217542 h 435075"/>
                <a:gd name="connsiteX10" fmla="*/ 217539 w 435077"/>
                <a:gd name="connsiteY10" fmla="*/ 435071 h 435075"/>
                <a:gd name="connsiteX11" fmla="*/ 217539 w 435077"/>
                <a:gd name="connsiteY11" fmla="*/ 435076 h 435075"/>
                <a:gd name="connsiteX12" fmla="*/ 0 w 435077"/>
                <a:gd name="connsiteY12" fmla="*/ 435076 h 435075"/>
                <a:gd name="connsiteX13" fmla="*/ 217539 w 435077"/>
                <a:gd name="connsiteY13" fmla="*/ 217540 h 43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5">
                  <a:moveTo>
                    <a:pt x="217539" y="217540"/>
                  </a:moveTo>
                  <a:lnTo>
                    <a:pt x="217539" y="217537"/>
                  </a:lnTo>
                  <a:lnTo>
                    <a:pt x="0" y="0"/>
                  </a:lnTo>
                  <a:lnTo>
                    <a:pt x="217539" y="0"/>
                  </a:lnTo>
                  <a:lnTo>
                    <a:pt x="217539" y="5"/>
                  </a:lnTo>
                  <a:lnTo>
                    <a:pt x="435077" y="217533"/>
                  </a:lnTo>
                  <a:lnTo>
                    <a:pt x="435077" y="217533"/>
                  </a:lnTo>
                  <a:lnTo>
                    <a:pt x="435077" y="217538"/>
                  </a:lnTo>
                  <a:lnTo>
                    <a:pt x="435077" y="217542"/>
                  </a:lnTo>
                  <a:lnTo>
                    <a:pt x="435077" y="217542"/>
                  </a:lnTo>
                  <a:lnTo>
                    <a:pt x="217539" y="435071"/>
                  </a:lnTo>
                  <a:lnTo>
                    <a:pt x="217539" y="435076"/>
                  </a:lnTo>
                  <a:lnTo>
                    <a:pt x="0" y="435076"/>
                  </a:lnTo>
                  <a:lnTo>
                    <a:pt x="217539" y="217540"/>
                  </a:lnTo>
                  <a:close/>
                </a:path>
              </a:pathLst>
            </a:custGeom>
            <a:grpFill/>
            <a:ln w="27192" cap="flat">
              <a:noFill/>
              <a:prstDash val="solid"/>
              <a:miter/>
            </a:ln>
          </p:spPr>
          <p:txBody>
            <a:bodyPr rtlCol="0" anchor="ctr"/>
            <a:lstStyle/>
            <a:p>
              <a:endParaRPr lang="uk-UA" sz="900"/>
            </a:p>
          </p:txBody>
        </p:sp>
        <p:sp>
          <p:nvSpPr>
            <p:cNvPr id="25" name="Freeform: Shape 24">
              <a:extLst>
                <a:ext uri="{FF2B5EF4-FFF2-40B4-BE49-F238E27FC236}">
                  <a16:creationId xmlns:a16="http://schemas.microsoft.com/office/drawing/2014/main" id="{AC02A321-EBCC-0668-BF21-81820A029A7F}"/>
                </a:ext>
              </a:extLst>
            </p:cNvPr>
            <p:cNvSpPr/>
            <p:nvPr/>
          </p:nvSpPr>
          <p:spPr>
            <a:xfrm>
              <a:off x="16498719" y="228598"/>
              <a:ext cx="435077" cy="435078"/>
            </a:xfrm>
            <a:custGeom>
              <a:avLst/>
              <a:gdLst>
                <a:gd name="connsiteX0" fmla="*/ 0 w 435077"/>
                <a:gd name="connsiteY0" fmla="*/ 435079 h 435078"/>
                <a:gd name="connsiteX1" fmla="*/ 217510 w 435077"/>
                <a:gd name="connsiteY1" fmla="*/ 435079 h 435078"/>
                <a:gd name="connsiteX2" fmla="*/ 217510 w 435077"/>
                <a:gd name="connsiteY2" fmla="*/ 217546 h 435078"/>
                <a:gd name="connsiteX3" fmla="*/ 0 w 435077"/>
                <a:gd name="connsiteY3" fmla="*/ 435079 h 435078"/>
                <a:gd name="connsiteX4" fmla="*/ 217510 w 435077"/>
                <a:gd name="connsiteY4" fmla="*/ 0 h 435078"/>
                <a:gd name="connsiteX5" fmla="*/ 0 w 435077"/>
                <a:gd name="connsiteY5" fmla="*/ 0 h 435078"/>
                <a:gd name="connsiteX6" fmla="*/ 217510 w 435077"/>
                <a:gd name="connsiteY6" fmla="*/ 217532 h 435078"/>
                <a:gd name="connsiteX7" fmla="*/ 217510 w 435077"/>
                <a:gd name="connsiteY7" fmla="*/ 0 h 435078"/>
                <a:gd name="connsiteX8" fmla="*/ 435077 w 435077"/>
                <a:gd name="connsiteY8" fmla="*/ 435079 h 435078"/>
                <a:gd name="connsiteX9" fmla="*/ 217539 w 435077"/>
                <a:gd name="connsiteY9" fmla="*/ 435079 h 435078"/>
                <a:gd name="connsiteX10" fmla="*/ 435077 w 435077"/>
                <a:gd name="connsiteY10" fmla="*/ 217546 h 435078"/>
                <a:gd name="connsiteX11" fmla="*/ 435077 w 435077"/>
                <a:gd name="connsiteY11" fmla="*/ 435079 h 435078"/>
                <a:gd name="connsiteX12" fmla="*/ 435077 w 435077"/>
                <a:gd name="connsiteY12" fmla="*/ 0 h 435078"/>
                <a:gd name="connsiteX13" fmla="*/ 217539 w 435077"/>
                <a:gd name="connsiteY13" fmla="*/ 0 h 435078"/>
                <a:gd name="connsiteX14" fmla="*/ 435077 w 435077"/>
                <a:gd name="connsiteY14" fmla="*/ 217532 h 435078"/>
                <a:gd name="connsiteX15" fmla="*/ 435077 w 435077"/>
                <a:gd name="connsiteY15"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8">
                  <a:moveTo>
                    <a:pt x="0" y="435079"/>
                  </a:moveTo>
                  <a:lnTo>
                    <a:pt x="217510" y="435079"/>
                  </a:lnTo>
                  <a:lnTo>
                    <a:pt x="217510" y="217546"/>
                  </a:lnTo>
                  <a:lnTo>
                    <a:pt x="0" y="435079"/>
                  </a:lnTo>
                  <a:close/>
                  <a:moveTo>
                    <a:pt x="217510" y="0"/>
                  </a:moveTo>
                  <a:lnTo>
                    <a:pt x="0" y="0"/>
                  </a:lnTo>
                  <a:lnTo>
                    <a:pt x="217510" y="217532"/>
                  </a:lnTo>
                  <a:lnTo>
                    <a:pt x="217510" y="0"/>
                  </a:lnTo>
                  <a:close/>
                  <a:moveTo>
                    <a:pt x="435077" y="435079"/>
                  </a:moveTo>
                  <a:lnTo>
                    <a:pt x="217539" y="435079"/>
                  </a:lnTo>
                  <a:lnTo>
                    <a:pt x="435077" y="217546"/>
                  </a:lnTo>
                  <a:lnTo>
                    <a:pt x="435077" y="435079"/>
                  </a:lnTo>
                  <a:close/>
                  <a:moveTo>
                    <a:pt x="435077" y="0"/>
                  </a:moveTo>
                  <a:lnTo>
                    <a:pt x="217539" y="0"/>
                  </a:lnTo>
                  <a:lnTo>
                    <a:pt x="435077" y="217532"/>
                  </a:lnTo>
                  <a:lnTo>
                    <a:pt x="435077" y="0"/>
                  </a:lnTo>
                  <a:close/>
                </a:path>
              </a:pathLst>
            </a:custGeom>
            <a:grpFill/>
            <a:ln w="27192" cap="flat">
              <a:noFill/>
              <a:prstDash val="solid"/>
              <a:miter/>
            </a:ln>
          </p:spPr>
          <p:txBody>
            <a:bodyPr rtlCol="0" anchor="ctr"/>
            <a:lstStyle/>
            <a:p>
              <a:endParaRPr lang="uk-UA" sz="900"/>
            </a:p>
          </p:txBody>
        </p:sp>
        <p:sp>
          <p:nvSpPr>
            <p:cNvPr id="26" name="Freeform: Shape 25">
              <a:extLst>
                <a:ext uri="{FF2B5EF4-FFF2-40B4-BE49-F238E27FC236}">
                  <a16:creationId xmlns:a16="http://schemas.microsoft.com/office/drawing/2014/main" id="{4DBA00F0-E34B-5D73-558E-050D0C8D08C9}"/>
                </a:ext>
              </a:extLst>
            </p:cNvPr>
            <p:cNvSpPr/>
            <p:nvPr/>
          </p:nvSpPr>
          <p:spPr>
            <a:xfrm>
              <a:off x="18239029" y="228598"/>
              <a:ext cx="435077" cy="435073"/>
            </a:xfrm>
            <a:custGeom>
              <a:avLst/>
              <a:gdLst>
                <a:gd name="connsiteX0" fmla="*/ 371365 w 435077"/>
                <a:gd name="connsiteY0" fmla="*/ 63716 h 435073"/>
                <a:gd name="connsiteX1" fmla="*/ 435077 w 435077"/>
                <a:gd name="connsiteY1" fmla="*/ 217539 h 435073"/>
                <a:gd name="connsiteX2" fmla="*/ 218953 w 435077"/>
                <a:gd name="connsiteY2" fmla="*/ 217539 h 435073"/>
                <a:gd name="connsiteX3" fmla="*/ 371365 w 435077"/>
                <a:gd name="connsiteY3" fmla="*/ 281249 h 435073"/>
                <a:gd name="connsiteX4" fmla="*/ 435077 w 435077"/>
                <a:gd name="connsiteY4" fmla="*/ 435073 h 435073"/>
                <a:gd name="connsiteX5" fmla="*/ 217539 w 435077"/>
                <a:gd name="connsiteY5" fmla="*/ 435073 h 435073"/>
                <a:gd name="connsiteX6" fmla="*/ 0 w 435077"/>
                <a:gd name="connsiteY6" fmla="*/ 435073 h 435073"/>
                <a:gd name="connsiteX7" fmla="*/ 63710 w 435077"/>
                <a:gd name="connsiteY7" fmla="*/ 281249 h 435073"/>
                <a:gd name="connsiteX8" fmla="*/ 216151 w 435077"/>
                <a:gd name="connsiteY8" fmla="*/ 217539 h 435073"/>
                <a:gd name="connsiteX9" fmla="*/ 0 w 435077"/>
                <a:gd name="connsiteY9" fmla="*/ 217539 h 435073"/>
                <a:gd name="connsiteX10" fmla="*/ 63710 w 435077"/>
                <a:gd name="connsiteY10" fmla="*/ 63716 h 435073"/>
                <a:gd name="connsiteX11" fmla="*/ 217539 w 435077"/>
                <a:gd name="connsiteY11" fmla="*/ 0 h 435073"/>
                <a:gd name="connsiteX12" fmla="*/ 371365 w 435077"/>
                <a:gd name="connsiteY12" fmla="*/ 63716 h 43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3">
                  <a:moveTo>
                    <a:pt x="371365" y="63716"/>
                  </a:moveTo>
                  <a:cubicBezTo>
                    <a:pt x="412154" y="104512"/>
                    <a:pt x="435077" y="159844"/>
                    <a:pt x="435077" y="217539"/>
                  </a:cubicBezTo>
                  <a:lnTo>
                    <a:pt x="218953" y="217539"/>
                  </a:lnTo>
                  <a:cubicBezTo>
                    <a:pt x="276137" y="217907"/>
                    <a:pt x="330904" y="240784"/>
                    <a:pt x="371365" y="281249"/>
                  </a:cubicBezTo>
                  <a:cubicBezTo>
                    <a:pt x="412154" y="322046"/>
                    <a:pt x="435077" y="377379"/>
                    <a:pt x="435077" y="435073"/>
                  </a:cubicBezTo>
                  <a:lnTo>
                    <a:pt x="217539" y="435073"/>
                  </a:lnTo>
                  <a:lnTo>
                    <a:pt x="0" y="435073"/>
                  </a:lnTo>
                  <a:cubicBezTo>
                    <a:pt x="0" y="377379"/>
                    <a:pt x="22922" y="322046"/>
                    <a:pt x="63710" y="281249"/>
                  </a:cubicBezTo>
                  <a:cubicBezTo>
                    <a:pt x="104200" y="240784"/>
                    <a:pt x="158967" y="217907"/>
                    <a:pt x="216151" y="217539"/>
                  </a:cubicBezTo>
                  <a:lnTo>
                    <a:pt x="0" y="217539"/>
                  </a:lnTo>
                  <a:cubicBezTo>
                    <a:pt x="0" y="159844"/>
                    <a:pt x="22922" y="104512"/>
                    <a:pt x="63710" y="63716"/>
                  </a:cubicBezTo>
                  <a:cubicBezTo>
                    <a:pt x="104527" y="22919"/>
                    <a:pt x="159836" y="0"/>
                    <a:pt x="217539" y="0"/>
                  </a:cubicBezTo>
                  <a:cubicBezTo>
                    <a:pt x="275241" y="0"/>
                    <a:pt x="330577" y="22919"/>
                    <a:pt x="371365" y="63716"/>
                  </a:cubicBezTo>
                  <a:close/>
                </a:path>
              </a:pathLst>
            </a:custGeom>
            <a:grpFill/>
            <a:ln w="27192" cap="flat">
              <a:noFill/>
              <a:prstDash val="solid"/>
              <a:miter/>
            </a:ln>
          </p:spPr>
          <p:txBody>
            <a:bodyPr rtlCol="0" anchor="ctr"/>
            <a:lstStyle/>
            <a:p>
              <a:endParaRPr lang="uk-UA" sz="900"/>
            </a:p>
          </p:txBody>
        </p:sp>
        <p:sp>
          <p:nvSpPr>
            <p:cNvPr id="27" name="Freeform: Shape 26">
              <a:extLst>
                <a:ext uri="{FF2B5EF4-FFF2-40B4-BE49-F238E27FC236}">
                  <a16:creationId xmlns:a16="http://schemas.microsoft.com/office/drawing/2014/main" id="{F1EC7A0A-FA4D-1571-7447-0AA1A2FE4DBB}"/>
                </a:ext>
              </a:extLst>
            </p:cNvPr>
            <p:cNvSpPr/>
            <p:nvPr/>
          </p:nvSpPr>
          <p:spPr>
            <a:xfrm>
              <a:off x="17368874" y="228598"/>
              <a:ext cx="435077" cy="435078"/>
            </a:xfrm>
            <a:custGeom>
              <a:avLst/>
              <a:gdLst>
                <a:gd name="connsiteX0" fmla="*/ 217539 w 435077"/>
                <a:gd name="connsiteY0" fmla="*/ 0 h 435078"/>
                <a:gd name="connsiteX1" fmla="*/ 0 w 435077"/>
                <a:gd name="connsiteY1" fmla="*/ 0 h 435078"/>
                <a:gd name="connsiteX2" fmla="*/ 0 w 435077"/>
                <a:gd name="connsiteY2" fmla="*/ 217539 h 435078"/>
                <a:gd name="connsiteX3" fmla="*/ 217539 w 435077"/>
                <a:gd name="connsiteY3" fmla="*/ 0 h 435078"/>
                <a:gd name="connsiteX4" fmla="*/ 435077 w 435077"/>
                <a:gd name="connsiteY4" fmla="*/ 0 h 435078"/>
                <a:gd name="connsiteX5" fmla="*/ 435077 w 435077"/>
                <a:gd name="connsiteY5" fmla="*/ 217539 h 435078"/>
                <a:gd name="connsiteX6" fmla="*/ 217539 w 435077"/>
                <a:gd name="connsiteY6" fmla="*/ 0 h 435078"/>
                <a:gd name="connsiteX7" fmla="*/ 435077 w 435077"/>
                <a:gd name="connsiteY7" fmla="*/ 0 h 435078"/>
                <a:gd name="connsiteX8" fmla="*/ 217539 w 435077"/>
                <a:gd name="connsiteY8" fmla="*/ 435079 h 435078"/>
                <a:gd name="connsiteX9" fmla="*/ 435077 w 435077"/>
                <a:gd name="connsiteY9" fmla="*/ 217539 h 435078"/>
                <a:gd name="connsiteX10" fmla="*/ 435077 w 435077"/>
                <a:gd name="connsiteY10" fmla="*/ 435079 h 435078"/>
                <a:gd name="connsiteX11" fmla="*/ 217539 w 435077"/>
                <a:gd name="connsiteY11" fmla="*/ 435079 h 435078"/>
                <a:gd name="connsiteX12" fmla="*/ 217539 w 435077"/>
                <a:gd name="connsiteY12" fmla="*/ 435079 h 435078"/>
                <a:gd name="connsiteX13" fmla="*/ 0 w 435077"/>
                <a:gd name="connsiteY13" fmla="*/ 217539 h 435078"/>
                <a:gd name="connsiteX14" fmla="*/ 0 w 435077"/>
                <a:gd name="connsiteY14" fmla="*/ 435079 h 435078"/>
                <a:gd name="connsiteX15" fmla="*/ 217539 w 435077"/>
                <a:gd name="connsiteY15" fmla="*/ 435079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8">
                  <a:moveTo>
                    <a:pt x="217539" y="0"/>
                  </a:moveTo>
                  <a:lnTo>
                    <a:pt x="0" y="0"/>
                  </a:lnTo>
                  <a:lnTo>
                    <a:pt x="0" y="217539"/>
                  </a:lnTo>
                  <a:lnTo>
                    <a:pt x="217539" y="0"/>
                  </a:lnTo>
                  <a:close/>
                  <a:moveTo>
                    <a:pt x="435077" y="0"/>
                  </a:moveTo>
                  <a:lnTo>
                    <a:pt x="435077" y="217539"/>
                  </a:lnTo>
                  <a:lnTo>
                    <a:pt x="217539" y="0"/>
                  </a:lnTo>
                  <a:lnTo>
                    <a:pt x="435077" y="0"/>
                  </a:lnTo>
                  <a:close/>
                  <a:moveTo>
                    <a:pt x="217539" y="435079"/>
                  </a:moveTo>
                  <a:lnTo>
                    <a:pt x="435077" y="217539"/>
                  </a:lnTo>
                  <a:lnTo>
                    <a:pt x="435077" y="435079"/>
                  </a:lnTo>
                  <a:lnTo>
                    <a:pt x="217539" y="435079"/>
                  </a:lnTo>
                  <a:close/>
                  <a:moveTo>
                    <a:pt x="217539" y="435079"/>
                  </a:moveTo>
                  <a:lnTo>
                    <a:pt x="0" y="217539"/>
                  </a:lnTo>
                  <a:lnTo>
                    <a:pt x="0" y="435079"/>
                  </a:lnTo>
                  <a:lnTo>
                    <a:pt x="217539" y="435079"/>
                  </a:lnTo>
                  <a:close/>
                </a:path>
              </a:pathLst>
            </a:custGeom>
            <a:grpFill/>
            <a:ln w="27192" cap="flat">
              <a:noFill/>
              <a:prstDash val="solid"/>
              <a:miter/>
            </a:ln>
          </p:spPr>
          <p:txBody>
            <a:bodyPr rtlCol="0" anchor="ctr"/>
            <a:lstStyle/>
            <a:p>
              <a:endParaRPr lang="uk-UA" sz="900"/>
            </a:p>
          </p:txBody>
        </p:sp>
        <p:sp>
          <p:nvSpPr>
            <p:cNvPr id="28" name="Freeform: Shape 27">
              <a:extLst>
                <a:ext uri="{FF2B5EF4-FFF2-40B4-BE49-F238E27FC236}">
                  <a16:creationId xmlns:a16="http://schemas.microsoft.com/office/drawing/2014/main" id="{DCE27E21-E84C-940F-1B21-48C526EBA11F}"/>
                </a:ext>
              </a:extLst>
            </p:cNvPr>
            <p:cNvSpPr/>
            <p:nvPr/>
          </p:nvSpPr>
          <p:spPr>
            <a:xfrm>
              <a:off x="19109210" y="228598"/>
              <a:ext cx="435077" cy="435075"/>
            </a:xfrm>
            <a:custGeom>
              <a:avLst/>
              <a:gdLst>
                <a:gd name="connsiteX0" fmla="*/ 217539 w 435077"/>
                <a:gd name="connsiteY0" fmla="*/ 217533 h 435075"/>
                <a:gd name="connsiteX1" fmla="*/ 217539 w 435077"/>
                <a:gd name="connsiteY1" fmla="*/ 0 h 435075"/>
                <a:gd name="connsiteX2" fmla="*/ 0 w 435077"/>
                <a:gd name="connsiteY2" fmla="*/ 0 h 435075"/>
                <a:gd name="connsiteX3" fmla="*/ 217539 w 435077"/>
                <a:gd name="connsiteY3" fmla="*/ 217538 h 435075"/>
                <a:gd name="connsiteX4" fmla="*/ 0 w 435077"/>
                <a:gd name="connsiteY4" fmla="*/ 435076 h 435075"/>
                <a:gd name="connsiteX5" fmla="*/ 217539 w 435077"/>
                <a:gd name="connsiteY5" fmla="*/ 435076 h 435075"/>
                <a:gd name="connsiteX6" fmla="*/ 217539 w 435077"/>
                <a:gd name="connsiteY6" fmla="*/ 435071 h 435075"/>
                <a:gd name="connsiteX7" fmla="*/ 435051 w 435077"/>
                <a:gd name="connsiteY7" fmla="*/ 217542 h 435075"/>
                <a:gd name="connsiteX8" fmla="*/ 435077 w 435077"/>
                <a:gd name="connsiteY8" fmla="*/ 217542 h 435075"/>
                <a:gd name="connsiteX9" fmla="*/ 435051 w 435077"/>
                <a:gd name="connsiteY9" fmla="*/ 217537 h 435075"/>
                <a:gd name="connsiteX10" fmla="*/ 435077 w 435077"/>
                <a:gd name="connsiteY10" fmla="*/ 217533 h 435075"/>
                <a:gd name="connsiteX11" fmla="*/ 435051 w 435077"/>
                <a:gd name="connsiteY11" fmla="*/ 217533 h 435075"/>
                <a:gd name="connsiteX12" fmla="*/ 217539 w 435077"/>
                <a:gd name="connsiteY12" fmla="*/ 4 h 435075"/>
                <a:gd name="connsiteX13" fmla="*/ 217539 w 435077"/>
                <a:gd name="connsiteY13" fmla="*/ 217533 h 435075"/>
                <a:gd name="connsiteX14" fmla="*/ 217539 w 435077"/>
                <a:gd name="connsiteY14" fmla="*/ 217533 h 43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5">
                  <a:moveTo>
                    <a:pt x="217539" y="217533"/>
                  </a:moveTo>
                  <a:lnTo>
                    <a:pt x="217539" y="0"/>
                  </a:lnTo>
                  <a:lnTo>
                    <a:pt x="0" y="0"/>
                  </a:lnTo>
                  <a:lnTo>
                    <a:pt x="217539" y="217538"/>
                  </a:lnTo>
                  <a:lnTo>
                    <a:pt x="0" y="435076"/>
                  </a:lnTo>
                  <a:lnTo>
                    <a:pt x="217539" y="435076"/>
                  </a:lnTo>
                  <a:lnTo>
                    <a:pt x="217539" y="435071"/>
                  </a:lnTo>
                  <a:lnTo>
                    <a:pt x="435051" y="217542"/>
                  </a:lnTo>
                  <a:lnTo>
                    <a:pt x="435077" y="217542"/>
                  </a:lnTo>
                  <a:lnTo>
                    <a:pt x="435051" y="217537"/>
                  </a:lnTo>
                  <a:lnTo>
                    <a:pt x="435077" y="217533"/>
                  </a:lnTo>
                  <a:lnTo>
                    <a:pt x="435051" y="217533"/>
                  </a:lnTo>
                  <a:lnTo>
                    <a:pt x="217539" y="4"/>
                  </a:lnTo>
                  <a:lnTo>
                    <a:pt x="217539" y="217533"/>
                  </a:lnTo>
                  <a:lnTo>
                    <a:pt x="217539" y="217533"/>
                  </a:lnTo>
                  <a:close/>
                </a:path>
              </a:pathLst>
            </a:custGeom>
            <a:grpFill/>
            <a:ln w="27192" cap="flat">
              <a:noFill/>
              <a:prstDash val="solid"/>
              <a:miter/>
            </a:ln>
          </p:spPr>
          <p:txBody>
            <a:bodyPr rtlCol="0" anchor="ctr"/>
            <a:lstStyle/>
            <a:p>
              <a:endParaRPr lang="uk-UA" sz="900"/>
            </a:p>
          </p:txBody>
        </p:sp>
        <p:sp>
          <p:nvSpPr>
            <p:cNvPr id="29" name="Freeform: Shape 28">
              <a:extLst>
                <a:ext uri="{FF2B5EF4-FFF2-40B4-BE49-F238E27FC236}">
                  <a16:creationId xmlns:a16="http://schemas.microsoft.com/office/drawing/2014/main" id="{ABC0E1A1-D832-EC19-447D-85218C1C22F2}"/>
                </a:ext>
              </a:extLst>
            </p:cNvPr>
            <p:cNvSpPr/>
            <p:nvPr/>
          </p:nvSpPr>
          <p:spPr>
            <a:xfrm>
              <a:off x="19979365" y="228598"/>
              <a:ext cx="435077" cy="435067"/>
            </a:xfrm>
            <a:custGeom>
              <a:avLst/>
              <a:gdLst>
                <a:gd name="connsiteX0" fmla="*/ 0 w 435077"/>
                <a:gd name="connsiteY0" fmla="*/ 435068 h 435067"/>
                <a:gd name="connsiteX1" fmla="*/ 217539 w 435077"/>
                <a:gd name="connsiteY1" fmla="*/ 435068 h 435067"/>
                <a:gd name="connsiteX2" fmla="*/ 217539 w 435077"/>
                <a:gd name="connsiteY2" fmla="*/ 217535 h 435067"/>
                <a:gd name="connsiteX3" fmla="*/ 0 w 435077"/>
                <a:gd name="connsiteY3" fmla="*/ 435068 h 435067"/>
                <a:gd name="connsiteX4" fmla="*/ 217539 w 435077"/>
                <a:gd name="connsiteY4" fmla="*/ 0 h 435067"/>
                <a:gd name="connsiteX5" fmla="*/ 0 w 435077"/>
                <a:gd name="connsiteY5" fmla="*/ 0 h 435067"/>
                <a:gd name="connsiteX6" fmla="*/ 217539 w 435077"/>
                <a:gd name="connsiteY6" fmla="*/ 217532 h 435067"/>
                <a:gd name="connsiteX7" fmla="*/ 217539 w 435077"/>
                <a:gd name="connsiteY7" fmla="*/ 0 h 435067"/>
                <a:gd name="connsiteX8" fmla="*/ 435077 w 435077"/>
                <a:gd name="connsiteY8" fmla="*/ 435068 h 435067"/>
                <a:gd name="connsiteX9" fmla="*/ 217539 w 435077"/>
                <a:gd name="connsiteY9" fmla="*/ 435068 h 435067"/>
                <a:gd name="connsiteX10" fmla="*/ 435077 w 435077"/>
                <a:gd name="connsiteY10" fmla="*/ 217535 h 435067"/>
                <a:gd name="connsiteX11" fmla="*/ 435077 w 435077"/>
                <a:gd name="connsiteY11" fmla="*/ 435068 h 435067"/>
                <a:gd name="connsiteX12" fmla="*/ 435077 w 435077"/>
                <a:gd name="connsiteY12" fmla="*/ 0 h 435067"/>
                <a:gd name="connsiteX13" fmla="*/ 217539 w 435077"/>
                <a:gd name="connsiteY13" fmla="*/ 0 h 435067"/>
                <a:gd name="connsiteX14" fmla="*/ 435077 w 435077"/>
                <a:gd name="connsiteY14" fmla="*/ 217532 h 435067"/>
                <a:gd name="connsiteX15" fmla="*/ 435077 w 435077"/>
                <a:gd name="connsiteY15" fmla="*/ 0 h 435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67">
                  <a:moveTo>
                    <a:pt x="0" y="435068"/>
                  </a:moveTo>
                  <a:lnTo>
                    <a:pt x="217539" y="435068"/>
                  </a:lnTo>
                  <a:lnTo>
                    <a:pt x="217539" y="217535"/>
                  </a:lnTo>
                  <a:lnTo>
                    <a:pt x="0" y="435068"/>
                  </a:lnTo>
                  <a:close/>
                  <a:moveTo>
                    <a:pt x="217539" y="0"/>
                  </a:moveTo>
                  <a:lnTo>
                    <a:pt x="0" y="0"/>
                  </a:lnTo>
                  <a:lnTo>
                    <a:pt x="217539" y="217532"/>
                  </a:lnTo>
                  <a:lnTo>
                    <a:pt x="217539" y="0"/>
                  </a:lnTo>
                  <a:close/>
                  <a:moveTo>
                    <a:pt x="435077" y="435068"/>
                  </a:moveTo>
                  <a:lnTo>
                    <a:pt x="217539" y="435068"/>
                  </a:lnTo>
                  <a:lnTo>
                    <a:pt x="435077" y="217535"/>
                  </a:lnTo>
                  <a:lnTo>
                    <a:pt x="435077" y="435068"/>
                  </a:lnTo>
                  <a:close/>
                  <a:moveTo>
                    <a:pt x="435077" y="0"/>
                  </a:moveTo>
                  <a:lnTo>
                    <a:pt x="217539" y="0"/>
                  </a:lnTo>
                  <a:lnTo>
                    <a:pt x="435077" y="217532"/>
                  </a:lnTo>
                  <a:lnTo>
                    <a:pt x="435077" y="0"/>
                  </a:lnTo>
                  <a:close/>
                </a:path>
              </a:pathLst>
            </a:custGeom>
            <a:grpFill/>
            <a:ln w="27192" cap="flat">
              <a:noFill/>
              <a:prstDash val="solid"/>
              <a:miter/>
            </a:ln>
          </p:spPr>
          <p:txBody>
            <a:bodyPr rtlCol="0" anchor="ctr"/>
            <a:lstStyle/>
            <a:p>
              <a:endParaRPr lang="uk-UA" sz="900"/>
            </a:p>
          </p:txBody>
        </p:sp>
        <p:sp>
          <p:nvSpPr>
            <p:cNvPr id="42" name="Freeform: Shape 41">
              <a:extLst>
                <a:ext uri="{FF2B5EF4-FFF2-40B4-BE49-F238E27FC236}">
                  <a16:creationId xmlns:a16="http://schemas.microsoft.com/office/drawing/2014/main" id="{0967BE5A-BEEA-3964-520A-2FEAF0152D5E}"/>
                </a:ext>
              </a:extLst>
            </p:cNvPr>
            <p:cNvSpPr/>
            <p:nvPr/>
          </p:nvSpPr>
          <p:spPr>
            <a:xfrm>
              <a:off x="21719702" y="228598"/>
              <a:ext cx="435077" cy="435073"/>
            </a:xfrm>
            <a:custGeom>
              <a:avLst/>
              <a:gdLst>
                <a:gd name="connsiteX0" fmla="*/ 371339 w 435077"/>
                <a:gd name="connsiteY0" fmla="*/ 63716 h 435073"/>
                <a:gd name="connsiteX1" fmla="*/ 435077 w 435077"/>
                <a:gd name="connsiteY1" fmla="*/ 217539 h 435073"/>
                <a:gd name="connsiteX2" fmla="*/ 218926 w 435077"/>
                <a:gd name="connsiteY2" fmla="*/ 217539 h 435073"/>
                <a:gd name="connsiteX3" fmla="*/ 371367 w 435077"/>
                <a:gd name="connsiteY3" fmla="*/ 281249 h 435073"/>
                <a:gd name="connsiteX4" fmla="*/ 435077 w 435077"/>
                <a:gd name="connsiteY4" fmla="*/ 435073 h 435073"/>
                <a:gd name="connsiteX5" fmla="*/ 217539 w 435077"/>
                <a:gd name="connsiteY5" fmla="*/ 435073 h 435073"/>
                <a:gd name="connsiteX6" fmla="*/ 0 w 435077"/>
                <a:gd name="connsiteY6" fmla="*/ 435073 h 435073"/>
                <a:gd name="connsiteX7" fmla="*/ 63712 w 435077"/>
                <a:gd name="connsiteY7" fmla="*/ 281249 h 435073"/>
                <a:gd name="connsiteX8" fmla="*/ 216125 w 435077"/>
                <a:gd name="connsiteY8" fmla="*/ 217539 h 435073"/>
                <a:gd name="connsiteX9" fmla="*/ 0 w 435077"/>
                <a:gd name="connsiteY9" fmla="*/ 217539 h 435073"/>
                <a:gd name="connsiteX10" fmla="*/ 63712 w 435077"/>
                <a:gd name="connsiteY10" fmla="*/ 63716 h 435073"/>
                <a:gd name="connsiteX11" fmla="*/ 217539 w 435077"/>
                <a:gd name="connsiteY11" fmla="*/ 0 h 435073"/>
                <a:gd name="connsiteX12" fmla="*/ 371339 w 435077"/>
                <a:gd name="connsiteY12" fmla="*/ 63716 h 435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3">
                  <a:moveTo>
                    <a:pt x="371339" y="63716"/>
                  </a:moveTo>
                  <a:cubicBezTo>
                    <a:pt x="412155" y="104512"/>
                    <a:pt x="435077" y="159844"/>
                    <a:pt x="435077" y="217539"/>
                  </a:cubicBezTo>
                  <a:lnTo>
                    <a:pt x="218926" y="217539"/>
                  </a:lnTo>
                  <a:cubicBezTo>
                    <a:pt x="276112" y="217907"/>
                    <a:pt x="330877" y="240784"/>
                    <a:pt x="371367" y="281249"/>
                  </a:cubicBezTo>
                  <a:cubicBezTo>
                    <a:pt x="412155" y="322046"/>
                    <a:pt x="435077" y="377379"/>
                    <a:pt x="435077" y="435073"/>
                  </a:cubicBezTo>
                  <a:lnTo>
                    <a:pt x="217539" y="435073"/>
                  </a:lnTo>
                  <a:lnTo>
                    <a:pt x="0" y="435073"/>
                  </a:lnTo>
                  <a:cubicBezTo>
                    <a:pt x="0" y="377379"/>
                    <a:pt x="22924" y="322046"/>
                    <a:pt x="63712" y="281249"/>
                  </a:cubicBezTo>
                  <a:cubicBezTo>
                    <a:pt x="104175" y="240784"/>
                    <a:pt x="158940" y="217907"/>
                    <a:pt x="216125" y="217539"/>
                  </a:cubicBezTo>
                  <a:lnTo>
                    <a:pt x="0" y="217539"/>
                  </a:lnTo>
                  <a:cubicBezTo>
                    <a:pt x="0" y="159844"/>
                    <a:pt x="22897" y="104512"/>
                    <a:pt x="63712" y="63716"/>
                  </a:cubicBezTo>
                  <a:cubicBezTo>
                    <a:pt x="104501" y="22919"/>
                    <a:pt x="159838" y="0"/>
                    <a:pt x="217539" y="0"/>
                  </a:cubicBezTo>
                  <a:cubicBezTo>
                    <a:pt x="275215" y="0"/>
                    <a:pt x="330550" y="22919"/>
                    <a:pt x="371339" y="63716"/>
                  </a:cubicBezTo>
                  <a:close/>
                </a:path>
              </a:pathLst>
            </a:custGeom>
            <a:grpFill/>
            <a:ln w="27192" cap="flat">
              <a:noFill/>
              <a:prstDash val="solid"/>
              <a:miter/>
            </a:ln>
          </p:spPr>
          <p:txBody>
            <a:bodyPr rtlCol="0" anchor="ctr"/>
            <a:lstStyle/>
            <a:p>
              <a:endParaRPr lang="uk-UA" sz="900"/>
            </a:p>
          </p:txBody>
        </p:sp>
        <p:sp>
          <p:nvSpPr>
            <p:cNvPr id="43" name="Freeform: Shape 42">
              <a:extLst>
                <a:ext uri="{FF2B5EF4-FFF2-40B4-BE49-F238E27FC236}">
                  <a16:creationId xmlns:a16="http://schemas.microsoft.com/office/drawing/2014/main" id="{23DDD96F-C468-5BA0-C323-CAAF3519FE06}"/>
                </a:ext>
              </a:extLst>
            </p:cNvPr>
            <p:cNvSpPr/>
            <p:nvPr/>
          </p:nvSpPr>
          <p:spPr>
            <a:xfrm>
              <a:off x="20849520" y="228598"/>
              <a:ext cx="435103" cy="435078"/>
            </a:xfrm>
            <a:custGeom>
              <a:avLst/>
              <a:gdLst>
                <a:gd name="connsiteX0" fmla="*/ 217539 w 435103"/>
                <a:gd name="connsiteY0" fmla="*/ 0 h 435078"/>
                <a:gd name="connsiteX1" fmla="*/ 0 w 435103"/>
                <a:gd name="connsiteY1" fmla="*/ 0 h 435078"/>
                <a:gd name="connsiteX2" fmla="*/ 0 w 435103"/>
                <a:gd name="connsiteY2" fmla="*/ 217539 h 435078"/>
                <a:gd name="connsiteX3" fmla="*/ 217539 w 435103"/>
                <a:gd name="connsiteY3" fmla="*/ 0 h 435078"/>
                <a:gd name="connsiteX4" fmla="*/ 435104 w 435103"/>
                <a:gd name="connsiteY4" fmla="*/ 0 h 435078"/>
                <a:gd name="connsiteX5" fmla="*/ 435104 w 435103"/>
                <a:gd name="connsiteY5" fmla="*/ 217539 h 435078"/>
                <a:gd name="connsiteX6" fmla="*/ 217565 w 435103"/>
                <a:gd name="connsiteY6" fmla="*/ 0 h 435078"/>
                <a:gd name="connsiteX7" fmla="*/ 435104 w 435103"/>
                <a:gd name="connsiteY7" fmla="*/ 0 h 435078"/>
                <a:gd name="connsiteX8" fmla="*/ 217565 w 435103"/>
                <a:gd name="connsiteY8" fmla="*/ 435079 h 435078"/>
                <a:gd name="connsiteX9" fmla="*/ 435104 w 435103"/>
                <a:gd name="connsiteY9" fmla="*/ 217539 h 435078"/>
                <a:gd name="connsiteX10" fmla="*/ 435104 w 435103"/>
                <a:gd name="connsiteY10" fmla="*/ 435079 h 435078"/>
                <a:gd name="connsiteX11" fmla="*/ 217565 w 435103"/>
                <a:gd name="connsiteY11" fmla="*/ 435079 h 435078"/>
                <a:gd name="connsiteX12" fmla="*/ 217565 w 435103"/>
                <a:gd name="connsiteY12" fmla="*/ 435079 h 435078"/>
                <a:gd name="connsiteX13" fmla="*/ 27 w 435103"/>
                <a:gd name="connsiteY13" fmla="*/ 217539 h 435078"/>
                <a:gd name="connsiteX14" fmla="*/ 27 w 435103"/>
                <a:gd name="connsiteY14" fmla="*/ 435079 h 435078"/>
                <a:gd name="connsiteX15" fmla="*/ 217565 w 435103"/>
                <a:gd name="connsiteY15" fmla="*/ 435079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3" h="435078">
                  <a:moveTo>
                    <a:pt x="217539" y="0"/>
                  </a:moveTo>
                  <a:lnTo>
                    <a:pt x="0" y="0"/>
                  </a:lnTo>
                  <a:lnTo>
                    <a:pt x="0" y="217539"/>
                  </a:lnTo>
                  <a:lnTo>
                    <a:pt x="217539" y="0"/>
                  </a:lnTo>
                  <a:close/>
                  <a:moveTo>
                    <a:pt x="435104" y="0"/>
                  </a:moveTo>
                  <a:lnTo>
                    <a:pt x="435104" y="217539"/>
                  </a:lnTo>
                  <a:lnTo>
                    <a:pt x="217565" y="0"/>
                  </a:lnTo>
                  <a:lnTo>
                    <a:pt x="435104" y="0"/>
                  </a:lnTo>
                  <a:close/>
                  <a:moveTo>
                    <a:pt x="217565" y="435079"/>
                  </a:moveTo>
                  <a:lnTo>
                    <a:pt x="435104" y="217539"/>
                  </a:lnTo>
                  <a:lnTo>
                    <a:pt x="435104" y="435079"/>
                  </a:lnTo>
                  <a:lnTo>
                    <a:pt x="217565" y="435079"/>
                  </a:lnTo>
                  <a:close/>
                  <a:moveTo>
                    <a:pt x="217565" y="435079"/>
                  </a:moveTo>
                  <a:lnTo>
                    <a:pt x="27" y="217539"/>
                  </a:lnTo>
                  <a:lnTo>
                    <a:pt x="27" y="435079"/>
                  </a:lnTo>
                  <a:lnTo>
                    <a:pt x="217565" y="435079"/>
                  </a:lnTo>
                  <a:close/>
                </a:path>
              </a:pathLst>
            </a:custGeom>
            <a:grpFill/>
            <a:ln w="27192" cap="flat">
              <a:noFill/>
              <a:prstDash val="solid"/>
              <a:miter/>
            </a:ln>
          </p:spPr>
          <p:txBody>
            <a:bodyPr rtlCol="0" anchor="ctr"/>
            <a:lstStyle/>
            <a:p>
              <a:endParaRPr lang="uk-UA" sz="900"/>
            </a:p>
          </p:txBody>
        </p:sp>
        <p:sp>
          <p:nvSpPr>
            <p:cNvPr id="44" name="Freeform: Shape 43">
              <a:extLst>
                <a:ext uri="{FF2B5EF4-FFF2-40B4-BE49-F238E27FC236}">
                  <a16:creationId xmlns:a16="http://schemas.microsoft.com/office/drawing/2014/main" id="{429DFBD4-D1C5-C9AA-B75C-F1EBAEE7F4D4}"/>
                </a:ext>
              </a:extLst>
            </p:cNvPr>
            <p:cNvSpPr/>
            <p:nvPr/>
          </p:nvSpPr>
          <p:spPr>
            <a:xfrm>
              <a:off x="22589856" y="228598"/>
              <a:ext cx="435077" cy="435075"/>
            </a:xfrm>
            <a:custGeom>
              <a:avLst/>
              <a:gdLst>
                <a:gd name="connsiteX0" fmla="*/ 217539 w 435077"/>
                <a:gd name="connsiteY0" fmla="*/ 217533 h 435075"/>
                <a:gd name="connsiteX1" fmla="*/ 217539 w 435077"/>
                <a:gd name="connsiteY1" fmla="*/ 0 h 435075"/>
                <a:gd name="connsiteX2" fmla="*/ 0 w 435077"/>
                <a:gd name="connsiteY2" fmla="*/ 0 h 435075"/>
                <a:gd name="connsiteX3" fmla="*/ 217539 w 435077"/>
                <a:gd name="connsiteY3" fmla="*/ 217538 h 435075"/>
                <a:gd name="connsiteX4" fmla="*/ 0 w 435077"/>
                <a:gd name="connsiteY4" fmla="*/ 435076 h 435075"/>
                <a:gd name="connsiteX5" fmla="*/ 217539 w 435077"/>
                <a:gd name="connsiteY5" fmla="*/ 435076 h 435075"/>
                <a:gd name="connsiteX6" fmla="*/ 217539 w 435077"/>
                <a:gd name="connsiteY6" fmla="*/ 435071 h 435075"/>
                <a:gd name="connsiteX7" fmla="*/ 435077 w 435077"/>
                <a:gd name="connsiteY7" fmla="*/ 217542 h 435075"/>
                <a:gd name="connsiteX8" fmla="*/ 435077 w 435077"/>
                <a:gd name="connsiteY8" fmla="*/ 217542 h 435075"/>
                <a:gd name="connsiteX9" fmla="*/ 435077 w 435077"/>
                <a:gd name="connsiteY9" fmla="*/ 217537 h 435075"/>
                <a:gd name="connsiteX10" fmla="*/ 435077 w 435077"/>
                <a:gd name="connsiteY10" fmla="*/ 217533 h 435075"/>
                <a:gd name="connsiteX11" fmla="*/ 435077 w 435077"/>
                <a:gd name="connsiteY11" fmla="*/ 217533 h 435075"/>
                <a:gd name="connsiteX12" fmla="*/ 217539 w 435077"/>
                <a:gd name="connsiteY12" fmla="*/ 4 h 435075"/>
                <a:gd name="connsiteX13" fmla="*/ 217539 w 435077"/>
                <a:gd name="connsiteY13" fmla="*/ 217533 h 435075"/>
                <a:gd name="connsiteX14" fmla="*/ 217539 w 435077"/>
                <a:gd name="connsiteY14" fmla="*/ 217533 h 43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5">
                  <a:moveTo>
                    <a:pt x="217539" y="217533"/>
                  </a:moveTo>
                  <a:lnTo>
                    <a:pt x="217539" y="0"/>
                  </a:lnTo>
                  <a:lnTo>
                    <a:pt x="0" y="0"/>
                  </a:lnTo>
                  <a:lnTo>
                    <a:pt x="217539" y="217538"/>
                  </a:lnTo>
                  <a:lnTo>
                    <a:pt x="0" y="435076"/>
                  </a:lnTo>
                  <a:lnTo>
                    <a:pt x="217539" y="435076"/>
                  </a:lnTo>
                  <a:lnTo>
                    <a:pt x="217539" y="435071"/>
                  </a:lnTo>
                  <a:lnTo>
                    <a:pt x="435077" y="217542"/>
                  </a:lnTo>
                  <a:lnTo>
                    <a:pt x="435077" y="217542"/>
                  </a:lnTo>
                  <a:lnTo>
                    <a:pt x="435077" y="217537"/>
                  </a:lnTo>
                  <a:lnTo>
                    <a:pt x="435077" y="217533"/>
                  </a:lnTo>
                  <a:lnTo>
                    <a:pt x="435077" y="217533"/>
                  </a:lnTo>
                  <a:lnTo>
                    <a:pt x="217539" y="4"/>
                  </a:lnTo>
                  <a:lnTo>
                    <a:pt x="217539" y="217533"/>
                  </a:lnTo>
                  <a:lnTo>
                    <a:pt x="217539" y="217533"/>
                  </a:lnTo>
                  <a:close/>
                </a:path>
              </a:pathLst>
            </a:custGeom>
            <a:grpFill/>
            <a:ln w="27192" cap="flat">
              <a:noFill/>
              <a:prstDash val="solid"/>
              <a:miter/>
            </a:ln>
          </p:spPr>
          <p:txBody>
            <a:bodyPr rtlCol="0" anchor="ctr"/>
            <a:lstStyle/>
            <a:p>
              <a:endParaRPr lang="uk-UA" sz="900"/>
            </a:p>
          </p:txBody>
        </p:sp>
        <p:sp>
          <p:nvSpPr>
            <p:cNvPr id="45" name="Freeform: Shape 44">
              <a:extLst>
                <a:ext uri="{FF2B5EF4-FFF2-40B4-BE49-F238E27FC236}">
                  <a16:creationId xmlns:a16="http://schemas.microsoft.com/office/drawing/2014/main" id="{7F13CF4C-53AA-E6CF-79F1-4E3D1793023E}"/>
                </a:ext>
              </a:extLst>
            </p:cNvPr>
            <p:cNvSpPr/>
            <p:nvPr/>
          </p:nvSpPr>
          <p:spPr>
            <a:xfrm>
              <a:off x="23460039" y="228598"/>
              <a:ext cx="435077" cy="435067"/>
            </a:xfrm>
            <a:custGeom>
              <a:avLst/>
              <a:gdLst>
                <a:gd name="connsiteX0" fmla="*/ 0 w 435077"/>
                <a:gd name="connsiteY0" fmla="*/ 435065 h 435067"/>
                <a:gd name="connsiteX1" fmla="*/ 217510 w 435077"/>
                <a:gd name="connsiteY1" fmla="*/ 435068 h 435067"/>
                <a:gd name="connsiteX2" fmla="*/ 217510 w 435077"/>
                <a:gd name="connsiteY2" fmla="*/ 217535 h 435067"/>
                <a:gd name="connsiteX3" fmla="*/ 0 w 435077"/>
                <a:gd name="connsiteY3" fmla="*/ 435065 h 435067"/>
                <a:gd name="connsiteX4" fmla="*/ 217539 w 435077"/>
                <a:gd name="connsiteY4" fmla="*/ 0 h 435067"/>
                <a:gd name="connsiteX5" fmla="*/ 0 w 435077"/>
                <a:gd name="connsiteY5" fmla="*/ 0 h 435067"/>
                <a:gd name="connsiteX6" fmla="*/ 217539 w 435077"/>
                <a:gd name="connsiteY6" fmla="*/ 217532 h 435067"/>
                <a:gd name="connsiteX7" fmla="*/ 217539 w 435077"/>
                <a:gd name="connsiteY7" fmla="*/ 0 h 435067"/>
                <a:gd name="connsiteX8" fmla="*/ 435077 w 435077"/>
                <a:gd name="connsiteY8" fmla="*/ 435068 h 435067"/>
                <a:gd name="connsiteX9" fmla="*/ 217539 w 435077"/>
                <a:gd name="connsiteY9" fmla="*/ 435068 h 435067"/>
                <a:gd name="connsiteX10" fmla="*/ 435077 w 435077"/>
                <a:gd name="connsiteY10" fmla="*/ 217535 h 435067"/>
                <a:gd name="connsiteX11" fmla="*/ 435077 w 435077"/>
                <a:gd name="connsiteY11" fmla="*/ 435068 h 435067"/>
                <a:gd name="connsiteX12" fmla="*/ 435077 w 435077"/>
                <a:gd name="connsiteY12" fmla="*/ 0 h 435067"/>
                <a:gd name="connsiteX13" fmla="*/ 217539 w 435077"/>
                <a:gd name="connsiteY13" fmla="*/ 0 h 435067"/>
                <a:gd name="connsiteX14" fmla="*/ 435077 w 435077"/>
                <a:gd name="connsiteY14" fmla="*/ 217532 h 435067"/>
                <a:gd name="connsiteX15" fmla="*/ 435077 w 435077"/>
                <a:gd name="connsiteY15" fmla="*/ 0 h 435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67">
                  <a:moveTo>
                    <a:pt x="0" y="435065"/>
                  </a:moveTo>
                  <a:lnTo>
                    <a:pt x="217510" y="435068"/>
                  </a:lnTo>
                  <a:lnTo>
                    <a:pt x="217510" y="217535"/>
                  </a:lnTo>
                  <a:lnTo>
                    <a:pt x="0" y="435065"/>
                  </a:lnTo>
                  <a:close/>
                  <a:moveTo>
                    <a:pt x="217539" y="0"/>
                  </a:moveTo>
                  <a:lnTo>
                    <a:pt x="0" y="0"/>
                  </a:lnTo>
                  <a:lnTo>
                    <a:pt x="217539" y="217532"/>
                  </a:lnTo>
                  <a:lnTo>
                    <a:pt x="217539" y="0"/>
                  </a:lnTo>
                  <a:close/>
                  <a:moveTo>
                    <a:pt x="435077" y="435068"/>
                  </a:moveTo>
                  <a:lnTo>
                    <a:pt x="217539" y="435068"/>
                  </a:lnTo>
                  <a:lnTo>
                    <a:pt x="435077" y="217535"/>
                  </a:lnTo>
                  <a:lnTo>
                    <a:pt x="435077" y="435068"/>
                  </a:lnTo>
                  <a:close/>
                  <a:moveTo>
                    <a:pt x="435077" y="0"/>
                  </a:moveTo>
                  <a:lnTo>
                    <a:pt x="217539" y="0"/>
                  </a:lnTo>
                  <a:lnTo>
                    <a:pt x="435077" y="217532"/>
                  </a:lnTo>
                  <a:lnTo>
                    <a:pt x="435077" y="0"/>
                  </a:lnTo>
                  <a:close/>
                </a:path>
              </a:pathLst>
            </a:custGeom>
            <a:grpFill/>
            <a:ln w="27192" cap="flat">
              <a:noFill/>
              <a:prstDash val="solid"/>
              <a:miter/>
            </a:ln>
          </p:spPr>
          <p:txBody>
            <a:bodyPr rtlCol="0" anchor="ctr"/>
            <a:lstStyle/>
            <a:p>
              <a:endParaRPr lang="uk-UA" sz="900"/>
            </a:p>
          </p:txBody>
        </p:sp>
        <p:sp>
          <p:nvSpPr>
            <p:cNvPr id="46" name="Freeform: Shape 45">
              <a:extLst>
                <a:ext uri="{FF2B5EF4-FFF2-40B4-BE49-F238E27FC236}">
                  <a16:creationId xmlns:a16="http://schemas.microsoft.com/office/drawing/2014/main" id="{EC2D71C1-296F-446C-B2A9-E97C23CA8637}"/>
                </a:ext>
              </a:extLst>
            </p:cNvPr>
            <p:cNvSpPr/>
            <p:nvPr/>
          </p:nvSpPr>
          <p:spPr>
            <a:xfrm>
              <a:off x="24330194" y="228598"/>
              <a:ext cx="435077" cy="435078"/>
            </a:xfrm>
            <a:custGeom>
              <a:avLst/>
              <a:gdLst>
                <a:gd name="connsiteX0" fmla="*/ 217539 w 435077"/>
                <a:gd name="connsiteY0" fmla="*/ 0 h 435078"/>
                <a:gd name="connsiteX1" fmla="*/ 0 w 435077"/>
                <a:gd name="connsiteY1" fmla="*/ 0 h 435078"/>
                <a:gd name="connsiteX2" fmla="*/ 0 w 435077"/>
                <a:gd name="connsiteY2" fmla="*/ 217539 h 435078"/>
                <a:gd name="connsiteX3" fmla="*/ 0 w 435077"/>
                <a:gd name="connsiteY3" fmla="*/ 435079 h 435078"/>
                <a:gd name="connsiteX4" fmla="*/ 217539 w 435077"/>
                <a:gd name="connsiteY4" fmla="*/ 435079 h 435078"/>
                <a:gd name="connsiteX5" fmla="*/ 435077 w 435077"/>
                <a:gd name="connsiteY5" fmla="*/ 435079 h 435078"/>
                <a:gd name="connsiteX6" fmla="*/ 435077 w 435077"/>
                <a:gd name="connsiteY6" fmla="*/ 217539 h 435078"/>
                <a:gd name="connsiteX7" fmla="*/ 435077 w 435077"/>
                <a:gd name="connsiteY7" fmla="*/ 0 h 435078"/>
                <a:gd name="connsiteX8" fmla="*/ 217539 w 435077"/>
                <a:gd name="connsiteY8" fmla="*/ 0 h 435078"/>
                <a:gd name="connsiteX9" fmla="*/ 217539 w 435077"/>
                <a:gd name="connsiteY9" fmla="*/ 0 h 435078"/>
                <a:gd name="connsiteX10" fmla="*/ 435077 w 435077"/>
                <a:gd name="connsiteY10" fmla="*/ 217539 h 435078"/>
                <a:gd name="connsiteX11" fmla="*/ 217539 w 435077"/>
                <a:gd name="connsiteY11" fmla="*/ 435079 h 435078"/>
                <a:gd name="connsiteX12" fmla="*/ 0 w 435077"/>
                <a:gd name="connsiteY12" fmla="*/ 217539 h 435078"/>
                <a:gd name="connsiteX13" fmla="*/ 217539 w 435077"/>
                <a:gd name="connsiteY13" fmla="*/ 0 h 43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8">
                  <a:moveTo>
                    <a:pt x="217539" y="0"/>
                  </a:moveTo>
                  <a:lnTo>
                    <a:pt x="0" y="0"/>
                  </a:lnTo>
                  <a:lnTo>
                    <a:pt x="0" y="217539"/>
                  </a:lnTo>
                  <a:lnTo>
                    <a:pt x="0" y="435079"/>
                  </a:lnTo>
                  <a:lnTo>
                    <a:pt x="217539" y="435079"/>
                  </a:lnTo>
                  <a:lnTo>
                    <a:pt x="435077" y="435079"/>
                  </a:lnTo>
                  <a:lnTo>
                    <a:pt x="435077" y="217539"/>
                  </a:lnTo>
                  <a:lnTo>
                    <a:pt x="435077" y="0"/>
                  </a:lnTo>
                  <a:lnTo>
                    <a:pt x="217539" y="0"/>
                  </a:lnTo>
                  <a:close/>
                  <a:moveTo>
                    <a:pt x="217539" y="0"/>
                  </a:moveTo>
                  <a:lnTo>
                    <a:pt x="435077" y="217539"/>
                  </a:lnTo>
                  <a:lnTo>
                    <a:pt x="217539" y="435079"/>
                  </a:lnTo>
                  <a:lnTo>
                    <a:pt x="0" y="217539"/>
                  </a:lnTo>
                  <a:lnTo>
                    <a:pt x="217539" y="0"/>
                  </a:lnTo>
                  <a:close/>
                </a:path>
              </a:pathLst>
            </a:custGeom>
            <a:grpFill/>
            <a:ln w="27192" cap="flat">
              <a:noFill/>
              <a:prstDash val="solid"/>
              <a:miter/>
            </a:ln>
          </p:spPr>
          <p:txBody>
            <a:bodyPr rtlCol="0" anchor="ctr"/>
            <a:lstStyle/>
            <a:p>
              <a:endParaRPr lang="uk-UA" sz="900"/>
            </a:p>
          </p:txBody>
        </p:sp>
        <p:sp>
          <p:nvSpPr>
            <p:cNvPr id="47" name="Freeform: Shape 46">
              <a:extLst>
                <a:ext uri="{FF2B5EF4-FFF2-40B4-BE49-F238E27FC236}">
                  <a16:creationId xmlns:a16="http://schemas.microsoft.com/office/drawing/2014/main" id="{6307F016-4B09-C252-1705-8B46F39BAB43}"/>
                </a:ext>
              </a:extLst>
            </p:cNvPr>
            <p:cNvSpPr/>
            <p:nvPr/>
          </p:nvSpPr>
          <p:spPr>
            <a:xfrm>
              <a:off x="835769" y="1098754"/>
              <a:ext cx="435077" cy="435077"/>
            </a:xfrm>
            <a:custGeom>
              <a:avLst/>
              <a:gdLst>
                <a:gd name="connsiteX0" fmla="*/ 63711 w 435077"/>
                <a:gd name="connsiteY0" fmla="*/ 153824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4 h 435077"/>
                <a:gd name="connsiteX5" fmla="*/ 217539 w 435077"/>
                <a:gd name="connsiteY5" fmla="*/ 217539 h 435077"/>
                <a:gd name="connsiteX6" fmla="*/ 63711 w 435077"/>
                <a:gd name="connsiteY6" fmla="*/ 153824 h 435077"/>
                <a:gd name="connsiteX7" fmla="*/ 63711 w 435077"/>
                <a:gd name="connsiteY7" fmla="*/ 281256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6 h 435077"/>
                <a:gd name="connsiteX12" fmla="*/ 217539 w 435077"/>
                <a:gd name="connsiteY12" fmla="*/ 217539 h 435077"/>
                <a:gd name="connsiteX13" fmla="*/ 63711 w 435077"/>
                <a:gd name="connsiteY13" fmla="*/ 281256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1" y="153824"/>
                  </a:moveTo>
                  <a:cubicBezTo>
                    <a:pt x="22923" y="113028"/>
                    <a:pt x="0" y="57697"/>
                    <a:pt x="0" y="0"/>
                  </a:cubicBezTo>
                  <a:lnTo>
                    <a:pt x="217539" y="0"/>
                  </a:lnTo>
                  <a:lnTo>
                    <a:pt x="435077" y="0"/>
                  </a:lnTo>
                  <a:cubicBezTo>
                    <a:pt x="435077" y="57697"/>
                    <a:pt x="412154" y="113028"/>
                    <a:pt x="371366" y="153824"/>
                  </a:cubicBezTo>
                  <a:cubicBezTo>
                    <a:pt x="330550" y="194621"/>
                    <a:pt x="275213" y="217539"/>
                    <a:pt x="217539" y="217539"/>
                  </a:cubicBezTo>
                  <a:cubicBezTo>
                    <a:pt x="159836" y="217539"/>
                    <a:pt x="104500" y="194621"/>
                    <a:pt x="63711" y="153824"/>
                  </a:cubicBezTo>
                  <a:close/>
                  <a:moveTo>
                    <a:pt x="63711" y="281256"/>
                  </a:moveTo>
                  <a:cubicBezTo>
                    <a:pt x="22923" y="322052"/>
                    <a:pt x="0" y="377383"/>
                    <a:pt x="0" y="435077"/>
                  </a:cubicBezTo>
                  <a:lnTo>
                    <a:pt x="217539" y="435077"/>
                  </a:lnTo>
                  <a:lnTo>
                    <a:pt x="435077" y="435077"/>
                  </a:lnTo>
                  <a:cubicBezTo>
                    <a:pt x="435077" y="377383"/>
                    <a:pt x="412154" y="322052"/>
                    <a:pt x="371366" y="281256"/>
                  </a:cubicBezTo>
                  <a:cubicBezTo>
                    <a:pt x="330550" y="240459"/>
                    <a:pt x="275213" y="217539"/>
                    <a:pt x="217539" y="217539"/>
                  </a:cubicBezTo>
                  <a:cubicBezTo>
                    <a:pt x="159836" y="217539"/>
                    <a:pt x="104500" y="240459"/>
                    <a:pt x="63711" y="281256"/>
                  </a:cubicBezTo>
                  <a:close/>
                </a:path>
              </a:pathLst>
            </a:custGeom>
            <a:grpFill/>
            <a:ln w="27192" cap="flat">
              <a:noFill/>
              <a:prstDash val="solid"/>
              <a:miter/>
            </a:ln>
          </p:spPr>
          <p:txBody>
            <a:bodyPr rtlCol="0" anchor="ctr"/>
            <a:lstStyle/>
            <a:p>
              <a:endParaRPr lang="uk-UA" sz="900"/>
            </a:p>
          </p:txBody>
        </p:sp>
        <p:sp>
          <p:nvSpPr>
            <p:cNvPr id="48" name="Freeform: Shape 47">
              <a:extLst>
                <a:ext uri="{FF2B5EF4-FFF2-40B4-BE49-F238E27FC236}">
                  <a16:creationId xmlns:a16="http://schemas.microsoft.com/office/drawing/2014/main" id="{8AB4E4EF-DCCC-C4A9-710D-3F02BFEA4DDD}"/>
                </a:ext>
              </a:extLst>
            </p:cNvPr>
            <p:cNvSpPr/>
            <p:nvPr/>
          </p:nvSpPr>
          <p:spPr>
            <a:xfrm>
              <a:off x="-34398" y="1098754"/>
              <a:ext cx="435063" cy="435077"/>
            </a:xfrm>
            <a:custGeom>
              <a:avLst/>
              <a:gdLst>
                <a:gd name="connsiteX0" fmla="*/ 435064 w 435063"/>
                <a:gd name="connsiteY0" fmla="*/ 435077 h 435077"/>
                <a:gd name="connsiteX1" fmla="*/ 435064 w 435063"/>
                <a:gd name="connsiteY1" fmla="*/ 0 h 435077"/>
                <a:gd name="connsiteX2" fmla="*/ 217552 w 435063"/>
                <a:gd name="connsiteY2" fmla="*/ 217544 h 435077"/>
                <a:gd name="connsiteX3" fmla="*/ 435064 w 435063"/>
                <a:gd name="connsiteY3" fmla="*/ 435077 h 435077"/>
                <a:gd name="connsiteX4" fmla="*/ 0 w 435063"/>
                <a:gd name="connsiteY4" fmla="*/ 435077 h 435077"/>
                <a:gd name="connsiteX5" fmla="*/ 0 w 435063"/>
                <a:gd name="connsiteY5" fmla="*/ 3 h 435077"/>
                <a:gd name="connsiteX6" fmla="*/ 217525 w 435063"/>
                <a:gd name="connsiteY6" fmla="*/ 217544 h 435077"/>
                <a:gd name="connsiteX7" fmla="*/ 0 w 435063"/>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63" h="435077">
                  <a:moveTo>
                    <a:pt x="435064" y="435077"/>
                  </a:moveTo>
                  <a:lnTo>
                    <a:pt x="435064" y="0"/>
                  </a:lnTo>
                  <a:lnTo>
                    <a:pt x="217552" y="217544"/>
                  </a:lnTo>
                  <a:lnTo>
                    <a:pt x="435064" y="435077"/>
                  </a:lnTo>
                  <a:close/>
                  <a:moveTo>
                    <a:pt x="0" y="435077"/>
                  </a:moveTo>
                  <a:lnTo>
                    <a:pt x="0" y="3"/>
                  </a:lnTo>
                  <a:lnTo>
                    <a:pt x="217525" y="217544"/>
                  </a:lnTo>
                  <a:lnTo>
                    <a:pt x="0" y="435077"/>
                  </a:lnTo>
                  <a:close/>
                </a:path>
              </a:pathLst>
            </a:custGeom>
            <a:grpFill/>
            <a:ln w="27192" cap="flat">
              <a:noFill/>
              <a:prstDash val="solid"/>
              <a:miter/>
            </a:ln>
          </p:spPr>
          <p:txBody>
            <a:bodyPr rtlCol="0" anchor="ctr"/>
            <a:lstStyle/>
            <a:p>
              <a:endParaRPr lang="uk-UA" sz="900"/>
            </a:p>
          </p:txBody>
        </p:sp>
        <p:sp>
          <p:nvSpPr>
            <p:cNvPr id="49" name="Freeform: Shape 48">
              <a:extLst>
                <a:ext uri="{FF2B5EF4-FFF2-40B4-BE49-F238E27FC236}">
                  <a16:creationId xmlns:a16="http://schemas.microsoft.com/office/drawing/2014/main" id="{5D73CBA5-F1F4-FC45-54A8-5E36DEAD5FE9}"/>
                </a:ext>
              </a:extLst>
            </p:cNvPr>
            <p:cNvSpPr/>
            <p:nvPr/>
          </p:nvSpPr>
          <p:spPr>
            <a:xfrm>
              <a:off x="1705924" y="1098754"/>
              <a:ext cx="435077" cy="435077"/>
            </a:xfrm>
            <a:custGeom>
              <a:avLst/>
              <a:gdLst>
                <a:gd name="connsiteX0" fmla="*/ 435077 w 435077"/>
                <a:gd name="connsiteY0" fmla="*/ 435077 h 435077"/>
                <a:gd name="connsiteX1" fmla="*/ 435077 w 435077"/>
                <a:gd name="connsiteY1" fmla="*/ 217547 h 435077"/>
                <a:gd name="connsiteX2" fmla="*/ 435077 w 435077"/>
                <a:gd name="connsiteY2" fmla="*/ 16 h 435077"/>
                <a:gd name="connsiteX3" fmla="*/ 217566 w 435077"/>
                <a:gd name="connsiteY3" fmla="*/ 16 h 435077"/>
                <a:gd name="connsiteX4" fmla="*/ 435077 w 435077"/>
                <a:gd name="connsiteY4" fmla="*/ 217547 h 435077"/>
                <a:gd name="connsiteX5" fmla="*/ 217566 w 435077"/>
                <a:gd name="connsiteY5" fmla="*/ 435077 h 435077"/>
                <a:gd name="connsiteX6" fmla="*/ 435077 w 435077"/>
                <a:gd name="connsiteY6" fmla="*/ 435077 h 435077"/>
                <a:gd name="connsiteX7" fmla="*/ 0 w 435077"/>
                <a:gd name="connsiteY7" fmla="*/ 217531 h 435077"/>
                <a:gd name="connsiteX8" fmla="*/ 0 w 435077"/>
                <a:gd name="connsiteY8" fmla="*/ 0 h 435077"/>
                <a:gd name="connsiteX9" fmla="*/ 217539 w 435077"/>
                <a:gd name="connsiteY9" fmla="*/ 217531 h 435077"/>
                <a:gd name="connsiteX10" fmla="*/ 0 w 435077"/>
                <a:gd name="connsiteY10" fmla="*/ 217531 h 435077"/>
                <a:gd name="connsiteX11" fmla="*/ 0 w 435077"/>
                <a:gd name="connsiteY11" fmla="*/ 435072 h 435077"/>
                <a:gd name="connsiteX12" fmla="*/ 0 w 435077"/>
                <a:gd name="connsiteY12" fmla="*/ 217541 h 435077"/>
                <a:gd name="connsiteX13" fmla="*/ 217539 w 435077"/>
                <a:gd name="connsiteY13" fmla="*/ 217541 h 435077"/>
                <a:gd name="connsiteX14" fmla="*/ 0 w 435077"/>
                <a:gd name="connsiteY14" fmla="*/ 43507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47"/>
                  </a:lnTo>
                  <a:lnTo>
                    <a:pt x="435077" y="16"/>
                  </a:lnTo>
                  <a:lnTo>
                    <a:pt x="217566" y="16"/>
                  </a:lnTo>
                  <a:lnTo>
                    <a:pt x="435077" y="217547"/>
                  </a:lnTo>
                  <a:lnTo>
                    <a:pt x="217566" y="435077"/>
                  </a:lnTo>
                  <a:lnTo>
                    <a:pt x="435077" y="435077"/>
                  </a:lnTo>
                  <a:close/>
                  <a:moveTo>
                    <a:pt x="0" y="217531"/>
                  </a:moveTo>
                  <a:lnTo>
                    <a:pt x="0" y="0"/>
                  </a:lnTo>
                  <a:lnTo>
                    <a:pt x="217539" y="217531"/>
                  </a:lnTo>
                  <a:lnTo>
                    <a:pt x="0" y="217531"/>
                  </a:lnTo>
                  <a:close/>
                  <a:moveTo>
                    <a:pt x="0" y="435072"/>
                  </a:moveTo>
                  <a:lnTo>
                    <a:pt x="0" y="217541"/>
                  </a:lnTo>
                  <a:lnTo>
                    <a:pt x="217539" y="217541"/>
                  </a:lnTo>
                  <a:lnTo>
                    <a:pt x="0" y="435072"/>
                  </a:lnTo>
                  <a:close/>
                </a:path>
              </a:pathLst>
            </a:custGeom>
            <a:grpFill/>
            <a:ln w="27192" cap="flat">
              <a:noFill/>
              <a:prstDash val="solid"/>
              <a:miter/>
            </a:ln>
          </p:spPr>
          <p:txBody>
            <a:bodyPr rtlCol="0" anchor="ctr"/>
            <a:lstStyle/>
            <a:p>
              <a:endParaRPr lang="uk-UA" sz="900"/>
            </a:p>
          </p:txBody>
        </p:sp>
        <p:sp>
          <p:nvSpPr>
            <p:cNvPr id="50" name="Freeform: Shape 49">
              <a:extLst>
                <a:ext uri="{FF2B5EF4-FFF2-40B4-BE49-F238E27FC236}">
                  <a16:creationId xmlns:a16="http://schemas.microsoft.com/office/drawing/2014/main" id="{8F36FA65-5240-ABCB-F19F-3498C3B7931F}"/>
                </a:ext>
              </a:extLst>
            </p:cNvPr>
            <p:cNvSpPr/>
            <p:nvPr/>
          </p:nvSpPr>
          <p:spPr>
            <a:xfrm>
              <a:off x="2576106" y="1098754"/>
              <a:ext cx="435077" cy="435077"/>
            </a:xfrm>
            <a:custGeom>
              <a:avLst/>
              <a:gdLst>
                <a:gd name="connsiteX0" fmla="*/ 217539 w 435077"/>
                <a:gd name="connsiteY0" fmla="*/ 435069 h 435077"/>
                <a:gd name="connsiteX1" fmla="*/ 217539 w 435077"/>
                <a:gd name="connsiteY1" fmla="*/ 0 h 435077"/>
                <a:gd name="connsiteX2" fmla="*/ 435077 w 435077"/>
                <a:gd name="connsiteY2" fmla="*/ 217541 h 435077"/>
                <a:gd name="connsiteX3" fmla="*/ 217539 w 435077"/>
                <a:gd name="connsiteY3" fmla="*/ 435069 h 435077"/>
                <a:gd name="connsiteX4" fmla="*/ 0 w 435077"/>
                <a:gd name="connsiteY4" fmla="*/ 435077 h 435077"/>
                <a:gd name="connsiteX5" fmla="*/ 0 w 435077"/>
                <a:gd name="connsiteY5" fmla="*/ 8 h 435077"/>
                <a:gd name="connsiteX6" fmla="*/ 217512 w 435077"/>
                <a:gd name="connsiteY6" fmla="*/ 217547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69"/>
                  </a:moveTo>
                  <a:lnTo>
                    <a:pt x="217539" y="0"/>
                  </a:lnTo>
                  <a:lnTo>
                    <a:pt x="435077" y="217541"/>
                  </a:lnTo>
                  <a:lnTo>
                    <a:pt x="217539" y="435069"/>
                  </a:lnTo>
                  <a:close/>
                  <a:moveTo>
                    <a:pt x="0" y="435077"/>
                  </a:moveTo>
                  <a:lnTo>
                    <a:pt x="0" y="8"/>
                  </a:lnTo>
                  <a:lnTo>
                    <a:pt x="217512" y="217547"/>
                  </a:lnTo>
                  <a:lnTo>
                    <a:pt x="0" y="435077"/>
                  </a:lnTo>
                  <a:close/>
                </a:path>
              </a:pathLst>
            </a:custGeom>
            <a:grpFill/>
            <a:ln w="27192" cap="flat">
              <a:noFill/>
              <a:prstDash val="solid"/>
              <a:miter/>
            </a:ln>
          </p:spPr>
          <p:txBody>
            <a:bodyPr rtlCol="0" anchor="ctr"/>
            <a:lstStyle/>
            <a:p>
              <a:endParaRPr lang="uk-UA" sz="900"/>
            </a:p>
          </p:txBody>
        </p:sp>
        <p:sp>
          <p:nvSpPr>
            <p:cNvPr id="51" name="Freeform: Shape 50">
              <a:extLst>
                <a:ext uri="{FF2B5EF4-FFF2-40B4-BE49-F238E27FC236}">
                  <a16:creationId xmlns:a16="http://schemas.microsoft.com/office/drawing/2014/main" id="{F17A33E8-B0D1-E32F-B76E-218D92475FE0}"/>
                </a:ext>
              </a:extLst>
            </p:cNvPr>
            <p:cNvSpPr/>
            <p:nvPr/>
          </p:nvSpPr>
          <p:spPr>
            <a:xfrm>
              <a:off x="4316416" y="1098754"/>
              <a:ext cx="435077" cy="435077"/>
            </a:xfrm>
            <a:custGeom>
              <a:avLst/>
              <a:gdLst>
                <a:gd name="connsiteX0" fmla="*/ 63739 w 435077"/>
                <a:gd name="connsiteY0" fmla="*/ 153824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4 h 435077"/>
                <a:gd name="connsiteX5" fmla="*/ 217539 w 435077"/>
                <a:gd name="connsiteY5" fmla="*/ 217539 h 435077"/>
                <a:gd name="connsiteX6" fmla="*/ 63739 w 435077"/>
                <a:gd name="connsiteY6" fmla="*/ 153824 h 435077"/>
                <a:gd name="connsiteX7" fmla="*/ 63739 w 435077"/>
                <a:gd name="connsiteY7" fmla="*/ 281256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6 h 435077"/>
                <a:gd name="connsiteX12" fmla="*/ 217539 w 435077"/>
                <a:gd name="connsiteY12" fmla="*/ 217539 h 435077"/>
                <a:gd name="connsiteX13" fmla="*/ 63739 w 435077"/>
                <a:gd name="connsiteY13" fmla="*/ 281256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4"/>
                  </a:moveTo>
                  <a:cubicBezTo>
                    <a:pt x="22923" y="113028"/>
                    <a:pt x="0" y="57697"/>
                    <a:pt x="0" y="0"/>
                  </a:cubicBezTo>
                  <a:lnTo>
                    <a:pt x="217539" y="0"/>
                  </a:lnTo>
                  <a:lnTo>
                    <a:pt x="435077" y="0"/>
                  </a:lnTo>
                  <a:cubicBezTo>
                    <a:pt x="435077" y="57697"/>
                    <a:pt x="412181" y="113028"/>
                    <a:pt x="371365" y="153824"/>
                  </a:cubicBezTo>
                  <a:cubicBezTo>
                    <a:pt x="330577" y="194621"/>
                    <a:pt x="275240" y="217539"/>
                    <a:pt x="217539" y="217539"/>
                  </a:cubicBezTo>
                  <a:cubicBezTo>
                    <a:pt x="159864" y="217539"/>
                    <a:pt x="104527" y="194621"/>
                    <a:pt x="63739" y="153824"/>
                  </a:cubicBezTo>
                  <a:close/>
                  <a:moveTo>
                    <a:pt x="63739" y="281256"/>
                  </a:moveTo>
                  <a:cubicBezTo>
                    <a:pt x="22923" y="322052"/>
                    <a:pt x="0" y="377383"/>
                    <a:pt x="0" y="435077"/>
                  </a:cubicBezTo>
                  <a:lnTo>
                    <a:pt x="217539" y="435077"/>
                  </a:lnTo>
                  <a:lnTo>
                    <a:pt x="435077" y="435077"/>
                  </a:lnTo>
                  <a:cubicBezTo>
                    <a:pt x="435077" y="377383"/>
                    <a:pt x="412181" y="322052"/>
                    <a:pt x="371365" y="281256"/>
                  </a:cubicBezTo>
                  <a:cubicBezTo>
                    <a:pt x="330577" y="240459"/>
                    <a:pt x="275240" y="217539"/>
                    <a:pt x="217539" y="217539"/>
                  </a:cubicBezTo>
                  <a:cubicBezTo>
                    <a:pt x="159864" y="217539"/>
                    <a:pt x="104527" y="240459"/>
                    <a:pt x="63739" y="281256"/>
                  </a:cubicBezTo>
                  <a:close/>
                </a:path>
              </a:pathLst>
            </a:custGeom>
            <a:grpFill/>
            <a:ln w="27192" cap="flat">
              <a:noFill/>
              <a:prstDash val="solid"/>
              <a:miter/>
            </a:ln>
          </p:spPr>
          <p:txBody>
            <a:bodyPr rtlCol="0" anchor="ctr"/>
            <a:lstStyle/>
            <a:p>
              <a:endParaRPr lang="uk-UA" sz="900"/>
            </a:p>
          </p:txBody>
        </p:sp>
        <p:sp>
          <p:nvSpPr>
            <p:cNvPr id="52" name="Freeform: Shape 51">
              <a:extLst>
                <a:ext uri="{FF2B5EF4-FFF2-40B4-BE49-F238E27FC236}">
                  <a16:creationId xmlns:a16="http://schemas.microsoft.com/office/drawing/2014/main" id="{FDAC6987-9C35-9D02-9A9A-25F438D89791}"/>
                </a:ext>
              </a:extLst>
            </p:cNvPr>
            <p:cNvSpPr/>
            <p:nvPr/>
          </p:nvSpPr>
          <p:spPr>
            <a:xfrm>
              <a:off x="3446261" y="1098754"/>
              <a:ext cx="435077" cy="435077"/>
            </a:xfrm>
            <a:custGeom>
              <a:avLst/>
              <a:gdLst>
                <a:gd name="connsiteX0" fmla="*/ 435077 w 435077"/>
                <a:gd name="connsiteY0" fmla="*/ 435077 h 435077"/>
                <a:gd name="connsiteX1" fmla="*/ 435077 w 435077"/>
                <a:gd name="connsiteY1" fmla="*/ 0 h 435077"/>
                <a:gd name="connsiteX2" fmla="*/ 217566 w 435077"/>
                <a:gd name="connsiteY2" fmla="*/ 217544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44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6" y="217544"/>
                  </a:lnTo>
                  <a:lnTo>
                    <a:pt x="435077" y="435077"/>
                  </a:lnTo>
                  <a:close/>
                  <a:moveTo>
                    <a:pt x="0" y="435077"/>
                  </a:moveTo>
                  <a:lnTo>
                    <a:pt x="0" y="3"/>
                  </a:lnTo>
                  <a:lnTo>
                    <a:pt x="217539" y="217544"/>
                  </a:lnTo>
                  <a:lnTo>
                    <a:pt x="0" y="435077"/>
                  </a:lnTo>
                  <a:close/>
                </a:path>
              </a:pathLst>
            </a:custGeom>
            <a:grpFill/>
            <a:ln w="27192" cap="flat">
              <a:noFill/>
              <a:prstDash val="solid"/>
              <a:miter/>
            </a:ln>
          </p:spPr>
          <p:txBody>
            <a:bodyPr rtlCol="0" anchor="ctr"/>
            <a:lstStyle/>
            <a:p>
              <a:endParaRPr lang="uk-UA" sz="900"/>
            </a:p>
          </p:txBody>
        </p:sp>
        <p:sp>
          <p:nvSpPr>
            <p:cNvPr id="53" name="Freeform: Shape 52">
              <a:extLst>
                <a:ext uri="{FF2B5EF4-FFF2-40B4-BE49-F238E27FC236}">
                  <a16:creationId xmlns:a16="http://schemas.microsoft.com/office/drawing/2014/main" id="{7D54DF1A-EE8B-BE7F-EC54-82C7F9E2D31B}"/>
                </a:ext>
              </a:extLst>
            </p:cNvPr>
            <p:cNvSpPr/>
            <p:nvPr/>
          </p:nvSpPr>
          <p:spPr>
            <a:xfrm>
              <a:off x="5186597" y="1098754"/>
              <a:ext cx="435077" cy="435077"/>
            </a:xfrm>
            <a:custGeom>
              <a:avLst/>
              <a:gdLst>
                <a:gd name="connsiteX0" fmla="*/ 435077 w 435077"/>
                <a:gd name="connsiteY0" fmla="*/ 435077 h 435077"/>
                <a:gd name="connsiteX1" fmla="*/ 435077 w 435077"/>
                <a:gd name="connsiteY1" fmla="*/ 217547 h 435077"/>
                <a:gd name="connsiteX2" fmla="*/ 435077 w 435077"/>
                <a:gd name="connsiteY2" fmla="*/ 16 h 435077"/>
                <a:gd name="connsiteX3" fmla="*/ 217539 w 435077"/>
                <a:gd name="connsiteY3" fmla="*/ 16 h 435077"/>
                <a:gd name="connsiteX4" fmla="*/ 435077 w 435077"/>
                <a:gd name="connsiteY4" fmla="*/ 217547 h 435077"/>
                <a:gd name="connsiteX5" fmla="*/ 217539 w 435077"/>
                <a:gd name="connsiteY5" fmla="*/ 435077 h 435077"/>
                <a:gd name="connsiteX6" fmla="*/ 435077 w 435077"/>
                <a:gd name="connsiteY6" fmla="*/ 435077 h 435077"/>
                <a:gd name="connsiteX7" fmla="*/ 0 w 435077"/>
                <a:gd name="connsiteY7" fmla="*/ 217531 h 435077"/>
                <a:gd name="connsiteX8" fmla="*/ 0 w 435077"/>
                <a:gd name="connsiteY8" fmla="*/ 0 h 435077"/>
                <a:gd name="connsiteX9" fmla="*/ 217512 w 435077"/>
                <a:gd name="connsiteY9" fmla="*/ 217531 h 435077"/>
                <a:gd name="connsiteX10" fmla="*/ 0 w 435077"/>
                <a:gd name="connsiteY10" fmla="*/ 217531 h 435077"/>
                <a:gd name="connsiteX11" fmla="*/ 0 w 435077"/>
                <a:gd name="connsiteY11" fmla="*/ 435072 h 435077"/>
                <a:gd name="connsiteX12" fmla="*/ 0 w 435077"/>
                <a:gd name="connsiteY12" fmla="*/ 217541 h 435077"/>
                <a:gd name="connsiteX13" fmla="*/ 217512 w 435077"/>
                <a:gd name="connsiteY13" fmla="*/ 217541 h 435077"/>
                <a:gd name="connsiteX14" fmla="*/ 0 w 435077"/>
                <a:gd name="connsiteY14" fmla="*/ 43507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47"/>
                  </a:lnTo>
                  <a:lnTo>
                    <a:pt x="435077" y="16"/>
                  </a:lnTo>
                  <a:lnTo>
                    <a:pt x="217539" y="16"/>
                  </a:lnTo>
                  <a:lnTo>
                    <a:pt x="435077" y="217547"/>
                  </a:lnTo>
                  <a:lnTo>
                    <a:pt x="217539" y="435077"/>
                  </a:lnTo>
                  <a:lnTo>
                    <a:pt x="435077" y="435077"/>
                  </a:lnTo>
                  <a:close/>
                  <a:moveTo>
                    <a:pt x="0" y="217531"/>
                  </a:moveTo>
                  <a:lnTo>
                    <a:pt x="0" y="0"/>
                  </a:lnTo>
                  <a:lnTo>
                    <a:pt x="217512" y="217531"/>
                  </a:lnTo>
                  <a:lnTo>
                    <a:pt x="0" y="217531"/>
                  </a:lnTo>
                  <a:close/>
                  <a:moveTo>
                    <a:pt x="0" y="435072"/>
                  </a:moveTo>
                  <a:lnTo>
                    <a:pt x="0" y="217541"/>
                  </a:lnTo>
                  <a:lnTo>
                    <a:pt x="217512" y="217541"/>
                  </a:lnTo>
                  <a:lnTo>
                    <a:pt x="0" y="435072"/>
                  </a:lnTo>
                  <a:close/>
                </a:path>
              </a:pathLst>
            </a:custGeom>
            <a:grpFill/>
            <a:ln w="27192" cap="flat">
              <a:noFill/>
              <a:prstDash val="solid"/>
              <a:miter/>
            </a:ln>
          </p:spPr>
          <p:txBody>
            <a:bodyPr rtlCol="0" anchor="ctr"/>
            <a:lstStyle/>
            <a:p>
              <a:endParaRPr lang="uk-UA" sz="900"/>
            </a:p>
          </p:txBody>
        </p:sp>
        <p:sp>
          <p:nvSpPr>
            <p:cNvPr id="54" name="Freeform: Shape 53">
              <a:extLst>
                <a:ext uri="{FF2B5EF4-FFF2-40B4-BE49-F238E27FC236}">
                  <a16:creationId xmlns:a16="http://schemas.microsoft.com/office/drawing/2014/main" id="{2FCAAFBA-1DE7-AF51-3819-89A0349E4F38}"/>
                </a:ext>
              </a:extLst>
            </p:cNvPr>
            <p:cNvSpPr/>
            <p:nvPr/>
          </p:nvSpPr>
          <p:spPr>
            <a:xfrm>
              <a:off x="6056752" y="1098754"/>
              <a:ext cx="435077" cy="435077"/>
            </a:xfrm>
            <a:custGeom>
              <a:avLst/>
              <a:gdLst>
                <a:gd name="connsiteX0" fmla="*/ 217539 w 435077"/>
                <a:gd name="connsiteY0" fmla="*/ 435069 h 435077"/>
                <a:gd name="connsiteX1" fmla="*/ 217539 w 435077"/>
                <a:gd name="connsiteY1" fmla="*/ 0 h 435077"/>
                <a:gd name="connsiteX2" fmla="*/ 435077 w 435077"/>
                <a:gd name="connsiteY2" fmla="*/ 217541 h 435077"/>
                <a:gd name="connsiteX3" fmla="*/ 217539 w 435077"/>
                <a:gd name="connsiteY3" fmla="*/ 435069 h 435077"/>
                <a:gd name="connsiteX4" fmla="*/ 0 w 435077"/>
                <a:gd name="connsiteY4" fmla="*/ 435077 h 435077"/>
                <a:gd name="connsiteX5" fmla="*/ 0 w 435077"/>
                <a:gd name="connsiteY5" fmla="*/ 8 h 435077"/>
                <a:gd name="connsiteX6" fmla="*/ 217539 w 435077"/>
                <a:gd name="connsiteY6" fmla="*/ 217547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69"/>
                  </a:moveTo>
                  <a:lnTo>
                    <a:pt x="217539" y="0"/>
                  </a:lnTo>
                  <a:lnTo>
                    <a:pt x="435077" y="217541"/>
                  </a:lnTo>
                  <a:lnTo>
                    <a:pt x="217539" y="435069"/>
                  </a:lnTo>
                  <a:close/>
                  <a:moveTo>
                    <a:pt x="0" y="435077"/>
                  </a:moveTo>
                  <a:lnTo>
                    <a:pt x="0" y="8"/>
                  </a:lnTo>
                  <a:lnTo>
                    <a:pt x="217539" y="217547"/>
                  </a:lnTo>
                  <a:lnTo>
                    <a:pt x="0" y="435077"/>
                  </a:lnTo>
                  <a:close/>
                </a:path>
              </a:pathLst>
            </a:custGeom>
            <a:grpFill/>
            <a:ln w="27192" cap="flat">
              <a:noFill/>
              <a:prstDash val="solid"/>
              <a:miter/>
            </a:ln>
          </p:spPr>
          <p:txBody>
            <a:bodyPr rtlCol="0" anchor="ctr"/>
            <a:lstStyle/>
            <a:p>
              <a:endParaRPr lang="uk-UA" sz="900"/>
            </a:p>
          </p:txBody>
        </p:sp>
        <p:sp>
          <p:nvSpPr>
            <p:cNvPr id="55" name="Freeform: Shape 54">
              <a:extLst>
                <a:ext uri="{FF2B5EF4-FFF2-40B4-BE49-F238E27FC236}">
                  <a16:creationId xmlns:a16="http://schemas.microsoft.com/office/drawing/2014/main" id="{5A73C534-D51B-1E10-5354-B9A68D51346B}"/>
                </a:ext>
              </a:extLst>
            </p:cNvPr>
            <p:cNvSpPr/>
            <p:nvPr/>
          </p:nvSpPr>
          <p:spPr>
            <a:xfrm>
              <a:off x="7797062" y="1098754"/>
              <a:ext cx="435077" cy="435077"/>
            </a:xfrm>
            <a:custGeom>
              <a:avLst/>
              <a:gdLst>
                <a:gd name="connsiteX0" fmla="*/ 63739 w 435077"/>
                <a:gd name="connsiteY0" fmla="*/ 153824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4 h 435077"/>
                <a:gd name="connsiteX5" fmla="*/ 217539 w 435077"/>
                <a:gd name="connsiteY5" fmla="*/ 217539 h 435077"/>
                <a:gd name="connsiteX6" fmla="*/ 63739 w 435077"/>
                <a:gd name="connsiteY6" fmla="*/ 153824 h 435077"/>
                <a:gd name="connsiteX7" fmla="*/ 63739 w 435077"/>
                <a:gd name="connsiteY7" fmla="*/ 281256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6 h 435077"/>
                <a:gd name="connsiteX12" fmla="*/ 217539 w 435077"/>
                <a:gd name="connsiteY12" fmla="*/ 217539 h 435077"/>
                <a:gd name="connsiteX13" fmla="*/ 63739 w 435077"/>
                <a:gd name="connsiteY13" fmla="*/ 281256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4"/>
                  </a:moveTo>
                  <a:cubicBezTo>
                    <a:pt x="22924" y="113028"/>
                    <a:pt x="0" y="57697"/>
                    <a:pt x="0" y="0"/>
                  </a:cubicBezTo>
                  <a:lnTo>
                    <a:pt x="217539" y="0"/>
                  </a:lnTo>
                  <a:lnTo>
                    <a:pt x="435077" y="0"/>
                  </a:lnTo>
                  <a:cubicBezTo>
                    <a:pt x="435077" y="57697"/>
                    <a:pt x="412182" y="113028"/>
                    <a:pt x="371366" y="153824"/>
                  </a:cubicBezTo>
                  <a:cubicBezTo>
                    <a:pt x="330578" y="194621"/>
                    <a:pt x="275241" y="217539"/>
                    <a:pt x="217539" y="217539"/>
                  </a:cubicBezTo>
                  <a:cubicBezTo>
                    <a:pt x="159864" y="217539"/>
                    <a:pt x="104527" y="194621"/>
                    <a:pt x="63739" y="153824"/>
                  </a:cubicBezTo>
                  <a:close/>
                  <a:moveTo>
                    <a:pt x="63739" y="281256"/>
                  </a:moveTo>
                  <a:cubicBezTo>
                    <a:pt x="22924" y="322052"/>
                    <a:pt x="0" y="377383"/>
                    <a:pt x="0" y="435077"/>
                  </a:cubicBezTo>
                  <a:lnTo>
                    <a:pt x="217539" y="435077"/>
                  </a:lnTo>
                  <a:lnTo>
                    <a:pt x="435077" y="435077"/>
                  </a:lnTo>
                  <a:cubicBezTo>
                    <a:pt x="435077" y="377383"/>
                    <a:pt x="412182" y="322052"/>
                    <a:pt x="371366" y="281256"/>
                  </a:cubicBezTo>
                  <a:cubicBezTo>
                    <a:pt x="330578" y="240459"/>
                    <a:pt x="275241" y="217539"/>
                    <a:pt x="217539" y="217539"/>
                  </a:cubicBezTo>
                  <a:cubicBezTo>
                    <a:pt x="159864" y="217539"/>
                    <a:pt x="104527" y="240459"/>
                    <a:pt x="63739" y="281256"/>
                  </a:cubicBezTo>
                  <a:close/>
                </a:path>
              </a:pathLst>
            </a:custGeom>
            <a:grpFill/>
            <a:ln w="27192" cap="flat">
              <a:noFill/>
              <a:prstDash val="solid"/>
              <a:miter/>
            </a:ln>
          </p:spPr>
          <p:txBody>
            <a:bodyPr rtlCol="0" anchor="ctr"/>
            <a:lstStyle/>
            <a:p>
              <a:endParaRPr lang="uk-UA" sz="900"/>
            </a:p>
          </p:txBody>
        </p:sp>
        <p:sp>
          <p:nvSpPr>
            <p:cNvPr id="56" name="Freeform: Shape 55">
              <a:extLst>
                <a:ext uri="{FF2B5EF4-FFF2-40B4-BE49-F238E27FC236}">
                  <a16:creationId xmlns:a16="http://schemas.microsoft.com/office/drawing/2014/main" id="{A923C15C-7C1A-13CC-9F62-7019B8E919F2}"/>
                </a:ext>
              </a:extLst>
            </p:cNvPr>
            <p:cNvSpPr/>
            <p:nvPr/>
          </p:nvSpPr>
          <p:spPr>
            <a:xfrm>
              <a:off x="6926907" y="1098754"/>
              <a:ext cx="435077" cy="435077"/>
            </a:xfrm>
            <a:custGeom>
              <a:avLst/>
              <a:gdLst>
                <a:gd name="connsiteX0" fmla="*/ 435077 w 435077"/>
                <a:gd name="connsiteY0" fmla="*/ 435077 h 435077"/>
                <a:gd name="connsiteX1" fmla="*/ 435077 w 435077"/>
                <a:gd name="connsiteY1" fmla="*/ 0 h 435077"/>
                <a:gd name="connsiteX2" fmla="*/ 217566 w 435077"/>
                <a:gd name="connsiteY2" fmla="*/ 217544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44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6" y="217544"/>
                  </a:lnTo>
                  <a:lnTo>
                    <a:pt x="435077" y="435077"/>
                  </a:lnTo>
                  <a:close/>
                  <a:moveTo>
                    <a:pt x="0" y="435077"/>
                  </a:moveTo>
                  <a:lnTo>
                    <a:pt x="0" y="3"/>
                  </a:lnTo>
                  <a:lnTo>
                    <a:pt x="217539" y="217544"/>
                  </a:lnTo>
                  <a:lnTo>
                    <a:pt x="0" y="435077"/>
                  </a:lnTo>
                  <a:close/>
                </a:path>
              </a:pathLst>
            </a:custGeom>
            <a:grpFill/>
            <a:ln w="27192" cap="flat">
              <a:noFill/>
              <a:prstDash val="solid"/>
              <a:miter/>
            </a:ln>
          </p:spPr>
          <p:txBody>
            <a:bodyPr rtlCol="0" anchor="ctr"/>
            <a:lstStyle/>
            <a:p>
              <a:endParaRPr lang="uk-UA" sz="900"/>
            </a:p>
          </p:txBody>
        </p:sp>
        <p:sp>
          <p:nvSpPr>
            <p:cNvPr id="57" name="Freeform: Shape 56">
              <a:extLst>
                <a:ext uri="{FF2B5EF4-FFF2-40B4-BE49-F238E27FC236}">
                  <a16:creationId xmlns:a16="http://schemas.microsoft.com/office/drawing/2014/main" id="{149BA382-AB4C-353F-657D-8C79A1E8D349}"/>
                </a:ext>
              </a:extLst>
            </p:cNvPr>
            <p:cNvSpPr/>
            <p:nvPr/>
          </p:nvSpPr>
          <p:spPr>
            <a:xfrm>
              <a:off x="8667217" y="1098754"/>
              <a:ext cx="435077" cy="435077"/>
            </a:xfrm>
            <a:custGeom>
              <a:avLst/>
              <a:gdLst>
                <a:gd name="connsiteX0" fmla="*/ 435077 w 435077"/>
                <a:gd name="connsiteY0" fmla="*/ 435077 h 435077"/>
                <a:gd name="connsiteX1" fmla="*/ 435077 w 435077"/>
                <a:gd name="connsiteY1" fmla="*/ 217547 h 435077"/>
                <a:gd name="connsiteX2" fmla="*/ 435077 w 435077"/>
                <a:gd name="connsiteY2" fmla="*/ 16 h 435077"/>
                <a:gd name="connsiteX3" fmla="*/ 217566 w 435077"/>
                <a:gd name="connsiteY3" fmla="*/ 16 h 435077"/>
                <a:gd name="connsiteX4" fmla="*/ 435077 w 435077"/>
                <a:gd name="connsiteY4" fmla="*/ 217547 h 435077"/>
                <a:gd name="connsiteX5" fmla="*/ 217566 w 435077"/>
                <a:gd name="connsiteY5" fmla="*/ 435077 h 435077"/>
                <a:gd name="connsiteX6" fmla="*/ 435077 w 435077"/>
                <a:gd name="connsiteY6" fmla="*/ 435077 h 435077"/>
                <a:gd name="connsiteX7" fmla="*/ 0 w 435077"/>
                <a:gd name="connsiteY7" fmla="*/ 217531 h 435077"/>
                <a:gd name="connsiteX8" fmla="*/ 0 w 435077"/>
                <a:gd name="connsiteY8" fmla="*/ 0 h 435077"/>
                <a:gd name="connsiteX9" fmla="*/ 217539 w 435077"/>
                <a:gd name="connsiteY9" fmla="*/ 217531 h 435077"/>
                <a:gd name="connsiteX10" fmla="*/ 0 w 435077"/>
                <a:gd name="connsiteY10" fmla="*/ 217531 h 435077"/>
                <a:gd name="connsiteX11" fmla="*/ 0 w 435077"/>
                <a:gd name="connsiteY11" fmla="*/ 435072 h 435077"/>
                <a:gd name="connsiteX12" fmla="*/ 0 w 435077"/>
                <a:gd name="connsiteY12" fmla="*/ 217541 h 435077"/>
                <a:gd name="connsiteX13" fmla="*/ 217539 w 435077"/>
                <a:gd name="connsiteY13" fmla="*/ 217541 h 435077"/>
                <a:gd name="connsiteX14" fmla="*/ 0 w 435077"/>
                <a:gd name="connsiteY14" fmla="*/ 43507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47"/>
                  </a:lnTo>
                  <a:lnTo>
                    <a:pt x="435077" y="16"/>
                  </a:lnTo>
                  <a:lnTo>
                    <a:pt x="217566" y="16"/>
                  </a:lnTo>
                  <a:lnTo>
                    <a:pt x="435077" y="217547"/>
                  </a:lnTo>
                  <a:lnTo>
                    <a:pt x="217566" y="435077"/>
                  </a:lnTo>
                  <a:lnTo>
                    <a:pt x="435077" y="435077"/>
                  </a:lnTo>
                  <a:close/>
                  <a:moveTo>
                    <a:pt x="0" y="217531"/>
                  </a:moveTo>
                  <a:lnTo>
                    <a:pt x="0" y="0"/>
                  </a:lnTo>
                  <a:lnTo>
                    <a:pt x="217539" y="217531"/>
                  </a:lnTo>
                  <a:lnTo>
                    <a:pt x="0" y="217531"/>
                  </a:lnTo>
                  <a:close/>
                  <a:moveTo>
                    <a:pt x="0" y="435072"/>
                  </a:moveTo>
                  <a:lnTo>
                    <a:pt x="0" y="217541"/>
                  </a:lnTo>
                  <a:lnTo>
                    <a:pt x="217539" y="217541"/>
                  </a:lnTo>
                  <a:lnTo>
                    <a:pt x="0" y="435072"/>
                  </a:lnTo>
                  <a:close/>
                </a:path>
              </a:pathLst>
            </a:custGeom>
            <a:grpFill/>
            <a:ln w="27192" cap="flat">
              <a:noFill/>
              <a:prstDash val="solid"/>
              <a:miter/>
            </a:ln>
          </p:spPr>
          <p:txBody>
            <a:bodyPr rtlCol="0" anchor="ctr"/>
            <a:lstStyle/>
            <a:p>
              <a:endParaRPr lang="uk-UA" sz="900"/>
            </a:p>
          </p:txBody>
        </p:sp>
        <p:sp>
          <p:nvSpPr>
            <p:cNvPr id="58" name="Freeform: Shape 57">
              <a:extLst>
                <a:ext uri="{FF2B5EF4-FFF2-40B4-BE49-F238E27FC236}">
                  <a16:creationId xmlns:a16="http://schemas.microsoft.com/office/drawing/2014/main" id="{EA8A6A0F-9606-BB85-7A1C-ECFFD19E9C9A}"/>
                </a:ext>
              </a:extLst>
            </p:cNvPr>
            <p:cNvSpPr/>
            <p:nvPr/>
          </p:nvSpPr>
          <p:spPr>
            <a:xfrm>
              <a:off x="9537399" y="1098754"/>
              <a:ext cx="435077" cy="435077"/>
            </a:xfrm>
            <a:custGeom>
              <a:avLst/>
              <a:gdLst>
                <a:gd name="connsiteX0" fmla="*/ 217539 w 435077"/>
                <a:gd name="connsiteY0" fmla="*/ 435069 h 435077"/>
                <a:gd name="connsiteX1" fmla="*/ 217539 w 435077"/>
                <a:gd name="connsiteY1" fmla="*/ 0 h 435077"/>
                <a:gd name="connsiteX2" fmla="*/ 435077 w 435077"/>
                <a:gd name="connsiteY2" fmla="*/ 217541 h 435077"/>
                <a:gd name="connsiteX3" fmla="*/ 217539 w 435077"/>
                <a:gd name="connsiteY3" fmla="*/ 435069 h 435077"/>
                <a:gd name="connsiteX4" fmla="*/ 0 w 435077"/>
                <a:gd name="connsiteY4" fmla="*/ 435077 h 435077"/>
                <a:gd name="connsiteX5" fmla="*/ 0 w 435077"/>
                <a:gd name="connsiteY5" fmla="*/ 8 h 435077"/>
                <a:gd name="connsiteX6" fmla="*/ 217539 w 435077"/>
                <a:gd name="connsiteY6" fmla="*/ 217547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69"/>
                  </a:moveTo>
                  <a:lnTo>
                    <a:pt x="217539" y="0"/>
                  </a:lnTo>
                  <a:lnTo>
                    <a:pt x="435077" y="217541"/>
                  </a:lnTo>
                  <a:lnTo>
                    <a:pt x="217539" y="435069"/>
                  </a:lnTo>
                  <a:close/>
                  <a:moveTo>
                    <a:pt x="0" y="435077"/>
                  </a:moveTo>
                  <a:lnTo>
                    <a:pt x="0" y="8"/>
                  </a:lnTo>
                  <a:lnTo>
                    <a:pt x="217539" y="217547"/>
                  </a:lnTo>
                  <a:lnTo>
                    <a:pt x="0" y="435077"/>
                  </a:lnTo>
                  <a:close/>
                </a:path>
              </a:pathLst>
            </a:custGeom>
            <a:grpFill/>
            <a:ln w="27192" cap="flat">
              <a:noFill/>
              <a:prstDash val="solid"/>
              <a:miter/>
            </a:ln>
          </p:spPr>
          <p:txBody>
            <a:bodyPr rtlCol="0" anchor="ctr"/>
            <a:lstStyle/>
            <a:p>
              <a:endParaRPr lang="uk-UA" sz="900"/>
            </a:p>
          </p:txBody>
        </p:sp>
        <p:sp>
          <p:nvSpPr>
            <p:cNvPr id="59" name="Freeform: Shape 58">
              <a:extLst>
                <a:ext uri="{FF2B5EF4-FFF2-40B4-BE49-F238E27FC236}">
                  <a16:creationId xmlns:a16="http://schemas.microsoft.com/office/drawing/2014/main" id="{8AE5B2E2-3D61-9631-7456-12EC8E375280}"/>
                </a:ext>
              </a:extLst>
            </p:cNvPr>
            <p:cNvSpPr/>
            <p:nvPr/>
          </p:nvSpPr>
          <p:spPr>
            <a:xfrm>
              <a:off x="11277709" y="1098754"/>
              <a:ext cx="435077" cy="435077"/>
            </a:xfrm>
            <a:custGeom>
              <a:avLst/>
              <a:gdLst>
                <a:gd name="connsiteX0" fmla="*/ 63710 w 435077"/>
                <a:gd name="connsiteY0" fmla="*/ 153824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4 h 435077"/>
                <a:gd name="connsiteX5" fmla="*/ 217539 w 435077"/>
                <a:gd name="connsiteY5" fmla="*/ 217539 h 435077"/>
                <a:gd name="connsiteX6" fmla="*/ 63710 w 435077"/>
                <a:gd name="connsiteY6" fmla="*/ 153824 h 435077"/>
                <a:gd name="connsiteX7" fmla="*/ 63710 w 435077"/>
                <a:gd name="connsiteY7" fmla="*/ 281256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6 h 435077"/>
                <a:gd name="connsiteX12" fmla="*/ 217539 w 435077"/>
                <a:gd name="connsiteY12" fmla="*/ 217539 h 435077"/>
                <a:gd name="connsiteX13" fmla="*/ 63710 w 435077"/>
                <a:gd name="connsiteY13" fmla="*/ 281256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4"/>
                  </a:moveTo>
                  <a:cubicBezTo>
                    <a:pt x="22922" y="113028"/>
                    <a:pt x="0" y="57697"/>
                    <a:pt x="0" y="0"/>
                  </a:cubicBezTo>
                  <a:lnTo>
                    <a:pt x="217539" y="0"/>
                  </a:lnTo>
                  <a:lnTo>
                    <a:pt x="435077" y="0"/>
                  </a:lnTo>
                  <a:cubicBezTo>
                    <a:pt x="435077" y="57697"/>
                    <a:pt x="412154" y="113028"/>
                    <a:pt x="371365" y="153824"/>
                  </a:cubicBezTo>
                  <a:cubicBezTo>
                    <a:pt x="330549" y="194621"/>
                    <a:pt x="275239" y="217539"/>
                    <a:pt x="217539" y="217539"/>
                  </a:cubicBezTo>
                  <a:cubicBezTo>
                    <a:pt x="159836" y="217539"/>
                    <a:pt x="104499" y="194621"/>
                    <a:pt x="63710" y="153824"/>
                  </a:cubicBezTo>
                  <a:close/>
                  <a:moveTo>
                    <a:pt x="63710" y="281256"/>
                  </a:moveTo>
                  <a:cubicBezTo>
                    <a:pt x="22922" y="322052"/>
                    <a:pt x="0" y="377383"/>
                    <a:pt x="0" y="435077"/>
                  </a:cubicBezTo>
                  <a:lnTo>
                    <a:pt x="217539" y="435077"/>
                  </a:lnTo>
                  <a:lnTo>
                    <a:pt x="435077" y="435077"/>
                  </a:lnTo>
                  <a:cubicBezTo>
                    <a:pt x="435077" y="377383"/>
                    <a:pt x="412154" y="322052"/>
                    <a:pt x="371365" y="281256"/>
                  </a:cubicBezTo>
                  <a:cubicBezTo>
                    <a:pt x="330549" y="240459"/>
                    <a:pt x="275239" y="217539"/>
                    <a:pt x="217539" y="217539"/>
                  </a:cubicBezTo>
                  <a:cubicBezTo>
                    <a:pt x="159836" y="217539"/>
                    <a:pt x="104499" y="240459"/>
                    <a:pt x="63710" y="281256"/>
                  </a:cubicBezTo>
                  <a:close/>
                </a:path>
              </a:pathLst>
            </a:custGeom>
            <a:grpFill/>
            <a:ln w="27192" cap="flat">
              <a:noFill/>
              <a:prstDash val="solid"/>
              <a:miter/>
            </a:ln>
          </p:spPr>
          <p:txBody>
            <a:bodyPr rtlCol="0" anchor="ctr"/>
            <a:lstStyle/>
            <a:p>
              <a:endParaRPr lang="uk-UA" sz="900"/>
            </a:p>
          </p:txBody>
        </p:sp>
        <p:sp>
          <p:nvSpPr>
            <p:cNvPr id="60" name="Freeform: Shape 59">
              <a:extLst>
                <a:ext uri="{FF2B5EF4-FFF2-40B4-BE49-F238E27FC236}">
                  <a16:creationId xmlns:a16="http://schemas.microsoft.com/office/drawing/2014/main" id="{DD67AFC5-1711-B93C-5A92-93FF83316850}"/>
                </a:ext>
              </a:extLst>
            </p:cNvPr>
            <p:cNvSpPr/>
            <p:nvPr/>
          </p:nvSpPr>
          <p:spPr>
            <a:xfrm>
              <a:off x="10407554" y="1098754"/>
              <a:ext cx="435077" cy="435077"/>
            </a:xfrm>
            <a:custGeom>
              <a:avLst/>
              <a:gdLst>
                <a:gd name="connsiteX0" fmla="*/ 435077 w 435077"/>
                <a:gd name="connsiteY0" fmla="*/ 435077 h 435077"/>
                <a:gd name="connsiteX1" fmla="*/ 435077 w 435077"/>
                <a:gd name="connsiteY1" fmla="*/ 0 h 435077"/>
                <a:gd name="connsiteX2" fmla="*/ 217539 w 435077"/>
                <a:gd name="connsiteY2" fmla="*/ 217544 h 435077"/>
                <a:gd name="connsiteX3" fmla="*/ 435077 w 435077"/>
                <a:gd name="connsiteY3" fmla="*/ 435077 h 435077"/>
                <a:gd name="connsiteX4" fmla="*/ 0 w 435077"/>
                <a:gd name="connsiteY4" fmla="*/ 435077 h 435077"/>
                <a:gd name="connsiteX5" fmla="*/ 0 w 435077"/>
                <a:gd name="connsiteY5" fmla="*/ 3 h 435077"/>
                <a:gd name="connsiteX6" fmla="*/ 217511 w 435077"/>
                <a:gd name="connsiteY6" fmla="*/ 217544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44"/>
                  </a:lnTo>
                  <a:lnTo>
                    <a:pt x="435077" y="435077"/>
                  </a:lnTo>
                  <a:close/>
                  <a:moveTo>
                    <a:pt x="0" y="435077"/>
                  </a:moveTo>
                  <a:lnTo>
                    <a:pt x="0" y="3"/>
                  </a:lnTo>
                  <a:lnTo>
                    <a:pt x="217511" y="217544"/>
                  </a:lnTo>
                  <a:lnTo>
                    <a:pt x="0" y="435077"/>
                  </a:lnTo>
                  <a:close/>
                </a:path>
              </a:pathLst>
            </a:custGeom>
            <a:grpFill/>
            <a:ln w="27192" cap="flat">
              <a:noFill/>
              <a:prstDash val="solid"/>
              <a:miter/>
            </a:ln>
          </p:spPr>
          <p:txBody>
            <a:bodyPr rtlCol="0" anchor="ctr"/>
            <a:lstStyle/>
            <a:p>
              <a:endParaRPr lang="uk-UA" sz="900"/>
            </a:p>
          </p:txBody>
        </p:sp>
        <p:sp>
          <p:nvSpPr>
            <p:cNvPr id="61" name="Freeform: Shape 60">
              <a:extLst>
                <a:ext uri="{FF2B5EF4-FFF2-40B4-BE49-F238E27FC236}">
                  <a16:creationId xmlns:a16="http://schemas.microsoft.com/office/drawing/2014/main" id="{A3437C13-5647-2924-5109-AEDD1E4BEA25}"/>
                </a:ext>
              </a:extLst>
            </p:cNvPr>
            <p:cNvSpPr/>
            <p:nvPr/>
          </p:nvSpPr>
          <p:spPr>
            <a:xfrm>
              <a:off x="12147864" y="1098754"/>
              <a:ext cx="435077" cy="435077"/>
            </a:xfrm>
            <a:custGeom>
              <a:avLst/>
              <a:gdLst>
                <a:gd name="connsiteX0" fmla="*/ 435077 w 435077"/>
                <a:gd name="connsiteY0" fmla="*/ 435077 h 435077"/>
                <a:gd name="connsiteX1" fmla="*/ 435077 w 435077"/>
                <a:gd name="connsiteY1" fmla="*/ 217547 h 435077"/>
                <a:gd name="connsiteX2" fmla="*/ 435077 w 435077"/>
                <a:gd name="connsiteY2" fmla="*/ 16 h 435077"/>
                <a:gd name="connsiteX3" fmla="*/ 217565 w 435077"/>
                <a:gd name="connsiteY3" fmla="*/ 16 h 435077"/>
                <a:gd name="connsiteX4" fmla="*/ 435077 w 435077"/>
                <a:gd name="connsiteY4" fmla="*/ 217547 h 435077"/>
                <a:gd name="connsiteX5" fmla="*/ 217565 w 435077"/>
                <a:gd name="connsiteY5" fmla="*/ 435077 h 435077"/>
                <a:gd name="connsiteX6" fmla="*/ 435077 w 435077"/>
                <a:gd name="connsiteY6" fmla="*/ 435077 h 435077"/>
                <a:gd name="connsiteX7" fmla="*/ 0 w 435077"/>
                <a:gd name="connsiteY7" fmla="*/ 217531 h 435077"/>
                <a:gd name="connsiteX8" fmla="*/ 0 w 435077"/>
                <a:gd name="connsiteY8" fmla="*/ 0 h 435077"/>
                <a:gd name="connsiteX9" fmla="*/ 217539 w 435077"/>
                <a:gd name="connsiteY9" fmla="*/ 217531 h 435077"/>
                <a:gd name="connsiteX10" fmla="*/ 0 w 435077"/>
                <a:gd name="connsiteY10" fmla="*/ 217531 h 435077"/>
                <a:gd name="connsiteX11" fmla="*/ 0 w 435077"/>
                <a:gd name="connsiteY11" fmla="*/ 435072 h 435077"/>
                <a:gd name="connsiteX12" fmla="*/ 0 w 435077"/>
                <a:gd name="connsiteY12" fmla="*/ 217541 h 435077"/>
                <a:gd name="connsiteX13" fmla="*/ 217539 w 435077"/>
                <a:gd name="connsiteY13" fmla="*/ 217541 h 435077"/>
                <a:gd name="connsiteX14" fmla="*/ 0 w 435077"/>
                <a:gd name="connsiteY14" fmla="*/ 43507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47"/>
                  </a:lnTo>
                  <a:lnTo>
                    <a:pt x="435077" y="16"/>
                  </a:lnTo>
                  <a:lnTo>
                    <a:pt x="217565" y="16"/>
                  </a:lnTo>
                  <a:lnTo>
                    <a:pt x="435077" y="217547"/>
                  </a:lnTo>
                  <a:lnTo>
                    <a:pt x="217565" y="435077"/>
                  </a:lnTo>
                  <a:lnTo>
                    <a:pt x="435077" y="435077"/>
                  </a:lnTo>
                  <a:close/>
                  <a:moveTo>
                    <a:pt x="0" y="217531"/>
                  </a:moveTo>
                  <a:lnTo>
                    <a:pt x="0" y="0"/>
                  </a:lnTo>
                  <a:lnTo>
                    <a:pt x="217539" y="217531"/>
                  </a:lnTo>
                  <a:lnTo>
                    <a:pt x="0" y="217531"/>
                  </a:lnTo>
                  <a:close/>
                  <a:moveTo>
                    <a:pt x="0" y="435072"/>
                  </a:moveTo>
                  <a:lnTo>
                    <a:pt x="0" y="217541"/>
                  </a:lnTo>
                  <a:lnTo>
                    <a:pt x="217539" y="217541"/>
                  </a:lnTo>
                  <a:lnTo>
                    <a:pt x="0" y="435072"/>
                  </a:lnTo>
                  <a:close/>
                </a:path>
              </a:pathLst>
            </a:custGeom>
            <a:grpFill/>
            <a:ln w="27192" cap="flat">
              <a:noFill/>
              <a:prstDash val="solid"/>
              <a:miter/>
            </a:ln>
          </p:spPr>
          <p:txBody>
            <a:bodyPr rtlCol="0" anchor="ctr"/>
            <a:lstStyle/>
            <a:p>
              <a:endParaRPr lang="uk-UA" sz="900"/>
            </a:p>
          </p:txBody>
        </p:sp>
        <p:sp>
          <p:nvSpPr>
            <p:cNvPr id="62" name="Freeform: Shape 61">
              <a:extLst>
                <a:ext uri="{FF2B5EF4-FFF2-40B4-BE49-F238E27FC236}">
                  <a16:creationId xmlns:a16="http://schemas.microsoft.com/office/drawing/2014/main" id="{9B9E1A70-86DA-F6A0-5577-3B2F7B15E2B3}"/>
                </a:ext>
              </a:extLst>
            </p:cNvPr>
            <p:cNvSpPr/>
            <p:nvPr/>
          </p:nvSpPr>
          <p:spPr>
            <a:xfrm>
              <a:off x="13018045" y="1098754"/>
              <a:ext cx="435077" cy="435077"/>
            </a:xfrm>
            <a:custGeom>
              <a:avLst/>
              <a:gdLst>
                <a:gd name="connsiteX0" fmla="*/ 217539 w 435077"/>
                <a:gd name="connsiteY0" fmla="*/ 435069 h 435077"/>
                <a:gd name="connsiteX1" fmla="*/ 217539 w 435077"/>
                <a:gd name="connsiteY1" fmla="*/ 0 h 435077"/>
                <a:gd name="connsiteX2" fmla="*/ 435077 w 435077"/>
                <a:gd name="connsiteY2" fmla="*/ 217541 h 435077"/>
                <a:gd name="connsiteX3" fmla="*/ 217539 w 435077"/>
                <a:gd name="connsiteY3" fmla="*/ 435069 h 435077"/>
                <a:gd name="connsiteX4" fmla="*/ 0 w 435077"/>
                <a:gd name="connsiteY4" fmla="*/ 435077 h 435077"/>
                <a:gd name="connsiteX5" fmla="*/ 0 w 435077"/>
                <a:gd name="connsiteY5" fmla="*/ 8 h 435077"/>
                <a:gd name="connsiteX6" fmla="*/ 217539 w 435077"/>
                <a:gd name="connsiteY6" fmla="*/ 217547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69"/>
                  </a:moveTo>
                  <a:lnTo>
                    <a:pt x="217539" y="0"/>
                  </a:lnTo>
                  <a:lnTo>
                    <a:pt x="435077" y="217541"/>
                  </a:lnTo>
                  <a:lnTo>
                    <a:pt x="217539" y="435069"/>
                  </a:lnTo>
                  <a:close/>
                  <a:moveTo>
                    <a:pt x="0" y="435077"/>
                  </a:moveTo>
                  <a:lnTo>
                    <a:pt x="0" y="8"/>
                  </a:lnTo>
                  <a:lnTo>
                    <a:pt x="217539" y="217547"/>
                  </a:lnTo>
                  <a:lnTo>
                    <a:pt x="0" y="435077"/>
                  </a:lnTo>
                  <a:close/>
                </a:path>
              </a:pathLst>
            </a:custGeom>
            <a:grpFill/>
            <a:ln w="27192" cap="flat">
              <a:noFill/>
              <a:prstDash val="solid"/>
              <a:miter/>
            </a:ln>
          </p:spPr>
          <p:txBody>
            <a:bodyPr rtlCol="0" anchor="ctr"/>
            <a:lstStyle/>
            <a:p>
              <a:endParaRPr lang="uk-UA" sz="900"/>
            </a:p>
          </p:txBody>
        </p:sp>
        <p:sp>
          <p:nvSpPr>
            <p:cNvPr id="63" name="Freeform: Shape 62">
              <a:extLst>
                <a:ext uri="{FF2B5EF4-FFF2-40B4-BE49-F238E27FC236}">
                  <a16:creationId xmlns:a16="http://schemas.microsoft.com/office/drawing/2014/main" id="{0C1BD60B-57B7-30DB-FAB3-EE383971286D}"/>
                </a:ext>
              </a:extLst>
            </p:cNvPr>
            <p:cNvSpPr/>
            <p:nvPr/>
          </p:nvSpPr>
          <p:spPr>
            <a:xfrm>
              <a:off x="14758382" y="1098754"/>
              <a:ext cx="435077" cy="435077"/>
            </a:xfrm>
            <a:custGeom>
              <a:avLst/>
              <a:gdLst>
                <a:gd name="connsiteX0" fmla="*/ 63712 w 435077"/>
                <a:gd name="connsiteY0" fmla="*/ 153824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4 h 435077"/>
                <a:gd name="connsiteX5" fmla="*/ 217539 w 435077"/>
                <a:gd name="connsiteY5" fmla="*/ 217539 h 435077"/>
                <a:gd name="connsiteX6" fmla="*/ 63712 w 435077"/>
                <a:gd name="connsiteY6" fmla="*/ 153824 h 435077"/>
                <a:gd name="connsiteX7" fmla="*/ 63712 w 435077"/>
                <a:gd name="connsiteY7" fmla="*/ 281256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56 h 435077"/>
                <a:gd name="connsiteX12" fmla="*/ 217539 w 435077"/>
                <a:gd name="connsiteY12" fmla="*/ 217539 h 435077"/>
                <a:gd name="connsiteX13" fmla="*/ 63712 w 435077"/>
                <a:gd name="connsiteY13" fmla="*/ 281256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4"/>
                  </a:moveTo>
                  <a:cubicBezTo>
                    <a:pt x="22924" y="113028"/>
                    <a:pt x="0" y="57697"/>
                    <a:pt x="0" y="0"/>
                  </a:cubicBezTo>
                  <a:lnTo>
                    <a:pt x="217539" y="0"/>
                  </a:lnTo>
                  <a:lnTo>
                    <a:pt x="435077" y="0"/>
                  </a:lnTo>
                  <a:cubicBezTo>
                    <a:pt x="435077" y="57697"/>
                    <a:pt x="412155" y="113028"/>
                    <a:pt x="371367" y="153824"/>
                  </a:cubicBezTo>
                  <a:cubicBezTo>
                    <a:pt x="330550" y="194621"/>
                    <a:pt x="275241" y="217539"/>
                    <a:pt x="217539" y="217539"/>
                  </a:cubicBezTo>
                  <a:cubicBezTo>
                    <a:pt x="159836" y="217539"/>
                    <a:pt x="104501" y="194621"/>
                    <a:pt x="63712" y="153824"/>
                  </a:cubicBezTo>
                  <a:close/>
                  <a:moveTo>
                    <a:pt x="63712" y="281256"/>
                  </a:moveTo>
                  <a:cubicBezTo>
                    <a:pt x="22924" y="322052"/>
                    <a:pt x="0" y="377383"/>
                    <a:pt x="0" y="435077"/>
                  </a:cubicBezTo>
                  <a:lnTo>
                    <a:pt x="217539" y="435077"/>
                  </a:lnTo>
                  <a:lnTo>
                    <a:pt x="435077" y="435077"/>
                  </a:lnTo>
                  <a:cubicBezTo>
                    <a:pt x="435077" y="377383"/>
                    <a:pt x="412155" y="322052"/>
                    <a:pt x="371367" y="281256"/>
                  </a:cubicBezTo>
                  <a:cubicBezTo>
                    <a:pt x="330550" y="240459"/>
                    <a:pt x="275241" y="217539"/>
                    <a:pt x="217539" y="217539"/>
                  </a:cubicBezTo>
                  <a:cubicBezTo>
                    <a:pt x="159836" y="217539"/>
                    <a:pt x="104501" y="240459"/>
                    <a:pt x="63712" y="281256"/>
                  </a:cubicBezTo>
                  <a:close/>
                </a:path>
              </a:pathLst>
            </a:custGeom>
            <a:grpFill/>
            <a:ln w="27192" cap="flat">
              <a:noFill/>
              <a:prstDash val="solid"/>
              <a:miter/>
            </a:ln>
          </p:spPr>
          <p:txBody>
            <a:bodyPr rtlCol="0" anchor="ctr"/>
            <a:lstStyle/>
            <a:p>
              <a:endParaRPr lang="uk-UA" sz="900"/>
            </a:p>
          </p:txBody>
        </p:sp>
        <p:sp>
          <p:nvSpPr>
            <p:cNvPr id="64" name="Freeform: Shape 63">
              <a:extLst>
                <a:ext uri="{FF2B5EF4-FFF2-40B4-BE49-F238E27FC236}">
                  <a16:creationId xmlns:a16="http://schemas.microsoft.com/office/drawing/2014/main" id="{2329981C-509F-71FB-B43B-BCFC40681E1F}"/>
                </a:ext>
              </a:extLst>
            </p:cNvPr>
            <p:cNvSpPr/>
            <p:nvPr/>
          </p:nvSpPr>
          <p:spPr>
            <a:xfrm>
              <a:off x="13888200" y="1098754"/>
              <a:ext cx="435077" cy="435077"/>
            </a:xfrm>
            <a:custGeom>
              <a:avLst/>
              <a:gdLst>
                <a:gd name="connsiteX0" fmla="*/ 435077 w 435077"/>
                <a:gd name="connsiteY0" fmla="*/ 435077 h 435077"/>
                <a:gd name="connsiteX1" fmla="*/ 435077 w 435077"/>
                <a:gd name="connsiteY1" fmla="*/ 0 h 435077"/>
                <a:gd name="connsiteX2" fmla="*/ 217565 w 435077"/>
                <a:gd name="connsiteY2" fmla="*/ 217544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44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44"/>
                  </a:lnTo>
                  <a:lnTo>
                    <a:pt x="435077" y="435077"/>
                  </a:lnTo>
                  <a:close/>
                  <a:moveTo>
                    <a:pt x="0" y="435077"/>
                  </a:moveTo>
                  <a:lnTo>
                    <a:pt x="0" y="3"/>
                  </a:lnTo>
                  <a:lnTo>
                    <a:pt x="217539" y="217544"/>
                  </a:lnTo>
                  <a:lnTo>
                    <a:pt x="0" y="435077"/>
                  </a:lnTo>
                  <a:close/>
                </a:path>
              </a:pathLst>
            </a:custGeom>
            <a:grpFill/>
            <a:ln w="27192" cap="flat">
              <a:noFill/>
              <a:prstDash val="solid"/>
              <a:miter/>
            </a:ln>
          </p:spPr>
          <p:txBody>
            <a:bodyPr rtlCol="0" anchor="ctr"/>
            <a:lstStyle/>
            <a:p>
              <a:endParaRPr lang="uk-UA" sz="900"/>
            </a:p>
          </p:txBody>
        </p:sp>
        <p:sp>
          <p:nvSpPr>
            <p:cNvPr id="65" name="Freeform: Shape 64">
              <a:extLst>
                <a:ext uri="{FF2B5EF4-FFF2-40B4-BE49-F238E27FC236}">
                  <a16:creationId xmlns:a16="http://schemas.microsoft.com/office/drawing/2014/main" id="{0CB5FF60-C5B6-78F8-CD5B-FBC81CCDF761}"/>
                </a:ext>
              </a:extLst>
            </p:cNvPr>
            <p:cNvSpPr/>
            <p:nvPr/>
          </p:nvSpPr>
          <p:spPr>
            <a:xfrm>
              <a:off x="15628536" y="1098754"/>
              <a:ext cx="435077" cy="435077"/>
            </a:xfrm>
            <a:custGeom>
              <a:avLst/>
              <a:gdLst>
                <a:gd name="connsiteX0" fmla="*/ 435077 w 435077"/>
                <a:gd name="connsiteY0" fmla="*/ 435077 h 435077"/>
                <a:gd name="connsiteX1" fmla="*/ 435077 w 435077"/>
                <a:gd name="connsiteY1" fmla="*/ 217547 h 435077"/>
                <a:gd name="connsiteX2" fmla="*/ 435077 w 435077"/>
                <a:gd name="connsiteY2" fmla="*/ 16 h 435077"/>
                <a:gd name="connsiteX3" fmla="*/ 217567 w 435077"/>
                <a:gd name="connsiteY3" fmla="*/ 16 h 435077"/>
                <a:gd name="connsiteX4" fmla="*/ 435077 w 435077"/>
                <a:gd name="connsiteY4" fmla="*/ 217547 h 435077"/>
                <a:gd name="connsiteX5" fmla="*/ 217567 w 435077"/>
                <a:gd name="connsiteY5" fmla="*/ 435077 h 435077"/>
                <a:gd name="connsiteX6" fmla="*/ 435077 w 435077"/>
                <a:gd name="connsiteY6" fmla="*/ 435077 h 435077"/>
                <a:gd name="connsiteX7" fmla="*/ 0 w 435077"/>
                <a:gd name="connsiteY7" fmla="*/ 217531 h 435077"/>
                <a:gd name="connsiteX8" fmla="*/ 0 w 435077"/>
                <a:gd name="connsiteY8" fmla="*/ 0 h 435077"/>
                <a:gd name="connsiteX9" fmla="*/ 217539 w 435077"/>
                <a:gd name="connsiteY9" fmla="*/ 217531 h 435077"/>
                <a:gd name="connsiteX10" fmla="*/ 0 w 435077"/>
                <a:gd name="connsiteY10" fmla="*/ 217531 h 435077"/>
                <a:gd name="connsiteX11" fmla="*/ 0 w 435077"/>
                <a:gd name="connsiteY11" fmla="*/ 435072 h 435077"/>
                <a:gd name="connsiteX12" fmla="*/ 0 w 435077"/>
                <a:gd name="connsiteY12" fmla="*/ 217541 h 435077"/>
                <a:gd name="connsiteX13" fmla="*/ 217539 w 435077"/>
                <a:gd name="connsiteY13" fmla="*/ 217541 h 435077"/>
                <a:gd name="connsiteX14" fmla="*/ 0 w 435077"/>
                <a:gd name="connsiteY14" fmla="*/ 43507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47"/>
                  </a:lnTo>
                  <a:lnTo>
                    <a:pt x="435077" y="16"/>
                  </a:lnTo>
                  <a:lnTo>
                    <a:pt x="217567" y="16"/>
                  </a:lnTo>
                  <a:lnTo>
                    <a:pt x="435077" y="217547"/>
                  </a:lnTo>
                  <a:lnTo>
                    <a:pt x="217567" y="435077"/>
                  </a:lnTo>
                  <a:lnTo>
                    <a:pt x="435077" y="435077"/>
                  </a:lnTo>
                  <a:close/>
                  <a:moveTo>
                    <a:pt x="0" y="217531"/>
                  </a:moveTo>
                  <a:lnTo>
                    <a:pt x="0" y="0"/>
                  </a:lnTo>
                  <a:lnTo>
                    <a:pt x="217539" y="217531"/>
                  </a:lnTo>
                  <a:lnTo>
                    <a:pt x="0" y="217531"/>
                  </a:lnTo>
                  <a:close/>
                  <a:moveTo>
                    <a:pt x="0" y="435072"/>
                  </a:moveTo>
                  <a:lnTo>
                    <a:pt x="0" y="217541"/>
                  </a:lnTo>
                  <a:lnTo>
                    <a:pt x="217539" y="217541"/>
                  </a:lnTo>
                  <a:lnTo>
                    <a:pt x="0" y="435072"/>
                  </a:lnTo>
                  <a:close/>
                </a:path>
              </a:pathLst>
            </a:custGeom>
            <a:grpFill/>
            <a:ln w="27192" cap="flat">
              <a:noFill/>
              <a:prstDash val="solid"/>
              <a:miter/>
            </a:ln>
          </p:spPr>
          <p:txBody>
            <a:bodyPr rtlCol="0" anchor="ctr"/>
            <a:lstStyle/>
            <a:p>
              <a:endParaRPr lang="uk-UA" sz="900"/>
            </a:p>
          </p:txBody>
        </p:sp>
        <p:sp>
          <p:nvSpPr>
            <p:cNvPr id="66" name="Freeform: Shape 65">
              <a:extLst>
                <a:ext uri="{FF2B5EF4-FFF2-40B4-BE49-F238E27FC236}">
                  <a16:creationId xmlns:a16="http://schemas.microsoft.com/office/drawing/2014/main" id="{EB34B526-E843-A669-D4F6-66AEB063AD8D}"/>
                </a:ext>
              </a:extLst>
            </p:cNvPr>
            <p:cNvSpPr/>
            <p:nvPr/>
          </p:nvSpPr>
          <p:spPr>
            <a:xfrm>
              <a:off x="16498719" y="1098754"/>
              <a:ext cx="435077" cy="435077"/>
            </a:xfrm>
            <a:custGeom>
              <a:avLst/>
              <a:gdLst>
                <a:gd name="connsiteX0" fmla="*/ 217539 w 435077"/>
                <a:gd name="connsiteY0" fmla="*/ 435069 h 435077"/>
                <a:gd name="connsiteX1" fmla="*/ 217539 w 435077"/>
                <a:gd name="connsiteY1" fmla="*/ 0 h 435077"/>
                <a:gd name="connsiteX2" fmla="*/ 435077 w 435077"/>
                <a:gd name="connsiteY2" fmla="*/ 217541 h 435077"/>
                <a:gd name="connsiteX3" fmla="*/ 217539 w 435077"/>
                <a:gd name="connsiteY3" fmla="*/ 435069 h 435077"/>
                <a:gd name="connsiteX4" fmla="*/ 0 w 435077"/>
                <a:gd name="connsiteY4" fmla="*/ 435077 h 435077"/>
                <a:gd name="connsiteX5" fmla="*/ 0 w 435077"/>
                <a:gd name="connsiteY5" fmla="*/ 8 h 435077"/>
                <a:gd name="connsiteX6" fmla="*/ 217539 w 435077"/>
                <a:gd name="connsiteY6" fmla="*/ 217547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69"/>
                  </a:moveTo>
                  <a:lnTo>
                    <a:pt x="217539" y="0"/>
                  </a:lnTo>
                  <a:lnTo>
                    <a:pt x="435077" y="217541"/>
                  </a:lnTo>
                  <a:lnTo>
                    <a:pt x="217539" y="435069"/>
                  </a:lnTo>
                  <a:close/>
                  <a:moveTo>
                    <a:pt x="0" y="435077"/>
                  </a:moveTo>
                  <a:lnTo>
                    <a:pt x="0" y="8"/>
                  </a:lnTo>
                  <a:lnTo>
                    <a:pt x="217539" y="217547"/>
                  </a:lnTo>
                  <a:lnTo>
                    <a:pt x="0" y="435077"/>
                  </a:lnTo>
                  <a:close/>
                </a:path>
              </a:pathLst>
            </a:custGeom>
            <a:grpFill/>
            <a:ln w="27192" cap="flat">
              <a:noFill/>
              <a:prstDash val="solid"/>
              <a:miter/>
            </a:ln>
          </p:spPr>
          <p:txBody>
            <a:bodyPr rtlCol="0" anchor="ctr"/>
            <a:lstStyle/>
            <a:p>
              <a:endParaRPr lang="uk-UA" sz="900"/>
            </a:p>
          </p:txBody>
        </p:sp>
        <p:sp>
          <p:nvSpPr>
            <p:cNvPr id="67" name="Freeform: Shape 66">
              <a:extLst>
                <a:ext uri="{FF2B5EF4-FFF2-40B4-BE49-F238E27FC236}">
                  <a16:creationId xmlns:a16="http://schemas.microsoft.com/office/drawing/2014/main" id="{2295EA93-8488-EBEF-EAA8-422997385A3F}"/>
                </a:ext>
              </a:extLst>
            </p:cNvPr>
            <p:cNvSpPr/>
            <p:nvPr/>
          </p:nvSpPr>
          <p:spPr>
            <a:xfrm>
              <a:off x="18239029" y="1098754"/>
              <a:ext cx="435077" cy="435077"/>
            </a:xfrm>
            <a:custGeom>
              <a:avLst/>
              <a:gdLst>
                <a:gd name="connsiteX0" fmla="*/ 63710 w 435077"/>
                <a:gd name="connsiteY0" fmla="*/ 153824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4 h 435077"/>
                <a:gd name="connsiteX5" fmla="*/ 217539 w 435077"/>
                <a:gd name="connsiteY5" fmla="*/ 217539 h 435077"/>
                <a:gd name="connsiteX6" fmla="*/ 63710 w 435077"/>
                <a:gd name="connsiteY6" fmla="*/ 153824 h 435077"/>
                <a:gd name="connsiteX7" fmla="*/ 63710 w 435077"/>
                <a:gd name="connsiteY7" fmla="*/ 281256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6 h 435077"/>
                <a:gd name="connsiteX12" fmla="*/ 217539 w 435077"/>
                <a:gd name="connsiteY12" fmla="*/ 217539 h 435077"/>
                <a:gd name="connsiteX13" fmla="*/ 63710 w 435077"/>
                <a:gd name="connsiteY13" fmla="*/ 281256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4"/>
                  </a:moveTo>
                  <a:cubicBezTo>
                    <a:pt x="22922" y="113028"/>
                    <a:pt x="0" y="57697"/>
                    <a:pt x="0" y="0"/>
                  </a:cubicBezTo>
                  <a:lnTo>
                    <a:pt x="217539" y="0"/>
                  </a:lnTo>
                  <a:lnTo>
                    <a:pt x="435077" y="0"/>
                  </a:lnTo>
                  <a:cubicBezTo>
                    <a:pt x="435077" y="57697"/>
                    <a:pt x="412154" y="113028"/>
                    <a:pt x="371365" y="153824"/>
                  </a:cubicBezTo>
                  <a:cubicBezTo>
                    <a:pt x="330577" y="194621"/>
                    <a:pt x="275241" y="217539"/>
                    <a:pt x="217539" y="217539"/>
                  </a:cubicBezTo>
                  <a:cubicBezTo>
                    <a:pt x="159836" y="217539"/>
                    <a:pt x="104527" y="194621"/>
                    <a:pt x="63710" y="153824"/>
                  </a:cubicBezTo>
                  <a:close/>
                  <a:moveTo>
                    <a:pt x="63710" y="281256"/>
                  </a:moveTo>
                  <a:cubicBezTo>
                    <a:pt x="22922" y="322052"/>
                    <a:pt x="0" y="377383"/>
                    <a:pt x="0" y="435077"/>
                  </a:cubicBezTo>
                  <a:lnTo>
                    <a:pt x="217539" y="435077"/>
                  </a:lnTo>
                  <a:lnTo>
                    <a:pt x="435077" y="435077"/>
                  </a:lnTo>
                  <a:cubicBezTo>
                    <a:pt x="435077" y="377383"/>
                    <a:pt x="412154" y="322052"/>
                    <a:pt x="371365" y="281256"/>
                  </a:cubicBezTo>
                  <a:cubicBezTo>
                    <a:pt x="330577" y="240459"/>
                    <a:pt x="275241" y="217539"/>
                    <a:pt x="217539" y="217539"/>
                  </a:cubicBezTo>
                  <a:cubicBezTo>
                    <a:pt x="159836" y="217539"/>
                    <a:pt x="104527" y="240459"/>
                    <a:pt x="63710" y="281256"/>
                  </a:cubicBezTo>
                  <a:close/>
                </a:path>
              </a:pathLst>
            </a:custGeom>
            <a:grpFill/>
            <a:ln w="27192" cap="flat">
              <a:noFill/>
              <a:prstDash val="solid"/>
              <a:miter/>
            </a:ln>
          </p:spPr>
          <p:txBody>
            <a:bodyPr rtlCol="0" anchor="ctr"/>
            <a:lstStyle/>
            <a:p>
              <a:endParaRPr lang="uk-UA" sz="900"/>
            </a:p>
          </p:txBody>
        </p:sp>
        <p:sp>
          <p:nvSpPr>
            <p:cNvPr id="68" name="Freeform: Shape 67">
              <a:extLst>
                <a:ext uri="{FF2B5EF4-FFF2-40B4-BE49-F238E27FC236}">
                  <a16:creationId xmlns:a16="http://schemas.microsoft.com/office/drawing/2014/main" id="{1FFD36A5-CF17-AB83-03F3-7FF93D2645D1}"/>
                </a:ext>
              </a:extLst>
            </p:cNvPr>
            <p:cNvSpPr/>
            <p:nvPr/>
          </p:nvSpPr>
          <p:spPr>
            <a:xfrm>
              <a:off x="17368874" y="1098754"/>
              <a:ext cx="435077" cy="435077"/>
            </a:xfrm>
            <a:custGeom>
              <a:avLst/>
              <a:gdLst>
                <a:gd name="connsiteX0" fmla="*/ 435077 w 435077"/>
                <a:gd name="connsiteY0" fmla="*/ 435077 h 435077"/>
                <a:gd name="connsiteX1" fmla="*/ 435077 w 435077"/>
                <a:gd name="connsiteY1" fmla="*/ 0 h 435077"/>
                <a:gd name="connsiteX2" fmla="*/ 217539 w 435077"/>
                <a:gd name="connsiteY2" fmla="*/ 217544 h 435077"/>
                <a:gd name="connsiteX3" fmla="*/ 435077 w 435077"/>
                <a:gd name="connsiteY3" fmla="*/ 435077 h 435077"/>
                <a:gd name="connsiteX4" fmla="*/ 0 w 435077"/>
                <a:gd name="connsiteY4" fmla="*/ 435077 h 435077"/>
                <a:gd name="connsiteX5" fmla="*/ 0 w 435077"/>
                <a:gd name="connsiteY5" fmla="*/ 3 h 435077"/>
                <a:gd name="connsiteX6" fmla="*/ 217510 w 435077"/>
                <a:gd name="connsiteY6" fmla="*/ 217544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44"/>
                  </a:lnTo>
                  <a:lnTo>
                    <a:pt x="435077" y="435077"/>
                  </a:lnTo>
                  <a:close/>
                  <a:moveTo>
                    <a:pt x="0" y="435077"/>
                  </a:moveTo>
                  <a:lnTo>
                    <a:pt x="0" y="3"/>
                  </a:lnTo>
                  <a:lnTo>
                    <a:pt x="217510" y="217544"/>
                  </a:lnTo>
                  <a:lnTo>
                    <a:pt x="0" y="435077"/>
                  </a:lnTo>
                  <a:close/>
                </a:path>
              </a:pathLst>
            </a:custGeom>
            <a:grpFill/>
            <a:ln w="27192" cap="flat">
              <a:noFill/>
              <a:prstDash val="solid"/>
              <a:miter/>
            </a:ln>
          </p:spPr>
          <p:txBody>
            <a:bodyPr rtlCol="0" anchor="ctr"/>
            <a:lstStyle/>
            <a:p>
              <a:endParaRPr lang="uk-UA" sz="900"/>
            </a:p>
          </p:txBody>
        </p:sp>
        <p:sp>
          <p:nvSpPr>
            <p:cNvPr id="69" name="Freeform: Shape 68">
              <a:extLst>
                <a:ext uri="{FF2B5EF4-FFF2-40B4-BE49-F238E27FC236}">
                  <a16:creationId xmlns:a16="http://schemas.microsoft.com/office/drawing/2014/main" id="{6A0063C1-FADB-1CCA-31E3-1EBDA802896F}"/>
                </a:ext>
              </a:extLst>
            </p:cNvPr>
            <p:cNvSpPr/>
            <p:nvPr/>
          </p:nvSpPr>
          <p:spPr>
            <a:xfrm>
              <a:off x="19109210" y="1098754"/>
              <a:ext cx="435077" cy="435077"/>
            </a:xfrm>
            <a:custGeom>
              <a:avLst/>
              <a:gdLst>
                <a:gd name="connsiteX0" fmla="*/ 435077 w 435077"/>
                <a:gd name="connsiteY0" fmla="*/ 435077 h 435077"/>
                <a:gd name="connsiteX1" fmla="*/ 435077 w 435077"/>
                <a:gd name="connsiteY1" fmla="*/ 217547 h 435077"/>
                <a:gd name="connsiteX2" fmla="*/ 435077 w 435077"/>
                <a:gd name="connsiteY2" fmla="*/ 16 h 435077"/>
                <a:gd name="connsiteX3" fmla="*/ 217539 w 435077"/>
                <a:gd name="connsiteY3" fmla="*/ 16 h 435077"/>
                <a:gd name="connsiteX4" fmla="*/ 435077 w 435077"/>
                <a:gd name="connsiteY4" fmla="*/ 217547 h 435077"/>
                <a:gd name="connsiteX5" fmla="*/ 217539 w 435077"/>
                <a:gd name="connsiteY5" fmla="*/ 435077 h 435077"/>
                <a:gd name="connsiteX6" fmla="*/ 435077 w 435077"/>
                <a:gd name="connsiteY6" fmla="*/ 435077 h 435077"/>
                <a:gd name="connsiteX7" fmla="*/ 0 w 435077"/>
                <a:gd name="connsiteY7" fmla="*/ 217531 h 435077"/>
                <a:gd name="connsiteX8" fmla="*/ 0 w 435077"/>
                <a:gd name="connsiteY8" fmla="*/ 0 h 435077"/>
                <a:gd name="connsiteX9" fmla="*/ 217512 w 435077"/>
                <a:gd name="connsiteY9" fmla="*/ 217531 h 435077"/>
                <a:gd name="connsiteX10" fmla="*/ 0 w 435077"/>
                <a:gd name="connsiteY10" fmla="*/ 217531 h 435077"/>
                <a:gd name="connsiteX11" fmla="*/ 0 w 435077"/>
                <a:gd name="connsiteY11" fmla="*/ 435072 h 435077"/>
                <a:gd name="connsiteX12" fmla="*/ 0 w 435077"/>
                <a:gd name="connsiteY12" fmla="*/ 217541 h 435077"/>
                <a:gd name="connsiteX13" fmla="*/ 217512 w 435077"/>
                <a:gd name="connsiteY13" fmla="*/ 217541 h 435077"/>
                <a:gd name="connsiteX14" fmla="*/ 0 w 435077"/>
                <a:gd name="connsiteY14" fmla="*/ 43507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47"/>
                  </a:lnTo>
                  <a:lnTo>
                    <a:pt x="435077" y="16"/>
                  </a:lnTo>
                  <a:lnTo>
                    <a:pt x="217539" y="16"/>
                  </a:lnTo>
                  <a:lnTo>
                    <a:pt x="435077" y="217547"/>
                  </a:lnTo>
                  <a:lnTo>
                    <a:pt x="217539" y="435077"/>
                  </a:lnTo>
                  <a:lnTo>
                    <a:pt x="435077" y="435077"/>
                  </a:lnTo>
                  <a:close/>
                  <a:moveTo>
                    <a:pt x="0" y="217531"/>
                  </a:moveTo>
                  <a:lnTo>
                    <a:pt x="0" y="0"/>
                  </a:lnTo>
                  <a:lnTo>
                    <a:pt x="217512" y="217531"/>
                  </a:lnTo>
                  <a:lnTo>
                    <a:pt x="0" y="217531"/>
                  </a:lnTo>
                  <a:close/>
                  <a:moveTo>
                    <a:pt x="0" y="435072"/>
                  </a:moveTo>
                  <a:lnTo>
                    <a:pt x="0" y="217541"/>
                  </a:lnTo>
                  <a:lnTo>
                    <a:pt x="217512" y="217541"/>
                  </a:lnTo>
                  <a:lnTo>
                    <a:pt x="0" y="435072"/>
                  </a:lnTo>
                  <a:close/>
                </a:path>
              </a:pathLst>
            </a:custGeom>
            <a:grpFill/>
            <a:ln w="27192" cap="flat">
              <a:noFill/>
              <a:prstDash val="solid"/>
              <a:miter/>
            </a:ln>
          </p:spPr>
          <p:txBody>
            <a:bodyPr rtlCol="0" anchor="ctr"/>
            <a:lstStyle/>
            <a:p>
              <a:endParaRPr lang="uk-UA" sz="900"/>
            </a:p>
          </p:txBody>
        </p:sp>
        <p:sp>
          <p:nvSpPr>
            <p:cNvPr id="70" name="Freeform: Shape 69">
              <a:extLst>
                <a:ext uri="{FF2B5EF4-FFF2-40B4-BE49-F238E27FC236}">
                  <a16:creationId xmlns:a16="http://schemas.microsoft.com/office/drawing/2014/main" id="{3CD36D04-C4F3-652F-C860-1E16844AC045}"/>
                </a:ext>
              </a:extLst>
            </p:cNvPr>
            <p:cNvSpPr/>
            <p:nvPr/>
          </p:nvSpPr>
          <p:spPr>
            <a:xfrm>
              <a:off x="19979365" y="1098754"/>
              <a:ext cx="435077" cy="435077"/>
            </a:xfrm>
            <a:custGeom>
              <a:avLst/>
              <a:gdLst>
                <a:gd name="connsiteX0" fmla="*/ 217539 w 435077"/>
                <a:gd name="connsiteY0" fmla="*/ 435069 h 435077"/>
                <a:gd name="connsiteX1" fmla="*/ 217539 w 435077"/>
                <a:gd name="connsiteY1" fmla="*/ 0 h 435077"/>
                <a:gd name="connsiteX2" fmla="*/ 435077 w 435077"/>
                <a:gd name="connsiteY2" fmla="*/ 217541 h 435077"/>
                <a:gd name="connsiteX3" fmla="*/ 217539 w 435077"/>
                <a:gd name="connsiteY3" fmla="*/ 435069 h 435077"/>
                <a:gd name="connsiteX4" fmla="*/ 0 w 435077"/>
                <a:gd name="connsiteY4" fmla="*/ 435077 h 435077"/>
                <a:gd name="connsiteX5" fmla="*/ 0 w 435077"/>
                <a:gd name="connsiteY5" fmla="*/ 8 h 435077"/>
                <a:gd name="connsiteX6" fmla="*/ 217539 w 435077"/>
                <a:gd name="connsiteY6" fmla="*/ 217547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69"/>
                  </a:moveTo>
                  <a:lnTo>
                    <a:pt x="217539" y="0"/>
                  </a:lnTo>
                  <a:lnTo>
                    <a:pt x="435077" y="217541"/>
                  </a:lnTo>
                  <a:lnTo>
                    <a:pt x="217539" y="435069"/>
                  </a:lnTo>
                  <a:close/>
                  <a:moveTo>
                    <a:pt x="0" y="435077"/>
                  </a:moveTo>
                  <a:lnTo>
                    <a:pt x="0" y="8"/>
                  </a:lnTo>
                  <a:lnTo>
                    <a:pt x="217539" y="217547"/>
                  </a:lnTo>
                  <a:lnTo>
                    <a:pt x="0" y="435077"/>
                  </a:lnTo>
                  <a:close/>
                </a:path>
              </a:pathLst>
            </a:custGeom>
            <a:grpFill/>
            <a:ln w="27192" cap="flat">
              <a:noFill/>
              <a:prstDash val="solid"/>
              <a:miter/>
            </a:ln>
          </p:spPr>
          <p:txBody>
            <a:bodyPr rtlCol="0" anchor="ctr"/>
            <a:lstStyle/>
            <a:p>
              <a:endParaRPr lang="uk-UA" sz="900"/>
            </a:p>
          </p:txBody>
        </p:sp>
        <p:sp>
          <p:nvSpPr>
            <p:cNvPr id="71" name="Freeform: Shape 70">
              <a:extLst>
                <a:ext uri="{FF2B5EF4-FFF2-40B4-BE49-F238E27FC236}">
                  <a16:creationId xmlns:a16="http://schemas.microsoft.com/office/drawing/2014/main" id="{0DAC703D-6D76-45CB-5389-40CF9E1905C7}"/>
                </a:ext>
              </a:extLst>
            </p:cNvPr>
            <p:cNvSpPr/>
            <p:nvPr/>
          </p:nvSpPr>
          <p:spPr>
            <a:xfrm>
              <a:off x="21719702" y="1098754"/>
              <a:ext cx="435077" cy="435077"/>
            </a:xfrm>
            <a:custGeom>
              <a:avLst/>
              <a:gdLst>
                <a:gd name="connsiteX0" fmla="*/ 63712 w 435077"/>
                <a:gd name="connsiteY0" fmla="*/ 153824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4 h 435077"/>
                <a:gd name="connsiteX5" fmla="*/ 217539 w 435077"/>
                <a:gd name="connsiteY5" fmla="*/ 217539 h 435077"/>
                <a:gd name="connsiteX6" fmla="*/ 63712 w 435077"/>
                <a:gd name="connsiteY6" fmla="*/ 153824 h 435077"/>
                <a:gd name="connsiteX7" fmla="*/ 63712 w 435077"/>
                <a:gd name="connsiteY7" fmla="*/ 281256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56 h 435077"/>
                <a:gd name="connsiteX12" fmla="*/ 217539 w 435077"/>
                <a:gd name="connsiteY12" fmla="*/ 217539 h 435077"/>
                <a:gd name="connsiteX13" fmla="*/ 63712 w 435077"/>
                <a:gd name="connsiteY13" fmla="*/ 281256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4"/>
                  </a:moveTo>
                  <a:cubicBezTo>
                    <a:pt x="22897" y="113028"/>
                    <a:pt x="0" y="57697"/>
                    <a:pt x="0" y="0"/>
                  </a:cubicBezTo>
                  <a:lnTo>
                    <a:pt x="217539" y="0"/>
                  </a:lnTo>
                  <a:lnTo>
                    <a:pt x="435077" y="0"/>
                  </a:lnTo>
                  <a:cubicBezTo>
                    <a:pt x="435077" y="57697"/>
                    <a:pt x="412155" y="113028"/>
                    <a:pt x="371339" y="153824"/>
                  </a:cubicBezTo>
                  <a:cubicBezTo>
                    <a:pt x="330550" y="194621"/>
                    <a:pt x="275215" y="217539"/>
                    <a:pt x="217539" y="217539"/>
                  </a:cubicBezTo>
                  <a:cubicBezTo>
                    <a:pt x="159838" y="217539"/>
                    <a:pt x="104501" y="194621"/>
                    <a:pt x="63712" y="153824"/>
                  </a:cubicBezTo>
                  <a:close/>
                  <a:moveTo>
                    <a:pt x="63712" y="281256"/>
                  </a:moveTo>
                  <a:cubicBezTo>
                    <a:pt x="22897" y="322052"/>
                    <a:pt x="0" y="377383"/>
                    <a:pt x="0" y="435077"/>
                  </a:cubicBezTo>
                  <a:lnTo>
                    <a:pt x="217539" y="435077"/>
                  </a:lnTo>
                  <a:lnTo>
                    <a:pt x="435077" y="435077"/>
                  </a:lnTo>
                  <a:cubicBezTo>
                    <a:pt x="435077" y="377383"/>
                    <a:pt x="412155" y="322052"/>
                    <a:pt x="371339" y="281256"/>
                  </a:cubicBezTo>
                  <a:cubicBezTo>
                    <a:pt x="330550" y="240459"/>
                    <a:pt x="275215" y="217539"/>
                    <a:pt x="217539" y="217539"/>
                  </a:cubicBezTo>
                  <a:cubicBezTo>
                    <a:pt x="159838" y="217539"/>
                    <a:pt x="104501" y="240459"/>
                    <a:pt x="63712" y="281256"/>
                  </a:cubicBezTo>
                  <a:close/>
                </a:path>
              </a:pathLst>
            </a:custGeom>
            <a:grpFill/>
            <a:ln w="27192" cap="flat">
              <a:noFill/>
              <a:prstDash val="solid"/>
              <a:miter/>
            </a:ln>
          </p:spPr>
          <p:txBody>
            <a:bodyPr rtlCol="0" anchor="ctr"/>
            <a:lstStyle/>
            <a:p>
              <a:endParaRPr lang="uk-UA" sz="900"/>
            </a:p>
          </p:txBody>
        </p:sp>
        <p:sp>
          <p:nvSpPr>
            <p:cNvPr id="72" name="Freeform: Shape 71">
              <a:extLst>
                <a:ext uri="{FF2B5EF4-FFF2-40B4-BE49-F238E27FC236}">
                  <a16:creationId xmlns:a16="http://schemas.microsoft.com/office/drawing/2014/main" id="{DF998D56-8B27-13C2-EC5E-2829B37AB5D8}"/>
                </a:ext>
              </a:extLst>
            </p:cNvPr>
            <p:cNvSpPr/>
            <p:nvPr/>
          </p:nvSpPr>
          <p:spPr>
            <a:xfrm>
              <a:off x="20849520" y="1098754"/>
              <a:ext cx="435077" cy="435077"/>
            </a:xfrm>
            <a:custGeom>
              <a:avLst/>
              <a:gdLst>
                <a:gd name="connsiteX0" fmla="*/ 435077 w 435077"/>
                <a:gd name="connsiteY0" fmla="*/ 435077 h 435077"/>
                <a:gd name="connsiteX1" fmla="*/ 435077 w 435077"/>
                <a:gd name="connsiteY1" fmla="*/ 0 h 435077"/>
                <a:gd name="connsiteX2" fmla="*/ 217565 w 435077"/>
                <a:gd name="connsiteY2" fmla="*/ 217544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44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44"/>
                  </a:lnTo>
                  <a:lnTo>
                    <a:pt x="435077" y="435077"/>
                  </a:lnTo>
                  <a:close/>
                  <a:moveTo>
                    <a:pt x="0" y="435077"/>
                  </a:moveTo>
                  <a:lnTo>
                    <a:pt x="0" y="3"/>
                  </a:lnTo>
                  <a:lnTo>
                    <a:pt x="217539" y="217544"/>
                  </a:lnTo>
                  <a:lnTo>
                    <a:pt x="0" y="435077"/>
                  </a:lnTo>
                  <a:close/>
                </a:path>
              </a:pathLst>
            </a:custGeom>
            <a:grpFill/>
            <a:ln w="27192" cap="flat">
              <a:noFill/>
              <a:prstDash val="solid"/>
              <a:miter/>
            </a:ln>
          </p:spPr>
          <p:txBody>
            <a:bodyPr rtlCol="0" anchor="ctr"/>
            <a:lstStyle/>
            <a:p>
              <a:endParaRPr lang="uk-UA" sz="900"/>
            </a:p>
          </p:txBody>
        </p:sp>
        <p:sp>
          <p:nvSpPr>
            <p:cNvPr id="73" name="Freeform: Shape 72">
              <a:extLst>
                <a:ext uri="{FF2B5EF4-FFF2-40B4-BE49-F238E27FC236}">
                  <a16:creationId xmlns:a16="http://schemas.microsoft.com/office/drawing/2014/main" id="{B58356A7-E3DF-87A9-C707-316545398A90}"/>
                </a:ext>
              </a:extLst>
            </p:cNvPr>
            <p:cNvSpPr/>
            <p:nvPr/>
          </p:nvSpPr>
          <p:spPr>
            <a:xfrm>
              <a:off x="22589856" y="1098754"/>
              <a:ext cx="435077" cy="435077"/>
            </a:xfrm>
            <a:custGeom>
              <a:avLst/>
              <a:gdLst>
                <a:gd name="connsiteX0" fmla="*/ 435077 w 435077"/>
                <a:gd name="connsiteY0" fmla="*/ 435077 h 435077"/>
                <a:gd name="connsiteX1" fmla="*/ 435077 w 435077"/>
                <a:gd name="connsiteY1" fmla="*/ 217547 h 435077"/>
                <a:gd name="connsiteX2" fmla="*/ 435077 w 435077"/>
                <a:gd name="connsiteY2" fmla="*/ 16 h 435077"/>
                <a:gd name="connsiteX3" fmla="*/ 217567 w 435077"/>
                <a:gd name="connsiteY3" fmla="*/ 16 h 435077"/>
                <a:gd name="connsiteX4" fmla="*/ 435077 w 435077"/>
                <a:gd name="connsiteY4" fmla="*/ 217547 h 435077"/>
                <a:gd name="connsiteX5" fmla="*/ 217567 w 435077"/>
                <a:gd name="connsiteY5" fmla="*/ 435077 h 435077"/>
                <a:gd name="connsiteX6" fmla="*/ 435077 w 435077"/>
                <a:gd name="connsiteY6" fmla="*/ 435077 h 435077"/>
                <a:gd name="connsiteX7" fmla="*/ 0 w 435077"/>
                <a:gd name="connsiteY7" fmla="*/ 217531 h 435077"/>
                <a:gd name="connsiteX8" fmla="*/ 0 w 435077"/>
                <a:gd name="connsiteY8" fmla="*/ 0 h 435077"/>
                <a:gd name="connsiteX9" fmla="*/ 217539 w 435077"/>
                <a:gd name="connsiteY9" fmla="*/ 217531 h 435077"/>
                <a:gd name="connsiteX10" fmla="*/ 0 w 435077"/>
                <a:gd name="connsiteY10" fmla="*/ 217531 h 435077"/>
                <a:gd name="connsiteX11" fmla="*/ 0 w 435077"/>
                <a:gd name="connsiteY11" fmla="*/ 435072 h 435077"/>
                <a:gd name="connsiteX12" fmla="*/ 0 w 435077"/>
                <a:gd name="connsiteY12" fmla="*/ 217541 h 435077"/>
                <a:gd name="connsiteX13" fmla="*/ 217539 w 435077"/>
                <a:gd name="connsiteY13" fmla="*/ 217541 h 435077"/>
                <a:gd name="connsiteX14" fmla="*/ 0 w 435077"/>
                <a:gd name="connsiteY14" fmla="*/ 43507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47"/>
                  </a:lnTo>
                  <a:lnTo>
                    <a:pt x="435077" y="16"/>
                  </a:lnTo>
                  <a:lnTo>
                    <a:pt x="217567" y="16"/>
                  </a:lnTo>
                  <a:lnTo>
                    <a:pt x="435077" y="217547"/>
                  </a:lnTo>
                  <a:lnTo>
                    <a:pt x="217567" y="435077"/>
                  </a:lnTo>
                  <a:lnTo>
                    <a:pt x="435077" y="435077"/>
                  </a:lnTo>
                  <a:close/>
                  <a:moveTo>
                    <a:pt x="0" y="217531"/>
                  </a:moveTo>
                  <a:lnTo>
                    <a:pt x="0" y="0"/>
                  </a:lnTo>
                  <a:lnTo>
                    <a:pt x="217539" y="217531"/>
                  </a:lnTo>
                  <a:lnTo>
                    <a:pt x="0" y="217531"/>
                  </a:lnTo>
                  <a:close/>
                  <a:moveTo>
                    <a:pt x="0" y="435072"/>
                  </a:moveTo>
                  <a:lnTo>
                    <a:pt x="0" y="217541"/>
                  </a:lnTo>
                  <a:lnTo>
                    <a:pt x="217539" y="217541"/>
                  </a:lnTo>
                  <a:lnTo>
                    <a:pt x="0" y="435072"/>
                  </a:lnTo>
                  <a:close/>
                </a:path>
              </a:pathLst>
            </a:custGeom>
            <a:grpFill/>
            <a:ln w="27192" cap="flat">
              <a:noFill/>
              <a:prstDash val="solid"/>
              <a:miter/>
            </a:ln>
          </p:spPr>
          <p:txBody>
            <a:bodyPr rtlCol="0" anchor="ctr"/>
            <a:lstStyle/>
            <a:p>
              <a:endParaRPr lang="uk-UA" sz="900"/>
            </a:p>
          </p:txBody>
        </p:sp>
        <p:sp>
          <p:nvSpPr>
            <p:cNvPr id="74" name="Freeform: Shape 73">
              <a:extLst>
                <a:ext uri="{FF2B5EF4-FFF2-40B4-BE49-F238E27FC236}">
                  <a16:creationId xmlns:a16="http://schemas.microsoft.com/office/drawing/2014/main" id="{7DAAFFF1-49C8-6361-71B8-BD5B00B7F8E3}"/>
                </a:ext>
              </a:extLst>
            </p:cNvPr>
            <p:cNvSpPr/>
            <p:nvPr/>
          </p:nvSpPr>
          <p:spPr>
            <a:xfrm>
              <a:off x="23460039" y="1098754"/>
              <a:ext cx="435077" cy="435077"/>
            </a:xfrm>
            <a:custGeom>
              <a:avLst/>
              <a:gdLst>
                <a:gd name="connsiteX0" fmla="*/ 217539 w 435077"/>
                <a:gd name="connsiteY0" fmla="*/ 435069 h 435077"/>
                <a:gd name="connsiteX1" fmla="*/ 217539 w 435077"/>
                <a:gd name="connsiteY1" fmla="*/ 0 h 435077"/>
                <a:gd name="connsiteX2" fmla="*/ 435077 w 435077"/>
                <a:gd name="connsiteY2" fmla="*/ 217541 h 435077"/>
                <a:gd name="connsiteX3" fmla="*/ 217539 w 435077"/>
                <a:gd name="connsiteY3" fmla="*/ 435069 h 435077"/>
                <a:gd name="connsiteX4" fmla="*/ 0 w 435077"/>
                <a:gd name="connsiteY4" fmla="*/ 435077 h 435077"/>
                <a:gd name="connsiteX5" fmla="*/ 0 w 435077"/>
                <a:gd name="connsiteY5" fmla="*/ 8 h 435077"/>
                <a:gd name="connsiteX6" fmla="*/ 217539 w 435077"/>
                <a:gd name="connsiteY6" fmla="*/ 217547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69"/>
                  </a:moveTo>
                  <a:lnTo>
                    <a:pt x="217539" y="0"/>
                  </a:lnTo>
                  <a:lnTo>
                    <a:pt x="435077" y="217541"/>
                  </a:lnTo>
                  <a:lnTo>
                    <a:pt x="217539" y="435069"/>
                  </a:lnTo>
                  <a:close/>
                  <a:moveTo>
                    <a:pt x="0" y="435077"/>
                  </a:moveTo>
                  <a:lnTo>
                    <a:pt x="0" y="8"/>
                  </a:lnTo>
                  <a:lnTo>
                    <a:pt x="217539" y="217547"/>
                  </a:lnTo>
                  <a:lnTo>
                    <a:pt x="0" y="435077"/>
                  </a:lnTo>
                  <a:close/>
                </a:path>
              </a:pathLst>
            </a:custGeom>
            <a:grpFill/>
            <a:ln w="27192" cap="flat">
              <a:noFill/>
              <a:prstDash val="solid"/>
              <a:miter/>
            </a:ln>
          </p:spPr>
          <p:txBody>
            <a:bodyPr rtlCol="0" anchor="ctr"/>
            <a:lstStyle/>
            <a:p>
              <a:endParaRPr lang="uk-UA" sz="900"/>
            </a:p>
          </p:txBody>
        </p:sp>
        <p:sp>
          <p:nvSpPr>
            <p:cNvPr id="75" name="Freeform: Shape 74">
              <a:extLst>
                <a:ext uri="{FF2B5EF4-FFF2-40B4-BE49-F238E27FC236}">
                  <a16:creationId xmlns:a16="http://schemas.microsoft.com/office/drawing/2014/main" id="{6307E039-EAC4-91CA-8957-F847515B1AF4}"/>
                </a:ext>
              </a:extLst>
            </p:cNvPr>
            <p:cNvSpPr/>
            <p:nvPr/>
          </p:nvSpPr>
          <p:spPr>
            <a:xfrm>
              <a:off x="24330194" y="1098754"/>
              <a:ext cx="435077" cy="435077"/>
            </a:xfrm>
            <a:custGeom>
              <a:avLst/>
              <a:gdLst>
                <a:gd name="connsiteX0" fmla="*/ 435077 w 435077"/>
                <a:gd name="connsiteY0" fmla="*/ 435077 h 435077"/>
                <a:gd name="connsiteX1" fmla="*/ 435077 w 435077"/>
                <a:gd name="connsiteY1" fmla="*/ 0 h 435077"/>
                <a:gd name="connsiteX2" fmla="*/ 217539 w 435077"/>
                <a:gd name="connsiteY2" fmla="*/ 217544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44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44"/>
                  </a:lnTo>
                  <a:lnTo>
                    <a:pt x="435077" y="435077"/>
                  </a:lnTo>
                  <a:close/>
                  <a:moveTo>
                    <a:pt x="0" y="435077"/>
                  </a:moveTo>
                  <a:lnTo>
                    <a:pt x="0" y="3"/>
                  </a:lnTo>
                  <a:lnTo>
                    <a:pt x="217539" y="217544"/>
                  </a:lnTo>
                  <a:lnTo>
                    <a:pt x="0" y="435077"/>
                  </a:lnTo>
                  <a:close/>
                </a:path>
              </a:pathLst>
            </a:custGeom>
            <a:grpFill/>
            <a:ln w="27192" cap="flat">
              <a:noFill/>
              <a:prstDash val="solid"/>
              <a:miter/>
            </a:ln>
          </p:spPr>
          <p:txBody>
            <a:bodyPr rtlCol="0" anchor="ctr"/>
            <a:lstStyle/>
            <a:p>
              <a:endParaRPr lang="uk-UA" sz="900"/>
            </a:p>
          </p:txBody>
        </p:sp>
        <p:sp>
          <p:nvSpPr>
            <p:cNvPr id="76" name="Freeform: Shape 75">
              <a:extLst>
                <a:ext uri="{FF2B5EF4-FFF2-40B4-BE49-F238E27FC236}">
                  <a16:creationId xmlns:a16="http://schemas.microsoft.com/office/drawing/2014/main" id="{4BD895F9-43AF-DB81-7E8B-6C8BC4206BF3}"/>
                </a:ext>
              </a:extLst>
            </p:cNvPr>
            <p:cNvSpPr/>
            <p:nvPr/>
          </p:nvSpPr>
          <p:spPr>
            <a:xfrm>
              <a:off x="835769" y="5449529"/>
              <a:ext cx="435077" cy="435077"/>
            </a:xfrm>
            <a:custGeom>
              <a:avLst/>
              <a:gdLst>
                <a:gd name="connsiteX0" fmla="*/ 371366 w 435077"/>
                <a:gd name="connsiteY0" fmla="*/ 63712 h 435077"/>
                <a:gd name="connsiteX1" fmla="*/ 435077 w 435077"/>
                <a:gd name="connsiteY1" fmla="*/ 217539 h 435077"/>
                <a:gd name="connsiteX2" fmla="*/ 217702 w 435077"/>
                <a:gd name="connsiteY2" fmla="*/ 217539 h 435077"/>
                <a:gd name="connsiteX3" fmla="*/ 371366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1 w 435077"/>
                <a:gd name="connsiteY7" fmla="*/ 281250 h 435077"/>
                <a:gd name="connsiteX8" fmla="*/ 217375 w 435077"/>
                <a:gd name="connsiteY8" fmla="*/ 217539 h 435077"/>
                <a:gd name="connsiteX9" fmla="*/ 0 w 435077"/>
                <a:gd name="connsiteY9" fmla="*/ 217539 h 435077"/>
                <a:gd name="connsiteX10" fmla="*/ 63711 w 435077"/>
                <a:gd name="connsiteY10" fmla="*/ 63712 h 435077"/>
                <a:gd name="connsiteX11" fmla="*/ 217539 w 435077"/>
                <a:gd name="connsiteY11" fmla="*/ 0 h 435077"/>
                <a:gd name="connsiteX12" fmla="*/ 371366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2"/>
                  </a:moveTo>
                  <a:cubicBezTo>
                    <a:pt x="412154" y="104527"/>
                    <a:pt x="435077" y="159837"/>
                    <a:pt x="435077" y="217539"/>
                  </a:cubicBezTo>
                  <a:lnTo>
                    <a:pt x="217702" y="217539"/>
                  </a:lnTo>
                  <a:cubicBezTo>
                    <a:pt x="275349" y="217593"/>
                    <a:pt x="330604" y="240489"/>
                    <a:pt x="371366" y="281250"/>
                  </a:cubicBezTo>
                  <a:cubicBezTo>
                    <a:pt x="412154" y="322066"/>
                    <a:pt x="435077" y="377375"/>
                    <a:pt x="435077" y="435077"/>
                  </a:cubicBezTo>
                  <a:lnTo>
                    <a:pt x="217539" y="435077"/>
                  </a:lnTo>
                  <a:lnTo>
                    <a:pt x="0" y="435077"/>
                  </a:lnTo>
                  <a:cubicBezTo>
                    <a:pt x="0" y="377375"/>
                    <a:pt x="22923" y="322066"/>
                    <a:pt x="63711" y="281250"/>
                  </a:cubicBezTo>
                  <a:cubicBezTo>
                    <a:pt x="104473" y="240489"/>
                    <a:pt x="159728" y="217593"/>
                    <a:pt x="217375" y="217539"/>
                  </a:cubicBezTo>
                  <a:lnTo>
                    <a:pt x="0" y="217539"/>
                  </a:lnTo>
                  <a:cubicBezTo>
                    <a:pt x="0" y="159837"/>
                    <a:pt x="22923" y="104527"/>
                    <a:pt x="63711" y="63712"/>
                  </a:cubicBezTo>
                  <a:cubicBezTo>
                    <a:pt x="104500" y="22923"/>
                    <a:pt x="159836" y="0"/>
                    <a:pt x="217539" y="0"/>
                  </a:cubicBezTo>
                  <a:cubicBezTo>
                    <a:pt x="275213" y="0"/>
                    <a:pt x="330550" y="22923"/>
                    <a:pt x="371366" y="63712"/>
                  </a:cubicBezTo>
                  <a:close/>
                </a:path>
              </a:pathLst>
            </a:custGeom>
            <a:grpFill/>
            <a:ln w="27192" cap="flat">
              <a:noFill/>
              <a:prstDash val="solid"/>
              <a:miter/>
            </a:ln>
          </p:spPr>
          <p:txBody>
            <a:bodyPr rtlCol="0" anchor="ctr"/>
            <a:lstStyle/>
            <a:p>
              <a:endParaRPr lang="uk-UA" sz="900"/>
            </a:p>
          </p:txBody>
        </p:sp>
        <p:sp>
          <p:nvSpPr>
            <p:cNvPr id="77" name="Freeform: Shape 76">
              <a:extLst>
                <a:ext uri="{FF2B5EF4-FFF2-40B4-BE49-F238E27FC236}">
                  <a16:creationId xmlns:a16="http://schemas.microsoft.com/office/drawing/2014/main" id="{417473F4-0E5A-5981-8E2A-0071CD0B6283}"/>
                </a:ext>
              </a:extLst>
            </p:cNvPr>
            <p:cNvSpPr/>
            <p:nvPr/>
          </p:nvSpPr>
          <p:spPr>
            <a:xfrm>
              <a:off x="-34398" y="5449529"/>
              <a:ext cx="435090" cy="435077"/>
            </a:xfrm>
            <a:custGeom>
              <a:avLst/>
              <a:gdLst>
                <a:gd name="connsiteX0" fmla="*/ 217525 w 435090"/>
                <a:gd name="connsiteY0" fmla="*/ 0 h 435077"/>
                <a:gd name="connsiteX1" fmla="*/ 0 w 435090"/>
                <a:gd name="connsiteY1" fmla="*/ 0 h 435077"/>
                <a:gd name="connsiteX2" fmla="*/ 0 w 435090"/>
                <a:gd name="connsiteY2" fmla="*/ 217539 h 435077"/>
                <a:gd name="connsiteX3" fmla="*/ 217525 w 435090"/>
                <a:gd name="connsiteY3" fmla="*/ 0 h 435077"/>
                <a:gd name="connsiteX4" fmla="*/ 435091 w 435090"/>
                <a:gd name="connsiteY4" fmla="*/ 0 h 435077"/>
                <a:gd name="connsiteX5" fmla="*/ 435091 w 435090"/>
                <a:gd name="connsiteY5" fmla="*/ 217539 h 435077"/>
                <a:gd name="connsiteX6" fmla="*/ 217552 w 435090"/>
                <a:gd name="connsiteY6" fmla="*/ 0 h 435077"/>
                <a:gd name="connsiteX7" fmla="*/ 435091 w 435090"/>
                <a:gd name="connsiteY7" fmla="*/ 0 h 435077"/>
                <a:gd name="connsiteX8" fmla="*/ 217552 w 435090"/>
                <a:gd name="connsiteY8" fmla="*/ 435077 h 435077"/>
                <a:gd name="connsiteX9" fmla="*/ 435091 w 435090"/>
                <a:gd name="connsiteY9" fmla="*/ 217539 h 435077"/>
                <a:gd name="connsiteX10" fmla="*/ 435091 w 435090"/>
                <a:gd name="connsiteY10" fmla="*/ 435077 h 435077"/>
                <a:gd name="connsiteX11" fmla="*/ 217552 w 435090"/>
                <a:gd name="connsiteY11" fmla="*/ 435077 h 435077"/>
                <a:gd name="connsiteX12" fmla="*/ 217552 w 435090"/>
                <a:gd name="connsiteY12" fmla="*/ 435077 h 435077"/>
                <a:gd name="connsiteX13" fmla="*/ 11 w 435090"/>
                <a:gd name="connsiteY13" fmla="*/ 217539 h 435077"/>
                <a:gd name="connsiteX14" fmla="*/ 11 w 435090"/>
                <a:gd name="connsiteY14" fmla="*/ 435077 h 435077"/>
                <a:gd name="connsiteX15" fmla="*/ 217552 w 435090"/>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90" h="435077">
                  <a:moveTo>
                    <a:pt x="217525" y="0"/>
                  </a:moveTo>
                  <a:lnTo>
                    <a:pt x="0" y="0"/>
                  </a:lnTo>
                  <a:lnTo>
                    <a:pt x="0" y="217539"/>
                  </a:lnTo>
                  <a:lnTo>
                    <a:pt x="217525" y="0"/>
                  </a:lnTo>
                  <a:close/>
                  <a:moveTo>
                    <a:pt x="435091" y="0"/>
                  </a:moveTo>
                  <a:lnTo>
                    <a:pt x="435091" y="217539"/>
                  </a:lnTo>
                  <a:lnTo>
                    <a:pt x="217552" y="0"/>
                  </a:lnTo>
                  <a:lnTo>
                    <a:pt x="435091" y="0"/>
                  </a:lnTo>
                  <a:close/>
                  <a:moveTo>
                    <a:pt x="217552" y="435077"/>
                  </a:moveTo>
                  <a:lnTo>
                    <a:pt x="435091" y="217539"/>
                  </a:lnTo>
                  <a:lnTo>
                    <a:pt x="435091" y="435077"/>
                  </a:lnTo>
                  <a:lnTo>
                    <a:pt x="217552" y="435077"/>
                  </a:lnTo>
                  <a:close/>
                  <a:moveTo>
                    <a:pt x="217552" y="435077"/>
                  </a:moveTo>
                  <a:lnTo>
                    <a:pt x="11" y="217539"/>
                  </a:lnTo>
                  <a:lnTo>
                    <a:pt x="11" y="435077"/>
                  </a:lnTo>
                  <a:lnTo>
                    <a:pt x="217552" y="435077"/>
                  </a:lnTo>
                  <a:close/>
                </a:path>
              </a:pathLst>
            </a:custGeom>
            <a:grpFill/>
            <a:ln w="27192" cap="flat">
              <a:noFill/>
              <a:prstDash val="solid"/>
              <a:miter/>
            </a:ln>
          </p:spPr>
          <p:txBody>
            <a:bodyPr rtlCol="0" anchor="ctr"/>
            <a:lstStyle/>
            <a:p>
              <a:endParaRPr lang="uk-UA" sz="900"/>
            </a:p>
          </p:txBody>
        </p:sp>
        <p:sp>
          <p:nvSpPr>
            <p:cNvPr id="78" name="Freeform: Shape 77">
              <a:extLst>
                <a:ext uri="{FF2B5EF4-FFF2-40B4-BE49-F238E27FC236}">
                  <a16:creationId xmlns:a16="http://schemas.microsoft.com/office/drawing/2014/main" id="{B3880223-B917-98F7-9032-4DA55E1B43BC}"/>
                </a:ext>
              </a:extLst>
            </p:cNvPr>
            <p:cNvSpPr/>
            <p:nvPr/>
          </p:nvSpPr>
          <p:spPr>
            <a:xfrm>
              <a:off x="1705924" y="544952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79" name="Freeform: Shape 78">
              <a:extLst>
                <a:ext uri="{FF2B5EF4-FFF2-40B4-BE49-F238E27FC236}">
                  <a16:creationId xmlns:a16="http://schemas.microsoft.com/office/drawing/2014/main" id="{079F0D1A-A428-2926-05A8-12CCDB8F3419}"/>
                </a:ext>
              </a:extLst>
            </p:cNvPr>
            <p:cNvSpPr/>
            <p:nvPr/>
          </p:nvSpPr>
          <p:spPr>
            <a:xfrm>
              <a:off x="2576106" y="5449529"/>
              <a:ext cx="435077" cy="435077"/>
            </a:xfrm>
            <a:custGeom>
              <a:avLst/>
              <a:gdLst>
                <a:gd name="connsiteX0" fmla="*/ 0 w 435077"/>
                <a:gd name="connsiteY0" fmla="*/ 435077 h 435077"/>
                <a:gd name="connsiteX1" fmla="*/ 217512 w 435077"/>
                <a:gd name="connsiteY1" fmla="*/ 435077 h 435077"/>
                <a:gd name="connsiteX2" fmla="*/ 217512 w 435077"/>
                <a:gd name="connsiteY2" fmla="*/ 217566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66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12" y="435077"/>
                  </a:lnTo>
                  <a:lnTo>
                    <a:pt x="217512" y="217566"/>
                  </a:lnTo>
                  <a:lnTo>
                    <a:pt x="0" y="435077"/>
                  </a:lnTo>
                  <a:close/>
                  <a:moveTo>
                    <a:pt x="217539" y="0"/>
                  </a:moveTo>
                  <a:lnTo>
                    <a:pt x="0" y="0"/>
                  </a:lnTo>
                  <a:lnTo>
                    <a:pt x="217539" y="217539"/>
                  </a:lnTo>
                  <a:lnTo>
                    <a:pt x="217539" y="0"/>
                  </a:lnTo>
                  <a:close/>
                  <a:moveTo>
                    <a:pt x="435077" y="435077"/>
                  </a:moveTo>
                  <a:lnTo>
                    <a:pt x="217539" y="435077"/>
                  </a:lnTo>
                  <a:lnTo>
                    <a:pt x="435077" y="217566"/>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80" name="Freeform: Shape 79">
              <a:extLst>
                <a:ext uri="{FF2B5EF4-FFF2-40B4-BE49-F238E27FC236}">
                  <a16:creationId xmlns:a16="http://schemas.microsoft.com/office/drawing/2014/main" id="{1C47C191-99CE-64B4-4911-9C8A856A9C84}"/>
                </a:ext>
              </a:extLst>
            </p:cNvPr>
            <p:cNvSpPr/>
            <p:nvPr/>
          </p:nvSpPr>
          <p:spPr>
            <a:xfrm>
              <a:off x="4316416" y="5449529"/>
              <a:ext cx="435103" cy="435077"/>
            </a:xfrm>
            <a:custGeom>
              <a:avLst/>
              <a:gdLst>
                <a:gd name="connsiteX0" fmla="*/ 371365 w 435103"/>
                <a:gd name="connsiteY0" fmla="*/ 63712 h 435077"/>
                <a:gd name="connsiteX1" fmla="*/ 435077 w 435103"/>
                <a:gd name="connsiteY1" fmla="*/ 217539 h 435077"/>
                <a:gd name="connsiteX2" fmla="*/ 217729 w 435103"/>
                <a:gd name="connsiteY2" fmla="*/ 217539 h 435077"/>
                <a:gd name="connsiteX3" fmla="*/ 371365 w 435103"/>
                <a:gd name="connsiteY3" fmla="*/ 281250 h 435077"/>
                <a:gd name="connsiteX4" fmla="*/ 435104 w 435103"/>
                <a:gd name="connsiteY4" fmla="*/ 435077 h 435077"/>
                <a:gd name="connsiteX5" fmla="*/ 217565 w 435103"/>
                <a:gd name="connsiteY5" fmla="*/ 435077 h 435077"/>
                <a:gd name="connsiteX6" fmla="*/ 27 w 435103"/>
                <a:gd name="connsiteY6" fmla="*/ 435077 h 435077"/>
                <a:gd name="connsiteX7" fmla="*/ 63739 w 435103"/>
                <a:gd name="connsiteY7" fmla="*/ 281250 h 435077"/>
                <a:gd name="connsiteX8" fmla="*/ 217375 w 435103"/>
                <a:gd name="connsiteY8" fmla="*/ 217539 h 435077"/>
                <a:gd name="connsiteX9" fmla="*/ 0 w 435103"/>
                <a:gd name="connsiteY9" fmla="*/ 217539 h 435077"/>
                <a:gd name="connsiteX10" fmla="*/ 63739 w 435103"/>
                <a:gd name="connsiteY10" fmla="*/ 63712 h 435077"/>
                <a:gd name="connsiteX11" fmla="*/ 217539 w 435103"/>
                <a:gd name="connsiteY11" fmla="*/ 0 h 435077"/>
                <a:gd name="connsiteX12" fmla="*/ 371365 w 435103"/>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3" h="435077">
                  <a:moveTo>
                    <a:pt x="371365" y="63712"/>
                  </a:moveTo>
                  <a:cubicBezTo>
                    <a:pt x="412181" y="104527"/>
                    <a:pt x="435077" y="159837"/>
                    <a:pt x="435077" y="217539"/>
                  </a:cubicBezTo>
                  <a:lnTo>
                    <a:pt x="217729" y="217539"/>
                  </a:lnTo>
                  <a:cubicBezTo>
                    <a:pt x="275349" y="217593"/>
                    <a:pt x="330632" y="240489"/>
                    <a:pt x="371365" y="281250"/>
                  </a:cubicBezTo>
                  <a:cubicBezTo>
                    <a:pt x="412181" y="322066"/>
                    <a:pt x="435104" y="377375"/>
                    <a:pt x="435104" y="435077"/>
                  </a:cubicBezTo>
                  <a:lnTo>
                    <a:pt x="217565" y="435077"/>
                  </a:lnTo>
                  <a:lnTo>
                    <a:pt x="27" y="435077"/>
                  </a:lnTo>
                  <a:cubicBezTo>
                    <a:pt x="27" y="377375"/>
                    <a:pt x="22923" y="322066"/>
                    <a:pt x="63739" y="281250"/>
                  </a:cubicBezTo>
                  <a:cubicBezTo>
                    <a:pt x="104500" y="240489"/>
                    <a:pt x="159755" y="217593"/>
                    <a:pt x="217375" y="217539"/>
                  </a:cubicBezTo>
                  <a:lnTo>
                    <a:pt x="0" y="217539"/>
                  </a:lnTo>
                  <a:cubicBezTo>
                    <a:pt x="0" y="159837"/>
                    <a:pt x="22923" y="104527"/>
                    <a:pt x="63739" y="63712"/>
                  </a:cubicBezTo>
                  <a:cubicBezTo>
                    <a:pt x="104527" y="22923"/>
                    <a:pt x="159864" y="0"/>
                    <a:pt x="217539" y="0"/>
                  </a:cubicBezTo>
                  <a:cubicBezTo>
                    <a:pt x="275240" y="0"/>
                    <a:pt x="330577" y="22923"/>
                    <a:pt x="371365" y="63712"/>
                  </a:cubicBezTo>
                  <a:close/>
                </a:path>
              </a:pathLst>
            </a:custGeom>
            <a:grpFill/>
            <a:ln w="27192" cap="flat">
              <a:noFill/>
              <a:prstDash val="solid"/>
              <a:miter/>
            </a:ln>
          </p:spPr>
          <p:txBody>
            <a:bodyPr rtlCol="0" anchor="ctr"/>
            <a:lstStyle/>
            <a:p>
              <a:endParaRPr lang="uk-UA" sz="900"/>
            </a:p>
          </p:txBody>
        </p:sp>
        <p:sp>
          <p:nvSpPr>
            <p:cNvPr id="81" name="Freeform: Shape 80">
              <a:extLst>
                <a:ext uri="{FF2B5EF4-FFF2-40B4-BE49-F238E27FC236}">
                  <a16:creationId xmlns:a16="http://schemas.microsoft.com/office/drawing/2014/main" id="{E06B3852-99CF-A70C-1793-88998836AD3A}"/>
                </a:ext>
              </a:extLst>
            </p:cNvPr>
            <p:cNvSpPr/>
            <p:nvPr/>
          </p:nvSpPr>
          <p:spPr>
            <a:xfrm>
              <a:off x="3446261" y="5449529"/>
              <a:ext cx="435077" cy="435077"/>
            </a:xfrm>
            <a:custGeom>
              <a:avLst/>
              <a:gdLst>
                <a:gd name="connsiteX0" fmla="*/ 217566 w 435077"/>
                <a:gd name="connsiteY0" fmla="*/ 0 h 435077"/>
                <a:gd name="connsiteX1" fmla="*/ 217539 w 435077"/>
                <a:gd name="connsiteY1" fmla="*/ 0 h 435077"/>
                <a:gd name="connsiteX2" fmla="*/ 27 w 435077"/>
                <a:gd name="connsiteY2" fmla="*/ 0 h 435077"/>
                <a:gd name="connsiteX3" fmla="*/ 27 w 435077"/>
                <a:gd name="connsiteY3" fmla="*/ 217539 h 435077"/>
                <a:gd name="connsiteX4" fmla="*/ 217539 w 435077"/>
                <a:gd name="connsiteY4" fmla="*/ 0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66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66" y="0"/>
                  </a:moveTo>
                  <a:lnTo>
                    <a:pt x="217539" y="0"/>
                  </a:lnTo>
                  <a:lnTo>
                    <a:pt x="27" y="0"/>
                  </a:lnTo>
                  <a:lnTo>
                    <a:pt x="27" y="217539"/>
                  </a:lnTo>
                  <a:lnTo>
                    <a:pt x="217539" y="0"/>
                  </a:lnTo>
                  <a:lnTo>
                    <a:pt x="435077" y="217539"/>
                  </a:lnTo>
                  <a:lnTo>
                    <a:pt x="217539" y="435077"/>
                  </a:lnTo>
                  <a:lnTo>
                    <a:pt x="0" y="217539"/>
                  </a:lnTo>
                  <a:lnTo>
                    <a:pt x="0" y="435077"/>
                  </a:lnTo>
                  <a:lnTo>
                    <a:pt x="217539" y="435077"/>
                  </a:lnTo>
                  <a:lnTo>
                    <a:pt x="435077" y="435077"/>
                  </a:lnTo>
                  <a:lnTo>
                    <a:pt x="435077" y="217539"/>
                  </a:lnTo>
                  <a:lnTo>
                    <a:pt x="435077" y="0"/>
                  </a:lnTo>
                  <a:lnTo>
                    <a:pt x="217566" y="0"/>
                  </a:lnTo>
                  <a:close/>
                </a:path>
              </a:pathLst>
            </a:custGeom>
            <a:grpFill/>
            <a:ln w="27192" cap="flat">
              <a:noFill/>
              <a:prstDash val="solid"/>
              <a:miter/>
            </a:ln>
          </p:spPr>
          <p:txBody>
            <a:bodyPr rtlCol="0" anchor="ctr"/>
            <a:lstStyle/>
            <a:p>
              <a:endParaRPr lang="uk-UA" sz="900"/>
            </a:p>
          </p:txBody>
        </p:sp>
        <p:sp>
          <p:nvSpPr>
            <p:cNvPr id="82" name="Freeform: Shape 81">
              <a:extLst>
                <a:ext uri="{FF2B5EF4-FFF2-40B4-BE49-F238E27FC236}">
                  <a16:creationId xmlns:a16="http://schemas.microsoft.com/office/drawing/2014/main" id="{88A369F7-78C0-5EEA-05D8-EDE4319ED697}"/>
                </a:ext>
              </a:extLst>
            </p:cNvPr>
            <p:cNvSpPr/>
            <p:nvPr/>
          </p:nvSpPr>
          <p:spPr>
            <a:xfrm>
              <a:off x="5186597" y="5449529"/>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0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39 h 435077"/>
                <a:gd name="connsiteX9" fmla="*/ 435077 w 435077"/>
                <a:gd name="connsiteY9" fmla="*/ 217539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0"/>
                  </a:lnTo>
                  <a:lnTo>
                    <a:pt x="435077" y="217539"/>
                  </a:lnTo>
                  <a:lnTo>
                    <a:pt x="435077" y="217539"/>
                  </a:lnTo>
                  <a:lnTo>
                    <a:pt x="435077" y="217539"/>
                  </a:lnTo>
                  <a:lnTo>
                    <a:pt x="435077" y="217539"/>
                  </a:lnTo>
                  <a:lnTo>
                    <a:pt x="435077" y="217539"/>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83" name="Freeform: Shape 82">
              <a:extLst>
                <a:ext uri="{FF2B5EF4-FFF2-40B4-BE49-F238E27FC236}">
                  <a16:creationId xmlns:a16="http://schemas.microsoft.com/office/drawing/2014/main" id="{69F47B5C-9CB8-9CA4-1ABF-CDA7DC14482C}"/>
                </a:ext>
              </a:extLst>
            </p:cNvPr>
            <p:cNvSpPr/>
            <p:nvPr/>
          </p:nvSpPr>
          <p:spPr>
            <a:xfrm>
              <a:off x="6056752" y="5449529"/>
              <a:ext cx="435077" cy="435077"/>
            </a:xfrm>
            <a:custGeom>
              <a:avLst/>
              <a:gdLst>
                <a:gd name="connsiteX0" fmla="*/ 0 w 435077"/>
                <a:gd name="connsiteY0" fmla="*/ 435077 h 435077"/>
                <a:gd name="connsiteX1" fmla="*/ 217539 w 435077"/>
                <a:gd name="connsiteY1" fmla="*/ 435077 h 435077"/>
                <a:gd name="connsiteX2" fmla="*/ 217539 w 435077"/>
                <a:gd name="connsiteY2" fmla="*/ 217566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66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66"/>
                  </a:lnTo>
                  <a:lnTo>
                    <a:pt x="0" y="435077"/>
                  </a:lnTo>
                  <a:close/>
                  <a:moveTo>
                    <a:pt x="217539" y="0"/>
                  </a:moveTo>
                  <a:lnTo>
                    <a:pt x="0" y="0"/>
                  </a:lnTo>
                  <a:lnTo>
                    <a:pt x="217539" y="217539"/>
                  </a:lnTo>
                  <a:lnTo>
                    <a:pt x="217539" y="0"/>
                  </a:lnTo>
                  <a:close/>
                  <a:moveTo>
                    <a:pt x="435077" y="435077"/>
                  </a:moveTo>
                  <a:lnTo>
                    <a:pt x="217539" y="435077"/>
                  </a:lnTo>
                  <a:lnTo>
                    <a:pt x="435077" y="217566"/>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84" name="Freeform: Shape 83">
              <a:extLst>
                <a:ext uri="{FF2B5EF4-FFF2-40B4-BE49-F238E27FC236}">
                  <a16:creationId xmlns:a16="http://schemas.microsoft.com/office/drawing/2014/main" id="{E5F0FB96-9E6B-63CA-7F6A-48F22BF6AE1E}"/>
                </a:ext>
              </a:extLst>
            </p:cNvPr>
            <p:cNvSpPr/>
            <p:nvPr/>
          </p:nvSpPr>
          <p:spPr>
            <a:xfrm>
              <a:off x="7797062" y="5449529"/>
              <a:ext cx="435104" cy="435077"/>
            </a:xfrm>
            <a:custGeom>
              <a:avLst/>
              <a:gdLst>
                <a:gd name="connsiteX0" fmla="*/ 371366 w 435104"/>
                <a:gd name="connsiteY0" fmla="*/ 63712 h 435077"/>
                <a:gd name="connsiteX1" fmla="*/ 435077 w 435104"/>
                <a:gd name="connsiteY1" fmla="*/ 217539 h 435077"/>
                <a:gd name="connsiteX2" fmla="*/ 217730 w 435104"/>
                <a:gd name="connsiteY2" fmla="*/ 217539 h 435077"/>
                <a:gd name="connsiteX3" fmla="*/ 371366 w 435104"/>
                <a:gd name="connsiteY3" fmla="*/ 281250 h 435077"/>
                <a:gd name="connsiteX4" fmla="*/ 435105 w 435104"/>
                <a:gd name="connsiteY4" fmla="*/ 435077 h 435077"/>
                <a:gd name="connsiteX5" fmla="*/ 217566 w 435104"/>
                <a:gd name="connsiteY5" fmla="*/ 435077 h 435077"/>
                <a:gd name="connsiteX6" fmla="*/ 27 w 435104"/>
                <a:gd name="connsiteY6" fmla="*/ 435077 h 435077"/>
                <a:gd name="connsiteX7" fmla="*/ 63739 w 435104"/>
                <a:gd name="connsiteY7" fmla="*/ 281250 h 435077"/>
                <a:gd name="connsiteX8" fmla="*/ 217376 w 435104"/>
                <a:gd name="connsiteY8" fmla="*/ 217539 h 435077"/>
                <a:gd name="connsiteX9" fmla="*/ 0 w 435104"/>
                <a:gd name="connsiteY9" fmla="*/ 217539 h 435077"/>
                <a:gd name="connsiteX10" fmla="*/ 63739 w 435104"/>
                <a:gd name="connsiteY10" fmla="*/ 63712 h 435077"/>
                <a:gd name="connsiteX11" fmla="*/ 217539 w 435104"/>
                <a:gd name="connsiteY11" fmla="*/ 0 h 435077"/>
                <a:gd name="connsiteX12" fmla="*/ 371366 w 435104"/>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4" h="435077">
                  <a:moveTo>
                    <a:pt x="371366" y="63712"/>
                  </a:moveTo>
                  <a:cubicBezTo>
                    <a:pt x="412182" y="104527"/>
                    <a:pt x="435077" y="159837"/>
                    <a:pt x="435077" y="217539"/>
                  </a:cubicBezTo>
                  <a:lnTo>
                    <a:pt x="217730" y="217539"/>
                  </a:lnTo>
                  <a:cubicBezTo>
                    <a:pt x="275350" y="217593"/>
                    <a:pt x="330632" y="240489"/>
                    <a:pt x="371366" y="281250"/>
                  </a:cubicBezTo>
                  <a:cubicBezTo>
                    <a:pt x="412182" y="322066"/>
                    <a:pt x="435105" y="377375"/>
                    <a:pt x="435105" y="435077"/>
                  </a:cubicBezTo>
                  <a:lnTo>
                    <a:pt x="217566" y="435077"/>
                  </a:lnTo>
                  <a:lnTo>
                    <a:pt x="27" y="435077"/>
                  </a:lnTo>
                  <a:cubicBezTo>
                    <a:pt x="27" y="377375"/>
                    <a:pt x="22924" y="322066"/>
                    <a:pt x="63739" y="281250"/>
                  </a:cubicBezTo>
                  <a:cubicBezTo>
                    <a:pt x="104501" y="240489"/>
                    <a:pt x="159755" y="217593"/>
                    <a:pt x="217376" y="217539"/>
                  </a:cubicBezTo>
                  <a:lnTo>
                    <a:pt x="0" y="217539"/>
                  </a:lnTo>
                  <a:cubicBezTo>
                    <a:pt x="0" y="159837"/>
                    <a:pt x="22924" y="104527"/>
                    <a:pt x="63739" y="63712"/>
                  </a:cubicBezTo>
                  <a:cubicBezTo>
                    <a:pt x="104527" y="22923"/>
                    <a:pt x="159864" y="0"/>
                    <a:pt x="217539" y="0"/>
                  </a:cubicBezTo>
                  <a:cubicBezTo>
                    <a:pt x="275241" y="0"/>
                    <a:pt x="330578" y="22923"/>
                    <a:pt x="371366" y="63712"/>
                  </a:cubicBezTo>
                  <a:close/>
                </a:path>
              </a:pathLst>
            </a:custGeom>
            <a:grpFill/>
            <a:ln w="27192" cap="flat">
              <a:noFill/>
              <a:prstDash val="solid"/>
              <a:miter/>
            </a:ln>
          </p:spPr>
          <p:txBody>
            <a:bodyPr rtlCol="0" anchor="ctr"/>
            <a:lstStyle/>
            <a:p>
              <a:endParaRPr lang="uk-UA" sz="900"/>
            </a:p>
          </p:txBody>
        </p:sp>
        <p:sp>
          <p:nvSpPr>
            <p:cNvPr id="85" name="Freeform: Shape 84">
              <a:extLst>
                <a:ext uri="{FF2B5EF4-FFF2-40B4-BE49-F238E27FC236}">
                  <a16:creationId xmlns:a16="http://schemas.microsoft.com/office/drawing/2014/main" id="{35B4A9A4-81A3-C1B7-9F60-BE3AC289495D}"/>
                </a:ext>
              </a:extLst>
            </p:cNvPr>
            <p:cNvSpPr/>
            <p:nvPr/>
          </p:nvSpPr>
          <p:spPr>
            <a:xfrm>
              <a:off x="6926907" y="544952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p>
          </p:txBody>
        </p:sp>
        <p:sp>
          <p:nvSpPr>
            <p:cNvPr id="86" name="Freeform: Shape 85">
              <a:extLst>
                <a:ext uri="{FF2B5EF4-FFF2-40B4-BE49-F238E27FC236}">
                  <a16:creationId xmlns:a16="http://schemas.microsoft.com/office/drawing/2014/main" id="{466C4CD8-F0FF-B6E0-E3BD-DC75E6074352}"/>
                </a:ext>
              </a:extLst>
            </p:cNvPr>
            <p:cNvSpPr/>
            <p:nvPr/>
          </p:nvSpPr>
          <p:spPr>
            <a:xfrm>
              <a:off x="8667217" y="5449529"/>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0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39 h 435077"/>
                <a:gd name="connsiteX9" fmla="*/ 435077 w 435077"/>
                <a:gd name="connsiteY9" fmla="*/ 217539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0"/>
                  </a:lnTo>
                  <a:lnTo>
                    <a:pt x="435077" y="217539"/>
                  </a:lnTo>
                  <a:lnTo>
                    <a:pt x="435077" y="217539"/>
                  </a:lnTo>
                  <a:lnTo>
                    <a:pt x="435077" y="217539"/>
                  </a:lnTo>
                  <a:lnTo>
                    <a:pt x="435077" y="217539"/>
                  </a:lnTo>
                  <a:lnTo>
                    <a:pt x="435077" y="217539"/>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87" name="Freeform: Shape 86">
              <a:extLst>
                <a:ext uri="{FF2B5EF4-FFF2-40B4-BE49-F238E27FC236}">
                  <a16:creationId xmlns:a16="http://schemas.microsoft.com/office/drawing/2014/main" id="{8C8D94D6-EE27-02F2-2165-DAA28D10AF9B}"/>
                </a:ext>
              </a:extLst>
            </p:cNvPr>
            <p:cNvSpPr/>
            <p:nvPr/>
          </p:nvSpPr>
          <p:spPr>
            <a:xfrm>
              <a:off x="9537399" y="5449529"/>
              <a:ext cx="435077" cy="435077"/>
            </a:xfrm>
            <a:custGeom>
              <a:avLst/>
              <a:gdLst>
                <a:gd name="connsiteX0" fmla="*/ 0 w 435077"/>
                <a:gd name="connsiteY0" fmla="*/ 435077 h 435077"/>
                <a:gd name="connsiteX1" fmla="*/ 217511 w 435077"/>
                <a:gd name="connsiteY1" fmla="*/ 435077 h 435077"/>
                <a:gd name="connsiteX2" fmla="*/ 217511 w 435077"/>
                <a:gd name="connsiteY2" fmla="*/ 217539 h 435077"/>
                <a:gd name="connsiteX3" fmla="*/ 0 w 435077"/>
                <a:gd name="connsiteY3" fmla="*/ 435077 h 435077"/>
                <a:gd name="connsiteX4" fmla="*/ 217511 w 435077"/>
                <a:gd name="connsiteY4" fmla="*/ 0 h 435077"/>
                <a:gd name="connsiteX5" fmla="*/ 0 w 435077"/>
                <a:gd name="connsiteY5" fmla="*/ 0 h 435077"/>
                <a:gd name="connsiteX6" fmla="*/ 217511 w 435077"/>
                <a:gd name="connsiteY6" fmla="*/ 217539 h 435077"/>
                <a:gd name="connsiteX7" fmla="*/ 217511 w 435077"/>
                <a:gd name="connsiteY7" fmla="*/ 0 h 435077"/>
                <a:gd name="connsiteX8" fmla="*/ 435077 w 435077"/>
                <a:gd name="connsiteY8" fmla="*/ 435077 h 435077"/>
                <a:gd name="connsiteX9" fmla="*/ 217539 w 435077"/>
                <a:gd name="connsiteY9" fmla="*/ 435077 h 435077"/>
                <a:gd name="connsiteX10" fmla="*/ 435077 w 435077"/>
                <a:gd name="connsiteY10" fmla="*/ 217566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11" y="435077"/>
                  </a:lnTo>
                  <a:lnTo>
                    <a:pt x="217511" y="217539"/>
                  </a:lnTo>
                  <a:lnTo>
                    <a:pt x="0" y="435077"/>
                  </a:lnTo>
                  <a:close/>
                  <a:moveTo>
                    <a:pt x="217511" y="0"/>
                  </a:moveTo>
                  <a:lnTo>
                    <a:pt x="0" y="0"/>
                  </a:lnTo>
                  <a:lnTo>
                    <a:pt x="217511" y="217539"/>
                  </a:lnTo>
                  <a:lnTo>
                    <a:pt x="217511" y="0"/>
                  </a:lnTo>
                  <a:close/>
                  <a:moveTo>
                    <a:pt x="435077" y="435077"/>
                  </a:moveTo>
                  <a:lnTo>
                    <a:pt x="217539" y="435077"/>
                  </a:lnTo>
                  <a:lnTo>
                    <a:pt x="435077" y="217566"/>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88" name="Freeform: Shape 87">
              <a:extLst>
                <a:ext uri="{FF2B5EF4-FFF2-40B4-BE49-F238E27FC236}">
                  <a16:creationId xmlns:a16="http://schemas.microsoft.com/office/drawing/2014/main" id="{6B8E434E-C41A-E192-41CA-8B36F20489EF}"/>
                </a:ext>
              </a:extLst>
            </p:cNvPr>
            <p:cNvSpPr/>
            <p:nvPr/>
          </p:nvSpPr>
          <p:spPr>
            <a:xfrm>
              <a:off x="11277709" y="5449529"/>
              <a:ext cx="435077" cy="435077"/>
            </a:xfrm>
            <a:custGeom>
              <a:avLst/>
              <a:gdLst>
                <a:gd name="connsiteX0" fmla="*/ 371365 w 435077"/>
                <a:gd name="connsiteY0" fmla="*/ 63712 h 435077"/>
                <a:gd name="connsiteX1" fmla="*/ 435077 w 435077"/>
                <a:gd name="connsiteY1" fmla="*/ 217539 h 435077"/>
                <a:gd name="connsiteX2" fmla="*/ 217701 w 435077"/>
                <a:gd name="connsiteY2" fmla="*/ 217539 h 435077"/>
                <a:gd name="connsiteX3" fmla="*/ 371365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0 w 435077"/>
                <a:gd name="connsiteY7" fmla="*/ 281250 h 435077"/>
                <a:gd name="connsiteX8" fmla="*/ 217374 w 435077"/>
                <a:gd name="connsiteY8" fmla="*/ 217539 h 435077"/>
                <a:gd name="connsiteX9" fmla="*/ 0 w 435077"/>
                <a:gd name="connsiteY9" fmla="*/ 217539 h 435077"/>
                <a:gd name="connsiteX10" fmla="*/ 63710 w 435077"/>
                <a:gd name="connsiteY10" fmla="*/ 63712 h 435077"/>
                <a:gd name="connsiteX11" fmla="*/ 217539 w 435077"/>
                <a:gd name="connsiteY11" fmla="*/ 0 h 435077"/>
                <a:gd name="connsiteX12" fmla="*/ 371365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12"/>
                  </a:moveTo>
                  <a:cubicBezTo>
                    <a:pt x="412154" y="104527"/>
                    <a:pt x="435077" y="159837"/>
                    <a:pt x="435077" y="217539"/>
                  </a:cubicBezTo>
                  <a:lnTo>
                    <a:pt x="217701" y="217539"/>
                  </a:lnTo>
                  <a:cubicBezTo>
                    <a:pt x="275349" y="217593"/>
                    <a:pt x="330603" y="240489"/>
                    <a:pt x="371365" y="281250"/>
                  </a:cubicBezTo>
                  <a:cubicBezTo>
                    <a:pt x="412154" y="322066"/>
                    <a:pt x="435077" y="377375"/>
                    <a:pt x="435077" y="435077"/>
                  </a:cubicBezTo>
                  <a:lnTo>
                    <a:pt x="217539" y="435077"/>
                  </a:lnTo>
                  <a:lnTo>
                    <a:pt x="0" y="435077"/>
                  </a:lnTo>
                  <a:cubicBezTo>
                    <a:pt x="0" y="377375"/>
                    <a:pt x="22922" y="322066"/>
                    <a:pt x="63710" y="281250"/>
                  </a:cubicBezTo>
                  <a:cubicBezTo>
                    <a:pt x="104472" y="240489"/>
                    <a:pt x="159727" y="217593"/>
                    <a:pt x="217374" y="217539"/>
                  </a:cubicBezTo>
                  <a:lnTo>
                    <a:pt x="0" y="217539"/>
                  </a:lnTo>
                  <a:cubicBezTo>
                    <a:pt x="0" y="159837"/>
                    <a:pt x="22922" y="104527"/>
                    <a:pt x="63710" y="63712"/>
                  </a:cubicBezTo>
                  <a:cubicBezTo>
                    <a:pt x="104499" y="22923"/>
                    <a:pt x="159836" y="0"/>
                    <a:pt x="217539" y="0"/>
                  </a:cubicBezTo>
                  <a:cubicBezTo>
                    <a:pt x="275239" y="0"/>
                    <a:pt x="330549" y="22923"/>
                    <a:pt x="371365" y="63712"/>
                  </a:cubicBezTo>
                  <a:close/>
                </a:path>
              </a:pathLst>
            </a:custGeom>
            <a:grpFill/>
            <a:ln w="27192" cap="flat">
              <a:noFill/>
              <a:prstDash val="solid"/>
              <a:miter/>
            </a:ln>
          </p:spPr>
          <p:txBody>
            <a:bodyPr rtlCol="0" anchor="ctr"/>
            <a:lstStyle/>
            <a:p>
              <a:endParaRPr lang="uk-UA" sz="900"/>
            </a:p>
          </p:txBody>
        </p:sp>
        <p:sp>
          <p:nvSpPr>
            <p:cNvPr id="89" name="Freeform: Shape 88">
              <a:extLst>
                <a:ext uri="{FF2B5EF4-FFF2-40B4-BE49-F238E27FC236}">
                  <a16:creationId xmlns:a16="http://schemas.microsoft.com/office/drawing/2014/main" id="{DF99154D-BC07-846D-E2CF-3405365DDC9C}"/>
                </a:ext>
              </a:extLst>
            </p:cNvPr>
            <p:cNvSpPr/>
            <p:nvPr/>
          </p:nvSpPr>
          <p:spPr>
            <a:xfrm>
              <a:off x="10407554" y="544952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90" name="Freeform: Shape 89">
              <a:extLst>
                <a:ext uri="{FF2B5EF4-FFF2-40B4-BE49-F238E27FC236}">
                  <a16:creationId xmlns:a16="http://schemas.microsoft.com/office/drawing/2014/main" id="{1AF1EE83-F85D-DF74-1816-10314FD46C4F}"/>
                </a:ext>
              </a:extLst>
            </p:cNvPr>
            <p:cNvSpPr/>
            <p:nvPr/>
          </p:nvSpPr>
          <p:spPr>
            <a:xfrm>
              <a:off x="12147836" y="544952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91" name="Freeform: Shape 90">
              <a:extLst>
                <a:ext uri="{FF2B5EF4-FFF2-40B4-BE49-F238E27FC236}">
                  <a16:creationId xmlns:a16="http://schemas.microsoft.com/office/drawing/2014/main" id="{FFDFCBEE-A7BA-0564-460F-F61DD08EAFFF}"/>
                </a:ext>
              </a:extLst>
            </p:cNvPr>
            <p:cNvSpPr/>
            <p:nvPr/>
          </p:nvSpPr>
          <p:spPr>
            <a:xfrm>
              <a:off x="13018045" y="5449529"/>
              <a:ext cx="435077" cy="435077"/>
            </a:xfrm>
            <a:custGeom>
              <a:avLst/>
              <a:gdLst>
                <a:gd name="connsiteX0" fmla="*/ 0 w 435077"/>
                <a:gd name="connsiteY0" fmla="*/ 435077 h 435077"/>
                <a:gd name="connsiteX1" fmla="*/ 217539 w 435077"/>
                <a:gd name="connsiteY1" fmla="*/ 435077 h 435077"/>
                <a:gd name="connsiteX2" fmla="*/ 217539 w 435077"/>
                <a:gd name="connsiteY2" fmla="*/ 217566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66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66"/>
                  </a:lnTo>
                  <a:lnTo>
                    <a:pt x="0" y="435077"/>
                  </a:lnTo>
                  <a:close/>
                  <a:moveTo>
                    <a:pt x="217539" y="0"/>
                  </a:moveTo>
                  <a:lnTo>
                    <a:pt x="0" y="0"/>
                  </a:lnTo>
                  <a:lnTo>
                    <a:pt x="217539" y="217539"/>
                  </a:lnTo>
                  <a:lnTo>
                    <a:pt x="217539" y="0"/>
                  </a:lnTo>
                  <a:close/>
                  <a:moveTo>
                    <a:pt x="435077" y="435077"/>
                  </a:moveTo>
                  <a:lnTo>
                    <a:pt x="217539" y="435077"/>
                  </a:lnTo>
                  <a:lnTo>
                    <a:pt x="435077" y="217566"/>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92" name="Freeform: Shape 91">
              <a:extLst>
                <a:ext uri="{FF2B5EF4-FFF2-40B4-BE49-F238E27FC236}">
                  <a16:creationId xmlns:a16="http://schemas.microsoft.com/office/drawing/2014/main" id="{71C8BB44-196C-6211-A208-25594DEC3513}"/>
                </a:ext>
              </a:extLst>
            </p:cNvPr>
            <p:cNvSpPr/>
            <p:nvPr/>
          </p:nvSpPr>
          <p:spPr>
            <a:xfrm>
              <a:off x="14758382" y="5449529"/>
              <a:ext cx="435077" cy="435077"/>
            </a:xfrm>
            <a:custGeom>
              <a:avLst/>
              <a:gdLst>
                <a:gd name="connsiteX0" fmla="*/ 371367 w 435077"/>
                <a:gd name="connsiteY0" fmla="*/ 63712 h 435077"/>
                <a:gd name="connsiteX1" fmla="*/ 435077 w 435077"/>
                <a:gd name="connsiteY1" fmla="*/ 217539 h 435077"/>
                <a:gd name="connsiteX2" fmla="*/ 217703 w 435077"/>
                <a:gd name="connsiteY2" fmla="*/ 217539 h 435077"/>
                <a:gd name="connsiteX3" fmla="*/ 371367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7376 w 435077"/>
                <a:gd name="connsiteY8" fmla="*/ 217539 h 435077"/>
                <a:gd name="connsiteX9" fmla="*/ 0 w 435077"/>
                <a:gd name="connsiteY9" fmla="*/ 217539 h 435077"/>
                <a:gd name="connsiteX10" fmla="*/ 63712 w 435077"/>
                <a:gd name="connsiteY10" fmla="*/ 63712 h 435077"/>
                <a:gd name="connsiteX11" fmla="*/ 217539 w 435077"/>
                <a:gd name="connsiteY11" fmla="*/ 0 h 435077"/>
                <a:gd name="connsiteX12" fmla="*/ 371367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7" y="63712"/>
                  </a:moveTo>
                  <a:cubicBezTo>
                    <a:pt x="412155" y="104527"/>
                    <a:pt x="435077" y="159837"/>
                    <a:pt x="435077" y="217539"/>
                  </a:cubicBezTo>
                  <a:lnTo>
                    <a:pt x="217703" y="217539"/>
                  </a:lnTo>
                  <a:cubicBezTo>
                    <a:pt x="275351" y="217593"/>
                    <a:pt x="330605" y="240489"/>
                    <a:pt x="371367" y="281250"/>
                  </a:cubicBezTo>
                  <a:cubicBezTo>
                    <a:pt x="412155" y="322066"/>
                    <a:pt x="435077" y="377375"/>
                    <a:pt x="435077" y="435077"/>
                  </a:cubicBezTo>
                  <a:lnTo>
                    <a:pt x="217539" y="435077"/>
                  </a:lnTo>
                  <a:lnTo>
                    <a:pt x="0" y="435077"/>
                  </a:lnTo>
                  <a:cubicBezTo>
                    <a:pt x="0" y="377375"/>
                    <a:pt x="22924" y="322066"/>
                    <a:pt x="63712" y="281250"/>
                  </a:cubicBezTo>
                  <a:cubicBezTo>
                    <a:pt x="104474" y="240489"/>
                    <a:pt x="159728" y="217593"/>
                    <a:pt x="217376" y="217539"/>
                  </a:cubicBezTo>
                  <a:lnTo>
                    <a:pt x="0" y="217539"/>
                  </a:lnTo>
                  <a:cubicBezTo>
                    <a:pt x="0" y="159837"/>
                    <a:pt x="22924" y="104527"/>
                    <a:pt x="63712" y="63712"/>
                  </a:cubicBezTo>
                  <a:cubicBezTo>
                    <a:pt x="104501" y="22923"/>
                    <a:pt x="159836" y="0"/>
                    <a:pt x="217539" y="0"/>
                  </a:cubicBezTo>
                  <a:cubicBezTo>
                    <a:pt x="275241" y="0"/>
                    <a:pt x="330550" y="22923"/>
                    <a:pt x="371367" y="63712"/>
                  </a:cubicBezTo>
                  <a:close/>
                </a:path>
              </a:pathLst>
            </a:custGeom>
            <a:grpFill/>
            <a:ln w="27192" cap="flat">
              <a:noFill/>
              <a:prstDash val="solid"/>
              <a:miter/>
            </a:ln>
          </p:spPr>
          <p:txBody>
            <a:bodyPr rtlCol="0" anchor="ctr"/>
            <a:lstStyle/>
            <a:p>
              <a:endParaRPr lang="uk-UA" sz="900"/>
            </a:p>
          </p:txBody>
        </p:sp>
        <p:sp>
          <p:nvSpPr>
            <p:cNvPr id="93" name="Freeform: Shape 92">
              <a:extLst>
                <a:ext uri="{FF2B5EF4-FFF2-40B4-BE49-F238E27FC236}">
                  <a16:creationId xmlns:a16="http://schemas.microsoft.com/office/drawing/2014/main" id="{B4975CCA-90FC-96FB-89DA-EB9CF6AEEAC9}"/>
                </a:ext>
              </a:extLst>
            </p:cNvPr>
            <p:cNvSpPr/>
            <p:nvPr/>
          </p:nvSpPr>
          <p:spPr>
            <a:xfrm>
              <a:off x="13888200" y="5449529"/>
              <a:ext cx="435077" cy="435077"/>
            </a:xfrm>
            <a:custGeom>
              <a:avLst/>
              <a:gdLst>
                <a:gd name="connsiteX0" fmla="*/ 217565 w 435077"/>
                <a:gd name="connsiteY0" fmla="*/ 0 h 435077"/>
                <a:gd name="connsiteX1" fmla="*/ 217539 w 435077"/>
                <a:gd name="connsiteY1" fmla="*/ 0 h 435077"/>
                <a:gd name="connsiteX2" fmla="*/ 27 w 435077"/>
                <a:gd name="connsiteY2" fmla="*/ 0 h 435077"/>
                <a:gd name="connsiteX3" fmla="*/ 27 w 435077"/>
                <a:gd name="connsiteY3" fmla="*/ 217539 h 435077"/>
                <a:gd name="connsiteX4" fmla="*/ 217565 w 435077"/>
                <a:gd name="connsiteY4" fmla="*/ 0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65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65" y="0"/>
                  </a:moveTo>
                  <a:lnTo>
                    <a:pt x="217539" y="0"/>
                  </a:lnTo>
                  <a:lnTo>
                    <a:pt x="27" y="0"/>
                  </a:lnTo>
                  <a:lnTo>
                    <a:pt x="27" y="217539"/>
                  </a:lnTo>
                  <a:lnTo>
                    <a:pt x="217565" y="0"/>
                  </a:lnTo>
                  <a:lnTo>
                    <a:pt x="435077" y="217539"/>
                  </a:lnTo>
                  <a:lnTo>
                    <a:pt x="217539" y="435077"/>
                  </a:lnTo>
                  <a:lnTo>
                    <a:pt x="0" y="217539"/>
                  </a:lnTo>
                  <a:lnTo>
                    <a:pt x="0" y="435077"/>
                  </a:lnTo>
                  <a:lnTo>
                    <a:pt x="217539" y="435077"/>
                  </a:lnTo>
                  <a:lnTo>
                    <a:pt x="435077" y="435077"/>
                  </a:lnTo>
                  <a:lnTo>
                    <a:pt x="435077" y="217539"/>
                  </a:lnTo>
                  <a:lnTo>
                    <a:pt x="435077" y="0"/>
                  </a:lnTo>
                  <a:lnTo>
                    <a:pt x="217565" y="0"/>
                  </a:lnTo>
                  <a:close/>
                </a:path>
              </a:pathLst>
            </a:custGeom>
            <a:grpFill/>
            <a:ln w="27192" cap="flat">
              <a:noFill/>
              <a:prstDash val="solid"/>
              <a:miter/>
            </a:ln>
          </p:spPr>
          <p:txBody>
            <a:bodyPr rtlCol="0" anchor="ctr"/>
            <a:lstStyle/>
            <a:p>
              <a:endParaRPr lang="uk-UA" sz="900"/>
            </a:p>
          </p:txBody>
        </p:sp>
        <p:sp>
          <p:nvSpPr>
            <p:cNvPr id="94" name="Freeform: Shape 93">
              <a:extLst>
                <a:ext uri="{FF2B5EF4-FFF2-40B4-BE49-F238E27FC236}">
                  <a16:creationId xmlns:a16="http://schemas.microsoft.com/office/drawing/2014/main" id="{629C300B-C2EB-AF41-1BB5-6085DE55C126}"/>
                </a:ext>
              </a:extLst>
            </p:cNvPr>
            <p:cNvSpPr/>
            <p:nvPr/>
          </p:nvSpPr>
          <p:spPr>
            <a:xfrm>
              <a:off x="15628536" y="5449529"/>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0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39 h 435077"/>
                <a:gd name="connsiteX9" fmla="*/ 435077 w 435077"/>
                <a:gd name="connsiteY9" fmla="*/ 217539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0"/>
                  </a:lnTo>
                  <a:lnTo>
                    <a:pt x="435077" y="217539"/>
                  </a:lnTo>
                  <a:lnTo>
                    <a:pt x="435077" y="217539"/>
                  </a:lnTo>
                  <a:lnTo>
                    <a:pt x="435077" y="217539"/>
                  </a:lnTo>
                  <a:lnTo>
                    <a:pt x="435077" y="217539"/>
                  </a:lnTo>
                  <a:lnTo>
                    <a:pt x="435077" y="217539"/>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95" name="Freeform: Shape 94">
              <a:extLst>
                <a:ext uri="{FF2B5EF4-FFF2-40B4-BE49-F238E27FC236}">
                  <a16:creationId xmlns:a16="http://schemas.microsoft.com/office/drawing/2014/main" id="{60FD3973-B9D0-2AD3-3538-3A1DE9125623}"/>
                </a:ext>
              </a:extLst>
            </p:cNvPr>
            <p:cNvSpPr/>
            <p:nvPr/>
          </p:nvSpPr>
          <p:spPr>
            <a:xfrm>
              <a:off x="16498719" y="5449529"/>
              <a:ext cx="435077" cy="435077"/>
            </a:xfrm>
            <a:custGeom>
              <a:avLst/>
              <a:gdLst>
                <a:gd name="connsiteX0" fmla="*/ 0 w 435077"/>
                <a:gd name="connsiteY0" fmla="*/ 435077 h 435077"/>
                <a:gd name="connsiteX1" fmla="*/ 217510 w 435077"/>
                <a:gd name="connsiteY1" fmla="*/ 435077 h 435077"/>
                <a:gd name="connsiteX2" fmla="*/ 217510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66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10" y="435077"/>
                  </a:lnTo>
                  <a:lnTo>
                    <a:pt x="217510" y="217539"/>
                  </a:lnTo>
                  <a:lnTo>
                    <a:pt x="0" y="435077"/>
                  </a:lnTo>
                  <a:close/>
                  <a:moveTo>
                    <a:pt x="217539" y="0"/>
                  </a:moveTo>
                  <a:lnTo>
                    <a:pt x="0" y="0"/>
                  </a:lnTo>
                  <a:lnTo>
                    <a:pt x="217539" y="217539"/>
                  </a:lnTo>
                  <a:lnTo>
                    <a:pt x="217539" y="0"/>
                  </a:lnTo>
                  <a:close/>
                  <a:moveTo>
                    <a:pt x="435077" y="435077"/>
                  </a:moveTo>
                  <a:lnTo>
                    <a:pt x="217539" y="435077"/>
                  </a:lnTo>
                  <a:lnTo>
                    <a:pt x="435077" y="217566"/>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96" name="Freeform: Shape 95">
              <a:extLst>
                <a:ext uri="{FF2B5EF4-FFF2-40B4-BE49-F238E27FC236}">
                  <a16:creationId xmlns:a16="http://schemas.microsoft.com/office/drawing/2014/main" id="{33ED9C01-FEF1-973D-F594-C9A5CF7264E8}"/>
                </a:ext>
              </a:extLst>
            </p:cNvPr>
            <p:cNvSpPr/>
            <p:nvPr/>
          </p:nvSpPr>
          <p:spPr>
            <a:xfrm>
              <a:off x="18239029" y="5449529"/>
              <a:ext cx="435077" cy="435077"/>
            </a:xfrm>
            <a:custGeom>
              <a:avLst/>
              <a:gdLst>
                <a:gd name="connsiteX0" fmla="*/ 371365 w 435077"/>
                <a:gd name="connsiteY0" fmla="*/ 63712 h 435077"/>
                <a:gd name="connsiteX1" fmla="*/ 435077 w 435077"/>
                <a:gd name="connsiteY1" fmla="*/ 217539 h 435077"/>
                <a:gd name="connsiteX2" fmla="*/ 217701 w 435077"/>
                <a:gd name="connsiteY2" fmla="*/ 217539 h 435077"/>
                <a:gd name="connsiteX3" fmla="*/ 371365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0 w 435077"/>
                <a:gd name="connsiteY7" fmla="*/ 281250 h 435077"/>
                <a:gd name="connsiteX8" fmla="*/ 217374 w 435077"/>
                <a:gd name="connsiteY8" fmla="*/ 217539 h 435077"/>
                <a:gd name="connsiteX9" fmla="*/ 0 w 435077"/>
                <a:gd name="connsiteY9" fmla="*/ 217539 h 435077"/>
                <a:gd name="connsiteX10" fmla="*/ 63710 w 435077"/>
                <a:gd name="connsiteY10" fmla="*/ 63712 h 435077"/>
                <a:gd name="connsiteX11" fmla="*/ 217539 w 435077"/>
                <a:gd name="connsiteY11" fmla="*/ 0 h 435077"/>
                <a:gd name="connsiteX12" fmla="*/ 371365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12"/>
                  </a:moveTo>
                  <a:cubicBezTo>
                    <a:pt x="412154" y="104527"/>
                    <a:pt x="435077" y="159837"/>
                    <a:pt x="435077" y="217539"/>
                  </a:cubicBezTo>
                  <a:lnTo>
                    <a:pt x="217701" y="217539"/>
                  </a:lnTo>
                  <a:cubicBezTo>
                    <a:pt x="275349" y="217593"/>
                    <a:pt x="330603" y="240489"/>
                    <a:pt x="371365" y="281250"/>
                  </a:cubicBezTo>
                  <a:cubicBezTo>
                    <a:pt x="412154" y="322066"/>
                    <a:pt x="435077" y="377375"/>
                    <a:pt x="435077" y="435077"/>
                  </a:cubicBezTo>
                  <a:lnTo>
                    <a:pt x="217539" y="435077"/>
                  </a:lnTo>
                  <a:lnTo>
                    <a:pt x="0" y="435077"/>
                  </a:lnTo>
                  <a:cubicBezTo>
                    <a:pt x="0" y="377375"/>
                    <a:pt x="22922" y="322066"/>
                    <a:pt x="63710" y="281250"/>
                  </a:cubicBezTo>
                  <a:cubicBezTo>
                    <a:pt x="104472" y="240489"/>
                    <a:pt x="159755" y="217593"/>
                    <a:pt x="217374" y="217539"/>
                  </a:cubicBezTo>
                  <a:lnTo>
                    <a:pt x="0" y="217539"/>
                  </a:lnTo>
                  <a:cubicBezTo>
                    <a:pt x="0" y="159837"/>
                    <a:pt x="22922" y="104527"/>
                    <a:pt x="63710" y="63712"/>
                  </a:cubicBezTo>
                  <a:cubicBezTo>
                    <a:pt x="104527" y="22923"/>
                    <a:pt x="159836" y="0"/>
                    <a:pt x="217539" y="0"/>
                  </a:cubicBezTo>
                  <a:cubicBezTo>
                    <a:pt x="275241" y="0"/>
                    <a:pt x="330577" y="22923"/>
                    <a:pt x="371365" y="63712"/>
                  </a:cubicBezTo>
                  <a:close/>
                </a:path>
              </a:pathLst>
            </a:custGeom>
            <a:grpFill/>
            <a:ln w="27192" cap="flat">
              <a:noFill/>
              <a:prstDash val="solid"/>
              <a:miter/>
            </a:ln>
          </p:spPr>
          <p:txBody>
            <a:bodyPr rtlCol="0" anchor="ctr"/>
            <a:lstStyle/>
            <a:p>
              <a:endParaRPr lang="uk-UA" sz="900"/>
            </a:p>
          </p:txBody>
        </p:sp>
        <p:sp>
          <p:nvSpPr>
            <p:cNvPr id="97" name="Freeform: Shape 96">
              <a:extLst>
                <a:ext uri="{FF2B5EF4-FFF2-40B4-BE49-F238E27FC236}">
                  <a16:creationId xmlns:a16="http://schemas.microsoft.com/office/drawing/2014/main" id="{0CC8E88D-D280-D121-80CC-36477A578445}"/>
                </a:ext>
              </a:extLst>
            </p:cNvPr>
            <p:cNvSpPr/>
            <p:nvPr/>
          </p:nvSpPr>
          <p:spPr>
            <a:xfrm>
              <a:off x="17368874" y="544952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98" name="Freeform: Shape 97">
              <a:extLst>
                <a:ext uri="{FF2B5EF4-FFF2-40B4-BE49-F238E27FC236}">
                  <a16:creationId xmlns:a16="http://schemas.microsoft.com/office/drawing/2014/main" id="{7A5B0567-E3F9-595F-868B-AE8D4C1236B2}"/>
                </a:ext>
              </a:extLst>
            </p:cNvPr>
            <p:cNvSpPr/>
            <p:nvPr/>
          </p:nvSpPr>
          <p:spPr>
            <a:xfrm>
              <a:off x="19109210" y="544952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51 w 435077"/>
                <a:gd name="connsiteY7" fmla="*/ 217539 h 435077"/>
                <a:gd name="connsiteX8" fmla="*/ 435077 w 435077"/>
                <a:gd name="connsiteY8" fmla="*/ 217539 h 435077"/>
                <a:gd name="connsiteX9" fmla="*/ 435051 w 435077"/>
                <a:gd name="connsiteY9" fmla="*/ 217539 h 435077"/>
                <a:gd name="connsiteX10" fmla="*/ 435077 w 435077"/>
                <a:gd name="connsiteY10" fmla="*/ 217539 h 435077"/>
                <a:gd name="connsiteX11" fmla="*/ 435051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51" y="217539"/>
                  </a:lnTo>
                  <a:lnTo>
                    <a:pt x="435077" y="217539"/>
                  </a:lnTo>
                  <a:lnTo>
                    <a:pt x="435051" y="217539"/>
                  </a:lnTo>
                  <a:lnTo>
                    <a:pt x="435077" y="217539"/>
                  </a:lnTo>
                  <a:lnTo>
                    <a:pt x="435051"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99" name="Freeform: Shape 98">
              <a:extLst>
                <a:ext uri="{FF2B5EF4-FFF2-40B4-BE49-F238E27FC236}">
                  <a16:creationId xmlns:a16="http://schemas.microsoft.com/office/drawing/2014/main" id="{665E31B9-1D84-04FE-7CEF-B7717E4A1340}"/>
                </a:ext>
              </a:extLst>
            </p:cNvPr>
            <p:cNvSpPr/>
            <p:nvPr/>
          </p:nvSpPr>
          <p:spPr>
            <a:xfrm>
              <a:off x="19979365" y="5449529"/>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66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39" y="435077"/>
                  </a:lnTo>
                  <a:lnTo>
                    <a:pt x="435077" y="217566"/>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100" name="Freeform: Shape 99">
              <a:extLst>
                <a:ext uri="{FF2B5EF4-FFF2-40B4-BE49-F238E27FC236}">
                  <a16:creationId xmlns:a16="http://schemas.microsoft.com/office/drawing/2014/main" id="{B2D7DC21-6E2A-998F-E3D6-3B98F054A0FD}"/>
                </a:ext>
              </a:extLst>
            </p:cNvPr>
            <p:cNvSpPr/>
            <p:nvPr/>
          </p:nvSpPr>
          <p:spPr>
            <a:xfrm>
              <a:off x="21719702" y="5449529"/>
              <a:ext cx="435077" cy="435077"/>
            </a:xfrm>
            <a:custGeom>
              <a:avLst/>
              <a:gdLst>
                <a:gd name="connsiteX0" fmla="*/ 371339 w 435077"/>
                <a:gd name="connsiteY0" fmla="*/ 63712 h 435077"/>
                <a:gd name="connsiteX1" fmla="*/ 435077 w 435077"/>
                <a:gd name="connsiteY1" fmla="*/ 217539 h 435077"/>
                <a:gd name="connsiteX2" fmla="*/ 217703 w 435077"/>
                <a:gd name="connsiteY2" fmla="*/ 217539 h 435077"/>
                <a:gd name="connsiteX3" fmla="*/ 371367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7350 w 435077"/>
                <a:gd name="connsiteY8" fmla="*/ 217539 h 435077"/>
                <a:gd name="connsiteX9" fmla="*/ 0 w 435077"/>
                <a:gd name="connsiteY9" fmla="*/ 217539 h 435077"/>
                <a:gd name="connsiteX10" fmla="*/ 63712 w 435077"/>
                <a:gd name="connsiteY10" fmla="*/ 63712 h 435077"/>
                <a:gd name="connsiteX11" fmla="*/ 217539 w 435077"/>
                <a:gd name="connsiteY11" fmla="*/ 0 h 435077"/>
                <a:gd name="connsiteX12" fmla="*/ 371339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12"/>
                  </a:moveTo>
                  <a:cubicBezTo>
                    <a:pt x="412155" y="104527"/>
                    <a:pt x="435077" y="159837"/>
                    <a:pt x="435077" y="217539"/>
                  </a:cubicBezTo>
                  <a:lnTo>
                    <a:pt x="217703" y="217539"/>
                  </a:lnTo>
                  <a:cubicBezTo>
                    <a:pt x="275322" y="217593"/>
                    <a:pt x="330605" y="240489"/>
                    <a:pt x="371367" y="281250"/>
                  </a:cubicBezTo>
                  <a:cubicBezTo>
                    <a:pt x="412155" y="322066"/>
                    <a:pt x="435077" y="377375"/>
                    <a:pt x="435077" y="435077"/>
                  </a:cubicBezTo>
                  <a:lnTo>
                    <a:pt x="217539" y="435077"/>
                  </a:lnTo>
                  <a:lnTo>
                    <a:pt x="0" y="435077"/>
                  </a:lnTo>
                  <a:cubicBezTo>
                    <a:pt x="0" y="377375"/>
                    <a:pt x="22924" y="322066"/>
                    <a:pt x="63712" y="281250"/>
                  </a:cubicBezTo>
                  <a:cubicBezTo>
                    <a:pt x="104474" y="240489"/>
                    <a:pt x="159728" y="217593"/>
                    <a:pt x="217350" y="217539"/>
                  </a:cubicBezTo>
                  <a:lnTo>
                    <a:pt x="0" y="217539"/>
                  </a:lnTo>
                  <a:cubicBezTo>
                    <a:pt x="0" y="159837"/>
                    <a:pt x="22897" y="104527"/>
                    <a:pt x="63712" y="63712"/>
                  </a:cubicBezTo>
                  <a:cubicBezTo>
                    <a:pt x="104501" y="22923"/>
                    <a:pt x="159838" y="0"/>
                    <a:pt x="217539" y="0"/>
                  </a:cubicBezTo>
                  <a:cubicBezTo>
                    <a:pt x="275215" y="0"/>
                    <a:pt x="330550" y="22923"/>
                    <a:pt x="371339" y="63712"/>
                  </a:cubicBezTo>
                  <a:close/>
                </a:path>
              </a:pathLst>
            </a:custGeom>
            <a:grpFill/>
            <a:ln w="27192" cap="flat">
              <a:noFill/>
              <a:prstDash val="solid"/>
              <a:miter/>
            </a:ln>
          </p:spPr>
          <p:txBody>
            <a:bodyPr rtlCol="0" anchor="ctr"/>
            <a:lstStyle/>
            <a:p>
              <a:endParaRPr lang="uk-UA" sz="900"/>
            </a:p>
          </p:txBody>
        </p:sp>
        <p:sp>
          <p:nvSpPr>
            <p:cNvPr id="101" name="Freeform: Shape 100">
              <a:extLst>
                <a:ext uri="{FF2B5EF4-FFF2-40B4-BE49-F238E27FC236}">
                  <a16:creationId xmlns:a16="http://schemas.microsoft.com/office/drawing/2014/main" id="{69C65F77-0057-8ECC-2755-9BA59FE9ECA0}"/>
                </a:ext>
              </a:extLst>
            </p:cNvPr>
            <p:cNvSpPr/>
            <p:nvPr/>
          </p:nvSpPr>
          <p:spPr>
            <a:xfrm>
              <a:off x="20849520" y="5449529"/>
              <a:ext cx="435103" cy="435077"/>
            </a:xfrm>
            <a:custGeom>
              <a:avLst/>
              <a:gdLst>
                <a:gd name="connsiteX0" fmla="*/ 217539 w 435103"/>
                <a:gd name="connsiteY0" fmla="*/ 0 h 435077"/>
                <a:gd name="connsiteX1" fmla="*/ 0 w 435103"/>
                <a:gd name="connsiteY1" fmla="*/ 0 h 435077"/>
                <a:gd name="connsiteX2" fmla="*/ 0 w 435103"/>
                <a:gd name="connsiteY2" fmla="*/ 217539 h 435077"/>
                <a:gd name="connsiteX3" fmla="*/ 217539 w 435103"/>
                <a:gd name="connsiteY3" fmla="*/ 0 h 435077"/>
                <a:gd name="connsiteX4" fmla="*/ 435104 w 435103"/>
                <a:gd name="connsiteY4" fmla="*/ 0 h 435077"/>
                <a:gd name="connsiteX5" fmla="*/ 435104 w 435103"/>
                <a:gd name="connsiteY5" fmla="*/ 217539 h 435077"/>
                <a:gd name="connsiteX6" fmla="*/ 217565 w 435103"/>
                <a:gd name="connsiteY6" fmla="*/ 0 h 435077"/>
                <a:gd name="connsiteX7" fmla="*/ 435104 w 435103"/>
                <a:gd name="connsiteY7" fmla="*/ 0 h 435077"/>
                <a:gd name="connsiteX8" fmla="*/ 217565 w 435103"/>
                <a:gd name="connsiteY8" fmla="*/ 435077 h 435077"/>
                <a:gd name="connsiteX9" fmla="*/ 435104 w 435103"/>
                <a:gd name="connsiteY9" fmla="*/ 217539 h 435077"/>
                <a:gd name="connsiteX10" fmla="*/ 435104 w 435103"/>
                <a:gd name="connsiteY10" fmla="*/ 435077 h 435077"/>
                <a:gd name="connsiteX11" fmla="*/ 217565 w 435103"/>
                <a:gd name="connsiteY11" fmla="*/ 435077 h 435077"/>
                <a:gd name="connsiteX12" fmla="*/ 217565 w 435103"/>
                <a:gd name="connsiteY12" fmla="*/ 435077 h 435077"/>
                <a:gd name="connsiteX13" fmla="*/ 27 w 435103"/>
                <a:gd name="connsiteY13" fmla="*/ 217539 h 435077"/>
                <a:gd name="connsiteX14" fmla="*/ 27 w 435103"/>
                <a:gd name="connsiteY14" fmla="*/ 435077 h 435077"/>
                <a:gd name="connsiteX15" fmla="*/ 217565 w 435103"/>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3" h="435077">
                  <a:moveTo>
                    <a:pt x="217539" y="0"/>
                  </a:moveTo>
                  <a:lnTo>
                    <a:pt x="0" y="0"/>
                  </a:lnTo>
                  <a:lnTo>
                    <a:pt x="0" y="217539"/>
                  </a:lnTo>
                  <a:lnTo>
                    <a:pt x="217539" y="0"/>
                  </a:lnTo>
                  <a:close/>
                  <a:moveTo>
                    <a:pt x="435104" y="0"/>
                  </a:moveTo>
                  <a:lnTo>
                    <a:pt x="435104" y="217539"/>
                  </a:lnTo>
                  <a:lnTo>
                    <a:pt x="217565" y="0"/>
                  </a:lnTo>
                  <a:lnTo>
                    <a:pt x="435104" y="0"/>
                  </a:lnTo>
                  <a:close/>
                  <a:moveTo>
                    <a:pt x="217565" y="435077"/>
                  </a:moveTo>
                  <a:lnTo>
                    <a:pt x="435104" y="217539"/>
                  </a:lnTo>
                  <a:lnTo>
                    <a:pt x="435104" y="435077"/>
                  </a:lnTo>
                  <a:lnTo>
                    <a:pt x="217565" y="435077"/>
                  </a:lnTo>
                  <a:close/>
                  <a:moveTo>
                    <a:pt x="217565" y="435077"/>
                  </a:moveTo>
                  <a:lnTo>
                    <a:pt x="27" y="217539"/>
                  </a:lnTo>
                  <a:lnTo>
                    <a:pt x="27" y="435077"/>
                  </a:lnTo>
                  <a:lnTo>
                    <a:pt x="217565" y="435077"/>
                  </a:lnTo>
                  <a:close/>
                </a:path>
              </a:pathLst>
            </a:custGeom>
            <a:grpFill/>
            <a:ln w="27192" cap="flat">
              <a:noFill/>
              <a:prstDash val="solid"/>
              <a:miter/>
            </a:ln>
          </p:spPr>
          <p:txBody>
            <a:bodyPr rtlCol="0" anchor="ctr"/>
            <a:lstStyle/>
            <a:p>
              <a:endParaRPr lang="uk-UA" sz="900"/>
            </a:p>
          </p:txBody>
        </p:sp>
        <p:sp>
          <p:nvSpPr>
            <p:cNvPr id="102" name="Freeform: Shape 101">
              <a:extLst>
                <a:ext uri="{FF2B5EF4-FFF2-40B4-BE49-F238E27FC236}">
                  <a16:creationId xmlns:a16="http://schemas.microsoft.com/office/drawing/2014/main" id="{E2070761-5D13-F1C7-96AB-715E3F9B7458}"/>
                </a:ext>
              </a:extLst>
            </p:cNvPr>
            <p:cNvSpPr/>
            <p:nvPr/>
          </p:nvSpPr>
          <p:spPr>
            <a:xfrm>
              <a:off x="22589856" y="544952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103" name="Freeform: Shape 102">
              <a:extLst>
                <a:ext uri="{FF2B5EF4-FFF2-40B4-BE49-F238E27FC236}">
                  <a16:creationId xmlns:a16="http://schemas.microsoft.com/office/drawing/2014/main" id="{6662584D-94F9-A264-3AE9-1C1F9506E9D8}"/>
                </a:ext>
              </a:extLst>
            </p:cNvPr>
            <p:cNvSpPr/>
            <p:nvPr/>
          </p:nvSpPr>
          <p:spPr>
            <a:xfrm>
              <a:off x="23460039" y="5449529"/>
              <a:ext cx="435077" cy="435077"/>
            </a:xfrm>
            <a:custGeom>
              <a:avLst/>
              <a:gdLst>
                <a:gd name="connsiteX0" fmla="*/ 0 w 435077"/>
                <a:gd name="connsiteY0" fmla="*/ 435077 h 435077"/>
                <a:gd name="connsiteX1" fmla="*/ 217510 w 435077"/>
                <a:gd name="connsiteY1" fmla="*/ 435077 h 435077"/>
                <a:gd name="connsiteX2" fmla="*/ 217510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66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10" y="435077"/>
                  </a:lnTo>
                  <a:lnTo>
                    <a:pt x="217510" y="217539"/>
                  </a:lnTo>
                  <a:lnTo>
                    <a:pt x="0" y="435077"/>
                  </a:lnTo>
                  <a:close/>
                  <a:moveTo>
                    <a:pt x="217539" y="0"/>
                  </a:moveTo>
                  <a:lnTo>
                    <a:pt x="0" y="0"/>
                  </a:lnTo>
                  <a:lnTo>
                    <a:pt x="217539" y="217539"/>
                  </a:lnTo>
                  <a:lnTo>
                    <a:pt x="217539" y="0"/>
                  </a:lnTo>
                  <a:close/>
                  <a:moveTo>
                    <a:pt x="435077" y="435077"/>
                  </a:moveTo>
                  <a:lnTo>
                    <a:pt x="217539" y="435077"/>
                  </a:lnTo>
                  <a:lnTo>
                    <a:pt x="435077" y="217566"/>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104" name="Freeform: Shape 103">
              <a:extLst>
                <a:ext uri="{FF2B5EF4-FFF2-40B4-BE49-F238E27FC236}">
                  <a16:creationId xmlns:a16="http://schemas.microsoft.com/office/drawing/2014/main" id="{A3829954-5A03-8F60-F537-94E6742A18E2}"/>
                </a:ext>
              </a:extLst>
            </p:cNvPr>
            <p:cNvSpPr/>
            <p:nvPr/>
          </p:nvSpPr>
          <p:spPr>
            <a:xfrm>
              <a:off x="24330194" y="544952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p>
          </p:txBody>
        </p:sp>
        <p:sp>
          <p:nvSpPr>
            <p:cNvPr id="105" name="Freeform: Shape 104">
              <a:extLst>
                <a:ext uri="{FF2B5EF4-FFF2-40B4-BE49-F238E27FC236}">
                  <a16:creationId xmlns:a16="http://schemas.microsoft.com/office/drawing/2014/main" id="{A6B97026-7A09-C2FB-D4A0-5D0CFDCA26BF}"/>
                </a:ext>
              </a:extLst>
            </p:cNvPr>
            <p:cNvSpPr/>
            <p:nvPr/>
          </p:nvSpPr>
          <p:spPr>
            <a:xfrm>
              <a:off x="835769" y="6319683"/>
              <a:ext cx="435077" cy="435077"/>
            </a:xfrm>
            <a:custGeom>
              <a:avLst/>
              <a:gdLst>
                <a:gd name="connsiteX0" fmla="*/ 63711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1 w 435077"/>
                <a:gd name="connsiteY6" fmla="*/ 153827 h 435077"/>
                <a:gd name="connsiteX7" fmla="*/ 63711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1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1" y="153827"/>
                  </a:moveTo>
                  <a:cubicBezTo>
                    <a:pt x="22923" y="113038"/>
                    <a:pt x="0" y="57702"/>
                    <a:pt x="0" y="0"/>
                  </a:cubicBezTo>
                  <a:lnTo>
                    <a:pt x="217539" y="0"/>
                  </a:lnTo>
                  <a:lnTo>
                    <a:pt x="435077" y="0"/>
                  </a:lnTo>
                  <a:cubicBezTo>
                    <a:pt x="435077" y="57702"/>
                    <a:pt x="412154" y="113038"/>
                    <a:pt x="371366" y="153827"/>
                  </a:cubicBezTo>
                  <a:cubicBezTo>
                    <a:pt x="330550" y="194616"/>
                    <a:pt x="275213" y="217539"/>
                    <a:pt x="217539" y="217539"/>
                  </a:cubicBezTo>
                  <a:cubicBezTo>
                    <a:pt x="159836" y="217539"/>
                    <a:pt x="104500" y="194616"/>
                    <a:pt x="63711" y="153827"/>
                  </a:cubicBezTo>
                  <a:close/>
                  <a:moveTo>
                    <a:pt x="63711" y="281250"/>
                  </a:moveTo>
                  <a:cubicBezTo>
                    <a:pt x="22923" y="322066"/>
                    <a:pt x="0" y="377375"/>
                    <a:pt x="0" y="435077"/>
                  </a:cubicBezTo>
                  <a:lnTo>
                    <a:pt x="217539" y="435077"/>
                  </a:lnTo>
                  <a:lnTo>
                    <a:pt x="435077" y="435077"/>
                  </a:lnTo>
                  <a:cubicBezTo>
                    <a:pt x="435077" y="377375"/>
                    <a:pt x="412154" y="322066"/>
                    <a:pt x="371366" y="281250"/>
                  </a:cubicBezTo>
                  <a:cubicBezTo>
                    <a:pt x="330550" y="240462"/>
                    <a:pt x="275213" y="217539"/>
                    <a:pt x="217539" y="217539"/>
                  </a:cubicBezTo>
                  <a:cubicBezTo>
                    <a:pt x="159836" y="217539"/>
                    <a:pt x="104500" y="240462"/>
                    <a:pt x="63711" y="281250"/>
                  </a:cubicBezTo>
                  <a:close/>
                </a:path>
              </a:pathLst>
            </a:custGeom>
            <a:grpFill/>
            <a:ln w="27192" cap="flat">
              <a:noFill/>
              <a:prstDash val="solid"/>
              <a:miter/>
            </a:ln>
          </p:spPr>
          <p:txBody>
            <a:bodyPr rtlCol="0" anchor="ctr"/>
            <a:lstStyle/>
            <a:p>
              <a:endParaRPr lang="uk-UA" sz="900"/>
            </a:p>
          </p:txBody>
        </p:sp>
        <p:sp>
          <p:nvSpPr>
            <p:cNvPr id="106" name="Freeform: Shape 105">
              <a:extLst>
                <a:ext uri="{FF2B5EF4-FFF2-40B4-BE49-F238E27FC236}">
                  <a16:creationId xmlns:a16="http://schemas.microsoft.com/office/drawing/2014/main" id="{27A907D0-0295-C30F-F902-A14ECAA61015}"/>
                </a:ext>
              </a:extLst>
            </p:cNvPr>
            <p:cNvSpPr/>
            <p:nvPr/>
          </p:nvSpPr>
          <p:spPr>
            <a:xfrm>
              <a:off x="-34393" y="6319683"/>
              <a:ext cx="435085" cy="435077"/>
            </a:xfrm>
            <a:custGeom>
              <a:avLst/>
              <a:gdLst>
                <a:gd name="connsiteX0" fmla="*/ 435086 w 435085"/>
                <a:gd name="connsiteY0" fmla="*/ 435077 h 435077"/>
                <a:gd name="connsiteX1" fmla="*/ 435086 w 435085"/>
                <a:gd name="connsiteY1" fmla="*/ 0 h 435077"/>
                <a:gd name="connsiteX2" fmla="*/ 217547 w 435085"/>
                <a:gd name="connsiteY2" fmla="*/ 217539 h 435077"/>
                <a:gd name="connsiteX3" fmla="*/ 435086 w 435085"/>
                <a:gd name="connsiteY3" fmla="*/ 435077 h 435077"/>
                <a:gd name="connsiteX4" fmla="*/ 0 w 435085"/>
                <a:gd name="connsiteY4" fmla="*/ 435077 h 435077"/>
                <a:gd name="connsiteX5" fmla="*/ 0 w 435085"/>
                <a:gd name="connsiteY5" fmla="*/ 0 h 435077"/>
                <a:gd name="connsiteX6" fmla="*/ 217520 w 435085"/>
                <a:gd name="connsiteY6" fmla="*/ 217539 h 435077"/>
                <a:gd name="connsiteX7" fmla="*/ 0 w 435085"/>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85" h="435077">
                  <a:moveTo>
                    <a:pt x="435086" y="435077"/>
                  </a:moveTo>
                  <a:lnTo>
                    <a:pt x="435086" y="0"/>
                  </a:lnTo>
                  <a:lnTo>
                    <a:pt x="217547" y="217539"/>
                  </a:lnTo>
                  <a:lnTo>
                    <a:pt x="435086" y="435077"/>
                  </a:lnTo>
                  <a:close/>
                  <a:moveTo>
                    <a:pt x="0" y="435077"/>
                  </a:moveTo>
                  <a:lnTo>
                    <a:pt x="0" y="0"/>
                  </a:lnTo>
                  <a:lnTo>
                    <a:pt x="217520" y="217539"/>
                  </a:lnTo>
                  <a:lnTo>
                    <a:pt x="0" y="435077"/>
                  </a:lnTo>
                  <a:close/>
                </a:path>
              </a:pathLst>
            </a:custGeom>
            <a:grpFill/>
            <a:ln w="27192" cap="flat">
              <a:noFill/>
              <a:prstDash val="solid"/>
              <a:miter/>
            </a:ln>
          </p:spPr>
          <p:txBody>
            <a:bodyPr rtlCol="0" anchor="ctr"/>
            <a:lstStyle/>
            <a:p>
              <a:endParaRPr lang="uk-UA" sz="900"/>
            </a:p>
          </p:txBody>
        </p:sp>
        <p:sp>
          <p:nvSpPr>
            <p:cNvPr id="107" name="Freeform: Shape 106">
              <a:extLst>
                <a:ext uri="{FF2B5EF4-FFF2-40B4-BE49-F238E27FC236}">
                  <a16:creationId xmlns:a16="http://schemas.microsoft.com/office/drawing/2014/main" id="{F44B551E-B2AF-1713-E382-D4F78F562553}"/>
                </a:ext>
              </a:extLst>
            </p:cNvPr>
            <p:cNvSpPr/>
            <p:nvPr/>
          </p:nvSpPr>
          <p:spPr>
            <a:xfrm>
              <a:off x="1705924" y="6319683"/>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6 w 435077"/>
                <a:gd name="connsiteY3" fmla="*/ 27 h 435077"/>
                <a:gd name="connsiteX4" fmla="*/ 435077 w 435077"/>
                <a:gd name="connsiteY4" fmla="*/ 217539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6" y="27"/>
                  </a:lnTo>
                  <a:lnTo>
                    <a:pt x="435077" y="217539"/>
                  </a:lnTo>
                  <a:lnTo>
                    <a:pt x="217566"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108" name="Freeform: Shape 107">
              <a:extLst>
                <a:ext uri="{FF2B5EF4-FFF2-40B4-BE49-F238E27FC236}">
                  <a16:creationId xmlns:a16="http://schemas.microsoft.com/office/drawing/2014/main" id="{347D8746-A387-DA32-EFE6-2A489A99CD93}"/>
                </a:ext>
              </a:extLst>
            </p:cNvPr>
            <p:cNvSpPr/>
            <p:nvPr/>
          </p:nvSpPr>
          <p:spPr>
            <a:xfrm>
              <a:off x="2576106" y="6319683"/>
              <a:ext cx="435077" cy="435077"/>
            </a:xfrm>
            <a:custGeom>
              <a:avLst/>
              <a:gdLst>
                <a:gd name="connsiteX0" fmla="*/ 0 w 435077"/>
                <a:gd name="connsiteY0" fmla="*/ 435077 h 435077"/>
                <a:gd name="connsiteX1" fmla="*/ 0 w 435077"/>
                <a:gd name="connsiteY1" fmla="*/ 0 h 435077"/>
                <a:gd name="connsiteX2" fmla="*/ 217512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12"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109" name="Freeform: Shape 108">
              <a:extLst>
                <a:ext uri="{FF2B5EF4-FFF2-40B4-BE49-F238E27FC236}">
                  <a16:creationId xmlns:a16="http://schemas.microsoft.com/office/drawing/2014/main" id="{1CBC0E8F-2974-5440-D891-ADE5066DFB0A}"/>
                </a:ext>
              </a:extLst>
            </p:cNvPr>
            <p:cNvSpPr/>
            <p:nvPr/>
          </p:nvSpPr>
          <p:spPr>
            <a:xfrm>
              <a:off x="4316416" y="6319683"/>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39 w 435077"/>
                <a:gd name="connsiteY6" fmla="*/ 153827 h 435077"/>
                <a:gd name="connsiteX7" fmla="*/ 63739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0 h 435077"/>
                <a:gd name="connsiteX12" fmla="*/ 217539 w 435077"/>
                <a:gd name="connsiteY12" fmla="*/ 217539 h 435077"/>
                <a:gd name="connsiteX13" fmla="*/ 63739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3" y="113038"/>
                    <a:pt x="0" y="57702"/>
                    <a:pt x="0" y="0"/>
                  </a:cubicBezTo>
                  <a:lnTo>
                    <a:pt x="217539" y="0"/>
                  </a:lnTo>
                  <a:lnTo>
                    <a:pt x="435077" y="0"/>
                  </a:lnTo>
                  <a:cubicBezTo>
                    <a:pt x="435077" y="57702"/>
                    <a:pt x="412181" y="113038"/>
                    <a:pt x="371365" y="153827"/>
                  </a:cubicBezTo>
                  <a:cubicBezTo>
                    <a:pt x="330577" y="194616"/>
                    <a:pt x="275240" y="217539"/>
                    <a:pt x="217539" y="217539"/>
                  </a:cubicBezTo>
                  <a:cubicBezTo>
                    <a:pt x="159864" y="217539"/>
                    <a:pt x="104527" y="194616"/>
                    <a:pt x="63739" y="153827"/>
                  </a:cubicBezTo>
                  <a:close/>
                  <a:moveTo>
                    <a:pt x="63739" y="281250"/>
                  </a:moveTo>
                  <a:cubicBezTo>
                    <a:pt x="22923" y="322066"/>
                    <a:pt x="0" y="377375"/>
                    <a:pt x="0" y="435077"/>
                  </a:cubicBezTo>
                  <a:lnTo>
                    <a:pt x="217539" y="435077"/>
                  </a:lnTo>
                  <a:lnTo>
                    <a:pt x="435077" y="435077"/>
                  </a:lnTo>
                  <a:cubicBezTo>
                    <a:pt x="435077" y="377375"/>
                    <a:pt x="412181" y="322066"/>
                    <a:pt x="371365" y="281250"/>
                  </a:cubicBezTo>
                  <a:cubicBezTo>
                    <a:pt x="330577" y="240462"/>
                    <a:pt x="275240" y="217539"/>
                    <a:pt x="217539" y="217539"/>
                  </a:cubicBezTo>
                  <a:cubicBezTo>
                    <a:pt x="159864" y="217539"/>
                    <a:pt x="104527" y="240462"/>
                    <a:pt x="63739" y="281250"/>
                  </a:cubicBezTo>
                  <a:close/>
                </a:path>
              </a:pathLst>
            </a:custGeom>
            <a:grpFill/>
            <a:ln w="27192" cap="flat">
              <a:noFill/>
              <a:prstDash val="solid"/>
              <a:miter/>
            </a:ln>
          </p:spPr>
          <p:txBody>
            <a:bodyPr rtlCol="0" anchor="ctr"/>
            <a:lstStyle/>
            <a:p>
              <a:endParaRPr lang="uk-UA" sz="900"/>
            </a:p>
          </p:txBody>
        </p:sp>
        <p:sp>
          <p:nvSpPr>
            <p:cNvPr id="110" name="Freeform: Shape 109">
              <a:extLst>
                <a:ext uri="{FF2B5EF4-FFF2-40B4-BE49-F238E27FC236}">
                  <a16:creationId xmlns:a16="http://schemas.microsoft.com/office/drawing/2014/main" id="{D9CD616B-57F0-EA53-C9E7-9E3F9289D719}"/>
                </a:ext>
              </a:extLst>
            </p:cNvPr>
            <p:cNvSpPr/>
            <p:nvPr/>
          </p:nvSpPr>
          <p:spPr>
            <a:xfrm>
              <a:off x="3446261" y="6319683"/>
              <a:ext cx="435077" cy="435077"/>
            </a:xfrm>
            <a:custGeom>
              <a:avLst/>
              <a:gdLst>
                <a:gd name="connsiteX0" fmla="*/ 435077 w 435077"/>
                <a:gd name="connsiteY0" fmla="*/ 435077 h 435077"/>
                <a:gd name="connsiteX1" fmla="*/ 435077 w 435077"/>
                <a:gd name="connsiteY1" fmla="*/ 0 h 435077"/>
                <a:gd name="connsiteX2" fmla="*/ 217566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6"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111" name="Freeform: Shape 110">
              <a:extLst>
                <a:ext uri="{FF2B5EF4-FFF2-40B4-BE49-F238E27FC236}">
                  <a16:creationId xmlns:a16="http://schemas.microsoft.com/office/drawing/2014/main" id="{7AD034AE-B3AA-C091-D91A-6A9030D26ABB}"/>
                </a:ext>
              </a:extLst>
            </p:cNvPr>
            <p:cNvSpPr/>
            <p:nvPr/>
          </p:nvSpPr>
          <p:spPr>
            <a:xfrm>
              <a:off x="5186597" y="6319683"/>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39 w 435077"/>
                <a:gd name="connsiteY3" fmla="*/ 27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39" y="27"/>
                  </a:lnTo>
                  <a:lnTo>
                    <a:pt x="435077" y="217539"/>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112" name="Freeform: Shape 111">
              <a:extLst>
                <a:ext uri="{FF2B5EF4-FFF2-40B4-BE49-F238E27FC236}">
                  <a16:creationId xmlns:a16="http://schemas.microsoft.com/office/drawing/2014/main" id="{2738D716-AB7F-C93F-8461-957D0D3221AC}"/>
                </a:ext>
              </a:extLst>
            </p:cNvPr>
            <p:cNvSpPr/>
            <p:nvPr/>
          </p:nvSpPr>
          <p:spPr>
            <a:xfrm>
              <a:off x="6056752" y="6319683"/>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113" name="Freeform: Shape 112">
              <a:extLst>
                <a:ext uri="{FF2B5EF4-FFF2-40B4-BE49-F238E27FC236}">
                  <a16:creationId xmlns:a16="http://schemas.microsoft.com/office/drawing/2014/main" id="{FF13895C-8052-E72F-0DC0-724BFFAD1A5D}"/>
                </a:ext>
              </a:extLst>
            </p:cNvPr>
            <p:cNvSpPr/>
            <p:nvPr/>
          </p:nvSpPr>
          <p:spPr>
            <a:xfrm>
              <a:off x="7797062" y="6319683"/>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39 w 435077"/>
                <a:gd name="connsiteY6" fmla="*/ 153827 h 435077"/>
                <a:gd name="connsiteX7" fmla="*/ 63739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39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4" y="113038"/>
                    <a:pt x="0" y="57702"/>
                    <a:pt x="0" y="0"/>
                  </a:cubicBezTo>
                  <a:lnTo>
                    <a:pt x="217539" y="0"/>
                  </a:lnTo>
                  <a:lnTo>
                    <a:pt x="435077" y="0"/>
                  </a:lnTo>
                  <a:cubicBezTo>
                    <a:pt x="435077" y="57702"/>
                    <a:pt x="412182" y="113038"/>
                    <a:pt x="371366" y="153827"/>
                  </a:cubicBezTo>
                  <a:cubicBezTo>
                    <a:pt x="330578" y="194616"/>
                    <a:pt x="275241" y="217539"/>
                    <a:pt x="217539" y="217539"/>
                  </a:cubicBezTo>
                  <a:cubicBezTo>
                    <a:pt x="159864" y="217539"/>
                    <a:pt x="104527" y="194616"/>
                    <a:pt x="63739" y="153827"/>
                  </a:cubicBezTo>
                  <a:close/>
                  <a:moveTo>
                    <a:pt x="63739" y="281250"/>
                  </a:moveTo>
                  <a:cubicBezTo>
                    <a:pt x="22924" y="322066"/>
                    <a:pt x="0" y="377375"/>
                    <a:pt x="0" y="435077"/>
                  </a:cubicBezTo>
                  <a:lnTo>
                    <a:pt x="217539" y="435077"/>
                  </a:lnTo>
                  <a:lnTo>
                    <a:pt x="435077" y="435077"/>
                  </a:lnTo>
                  <a:cubicBezTo>
                    <a:pt x="435077" y="377375"/>
                    <a:pt x="412182" y="322066"/>
                    <a:pt x="371366" y="281250"/>
                  </a:cubicBezTo>
                  <a:cubicBezTo>
                    <a:pt x="330578" y="240462"/>
                    <a:pt x="275241" y="217539"/>
                    <a:pt x="217539" y="217539"/>
                  </a:cubicBezTo>
                  <a:cubicBezTo>
                    <a:pt x="159864" y="217539"/>
                    <a:pt x="104527" y="240462"/>
                    <a:pt x="63739" y="281250"/>
                  </a:cubicBezTo>
                  <a:close/>
                </a:path>
              </a:pathLst>
            </a:custGeom>
            <a:grpFill/>
            <a:ln w="27192" cap="flat">
              <a:noFill/>
              <a:prstDash val="solid"/>
              <a:miter/>
            </a:ln>
          </p:spPr>
          <p:txBody>
            <a:bodyPr rtlCol="0" anchor="ctr"/>
            <a:lstStyle/>
            <a:p>
              <a:endParaRPr lang="uk-UA" sz="900"/>
            </a:p>
          </p:txBody>
        </p:sp>
        <p:sp>
          <p:nvSpPr>
            <p:cNvPr id="114" name="Freeform: Shape 113">
              <a:extLst>
                <a:ext uri="{FF2B5EF4-FFF2-40B4-BE49-F238E27FC236}">
                  <a16:creationId xmlns:a16="http://schemas.microsoft.com/office/drawing/2014/main" id="{80562ACF-0859-2C11-B795-CA6AA8C36C68}"/>
                </a:ext>
              </a:extLst>
            </p:cNvPr>
            <p:cNvSpPr/>
            <p:nvPr/>
          </p:nvSpPr>
          <p:spPr>
            <a:xfrm>
              <a:off x="6926907" y="6319683"/>
              <a:ext cx="435077" cy="435077"/>
            </a:xfrm>
            <a:custGeom>
              <a:avLst/>
              <a:gdLst>
                <a:gd name="connsiteX0" fmla="*/ 435077 w 435077"/>
                <a:gd name="connsiteY0" fmla="*/ 435077 h 435077"/>
                <a:gd name="connsiteX1" fmla="*/ 435077 w 435077"/>
                <a:gd name="connsiteY1" fmla="*/ 0 h 435077"/>
                <a:gd name="connsiteX2" fmla="*/ 217566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6"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115" name="Freeform: Shape 114">
              <a:extLst>
                <a:ext uri="{FF2B5EF4-FFF2-40B4-BE49-F238E27FC236}">
                  <a16:creationId xmlns:a16="http://schemas.microsoft.com/office/drawing/2014/main" id="{B026D5C4-08E2-0AB6-156A-CEBAE5E5C16C}"/>
                </a:ext>
              </a:extLst>
            </p:cNvPr>
            <p:cNvSpPr/>
            <p:nvPr/>
          </p:nvSpPr>
          <p:spPr>
            <a:xfrm>
              <a:off x="8667217" y="6319683"/>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6 w 435077"/>
                <a:gd name="connsiteY3" fmla="*/ 27 h 435077"/>
                <a:gd name="connsiteX4" fmla="*/ 435077 w 435077"/>
                <a:gd name="connsiteY4" fmla="*/ 217539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6" y="27"/>
                  </a:lnTo>
                  <a:lnTo>
                    <a:pt x="435077" y="217539"/>
                  </a:lnTo>
                  <a:lnTo>
                    <a:pt x="217566"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116" name="Freeform: Shape 115">
              <a:extLst>
                <a:ext uri="{FF2B5EF4-FFF2-40B4-BE49-F238E27FC236}">
                  <a16:creationId xmlns:a16="http://schemas.microsoft.com/office/drawing/2014/main" id="{007C1708-7274-9AEA-67C4-9321F71872A1}"/>
                </a:ext>
              </a:extLst>
            </p:cNvPr>
            <p:cNvSpPr/>
            <p:nvPr/>
          </p:nvSpPr>
          <p:spPr>
            <a:xfrm>
              <a:off x="9537399" y="6319683"/>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117" name="Freeform: Shape 116">
              <a:extLst>
                <a:ext uri="{FF2B5EF4-FFF2-40B4-BE49-F238E27FC236}">
                  <a16:creationId xmlns:a16="http://schemas.microsoft.com/office/drawing/2014/main" id="{B6B374E6-1AD0-09AF-CBA6-1815B7AEAA02}"/>
                </a:ext>
              </a:extLst>
            </p:cNvPr>
            <p:cNvSpPr/>
            <p:nvPr/>
          </p:nvSpPr>
          <p:spPr>
            <a:xfrm>
              <a:off x="11277709" y="6319683"/>
              <a:ext cx="435077" cy="435077"/>
            </a:xfrm>
            <a:custGeom>
              <a:avLst/>
              <a:gdLst>
                <a:gd name="connsiteX0" fmla="*/ 63710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0 w 435077"/>
                <a:gd name="connsiteY6" fmla="*/ 153827 h 435077"/>
                <a:gd name="connsiteX7" fmla="*/ 63710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0 h 435077"/>
                <a:gd name="connsiteX12" fmla="*/ 217539 w 435077"/>
                <a:gd name="connsiteY12" fmla="*/ 217539 h 435077"/>
                <a:gd name="connsiteX13" fmla="*/ 63710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7"/>
                  </a:moveTo>
                  <a:cubicBezTo>
                    <a:pt x="22922" y="113038"/>
                    <a:pt x="0" y="57702"/>
                    <a:pt x="0" y="0"/>
                  </a:cubicBezTo>
                  <a:lnTo>
                    <a:pt x="217539" y="0"/>
                  </a:lnTo>
                  <a:lnTo>
                    <a:pt x="435077" y="0"/>
                  </a:lnTo>
                  <a:cubicBezTo>
                    <a:pt x="435077" y="57702"/>
                    <a:pt x="412154" y="113038"/>
                    <a:pt x="371365" y="153827"/>
                  </a:cubicBezTo>
                  <a:cubicBezTo>
                    <a:pt x="330549" y="194616"/>
                    <a:pt x="275239" y="217539"/>
                    <a:pt x="217539" y="217539"/>
                  </a:cubicBezTo>
                  <a:cubicBezTo>
                    <a:pt x="159836" y="217539"/>
                    <a:pt x="104499" y="194616"/>
                    <a:pt x="63710" y="153827"/>
                  </a:cubicBezTo>
                  <a:close/>
                  <a:moveTo>
                    <a:pt x="63710" y="281250"/>
                  </a:moveTo>
                  <a:cubicBezTo>
                    <a:pt x="22922" y="322066"/>
                    <a:pt x="0" y="377375"/>
                    <a:pt x="0" y="435077"/>
                  </a:cubicBezTo>
                  <a:lnTo>
                    <a:pt x="217539" y="435077"/>
                  </a:lnTo>
                  <a:lnTo>
                    <a:pt x="435077" y="435077"/>
                  </a:lnTo>
                  <a:cubicBezTo>
                    <a:pt x="435077" y="377375"/>
                    <a:pt x="412154" y="322066"/>
                    <a:pt x="371365" y="281250"/>
                  </a:cubicBezTo>
                  <a:cubicBezTo>
                    <a:pt x="330549" y="240462"/>
                    <a:pt x="275239" y="217539"/>
                    <a:pt x="217539" y="217539"/>
                  </a:cubicBezTo>
                  <a:cubicBezTo>
                    <a:pt x="159836" y="217539"/>
                    <a:pt x="104499" y="240462"/>
                    <a:pt x="63710" y="281250"/>
                  </a:cubicBezTo>
                  <a:close/>
                </a:path>
              </a:pathLst>
            </a:custGeom>
            <a:grpFill/>
            <a:ln w="27192" cap="flat">
              <a:noFill/>
              <a:prstDash val="solid"/>
              <a:miter/>
            </a:ln>
          </p:spPr>
          <p:txBody>
            <a:bodyPr rtlCol="0" anchor="ctr"/>
            <a:lstStyle/>
            <a:p>
              <a:endParaRPr lang="uk-UA" sz="900"/>
            </a:p>
          </p:txBody>
        </p:sp>
        <p:sp>
          <p:nvSpPr>
            <p:cNvPr id="118" name="Freeform: Shape 117">
              <a:extLst>
                <a:ext uri="{FF2B5EF4-FFF2-40B4-BE49-F238E27FC236}">
                  <a16:creationId xmlns:a16="http://schemas.microsoft.com/office/drawing/2014/main" id="{3E0F135A-DB2C-194D-A100-D65EF9BF5DD5}"/>
                </a:ext>
              </a:extLst>
            </p:cNvPr>
            <p:cNvSpPr/>
            <p:nvPr/>
          </p:nvSpPr>
          <p:spPr>
            <a:xfrm>
              <a:off x="10407554" y="631968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1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1" y="217539"/>
                  </a:lnTo>
                  <a:lnTo>
                    <a:pt x="0" y="435077"/>
                  </a:lnTo>
                  <a:close/>
                </a:path>
              </a:pathLst>
            </a:custGeom>
            <a:grpFill/>
            <a:ln w="27192" cap="flat">
              <a:noFill/>
              <a:prstDash val="solid"/>
              <a:miter/>
            </a:ln>
          </p:spPr>
          <p:txBody>
            <a:bodyPr rtlCol="0" anchor="ctr"/>
            <a:lstStyle/>
            <a:p>
              <a:endParaRPr lang="uk-UA" sz="900"/>
            </a:p>
          </p:txBody>
        </p:sp>
        <p:sp>
          <p:nvSpPr>
            <p:cNvPr id="119" name="Freeform: Shape 118">
              <a:extLst>
                <a:ext uri="{FF2B5EF4-FFF2-40B4-BE49-F238E27FC236}">
                  <a16:creationId xmlns:a16="http://schemas.microsoft.com/office/drawing/2014/main" id="{DB40C623-4C8E-63B3-54B0-3DCD5494B29E}"/>
                </a:ext>
              </a:extLst>
            </p:cNvPr>
            <p:cNvSpPr/>
            <p:nvPr/>
          </p:nvSpPr>
          <p:spPr>
            <a:xfrm>
              <a:off x="12147864" y="6319683"/>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5 w 435077"/>
                <a:gd name="connsiteY3" fmla="*/ 27 h 435077"/>
                <a:gd name="connsiteX4" fmla="*/ 435077 w 435077"/>
                <a:gd name="connsiteY4" fmla="*/ 217539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5" y="27"/>
                  </a:lnTo>
                  <a:lnTo>
                    <a:pt x="435077" y="217539"/>
                  </a:lnTo>
                  <a:lnTo>
                    <a:pt x="217565"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120" name="Freeform: Shape 119">
              <a:extLst>
                <a:ext uri="{FF2B5EF4-FFF2-40B4-BE49-F238E27FC236}">
                  <a16:creationId xmlns:a16="http://schemas.microsoft.com/office/drawing/2014/main" id="{053E3283-1A39-361E-3386-DF4B9129FD15}"/>
                </a:ext>
              </a:extLst>
            </p:cNvPr>
            <p:cNvSpPr/>
            <p:nvPr/>
          </p:nvSpPr>
          <p:spPr>
            <a:xfrm>
              <a:off x="13018045" y="6319683"/>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121" name="Freeform: Shape 120">
              <a:extLst>
                <a:ext uri="{FF2B5EF4-FFF2-40B4-BE49-F238E27FC236}">
                  <a16:creationId xmlns:a16="http://schemas.microsoft.com/office/drawing/2014/main" id="{5491CCBD-A2F4-21D2-5533-23DA2BFEAF93}"/>
                </a:ext>
              </a:extLst>
            </p:cNvPr>
            <p:cNvSpPr/>
            <p:nvPr/>
          </p:nvSpPr>
          <p:spPr>
            <a:xfrm>
              <a:off x="14758382" y="631968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8"/>
                    <a:pt x="0" y="57702"/>
                    <a:pt x="0" y="0"/>
                  </a:cubicBezTo>
                  <a:lnTo>
                    <a:pt x="217539" y="0"/>
                  </a:lnTo>
                  <a:lnTo>
                    <a:pt x="435077" y="0"/>
                  </a:lnTo>
                  <a:cubicBezTo>
                    <a:pt x="435077" y="57702"/>
                    <a:pt x="412155" y="113038"/>
                    <a:pt x="371367" y="153827"/>
                  </a:cubicBezTo>
                  <a:cubicBezTo>
                    <a:pt x="330550" y="194616"/>
                    <a:pt x="275241" y="217539"/>
                    <a:pt x="217539" y="217539"/>
                  </a:cubicBezTo>
                  <a:cubicBezTo>
                    <a:pt x="159836" y="217539"/>
                    <a:pt x="104501" y="194616"/>
                    <a:pt x="63712" y="153827"/>
                  </a:cubicBezTo>
                  <a:close/>
                  <a:moveTo>
                    <a:pt x="63712" y="281250"/>
                  </a:moveTo>
                  <a:cubicBezTo>
                    <a:pt x="22924" y="322066"/>
                    <a:pt x="0" y="377375"/>
                    <a:pt x="0" y="435077"/>
                  </a:cubicBezTo>
                  <a:lnTo>
                    <a:pt x="217539" y="435077"/>
                  </a:lnTo>
                  <a:lnTo>
                    <a:pt x="435077" y="435077"/>
                  </a:lnTo>
                  <a:cubicBezTo>
                    <a:pt x="435077" y="377375"/>
                    <a:pt x="412155" y="322066"/>
                    <a:pt x="371367" y="281250"/>
                  </a:cubicBezTo>
                  <a:cubicBezTo>
                    <a:pt x="330550" y="240462"/>
                    <a:pt x="275241" y="217539"/>
                    <a:pt x="217539" y="217539"/>
                  </a:cubicBezTo>
                  <a:cubicBezTo>
                    <a:pt x="159836" y="217539"/>
                    <a:pt x="104501" y="240462"/>
                    <a:pt x="63712" y="281250"/>
                  </a:cubicBezTo>
                  <a:close/>
                </a:path>
              </a:pathLst>
            </a:custGeom>
            <a:grpFill/>
            <a:ln w="27192" cap="flat">
              <a:noFill/>
              <a:prstDash val="solid"/>
              <a:miter/>
            </a:ln>
          </p:spPr>
          <p:txBody>
            <a:bodyPr rtlCol="0" anchor="ctr"/>
            <a:lstStyle/>
            <a:p>
              <a:endParaRPr lang="uk-UA" sz="900"/>
            </a:p>
          </p:txBody>
        </p:sp>
        <p:sp>
          <p:nvSpPr>
            <p:cNvPr id="122" name="Freeform: Shape 121">
              <a:extLst>
                <a:ext uri="{FF2B5EF4-FFF2-40B4-BE49-F238E27FC236}">
                  <a16:creationId xmlns:a16="http://schemas.microsoft.com/office/drawing/2014/main" id="{86C8EFB7-28CE-BCFA-732F-E6685C5356B7}"/>
                </a:ext>
              </a:extLst>
            </p:cNvPr>
            <p:cNvSpPr/>
            <p:nvPr/>
          </p:nvSpPr>
          <p:spPr>
            <a:xfrm>
              <a:off x="13888227" y="631968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123" name="Freeform: Shape 122">
              <a:extLst>
                <a:ext uri="{FF2B5EF4-FFF2-40B4-BE49-F238E27FC236}">
                  <a16:creationId xmlns:a16="http://schemas.microsoft.com/office/drawing/2014/main" id="{16B305EA-3ED5-35FC-4849-DC5A7BCA3374}"/>
                </a:ext>
              </a:extLst>
            </p:cNvPr>
            <p:cNvSpPr/>
            <p:nvPr/>
          </p:nvSpPr>
          <p:spPr>
            <a:xfrm>
              <a:off x="15628536" y="6319683"/>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7 w 435077"/>
                <a:gd name="connsiteY3" fmla="*/ 27 h 435077"/>
                <a:gd name="connsiteX4" fmla="*/ 435077 w 435077"/>
                <a:gd name="connsiteY4" fmla="*/ 217539 h 435077"/>
                <a:gd name="connsiteX5" fmla="*/ 217567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7" y="27"/>
                  </a:lnTo>
                  <a:lnTo>
                    <a:pt x="435077" y="217539"/>
                  </a:lnTo>
                  <a:lnTo>
                    <a:pt x="217567"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124" name="Freeform: Shape 123">
              <a:extLst>
                <a:ext uri="{FF2B5EF4-FFF2-40B4-BE49-F238E27FC236}">
                  <a16:creationId xmlns:a16="http://schemas.microsoft.com/office/drawing/2014/main" id="{D0DD2CAF-DC5A-A395-6D07-4C716FEC75A6}"/>
                </a:ext>
              </a:extLst>
            </p:cNvPr>
            <p:cNvSpPr/>
            <p:nvPr/>
          </p:nvSpPr>
          <p:spPr>
            <a:xfrm>
              <a:off x="16498719" y="6319683"/>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125" name="Freeform: Shape 124">
              <a:extLst>
                <a:ext uri="{FF2B5EF4-FFF2-40B4-BE49-F238E27FC236}">
                  <a16:creationId xmlns:a16="http://schemas.microsoft.com/office/drawing/2014/main" id="{B9B9FC52-6175-DA7A-821A-7A26F1CAB639}"/>
                </a:ext>
              </a:extLst>
            </p:cNvPr>
            <p:cNvSpPr/>
            <p:nvPr/>
          </p:nvSpPr>
          <p:spPr>
            <a:xfrm>
              <a:off x="18239029" y="6319683"/>
              <a:ext cx="435077" cy="435077"/>
            </a:xfrm>
            <a:custGeom>
              <a:avLst/>
              <a:gdLst>
                <a:gd name="connsiteX0" fmla="*/ 63710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0 w 435077"/>
                <a:gd name="connsiteY6" fmla="*/ 153827 h 435077"/>
                <a:gd name="connsiteX7" fmla="*/ 63710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0 h 435077"/>
                <a:gd name="connsiteX12" fmla="*/ 217539 w 435077"/>
                <a:gd name="connsiteY12" fmla="*/ 217539 h 435077"/>
                <a:gd name="connsiteX13" fmla="*/ 63710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7"/>
                  </a:moveTo>
                  <a:cubicBezTo>
                    <a:pt x="22922" y="113038"/>
                    <a:pt x="0" y="57702"/>
                    <a:pt x="0" y="0"/>
                  </a:cubicBezTo>
                  <a:lnTo>
                    <a:pt x="217539" y="0"/>
                  </a:lnTo>
                  <a:lnTo>
                    <a:pt x="435077" y="0"/>
                  </a:lnTo>
                  <a:cubicBezTo>
                    <a:pt x="435077" y="57702"/>
                    <a:pt x="412154" y="113038"/>
                    <a:pt x="371365" y="153827"/>
                  </a:cubicBezTo>
                  <a:cubicBezTo>
                    <a:pt x="330577" y="194616"/>
                    <a:pt x="275241" y="217539"/>
                    <a:pt x="217539" y="217539"/>
                  </a:cubicBezTo>
                  <a:cubicBezTo>
                    <a:pt x="159836" y="217539"/>
                    <a:pt x="104527" y="194616"/>
                    <a:pt x="63710" y="153827"/>
                  </a:cubicBezTo>
                  <a:close/>
                  <a:moveTo>
                    <a:pt x="63710" y="281250"/>
                  </a:moveTo>
                  <a:cubicBezTo>
                    <a:pt x="22922" y="322066"/>
                    <a:pt x="0" y="377375"/>
                    <a:pt x="0" y="435077"/>
                  </a:cubicBezTo>
                  <a:lnTo>
                    <a:pt x="217539" y="435077"/>
                  </a:lnTo>
                  <a:lnTo>
                    <a:pt x="435077" y="435077"/>
                  </a:lnTo>
                  <a:cubicBezTo>
                    <a:pt x="435077" y="377375"/>
                    <a:pt x="412154" y="322066"/>
                    <a:pt x="371365" y="281250"/>
                  </a:cubicBezTo>
                  <a:cubicBezTo>
                    <a:pt x="330577" y="240462"/>
                    <a:pt x="275241" y="217539"/>
                    <a:pt x="217539" y="217539"/>
                  </a:cubicBezTo>
                  <a:cubicBezTo>
                    <a:pt x="159836" y="217539"/>
                    <a:pt x="104527" y="240462"/>
                    <a:pt x="63710" y="281250"/>
                  </a:cubicBezTo>
                  <a:close/>
                </a:path>
              </a:pathLst>
            </a:custGeom>
            <a:grpFill/>
            <a:ln w="27192" cap="flat">
              <a:noFill/>
              <a:prstDash val="solid"/>
              <a:miter/>
            </a:ln>
          </p:spPr>
          <p:txBody>
            <a:bodyPr rtlCol="0" anchor="ctr"/>
            <a:lstStyle/>
            <a:p>
              <a:endParaRPr lang="uk-UA" sz="900"/>
            </a:p>
          </p:txBody>
        </p:sp>
        <p:sp>
          <p:nvSpPr>
            <p:cNvPr id="126" name="Freeform: Shape 125">
              <a:extLst>
                <a:ext uri="{FF2B5EF4-FFF2-40B4-BE49-F238E27FC236}">
                  <a16:creationId xmlns:a16="http://schemas.microsoft.com/office/drawing/2014/main" id="{79AA288C-F188-E036-B07D-EA608AE45E62}"/>
                </a:ext>
              </a:extLst>
            </p:cNvPr>
            <p:cNvSpPr/>
            <p:nvPr/>
          </p:nvSpPr>
          <p:spPr>
            <a:xfrm>
              <a:off x="17368874" y="631968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0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0" y="217539"/>
                  </a:lnTo>
                  <a:lnTo>
                    <a:pt x="0" y="435077"/>
                  </a:lnTo>
                  <a:close/>
                </a:path>
              </a:pathLst>
            </a:custGeom>
            <a:grpFill/>
            <a:ln w="27192" cap="flat">
              <a:noFill/>
              <a:prstDash val="solid"/>
              <a:miter/>
            </a:ln>
          </p:spPr>
          <p:txBody>
            <a:bodyPr rtlCol="0" anchor="ctr"/>
            <a:lstStyle/>
            <a:p>
              <a:endParaRPr lang="uk-UA" sz="900"/>
            </a:p>
          </p:txBody>
        </p:sp>
        <p:sp>
          <p:nvSpPr>
            <p:cNvPr id="127" name="Freeform: Shape 126">
              <a:extLst>
                <a:ext uri="{FF2B5EF4-FFF2-40B4-BE49-F238E27FC236}">
                  <a16:creationId xmlns:a16="http://schemas.microsoft.com/office/drawing/2014/main" id="{D925485D-289C-F1AE-311E-E2E0DBA17C54}"/>
                </a:ext>
              </a:extLst>
            </p:cNvPr>
            <p:cNvSpPr/>
            <p:nvPr/>
          </p:nvSpPr>
          <p:spPr>
            <a:xfrm>
              <a:off x="19109210" y="6319683"/>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39 w 435077"/>
                <a:gd name="connsiteY3" fmla="*/ 27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39" y="27"/>
                  </a:lnTo>
                  <a:lnTo>
                    <a:pt x="435077" y="217539"/>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128" name="Freeform: Shape 127">
              <a:extLst>
                <a:ext uri="{FF2B5EF4-FFF2-40B4-BE49-F238E27FC236}">
                  <a16:creationId xmlns:a16="http://schemas.microsoft.com/office/drawing/2014/main" id="{580DAB8D-470C-C311-7C8A-4B52669582B5}"/>
                </a:ext>
              </a:extLst>
            </p:cNvPr>
            <p:cNvSpPr/>
            <p:nvPr/>
          </p:nvSpPr>
          <p:spPr>
            <a:xfrm>
              <a:off x="19979365" y="6319683"/>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129" name="Freeform: Shape 128">
              <a:extLst>
                <a:ext uri="{FF2B5EF4-FFF2-40B4-BE49-F238E27FC236}">
                  <a16:creationId xmlns:a16="http://schemas.microsoft.com/office/drawing/2014/main" id="{763FAD3A-6B59-6CA6-881E-6D0D6128CF18}"/>
                </a:ext>
              </a:extLst>
            </p:cNvPr>
            <p:cNvSpPr/>
            <p:nvPr/>
          </p:nvSpPr>
          <p:spPr>
            <a:xfrm>
              <a:off x="21719702" y="631968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897" y="113038"/>
                    <a:pt x="0" y="57702"/>
                    <a:pt x="0" y="0"/>
                  </a:cubicBezTo>
                  <a:lnTo>
                    <a:pt x="217539" y="0"/>
                  </a:lnTo>
                  <a:lnTo>
                    <a:pt x="435077" y="0"/>
                  </a:lnTo>
                  <a:cubicBezTo>
                    <a:pt x="435077" y="57702"/>
                    <a:pt x="412155" y="113038"/>
                    <a:pt x="371339" y="153827"/>
                  </a:cubicBezTo>
                  <a:cubicBezTo>
                    <a:pt x="330550" y="194616"/>
                    <a:pt x="275215" y="217539"/>
                    <a:pt x="217539" y="217539"/>
                  </a:cubicBezTo>
                  <a:cubicBezTo>
                    <a:pt x="159838" y="217539"/>
                    <a:pt x="104501" y="194616"/>
                    <a:pt x="63712" y="153827"/>
                  </a:cubicBezTo>
                  <a:close/>
                  <a:moveTo>
                    <a:pt x="63712" y="281250"/>
                  </a:moveTo>
                  <a:cubicBezTo>
                    <a:pt x="22897" y="322066"/>
                    <a:pt x="0" y="377375"/>
                    <a:pt x="0" y="435077"/>
                  </a:cubicBezTo>
                  <a:lnTo>
                    <a:pt x="217539" y="435077"/>
                  </a:lnTo>
                  <a:lnTo>
                    <a:pt x="435077" y="435077"/>
                  </a:lnTo>
                  <a:cubicBezTo>
                    <a:pt x="435077" y="377375"/>
                    <a:pt x="412155" y="322066"/>
                    <a:pt x="371339" y="281250"/>
                  </a:cubicBezTo>
                  <a:cubicBezTo>
                    <a:pt x="330550" y="240462"/>
                    <a:pt x="275215" y="217539"/>
                    <a:pt x="217539" y="217539"/>
                  </a:cubicBezTo>
                  <a:cubicBezTo>
                    <a:pt x="159838" y="217539"/>
                    <a:pt x="104501" y="240462"/>
                    <a:pt x="63712" y="281250"/>
                  </a:cubicBezTo>
                  <a:close/>
                </a:path>
              </a:pathLst>
            </a:custGeom>
            <a:grpFill/>
            <a:ln w="27192" cap="flat">
              <a:noFill/>
              <a:prstDash val="solid"/>
              <a:miter/>
            </a:ln>
          </p:spPr>
          <p:txBody>
            <a:bodyPr rtlCol="0" anchor="ctr"/>
            <a:lstStyle/>
            <a:p>
              <a:endParaRPr lang="uk-UA" sz="900"/>
            </a:p>
          </p:txBody>
        </p:sp>
        <p:sp>
          <p:nvSpPr>
            <p:cNvPr id="130" name="Freeform: Shape 129">
              <a:extLst>
                <a:ext uri="{FF2B5EF4-FFF2-40B4-BE49-F238E27FC236}">
                  <a16:creationId xmlns:a16="http://schemas.microsoft.com/office/drawing/2014/main" id="{283C5788-3EA5-84DD-A909-14FF3008D298}"/>
                </a:ext>
              </a:extLst>
            </p:cNvPr>
            <p:cNvSpPr/>
            <p:nvPr/>
          </p:nvSpPr>
          <p:spPr>
            <a:xfrm>
              <a:off x="20849520" y="6319683"/>
              <a:ext cx="435077" cy="435077"/>
            </a:xfrm>
            <a:custGeom>
              <a:avLst/>
              <a:gdLst>
                <a:gd name="connsiteX0" fmla="*/ 435077 w 435077"/>
                <a:gd name="connsiteY0" fmla="*/ 435077 h 435077"/>
                <a:gd name="connsiteX1" fmla="*/ 435077 w 435077"/>
                <a:gd name="connsiteY1" fmla="*/ 0 h 435077"/>
                <a:gd name="connsiteX2" fmla="*/ 217565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131" name="Freeform: Shape 130">
              <a:extLst>
                <a:ext uri="{FF2B5EF4-FFF2-40B4-BE49-F238E27FC236}">
                  <a16:creationId xmlns:a16="http://schemas.microsoft.com/office/drawing/2014/main" id="{43C06A91-EFEB-C668-5266-77B67716AAD6}"/>
                </a:ext>
              </a:extLst>
            </p:cNvPr>
            <p:cNvSpPr/>
            <p:nvPr/>
          </p:nvSpPr>
          <p:spPr>
            <a:xfrm>
              <a:off x="22589856" y="6319683"/>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7 w 435077"/>
                <a:gd name="connsiteY3" fmla="*/ 27 h 435077"/>
                <a:gd name="connsiteX4" fmla="*/ 435077 w 435077"/>
                <a:gd name="connsiteY4" fmla="*/ 217539 h 435077"/>
                <a:gd name="connsiteX5" fmla="*/ 217567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7" y="27"/>
                  </a:lnTo>
                  <a:lnTo>
                    <a:pt x="435077" y="217539"/>
                  </a:lnTo>
                  <a:lnTo>
                    <a:pt x="217567"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132" name="Freeform: Shape 131">
              <a:extLst>
                <a:ext uri="{FF2B5EF4-FFF2-40B4-BE49-F238E27FC236}">
                  <a16:creationId xmlns:a16="http://schemas.microsoft.com/office/drawing/2014/main" id="{242F580B-63C6-DB7F-F10E-4EF445B0B936}"/>
                </a:ext>
              </a:extLst>
            </p:cNvPr>
            <p:cNvSpPr/>
            <p:nvPr/>
          </p:nvSpPr>
          <p:spPr>
            <a:xfrm>
              <a:off x="23460039" y="6319683"/>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133" name="Freeform: Shape 132">
              <a:extLst>
                <a:ext uri="{FF2B5EF4-FFF2-40B4-BE49-F238E27FC236}">
                  <a16:creationId xmlns:a16="http://schemas.microsoft.com/office/drawing/2014/main" id="{4FD2EF04-0E63-83C9-FCB3-49CBD45B32D2}"/>
                </a:ext>
              </a:extLst>
            </p:cNvPr>
            <p:cNvSpPr/>
            <p:nvPr/>
          </p:nvSpPr>
          <p:spPr>
            <a:xfrm>
              <a:off x="24330194" y="631968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134" name="Freeform: Shape 133">
              <a:extLst>
                <a:ext uri="{FF2B5EF4-FFF2-40B4-BE49-F238E27FC236}">
                  <a16:creationId xmlns:a16="http://schemas.microsoft.com/office/drawing/2014/main" id="{FFFED09C-E787-D92D-8C8A-C9FA07B0BD7D}"/>
                </a:ext>
              </a:extLst>
            </p:cNvPr>
            <p:cNvSpPr/>
            <p:nvPr/>
          </p:nvSpPr>
          <p:spPr>
            <a:xfrm>
              <a:off x="835769" y="196890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135" name="Freeform: Shape 134">
              <a:extLst>
                <a:ext uri="{FF2B5EF4-FFF2-40B4-BE49-F238E27FC236}">
                  <a16:creationId xmlns:a16="http://schemas.microsoft.com/office/drawing/2014/main" id="{D9D4C8CB-1A95-5C03-D16C-B21E87416E6D}"/>
                </a:ext>
              </a:extLst>
            </p:cNvPr>
            <p:cNvSpPr/>
            <p:nvPr/>
          </p:nvSpPr>
          <p:spPr>
            <a:xfrm>
              <a:off x="-34398" y="1968909"/>
              <a:ext cx="435063" cy="435077"/>
            </a:xfrm>
            <a:custGeom>
              <a:avLst/>
              <a:gdLst>
                <a:gd name="connsiteX0" fmla="*/ 0 w 435063"/>
                <a:gd name="connsiteY0" fmla="*/ 435075 h 435077"/>
                <a:gd name="connsiteX1" fmla="*/ 217525 w 435063"/>
                <a:gd name="connsiteY1" fmla="*/ 435075 h 435077"/>
                <a:gd name="connsiteX2" fmla="*/ 217525 w 435063"/>
                <a:gd name="connsiteY2" fmla="*/ 217547 h 435077"/>
                <a:gd name="connsiteX3" fmla="*/ 0 w 435063"/>
                <a:gd name="connsiteY3" fmla="*/ 435075 h 435077"/>
                <a:gd name="connsiteX4" fmla="*/ 217525 w 435063"/>
                <a:gd name="connsiteY4" fmla="*/ 0 h 435077"/>
                <a:gd name="connsiteX5" fmla="*/ 3 w 435063"/>
                <a:gd name="connsiteY5" fmla="*/ 0 h 435077"/>
                <a:gd name="connsiteX6" fmla="*/ 217525 w 435063"/>
                <a:gd name="connsiteY6" fmla="*/ 217528 h 435077"/>
                <a:gd name="connsiteX7" fmla="*/ 217525 w 435063"/>
                <a:gd name="connsiteY7" fmla="*/ 0 h 435077"/>
                <a:gd name="connsiteX8" fmla="*/ 435064 w 435063"/>
                <a:gd name="connsiteY8" fmla="*/ 435077 h 435077"/>
                <a:gd name="connsiteX9" fmla="*/ 217552 w 435063"/>
                <a:gd name="connsiteY9" fmla="*/ 435077 h 435077"/>
                <a:gd name="connsiteX10" fmla="*/ 435064 w 435063"/>
                <a:gd name="connsiteY10" fmla="*/ 217547 h 435077"/>
                <a:gd name="connsiteX11" fmla="*/ 435064 w 435063"/>
                <a:gd name="connsiteY11" fmla="*/ 435077 h 435077"/>
                <a:gd name="connsiteX12" fmla="*/ 435064 w 435063"/>
                <a:gd name="connsiteY12" fmla="*/ 3 h 435077"/>
                <a:gd name="connsiteX13" fmla="*/ 217552 w 435063"/>
                <a:gd name="connsiteY13" fmla="*/ 3 h 435077"/>
                <a:gd name="connsiteX14" fmla="*/ 435064 w 435063"/>
                <a:gd name="connsiteY14" fmla="*/ 217531 h 435077"/>
                <a:gd name="connsiteX15" fmla="*/ 435064 w 435063"/>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63" h="435077">
                  <a:moveTo>
                    <a:pt x="0" y="435075"/>
                  </a:moveTo>
                  <a:lnTo>
                    <a:pt x="217525" y="435075"/>
                  </a:lnTo>
                  <a:lnTo>
                    <a:pt x="217525" y="217547"/>
                  </a:lnTo>
                  <a:lnTo>
                    <a:pt x="0" y="435075"/>
                  </a:lnTo>
                  <a:close/>
                  <a:moveTo>
                    <a:pt x="217525" y="0"/>
                  </a:moveTo>
                  <a:lnTo>
                    <a:pt x="3" y="0"/>
                  </a:lnTo>
                  <a:lnTo>
                    <a:pt x="217525" y="217528"/>
                  </a:lnTo>
                  <a:lnTo>
                    <a:pt x="217525" y="0"/>
                  </a:lnTo>
                  <a:close/>
                  <a:moveTo>
                    <a:pt x="435064" y="435077"/>
                  </a:moveTo>
                  <a:lnTo>
                    <a:pt x="217552" y="435077"/>
                  </a:lnTo>
                  <a:lnTo>
                    <a:pt x="435064" y="217547"/>
                  </a:lnTo>
                  <a:lnTo>
                    <a:pt x="435064" y="435077"/>
                  </a:lnTo>
                  <a:close/>
                  <a:moveTo>
                    <a:pt x="435064" y="3"/>
                  </a:moveTo>
                  <a:lnTo>
                    <a:pt x="217552" y="3"/>
                  </a:lnTo>
                  <a:lnTo>
                    <a:pt x="435064" y="217531"/>
                  </a:lnTo>
                  <a:lnTo>
                    <a:pt x="435064" y="3"/>
                  </a:lnTo>
                  <a:close/>
                </a:path>
              </a:pathLst>
            </a:custGeom>
            <a:grpFill/>
            <a:ln w="27192" cap="flat">
              <a:noFill/>
              <a:prstDash val="solid"/>
              <a:miter/>
            </a:ln>
          </p:spPr>
          <p:txBody>
            <a:bodyPr rtlCol="0" anchor="ctr"/>
            <a:lstStyle/>
            <a:p>
              <a:endParaRPr lang="uk-UA" sz="900"/>
            </a:p>
          </p:txBody>
        </p:sp>
        <p:sp>
          <p:nvSpPr>
            <p:cNvPr id="136" name="Freeform: Shape 135">
              <a:extLst>
                <a:ext uri="{FF2B5EF4-FFF2-40B4-BE49-F238E27FC236}">
                  <a16:creationId xmlns:a16="http://schemas.microsoft.com/office/drawing/2014/main" id="{9457E08C-E62B-04F0-7C93-D85EB2CE80CF}"/>
                </a:ext>
              </a:extLst>
            </p:cNvPr>
            <p:cNvSpPr/>
            <p:nvPr/>
          </p:nvSpPr>
          <p:spPr>
            <a:xfrm>
              <a:off x="1705924" y="1968909"/>
              <a:ext cx="435077" cy="435077"/>
            </a:xfrm>
            <a:custGeom>
              <a:avLst/>
              <a:gdLst>
                <a:gd name="connsiteX0" fmla="*/ 371366 w 435077"/>
                <a:gd name="connsiteY0" fmla="*/ 63714 h 435077"/>
                <a:gd name="connsiteX1" fmla="*/ 435077 w 435077"/>
                <a:gd name="connsiteY1" fmla="*/ 217539 h 435077"/>
                <a:gd name="connsiteX2" fmla="*/ 217729 w 435077"/>
                <a:gd name="connsiteY2" fmla="*/ 217539 h 435077"/>
                <a:gd name="connsiteX3" fmla="*/ 371366 w 435077"/>
                <a:gd name="connsiteY3" fmla="*/ 281253 h 435077"/>
                <a:gd name="connsiteX4" fmla="*/ 435077 w 435077"/>
                <a:gd name="connsiteY4" fmla="*/ 435077 h 435077"/>
                <a:gd name="connsiteX5" fmla="*/ 217539 w 435077"/>
                <a:gd name="connsiteY5" fmla="*/ 435077 h 435077"/>
                <a:gd name="connsiteX6" fmla="*/ 0 w 435077"/>
                <a:gd name="connsiteY6" fmla="*/ 435077 h 435077"/>
                <a:gd name="connsiteX7" fmla="*/ 63711 w 435077"/>
                <a:gd name="connsiteY7" fmla="*/ 281253 h 435077"/>
                <a:gd name="connsiteX8" fmla="*/ 217375 w 435077"/>
                <a:gd name="connsiteY8" fmla="*/ 217539 h 435077"/>
                <a:gd name="connsiteX9" fmla="*/ 0 w 435077"/>
                <a:gd name="connsiteY9" fmla="*/ 217539 h 435077"/>
                <a:gd name="connsiteX10" fmla="*/ 63711 w 435077"/>
                <a:gd name="connsiteY10" fmla="*/ 63714 h 435077"/>
                <a:gd name="connsiteX11" fmla="*/ 217539 w 435077"/>
                <a:gd name="connsiteY11" fmla="*/ 0 h 435077"/>
                <a:gd name="connsiteX12" fmla="*/ 371366 w 435077"/>
                <a:gd name="connsiteY12" fmla="*/ 63714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4"/>
                  </a:moveTo>
                  <a:cubicBezTo>
                    <a:pt x="412154" y="104511"/>
                    <a:pt x="435077" y="159842"/>
                    <a:pt x="435077" y="217539"/>
                  </a:cubicBezTo>
                  <a:lnTo>
                    <a:pt x="217729" y="217539"/>
                  </a:lnTo>
                  <a:cubicBezTo>
                    <a:pt x="275349" y="217582"/>
                    <a:pt x="330604" y="240497"/>
                    <a:pt x="371366" y="281253"/>
                  </a:cubicBezTo>
                  <a:cubicBezTo>
                    <a:pt x="412154" y="322050"/>
                    <a:pt x="435077" y="377381"/>
                    <a:pt x="435077" y="435077"/>
                  </a:cubicBezTo>
                  <a:lnTo>
                    <a:pt x="217539" y="435077"/>
                  </a:lnTo>
                  <a:lnTo>
                    <a:pt x="0" y="435077"/>
                  </a:lnTo>
                  <a:cubicBezTo>
                    <a:pt x="0" y="377381"/>
                    <a:pt x="22923" y="322050"/>
                    <a:pt x="63711" y="281253"/>
                  </a:cubicBezTo>
                  <a:cubicBezTo>
                    <a:pt x="104473" y="240497"/>
                    <a:pt x="159755" y="217582"/>
                    <a:pt x="217375" y="217539"/>
                  </a:cubicBezTo>
                  <a:lnTo>
                    <a:pt x="0" y="217539"/>
                  </a:lnTo>
                  <a:cubicBezTo>
                    <a:pt x="0" y="159842"/>
                    <a:pt x="22923" y="104511"/>
                    <a:pt x="63711" y="63714"/>
                  </a:cubicBezTo>
                  <a:cubicBezTo>
                    <a:pt x="104527" y="22918"/>
                    <a:pt x="159836" y="0"/>
                    <a:pt x="217539" y="0"/>
                  </a:cubicBezTo>
                  <a:cubicBezTo>
                    <a:pt x="275241" y="0"/>
                    <a:pt x="330577" y="22918"/>
                    <a:pt x="371366" y="63714"/>
                  </a:cubicBezTo>
                  <a:close/>
                </a:path>
              </a:pathLst>
            </a:custGeom>
            <a:grpFill/>
            <a:ln w="27192" cap="flat">
              <a:noFill/>
              <a:prstDash val="solid"/>
              <a:miter/>
            </a:ln>
          </p:spPr>
          <p:txBody>
            <a:bodyPr rtlCol="0" anchor="ctr"/>
            <a:lstStyle/>
            <a:p>
              <a:endParaRPr lang="uk-UA" sz="900"/>
            </a:p>
          </p:txBody>
        </p:sp>
        <p:sp>
          <p:nvSpPr>
            <p:cNvPr id="137" name="Freeform: Shape 136">
              <a:extLst>
                <a:ext uri="{FF2B5EF4-FFF2-40B4-BE49-F238E27FC236}">
                  <a16:creationId xmlns:a16="http://schemas.microsoft.com/office/drawing/2014/main" id="{51559FF8-3748-8875-5797-2DE143EB1F6F}"/>
                </a:ext>
              </a:extLst>
            </p:cNvPr>
            <p:cNvSpPr/>
            <p:nvPr/>
          </p:nvSpPr>
          <p:spPr>
            <a:xfrm>
              <a:off x="2576106" y="1968909"/>
              <a:ext cx="435077" cy="435074"/>
            </a:xfrm>
            <a:custGeom>
              <a:avLst/>
              <a:gdLst>
                <a:gd name="connsiteX0" fmla="*/ 217539 w 435077"/>
                <a:gd name="connsiteY0" fmla="*/ 217533 h 435074"/>
                <a:gd name="connsiteX1" fmla="*/ 217539 w 435077"/>
                <a:gd name="connsiteY1" fmla="*/ 0 h 435074"/>
                <a:gd name="connsiteX2" fmla="*/ 0 w 435077"/>
                <a:gd name="connsiteY2" fmla="*/ 0 h 435074"/>
                <a:gd name="connsiteX3" fmla="*/ 217539 w 435077"/>
                <a:gd name="connsiteY3" fmla="*/ 217539 h 435074"/>
                <a:gd name="connsiteX4" fmla="*/ 0 w 435077"/>
                <a:gd name="connsiteY4" fmla="*/ 435075 h 435074"/>
                <a:gd name="connsiteX5" fmla="*/ 217539 w 435077"/>
                <a:gd name="connsiteY5" fmla="*/ 435075 h 435074"/>
                <a:gd name="connsiteX6" fmla="*/ 217539 w 435077"/>
                <a:gd name="connsiteY6" fmla="*/ 435072 h 435074"/>
                <a:gd name="connsiteX7" fmla="*/ 435050 w 435077"/>
                <a:gd name="connsiteY7" fmla="*/ 217541 h 435074"/>
                <a:gd name="connsiteX8" fmla="*/ 435077 w 435077"/>
                <a:gd name="connsiteY8" fmla="*/ 217541 h 435074"/>
                <a:gd name="connsiteX9" fmla="*/ 435077 w 435077"/>
                <a:gd name="connsiteY9" fmla="*/ 217536 h 435074"/>
                <a:gd name="connsiteX10" fmla="*/ 435077 w 435077"/>
                <a:gd name="connsiteY10" fmla="*/ 217533 h 435074"/>
                <a:gd name="connsiteX11" fmla="*/ 435050 w 435077"/>
                <a:gd name="connsiteY11" fmla="*/ 217533 h 435074"/>
                <a:gd name="connsiteX12" fmla="*/ 217539 w 435077"/>
                <a:gd name="connsiteY12" fmla="*/ 3 h 435074"/>
                <a:gd name="connsiteX13" fmla="*/ 217539 w 435077"/>
                <a:gd name="connsiteY13" fmla="*/ 217533 h 435074"/>
                <a:gd name="connsiteX14" fmla="*/ 217539 w 435077"/>
                <a:gd name="connsiteY14" fmla="*/ 217533 h 43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4">
                  <a:moveTo>
                    <a:pt x="217539" y="217533"/>
                  </a:moveTo>
                  <a:lnTo>
                    <a:pt x="217539" y="0"/>
                  </a:lnTo>
                  <a:lnTo>
                    <a:pt x="0" y="0"/>
                  </a:lnTo>
                  <a:lnTo>
                    <a:pt x="217539" y="217539"/>
                  </a:lnTo>
                  <a:lnTo>
                    <a:pt x="0" y="435075"/>
                  </a:lnTo>
                  <a:lnTo>
                    <a:pt x="217539" y="435075"/>
                  </a:lnTo>
                  <a:lnTo>
                    <a:pt x="217539" y="435072"/>
                  </a:lnTo>
                  <a:lnTo>
                    <a:pt x="435050" y="217541"/>
                  </a:lnTo>
                  <a:lnTo>
                    <a:pt x="435077" y="217541"/>
                  </a:lnTo>
                  <a:lnTo>
                    <a:pt x="435077" y="217536"/>
                  </a:lnTo>
                  <a:lnTo>
                    <a:pt x="435077" y="217533"/>
                  </a:lnTo>
                  <a:lnTo>
                    <a:pt x="435050" y="217533"/>
                  </a:lnTo>
                  <a:lnTo>
                    <a:pt x="217539" y="3"/>
                  </a:lnTo>
                  <a:lnTo>
                    <a:pt x="217539" y="217533"/>
                  </a:lnTo>
                  <a:lnTo>
                    <a:pt x="217539" y="217533"/>
                  </a:lnTo>
                  <a:close/>
                </a:path>
              </a:pathLst>
            </a:custGeom>
            <a:grpFill/>
            <a:ln w="27192" cap="flat">
              <a:noFill/>
              <a:prstDash val="solid"/>
              <a:miter/>
            </a:ln>
          </p:spPr>
          <p:txBody>
            <a:bodyPr rtlCol="0" anchor="ctr"/>
            <a:lstStyle/>
            <a:p>
              <a:endParaRPr lang="uk-UA" sz="900"/>
            </a:p>
          </p:txBody>
        </p:sp>
        <p:sp>
          <p:nvSpPr>
            <p:cNvPr id="138" name="Freeform: Shape 137">
              <a:extLst>
                <a:ext uri="{FF2B5EF4-FFF2-40B4-BE49-F238E27FC236}">
                  <a16:creationId xmlns:a16="http://schemas.microsoft.com/office/drawing/2014/main" id="{E7773469-E5FD-30F9-74D7-FFD898C4274A}"/>
                </a:ext>
              </a:extLst>
            </p:cNvPr>
            <p:cNvSpPr/>
            <p:nvPr/>
          </p:nvSpPr>
          <p:spPr>
            <a:xfrm>
              <a:off x="4316416" y="1968909"/>
              <a:ext cx="435077" cy="435077"/>
            </a:xfrm>
            <a:custGeom>
              <a:avLst/>
              <a:gdLst>
                <a:gd name="connsiteX0" fmla="*/ 217565 w 435077"/>
                <a:gd name="connsiteY0" fmla="*/ 0 h 435077"/>
                <a:gd name="connsiteX1" fmla="*/ 217539 w 435077"/>
                <a:gd name="connsiteY1" fmla="*/ 0 h 435077"/>
                <a:gd name="connsiteX2" fmla="*/ 27 w 435077"/>
                <a:gd name="connsiteY2" fmla="*/ 0 h 435077"/>
                <a:gd name="connsiteX3" fmla="*/ 27 w 435077"/>
                <a:gd name="connsiteY3" fmla="*/ 217539 h 435077"/>
                <a:gd name="connsiteX4" fmla="*/ 217565 w 435077"/>
                <a:gd name="connsiteY4" fmla="*/ 5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65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65" y="0"/>
                  </a:moveTo>
                  <a:lnTo>
                    <a:pt x="217539" y="0"/>
                  </a:lnTo>
                  <a:lnTo>
                    <a:pt x="27" y="0"/>
                  </a:lnTo>
                  <a:lnTo>
                    <a:pt x="27" y="217539"/>
                  </a:lnTo>
                  <a:lnTo>
                    <a:pt x="217565" y="5"/>
                  </a:lnTo>
                  <a:lnTo>
                    <a:pt x="435077" y="217539"/>
                  </a:lnTo>
                  <a:lnTo>
                    <a:pt x="217539" y="435077"/>
                  </a:lnTo>
                  <a:lnTo>
                    <a:pt x="0" y="217539"/>
                  </a:lnTo>
                  <a:lnTo>
                    <a:pt x="0" y="435077"/>
                  </a:lnTo>
                  <a:lnTo>
                    <a:pt x="217539" y="435077"/>
                  </a:lnTo>
                  <a:lnTo>
                    <a:pt x="435077" y="435077"/>
                  </a:lnTo>
                  <a:lnTo>
                    <a:pt x="435077" y="217539"/>
                  </a:lnTo>
                  <a:lnTo>
                    <a:pt x="435077" y="0"/>
                  </a:lnTo>
                  <a:lnTo>
                    <a:pt x="217565" y="0"/>
                  </a:lnTo>
                  <a:close/>
                </a:path>
              </a:pathLst>
            </a:custGeom>
            <a:grpFill/>
            <a:ln w="27192" cap="flat">
              <a:noFill/>
              <a:prstDash val="solid"/>
              <a:miter/>
            </a:ln>
          </p:spPr>
          <p:txBody>
            <a:bodyPr rtlCol="0" anchor="ctr"/>
            <a:lstStyle/>
            <a:p>
              <a:endParaRPr lang="uk-UA" sz="900"/>
            </a:p>
          </p:txBody>
        </p:sp>
        <p:sp>
          <p:nvSpPr>
            <p:cNvPr id="139" name="Freeform: Shape 138">
              <a:extLst>
                <a:ext uri="{FF2B5EF4-FFF2-40B4-BE49-F238E27FC236}">
                  <a16:creationId xmlns:a16="http://schemas.microsoft.com/office/drawing/2014/main" id="{E741466A-19C1-9A23-E8CD-E29D3094483D}"/>
                </a:ext>
              </a:extLst>
            </p:cNvPr>
            <p:cNvSpPr/>
            <p:nvPr/>
          </p:nvSpPr>
          <p:spPr>
            <a:xfrm>
              <a:off x="3446261" y="1968909"/>
              <a:ext cx="435077" cy="435077"/>
            </a:xfrm>
            <a:custGeom>
              <a:avLst/>
              <a:gdLst>
                <a:gd name="connsiteX0" fmla="*/ 0 w 435077"/>
                <a:gd name="connsiteY0" fmla="*/ 435077 h 435077"/>
                <a:gd name="connsiteX1" fmla="*/ 217539 w 435077"/>
                <a:gd name="connsiteY1" fmla="*/ 435077 h 435077"/>
                <a:gd name="connsiteX2" fmla="*/ 217539 w 435077"/>
                <a:gd name="connsiteY2" fmla="*/ 217547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28 h 435077"/>
                <a:gd name="connsiteX7" fmla="*/ 217539 w 435077"/>
                <a:gd name="connsiteY7" fmla="*/ 0 h 435077"/>
                <a:gd name="connsiteX8" fmla="*/ 435077 w 435077"/>
                <a:gd name="connsiteY8" fmla="*/ 435077 h 435077"/>
                <a:gd name="connsiteX9" fmla="*/ 217566 w 435077"/>
                <a:gd name="connsiteY9" fmla="*/ 435077 h 435077"/>
                <a:gd name="connsiteX10" fmla="*/ 435077 w 435077"/>
                <a:gd name="connsiteY10" fmla="*/ 217547 h 435077"/>
                <a:gd name="connsiteX11" fmla="*/ 435077 w 435077"/>
                <a:gd name="connsiteY11" fmla="*/ 435077 h 435077"/>
                <a:gd name="connsiteX12" fmla="*/ 435077 w 435077"/>
                <a:gd name="connsiteY12" fmla="*/ 3 h 435077"/>
                <a:gd name="connsiteX13" fmla="*/ 217566 w 435077"/>
                <a:gd name="connsiteY13" fmla="*/ 3 h 435077"/>
                <a:gd name="connsiteX14" fmla="*/ 435077 w 435077"/>
                <a:gd name="connsiteY14" fmla="*/ 217531 h 435077"/>
                <a:gd name="connsiteX15" fmla="*/ 435077 w 435077"/>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47"/>
                  </a:lnTo>
                  <a:lnTo>
                    <a:pt x="0" y="435077"/>
                  </a:lnTo>
                  <a:close/>
                  <a:moveTo>
                    <a:pt x="217539" y="0"/>
                  </a:moveTo>
                  <a:lnTo>
                    <a:pt x="0" y="0"/>
                  </a:lnTo>
                  <a:lnTo>
                    <a:pt x="217539" y="217528"/>
                  </a:lnTo>
                  <a:lnTo>
                    <a:pt x="217539" y="0"/>
                  </a:lnTo>
                  <a:close/>
                  <a:moveTo>
                    <a:pt x="435077" y="435077"/>
                  </a:moveTo>
                  <a:lnTo>
                    <a:pt x="217566" y="435077"/>
                  </a:lnTo>
                  <a:lnTo>
                    <a:pt x="435077" y="217547"/>
                  </a:lnTo>
                  <a:lnTo>
                    <a:pt x="435077" y="435077"/>
                  </a:lnTo>
                  <a:close/>
                  <a:moveTo>
                    <a:pt x="435077" y="3"/>
                  </a:moveTo>
                  <a:lnTo>
                    <a:pt x="217566" y="3"/>
                  </a:lnTo>
                  <a:lnTo>
                    <a:pt x="435077" y="217531"/>
                  </a:lnTo>
                  <a:lnTo>
                    <a:pt x="435077" y="3"/>
                  </a:lnTo>
                  <a:close/>
                </a:path>
              </a:pathLst>
            </a:custGeom>
            <a:grpFill/>
            <a:ln w="27192" cap="flat">
              <a:noFill/>
              <a:prstDash val="solid"/>
              <a:miter/>
            </a:ln>
          </p:spPr>
          <p:txBody>
            <a:bodyPr rtlCol="0" anchor="ctr"/>
            <a:lstStyle/>
            <a:p>
              <a:endParaRPr lang="uk-UA" sz="900"/>
            </a:p>
          </p:txBody>
        </p:sp>
        <p:sp>
          <p:nvSpPr>
            <p:cNvPr id="140" name="Freeform: Shape 139">
              <a:extLst>
                <a:ext uri="{FF2B5EF4-FFF2-40B4-BE49-F238E27FC236}">
                  <a16:creationId xmlns:a16="http://schemas.microsoft.com/office/drawing/2014/main" id="{BAEE9FED-E85C-EB86-AAE9-D2663D6CFF3D}"/>
                </a:ext>
              </a:extLst>
            </p:cNvPr>
            <p:cNvSpPr/>
            <p:nvPr/>
          </p:nvSpPr>
          <p:spPr>
            <a:xfrm>
              <a:off x="5186597" y="1968909"/>
              <a:ext cx="435077" cy="435077"/>
            </a:xfrm>
            <a:custGeom>
              <a:avLst/>
              <a:gdLst>
                <a:gd name="connsiteX0" fmla="*/ 371366 w 435077"/>
                <a:gd name="connsiteY0" fmla="*/ 63714 h 435077"/>
                <a:gd name="connsiteX1" fmla="*/ 435077 w 435077"/>
                <a:gd name="connsiteY1" fmla="*/ 217539 h 435077"/>
                <a:gd name="connsiteX2" fmla="*/ 217702 w 435077"/>
                <a:gd name="connsiteY2" fmla="*/ 217539 h 435077"/>
                <a:gd name="connsiteX3" fmla="*/ 371366 w 435077"/>
                <a:gd name="connsiteY3" fmla="*/ 281253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3 h 435077"/>
                <a:gd name="connsiteX8" fmla="*/ 217376 w 435077"/>
                <a:gd name="connsiteY8" fmla="*/ 217539 h 435077"/>
                <a:gd name="connsiteX9" fmla="*/ 0 w 435077"/>
                <a:gd name="connsiteY9" fmla="*/ 217539 h 435077"/>
                <a:gd name="connsiteX10" fmla="*/ 63712 w 435077"/>
                <a:gd name="connsiteY10" fmla="*/ 63714 h 435077"/>
                <a:gd name="connsiteX11" fmla="*/ 217539 w 435077"/>
                <a:gd name="connsiteY11" fmla="*/ 0 h 435077"/>
                <a:gd name="connsiteX12" fmla="*/ 371366 w 435077"/>
                <a:gd name="connsiteY12" fmla="*/ 63714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4"/>
                  </a:moveTo>
                  <a:cubicBezTo>
                    <a:pt x="412155" y="104511"/>
                    <a:pt x="435077" y="159842"/>
                    <a:pt x="435077" y="217539"/>
                  </a:cubicBezTo>
                  <a:lnTo>
                    <a:pt x="217702" y="217539"/>
                  </a:lnTo>
                  <a:cubicBezTo>
                    <a:pt x="275350" y="217582"/>
                    <a:pt x="330605" y="240497"/>
                    <a:pt x="371366" y="281253"/>
                  </a:cubicBezTo>
                  <a:cubicBezTo>
                    <a:pt x="412155" y="322050"/>
                    <a:pt x="435077" y="377381"/>
                    <a:pt x="435077" y="435077"/>
                  </a:cubicBezTo>
                  <a:lnTo>
                    <a:pt x="217539" y="435077"/>
                  </a:lnTo>
                  <a:lnTo>
                    <a:pt x="0" y="435077"/>
                  </a:lnTo>
                  <a:cubicBezTo>
                    <a:pt x="0" y="377381"/>
                    <a:pt x="22924" y="322050"/>
                    <a:pt x="63712" y="281253"/>
                  </a:cubicBezTo>
                  <a:cubicBezTo>
                    <a:pt x="104473" y="240497"/>
                    <a:pt x="159728" y="217582"/>
                    <a:pt x="217376" y="217539"/>
                  </a:cubicBezTo>
                  <a:lnTo>
                    <a:pt x="0" y="217539"/>
                  </a:lnTo>
                  <a:cubicBezTo>
                    <a:pt x="0" y="159842"/>
                    <a:pt x="22924" y="104511"/>
                    <a:pt x="63712" y="63714"/>
                  </a:cubicBezTo>
                  <a:cubicBezTo>
                    <a:pt x="104501" y="22918"/>
                    <a:pt x="159837" y="0"/>
                    <a:pt x="217539" y="0"/>
                  </a:cubicBezTo>
                  <a:cubicBezTo>
                    <a:pt x="275241" y="0"/>
                    <a:pt x="330550" y="22918"/>
                    <a:pt x="371366" y="63714"/>
                  </a:cubicBezTo>
                  <a:close/>
                </a:path>
              </a:pathLst>
            </a:custGeom>
            <a:grpFill/>
            <a:ln w="27192" cap="flat">
              <a:noFill/>
              <a:prstDash val="solid"/>
              <a:miter/>
            </a:ln>
          </p:spPr>
          <p:txBody>
            <a:bodyPr rtlCol="0" anchor="ctr"/>
            <a:lstStyle/>
            <a:p>
              <a:endParaRPr lang="uk-UA" sz="900"/>
            </a:p>
          </p:txBody>
        </p:sp>
        <p:sp>
          <p:nvSpPr>
            <p:cNvPr id="141" name="Freeform: Shape 140">
              <a:extLst>
                <a:ext uri="{FF2B5EF4-FFF2-40B4-BE49-F238E27FC236}">
                  <a16:creationId xmlns:a16="http://schemas.microsoft.com/office/drawing/2014/main" id="{A597CFC6-7325-B538-DCC8-5C6B8C76C9FF}"/>
                </a:ext>
              </a:extLst>
            </p:cNvPr>
            <p:cNvSpPr/>
            <p:nvPr/>
          </p:nvSpPr>
          <p:spPr>
            <a:xfrm>
              <a:off x="6056752" y="1968909"/>
              <a:ext cx="435077" cy="435074"/>
            </a:xfrm>
            <a:custGeom>
              <a:avLst/>
              <a:gdLst>
                <a:gd name="connsiteX0" fmla="*/ 217539 w 435077"/>
                <a:gd name="connsiteY0" fmla="*/ 217539 h 435074"/>
                <a:gd name="connsiteX1" fmla="*/ 217539 w 435077"/>
                <a:gd name="connsiteY1" fmla="*/ 217536 h 435074"/>
                <a:gd name="connsiteX2" fmla="*/ 0 w 435077"/>
                <a:gd name="connsiteY2" fmla="*/ 0 h 435074"/>
                <a:gd name="connsiteX3" fmla="*/ 217539 w 435077"/>
                <a:gd name="connsiteY3" fmla="*/ 0 h 435074"/>
                <a:gd name="connsiteX4" fmla="*/ 217539 w 435077"/>
                <a:gd name="connsiteY4" fmla="*/ 5 h 435074"/>
                <a:gd name="connsiteX5" fmla="*/ 435077 w 435077"/>
                <a:gd name="connsiteY5" fmla="*/ 217533 h 435074"/>
                <a:gd name="connsiteX6" fmla="*/ 435077 w 435077"/>
                <a:gd name="connsiteY6" fmla="*/ 217533 h 435074"/>
                <a:gd name="connsiteX7" fmla="*/ 435077 w 435077"/>
                <a:gd name="connsiteY7" fmla="*/ 217539 h 435074"/>
                <a:gd name="connsiteX8" fmla="*/ 435077 w 435077"/>
                <a:gd name="connsiteY8" fmla="*/ 217541 h 435074"/>
                <a:gd name="connsiteX9" fmla="*/ 435077 w 435077"/>
                <a:gd name="connsiteY9" fmla="*/ 217541 h 435074"/>
                <a:gd name="connsiteX10" fmla="*/ 217539 w 435077"/>
                <a:gd name="connsiteY10" fmla="*/ 435072 h 435074"/>
                <a:gd name="connsiteX11" fmla="*/ 217539 w 435077"/>
                <a:gd name="connsiteY11" fmla="*/ 435075 h 435074"/>
                <a:gd name="connsiteX12" fmla="*/ 0 w 435077"/>
                <a:gd name="connsiteY12" fmla="*/ 435075 h 435074"/>
                <a:gd name="connsiteX13" fmla="*/ 217539 w 435077"/>
                <a:gd name="connsiteY13" fmla="*/ 217539 h 43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4">
                  <a:moveTo>
                    <a:pt x="217539" y="217539"/>
                  </a:moveTo>
                  <a:lnTo>
                    <a:pt x="217539" y="217536"/>
                  </a:lnTo>
                  <a:lnTo>
                    <a:pt x="0" y="0"/>
                  </a:lnTo>
                  <a:lnTo>
                    <a:pt x="217539" y="0"/>
                  </a:lnTo>
                  <a:lnTo>
                    <a:pt x="217539" y="5"/>
                  </a:lnTo>
                  <a:lnTo>
                    <a:pt x="435077" y="217533"/>
                  </a:lnTo>
                  <a:lnTo>
                    <a:pt x="435077" y="217533"/>
                  </a:lnTo>
                  <a:lnTo>
                    <a:pt x="435077" y="217539"/>
                  </a:lnTo>
                  <a:lnTo>
                    <a:pt x="435077" y="217541"/>
                  </a:lnTo>
                  <a:lnTo>
                    <a:pt x="435077" y="217541"/>
                  </a:lnTo>
                  <a:lnTo>
                    <a:pt x="217539" y="435072"/>
                  </a:lnTo>
                  <a:lnTo>
                    <a:pt x="217539" y="435075"/>
                  </a:lnTo>
                  <a:lnTo>
                    <a:pt x="0" y="435075"/>
                  </a:lnTo>
                  <a:lnTo>
                    <a:pt x="217539" y="217539"/>
                  </a:lnTo>
                  <a:close/>
                </a:path>
              </a:pathLst>
            </a:custGeom>
            <a:grpFill/>
            <a:ln w="27192" cap="flat">
              <a:noFill/>
              <a:prstDash val="solid"/>
              <a:miter/>
            </a:ln>
          </p:spPr>
          <p:txBody>
            <a:bodyPr rtlCol="0" anchor="ctr"/>
            <a:lstStyle/>
            <a:p>
              <a:endParaRPr lang="uk-UA" sz="900"/>
            </a:p>
          </p:txBody>
        </p:sp>
        <p:sp>
          <p:nvSpPr>
            <p:cNvPr id="142" name="Freeform: Shape 141">
              <a:extLst>
                <a:ext uri="{FF2B5EF4-FFF2-40B4-BE49-F238E27FC236}">
                  <a16:creationId xmlns:a16="http://schemas.microsoft.com/office/drawing/2014/main" id="{56586DBD-C264-269C-A16E-7332FD0F2219}"/>
                </a:ext>
              </a:extLst>
            </p:cNvPr>
            <p:cNvSpPr/>
            <p:nvPr/>
          </p:nvSpPr>
          <p:spPr>
            <a:xfrm>
              <a:off x="7797062" y="196890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p>
          </p:txBody>
        </p:sp>
        <p:sp>
          <p:nvSpPr>
            <p:cNvPr id="143" name="Freeform: Shape 142">
              <a:extLst>
                <a:ext uri="{FF2B5EF4-FFF2-40B4-BE49-F238E27FC236}">
                  <a16:creationId xmlns:a16="http://schemas.microsoft.com/office/drawing/2014/main" id="{3150BABF-813E-B0A3-FBE3-E477FB66D2ED}"/>
                </a:ext>
              </a:extLst>
            </p:cNvPr>
            <p:cNvSpPr/>
            <p:nvPr/>
          </p:nvSpPr>
          <p:spPr>
            <a:xfrm>
              <a:off x="6926907" y="1968909"/>
              <a:ext cx="435077" cy="435077"/>
            </a:xfrm>
            <a:custGeom>
              <a:avLst/>
              <a:gdLst>
                <a:gd name="connsiteX0" fmla="*/ 0 w 435077"/>
                <a:gd name="connsiteY0" fmla="*/ 435077 h 435077"/>
                <a:gd name="connsiteX1" fmla="*/ 217539 w 435077"/>
                <a:gd name="connsiteY1" fmla="*/ 435077 h 435077"/>
                <a:gd name="connsiteX2" fmla="*/ 217539 w 435077"/>
                <a:gd name="connsiteY2" fmla="*/ 217547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28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47 h 435077"/>
                <a:gd name="connsiteX11" fmla="*/ 435077 w 435077"/>
                <a:gd name="connsiteY11" fmla="*/ 435077 h 435077"/>
                <a:gd name="connsiteX12" fmla="*/ 435077 w 435077"/>
                <a:gd name="connsiteY12" fmla="*/ 3 h 435077"/>
                <a:gd name="connsiteX13" fmla="*/ 217539 w 435077"/>
                <a:gd name="connsiteY13" fmla="*/ 3 h 435077"/>
                <a:gd name="connsiteX14" fmla="*/ 435077 w 435077"/>
                <a:gd name="connsiteY14" fmla="*/ 217531 h 435077"/>
                <a:gd name="connsiteX15" fmla="*/ 435077 w 435077"/>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47"/>
                  </a:lnTo>
                  <a:lnTo>
                    <a:pt x="0" y="435077"/>
                  </a:lnTo>
                  <a:close/>
                  <a:moveTo>
                    <a:pt x="217539" y="0"/>
                  </a:moveTo>
                  <a:lnTo>
                    <a:pt x="0" y="0"/>
                  </a:lnTo>
                  <a:lnTo>
                    <a:pt x="217539" y="217528"/>
                  </a:lnTo>
                  <a:lnTo>
                    <a:pt x="217539" y="0"/>
                  </a:lnTo>
                  <a:close/>
                  <a:moveTo>
                    <a:pt x="435077" y="435077"/>
                  </a:moveTo>
                  <a:lnTo>
                    <a:pt x="217539" y="435077"/>
                  </a:lnTo>
                  <a:lnTo>
                    <a:pt x="435077" y="217547"/>
                  </a:lnTo>
                  <a:lnTo>
                    <a:pt x="435077" y="435077"/>
                  </a:lnTo>
                  <a:close/>
                  <a:moveTo>
                    <a:pt x="435077" y="3"/>
                  </a:moveTo>
                  <a:lnTo>
                    <a:pt x="217539" y="3"/>
                  </a:lnTo>
                  <a:lnTo>
                    <a:pt x="435077" y="217531"/>
                  </a:lnTo>
                  <a:lnTo>
                    <a:pt x="435077" y="3"/>
                  </a:lnTo>
                  <a:close/>
                </a:path>
              </a:pathLst>
            </a:custGeom>
            <a:grpFill/>
            <a:ln w="27192" cap="flat">
              <a:noFill/>
              <a:prstDash val="solid"/>
              <a:miter/>
            </a:ln>
          </p:spPr>
          <p:txBody>
            <a:bodyPr rtlCol="0" anchor="ctr"/>
            <a:lstStyle/>
            <a:p>
              <a:endParaRPr lang="uk-UA" sz="900"/>
            </a:p>
          </p:txBody>
        </p:sp>
        <p:sp>
          <p:nvSpPr>
            <p:cNvPr id="144" name="Freeform: Shape 143">
              <a:extLst>
                <a:ext uri="{FF2B5EF4-FFF2-40B4-BE49-F238E27FC236}">
                  <a16:creationId xmlns:a16="http://schemas.microsoft.com/office/drawing/2014/main" id="{1BF18B8C-7A76-714B-6819-27332C8FA825}"/>
                </a:ext>
              </a:extLst>
            </p:cNvPr>
            <p:cNvSpPr/>
            <p:nvPr/>
          </p:nvSpPr>
          <p:spPr>
            <a:xfrm>
              <a:off x="8667217" y="1968909"/>
              <a:ext cx="435104" cy="435077"/>
            </a:xfrm>
            <a:custGeom>
              <a:avLst/>
              <a:gdLst>
                <a:gd name="connsiteX0" fmla="*/ 371366 w 435104"/>
                <a:gd name="connsiteY0" fmla="*/ 63714 h 435077"/>
                <a:gd name="connsiteX1" fmla="*/ 435077 w 435104"/>
                <a:gd name="connsiteY1" fmla="*/ 217539 h 435077"/>
                <a:gd name="connsiteX2" fmla="*/ 217730 w 435104"/>
                <a:gd name="connsiteY2" fmla="*/ 217539 h 435077"/>
                <a:gd name="connsiteX3" fmla="*/ 371366 w 435104"/>
                <a:gd name="connsiteY3" fmla="*/ 281253 h 435077"/>
                <a:gd name="connsiteX4" fmla="*/ 435105 w 435104"/>
                <a:gd name="connsiteY4" fmla="*/ 435077 h 435077"/>
                <a:gd name="connsiteX5" fmla="*/ 217566 w 435104"/>
                <a:gd name="connsiteY5" fmla="*/ 435077 h 435077"/>
                <a:gd name="connsiteX6" fmla="*/ 27 w 435104"/>
                <a:gd name="connsiteY6" fmla="*/ 435077 h 435077"/>
                <a:gd name="connsiteX7" fmla="*/ 63739 w 435104"/>
                <a:gd name="connsiteY7" fmla="*/ 281253 h 435077"/>
                <a:gd name="connsiteX8" fmla="*/ 217376 w 435104"/>
                <a:gd name="connsiteY8" fmla="*/ 217539 h 435077"/>
                <a:gd name="connsiteX9" fmla="*/ 0 w 435104"/>
                <a:gd name="connsiteY9" fmla="*/ 217539 h 435077"/>
                <a:gd name="connsiteX10" fmla="*/ 63739 w 435104"/>
                <a:gd name="connsiteY10" fmla="*/ 63714 h 435077"/>
                <a:gd name="connsiteX11" fmla="*/ 217539 w 435104"/>
                <a:gd name="connsiteY11" fmla="*/ 0 h 435077"/>
                <a:gd name="connsiteX12" fmla="*/ 371366 w 435104"/>
                <a:gd name="connsiteY12" fmla="*/ 63714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4" h="435077">
                  <a:moveTo>
                    <a:pt x="371366" y="63714"/>
                  </a:moveTo>
                  <a:cubicBezTo>
                    <a:pt x="412182" y="104511"/>
                    <a:pt x="435077" y="159842"/>
                    <a:pt x="435077" y="217539"/>
                  </a:cubicBezTo>
                  <a:lnTo>
                    <a:pt x="217730" y="217539"/>
                  </a:lnTo>
                  <a:cubicBezTo>
                    <a:pt x="275350" y="217582"/>
                    <a:pt x="330632" y="240497"/>
                    <a:pt x="371366" y="281253"/>
                  </a:cubicBezTo>
                  <a:cubicBezTo>
                    <a:pt x="412182" y="322050"/>
                    <a:pt x="435105" y="377381"/>
                    <a:pt x="435105" y="435077"/>
                  </a:cubicBezTo>
                  <a:lnTo>
                    <a:pt x="217566" y="435077"/>
                  </a:lnTo>
                  <a:lnTo>
                    <a:pt x="27" y="435077"/>
                  </a:lnTo>
                  <a:cubicBezTo>
                    <a:pt x="27" y="377381"/>
                    <a:pt x="22924" y="322050"/>
                    <a:pt x="63739" y="281253"/>
                  </a:cubicBezTo>
                  <a:cubicBezTo>
                    <a:pt x="104501" y="240497"/>
                    <a:pt x="159755" y="217582"/>
                    <a:pt x="217376" y="217539"/>
                  </a:cubicBezTo>
                  <a:lnTo>
                    <a:pt x="0" y="217539"/>
                  </a:lnTo>
                  <a:cubicBezTo>
                    <a:pt x="0" y="159842"/>
                    <a:pt x="22924" y="104511"/>
                    <a:pt x="63739" y="63714"/>
                  </a:cubicBezTo>
                  <a:cubicBezTo>
                    <a:pt x="104527" y="22918"/>
                    <a:pt x="159864" y="0"/>
                    <a:pt x="217539" y="0"/>
                  </a:cubicBezTo>
                  <a:cubicBezTo>
                    <a:pt x="275241" y="0"/>
                    <a:pt x="330578" y="22918"/>
                    <a:pt x="371366" y="63714"/>
                  </a:cubicBezTo>
                  <a:close/>
                </a:path>
              </a:pathLst>
            </a:custGeom>
            <a:grpFill/>
            <a:ln w="27192" cap="flat">
              <a:noFill/>
              <a:prstDash val="solid"/>
              <a:miter/>
            </a:ln>
          </p:spPr>
          <p:txBody>
            <a:bodyPr rtlCol="0" anchor="ctr"/>
            <a:lstStyle/>
            <a:p>
              <a:endParaRPr lang="uk-UA" sz="900"/>
            </a:p>
          </p:txBody>
        </p:sp>
        <p:sp>
          <p:nvSpPr>
            <p:cNvPr id="145" name="Freeform: Shape 144">
              <a:extLst>
                <a:ext uri="{FF2B5EF4-FFF2-40B4-BE49-F238E27FC236}">
                  <a16:creationId xmlns:a16="http://schemas.microsoft.com/office/drawing/2014/main" id="{8E18CE4D-9398-C525-3AA6-16DF218CD4DD}"/>
                </a:ext>
              </a:extLst>
            </p:cNvPr>
            <p:cNvSpPr/>
            <p:nvPr/>
          </p:nvSpPr>
          <p:spPr>
            <a:xfrm>
              <a:off x="9537399" y="1968909"/>
              <a:ext cx="435077" cy="435074"/>
            </a:xfrm>
            <a:custGeom>
              <a:avLst/>
              <a:gdLst>
                <a:gd name="connsiteX0" fmla="*/ 217539 w 435077"/>
                <a:gd name="connsiteY0" fmla="*/ 217539 h 435074"/>
                <a:gd name="connsiteX1" fmla="*/ 217539 w 435077"/>
                <a:gd name="connsiteY1" fmla="*/ 217536 h 435074"/>
                <a:gd name="connsiteX2" fmla="*/ 0 w 435077"/>
                <a:gd name="connsiteY2" fmla="*/ 0 h 435074"/>
                <a:gd name="connsiteX3" fmla="*/ 217539 w 435077"/>
                <a:gd name="connsiteY3" fmla="*/ 0 h 435074"/>
                <a:gd name="connsiteX4" fmla="*/ 217539 w 435077"/>
                <a:gd name="connsiteY4" fmla="*/ 5 h 435074"/>
                <a:gd name="connsiteX5" fmla="*/ 435050 w 435077"/>
                <a:gd name="connsiteY5" fmla="*/ 217533 h 435074"/>
                <a:gd name="connsiteX6" fmla="*/ 435077 w 435077"/>
                <a:gd name="connsiteY6" fmla="*/ 217533 h 435074"/>
                <a:gd name="connsiteX7" fmla="*/ 435050 w 435077"/>
                <a:gd name="connsiteY7" fmla="*/ 217539 h 435074"/>
                <a:gd name="connsiteX8" fmla="*/ 435077 w 435077"/>
                <a:gd name="connsiteY8" fmla="*/ 217541 h 435074"/>
                <a:gd name="connsiteX9" fmla="*/ 435050 w 435077"/>
                <a:gd name="connsiteY9" fmla="*/ 217541 h 435074"/>
                <a:gd name="connsiteX10" fmla="*/ 217539 w 435077"/>
                <a:gd name="connsiteY10" fmla="*/ 435072 h 435074"/>
                <a:gd name="connsiteX11" fmla="*/ 217539 w 435077"/>
                <a:gd name="connsiteY11" fmla="*/ 435075 h 435074"/>
                <a:gd name="connsiteX12" fmla="*/ 0 w 435077"/>
                <a:gd name="connsiteY12" fmla="*/ 435075 h 435074"/>
                <a:gd name="connsiteX13" fmla="*/ 217539 w 435077"/>
                <a:gd name="connsiteY13" fmla="*/ 217539 h 43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4">
                  <a:moveTo>
                    <a:pt x="217539" y="217539"/>
                  </a:moveTo>
                  <a:lnTo>
                    <a:pt x="217539" y="217536"/>
                  </a:lnTo>
                  <a:lnTo>
                    <a:pt x="0" y="0"/>
                  </a:lnTo>
                  <a:lnTo>
                    <a:pt x="217539" y="0"/>
                  </a:lnTo>
                  <a:lnTo>
                    <a:pt x="217539" y="5"/>
                  </a:lnTo>
                  <a:lnTo>
                    <a:pt x="435050" y="217533"/>
                  </a:lnTo>
                  <a:lnTo>
                    <a:pt x="435077" y="217533"/>
                  </a:lnTo>
                  <a:lnTo>
                    <a:pt x="435050" y="217539"/>
                  </a:lnTo>
                  <a:lnTo>
                    <a:pt x="435077" y="217541"/>
                  </a:lnTo>
                  <a:lnTo>
                    <a:pt x="435050" y="217541"/>
                  </a:lnTo>
                  <a:lnTo>
                    <a:pt x="217539" y="435072"/>
                  </a:lnTo>
                  <a:lnTo>
                    <a:pt x="217539" y="435075"/>
                  </a:lnTo>
                  <a:lnTo>
                    <a:pt x="0" y="435075"/>
                  </a:lnTo>
                  <a:lnTo>
                    <a:pt x="217539" y="217539"/>
                  </a:lnTo>
                  <a:close/>
                </a:path>
              </a:pathLst>
            </a:custGeom>
            <a:grpFill/>
            <a:ln w="27192" cap="flat">
              <a:noFill/>
              <a:prstDash val="solid"/>
              <a:miter/>
            </a:ln>
          </p:spPr>
          <p:txBody>
            <a:bodyPr rtlCol="0" anchor="ctr"/>
            <a:lstStyle/>
            <a:p>
              <a:endParaRPr lang="uk-UA" sz="900"/>
            </a:p>
          </p:txBody>
        </p:sp>
        <p:sp>
          <p:nvSpPr>
            <p:cNvPr id="146" name="Freeform: Shape 145">
              <a:extLst>
                <a:ext uri="{FF2B5EF4-FFF2-40B4-BE49-F238E27FC236}">
                  <a16:creationId xmlns:a16="http://schemas.microsoft.com/office/drawing/2014/main" id="{34EDEEF5-44AB-4695-6736-C2B898D377DE}"/>
                </a:ext>
              </a:extLst>
            </p:cNvPr>
            <p:cNvSpPr/>
            <p:nvPr/>
          </p:nvSpPr>
          <p:spPr>
            <a:xfrm>
              <a:off x="11277709" y="196890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147" name="Freeform: Shape 146">
              <a:extLst>
                <a:ext uri="{FF2B5EF4-FFF2-40B4-BE49-F238E27FC236}">
                  <a16:creationId xmlns:a16="http://schemas.microsoft.com/office/drawing/2014/main" id="{48C24EB3-9C4A-E359-C1B5-20D13710D7DC}"/>
                </a:ext>
              </a:extLst>
            </p:cNvPr>
            <p:cNvSpPr/>
            <p:nvPr/>
          </p:nvSpPr>
          <p:spPr>
            <a:xfrm>
              <a:off x="10407554" y="1968909"/>
              <a:ext cx="435077" cy="435077"/>
            </a:xfrm>
            <a:custGeom>
              <a:avLst/>
              <a:gdLst>
                <a:gd name="connsiteX0" fmla="*/ 0 w 435077"/>
                <a:gd name="connsiteY0" fmla="*/ 435075 h 435077"/>
                <a:gd name="connsiteX1" fmla="*/ 217511 w 435077"/>
                <a:gd name="connsiteY1" fmla="*/ 435075 h 435077"/>
                <a:gd name="connsiteX2" fmla="*/ 217511 w 435077"/>
                <a:gd name="connsiteY2" fmla="*/ 217547 h 435077"/>
                <a:gd name="connsiteX3" fmla="*/ 0 w 435077"/>
                <a:gd name="connsiteY3" fmla="*/ 435075 h 435077"/>
                <a:gd name="connsiteX4" fmla="*/ 217511 w 435077"/>
                <a:gd name="connsiteY4" fmla="*/ 0 h 435077"/>
                <a:gd name="connsiteX5" fmla="*/ 0 w 435077"/>
                <a:gd name="connsiteY5" fmla="*/ 0 h 435077"/>
                <a:gd name="connsiteX6" fmla="*/ 217511 w 435077"/>
                <a:gd name="connsiteY6" fmla="*/ 217528 h 435077"/>
                <a:gd name="connsiteX7" fmla="*/ 217511 w 435077"/>
                <a:gd name="connsiteY7" fmla="*/ 0 h 435077"/>
                <a:gd name="connsiteX8" fmla="*/ 435077 w 435077"/>
                <a:gd name="connsiteY8" fmla="*/ 435077 h 435077"/>
                <a:gd name="connsiteX9" fmla="*/ 217539 w 435077"/>
                <a:gd name="connsiteY9" fmla="*/ 435077 h 435077"/>
                <a:gd name="connsiteX10" fmla="*/ 435077 w 435077"/>
                <a:gd name="connsiteY10" fmla="*/ 217547 h 435077"/>
                <a:gd name="connsiteX11" fmla="*/ 435077 w 435077"/>
                <a:gd name="connsiteY11" fmla="*/ 435077 h 435077"/>
                <a:gd name="connsiteX12" fmla="*/ 435077 w 435077"/>
                <a:gd name="connsiteY12" fmla="*/ 3 h 435077"/>
                <a:gd name="connsiteX13" fmla="*/ 217539 w 435077"/>
                <a:gd name="connsiteY13" fmla="*/ 3 h 435077"/>
                <a:gd name="connsiteX14" fmla="*/ 435077 w 435077"/>
                <a:gd name="connsiteY14" fmla="*/ 217531 h 435077"/>
                <a:gd name="connsiteX15" fmla="*/ 435077 w 435077"/>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5"/>
                  </a:moveTo>
                  <a:lnTo>
                    <a:pt x="217511" y="435075"/>
                  </a:lnTo>
                  <a:lnTo>
                    <a:pt x="217511" y="217547"/>
                  </a:lnTo>
                  <a:lnTo>
                    <a:pt x="0" y="435075"/>
                  </a:lnTo>
                  <a:close/>
                  <a:moveTo>
                    <a:pt x="217511" y="0"/>
                  </a:moveTo>
                  <a:lnTo>
                    <a:pt x="0" y="0"/>
                  </a:lnTo>
                  <a:lnTo>
                    <a:pt x="217511" y="217528"/>
                  </a:lnTo>
                  <a:lnTo>
                    <a:pt x="217511" y="0"/>
                  </a:lnTo>
                  <a:close/>
                  <a:moveTo>
                    <a:pt x="435077" y="435077"/>
                  </a:moveTo>
                  <a:lnTo>
                    <a:pt x="217539" y="435077"/>
                  </a:lnTo>
                  <a:lnTo>
                    <a:pt x="435077" y="217547"/>
                  </a:lnTo>
                  <a:lnTo>
                    <a:pt x="435077" y="435077"/>
                  </a:lnTo>
                  <a:close/>
                  <a:moveTo>
                    <a:pt x="435077" y="3"/>
                  </a:moveTo>
                  <a:lnTo>
                    <a:pt x="217539" y="3"/>
                  </a:lnTo>
                  <a:lnTo>
                    <a:pt x="435077" y="217531"/>
                  </a:lnTo>
                  <a:lnTo>
                    <a:pt x="435077" y="3"/>
                  </a:lnTo>
                  <a:close/>
                </a:path>
              </a:pathLst>
            </a:custGeom>
            <a:grpFill/>
            <a:ln w="27192" cap="flat">
              <a:noFill/>
              <a:prstDash val="solid"/>
              <a:miter/>
            </a:ln>
          </p:spPr>
          <p:txBody>
            <a:bodyPr rtlCol="0" anchor="ctr"/>
            <a:lstStyle/>
            <a:p>
              <a:endParaRPr lang="uk-UA" sz="900"/>
            </a:p>
          </p:txBody>
        </p:sp>
        <p:sp>
          <p:nvSpPr>
            <p:cNvPr id="148" name="Freeform: Shape 147">
              <a:extLst>
                <a:ext uri="{FF2B5EF4-FFF2-40B4-BE49-F238E27FC236}">
                  <a16:creationId xmlns:a16="http://schemas.microsoft.com/office/drawing/2014/main" id="{0705C804-C665-8317-F579-B59C4B824748}"/>
                </a:ext>
              </a:extLst>
            </p:cNvPr>
            <p:cNvSpPr/>
            <p:nvPr/>
          </p:nvSpPr>
          <p:spPr>
            <a:xfrm>
              <a:off x="12147864" y="1968909"/>
              <a:ext cx="435103" cy="435077"/>
            </a:xfrm>
            <a:custGeom>
              <a:avLst/>
              <a:gdLst>
                <a:gd name="connsiteX0" fmla="*/ 371365 w 435103"/>
                <a:gd name="connsiteY0" fmla="*/ 63714 h 435077"/>
                <a:gd name="connsiteX1" fmla="*/ 435077 w 435103"/>
                <a:gd name="connsiteY1" fmla="*/ 217539 h 435077"/>
                <a:gd name="connsiteX2" fmla="*/ 217728 w 435103"/>
                <a:gd name="connsiteY2" fmla="*/ 217539 h 435077"/>
                <a:gd name="connsiteX3" fmla="*/ 371365 w 435103"/>
                <a:gd name="connsiteY3" fmla="*/ 281253 h 435077"/>
                <a:gd name="connsiteX4" fmla="*/ 435104 w 435103"/>
                <a:gd name="connsiteY4" fmla="*/ 435077 h 435077"/>
                <a:gd name="connsiteX5" fmla="*/ 217565 w 435103"/>
                <a:gd name="connsiteY5" fmla="*/ 435077 h 435077"/>
                <a:gd name="connsiteX6" fmla="*/ 27 w 435103"/>
                <a:gd name="connsiteY6" fmla="*/ 435077 h 435077"/>
                <a:gd name="connsiteX7" fmla="*/ 63739 w 435103"/>
                <a:gd name="connsiteY7" fmla="*/ 281253 h 435077"/>
                <a:gd name="connsiteX8" fmla="*/ 217374 w 435103"/>
                <a:gd name="connsiteY8" fmla="*/ 217539 h 435077"/>
                <a:gd name="connsiteX9" fmla="*/ 0 w 435103"/>
                <a:gd name="connsiteY9" fmla="*/ 217539 h 435077"/>
                <a:gd name="connsiteX10" fmla="*/ 63739 w 435103"/>
                <a:gd name="connsiteY10" fmla="*/ 63714 h 435077"/>
                <a:gd name="connsiteX11" fmla="*/ 217539 w 435103"/>
                <a:gd name="connsiteY11" fmla="*/ 0 h 435077"/>
                <a:gd name="connsiteX12" fmla="*/ 371365 w 435103"/>
                <a:gd name="connsiteY12" fmla="*/ 63714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3" h="435077">
                  <a:moveTo>
                    <a:pt x="371365" y="63714"/>
                  </a:moveTo>
                  <a:cubicBezTo>
                    <a:pt x="412180" y="104511"/>
                    <a:pt x="435077" y="159842"/>
                    <a:pt x="435077" y="217539"/>
                  </a:cubicBezTo>
                  <a:lnTo>
                    <a:pt x="217728" y="217539"/>
                  </a:lnTo>
                  <a:cubicBezTo>
                    <a:pt x="275349" y="217582"/>
                    <a:pt x="330632" y="240497"/>
                    <a:pt x="371365" y="281253"/>
                  </a:cubicBezTo>
                  <a:cubicBezTo>
                    <a:pt x="412180" y="322050"/>
                    <a:pt x="435104" y="377381"/>
                    <a:pt x="435104" y="435077"/>
                  </a:cubicBezTo>
                  <a:lnTo>
                    <a:pt x="217565" y="435077"/>
                  </a:lnTo>
                  <a:lnTo>
                    <a:pt x="27" y="435077"/>
                  </a:lnTo>
                  <a:cubicBezTo>
                    <a:pt x="27" y="377381"/>
                    <a:pt x="22922" y="322050"/>
                    <a:pt x="63739" y="281253"/>
                  </a:cubicBezTo>
                  <a:cubicBezTo>
                    <a:pt x="104499" y="240497"/>
                    <a:pt x="159755" y="217582"/>
                    <a:pt x="217374" y="217539"/>
                  </a:cubicBezTo>
                  <a:lnTo>
                    <a:pt x="0" y="217539"/>
                  </a:lnTo>
                  <a:cubicBezTo>
                    <a:pt x="0" y="159842"/>
                    <a:pt x="22922" y="104511"/>
                    <a:pt x="63739" y="63714"/>
                  </a:cubicBezTo>
                  <a:cubicBezTo>
                    <a:pt x="104527" y="22918"/>
                    <a:pt x="159863" y="0"/>
                    <a:pt x="217539" y="0"/>
                  </a:cubicBezTo>
                  <a:cubicBezTo>
                    <a:pt x="275239" y="0"/>
                    <a:pt x="330577" y="22918"/>
                    <a:pt x="371365" y="63714"/>
                  </a:cubicBezTo>
                  <a:close/>
                </a:path>
              </a:pathLst>
            </a:custGeom>
            <a:grpFill/>
            <a:ln w="27192" cap="flat">
              <a:noFill/>
              <a:prstDash val="solid"/>
              <a:miter/>
            </a:ln>
          </p:spPr>
          <p:txBody>
            <a:bodyPr rtlCol="0" anchor="ctr"/>
            <a:lstStyle/>
            <a:p>
              <a:endParaRPr lang="uk-UA" sz="900"/>
            </a:p>
          </p:txBody>
        </p:sp>
        <p:sp>
          <p:nvSpPr>
            <p:cNvPr id="149" name="Freeform: Shape 148">
              <a:extLst>
                <a:ext uri="{FF2B5EF4-FFF2-40B4-BE49-F238E27FC236}">
                  <a16:creationId xmlns:a16="http://schemas.microsoft.com/office/drawing/2014/main" id="{5020E2B4-96EF-0F90-D2FD-BD3CA19CA0FA}"/>
                </a:ext>
              </a:extLst>
            </p:cNvPr>
            <p:cNvSpPr/>
            <p:nvPr/>
          </p:nvSpPr>
          <p:spPr>
            <a:xfrm>
              <a:off x="13017991" y="1968906"/>
              <a:ext cx="435077" cy="435077"/>
            </a:xfrm>
            <a:custGeom>
              <a:avLst/>
              <a:gdLst>
                <a:gd name="connsiteX0" fmla="*/ 217539 w 435077"/>
                <a:gd name="connsiteY0" fmla="*/ 217533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2 h 435077"/>
                <a:gd name="connsiteX7" fmla="*/ 435077 w 435077"/>
                <a:gd name="connsiteY7" fmla="*/ 217541 h 435077"/>
                <a:gd name="connsiteX8" fmla="*/ 435077 w 435077"/>
                <a:gd name="connsiteY8" fmla="*/ 217541 h 435077"/>
                <a:gd name="connsiteX9" fmla="*/ 435077 w 435077"/>
                <a:gd name="connsiteY9" fmla="*/ 217539 h 435077"/>
                <a:gd name="connsiteX10" fmla="*/ 435077 w 435077"/>
                <a:gd name="connsiteY10" fmla="*/ 217533 h 435077"/>
                <a:gd name="connsiteX11" fmla="*/ 435077 w 435077"/>
                <a:gd name="connsiteY11" fmla="*/ 217533 h 435077"/>
                <a:gd name="connsiteX12" fmla="*/ 217539 w 435077"/>
                <a:gd name="connsiteY12" fmla="*/ 5 h 435077"/>
                <a:gd name="connsiteX13" fmla="*/ 217539 w 435077"/>
                <a:gd name="connsiteY13" fmla="*/ 217533 h 435077"/>
                <a:gd name="connsiteX14" fmla="*/ 217539 w 435077"/>
                <a:gd name="connsiteY14" fmla="*/ 21753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3"/>
                  </a:moveTo>
                  <a:lnTo>
                    <a:pt x="217539" y="0"/>
                  </a:lnTo>
                  <a:lnTo>
                    <a:pt x="0" y="0"/>
                  </a:lnTo>
                  <a:lnTo>
                    <a:pt x="217539" y="217539"/>
                  </a:lnTo>
                  <a:lnTo>
                    <a:pt x="0" y="435077"/>
                  </a:lnTo>
                  <a:lnTo>
                    <a:pt x="217539" y="435077"/>
                  </a:lnTo>
                  <a:lnTo>
                    <a:pt x="217539" y="435072"/>
                  </a:lnTo>
                  <a:lnTo>
                    <a:pt x="435077" y="217541"/>
                  </a:lnTo>
                  <a:lnTo>
                    <a:pt x="435077" y="217541"/>
                  </a:lnTo>
                  <a:lnTo>
                    <a:pt x="435077" y="217539"/>
                  </a:lnTo>
                  <a:lnTo>
                    <a:pt x="435077" y="217533"/>
                  </a:lnTo>
                  <a:lnTo>
                    <a:pt x="435077" y="217533"/>
                  </a:lnTo>
                  <a:lnTo>
                    <a:pt x="217539" y="5"/>
                  </a:lnTo>
                  <a:lnTo>
                    <a:pt x="217539" y="217533"/>
                  </a:lnTo>
                  <a:lnTo>
                    <a:pt x="217539" y="217533"/>
                  </a:lnTo>
                  <a:close/>
                </a:path>
              </a:pathLst>
            </a:custGeom>
            <a:grpFill/>
            <a:ln w="27192" cap="flat">
              <a:noFill/>
              <a:prstDash val="solid"/>
              <a:miter/>
            </a:ln>
          </p:spPr>
          <p:txBody>
            <a:bodyPr rtlCol="0" anchor="ctr"/>
            <a:lstStyle/>
            <a:p>
              <a:endParaRPr lang="uk-UA" sz="900"/>
            </a:p>
          </p:txBody>
        </p:sp>
        <p:sp>
          <p:nvSpPr>
            <p:cNvPr id="150" name="Freeform: Shape 149">
              <a:extLst>
                <a:ext uri="{FF2B5EF4-FFF2-40B4-BE49-F238E27FC236}">
                  <a16:creationId xmlns:a16="http://schemas.microsoft.com/office/drawing/2014/main" id="{2F0FF714-63B8-BDBC-7A7C-EAD8EF140D2E}"/>
                </a:ext>
              </a:extLst>
            </p:cNvPr>
            <p:cNvSpPr/>
            <p:nvPr/>
          </p:nvSpPr>
          <p:spPr>
            <a:xfrm>
              <a:off x="14758382" y="1968909"/>
              <a:ext cx="435077" cy="435077"/>
            </a:xfrm>
            <a:custGeom>
              <a:avLst/>
              <a:gdLst>
                <a:gd name="connsiteX0" fmla="*/ 217539 w 435077"/>
                <a:gd name="connsiteY0" fmla="*/ 0 h 435077"/>
                <a:gd name="connsiteX1" fmla="*/ 217539 w 435077"/>
                <a:gd name="connsiteY1" fmla="*/ 0 h 435077"/>
                <a:gd name="connsiteX2" fmla="*/ 0 w 435077"/>
                <a:gd name="connsiteY2" fmla="*/ 0 h 435077"/>
                <a:gd name="connsiteX3" fmla="*/ 0 w 435077"/>
                <a:gd name="connsiteY3" fmla="*/ 217539 h 435077"/>
                <a:gd name="connsiteX4" fmla="*/ 217539 w 435077"/>
                <a:gd name="connsiteY4" fmla="*/ 5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217539" y="0"/>
                  </a:lnTo>
                  <a:lnTo>
                    <a:pt x="0" y="0"/>
                  </a:lnTo>
                  <a:lnTo>
                    <a:pt x="0" y="217539"/>
                  </a:lnTo>
                  <a:lnTo>
                    <a:pt x="217539" y="5"/>
                  </a:lnTo>
                  <a:lnTo>
                    <a:pt x="435077" y="217539"/>
                  </a:lnTo>
                  <a:lnTo>
                    <a:pt x="217539" y="435077"/>
                  </a:lnTo>
                  <a:lnTo>
                    <a:pt x="0" y="217539"/>
                  </a:lnTo>
                  <a:lnTo>
                    <a:pt x="0" y="435077"/>
                  </a:lnTo>
                  <a:lnTo>
                    <a:pt x="217539" y="435077"/>
                  </a:lnTo>
                  <a:lnTo>
                    <a:pt x="435077" y="435077"/>
                  </a:lnTo>
                  <a:lnTo>
                    <a:pt x="435077" y="217539"/>
                  </a:lnTo>
                  <a:lnTo>
                    <a:pt x="435077" y="0"/>
                  </a:lnTo>
                  <a:lnTo>
                    <a:pt x="217539" y="0"/>
                  </a:lnTo>
                  <a:close/>
                </a:path>
              </a:pathLst>
            </a:custGeom>
            <a:grpFill/>
            <a:ln w="27192" cap="flat">
              <a:noFill/>
              <a:prstDash val="solid"/>
              <a:miter/>
            </a:ln>
          </p:spPr>
          <p:txBody>
            <a:bodyPr rtlCol="0" anchor="ctr"/>
            <a:lstStyle/>
            <a:p>
              <a:endParaRPr lang="uk-UA" sz="900"/>
            </a:p>
          </p:txBody>
        </p:sp>
        <p:sp>
          <p:nvSpPr>
            <p:cNvPr id="151" name="Freeform: Shape 150">
              <a:extLst>
                <a:ext uri="{FF2B5EF4-FFF2-40B4-BE49-F238E27FC236}">
                  <a16:creationId xmlns:a16="http://schemas.microsoft.com/office/drawing/2014/main" id="{56A12373-A3DB-5A08-3169-2B8B97720490}"/>
                </a:ext>
              </a:extLst>
            </p:cNvPr>
            <p:cNvSpPr/>
            <p:nvPr/>
          </p:nvSpPr>
          <p:spPr>
            <a:xfrm>
              <a:off x="13888200" y="1968909"/>
              <a:ext cx="435077" cy="435077"/>
            </a:xfrm>
            <a:custGeom>
              <a:avLst/>
              <a:gdLst>
                <a:gd name="connsiteX0" fmla="*/ 0 w 435077"/>
                <a:gd name="connsiteY0" fmla="*/ 435077 h 435077"/>
                <a:gd name="connsiteX1" fmla="*/ 217539 w 435077"/>
                <a:gd name="connsiteY1" fmla="*/ 435077 h 435077"/>
                <a:gd name="connsiteX2" fmla="*/ 217539 w 435077"/>
                <a:gd name="connsiteY2" fmla="*/ 217547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28 h 435077"/>
                <a:gd name="connsiteX7" fmla="*/ 217539 w 435077"/>
                <a:gd name="connsiteY7" fmla="*/ 0 h 435077"/>
                <a:gd name="connsiteX8" fmla="*/ 435077 w 435077"/>
                <a:gd name="connsiteY8" fmla="*/ 435077 h 435077"/>
                <a:gd name="connsiteX9" fmla="*/ 217565 w 435077"/>
                <a:gd name="connsiteY9" fmla="*/ 435077 h 435077"/>
                <a:gd name="connsiteX10" fmla="*/ 435077 w 435077"/>
                <a:gd name="connsiteY10" fmla="*/ 217547 h 435077"/>
                <a:gd name="connsiteX11" fmla="*/ 435077 w 435077"/>
                <a:gd name="connsiteY11" fmla="*/ 435077 h 435077"/>
                <a:gd name="connsiteX12" fmla="*/ 435077 w 435077"/>
                <a:gd name="connsiteY12" fmla="*/ 3 h 435077"/>
                <a:gd name="connsiteX13" fmla="*/ 217565 w 435077"/>
                <a:gd name="connsiteY13" fmla="*/ 3 h 435077"/>
                <a:gd name="connsiteX14" fmla="*/ 435077 w 435077"/>
                <a:gd name="connsiteY14" fmla="*/ 217531 h 435077"/>
                <a:gd name="connsiteX15" fmla="*/ 435077 w 435077"/>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47"/>
                  </a:lnTo>
                  <a:lnTo>
                    <a:pt x="0" y="435077"/>
                  </a:lnTo>
                  <a:close/>
                  <a:moveTo>
                    <a:pt x="217539" y="0"/>
                  </a:moveTo>
                  <a:lnTo>
                    <a:pt x="0" y="0"/>
                  </a:lnTo>
                  <a:lnTo>
                    <a:pt x="217539" y="217528"/>
                  </a:lnTo>
                  <a:lnTo>
                    <a:pt x="217539" y="0"/>
                  </a:lnTo>
                  <a:close/>
                  <a:moveTo>
                    <a:pt x="435077" y="435077"/>
                  </a:moveTo>
                  <a:lnTo>
                    <a:pt x="217565" y="435077"/>
                  </a:lnTo>
                  <a:lnTo>
                    <a:pt x="435077" y="217547"/>
                  </a:lnTo>
                  <a:lnTo>
                    <a:pt x="435077" y="435077"/>
                  </a:lnTo>
                  <a:close/>
                  <a:moveTo>
                    <a:pt x="435077" y="3"/>
                  </a:moveTo>
                  <a:lnTo>
                    <a:pt x="217565" y="3"/>
                  </a:lnTo>
                  <a:lnTo>
                    <a:pt x="435077" y="217531"/>
                  </a:lnTo>
                  <a:lnTo>
                    <a:pt x="435077" y="3"/>
                  </a:lnTo>
                  <a:close/>
                </a:path>
              </a:pathLst>
            </a:custGeom>
            <a:grpFill/>
            <a:ln w="27192" cap="flat">
              <a:noFill/>
              <a:prstDash val="solid"/>
              <a:miter/>
            </a:ln>
          </p:spPr>
          <p:txBody>
            <a:bodyPr rtlCol="0" anchor="ctr"/>
            <a:lstStyle/>
            <a:p>
              <a:endParaRPr lang="uk-UA" sz="900"/>
            </a:p>
          </p:txBody>
        </p:sp>
        <p:sp>
          <p:nvSpPr>
            <p:cNvPr id="152" name="Freeform: Shape 151">
              <a:extLst>
                <a:ext uri="{FF2B5EF4-FFF2-40B4-BE49-F238E27FC236}">
                  <a16:creationId xmlns:a16="http://schemas.microsoft.com/office/drawing/2014/main" id="{5B6562B5-91B8-987F-608E-7885E50185C7}"/>
                </a:ext>
              </a:extLst>
            </p:cNvPr>
            <p:cNvSpPr/>
            <p:nvPr/>
          </p:nvSpPr>
          <p:spPr>
            <a:xfrm>
              <a:off x="15628536" y="1968909"/>
              <a:ext cx="435077" cy="435077"/>
            </a:xfrm>
            <a:custGeom>
              <a:avLst/>
              <a:gdLst>
                <a:gd name="connsiteX0" fmla="*/ 371367 w 435077"/>
                <a:gd name="connsiteY0" fmla="*/ 63714 h 435077"/>
                <a:gd name="connsiteX1" fmla="*/ 435077 w 435077"/>
                <a:gd name="connsiteY1" fmla="*/ 217539 h 435077"/>
                <a:gd name="connsiteX2" fmla="*/ 217730 w 435077"/>
                <a:gd name="connsiteY2" fmla="*/ 217539 h 435077"/>
                <a:gd name="connsiteX3" fmla="*/ 371367 w 435077"/>
                <a:gd name="connsiteY3" fmla="*/ 281253 h 435077"/>
                <a:gd name="connsiteX4" fmla="*/ 435077 w 435077"/>
                <a:gd name="connsiteY4" fmla="*/ 435077 h 435077"/>
                <a:gd name="connsiteX5" fmla="*/ 217539 w 435077"/>
                <a:gd name="connsiteY5" fmla="*/ 435077 h 435077"/>
                <a:gd name="connsiteX6" fmla="*/ 0 w 435077"/>
                <a:gd name="connsiteY6" fmla="*/ 435077 h 435077"/>
                <a:gd name="connsiteX7" fmla="*/ 63739 w 435077"/>
                <a:gd name="connsiteY7" fmla="*/ 281253 h 435077"/>
                <a:gd name="connsiteX8" fmla="*/ 217376 w 435077"/>
                <a:gd name="connsiteY8" fmla="*/ 217539 h 435077"/>
                <a:gd name="connsiteX9" fmla="*/ 0 w 435077"/>
                <a:gd name="connsiteY9" fmla="*/ 217539 h 435077"/>
                <a:gd name="connsiteX10" fmla="*/ 63712 w 435077"/>
                <a:gd name="connsiteY10" fmla="*/ 63714 h 435077"/>
                <a:gd name="connsiteX11" fmla="*/ 217539 w 435077"/>
                <a:gd name="connsiteY11" fmla="*/ 0 h 435077"/>
                <a:gd name="connsiteX12" fmla="*/ 371367 w 435077"/>
                <a:gd name="connsiteY12" fmla="*/ 63714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7" y="63714"/>
                  </a:moveTo>
                  <a:cubicBezTo>
                    <a:pt x="412155" y="104511"/>
                    <a:pt x="435077" y="159842"/>
                    <a:pt x="435077" y="217539"/>
                  </a:cubicBezTo>
                  <a:lnTo>
                    <a:pt x="217730" y="217539"/>
                  </a:lnTo>
                  <a:cubicBezTo>
                    <a:pt x="275351" y="217582"/>
                    <a:pt x="330605" y="240497"/>
                    <a:pt x="371367" y="281253"/>
                  </a:cubicBezTo>
                  <a:cubicBezTo>
                    <a:pt x="412182" y="322050"/>
                    <a:pt x="435077" y="377381"/>
                    <a:pt x="435077" y="435077"/>
                  </a:cubicBezTo>
                  <a:lnTo>
                    <a:pt x="217539" y="435077"/>
                  </a:lnTo>
                  <a:lnTo>
                    <a:pt x="0" y="435077"/>
                  </a:lnTo>
                  <a:cubicBezTo>
                    <a:pt x="0" y="377381"/>
                    <a:pt x="22924" y="322050"/>
                    <a:pt x="63739" y="281253"/>
                  </a:cubicBezTo>
                  <a:cubicBezTo>
                    <a:pt x="104474" y="240497"/>
                    <a:pt x="159755" y="217582"/>
                    <a:pt x="217376" y="217539"/>
                  </a:cubicBezTo>
                  <a:lnTo>
                    <a:pt x="0" y="217539"/>
                  </a:lnTo>
                  <a:cubicBezTo>
                    <a:pt x="0" y="159842"/>
                    <a:pt x="22924" y="104511"/>
                    <a:pt x="63712" y="63714"/>
                  </a:cubicBezTo>
                  <a:cubicBezTo>
                    <a:pt x="104527" y="22918"/>
                    <a:pt x="159865" y="0"/>
                    <a:pt x="217539" y="0"/>
                  </a:cubicBezTo>
                  <a:cubicBezTo>
                    <a:pt x="275241" y="0"/>
                    <a:pt x="330578" y="22918"/>
                    <a:pt x="371367" y="63714"/>
                  </a:cubicBezTo>
                  <a:close/>
                </a:path>
              </a:pathLst>
            </a:custGeom>
            <a:grpFill/>
            <a:ln w="27192" cap="flat">
              <a:noFill/>
              <a:prstDash val="solid"/>
              <a:miter/>
            </a:ln>
          </p:spPr>
          <p:txBody>
            <a:bodyPr rtlCol="0" anchor="ctr"/>
            <a:lstStyle/>
            <a:p>
              <a:endParaRPr lang="uk-UA" sz="900"/>
            </a:p>
          </p:txBody>
        </p:sp>
        <p:sp>
          <p:nvSpPr>
            <p:cNvPr id="153" name="Freeform: Shape 152">
              <a:extLst>
                <a:ext uri="{FF2B5EF4-FFF2-40B4-BE49-F238E27FC236}">
                  <a16:creationId xmlns:a16="http://schemas.microsoft.com/office/drawing/2014/main" id="{497BE5EF-D13E-F48D-659C-4FB014407F36}"/>
                </a:ext>
              </a:extLst>
            </p:cNvPr>
            <p:cNvSpPr/>
            <p:nvPr/>
          </p:nvSpPr>
          <p:spPr>
            <a:xfrm>
              <a:off x="16498719" y="1968909"/>
              <a:ext cx="435077" cy="435074"/>
            </a:xfrm>
            <a:custGeom>
              <a:avLst/>
              <a:gdLst>
                <a:gd name="connsiteX0" fmla="*/ 217539 w 435077"/>
                <a:gd name="connsiteY0" fmla="*/ 217533 h 435074"/>
                <a:gd name="connsiteX1" fmla="*/ 217539 w 435077"/>
                <a:gd name="connsiteY1" fmla="*/ 0 h 435074"/>
                <a:gd name="connsiteX2" fmla="*/ 0 w 435077"/>
                <a:gd name="connsiteY2" fmla="*/ 0 h 435074"/>
                <a:gd name="connsiteX3" fmla="*/ 217539 w 435077"/>
                <a:gd name="connsiteY3" fmla="*/ 217539 h 435074"/>
                <a:gd name="connsiteX4" fmla="*/ 0 w 435077"/>
                <a:gd name="connsiteY4" fmla="*/ 435075 h 435074"/>
                <a:gd name="connsiteX5" fmla="*/ 217539 w 435077"/>
                <a:gd name="connsiteY5" fmla="*/ 435075 h 435074"/>
                <a:gd name="connsiteX6" fmla="*/ 217539 w 435077"/>
                <a:gd name="connsiteY6" fmla="*/ 435072 h 435074"/>
                <a:gd name="connsiteX7" fmla="*/ 435049 w 435077"/>
                <a:gd name="connsiteY7" fmla="*/ 217541 h 435074"/>
                <a:gd name="connsiteX8" fmla="*/ 435077 w 435077"/>
                <a:gd name="connsiteY8" fmla="*/ 217541 h 435074"/>
                <a:gd name="connsiteX9" fmla="*/ 435049 w 435077"/>
                <a:gd name="connsiteY9" fmla="*/ 217536 h 435074"/>
                <a:gd name="connsiteX10" fmla="*/ 435077 w 435077"/>
                <a:gd name="connsiteY10" fmla="*/ 217533 h 435074"/>
                <a:gd name="connsiteX11" fmla="*/ 435049 w 435077"/>
                <a:gd name="connsiteY11" fmla="*/ 217533 h 435074"/>
                <a:gd name="connsiteX12" fmla="*/ 217539 w 435077"/>
                <a:gd name="connsiteY12" fmla="*/ 3 h 435074"/>
                <a:gd name="connsiteX13" fmla="*/ 217539 w 435077"/>
                <a:gd name="connsiteY13" fmla="*/ 217533 h 435074"/>
                <a:gd name="connsiteX14" fmla="*/ 217539 w 435077"/>
                <a:gd name="connsiteY14" fmla="*/ 217533 h 43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4">
                  <a:moveTo>
                    <a:pt x="217539" y="217533"/>
                  </a:moveTo>
                  <a:lnTo>
                    <a:pt x="217539" y="0"/>
                  </a:lnTo>
                  <a:lnTo>
                    <a:pt x="0" y="0"/>
                  </a:lnTo>
                  <a:lnTo>
                    <a:pt x="217539" y="217539"/>
                  </a:lnTo>
                  <a:lnTo>
                    <a:pt x="0" y="435075"/>
                  </a:lnTo>
                  <a:lnTo>
                    <a:pt x="217539" y="435075"/>
                  </a:lnTo>
                  <a:lnTo>
                    <a:pt x="217539" y="435072"/>
                  </a:lnTo>
                  <a:lnTo>
                    <a:pt x="435049" y="217541"/>
                  </a:lnTo>
                  <a:lnTo>
                    <a:pt x="435077" y="217541"/>
                  </a:lnTo>
                  <a:lnTo>
                    <a:pt x="435049" y="217536"/>
                  </a:lnTo>
                  <a:lnTo>
                    <a:pt x="435077" y="217533"/>
                  </a:lnTo>
                  <a:lnTo>
                    <a:pt x="435049" y="217533"/>
                  </a:lnTo>
                  <a:lnTo>
                    <a:pt x="217539" y="3"/>
                  </a:lnTo>
                  <a:lnTo>
                    <a:pt x="217539" y="217533"/>
                  </a:lnTo>
                  <a:lnTo>
                    <a:pt x="217539" y="217533"/>
                  </a:lnTo>
                  <a:close/>
                </a:path>
              </a:pathLst>
            </a:custGeom>
            <a:grpFill/>
            <a:ln w="27192" cap="flat">
              <a:noFill/>
              <a:prstDash val="solid"/>
              <a:miter/>
            </a:ln>
          </p:spPr>
          <p:txBody>
            <a:bodyPr rtlCol="0" anchor="ctr"/>
            <a:lstStyle/>
            <a:p>
              <a:endParaRPr lang="uk-UA" sz="900"/>
            </a:p>
          </p:txBody>
        </p:sp>
        <p:sp>
          <p:nvSpPr>
            <p:cNvPr id="154" name="Freeform: Shape 153">
              <a:extLst>
                <a:ext uri="{FF2B5EF4-FFF2-40B4-BE49-F238E27FC236}">
                  <a16:creationId xmlns:a16="http://schemas.microsoft.com/office/drawing/2014/main" id="{30FBFC3A-C3BE-6C67-A9CB-CA9179D43CCF}"/>
                </a:ext>
              </a:extLst>
            </p:cNvPr>
            <p:cNvSpPr/>
            <p:nvPr/>
          </p:nvSpPr>
          <p:spPr>
            <a:xfrm>
              <a:off x="18239029" y="196890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155" name="Freeform: Shape 154">
              <a:extLst>
                <a:ext uri="{FF2B5EF4-FFF2-40B4-BE49-F238E27FC236}">
                  <a16:creationId xmlns:a16="http://schemas.microsoft.com/office/drawing/2014/main" id="{9B80C94C-28BF-1FBE-C6E6-88948A50E5D8}"/>
                </a:ext>
              </a:extLst>
            </p:cNvPr>
            <p:cNvSpPr/>
            <p:nvPr/>
          </p:nvSpPr>
          <p:spPr>
            <a:xfrm>
              <a:off x="17368874" y="1968909"/>
              <a:ext cx="435077" cy="435077"/>
            </a:xfrm>
            <a:custGeom>
              <a:avLst/>
              <a:gdLst>
                <a:gd name="connsiteX0" fmla="*/ 0 w 435077"/>
                <a:gd name="connsiteY0" fmla="*/ 435077 h 435077"/>
                <a:gd name="connsiteX1" fmla="*/ 217539 w 435077"/>
                <a:gd name="connsiteY1" fmla="*/ 435077 h 435077"/>
                <a:gd name="connsiteX2" fmla="*/ 217539 w 435077"/>
                <a:gd name="connsiteY2" fmla="*/ 217547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28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47 h 435077"/>
                <a:gd name="connsiteX11" fmla="*/ 435077 w 435077"/>
                <a:gd name="connsiteY11" fmla="*/ 435077 h 435077"/>
                <a:gd name="connsiteX12" fmla="*/ 435077 w 435077"/>
                <a:gd name="connsiteY12" fmla="*/ 3 h 435077"/>
                <a:gd name="connsiteX13" fmla="*/ 217539 w 435077"/>
                <a:gd name="connsiteY13" fmla="*/ 3 h 435077"/>
                <a:gd name="connsiteX14" fmla="*/ 435077 w 435077"/>
                <a:gd name="connsiteY14" fmla="*/ 217531 h 435077"/>
                <a:gd name="connsiteX15" fmla="*/ 435077 w 435077"/>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47"/>
                  </a:lnTo>
                  <a:lnTo>
                    <a:pt x="0" y="435077"/>
                  </a:lnTo>
                  <a:close/>
                  <a:moveTo>
                    <a:pt x="217539" y="0"/>
                  </a:moveTo>
                  <a:lnTo>
                    <a:pt x="0" y="0"/>
                  </a:lnTo>
                  <a:lnTo>
                    <a:pt x="217539" y="217528"/>
                  </a:lnTo>
                  <a:lnTo>
                    <a:pt x="217539" y="0"/>
                  </a:lnTo>
                  <a:close/>
                  <a:moveTo>
                    <a:pt x="435077" y="435077"/>
                  </a:moveTo>
                  <a:lnTo>
                    <a:pt x="217539" y="435077"/>
                  </a:lnTo>
                  <a:lnTo>
                    <a:pt x="435077" y="217547"/>
                  </a:lnTo>
                  <a:lnTo>
                    <a:pt x="435077" y="435077"/>
                  </a:lnTo>
                  <a:close/>
                  <a:moveTo>
                    <a:pt x="435077" y="3"/>
                  </a:moveTo>
                  <a:lnTo>
                    <a:pt x="217539" y="3"/>
                  </a:lnTo>
                  <a:lnTo>
                    <a:pt x="435077" y="217531"/>
                  </a:lnTo>
                  <a:lnTo>
                    <a:pt x="435077" y="3"/>
                  </a:lnTo>
                  <a:close/>
                </a:path>
              </a:pathLst>
            </a:custGeom>
            <a:grpFill/>
            <a:ln w="27192" cap="flat">
              <a:noFill/>
              <a:prstDash val="solid"/>
              <a:miter/>
            </a:ln>
          </p:spPr>
          <p:txBody>
            <a:bodyPr rtlCol="0" anchor="ctr"/>
            <a:lstStyle/>
            <a:p>
              <a:endParaRPr lang="uk-UA" sz="900"/>
            </a:p>
          </p:txBody>
        </p:sp>
        <p:sp>
          <p:nvSpPr>
            <p:cNvPr id="156" name="Freeform: Shape 155">
              <a:extLst>
                <a:ext uri="{FF2B5EF4-FFF2-40B4-BE49-F238E27FC236}">
                  <a16:creationId xmlns:a16="http://schemas.microsoft.com/office/drawing/2014/main" id="{E04013A0-0BB6-E958-0AA9-5AC732F37882}"/>
                </a:ext>
              </a:extLst>
            </p:cNvPr>
            <p:cNvSpPr/>
            <p:nvPr/>
          </p:nvSpPr>
          <p:spPr>
            <a:xfrm>
              <a:off x="19109210" y="1968909"/>
              <a:ext cx="435077" cy="435077"/>
            </a:xfrm>
            <a:custGeom>
              <a:avLst/>
              <a:gdLst>
                <a:gd name="connsiteX0" fmla="*/ 371339 w 435077"/>
                <a:gd name="connsiteY0" fmla="*/ 63714 h 435077"/>
                <a:gd name="connsiteX1" fmla="*/ 435077 w 435077"/>
                <a:gd name="connsiteY1" fmla="*/ 217539 h 435077"/>
                <a:gd name="connsiteX2" fmla="*/ 217701 w 435077"/>
                <a:gd name="connsiteY2" fmla="*/ 217539 h 435077"/>
                <a:gd name="connsiteX3" fmla="*/ 371365 w 435077"/>
                <a:gd name="connsiteY3" fmla="*/ 281253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3 h 435077"/>
                <a:gd name="connsiteX8" fmla="*/ 217376 w 435077"/>
                <a:gd name="connsiteY8" fmla="*/ 217539 h 435077"/>
                <a:gd name="connsiteX9" fmla="*/ 0 w 435077"/>
                <a:gd name="connsiteY9" fmla="*/ 217539 h 435077"/>
                <a:gd name="connsiteX10" fmla="*/ 63712 w 435077"/>
                <a:gd name="connsiteY10" fmla="*/ 63714 h 435077"/>
                <a:gd name="connsiteX11" fmla="*/ 217539 w 435077"/>
                <a:gd name="connsiteY11" fmla="*/ 0 h 435077"/>
                <a:gd name="connsiteX12" fmla="*/ 371339 w 435077"/>
                <a:gd name="connsiteY12" fmla="*/ 63714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14"/>
                  </a:moveTo>
                  <a:cubicBezTo>
                    <a:pt x="412154" y="104511"/>
                    <a:pt x="435077" y="159842"/>
                    <a:pt x="435077" y="217539"/>
                  </a:cubicBezTo>
                  <a:lnTo>
                    <a:pt x="217701" y="217539"/>
                  </a:lnTo>
                  <a:cubicBezTo>
                    <a:pt x="275322" y="217582"/>
                    <a:pt x="330605" y="240497"/>
                    <a:pt x="371365" y="281253"/>
                  </a:cubicBezTo>
                  <a:cubicBezTo>
                    <a:pt x="412154" y="322050"/>
                    <a:pt x="435077" y="377381"/>
                    <a:pt x="435077" y="435077"/>
                  </a:cubicBezTo>
                  <a:lnTo>
                    <a:pt x="217539" y="435077"/>
                  </a:lnTo>
                  <a:lnTo>
                    <a:pt x="0" y="435077"/>
                  </a:lnTo>
                  <a:cubicBezTo>
                    <a:pt x="0" y="377381"/>
                    <a:pt x="22924" y="322050"/>
                    <a:pt x="63712" y="281253"/>
                  </a:cubicBezTo>
                  <a:cubicBezTo>
                    <a:pt x="104472" y="240497"/>
                    <a:pt x="159728" y="217582"/>
                    <a:pt x="217376" y="217539"/>
                  </a:cubicBezTo>
                  <a:lnTo>
                    <a:pt x="0" y="217539"/>
                  </a:lnTo>
                  <a:cubicBezTo>
                    <a:pt x="0" y="159842"/>
                    <a:pt x="22895" y="104511"/>
                    <a:pt x="63712" y="63714"/>
                  </a:cubicBezTo>
                  <a:cubicBezTo>
                    <a:pt x="104501" y="22918"/>
                    <a:pt x="159836" y="0"/>
                    <a:pt x="217539" y="0"/>
                  </a:cubicBezTo>
                  <a:cubicBezTo>
                    <a:pt x="275215" y="0"/>
                    <a:pt x="330550" y="22918"/>
                    <a:pt x="371339" y="63714"/>
                  </a:cubicBezTo>
                  <a:close/>
                </a:path>
              </a:pathLst>
            </a:custGeom>
            <a:grpFill/>
            <a:ln w="27192" cap="flat">
              <a:noFill/>
              <a:prstDash val="solid"/>
              <a:miter/>
            </a:ln>
          </p:spPr>
          <p:txBody>
            <a:bodyPr rtlCol="0" anchor="ctr"/>
            <a:lstStyle/>
            <a:p>
              <a:endParaRPr lang="uk-UA" sz="900"/>
            </a:p>
          </p:txBody>
        </p:sp>
        <p:sp>
          <p:nvSpPr>
            <p:cNvPr id="157" name="Freeform: Shape 156">
              <a:extLst>
                <a:ext uri="{FF2B5EF4-FFF2-40B4-BE49-F238E27FC236}">
                  <a16:creationId xmlns:a16="http://schemas.microsoft.com/office/drawing/2014/main" id="{DEE50643-B79A-D073-E0FE-4E7B3FFB73D9}"/>
                </a:ext>
              </a:extLst>
            </p:cNvPr>
            <p:cNvSpPr/>
            <p:nvPr/>
          </p:nvSpPr>
          <p:spPr>
            <a:xfrm>
              <a:off x="19979365" y="1968909"/>
              <a:ext cx="435077" cy="435074"/>
            </a:xfrm>
            <a:custGeom>
              <a:avLst/>
              <a:gdLst>
                <a:gd name="connsiteX0" fmla="*/ 217539 w 435077"/>
                <a:gd name="connsiteY0" fmla="*/ 217533 h 435074"/>
                <a:gd name="connsiteX1" fmla="*/ 217539 w 435077"/>
                <a:gd name="connsiteY1" fmla="*/ 0 h 435074"/>
                <a:gd name="connsiteX2" fmla="*/ 0 w 435077"/>
                <a:gd name="connsiteY2" fmla="*/ 0 h 435074"/>
                <a:gd name="connsiteX3" fmla="*/ 217539 w 435077"/>
                <a:gd name="connsiteY3" fmla="*/ 217539 h 435074"/>
                <a:gd name="connsiteX4" fmla="*/ 0 w 435077"/>
                <a:gd name="connsiteY4" fmla="*/ 435075 h 435074"/>
                <a:gd name="connsiteX5" fmla="*/ 217539 w 435077"/>
                <a:gd name="connsiteY5" fmla="*/ 435075 h 435074"/>
                <a:gd name="connsiteX6" fmla="*/ 217539 w 435077"/>
                <a:gd name="connsiteY6" fmla="*/ 435072 h 435074"/>
                <a:gd name="connsiteX7" fmla="*/ 435051 w 435077"/>
                <a:gd name="connsiteY7" fmla="*/ 217541 h 435074"/>
                <a:gd name="connsiteX8" fmla="*/ 435077 w 435077"/>
                <a:gd name="connsiteY8" fmla="*/ 217541 h 435074"/>
                <a:gd name="connsiteX9" fmla="*/ 435077 w 435077"/>
                <a:gd name="connsiteY9" fmla="*/ 217536 h 435074"/>
                <a:gd name="connsiteX10" fmla="*/ 435077 w 435077"/>
                <a:gd name="connsiteY10" fmla="*/ 217533 h 435074"/>
                <a:gd name="connsiteX11" fmla="*/ 435077 w 435077"/>
                <a:gd name="connsiteY11" fmla="*/ 217533 h 435074"/>
                <a:gd name="connsiteX12" fmla="*/ 217539 w 435077"/>
                <a:gd name="connsiteY12" fmla="*/ 3 h 435074"/>
                <a:gd name="connsiteX13" fmla="*/ 217539 w 435077"/>
                <a:gd name="connsiteY13" fmla="*/ 217533 h 435074"/>
                <a:gd name="connsiteX14" fmla="*/ 217539 w 435077"/>
                <a:gd name="connsiteY14" fmla="*/ 217533 h 43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4">
                  <a:moveTo>
                    <a:pt x="217539" y="217533"/>
                  </a:moveTo>
                  <a:lnTo>
                    <a:pt x="217539" y="0"/>
                  </a:lnTo>
                  <a:lnTo>
                    <a:pt x="0" y="0"/>
                  </a:lnTo>
                  <a:lnTo>
                    <a:pt x="217539" y="217539"/>
                  </a:lnTo>
                  <a:lnTo>
                    <a:pt x="0" y="435075"/>
                  </a:lnTo>
                  <a:lnTo>
                    <a:pt x="217539" y="435075"/>
                  </a:lnTo>
                  <a:lnTo>
                    <a:pt x="217539" y="435072"/>
                  </a:lnTo>
                  <a:lnTo>
                    <a:pt x="435051" y="217541"/>
                  </a:lnTo>
                  <a:lnTo>
                    <a:pt x="435077" y="217541"/>
                  </a:lnTo>
                  <a:lnTo>
                    <a:pt x="435077" y="217536"/>
                  </a:lnTo>
                  <a:lnTo>
                    <a:pt x="435077" y="217533"/>
                  </a:lnTo>
                  <a:lnTo>
                    <a:pt x="435077" y="217533"/>
                  </a:lnTo>
                  <a:lnTo>
                    <a:pt x="217539" y="3"/>
                  </a:lnTo>
                  <a:lnTo>
                    <a:pt x="217539" y="217533"/>
                  </a:lnTo>
                  <a:lnTo>
                    <a:pt x="217539" y="217533"/>
                  </a:lnTo>
                  <a:close/>
                </a:path>
              </a:pathLst>
            </a:custGeom>
            <a:grpFill/>
            <a:ln w="27192" cap="flat">
              <a:noFill/>
              <a:prstDash val="solid"/>
              <a:miter/>
            </a:ln>
          </p:spPr>
          <p:txBody>
            <a:bodyPr rtlCol="0" anchor="ctr"/>
            <a:lstStyle/>
            <a:p>
              <a:endParaRPr lang="uk-UA" sz="900"/>
            </a:p>
          </p:txBody>
        </p:sp>
        <p:sp>
          <p:nvSpPr>
            <p:cNvPr id="158" name="Freeform: Shape 157">
              <a:extLst>
                <a:ext uri="{FF2B5EF4-FFF2-40B4-BE49-F238E27FC236}">
                  <a16:creationId xmlns:a16="http://schemas.microsoft.com/office/drawing/2014/main" id="{90A20D6E-32BB-4F33-41D0-A0DDE139B8EB}"/>
                </a:ext>
              </a:extLst>
            </p:cNvPr>
            <p:cNvSpPr/>
            <p:nvPr/>
          </p:nvSpPr>
          <p:spPr>
            <a:xfrm>
              <a:off x="21719702" y="196890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159" name="Freeform: Shape 158">
              <a:extLst>
                <a:ext uri="{FF2B5EF4-FFF2-40B4-BE49-F238E27FC236}">
                  <a16:creationId xmlns:a16="http://schemas.microsoft.com/office/drawing/2014/main" id="{1386D111-7ACE-A828-6F3F-D9624FD00E28}"/>
                </a:ext>
              </a:extLst>
            </p:cNvPr>
            <p:cNvSpPr/>
            <p:nvPr/>
          </p:nvSpPr>
          <p:spPr>
            <a:xfrm>
              <a:off x="20849520" y="1968909"/>
              <a:ext cx="435077" cy="435077"/>
            </a:xfrm>
            <a:custGeom>
              <a:avLst/>
              <a:gdLst>
                <a:gd name="connsiteX0" fmla="*/ 0 w 435077"/>
                <a:gd name="connsiteY0" fmla="*/ 435077 h 435077"/>
                <a:gd name="connsiteX1" fmla="*/ 217539 w 435077"/>
                <a:gd name="connsiteY1" fmla="*/ 435077 h 435077"/>
                <a:gd name="connsiteX2" fmla="*/ 217539 w 435077"/>
                <a:gd name="connsiteY2" fmla="*/ 217547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28 h 435077"/>
                <a:gd name="connsiteX7" fmla="*/ 217539 w 435077"/>
                <a:gd name="connsiteY7" fmla="*/ 0 h 435077"/>
                <a:gd name="connsiteX8" fmla="*/ 435077 w 435077"/>
                <a:gd name="connsiteY8" fmla="*/ 435077 h 435077"/>
                <a:gd name="connsiteX9" fmla="*/ 217565 w 435077"/>
                <a:gd name="connsiteY9" fmla="*/ 435077 h 435077"/>
                <a:gd name="connsiteX10" fmla="*/ 435077 w 435077"/>
                <a:gd name="connsiteY10" fmla="*/ 217547 h 435077"/>
                <a:gd name="connsiteX11" fmla="*/ 435077 w 435077"/>
                <a:gd name="connsiteY11" fmla="*/ 435077 h 435077"/>
                <a:gd name="connsiteX12" fmla="*/ 435077 w 435077"/>
                <a:gd name="connsiteY12" fmla="*/ 3 h 435077"/>
                <a:gd name="connsiteX13" fmla="*/ 217565 w 435077"/>
                <a:gd name="connsiteY13" fmla="*/ 3 h 435077"/>
                <a:gd name="connsiteX14" fmla="*/ 435077 w 435077"/>
                <a:gd name="connsiteY14" fmla="*/ 217531 h 435077"/>
                <a:gd name="connsiteX15" fmla="*/ 435077 w 435077"/>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47"/>
                  </a:lnTo>
                  <a:lnTo>
                    <a:pt x="0" y="435077"/>
                  </a:lnTo>
                  <a:close/>
                  <a:moveTo>
                    <a:pt x="217539" y="0"/>
                  </a:moveTo>
                  <a:lnTo>
                    <a:pt x="0" y="0"/>
                  </a:lnTo>
                  <a:lnTo>
                    <a:pt x="217539" y="217528"/>
                  </a:lnTo>
                  <a:lnTo>
                    <a:pt x="217539" y="0"/>
                  </a:lnTo>
                  <a:close/>
                  <a:moveTo>
                    <a:pt x="435077" y="435077"/>
                  </a:moveTo>
                  <a:lnTo>
                    <a:pt x="217565" y="435077"/>
                  </a:lnTo>
                  <a:lnTo>
                    <a:pt x="435077" y="217547"/>
                  </a:lnTo>
                  <a:lnTo>
                    <a:pt x="435077" y="435077"/>
                  </a:lnTo>
                  <a:close/>
                  <a:moveTo>
                    <a:pt x="435077" y="3"/>
                  </a:moveTo>
                  <a:lnTo>
                    <a:pt x="217565" y="3"/>
                  </a:lnTo>
                  <a:lnTo>
                    <a:pt x="435077" y="217531"/>
                  </a:lnTo>
                  <a:lnTo>
                    <a:pt x="435077" y="3"/>
                  </a:lnTo>
                  <a:close/>
                </a:path>
              </a:pathLst>
            </a:custGeom>
            <a:grpFill/>
            <a:ln w="27192" cap="flat">
              <a:noFill/>
              <a:prstDash val="solid"/>
              <a:miter/>
            </a:ln>
          </p:spPr>
          <p:txBody>
            <a:bodyPr rtlCol="0" anchor="ctr"/>
            <a:lstStyle/>
            <a:p>
              <a:endParaRPr lang="uk-UA" sz="900"/>
            </a:p>
          </p:txBody>
        </p:sp>
        <p:sp>
          <p:nvSpPr>
            <p:cNvPr id="160" name="Freeform: Shape 159">
              <a:extLst>
                <a:ext uri="{FF2B5EF4-FFF2-40B4-BE49-F238E27FC236}">
                  <a16:creationId xmlns:a16="http://schemas.microsoft.com/office/drawing/2014/main" id="{2B07150A-3195-031E-4C8F-AF2BBA221539}"/>
                </a:ext>
              </a:extLst>
            </p:cNvPr>
            <p:cNvSpPr/>
            <p:nvPr/>
          </p:nvSpPr>
          <p:spPr>
            <a:xfrm>
              <a:off x="22589856" y="1968909"/>
              <a:ext cx="435077" cy="435077"/>
            </a:xfrm>
            <a:custGeom>
              <a:avLst/>
              <a:gdLst>
                <a:gd name="connsiteX0" fmla="*/ 371367 w 435077"/>
                <a:gd name="connsiteY0" fmla="*/ 63714 h 435077"/>
                <a:gd name="connsiteX1" fmla="*/ 435077 w 435077"/>
                <a:gd name="connsiteY1" fmla="*/ 217539 h 435077"/>
                <a:gd name="connsiteX2" fmla="*/ 217703 w 435077"/>
                <a:gd name="connsiteY2" fmla="*/ 217539 h 435077"/>
                <a:gd name="connsiteX3" fmla="*/ 371367 w 435077"/>
                <a:gd name="connsiteY3" fmla="*/ 281253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3 h 435077"/>
                <a:gd name="connsiteX8" fmla="*/ 217376 w 435077"/>
                <a:gd name="connsiteY8" fmla="*/ 217539 h 435077"/>
                <a:gd name="connsiteX9" fmla="*/ 0 w 435077"/>
                <a:gd name="connsiteY9" fmla="*/ 217539 h 435077"/>
                <a:gd name="connsiteX10" fmla="*/ 63712 w 435077"/>
                <a:gd name="connsiteY10" fmla="*/ 63714 h 435077"/>
                <a:gd name="connsiteX11" fmla="*/ 217539 w 435077"/>
                <a:gd name="connsiteY11" fmla="*/ 0 h 435077"/>
                <a:gd name="connsiteX12" fmla="*/ 371367 w 435077"/>
                <a:gd name="connsiteY12" fmla="*/ 63714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7" y="63714"/>
                  </a:moveTo>
                  <a:cubicBezTo>
                    <a:pt x="412155" y="104511"/>
                    <a:pt x="435077" y="159842"/>
                    <a:pt x="435077" y="217539"/>
                  </a:cubicBezTo>
                  <a:lnTo>
                    <a:pt x="217703" y="217539"/>
                  </a:lnTo>
                  <a:cubicBezTo>
                    <a:pt x="275351" y="217582"/>
                    <a:pt x="330605" y="240497"/>
                    <a:pt x="371367" y="281253"/>
                  </a:cubicBezTo>
                  <a:cubicBezTo>
                    <a:pt x="412155" y="322050"/>
                    <a:pt x="435077" y="377381"/>
                    <a:pt x="435077" y="435077"/>
                  </a:cubicBezTo>
                  <a:lnTo>
                    <a:pt x="217539" y="435077"/>
                  </a:lnTo>
                  <a:lnTo>
                    <a:pt x="0" y="435077"/>
                  </a:lnTo>
                  <a:cubicBezTo>
                    <a:pt x="0" y="377381"/>
                    <a:pt x="22924" y="322050"/>
                    <a:pt x="63712" y="281253"/>
                  </a:cubicBezTo>
                  <a:cubicBezTo>
                    <a:pt x="104474" y="240497"/>
                    <a:pt x="159755" y="217582"/>
                    <a:pt x="217376" y="217539"/>
                  </a:cubicBezTo>
                  <a:lnTo>
                    <a:pt x="0" y="217539"/>
                  </a:lnTo>
                  <a:cubicBezTo>
                    <a:pt x="0" y="159842"/>
                    <a:pt x="22924" y="104511"/>
                    <a:pt x="63712" y="63714"/>
                  </a:cubicBezTo>
                  <a:cubicBezTo>
                    <a:pt x="104529" y="22918"/>
                    <a:pt x="159838" y="0"/>
                    <a:pt x="217539" y="0"/>
                  </a:cubicBezTo>
                  <a:cubicBezTo>
                    <a:pt x="275241" y="0"/>
                    <a:pt x="330578" y="22918"/>
                    <a:pt x="371367" y="63714"/>
                  </a:cubicBezTo>
                  <a:close/>
                </a:path>
              </a:pathLst>
            </a:custGeom>
            <a:grpFill/>
            <a:ln w="27192" cap="flat">
              <a:noFill/>
              <a:prstDash val="solid"/>
              <a:miter/>
            </a:ln>
          </p:spPr>
          <p:txBody>
            <a:bodyPr rtlCol="0" anchor="ctr"/>
            <a:lstStyle/>
            <a:p>
              <a:endParaRPr lang="uk-UA" sz="900"/>
            </a:p>
          </p:txBody>
        </p:sp>
        <p:sp>
          <p:nvSpPr>
            <p:cNvPr id="161" name="Freeform: Shape 160">
              <a:extLst>
                <a:ext uri="{FF2B5EF4-FFF2-40B4-BE49-F238E27FC236}">
                  <a16:creationId xmlns:a16="http://schemas.microsoft.com/office/drawing/2014/main" id="{9955B6B7-4902-D88A-11B1-C288DE41729C}"/>
                </a:ext>
              </a:extLst>
            </p:cNvPr>
            <p:cNvSpPr/>
            <p:nvPr/>
          </p:nvSpPr>
          <p:spPr>
            <a:xfrm>
              <a:off x="23460039" y="1968909"/>
              <a:ext cx="435077" cy="435074"/>
            </a:xfrm>
            <a:custGeom>
              <a:avLst/>
              <a:gdLst>
                <a:gd name="connsiteX0" fmla="*/ 217539 w 435077"/>
                <a:gd name="connsiteY0" fmla="*/ 217533 h 435074"/>
                <a:gd name="connsiteX1" fmla="*/ 217539 w 435077"/>
                <a:gd name="connsiteY1" fmla="*/ 0 h 435074"/>
                <a:gd name="connsiteX2" fmla="*/ 0 w 435077"/>
                <a:gd name="connsiteY2" fmla="*/ 0 h 435074"/>
                <a:gd name="connsiteX3" fmla="*/ 217539 w 435077"/>
                <a:gd name="connsiteY3" fmla="*/ 217539 h 435074"/>
                <a:gd name="connsiteX4" fmla="*/ 0 w 435077"/>
                <a:gd name="connsiteY4" fmla="*/ 435075 h 435074"/>
                <a:gd name="connsiteX5" fmla="*/ 217510 w 435077"/>
                <a:gd name="connsiteY5" fmla="*/ 435075 h 435074"/>
                <a:gd name="connsiteX6" fmla="*/ 217510 w 435077"/>
                <a:gd name="connsiteY6" fmla="*/ 435072 h 435074"/>
                <a:gd name="connsiteX7" fmla="*/ 435049 w 435077"/>
                <a:gd name="connsiteY7" fmla="*/ 217541 h 435074"/>
                <a:gd name="connsiteX8" fmla="*/ 435077 w 435077"/>
                <a:gd name="connsiteY8" fmla="*/ 217541 h 435074"/>
                <a:gd name="connsiteX9" fmla="*/ 435049 w 435077"/>
                <a:gd name="connsiteY9" fmla="*/ 217536 h 435074"/>
                <a:gd name="connsiteX10" fmla="*/ 435049 w 435077"/>
                <a:gd name="connsiteY10" fmla="*/ 217533 h 435074"/>
                <a:gd name="connsiteX11" fmla="*/ 435049 w 435077"/>
                <a:gd name="connsiteY11" fmla="*/ 217533 h 435074"/>
                <a:gd name="connsiteX12" fmla="*/ 217539 w 435077"/>
                <a:gd name="connsiteY12" fmla="*/ 3 h 435074"/>
                <a:gd name="connsiteX13" fmla="*/ 217539 w 435077"/>
                <a:gd name="connsiteY13" fmla="*/ 217533 h 435074"/>
                <a:gd name="connsiteX14" fmla="*/ 217539 w 435077"/>
                <a:gd name="connsiteY14" fmla="*/ 217533 h 43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4">
                  <a:moveTo>
                    <a:pt x="217539" y="217533"/>
                  </a:moveTo>
                  <a:lnTo>
                    <a:pt x="217539" y="0"/>
                  </a:lnTo>
                  <a:lnTo>
                    <a:pt x="0" y="0"/>
                  </a:lnTo>
                  <a:lnTo>
                    <a:pt x="217539" y="217539"/>
                  </a:lnTo>
                  <a:lnTo>
                    <a:pt x="0" y="435075"/>
                  </a:lnTo>
                  <a:lnTo>
                    <a:pt x="217510" y="435075"/>
                  </a:lnTo>
                  <a:lnTo>
                    <a:pt x="217510" y="435072"/>
                  </a:lnTo>
                  <a:lnTo>
                    <a:pt x="435049" y="217541"/>
                  </a:lnTo>
                  <a:lnTo>
                    <a:pt x="435077" y="217541"/>
                  </a:lnTo>
                  <a:lnTo>
                    <a:pt x="435049" y="217536"/>
                  </a:lnTo>
                  <a:lnTo>
                    <a:pt x="435049" y="217533"/>
                  </a:lnTo>
                  <a:lnTo>
                    <a:pt x="435049" y="217533"/>
                  </a:lnTo>
                  <a:lnTo>
                    <a:pt x="217539" y="3"/>
                  </a:lnTo>
                  <a:lnTo>
                    <a:pt x="217539" y="217533"/>
                  </a:lnTo>
                  <a:lnTo>
                    <a:pt x="217539" y="217533"/>
                  </a:lnTo>
                  <a:close/>
                </a:path>
              </a:pathLst>
            </a:custGeom>
            <a:grpFill/>
            <a:ln w="27192" cap="flat">
              <a:noFill/>
              <a:prstDash val="solid"/>
              <a:miter/>
            </a:ln>
          </p:spPr>
          <p:txBody>
            <a:bodyPr rtlCol="0" anchor="ctr"/>
            <a:lstStyle/>
            <a:p>
              <a:endParaRPr lang="uk-UA" sz="900"/>
            </a:p>
          </p:txBody>
        </p:sp>
        <p:sp>
          <p:nvSpPr>
            <p:cNvPr id="162" name="Freeform: Shape 161">
              <a:extLst>
                <a:ext uri="{FF2B5EF4-FFF2-40B4-BE49-F238E27FC236}">
                  <a16:creationId xmlns:a16="http://schemas.microsoft.com/office/drawing/2014/main" id="{7E7D8440-2F0C-A140-E46A-B6EE7AF3F8CB}"/>
                </a:ext>
              </a:extLst>
            </p:cNvPr>
            <p:cNvSpPr/>
            <p:nvPr/>
          </p:nvSpPr>
          <p:spPr>
            <a:xfrm>
              <a:off x="24330194" y="1968909"/>
              <a:ext cx="435077" cy="435077"/>
            </a:xfrm>
            <a:custGeom>
              <a:avLst/>
              <a:gdLst>
                <a:gd name="connsiteX0" fmla="*/ 0 w 435077"/>
                <a:gd name="connsiteY0" fmla="*/ 435077 h 435077"/>
                <a:gd name="connsiteX1" fmla="*/ 217539 w 435077"/>
                <a:gd name="connsiteY1" fmla="*/ 435077 h 435077"/>
                <a:gd name="connsiteX2" fmla="*/ 217539 w 435077"/>
                <a:gd name="connsiteY2" fmla="*/ 217547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28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47 h 435077"/>
                <a:gd name="connsiteX11" fmla="*/ 435077 w 435077"/>
                <a:gd name="connsiteY11" fmla="*/ 435077 h 435077"/>
                <a:gd name="connsiteX12" fmla="*/ 435077 w 435077"/>
                <a:gd name="connsiteY12" fmla="*/ 3 h 435077"/>
                <a:gd name="connsiteX13" fmla="*/ 217539 w 435077"/>
                <a:gd name="connsiteY13" fmla="*/ 3 h 435077"/>
                <a:gd name="connsiteX14" fmla="*/ 435077 w 435077"/>
                <a:gd name="connsiteY14" fmla="*/ 217531 h 435077"/>
                <a:gd name="connsiteX15" fmla="*/ 435077 w 435077"/>
                <a:gd name="connsiteY15" fmla="*/ 3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47"/>
                  </a:lnTo>
                  <a:lnTo>
                    <a:pt x="0" y="435077"/>
                  </a:lnTo>
                  <a:close/>
                  <a:moveTo>
                    <a:pt x="217539" y="0"/>
                  </a:moveTo>
                  <a:lnTo>
                    <a:pt x="0" y="0"/>
                  </a:lnTo>
                  <a:lnTo>
                    <a:pt x="217539" y="217528"/>
                  </a:lnTo>
                  <a:lnTo>
                    <a:pt x="217539" y="0"/>
                  </a:lnTo>
                  <a:close/>
                  <a:moveTo>
                    <a:pt x="435077" y="435077"/>
                  </a:moveTo>
                  <a:lnTo>
                    <a:pt x="217539" y="435077"/>
                  </a:lnTo>
                  <a:lnTo>
                    <a:pt x="435077" y="217547"/>
                  </a:lnTo>
                  <a:lnTo>
                    <a:pt x="435077" y="435077"/>
                  </a:lnTo>
                  <a:close/>
                  <a:moveTo>
                    <a:pt x="435077" y="3"/>
                  </a:moveTo>
                  <a:lnTo>
                    <a:pt x="217539" y="3"/>
                  </a:lnTo>
                  <a:lnTo>
                    <a:pt x="435077" y="217531"/>
                  </a:lnTo>
                  <a:lnTo>
                    <a:pt x="435077" y="3"/>
                  </a:lnTo>
                  <a:close/>
                </a:path>
              </a:pathLst>
            </a:custGeom>
            <a:grpFill/>
            <a:ln w="27192" cap="flat">
              <a:noFill/>
              <a:prstDash val="solid"/>
              <a:miter/>
            </a:ln>
          </p:spPr>
          <p:txBody>
            <a:bodyPr rtlCol="0" anchor="ctr"/>
            <a:lstStyle/>
            <a:p>
              <a:endParaRPr lang="uk-UA" sz="900"/>
            </a:p>
          </p:txBody>
        </p:sp>
        <p:sp>
          <p:nvSpPr>
            <p:cNvPr id="163" name="Freeform: Shape 162">
              <a:extLst>
                <a:ext uri="{FF2B5EF4-FFF2-40B4-BE49-F238E27FC236}">
                  <a16:creationId xmlns:a16="http://schemas.microsoft.com/office/drawing/2014/main" id="{164BEFD1-850B-7383-8D6E-9CBAB7CC1879}"/>
                </a:ext>
              </a:extLst>
            </p:cNvPr>
            <p:cNvSpPr/>
            <p:nvPr/>
          </p:nvSpPr>
          <p:spPr>
            <a:xfrm>
              <a:off x="835769" y="2839064"/>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3 h 435077"/>
                <a:gd name="connsiteX6" fmla="*/ 217511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3"/>
                  </a:lnTo>
                  <a:lnTo>
                    <a:pt x="217511" y="217539"/>
                  </a:lnTo>
                  <a:lnTo>
                    <a:pt x="0" y="435077"/>
                  </a:lnTo>
                  <a:close/>
                </a:path>
              </a:pathLst>
            </a:custGeom>
            <a:grpFill/>
            <a:ln w="27192" cap="flat">
              <a:noFill/>
              <a:prstDash val="solid"/>
              <a:miter/>
            </a:ln>
          </p:spPr>
          <p:txBody>
            <a:bodyPr rtlCol="0" anchor="ctr"/>
            <a:lstStyle/>
            <a:p>
              <a:endParaRPr lang="uk-UA" sz="900"/>
            </a:p>
          </p:txBody>
        </p:sp>
        <p:sp>
          <p:nvSpPr>
            <p:cNvPr id="164" name="Freeform: Shape 163">
              <a:extLst>
                <a:ext uri="{FF2B5EF4-FFF2-40B4-BE49-F238E27FC236}">
                  <a16:creationId xmlns:a16="http://schemas.microsoft.com/office/drawing/2014/main" id="{E5E5466E-3DC4-8951-7A3D-A73447D63C78}"/>
                </a:ext>
              </a:extLst>
            </p:cNvPr>
            <p:cNvSpPr/>
            <p:nvPr/>
          </p:nvSpPr>
          <p:spPr>
            <a:xfrm>
              <a:off x="-34398" y="2839064"/>
              <a:ext cx="435090" cy="435077"/>
            </a:xfrm>
            <a:custGeom>
              <a:avLst/>
              <a:gdLst>
                <a:gd name="connsiteX0" fmla="*/ 0 w 435090"/>
                <a:gd name="connsiteY0" fmla="*/ 435077 h 435077"/>
                <a:gd name="connsiteX1" fmla="*/ 0 w 435090"/>
                <a:gd name="connsiteY1" fmla="*/ 0 h 435077"/>
                <a:gd name="connsiteX2" fmla="*/ 217525 w 435090"/>
                <a:gd name="connsiteY2" fmla="*/ 217539 h 435077"/>
                <a:gd name="connsiteX3" fmla="*/ 0 w 435090"/>
                <a:gd name="connsiteY3" fmla="*/ 435077 h 435077"/>
                <a:gd name="connsiteX4" fmla="*/ 217552 w 435090"/>
                <a:gd name="connsiteY4" fmla="*/ 435077 h 435077"/>
                <a:gd name="connsiteX5" fmla="*/ 217552 w 435090"/>
                <a:gd name="connsiteY5" fmla="*/ 0 h 435077"/>
                <a:gd name="connsiteX6" fmla="*/ 435091 w 435090"/>
                <a:gd name="connsiteY6" fmla="*/ 217539 h 435077"/>
                <a:gd name="connsiteX7" fmla="*/ 217552 w 435090"/>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90" h="435077">
                  <a:moveTo>
                    <a:pt x="0" y="435077"/>
                  </a:moveTo>
                  <a:lnTo>
                    <a:pt x="0" y="0"/>
                  </a:lnTo>
                  <a:lnTo>
                    <a:pt x="217525" y="217539"/>
                  </a:lnTo>
                  <a:lnTo>
                    <a:pt x="0" y="435077"/>
                  </a:lnTo>
                  <a:close/>
                  <a:moveTo>
                    <a:pt x="217552" y="435077"/>
                  </a:moveTo>
                  <a:lnTo>
                    <a:pt x="217552" y="0"/>
                  </a:lnTo>
                  <a:lnTo>
                    <a:pt x="435091" y="217539"/>
                  </a:lnTo>
                  <a:lnTo>
                    <a:pt x="217552" y="435077"/>
                  </a:lnTo>
                  <a:close/>
                </a:path>
              </a:pathLst>
            </a:custGeom>
            <a:grpFill/>
            <a:ln w="27192" cap="flat">
              <a:noFill/>
              <a:prstDash val="solid"/>
              <a:miter/>
            </a:ln>
          </p:spPr>
          <p:txBody>
            <a:bodyPr rtlCol="0" anchor="ctr"/>
            <a:lstStyle/>
            <a:p>
              <a:endParaRPr lang="uk-UA" sz="900"/>
            </a:p>
          </p:txBody>
        </p:sp>
        <p:sp>
          <p:nvSpPr>
            <p:cNvPr id="165" name="Freeform: Shape 164">
              <a:extLst>
                <a:ext uri="{FF2B5EF4-FFF2-40B4-BE49-F238E27FC236}">
                  <a16:creationId xmlns:a16="http://schemas.microsoft.com/office/drawing/2014/main" id="{98A9EBFB-3DA8-177A-9565-AD25CC986986}"/>
                </a:ext>
              </a:extLst>
            </p:cNvPr>
            <p:cNvSpPr/>
            <p:nvPr/>
          </p:nvSpPr>
          <p:spPr>
            <a:xfrm>
              <a:off x="1705924" y="2839064"/>
              <a:ext cx="435077" cy="435077"/>
            </a:xfrm>
            <a:custGeom>
              <a:avLst/>
              <a:gdLst>
                <a:gd name="connsiteX0" fmla="*/ 63711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1 w 435077"/>
                <a:gd name="connsiteY6" fmla="*/ 153827 h 435077"/>
                <a:gd name="connsiteX7" fmla="*/ 63711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1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1" y="153827"/>
                  </a:moveTo>
                  <a:cubicBezTo>
                    <a:pt x="22923" y="113038"/>
                    <a:pt x="0" y="57694"/>
                    <a:pt x="0" y="0"/>
                  </a:cubicBezTo>
                  <a:lnTo>
                    <a:pt x="217539" y="0"/>
                  </a:lnTo>
                  <a:lnTo>
                    <a:pt x="435077" y="0"/>
                  </a:lnTo>
                  <a:cubicBezTo>
                    <a:pt x="435077" y="57694"/>
                    <a:pt x="412154" y="113038"/>
                    <a:pt x="371366" y="153827"/>
                  </a:cubicBezTo>
                  <a:cubicBezTo>
                    <a:pt x="330577" y="194616"/>
                    <a:pt x="275241" y="217539"/>
                    <a:pt x="217539" y="217539"/>
                  </a:cubicBezTo>
                  <a:cubicBezTo>
                    <a:pt x="159836" y="217539"/>
                    <a:pt x="104527" y="194616"/>
                    <a:pt x="63711" y="153827"/>
                  </a:cubicBezTo>
                  <a:close/>
                  <a:moveTo>
                    <a:pt x="63711" y="281250"/>
                  </a:moveTo>
                  <a:cubicBezTo>
                    <a:pt x="22923" y="322039"/>
                    <a:pt x="0" y="377375"/>
                    <a:pt x="0" y="435077"/>
                  </a:cubicBezTo>
                  <a:lnTo>
                    <a:pt x="217539" y="435077"/>
                  </a:lnTo>
                  <a:lnTo>
                    <a:pt x="435077" y="435077"/>
                  </a:lnTo>
                  <a:cubicBezTo>
                    <a:pt x="435077" y="377375"/>
                    <a:pt x="412154" y="322039"/>
                    <a:pt x="371366" y="281250"/>
                  </a:cubicBezTo>
                  <a:cubicBezTo>
                    <a:pt x="330577" y="240462"/>
                    <a:pt x="275241" y="217539"/>
                    <a:pt x="217539" y="217539"/>
                  </a:cubicBezTo>
                  <a:cubicBezTo>
                    <a:pt x="159836" y="217539"/>
                    <a:pt x="104527" y="240462"/>
                    <a:pt x="63711" y="281250"/>
                  </a:cubicBezTo>
                  <a:close/>
                </a:path>
              </a:pathLst>
            </a:custGeom>
            <a:grpFill/>
            <a:ln w="27192" cap="flat">
              <a:noFill/>
              <a:prstDash val="solid"/>
              <a:miter/>
            </a:ln>
          </p:spPr>
          <p:txBody>
            <a:bodyPr rtlCol="0" anchor="ctr"/>
            <a:lstStyle/>
            <a:p>
              <a:endParaRPr lang="uk-UA" sz="900"/>
            </a:p>
          </p:txBody>
        </p:sp>
        <p:sp>
          <p:nvSpPr>
            <p:cNvPr id="166" name="Freeform: Shape 165">
              <a:extLst>
                <a:ext uri="{FF2B5EF4-FFF2-40B4-BE49-F238E27FC236}">
                  <a16:creationId xmlns:a16="http://schemas.microsoft.com/office/drawing/2014/main" id="{5F4491E5-1F50-37AC-1282-D2CA6F5684AD}"/>
                </a:ext>
              </a:extLst>
            </p:cNvPr>
            <p:cNvSpPr/>
            <p:nvPr/>
          </p:nvSpPr>
          <p:spPr>
            <a:xfrm>
              <a:off x="2576106" y="2839064"/>
              <a:ext cx="435077" cy="435077"/>
            </a:xfrm>
            <a:custGeom>
              <a:avLst/>
              <a:gdLst>
                <a:gd name="connsiteX0" fmla="*/ 435077 w 435077"/>
                <a:gd name="connsiteY0" fmla="*/ 435077 h 435077"/>
                <a:gd name="connsiteX1" fmla="*/ 435077 w 435077"/>
                <a:gd name="connsiteY1" fmla="*/ 217539 h 435077"/>
                <a:gd name="connsiteX2" fmla="*/ 435077 w 435077"/>
                <a:gd name="connsiteY2" fmla="*/ 14 h 435077"/>
                <a:gd name="connsiteX3" fmla="*/ 217539 w 435077"/>
                <a:gd name="connsiteY3" fmla="*/ 14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14"/>
                  </a:lnTo>
                  <a:lnTo>
                    <a:pt x="217539" y="14"/>
                  </a:lnTo>
                  <a:lnTo>
                    <a:pt x="435077" y="217539"/>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167" name="Freeform: Shape 166">
              <a:extLst>
                <a:ext uri="{FF2B5EF4-FFF2-40B4-BE49-F238E27FC236}">
                  <a16:creationId xmlns:a16="http://schemas.microsoft.com/office/drawing/2014/main" id="{844279E7-246B-A22D-29FD-CDBE3BFACA16}"/>
                </a:ext>
              </a:extLst>
            </p:cNvPr>
            <p:cNvSpPr/>
            <p:nvPr/>
          </p:nvSpPr>
          <p:spPr>
            <a:xfrm>
              <a:off x="4316442" y="2839064"/>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3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3"/>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168" name="Freeform: Shape 167">
              <a:extLst>
                <a:ext uri="{FF2B5EF4-FFF2-40B4-BE49-F238E27FC236}">
                  <a16:creationId xmlns:a16="http://schemas.microsoft.com/office/drawing/2014/main" id="{7CFFB147-9FA0-63D1-A8BD-139831365A71}"/>
                </a:ext>
              </a:extLst>
            </p:cNvPr>
            <p:cNvSpPr/>
            <p:nvPr/>
          </p:nvSpPr>
          <p:spPr>
            <a:xfrm>
              <a:off x="3446261" y="2839064"/>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169" name="Freeform: Shape 168">
              <a:extLst>
                <a:ext uri="{FF2B5EF4-FFF2-40B4-BE49-F238E27FC236}">
                  <a16:creationId xmlns:a16="http://schemas.microsoft.com/office/drawing/2014/main" id="{CE11246C-5DA6-2DC0-E105-269DE633A852}"/>
                </a:ext>
              </a:extLst>
            </p:cNvPr>
            <p:cNvSpPr/>
            <p:nvPr/>
          </p:nvSpPr>
          <p:spPr>
            <a:xfrm>
              <a:off x="5186597" y="283906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8"/>
                    <a:pt x="0" y="57694"/>
                    <a:pt x="0" y="0"/>
                  </a:cubicBezTo>
                  <a:lnTo>
                    <a:pt x="217539" y="0"/>
                  </a:lnTo>
                  <a:lnTo>
                    <a:pt x="435077" y="0"/>
                  </a:lnTo>
                  <a:cubicBezTo>
                    <a:pt x="435077" y="57694"/>
                    <a:pt x="412155" y="113038"/>
                    <a:pt x="371366" y="153827"/>
                  </a:cubicBezTo>
                  <a:cubicBezTo>
                    <a:pt x="330550" y="194616"/>
                    <a:pt x="275241" y="217539"/>
                    <a:pt x="217539" y="217539"/>
                  </a:cubicBezTo>
                  <a:cubicBezTo>
                    <a:pt x="159837" y="217539"/>
                    <a:pt x="104501" y="194616"/>
                    <a:pt x="63712" y="153827"/>
                  </a:cubicBezTo>
                  <a:close/>
                  <a:moveTo>
                    <a:pt x="63712" y="281250"/>
                  </a:moveTo>
                  <a:cubicBezTo>
                    <a:pt x="22924" y="322039"/>
                    <a:pt x="0" y="377375"/>
                    <a:pt x="0" y="435077"/>
                  </a:cubicBezTo>
                  <a:lnTo>
                    <a:pt x="217539" y="435077"/>
                  </a:lnTo>
                  <a:lnTo>
                    <a:pt x="435077" y="435077"/>
                  </a:lnTo>
                  <a:cubicBezTo>
                    <a:pt x="435077" y="377375"/>
                    <a:pt x="412155" y="322039"/>
                    <a:pt x="371366" y="281250"/>
                  </a:cubicBezTo>
                  <a:cubicBezTo>
                    <a:pt x="330550" y="240462"/>
                    <a:pt x="275241" y="217539"/>
                    <a:pt x="217539" y="217539"/>
                  </a:cubicBezTo>
                  <a:cubicBezTo>
                    <a:pt x="159837" y="217539"/>
                    <a:pt x="104501" y="240462"/>
                    <a:pt x="63712" y="281250"/>
                  </a:cubicBezTo>
                  <a:close/>
                </a:path>
              </a:pathLst>
            </a:custGeom>
            <a:grpFill/>
            <a:ln w="27192" cap="flat">
              <a:noFill/>
              <a:prstDash val="solid"/>
              <a:miter/>
            </a:ln>
          </p:spPr>
          <p:txBody>
            <a:bodyPr rtlCol="0" anchor="ctr"/>
            <a:lstStyle/>
            <a:p>
              <a:endParaRPr lang="uk-UA" sz="900"/>
            </a:p>
          </p:txBody>
        </p:sp>
        <p:sp>
          <p:nvSpPr>
            <p:cNvPr id="170" name="Freeform: Shape 169">
              <a:extLst>
                <a:ext uri="{FF2B5EF4-FFF2-40B4-BE49-F238E27FC236}">
                  <a16:creationId xmlns:a16="http://schemas.microsoft.com/office/drawing/2014/main" id="{1675C62F-A306-0C6A-7930-F596822F4B83}"/>
                </a:ext>
              </a:extLst>
            </p:cNvPr>
            <p:cNvSpPr/>
            <p:nvPr/>
          </p:nvSpPr>
          <p:spPr>
            <a:xfrm>
              <a:off x="6056752" y="2839064"/>
              <a:ext cx="435077" cy="435077"/>
            </a:xfrm>
            <a:custGeom>
              <a:avLst/>
              <a:gdLst>
                <a:gd name="connsiteX0" fmla="*/ 435077 w 435077"/>
                <a:gd name="connsiteY0" fmla="*/ 435077 h 435077"/>
                <a:gd name="connsiteX1" fmla="*/ 435077 w 435077"/>
                <a:gd name="connsiteY1" fmla="*/ 217539 h 435077"/>
                <a:gd name="connsiteX2" fmla="*/ 435077 w 435077"/>
                <a:gd name="connsiteY2" fmla="*/ 14 h 435077"/>
                <a:gd name="connsiteX3" fmla="*/ 217539 w 435077"/>
                <a:gd name="connsiteY3" fmla="*/ 14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14"/>
                  </a:lnTo>
                  <a:lnTo>
                    <a:pt x="217539" y="14"/>
                  </a:lnTo>
                  <a:lnTo>
                    <a:pt x="435077" y="217539"/>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171" name="Freeform: Shape 170">
              <a:extLst>
                <a:ext uri="{FF2B5EF4-FFF2-40B4-BE49-F238E27FC236}">
                  <a16:creationId xmlns:a16="http://schemas.microsoft.com/office/drawing/2014/main" id="{3BD7164A-3B07-388B-1D5D-B2B89AB39E94}"/>
                </a:ext>
              </a:extLst>
            </p:cNvPr>
            <p:cNvSpPr/>
            <p:nvPr/>
          </p:nvSpPr>
          <p:spPr>
            <a:xfrm>
              <a:off x="7797089" y="2839064"/>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3 h 435077"/>
                <a:gd name="connsiteX6" fmla="*/ 217511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3"/>
                  </a:lnTo>
                  <a:lnTo>
                    <a:pt x="217511" y="217539"/>
                  </a:lnTo>
                  <a:lnTo>
                    <a:pt x="0" y="435077"/>
                  </a:lnTo>
                  <a:close/>
                </a:path>
              </a:pathLst>
            </a:custGeom>
            <a:grpFill/>
            <a:ln w="27192" cap="flat">
              <a:noFill/>
              <a:prstDash val="solid"/>
              <a:miter/>
            </a:ln>
          </p:spPr>
          <p:txBody>
            <a:bodyPr rtlCol="0" anchor="ctr"/>
            <a:lstStyle/>
            <a:p>
              <a:endParaRPr lang="uk-UA" sz="900"/>
            </a:p>
          </p:txBody>
        </p:sp>
        <p:sp>
          <p:nvSpPr>
            <p:cNvPr id="172" name="Freeform: Shape 171">
              <a:extLst>
                <a:ext uri="{FF2B5EF4-FFF2-40B4-BE49-F238E27FC236}">
                  <a16:creationId xmlns:a16="http://schemas.microsoft.com/office/drawing/2014/main" id="{8AA12BD7-F653-74F2-5C9C-92897869338D}"/>
                </a:ext>
              </a:extLst>
            </p:cNvPr>
            <p:cNvSpPr/>
            <p:nvPr/>
          </p:nvSpPr>
          <p:spPr>
            <a:xfrm>
              <a:off x="6926907" y="2839064"/>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173" name="Freeform: Shape 172">
              <a:extLst>
                <a:ext uri="{FF2B5EF4-FFF2-40B4-BE49-F238E27FC236}">
                  <a16:creationId xmlns:a16="http://schemas.microsoft.com/office/drawing/2014/main" id="{79209284-3C42-72CB-9074-181A86C10227}"/>
                </a:ext>
              </a:extLst>
            </p:cNvPr>
            <p:cNvSpPr/>
            <p:nvPr/>
          </p:nvSpPr>
          <p:spPr>
            <a:xfrm>
              <a:off x="8667217" y="2839064"/>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39 w 435077"/>
                <a:gd name="connsiteY6" fmla="*/ 153827 h 435077"/>
                <a:gd name="connsiteX7" fmla="*/ 63739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39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4" y="113038"/>
                    <a:pt x="0" y="57694"/>
                    <a:pt x="0" y="0"/>
                  </a:cubicBezTo>
                  <a:lnTo>
                    <a:pt x="217539" y="0"/>
                  </a:lnTo>
                  <a:lnTo>
                    <a:pt x="435077" y="0"/>
                  </a:lnTo>
                  <a:cubicBezTo>
                    <a:pt x="435077" y="57694"/>
                    <a:pt x="412182" y="113038"/>
                    <a:pt x="371366" y="153827"/>
                  </a:cubicBezTo>
                  <a:cubicBezTo>
                    <a:pt x="330578" y="194616"/>
                    <a:pt x="275241" y="217539"/>
                    <a:pt x="217539" y="217539"/>
                  </a:cubicBezTo>
                  <a:cubicBezTo>
                    <a:pt x="159864" y="217539"/>
                    <a:pt x="104527" y="194616"/>
                    <a:pt x="63739" y="153827"/>
                  </a:cubicBezTo>
                  <a:close/>
                  <a:moveTo>
                    <a:pt x="63739" y="281250"/>
                  </a:moveTo>
                  <a:cubicBezTo>
                    <a:pt x="22924" y="322039"/>
                    <a:pt x="0" y="377375"/>
                    <a:pt x="0" y="435077"/>
                  </a:cubicBezTo>
                  <a:lnTo>
                    <a:pt x="217539" y="435077"/>
                  </a:lnTo>
                  <a:lnTo>
                    <a:pt x="435077" y="435077"/>
                  </a:lnTo>
                  <a:cubicBezTo>
                    <a:pt x="435077" y="377375"/>
                    <a:pt x="412182" y="322039"/>
                    <a:pt x="371366" y="281250"/>
                  </a:cubicBezTo>
                  <a:cubicBezTo>
                    <a:pt x="330578" y="240462"/>
                    <a:pt x="275241" y="217539"/>
                    <a:pt x="217539" y="217539"/>
                  </a:cubicBezTo>
                  <a:cubicBezTo>
                    <a:pt x="159864" y="217539"/>
                    <a:pt x="104527" y="240462"/>
                    <a:pt x="63739" y="281250"/>
                  </a:cubicBezTo>
                  <a:close/>
                </a:path>
              </a:pathLst>
            </a:custGeom>
            <a:grpFill/>
            <a:ln w="27192" cap="flat">
              <a:noFill/>
              <a:prstDash val="solid"/>
              <a:miter/>
            </a:ln>
          </p:spPr>
          <p:txBody>
            <a:bodyPr rtlCol="0" anchor="ctr"/>
            <a:lstStyle/>
            <a:p>
              <a:endParaRPr lang="uk-UA" sz="900"/>
            </a:p>
          </p:txBody>
        </p:sp>
        <p:sp>
          <p:nvSpPr>
            <p:cNvPr id="174" name="Freeform: Shape 173">
              <a:extLst>
                <a:ext uri="{FF2B5EF4-FFF2-40B4-BE49-F238E27FC236}">
                  <a16:creationId xmlns:a16="http://schemas.microsoft.com/office/drawing/2014/main" id="{F41738AC-2ED1-3A60-5F32-4340E7407DB2}"/>
                </a:ext>
              </a:extLst>
            </p:cNvPr>
            <p:cNvSpPr/>
            <p:nvPr/>
          </p:nvSpPr>
          <p:spPr>
            <a:xfrm>
              <a:off x="9537399" y="2839064"/>
              <a:ext cx="435077" cy="435077"/>
            </a:xfrm>
            <a:custGeom>
              <a:avLst/>
              <a:gdLst>
                <a:gd name="connsiteX0" fmla="*/ 435077 w 435077"/>
                <a:gd name="connsiteY0" fmla="*/ 435077 h 435077"/>
                <a:gd name="connsiteX1" fmla="*/ 435077 w 435077"/>
                <a:gd name="connsiteY1" fmla="*/ 217539 h 435077"/>
                <a:gd name="connsiteX2" fmla="*/ 435077 w 435077"/>
                <a:gd name="connsiteY2" fmla="*/ 14 h 435077"/>
                <a:gd name="connsiteX3" fmla="*/ 217539 w 435077"/>
                <a:gd name="connsiteY3" fmla="*/ 14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1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1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14"/>
                  </a:lnTo>
                  <a:lnTo>
                    <a:pt x="217539" y="14"/>
                  </a:lnTo>
                  <a:lnTo>
                    <a:pt x="435077" y="217539"/>
                  </a:lnTo>
                  <a:lnTo>
                    <a:pt x="217539" y="435077"/>
                  </a:lnTo>
                  <a:lnTo>
                    <a:pt x="435077" y="435077"/>
                  </a:lnTo>
                  <a:close/>
                  <a:moveTo>
                    <a:pt x="0" y="217539"/>
                  </a:moveTo>
                  <a:lnTo>
                    <a:pt x="0" y="0"/>
                  </a:lnTo>
                  <a:lnTo>
                    <a:pt x="217511" y="217539"/>
                  </a:lnTo>
                  <a:lnTo>
                    <a:pt x="0" y="217539"/>
                  </a:lnTo>
                  <a:close/>
                  <a:moveTo>
                    <a:pt x="0" y="435077"/>
                  </a:moveTo>
                  <a:lnTo>
                    <a:pt x="0" y="217539"/>
                  </a:lnTo>
                  <a:lnTo>
                    <a:pt x="217511" y="217539"/>
                  </a:lnTo>
                  <a:lnTo>
                    <a:pt x="0" y="435077"/>
                  </a:lnTo>
                  <a:close/>
                </a:path>
              </a:pathLst>
            </a:custGeom>
            <a:grpFill/>
            <a:ln w="27192" cap="flat">
              <a:noFill/>
              <a:prstDash val="solid"/>
              <a:miter/>
            </a:ln>
          </p:spPr>
          <p:txBody>
            <a:bodyPr rtlCol="0" anchor="ctr"/>
            <a:lstStyle/>
            <a:p>
              <a:endParaRPr lang="uk-UA" sz="900"/>
            </a:p>
          </p:txBody>
        </p:sp>
        <p:sp>
          <p:nvSpPr>
            <p:cNvPr id="175" name="Freeform: Shape 174">
              <a:extLst>
                <a:ext uri="{FF2B5EF4-FFF2-40B4-BE49-F238E27FC236}">
                  <a16:creationId xmlns:a16="http://schemas.microsoft.com/office/drawing/2014/main" id="{6FC21675-6E75-B40A-F0D5-882EA3857DF0}"/>
                </a:ext>
              </a:extLst>
            </p:cNvPr>
            <p:cNvSpPr/>
            <p:nvPr/>
          </p:nvSpPr>
          <p:spPr>
            <a:xfrm>
              <a:off x="11277709" y="2839064"/>
              <a:ext cx="435077" cy="435077"/>
            </a:xfrm>
            <a:custGeom>
              <a:avLst/>
              <a:gdLst>
                <a:gd name="connsiteX0" fmla="*/ 435077 w 435077"/>
                <a:gd name="connsiteY0" fmla="*/ 435077 h 435077"/>
                <a:gd name="connsiteX1" fmla="*/ 435077 w 435077"/>
                <a:gd name="connsiteY1" fmla="*/ 0 h 435077"/>
                <a:gd name="connsiteX2" fmla="*/ 217565 w 435077"/>
                <a:gd name="connsiteY2" fmla="*/ 217539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39"/>
                  </a:lnTo>
                  <a:lnTo>
                    <a:pt x="435077" y="435077"/>
                  </a:lnTo>
                  <a:close/>
                  <a:moveTo>
                    <a:pt x="0" y="435077"/>
                  </a:moveTo>
                  <a:lnTo>
                    <a:pt x="0" y="3"/>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176" name="Freeform: Shape 175">
              <a:extLst>
                <a:ext uri="{FF2B5EF4-FFF2-40B4-BE49-F238E27FC236}">
                  <a16:creationId xmlns:a16="http://schemas.microsoft.com/office/drawing/2014/main" id="{6F8CB533-5AC8-989C-340C-5CCB95BD8F4A}"/>
                </a:ext>
              </a:extLst>
            </p:cNvPr>
            <p:cNvSpPr/>
            <p:nvPr/>
          </p:nvSpPr>
          <p:spPr>
            <a:xfrm>
              <a:off x="10407554" y="2839064"/>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177" name="Freeform: Shape 176">
              <a:extLst>
                <a:ext uri="{FF2B5EF4-FFF2-40B4-BE49-F238E27FC236}">
                  <a16:creationId xmlns:a16="http://schemas.microsoft.com/office/drawing/2014/main" id="{3A722EF0-0057-D77B-5A4F-228CD87D8539}"/>
                </a:ext>
              </a:extLst>
            </p:cNvPr>
            <p:cNvSpPr/>
            <p:nvPr/>
          </p:nvSpPr>
          <p:spPr>
            <a:xfrm>
              <a:off x="12147864" y="2839064"/>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39 w 435077"/>
                <a:gd name="connsiteY6" fmla="*/ 153827 h 435077"/>
                <a:gd name="connsiteX7" fmla="*/ 63739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0 h 435077"/>
                <a:gd name="connsiteX12" fmla="*/ 217539 w 435077"/>
                <a:gd name="connsiteY12" fmla="*/ 217539 h 435077"/>
                <a:gd name="connsiteX13" fmla="*/ 63739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2" y="113038"/>
                    <a:pt x="0" y="57694"/>
                    <a:pt x="0" y="0"/>
                  </a:cubicBezTo>
                  <a:lnTo>
                    <a:pt x="217539" y="0"/>
                  </a:lnTo>
                  <a:lnTo>
                    <a:pt x="435077" y="0"/>
                  </a:lnTo>
                  <a:cubicBezTo>
                    <a:pt x="435077" y="57694"/>
                    <a:pt x="412180" y="113038"/>
                    <a:pt x="371365" y="153827"/>
                  </a:cubicBezTo>
                  <a:cubicBezTo>
                    <a:pt x="330577" y="194616"/>
                    <a:pt x="275239" y="217539"/>
                    <a:pt x="217539" y="217539"/>
                  </a:cubicBezTo>
                  <a:cubicBezTo>
                    <a:pt x="159863" y="217539"/>
                    <a:pt x="104527" y="194616"/>
                    <a:pt x="63739" y="153827"/>
                  </a:cubicBezTo>
                  <a:close/>
                  <a:moveTo>
                    <a:pt x="63739" y="281250"/>
                  </a:moveTo>
                  <a:cubicBezTo>
                    <a:pt x="22922" y="322039"/>
                    <a:pt x="0" y="377375"/>
                    <a:pt x="0" y="435077"/>
                  </a:cubicBezTo>
                  <a:lnTo>
                    <a:pt x="217539" y="435077"/>
                  </a:lnTo>
                  <a:lnTo>
                    <a:pt x="435077" y="435077"/>
                  </a:lnTo>
                  <a:cubicBezTo>
                    <a:pt x="435077" y="377375"/>
                    <a:pt x="412180" y="322039"/>
                    <a:pt x="371365" y="281250"/>
                  </a:cubicBezTo>
                  <a:cubicBezTo>
                    <a:pt x="330577" y="240462"/>
                    <a:pt x="275239" y="217539"/>
                    <a:pt x="217539" y="217539"/>
                  </a:cubicBezTo>
                  <a:cubicBezTo>
                    <a:pt x="159863" y="217539"/>
                    <a:pt x="104527" y="240462"/>
                    <a:pt x="63739" y="281250"/>
                  </a:cubicBezTo>
                  <a:close/>
                </a:path>
              </a:pathLst>
            </a:custGeom>
            <a:grpFill/>
            <a:ln w="27192" cap="flat">
              <a:noFill/>
              <a:prstDash val="solid"/>
              <a:miter/>
            </a:ln>
          </p:spPr>
          <p:txBody>
            <a:bodyPr rtlCol="0" anchor="ctr"/>
            <a:lstStyle/>
            <a:p>
              <a:endParaRPr lang="uk-UA" sz="900"/>
            </a:p>
          </p:txBody>
        </p:sp>
        <p:sp>
          <p:nvSpPr>
            <p:cNvPr id="178" name="Freeform: Shape 177">
              <a:extLst>
                <a:ext uri="{FF2B5EF4-FFF2-40B4-BE49-F238E27FC236}">
                  <a16:creationId xmlns:a16="http://schemas.microsoft.com/office/drawing/2014/main" id="{2857A2AC-F5C1-840C-5742-149329C5F152}"/>
                </a:ext>
              </a:extLst>
            </p:cNvPr>
            <p:cNvSpPr/>
            <p:nvPr/>
          </p:nvSpPr>
          <p:spPr>
            <a:xfrm>
              <a:off x="13018045" y="2839064"/>
              <a:ext cx="435077" cy="435077"/>
            </a:xfrm>
            <a:custGeom>
              <a:avLst/>
              <a:gdLst>
                <a:gd name="connsiteX0" fmla="*/ 435077 w 435077"/>
                <a:gd name="connsiteY0" fmla="*/ 435077 h 435077"/>
                <a:gd name="connsiteX1" fmla="*/ 435077 w 435077"/>
                <a:gd name="connsiteY1" fmla="*/ 217539 h 435077"/>
                <a:gd name="connsiteX2" fmla="*/ 435077 w 435077"/>
                <a:gd name="connsiteY2" fmla="*/ 14 h 435077"/>
                <a:gd name="connsiteX3" fmla="*/ 217539 w 435077"/>
                <a:gd name="connsiteY3" fmla="*/ 14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14"/>
                  </a:lnTo>
                  <a:lnTo>
                    <a:pt x="217539" y="14"/>
                  </a:lnTo>
                  <a:lnTo>
                    <a:pt x="435077" y="217539"/>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179" name="Freeform: Shape 178">
              <a:extLst>
                <a:ext uri="{FF2B5EF4-FFF2-40B4-BE49-F238E27FC236}">
                  <a16:creationId xmlns:a16="http://schemas.microsoft.com/office/drawing/2014/main" id="{C4E025C1-9283-54F2-4F95-C08F261B0B2E}"/>
                </a:ext>
              </a:extLst>
            </p:cNvPr>
            <p:cNvSpPr/>
            <p:nvPr/>
          </p:nvSpPr>
          <p:spPr>
            <a:xfrm>
              <a:off x="14758382" y="2839064"/>
              <a:ext cx="435077" cy="435077"/>
            </a:xfrm>
            <a:custGeom>
              <a:avLst/>
              <a:gdLst>
                <a:gd name="connsiteX0" fmla="*/ 435077 w 435077"/>
                <a:gd name="connsiteY0" fmla="*/ 435077 h 435077"/>
                <a:gd name="connsiteX1" fmla="*/ 435077 w 435077"/>
                <a:gd name="connsiteY1" fmla="*/ 0 h 435077"/>
                <a:gd name="connsiteX2" fmla="*/ 217567 w 435077"/>
                <a:gd name="connsiteY2" fmla="*/ 217539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7" y="217539"/>
                  </a:lnTo>
                  <a:lnTo>
                    <a:pt x="435077" y="435077"/>
                  </a:lnTo>
                  <a:close/>
                  <a:moveTo>
                    <a:pt x="0" y="435077"/>
                  </a:moveTo>
                  <a:lnTo>
                    <a:pt x="0" y="3"/>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180" name="Freeform: Shape 179">
              <a:extLst>
                <a:ext uri="{FF2B5EF4-FFF2-40B4-BE49-F238E27FC236}">
                  <a16:creationId xmlns:a16="http://schemas.microsoft.com/office/drawing/2014/main" id="{36CEDCA2-0683-57D9-65F4-C7DF1DAAC775}"/>
                </a:ext>
              </a:extLst>
            </p:cNvPr>
            <p:cNvSpPr/>
            <p:nvPr/>
          </p:nvSpPr>
          <p:spPr>
            <a:xfrm>
              <a:off x="13888200" y="2839064"/>
              <a:ext cx="435103" cy="435077"/>
            </a:xfrm>
            <a:custGeom>
              <a:avLst/>
              <a:gdLst>
                <a:gd name="connsiteX0" fmla="*/ 0 w 435103"/>
                <a:gd name="connsiteY0" fmla="*/ 435077 h 435077"/>
                <a:gd name="connsiteX1" fmla="*/ 0 w 435103"/>
                <a:gd name="connsiteY1" fmla="*/ 0 h 435077"/>
                <a:gd name="connsiteX2" fmla="*/ 217539 w 435103"/>
                <a:gd name="connsiteY2" fmla="*/ 217539 h 435077"/>
                <a:gd name="connsiteX3" fmla="*/ 0 w 435103"/>
                <a:gd name="connsiteY3" fmla="*/ 435077 h 435077"/>
                <a:gd name="connsiteX4" fmla="*/ 217565 w 435103"/>
                <a:gd name="connsiteY4" fmla="*/ 435077 h 435077"/>
                <a:gd name="connsiteX5" fmla="*/ 217565 w 435103"/>
                <a:gd name="connsiteY5" fmla="*/ 0 h 435077"/>
                <a:gd name="connsiteX6" fmla="*/ 435104 w 435103"/>
                <a:gd name="connsiteY6" fmla="*/ 217539 h 435077"/>
                <a:gd name="connsiteX7" fmla="*/ 217565 w 435103"/>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103" h="435077">
                  <a:moveTo>
                    <a:pt x="0" y="435077"/>
                  </a:moveTo>
                  <a:lnTo>
                    <a:pt x="0" y="0"/>
                  </a:lnTo>
                  <a:lnTo>
                    <a:pt x="217539" y="217539"/>
                  </a:lnTo>
                  <a:lnTo>
                    <a:pt x="0" y="435077"/>
                  </a:lnTo>
                  <a:close/>
                  <a:moveTo>
                    <a:pt x="217565" y="435077"/>
                  </a:moveTo>
                  <a:lnTo>
                    <a:pt x="217565" y="0"/>
                  </a:lnTo>
                  <a:lnTo>
                    <a:pt x="435104" y="217539"/>
                  </a:lnTo>
                  <a:lnTo>
                    <a:pt x="217565" y="435077"/>
                  </a:lnTo>
                  <a:close/>
                </a:path>
              </a:pathLst>
            </a:custGeom>
            <a:grpFill/>
            <a:ln w="27192" cap="flat">
              <a:noFill/>
              <a:prstDash val="solid"/>
              <a:miter/>
            </a:ln>
          </p:spPr>
          <p:txBody>
            <a:bodyPr rtlCol="0" anchor="ctr"/>
            <a:lstStyle/>
            <a:p>
              <a:endParaRPr lang="uk-UA" sz="900"/>
            </a:p>
          </p:txBody>
        </p:sp>
        <p:sp>
          <p:nvSpPr>
            <p:cNvPr id="181" name="Freeform: Shape 180">
              <a:extLst>
                <a:ext uri="{FF2B5EF4-FFF2-40B4-BE49-F238E27FC236}">
                  <a16:creationId xmlns:a16="http://schemas.microsoft.com/office/drawing/2014/main" id="{F652C6A9-4E6F-BC6C-67E1-A2912D621312}"/>
                </a:ext>
              </a:extLst>
            </p:cNvPr>
            <p:cNvSpPr/>
            <p:nvPr/>
          </p:nvSpPr>
          <p:spPr>
            <a:xfrm>
              <a:off x="15628536" y="283906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8"/>
                    <a:pt x="0" y="57694"/>
                    <a:pt x="0" y="0"/>
                  </a:cubicBezTo>
                  <a:lnTo>
                    <a:pt x="217539" y="0"/>
                  </a:lnTo>
                  <a:lnTo>
                    <a:pt x="435077" y="0"/>
                  </a:lnTo>
                  <a:cubicBezTo>
                    <a:pt x="435077" y="57694"/>
                    <a:pt x="412155" y="113038"/>
                    <a:pt x="371367" y="153827"/>
                  </a:cubicBezTo>
                  <a:cubicBezTo>
                    <a:pt x="330578" y="194616"/>
                    <a:pt x="275241" y="217539"/>
                    <a:pt x="217539" y="217539"/>
                  </a:cubicBezTo>
                  <a:cubicBezTo>
                    <a:pt x="159865" y="217539"/>
                    <a:pt x="104527" y="194616"/>
                    <a:pt x="63712" y="153827"/>
                  </a:cubicBezTo>
                  <a:close/>
                  <a:moveTo>
                    <a:pt x="63712" y="281250"/>
                  </a:moveTo>
                  <a:cubicBezTo>
                    <a:pt x="22924" y="322039"/>
                    <a:pt x="0" y="377375"/>
                    <a:pt x="0" y="435077"/>
                  </a:cubicBezTo>
                  <a:lnTo>
                    <a:pt x="217539" y="435077"/>
                  </a:lnTo>
                  <a:lnTo>
                    <a:pt x="435077" y="435077"/>
                  </a:lnTo>
                  <a:cubicBezTo>
                    <a:pt x="435077" y="377375"/>
                    <a:pt x="412155" y="322039"/>
                    <a:pt x="371367" y="281250"/>
                  </a:cubicBezTo>
                  <a:cubicBezTo>
                    <a:pt x="330578" y="240462"/>
                    <a:pt x="275241" y="217539"/>
                    <a:pt x="217539" y="217539"/>
                  </a:cubicBezTo>
                  <a:cubicBezTo>
                    <a:pt x="159865" y="217539"/>
                    <a:pt x="104527" y="240462"/>
                    <a:pt x="63712" y="281250"/>
                  </a:cubicBezTo>
                  <a:close/>
                </a:path>
              </a:pathLst>
            </a:custGeom>
            <a:grpFill/>
            <a:ln w="27192" cap="flat">
              <a:noFill/>
              <a:prstDash val="solid"/>
              <a:miter/>
            </a:ln>
          </p:spPr>
          <p:txBody>
            <a:bodyPr rtlCol="0" anchor="ctr"/>
            <a:lstStyle/>
            <a:p>
              <a:endParaRPr lang="uk-UA" sz="900"/>
            </a:p>
          </p:txBody>
        </p:sp>
        <p:sp>
          <p:nvSpPr>
            <p:cNvPr id="182" name="Freeform: Shape 181">
              <a:extLst>
                <a:ext uri="{FF2B5EF4-FFF2-40B4-BE49-F238E27FC236}">
                  <a16:creationId xmlns:a16="http://schemas.microsoft.com/office/drawing/2014/main" id="{DD75707F-709C-4AEE-0C80-29A4B26F7E39}"/>
                </a:ext>
              </a:extLst>
            </p:cNvPr>
            <p:cNvSpPr/>
            <p:nvPr/>
          </p:nvSpPr>
          <p:spPr>
            <a:xfrm>
              <a:off x="16498719" y="2839064"/>
              <a:ext cx="435077" cy="435077"/>
            </a:xfrm>
            <a:custGeom>
              <a:avLst/>
              <a:gdLst>
                <a:gd name="connsiteX0" fmla="*/ 435077 w 435077"/>
                <a:gd name="connsiteY0" fmla="*/ 435077 h 435077"/>
                <a:gd name="connsiteX1" fmla="*/ 435077 w 435077"/>
                <a:gd name="connsiteY1" fmla="*/ 217539 h 435077"/>
                <a:gd name="connsiteX2" fmla="*/ 435077 w 435077"/>
                <a:gd name="connsiteY2" fmla="*/ 14 h 435077"/>
                <a:gd name="connsiteX3" fmla="*/ 217539 w 435077"/>
                <a:gd name="connsiteY3" fmla="*/ 14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0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0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14"/>
                  </a:lnTo>
                  <a:lnTo>
                    <a:pt x="217539" y="14"/>
                  </a:lnTo>
                  <a:lnTo>
                    <a:pt x="435077" y="217539"/>
                  </a:lnTo>
                  <a:lnTo>
                    <a:pt x="217539" y="435077"/>
                  </a:lnTo>
                  <a:lnTo>
                    <a:pt x="435077" y="435077"/>
                  </a:lnTo>
                  <a:close/>
                  <a:moveTo>
                    <a:pt x="0" y="217539"/>
                  </a:moveTo>
                  <a:lnTo>
                    <a:pt x="0" y="0"/>
                  </a:lnTo>
                  <a:lnTo>
                    <a:pt x="217510" y="217539"/>
                  </a:lnTo>
                  <a:lnTo>
                    <a:pt x="0" y="217539"/>
                  </a:lnTo>
                  <a:close/>
                  <a:moveTo>
                    <a:pt x="0" y="435077"/>
                  </a:moveTo>
                  <a:lnTo>
                    <a:pt x="0" y="217539"/>
                  </a:lnTo>
                  <a:lnTo>
                    <a:pt x="217510" y="217539"/>
                  </a:lnTo>
                  <a:lnTo>
                    <a:pt x="0" y="435077"/>
                  </a:lnTo>
                  <a:close/>
                </a:path>
              </a:pathLst>
            </a:custGeom>
            <a:grpFill/>
            <a:ln w="27192" cap="flat">
              <a:noFill/>
              <a:prstDash val="solid"/>
              <a:miter/>
            </a:ln>
          </p:spPr>
          <p:txBody>
            <a:bodyPr rtlCol="0" anchor="ctr"/>
            <a:lstStyle/>
            <a:p>
              <a:endParaRPr lang="uk-UA" sz="900"/>
            </a:p>
          </p:txBody>
        </p:sp>
        <p:sp>
          <p:nvSpPr>
            <p:cNvPr id="183" name="Freeform: Shape 182">
              <a:extLst>
                <a:ext uri="{FF2B5EF4-FFF2-40B4-BE49-F238E27FC236}">
                  <a16:creationId xmlns:a16="http://schemas.microsoft.com/office/drawing/2014/main" id="{D2D903C8-911D-90B8-24EA-2C79308204A8}"/>
                </a:ext>
              </a:extLst>
            </p:cNvPr>
            <p:cNvSpPr/>
            <p:nvPr/>
          </p:nvSpPr>
          <p:spPr>
            <a:xfrm>
              <a:off x="18239029" y="2839064"/>
              <a:ext cx="435077" cy="435077"/>
            </a:xfrm>
            <a:custGeom>
              <a:avLst/>
              <a:gdLst>
                <a:gd name="connsiteX0" fmla="*/ 435077 w 435077"/>
                <a:gd name="connsiteY0" fmla="*/ 435077 h 435077"/>
                <a:gd name="connsiteX1" fmla="*/ 435077 w 435077"/>
                <a:gd name="connsiteY1" fmla="*/ 0 h 435077"/>
                <a:gd name="connsiteX2" fmla="*/ 217565 w 435077"/>
                <a:gd name="connsiteY2" fmla="*/ 217539 h 435077"/>
                <a:gd name="connsiteX3" fmla="*/ 435077 w 435077"/>
                <a:gd name="connsiteY3" fmla="*/ 435077 h 435077"/>
                <a:gd name="connsiteX4" fmla="*/ 0 w 435077"/>
                <a:gd name="connsiteY4" fmla="*/ 435077 h 435077"/>
                <a:gd name="connsiteX5" fmla="*/ 0 w 435077"/>
                <a:gd name="connsiteY5" fmla="*/ 3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39"/>
                  </a:lnTo>
                  <a:lnTo>
                    <a:pt x="435077" y="435077"/>
                  </a:lnTo>
                  <a:close/>
                  <a:moveTo>
                    <a:pt x="0" y="435077"/>
                  </a:moveTo>
                  <a:lnTo>
                    <a:pt x="0" y="3"/>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184" name="Freeform: Shape 183">
              <a:extLst>
                <a:ext uri="{FF2B5EF4-FFF2-40B4-BE49-F238E27FC236}">
                  <a16:creationId xmlns:a16="http://schemas.microsoft.com/office/drawing/2014/main" id="{E2EEF09E-1AD9-0676-DA71-1021D79FBD7B}"/>
                </a:ext>
              </a:extLst>
            </p:cNvPr>
            <p:cNvSpPr/>
            <p:nvPr/>
          </p:nvSpPr>
          <p:spPr>
            <a:xfrm>
              <a:off x="17368874" y="2839064"/>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185" name="Freeform: Shape 184">
              <a:extLst>
                <a:ext uri="{FF2B5EF4-FFF2-40B4-BE49-F238E27FC236}">
                  <a16:creationId xmlns:a16="http://schemas.microsoft.com/office/drawing/2014/main" id="{03EEBF6E-DA94-34D5-4B5D-3FDCADF02E44}"/>
                </a:ext>
              </a:extLst>
            </p:cNvPr>
            <p:cNvSpPr/>
            <p:nvPr/>
          </p:nvSpPr>
          <p:spPr>
            <a:xfrm>
              <a:off x="19109210" y="283906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895" y="113038"/>
                    <a:pt x="0" y="57694"/>
                    <a:pt x="0" y="0"/>
                  </a:cubicBezTo>
                  <a:lnTo>
                    <a:pt x="217539" y="0"/>
                  </a:lnTo>
                  <a:lnTo>
                    <a:pt x="435077" y="0"/>
                  </a:lnTo>
                  <a:cubicBezTo>
                    <a:pt x="435077" y="57694"/>
                    <a:pt x="412154" y="113038"/>
                    <a:pt x="371339" y="153827"/>
                  </a:cubicBezTo>
                  <a:cubicBezTo>
                    <a:pt x="330550" y="194616"/>
                    <a:pt x="275215" y="217539"/>
                    <a:pt x="217539" y="217539"/>
                  </a:cubicBezTo>
                  <a:cubicBezTo>
                    <a:pt x="159836" y="217539"/>
                    <a:pt x="104501" y="194616"/>
                    <a:pt x="63712" y="153827"/>
                  </a:cubicBezTo>
                  <a:close/>
                  <a:moveTo>
                    <a:pt x="63712" y="281250"/>
                  </a:moveTo>
                  <a:cubicBezTo>
                    <a:pt x="22895" y="322039"/>
                    <a:pt x="0" y="377375"/>
                    <a:pt x="0" y="435077"/>
                  </a:cubicBezTo>
                  <a:lnTo>
                    <a:pt x="217539" y="435077"/>
                  </a:lnTo>
                  <a:lnTo>
                    <a:pt x="435077" y="435077"/>
                  </a:lnTo>
                  <a:cubicBezTo>
                    <a:pt x="435077" y="377375"/>
                    <a:pt x="412154" y="322039"/>
                    <a:pt x="371339" y="281250"/>
                  </a:cubicBezTo>
                  <a:cubicBezTo>
                    <a:pt x="330550" y="240462"/>
                    <a:pt x="275215" y="217539"/>
                    <a:pt x="217539" y="217539"/>
                  </a:cubicBezTo>
                  <a:cubicBezTo>
                    <a:pt x="159836" y="217539"/>
                    <a:pt x="104501" y="240462"/>
                    <a:pt x="63712" y="281250"/>
                  </a:cubicBezTo>
                  <a:close/>
                </a:path>
              </a:pathLst>
            </a:custGeom>
            <a:grpFill/>
            <a:ln w="27192" cap="flat">
              <a:noFill/>
              <a:prstDash val="solid"/>
              <a:miter/>
            </a:ln>
          </p:spPr>
          <p:txBody>
            <a:bodyPr rtlCol="0" anchor="ctr"/>
            <a:lstStyle/>
            <a:p>
              <a:endParaRPr lang="uk-UA" sz="900"/>
            </a:p>
          </p:txBody>
        </p:sp>
        <p:sp>
          <p:nvSpPr>
            <p:cNvPr id="186" name="Freeform: Shape 185">
              <a:extLst>
                <a:ext uri="{FF2B5EF4-FFF2-40B4-BE49-F238E27FC236}">
                  <a16:creationId xmlns:a16="http://schemas.microsoft.com/office/drawing/2014/main" id="{92234AA6-BB88-7FD6-08B6-A3EA727733B0}"/>
                </a:ext>
              </a:extLst>
            </p:cNvPr>
            <p:cNvSpPr/>
            <p:nvPr/>
          </p:nvSpPr>
          <p:spPr>
            <a:xfrm>
              <a:off x="19979365" y="2839064"/>
              <a:ext cx="435077" cy="435077"/>
            </a:xfrm>
            <a:custGeom>
              <a:avLst/>
              <a:gdLst>
                <a:gd name="connsiteX0" fmla="*/ 435077 w 435077"/>
                <a:gd name="connsiteY0" fmla="*/ 435077 h 435077"/>
                <a:gd name="connsiteX1" fmla="*/ 435077 w 435077"/>
                <a:gd name="connsiteY1" fmla="*/ 217539 h 435077"/>
                <a:gd name="connsiteX2" fmla="*/ 435077 w 435077"/>
                <a:gd name="connsiteY2" fmla="*/ 14 h 435077"/>
                <a:gd name="connsiteX3" fmla="*/ 217539 w 435077"/>
                <a:gd name="connsiteY3" fmla="*/ 14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14"/>
                  </a:lnTo>
                  <a:lnTo>
                    <a:pt x="217539" y="14"/>
                  </a:lnTo>
                  <a:lnTo>
                    <a:pt x="435077" y="217539"/>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187" name="Freeform: Shape 186">
              <a:extLst>
                <a:ext uri="{FF2B5EF4-FFF2-40B4-BE49-F238E27FC236}">
                  <a16:creationId xmlns:a16="http://schemas.microsoft.com/office/drawing/2014/main" id="{F381FAD5-937A-B08A-0BB7-4C88CEB3B080}"/>
                </a:ext>
              </a:extLst>
            </p:cNvPr>
            <p:cNvSpPr/>
            <p:nvPr/>
          </p:nvSpPr>
          <p:spPr>
            <a:xfrm>
              <a:off x="21719702" y="2839064"/>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3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3"/>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188" name="Freeform: Shape 187">
              <a:extLst>
                <a:ext uri="{FF2B5EF4-FFF2-40B4-BE49-F238E27FC236}">
                  <a16:creationId xmlns:a16="http://schemas.microsoft.com/office/drawing/2014/main" id="{8E9DD2F1-6E62-B111-4CDF-F966BA57444B}"/>
                </a:ext>
              </a:extLst>
            </p:cNvPr>
            <p:cNvSpPr/>
            <p:nvPr/>
          </p:nvSpPr>
          <p:spPr>
            <a:xfrm>
              <a:off x="20849520" y="2839064"/>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65 w 435077"/>
                <a:gd name="connsiteY4" fmla="*/ 435077 h 435077"/>
                <a:gd name="connsiteX5" fmla="*/ 217565 w 435077"/>
                <a:gd name="connsiteY5" fmla="*/ 0 h 435077"/>
                <a:gd name="connsiteX6" fmla="*/ 435077 w 435077"/>
                <a:gd name="connsiteY6" fmla="*/ 217539 h 435077"/>
                <a:gd name="connsiteX7" fmla="*/ 217565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65" y="435077"/>
                  </a:moveTo>
                  <a:lnTo>
                    <a:pt x="217565" y="0"/>
                  </a:lnTo>
                  <a:lnTo>
                    <a:pt x="435077" y="217539"/>
                  </a:lnTo>
                  <a:lnTo>
                    <a:pt x="217565" y="435077"/>
                  </a:lnTo>
                  <a:close/>
                </a:path>
              </a:pathLst>
            </a:custGeom>
            <a:grpFill/>
            <a:ln w="27192" cap="flat">
              <a:noFill/>
              <a:prstDash val="solid"/>
              <a:miter/>
            </a:ln>
          </p:spPr>
          <p:txBody>
            <a:bodyPr rtlCol="0" anchor="ctr"/>
            <a:lstStyle/>
            <a:p>
              <a:endParaRPr lang="uk-UA" sz="900"/>
            </a:p>
          </p:txBody>
        </p:sp>
        <p:sp>
          <p:nvSpPr>
            <p:cNvPr id="189" name="Freeform: Shape 188">
              <a:extLst>
                <a:ext uri="{FF2B5EF4-FFF2-40B4-BE49-F238E27FC236}">
                  <a16:creationId xmlns:a16="http://schemas.microsoft.com/office/drawing/2014/main" id="{8EEED6FF-2DB6-39DD-C688-6694CCBA0632}"/>
                </a:ext>
              </a:extLst>
            </p:cNvPr>
            <p:cNvSpPr/>
            <p:nvPr/>
          </p:nvSpPr>
          <p:spPr>
            <a:xfrm>
              <a:off x="22589856" y="283906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8"/>
                    <a:pt x="0" y="57694"/>
                    <a:pt x="0" y="0"/>
                  </a:cubicBezTo>
                  <a:lnTo>
                    <a:pt x="217539" y="0"/>
                  </a:lnTo>
                  <a:lnTo>
                    <a:pt x="435077" y="0"/>
                  </a:lnTo>
                  <a:cubicBezTo>
                    <a:pt x="435077" y="57694"/>
                    <a:pt x="412155" y="113038"/>
                    <a:pt x="371367" y="153827"/>
                  </a:cubicBezTo>
                  <a:cubicBezTo>
                    <a:pt x="330578" y="194616"/>
                    <a:pt x="275241" y="217539"/>
                    <a:pt x="217539" y="217539"/>
                  </a:cubicBezTo>
                  <a:cubicBezTo>
                    <a:pt x="159838" y="217539"/>
                    <a:pt x="104529" y="194616"/>
                    <a:pt x="63712" y="153827"/>
                  </a:cubicBezTo>
                  <a:close/>
                  <a:moveTo>
                    <a:pt x="63712" y="281250"/>
                  </a:moveTo>
                  <a:cubicBezTo>
                    <a:pt x="22924" y="322039"/>
                    <a:pt x="0" y="377375"/>
                    <a:pt x="0" y="435077"/>
                  </a:cubicBezTo>
                  <a:lnTo>
                    <a:pt x="217539" y="435077"/>
                  </a:lnTo>
                  <a:lnTo>
                    <a:pt x="435077" y="435077"/>
                  </a:lnTo>
                  <a:cubicBezTo>
                    <a:pt x="435077" y="377375"/>
                    <a:pt x="412155" y="322039"/>
                    <a:pt x="371367" y="281250"/>
                  </a:cubicBezTo>
                  <a:cubicBezTo>
                    <a:pt x="330578" y="240462"/>
                    <a:pt x="275241" y="217539"/>
                    <a:pt x="217539" y="217539"/>
                  </a:cubicBezTo>
                  <a:cubicBezTo>
                    <a:pt x="159838" y="217539"/>
                    <a:pt x="104529" y="240462"/>
                    <a:pt x="63712" y="281250"/>
                  </a:cubicBezTo>
                  <a:close/>
                </a:path>
              </a:pathLst>
            </a:custGeom>
            <a:grpFill/>
            <a:ln w="27192" cap="flat">
              <a:noFill/>
              <a:prstDash val="solid"/>
              <a:miter/>
            </a:ln>
          </p:spPr>
          <p:txBody>
            <a:bodyPr rtlCol="0" anchor="ctr"/>
            <a:lstStyle/>
            <a:p>
              <a:endParaRPr lang="uk-UA" sz="900"/>
            </a:p>
          </p:txBody>
        </p:sp>
        <p:sp>
          <p:nvSpPr>
            <p:cNvPr id="190" name="Freeform: Shape 189">
              <a:extLst>
                <a:ext uri="{FF2B5EF4-FFF2-40B4-BE49-F238E27FC236}">
                  <a16:creationId xmlns:a16="http://schemas.microsoft.com/office/drawing/2014/main" id="{59E75712-941B-B599-1B5C-F54EC0E12164}"/>
                </a:ext>
              </a:extLst>
            </p:cNvPr>
            <p:cNvSpPr/>
            <p:nvPr/>
          </p:nvSpPr>
          <p:spPr>
            <a:xfrm>
              <a:off x="23460011" y="2839064"/>
              <a:ext cx="435105" cy="435077"/>
            </a:xfrm>
            <a:custGeom>
              <a:avLst/>
              <a:gdLst>
                <a:gd name="connsiteX0" fmla="*/ 435106 w 435105"/>
                <a:gd name="connsiteY0" fmla="*/ 435077 h 435077"/>
                <a:gd name="connsiteX1" fmla="*/ 435106 w 435105"/>
                <a:gd name="connsiteY1" fmla="*/ 217539 h 435077"/>
                <a:gd name="connsiteX2" fmla="*/ 435106 w 435105"/>
                <a:gd name="connsiteY2" fmla="*/ 14 h 435077"/>
                <a:gd name="connsiteX3" fmla="*/ 217567 w 435105"/>
                <a:gd name="connsiteY3" fmla="*/ 14 h 435077"/>
                <a:gd name="connsiteX4" fmla="*/ 435106 w 435105"/>
                <a:gd name="connsiteY4" fmla="*/ 217539 h 435077"/>
                <a:gd name="connsiteX5" fmla="*/ 217567 w 435105"/>
                <a:gd name="connsiteY5" fmla="*/ 435077 h 435077"/>
                <a:gd name="connsiteX6" fmla="*/ 435106 w 435105"/>
                <a:gd name="connsiteY6" fmla="*/ 435077 h 435077"/>
                <a:gd name="connsiteX7" fmla="*/ 0 w 435105"/>
                <a:gd name="connsiteY7" fmla="*/ 217539 h 435077"/>
                <a:gd name="connsiteX8" fmla="*/ 0 w 435105"/>
                <a:gd name="connsiteY8" fmla="*/ 0 h 435077"/>
                <a:gd name="connsiteX9" fmla="*/ 217539 w 435105"/>
                <a:gd name="connsiteY9" fmla="*/ 217539 h 435077"/>
                <a:gd name="connsiteX10" fmla="*/ 0 w 435105"/>
                <a:gd name="connsiteY10" fmla="*/ 217539 h 435077"/>
                <a:gd name="connsiteX11" fmla="*/ 0 w 435105"/>
                <a:gd name="connsiteY11" fmla="*/ 435077 h 435077"/>
                <a:gd name="connsiteX12" fmla="*/ 0 w 435105"/>
                <a:gd name="connsiteY12" fmla="*/ 217539 h 435077"/>
                <a:gd name="connsiteX13" fmla="*/ 217539 w 435105"/>
                <a:gd name="connsiteY13" fmla="*/ 217539 h 435077"/>
                <a:gd name="connsiteX14" fmla="*/ 0 w 435105"/>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105" h="435077">
                  <a:moveTo>
                    <a:pt x="435106" y="435077"/>
                  </a:moveTo>
                  <a:lnTo>
                    <a:pt x="435106" y="217539"/>
                  </a:lnTo>
                  <a:lnTo>
                    <a:pt x="435106" y="14"/>
                  </a:lnTo>
                  <a:lnTo>
                    <a:pt x="217567" y="14"/>
                  </a:lnTo>
                  <a:lnTo>
                    <a:pt x="435106" y="217539"/>
                  </a:lnTo>
                  <a:lnTo>
                    <a:pt x="217567" y="435077"/>
                  </a:lnTo>
                  <a:lnTo>
                    <a:pt x="435106"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191" name="Freeform: Shape 190">
              <a:extLst>
                <a:ext uri="{FF2B5EF4-FFF2-40B4-BE49-F238E27FC236}">
                  <a16:creationId xmlns:a16="http://schemas.microsoft.com/office/drawing/2014/main" id="{7A7F164A-5202-2640-FC21-4ED8B72F2D93}"/>
                </a:ext>
              </a:extLst>
            </p:cNvPr>
            <p:cNvSpPr/>
            <p:nvPr/>
          </p:nvSpPr>
          <p:spPr>
            <a:xfrm>
              <a:off x="24330194" y="2839064"/>
              <a:ext cx="435077" cy="435077"/>
            </a:xfrm>
            <a:custGeom>
              <a:avLst/>
              <a:gdLst>
                <a:gd name="connsiteX0" fmla="*/ 0 w 435077"/>
                <a:gd name="connsiteY0" fmla="*/ 435077 h 435077"/>
                <a:gd name="connsiteX1" fmla="*/ 0 w 435077"/>
                <a:gd name="connsiteY1" fmla="*/ 0 h 435077"/>
                <a:gd name="connsiteX2" fmla="*/ 217539 w 435077"/>
                <a:gd name="connsiteY2" fmla="*/ 217539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39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39"/>
                  </a:lnTo>
                  <a:lnTo>
                    <a:pt x="0" y="435077"/>
                  </a:lnTo>
                  <a:close/>
                  <a:moveTo>
                    <a:pt x="217539" y="435077"/>
                  </a:moveTo>
                  <a:lnTo>
                    <a:pt x="217539" y="0"/>
                  </a:lnTo>
                  <a:lnTo>
                    <a:pt x="435077" y="217539"/>
                  </a:lnTo>
                  <a:lnTo>
                    <a:pt x="217539" y="435077"/>
                  </a:lnTo>
                  <a:close/>
                </a:path>
              </a:pathLst>
            </a:custGeom>
            <a:grpFill/>
            <a:ln w="27192" cap="flat">
              <a:noFill/>
              <a:prstDash val="solid"/>
              <a:miter/>
            </a:ln>
          </p:spPr>
          <p:txBody>
            <a:bodyPr rtlCol="0" anchor="ctr"/>
            <a:lstStyle/>
            <a:p>
              <a:endParaRPr lang="uk-UA" sz="900"/>
            </a:p>
          </p:txBody>
        </p:sp>
        <p:sp>
          <p:nvSpPr>
            <p:cNvPr id="192" name="Freeform: Shape 191">
              <a:extLst>
                <a:ext uri="{FF2B5EF4-FFF2-40B4-BE49-F238E27FC236}">
                  <a16:creationId xmlns:a16="http://schemas.microsoft.com/office/drawing/2014/main" id="{1B277D80-B384-7EC9-93A7-B4D740168950}"/>
                </a:ext>
              </a:extLst>
            </p:cNvPr>
            <p:cNvSpPr/>
            <p:nvPr/>
          </p:nvSpPr>
          <p:spPr>
            <a:xfrm>
              <a:off x="835769" y="3709219"/>
              <a:ext cx="435077" cy="435077"/>
            </a:xfrm>
            <a:custGeom>
              <a:avLst/>
              <a:gdLst>
                <a:gd name="connsiteX0" fmla="*/ 0 w 435077"/>
                <a:gd name="connsiteY0" fmla="*/ 435077 h 435077"/>
                <a:gd name="connsiteX1" fmla="*/ 217511 w 435077"/>
                <a:gd name="connsiteY1" fmla="*/ 435077 h 435077"/>
                <a:gd name="connsiteX2" fmla="*/ 217511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11" y="435077"/>
                  </a:lnTo>
                  <a:lnTo>
                    <a:pt x="217511"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193" name="Freeform: Shape 192">
              <a:extLst>
                <a:ext uri="{FF2B5EF4-FFF2-40B4-BE49-F238E27FC236}">
                  <a16:creationId xmlns:a16="http://schemas.microsoft.com/office/drawing/2014/main" id="{1C9DEA28-88A0-4907-6C6B-7CA02C514AFF}"/>
                </a:ext>
              </a:extLst>
            </p:cNvPr>
            <p:cNvSpPr/>
            <p:nvPr/>
          </p:nvSpPr>
          <p:spPr>
            <a:xfrm>
              <a:off x="-34398" y="3709219"/>
              <a:ext cx="435063" cy="435077"/>
            </a:xfrm>
            <a:custGeom>
              <a:avLst/>
              <a:gdLst>
                <a:gd name="connsiteX0" fmla="*/ 217525 w 435063"/>
                <a:gd name="connsiteY0" fmla="*/ 217539 h 435077"/>
                <a:gd name="connsiteX1" fmla="*/ 217525 w 435063"/>
                <a:gd name="connsiteY1" fmla="*/ 0 h 435077"/>
                <a:gd name="connsiteX2" fmla="*/ 0 w 435063"/>
                <a:gd name="connsiteY2" fmla="*/ 0 h 435077"/>
                <a:gd name="connsiteX3" fmla="*/ 217525 w 435063"/>
                <a:gd name="connsiteY3" fmla="*/ 217539 h 435077"/>
                <a:gd name="connsiteX4" fmla="*/ 0 w 435063"/>
                <a:gd name="connsiteY4" fmla="*/ 435077 h 435077"/>
                <a:gd name="connsiteX5" fmla="*/ 217525 w 435063"/>
                <a:gd name="connsiteY5" fmla="*/ 435077 h 435077"/>
                <a:gd name="connsiteX6" fmla="*/ 217525 w 435063"/>
                <a:gd name="connsiteY6" fmla="*/ 435077 h 435077"/>
                <a:gd name="connsiteX7" fmla="*/ 435064 w 435063"/>
                <a:gd name="connsiteY7" fmla="*/ 217539 h 435077"/>
                <a:gd name="connsiteX8" fmla="*/ 435064 w 435063"/>
                <a:gd name="connsiteY8" fmla="*/ 217539 h 435077"/>
                <a:gd name="connsiteX9" fmla="*/ 435064 w 435063"/>
                <a:gd name="connsiteY9" fmla="*/ 217539 h 435077"/>
                <a:gd name="connsiteX10" fmla="*/ 435064 w 435063"/>
                <a:gd name="connsiteY10" fmla="*/ 217539 h 435077"/>
                <a:gd name="connsiteX11" fmla="*/ 435064 w 435063"/>
                <a:gd name="connsiteY11" fmla="*/ 217539 h 435077"/>
                <a:gd name="connsiteX12" fmla="*/ 217525 w 435063"/>
                <a:gd name="connsiteY12" fmla="*/ 0 h 435077"/>
                <a:gd name="connsiteX13" fmla="*/ 217525 w 435063"/>
                <a:gd name="connsiteY13" fmla="*/ 217539 h 435077"/>
                <a:gd name="connsiteX14" fmla="*/ 217525 w 435063"/>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63" h="435077">
                  <a:moveTo>
                    <a:pt x="217525" y="217539"/>
                  </a:moveTo>
                  <a:lnTo>
                    <a:pt x="217525" y="0"/>
                  </a:lnTo>
                  <a:lnTo>
                    <a:pt x="0" y="0"/>
                  </a:lnTo>
                  <a:lnTo>
                    <a:pt x="217525" y="217539"/>
                  </a:lnTo>
                  <a:lnTo>
                    <a:pt x="0" y="435077"/>
                  </a:lnTo>
                  <a:lnTo>
                    <a:pt x="217525" y="435077"/>
                  </a:lnTo>
                  <a:lnTo>
                    <a:pt x="217525" y="435077"/>
                  </a:lnTo>
                  <a:lnTo>
                    <a:pt x="435064" y="217539"/>
                  </a:lnTo>
                  <a:lnTo>
                    <a:pt x="435064" y="217539"/>
                  </a:lnTo>
                  <a:lnTo>
                    <a:pt x="435064" y="217539"/>
                  </a:lnTo>
                  <a:lnTo>
                    <a:pt x="435064" y="217539"/>
                  </a:lnTo>
                  <a:lnTo>
                    <a:pt x="435064" y="217539"/>
                  </a:lnTo>
                  <a:lnTo>
                    <a:pt x="217525" y="0"/>
                  </a:lnTo>
                  <a:lnTo>
                    <a:pt x="217525" y="217539"/>
                  </a:lnTo>
                  <a:lnTo>
                    <a:pt x="217525" y="217539"/>
                  </a:lnTo>
                  <a:close/>
                </a:path>
              </a:pathLst>
            </a:custGeom>
            <a:grpFill/>
            <a:ln w="27192" cap="flat">
              <a:noFill/>
              <a:prstDash val="solid"/>
              <a:miter/>
            </a:ln>
          </p:spPr>
          <p:txBody>
            <a:bodyPr rtlCol="0" anchor="ctr"/>
            <a:lstStyle/>
            <a:p>
              <a:endParaRPr lang="uk-UA" sz="900"/>
            </a:p>
          </p:txBody>
        </p:sp>
        <p:sp>
          <p:nvSpPr>
            <p:cNvPr id="194" name="Freeform: Shape 193">
              <a:extLst>
                <a:ext uri="{FF2B5EF4-FFF2-40B4-BE49-F238E27FC236}">
                  <a16:creationId xmlns:a16="http://schemas.microsoft.com/office/drawing/2014/main" id="{0DCE0C1A-FC13-AA82-AE09-5F2F27A64BF0}"/>
                </a:ext>
              </a:extLst>
            </p:cNvPr>
            <p:cNvSpPr/>
            <p:nvPr/>
          </p:nvSpPr>
          <p:spPr>
            <a:xfrm>
              <a:off x="1705924" y="3709219"/>
              <a:ext cx="435104" cy="435077"/>
            </a:xfrm>
            <a:custGeom>
              <a:avLst/>
              <a:gdLst>
                <a:gd name="connsiteX0" fmla="*/ 217539 w 435104"/>
                <a:gd name="connsiteY0" fmla="*/ 0 h 435077"/>
                <a:gd name="connsiteX1" fmla="*/ 0 w 435104"/>
                <a:gd name="connsiteY1" fmla="*/ 0 h 435077"/>
                <a:gd name="connsiteX2" fmla="*/ 0 w 435104"/>
                <a:gd name="connsiteY2" fmla="*/ 217539 h 435077"/>
                <a:gd name="connsiteX3" fmla="*/ 217539 w 435104"/>
                <a:gd name="connsiteY3" fmla="*/ 0 h 435077"/>
                <a:gd name="connsiteX4" fmla="*/ 435104 w 435104"/>
                <a:gd name="connsiteY4" fmla="*/ 0 h 435077"/>
                <a:gd name="connsiteX5" fmla="*/ 435104 w 435104"/>
                <a:gd name="connsiteY5" fmla="*/ 217539 h 435077"/>
                <a:gd name="connsiteX6" fmla="*/ 217566 w 435104"/>
                <a:gd name="connsiteY6" fmla="*/ 0 h 435077"/>
                <a:gd name="connsiteX7" fmla="*/ 435104 w 435104"/>
                <a:gd name="connsiteY7" fmla="*/ 0 h 435077"/>
                <a:gd name="connsiteX8" fmla="*/ 217566 w 435104"/>
                <a:gd name="connsiteY8" fmla="*/ 435077 h 435077"/>
                <a:gd name="connsiteX9" fmla="*/ 435104 w 435104"/>
                <a:gd name="connsiteY9" fmla="*/ 217539 h 435077"/>
                <a:gd name="connsiteX10" fmla="*/ 435104 w 435104"/>
                <a:gd name="connsiteY10" fmla="*/ 435077 h 435077"/>
                <a:gd name="connsiteX11" fmla="*/ 217566 w 435104"/>
                <a:gd name="connsiteY11" fmla="*/ 435077 h 435077"/>
                <a:gd name="connsiteX12" fmla="*/ 217566 w 435104"/>
                <a:gd name="connsiteY12" fmla="*/ 435077 h 435077"/>
                <a:gd name="connsiteX13" fmla="*/ 27 w 435104"/>
                <a:gd name="connsiteY13" fmla="*/ 217539 h 435077"/>
                <a:gd name="connsiteX14" fmla="*/ 27 w 435104"/>
                <a:gd name="connsiteY14" fmla="*/ 435077 h 435077"/>
                <a:gd name="connsiteX15" fmla="*/ 217566 w 435104"/>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4" h="435077">
                  <a:moveTo>
                    <a:pt x="217539" y="0"/>
                  </a:moveTo>
                  <a:lnTo>
                    <a:pt x="0" y="0"/>
                  </a:lnTo>
                  <a:lnTo>
                    <a:pt x="0" y="217539"/>
                  </a:lnTo>
                  <a:lnTo>
                    <a:pt x="217539" y="0"/>
                  </a:lnTo>
                  <a:close/>
                  <a:moveTo>
                    <a:pt x="435104" y="0"/>
                  </a:moveTo>
                  <a:lnTo>
                    <a:pt x="435104" y="217539"/>
                  </a:lnTo>
                  <a:lnTo>
                    <a:pt x="217566" y="0"/>
                  </a:lnTo>
                  <a:lnTo>
                    <a:pt x="435104" y="0"/>
                  </a:lnTo>
                  <a:close/>
                  <a:moveTo>
                    <a:pt x="217566" y="435077"/>
                  </a:moveTo>
                  <a:lnTo>
                    <a:pt x="435104" y="217539"/>
                  </a:lnTo>
                  <a:lnTo>
                    <a:pt x="435104" y="435077"/>
                  </a:lnTo>
                  <a:lnTo>
                    <a:pt x="217566" y="435077"/>
                  </a:lnTo>
                  <a:close/>
                  <a:moveTo>
                    <a:pt x="217566" y="435077"/>
                  </a:moveTo>
                  <a:lnTo>
                    <a:pt x="27" y="217539"/>
                  </a:lnTo>
                  <a:lnTo>
                    <a:pt x="27" y="435077"/>
                  </a:lnTo>
                  <a:lnTo>
                    <a:pt x="217566" y="435077"/>
                  </a:lnTo>
                  <a:close/>
                </a:path>
              </a:pathLst>
            </a:custGeom>
            <a:grpFill/>
            <a:ln w="27192" cap="flat">
              <a:noFill/>
              <a:prstDash val="solid"/>
              <a:miter/>
            </a:ln>
          </p:spPr>
          <p:txBody>
            <a:bodyPr rtlCol="0" anchor="ctr"/>
            <a:lstStyle/>
            <a:p>
              <a:endParaRPr lang="uk-UA" sz="900"/>
            </a:p>
          </p:txBody>
        </p:sp>
        <p:sp>
          <p:nvSpPr>
            <p:cNvPr id="195" name="Freeform: Shape 194">
              <a:extLst>
                <a:ext uri="{FF2B5EF4-FFF2-40B4-BE49-F238E27FC236}">
                  <a16:creationId xmlns:a16="http://schemas.microsoft.com/office/drawing/2014/main" id="{036E71AD-9FE1-B67C-CB24-529F979B52B4}"/>
                </a:ext>
              </a:extLst>
            </p:cNvPr>
            <p:cNvSpPr/>
            <p:nvPr/>
          </p:nvSpPr>
          <p:spPr>
            <a:xfrm>
              <a:off x="2576106" y="3709219"/>
              <a:ext cx="435077" cy="435077"/>
            </a:xfrm>
            <a:custGeom>
              <a:avLst/>
              <a:gdLst>
                <a:gd name="connsiteX0" fmla="*/ 371366 w 435077"/>
                <a:gd name="connsiteY0" fmla="*/ 63712 h 435077"/>
                <a:gd name="connsiteX1" fmla="*/ 435077 w 435077"/>
                <a:gd name="connsiteY1" fmla="*/ 217539 h 435077"/>
                <a:gd name="connsiteX2" fmla="*/ 218925 w 435077"/>
                <a:gd name="connsiteY2" fmla="*/ 217539 h 435077"/>
                <a:gd name="connsiteX3" fmla="*/ 371366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25 w 435077"/>
                <a:gd name="connsiteY8" fmla="*/ 217539 h 435077"/>
                <a:gd name="connsiteX9" fmla="*/ 0 w 435077"/>
                <a:gd name="connsiteY9" fmla="*/ 217539 h 435077"/>
                <a:gd name="connsiteX10" fmla="*/ 63712 w 435077"/>
                <a:gd name="connsiteY10" fmla="*/ 63712 h 435077"/>
                <a:gd name="connsiteX11" fmla="*/ 217539 w 435077"/>
                <a:gd name="connsiteY11" fmla="*/ 0 h 435077"/>
                <a:gd name="connsiteX12" fmla="*/ 371366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2"/>
                  </a:moveTo>
                  <a:cubicBezTo>
                    <a:pt x="412154" y="104500"/>
                    <a:pt x="435077" y="159837"/>
                    <a:pt x="435077" y="217539"/>
                  </a:cubicBezTo>
                  <a:lnTo>
                    <a:pt x="218925" y="217539"/>
                  </a:lnTo>
                  <a:cubicBezTo>
                    <a:pt x="276138" y="217892"/>
                    <a:pt x="330904" y="240788"/>
                    <a:pt x="371366" y="281250"/>
                  </a:cubicBezTo>
                  <a:cubicBezTo>
                    <a:pt x="412154" y="322039"/>
                    <a:pt x="435077" y="377375"/>
                    <a:pt x="435077" y="435077"/>
                  </a:cubicBezTo>
                  <a:lnTo>
                    <a:pt x="217539" y="435077"/>
                  </a:lnTo>
                  <a:lnTo>
                    <a:pt x="0" y="435077"/>
                  </a:lnTo>
                  <a:cubicBezTo>
                    <a:pt x="0" y="377375"/>
                    <a:pt x="22923" y="322039"/>
                    <a:pt x="63712" y="281250"/>
                  </a:cubicBezTo>
                  <a:cubicBezTo>
                    <a:pt x="104174" y="240788"/>
                    <a:pt x="158939" y="217892"/>
                    <a:pt x="216125" y="217539"/>
                  </a:cubicBezTo>
                  <a:lnTo>
                    <a:pt x="0" y="217539"/>
                  </a:lnTo>
                  <a:cubicBezTo>
                    <a:pt x="0" y="159837"/>
                    <a:pt x="22923" y="104500"/>
                    <a:pt x="63712" y="63712"/>
                  </a:cubicBezTo>
                  <a:cubicBezTo>
                    <a:pt x="104500" y="22923"/>
                    <a:pt x="159837" y="0"/>
                    <a:pt x="217539" y="0"/>
                  </a:cubicBezTo>
                  <a:cubicBezTo>
                    <a:pt x="275214" y="0"/>
                    <a:pt x="330550" y="22923"/>
                    <a:pt x="371366" y="63712"/>
                  </a:cubicBezTo>
                  <a:close/>
                </a:path>
              </a:pathLst>
            </a:custGeom>
            <a:grpFill/>
            <a:ln w="27192" cap="flat">
              <a:noFill/>
              <a:prstDash val="solid"/>
              <a:miter/>
            </a:ln>
          </p:spPr>
          <p:txBody>
            <a:bodyPr rtlCol="0" anchor="ctr"/>
            <a:lstStyle/>
            <a:p>
              <a:endParaRPr lang="uk-UA" sz="900"/>
            </a:p>
          </p:txBody>
        </p:sp>
        <p:sp>
          <p:nvSpPr>
            <p:cNvPr id="196" name="Freeform: Shape 195">
              <a:extLst>
                <a:ext uri="{FF2B5EF4-FFF2-40B4-BE49-F238E27FC236}">
                  <a16:creationId xmlns:a16="http://schemas.microsoft.com/office/drawing/2014/main" id="{65DA2ECA-20CB-ADED-070B-3C5B435143F9}"/>
                </a:ext>
              </a:extLst>
            </p:cNvPr>
            <p:cNvSpPr/>
            <p:nvPr/>
          </p:nvSpPr>
          <p:spPr>
            <a:xfrm>
              <a:off x="4316442" y="3709219"/>
              <a:ext cx="435050" cy="435077"/>
            </a:xfrm>
            <a:custGeom>
              <a:avLst/>
              <a:gdLst>
                <a:gd name="connsiteX0" fmla="*/ 0 w 435050"/>
                <a:gd name="connsiteY0" fmla="*/ 435077 h 435077"/>
                <a:gd name="connsiteX1" fmla="*/ 217512 w 435050"/>
                <a:gd name="connsiteY1" fmla="*/ 435077 h 435077"/>
                <a:gd name="connsiteX2" fmla="*/ 217512 w 435050"/>
                <a:gd name="connsiteY2" fmla="*/ 217539 h 435077"/>
                <a:gd name="connsiteX3" fmla="*/ 0 w 435050"/>
                <a:gd name="connsiteY3" fmla="*/ 435077 h 435077"/>
                <a:gd name="connsiteX4" fmla="*/ 217512 w 435050"/>
                <a:gd name="connsiteY4" fmla="*/ 0 h 435077"/>
                <a:gd name="connsiteX5" fmla="*/ 0 w 435050"/>
                <a:gd name="connsiteY5" fmla="*/ 0 h 435077"/>
                <a:gd name="connsiteX6" fmla="*/ 217512 w 435050"/>
                <a:gd name="connsiteY6" fmla="*/ 217539 h 435077"/>
                <a:gd name="connsiteX7" fmla="*/ 217512 w 435050"/>
                <a:gd name="connsiteY7" fmla="*/ 0 h 435077"/>
                <a:gd name="connsiteX8" fmla="*/ 435051 w 435050"/>
                <a:gd name="connsiteY8" fmla="*/ 435077 h 435077"/>
                <a:gd name="connsiteX9" fmla="*/ 217539 w 435050"/>
                <a:gd name="connsiteY9" fmla="*/ 435077 h 435077"/>
                <a:gd name="connsiteX10" fmla="*/ 435051 w 435050"/>
                <a:gd name="connsiteY10" fmla="*/ 217539 h 435077"/>
                <a:gd name="connsiteX11" fmla="*/ 435051 w 435050"/>
                <a:gd name="connsiteY11" fmla="*/ 435077 h 435077"/>
                <a:gd name="connsiteX12" fmla="*/ 435051 w 435050"/>
                <a:gd name="connsiteY12" fmla="*/ 0 h 435077"/>
                <a:gd name="connsiteX13" fmla="*/ 217539 w 435050"/>
                <a:gd name="connsiteY13" fmla="*/ 0 h 435077"/>
                <a:gd name="connsiteX14" fmla="*/ 435051 w 435050"/>
                <a:gd name="connsiteY14" fmla="*/ 217539 h 435077"/>
                <a:gd name="connsiteX15" fmla="*/ 435051 w 435050"/>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50" h="435077">
                  <a:moveTo>
                    <a:pt x="0" y="435077"/>
                  </a:moveTo>
                  <a:lnTo>
                    <a:pt x="217512" y="435077"/>
                  </a:lnTo>
                  <a:lnTo>
                    <a:pt x="217512" y="217539"/>
                  </a:lnTo>
                  <a:lnTo>
                    <a:pt x="0" y="435077"/>
                  </a:lnTo>
                  <a:close/>
                  <a:moveTo>
                    <a:pt x="217512" y="0"/>
                  </a:moveTo>
                  <a:lnTo>
                    <a:pt x="0" y="0"/>
                  </a:lnTo>
                  <a:lnTo>
                    <a:pt x="217512" y="217539"/>
                  </a:lnTo>
                  <a:lnTo>
                    <a:pt x="217512" y="0"/>
                  </a:lnTo>
                  <a:close/>
                  <a:moveTo>
                    <a:pt x="435051" y="435077"/>
                  </a:moveTo>
                  <a:lnTo>
                    <a:pt x="217539" y="435077"/>
                  </a:lnTo>
                  <a:lnTo>
                    <a:pt x="435051" y="217539"/>
                  </a:lnTo>
                  <a:lnTo>
                    <a:pt x="435051" y="435077"/>
                  </a:lnTo>
                  <a:close/>
                  <a:moveTo>
                    <a:pt x="435051" y="0"/>
                  </a:moveTo>
                  <a:lnTo>
                    <a:pt x="217539" y="0"/>
                  </a:lnTo>
                  <a:lnTo>
                    <a:pt x="435051" y="217539"/>
                  </a:lnTo>
                  <a:lnTo>
                    <a:pt x="435051" y="0"/>
                  </a:lnTo>
                  <a:close/>
                </a:path>
              </a:pathLst>
            </a:custGeom>
            <a:grpFill/>
            <a:ln w="27192" cap="flat">
              <a:noFill/>
              <a:prstDash val="solid"/>
              <a:miter/>
            </a:ln>
          </p:spPr>
          <p:txBody>
            <a:bodyPr rtlCol="0" anchor="ctr"/>
            <a:lstStyle/>
            <a:p>
              <a:endParaRPr lang="uk-UA" sz="900"/>
            </a:p>
          </p:txBody>
        </p:sp>
        <p:sp>
          <p:nvSpPr>
            <p:cNvPr id="197" name="Freeform: Shape 196">
              <a:extLst>
                <a:ext uri="{FF2B5EF4-FFF2-40B4-BE49-F238E27FC236}">
                  <a16:creationId xmlns:a16="http://schemas.microsoft.com/office/drawing/2014/main" id="{99CEC8EB-2BAF-3E12-370B-5AEB45D0C23E}"/>
                </a:ext>
              </a:extLst>
            </p:cNvPr>
            <p:cNvSpPr/>
            <p:nvPr/>
          </p:nvSpPr>
          <p:spPr>
            <a:xfrm>
              <a:off x="3446261" y="370921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198" name="Freeform: Shape 197">
              <a:extLst>
                <a:ext uri="{FF2B5EF4-FFF2-40B4-BE49-F238E27FC236}">
                  <a16:creationId xmlns:a16="http://schemas.microsoft.com/office/drawing/2014/main" id="{A64F9433-5E6F-F4D9-22C5-1D8D928BB1FC}"/>
                </a:ext>
              </a:extLst>
            </p:cNvPr>
            <p:cNvSpPr/>
            <p:nvPr/>
          </p:nvSpPr>
          <p:spPr>
            <a:xfrm>
              <a:off x="5186597" y="3709219"/>
              <a:ext cx="435077" cy="435077"/>
            </a:xfrm>
            <a:custGeom>
              <a:avLst/>
              <a:gdLst>
                <a:gd name="connsiteX0" fmla="*/ 217539 w 435077"/>
                <a:gd name="connsiteY0" fmla="*/ 0 h 435077"/>
                <a:gd name="connsiteX1" fmla="*/ 217539 w 435077"/>
                <a:gd name="connsiteY1" fmla="*/ 0 h 435077"/>
                <a:gd name="connsiteX2" fmla="*/ 0 w 435077"/>
                <a:gd name="connsiteY2" fmla="*/ 0 h 435077"/>
                <a:gd name="connsiteX3" fmla="*/ 0 w 435077"/>
                <a:gd name="connsiteY3" fmla="*/ 217539 h 435077"/>
                <a:gd name="connsiteX4" fmla="*/ 217539 w 435077"/>
                <a:gd name="connsiteY4" fmla="*/ 0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217539" y="0"/>
                  </a:lnTo>
                  <a:lnTo>
                    <a:pt x="0" y="0"/>
                  </a:lnTo>
                  <a:lnTo>
                    <a:pt x="0" y="217539"/>
                  </a:lnTo>
                  <a:lnTo>
                    <a:pt x="217539" y="0"/>
                  </a:lnTo>
                  <a:lnTo>
                    <a:pt x="435077" y="217539"/>
                  </a:lnTo>
                  <a:lnTo>
                    <a:pt x="217539" y="435077"/>
                  </a:lnTo>
                  <a:lnTo>
                    <a:pt x="0" y="217539"/>
                  </a:lnTo>
                  <a:lnTo>
                    <a:pt x="0" y="435077"/>
                  </a:lnTo>
                  <a:lnTo>
                    <a:pt x="217539" y="435077"/>
                  </a:lnTo>
                  <a:lnTo>
                    <a:pt x="435077" y="435077"/>
                  </a:lnTo>
                  <a:lnTo>
                    <a:pt x="435077" y="217539"/>
                  </a:lnTo>
                  <a:lnTo>
                    <a:pt x="435077" y="0"/>
                  </a:lnTo>
                  <a:lnTo>
                    <a:pt x="217539" y="0"/>
                  </a:lnTo>
                  <a:close/>
                </a:path>
              </a:pathLst>
            </a:custGeom>
            <a:grpFill/>
            <a:ln w="27192" cap="flat">
              <a:noFill/>
              <a:prstDash val="solid"/>
              <a:miter/>
            </a:ln>
          </p:spPr>
          <p:txBody>
            <a:bodyPr rtlCol="0" anchor="ctr"/>
            <a:lstStyle/>
            <a:p>
              <a:endParaRPr lang="uk-UA" sz="900"/>
            </a:p>
          </p:txBody>
        </p:sp>
        <p:sp>
          <p:nvSpPr>
            <p:cNvPr id="199" name="Freeform: Shape 198">
              <a:extLst>
                <a:ext uri="{FF2B5EF4-FFF2-40B4-BE49-F238E27FC236}">
                  <a16:creationId xmlns:a16="http://schemas.microsoft.com/office/drawing/2014/main" id="{FFC8BF21-A456-1D38-580C-B76FC49F5E29}"/>
                </a:ext>
              </a:extLst>
            </p:cNvPr>
            <p:cNvSpPr/>
            <p:nvPr/>
          </p:nvSpPr>
          <p:spPr>
            <a:xfrm>
              <a:off x="6056752" y="3709219"/>
              <a:ext cx="435077" cy="435077"/>
            </a:xfrm>
            <a:custGeom>
              <a:avLst/>
              <a:gdLst>
                <a:gd name="connsiteX0" fmla="*/ 371366 w 435077"/>
                <a:gd name="connsiteY0" fmla="*/ 63712 h 435077"/>
                <a:gd name="connsiteX1" fmla="*/ 435077 w 435077"/>
                <a:gd name="connsiteY1" fmla="*/ 217539 h 435077"/>
                <a:gd name="connsiteX2" fmla="*/ 218953 w 435077"/>
                <a:gd name="connsiteY2" fmla="*/ 217539 h 435077"/>
                <a:gd name="connsiteX3" fmla="*/ 371366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25 w 435077"/>
                <a:gd name="connsiteY8" fmla="*/ 217539 h 435077"/>
                <a:gd name="connsiteX9" fmla="*/ 0 w 435077"/>
                <a:gd name="connsiteY9" fmla="*/ 217539 h 435077"/>
                <a:gd name="connsiteX10" fmla="*/ 63712 w 435077"/>
                <a:gd name="connsiteY10" fmla="*/ 63712 h 435077"/>
                <a:gd name="connsiteX11" fmla="*/ 217539 w 435077"/>
                <a:gd name="connsiteY11" fmla="*/ 0 h 435077"/>
                <a:gd name="connsiteX12" fmla="*/ 371366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2"/>
                  </a:moveTo>
                  <a:cubicBezTo>
                    <a:pt x="412155" y="104500"/>
                    <a:pt x="435077" y="159837"/>
                    <a:pt x="435077" y="217539"/>
                  </a:cubicBezTo>
                  <a:lnTo>
                    <a:pt x="218953" y="217539"/>
                  </a:lnTo>
                  <a:cubicBezTo>
                    <a:pt x="276138" y="217892"/>
                    <a:pt x="330904" y="240788"/>
                    <a:pt x="371366" y="281250"/>
                  </a:cubicBezTo>
                  <a:cubicBezTo>
                    <a:pt x="412155" y="322039"/>
                    <a:pt x="435077" y="377375"/>
                    <a:pt x="435077" y="435077"/>
                  </a:cubicBezTo>
                  <a:lnTo>
                    <a:pt x="217539" y="435077"/>
                  </a:lnTo>
                  <a:lnTo>
                    <a:pt x="0" y="435077"/>
                  </a:lnTo>
                  <a:cubicBezTo>
                    <a:pt x="0" y="377375"/>
                    <a:pt x="22924" y="322039"/>
                    <a:pt x="63712" y="281250"/>
                  </a:cubicBezTo>
                  <a:cubicBezTo>
                    <a:pt x="104175" y="240788"/>
                    <a:pt x="158939" y="217892"/>
                    <a:pt x="216125" y="217539"/>
                  </a:cubicBezTo>
                  <a:lnTo>
                    <a:pt x="0" y="217539"/>
                  </a:lnTo>
                  <a:cubicBezTo>
                    <a:pt x="0" y="159837"/>
                    <a:pt x="22924" y="104500"/>
                    <a:pt x="63712" y="63712"/>
                  </a:cubicBezTo>
                  <a:cubicBezTo>
                    <a:pt x="104501" y="22923"/>
                    <a:pt x="159837" y="0"/>
                    <a:pt x="217539" y="0"/>
                  </a:cubicBezTo>
                  <a:cubicBezTo>
                    <a:pt x="275241" y="0"/>
                    <a:pt x="330550" y="22923"/>
                    <a:pt x="371366" y="63712"/>
                  </a:cubicBezTo>
                  <a:close/>
                </a:path>
              </a:pathLst>
            </a:custGeom>
            <a:grpFill/>
            <a:ln w="27192" cap="flat">
              <a:noFill/>
              <a:prstDash val="solid"/>
              <a:miter/>
            </a:ln>
          </p:spPr>
          <p:txBody>
            <a:bodyPr rtlCol="0" anchor="ctr"/>
            <a:lstStyle/>
            <a:p>
              <a:endParaRPr lang="uk-UA" sz="900"/>
            </a:p>
          </p:txBody>
        </p:sp>
        <p:sp>
          <p:nvSpPr>
            <p:cNvPr id="200" name="Freeform: Shape 199">
              <a:extLst>
                <a:ext uri="{FF2B5EF4-FFF2-40B4-BE49-F238E27FC236}">
                  <a16:creationId xmlns:a16="http://schemas.microsoft.com/office/drawing/2014/main" id="{456B6163-B343-3349-22D5-2BF5A4BB161F}"/>
                </a:ext>
              </a:extLst>
            </p:cNvPr>
            <p:cNvSpPr/>
            <p:nvPr/>
          </p:nvSpPr>
          <p:spPr>
            <a:xfrm>
              <a:off x="7797089" y="3709219"/>
              <a:ext cx="435050" cy="435077"/>
            </a:xfrm>
            <a:custGeom>
              <a:avLst/>
              <a:gdLst>
                <a:gd name="connsiteX0" fmla="*/ 0 w 435050"/>
                <a:gd name="connsiteY0" fmla="*/ 435077 h 435077"/>
                <a:gd name="connsiteX1" fmla="*/ 217511 w 435050"/>
                <a:gd name="connsiteY1" fmla="*/ 435077 h 435077"/>
                <a:gd name="connsiteX2" fmla="*/ 217511 w 435050"/>
                <a:gd name="connsiteY2" fmla="*/ 217539 h 435077"/>
                <a:gd name="connsiteX3" fmla="*/ 0 w 435050"/>
                <a:gd name="connsiteY3" fmla="*/ 435077 h 435077"/>
                <a:gd name="connsiteX4" fmla="*/ 217511 w 435050"/>
                <a:gd name="connsiteY4" fmla="*/ 0 h 435077"/>
                <a:gd name="connsiteX5" fmla="*/ 0 w 435050"/>
                <a:gd name="connsiteY5" fmla="*/ 0 h 435077"/>
                <a:gd name="connsiteX6" fmla="*/ 217511 w 435050"/>
                <a:gd name="connsiteY6" fmla="*/ 217539 h 435077"/>
                <a:gd name="connsiteX7" fmla="*/ 217511 w 435050"/>
                <a:gd name="connsiteY7" fmla="*/ 0 h 435077"/>
                <a:gd name="connsiteX8" fmla="*/ 435050 w 435050"/>
                <a:gd name="connsiteY8" fmla="*/ 435077 h 435077"/>
                <a:gd name="connsiteX9" fmla="*/ 217539 w 435050"/>
                <a:gd name="connsiteY9" fmla="*/ 435077 h 435077"/>
                <a:gd name="connsiteX10" fmla="*/ 435050 w 435050"/>
                <a:gd name="connsiteY10" fmla="*/ 217539 h 435077"/>
                <a:gd name="connsiteX11" fmla="*/ 435050 w 435050"/>
                <a:gd name="connsiteY11" fmla="*/ 435077 h 435077"/>
                <a:gd name="connsiteX12" fmla="*/ 435050 w 435050"/>
                <a:gd name="connsiteY12" fmla="*/ 0 h 435077"/>
                <a:gd name="connsiteX13" fmla="*/ 217539 w 435050"/>
                <a:gd name="connsiteY13" fmla="*/ 0 h 435077"/>
                <a:gd name="connsiteX14" fmla="*/ 435050 w 435050"/>
                <a:gd name="connsiteY14" fmla="*/ 217539 h 435077"/>
                <a:gd name="connsiteX15" fmla="*/ 435050 w 435050"/>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50" h="435077">
                  <a:moveTo>
                    <a:pt x="0" y="435077"/>
                  </a:moveTo>
                  <a:lnTo>
                    <a:pt x="217511" y="435077"/>
                  </a:lnTo>
                  <a:lnTo>
                    <a:pt x="217511" y="217539"/>
                  </a:lnTo>
                  <a:lnTo>
                    <a:pt x="0" y="435077"/>
                  </a:lnTo>
                  <a:close/>
                  <a:moveTo>
                    <a:pt x="217511" y="0"/>
                  </a:moveTo>
                  <a:lnTo>
                    <a:pt x="0" y="0"/>
                  </a:lnTo>
                  <a:lnTo>
                    <a:pt x="217511" y="217539"/>
                  </a:lnTo>
                  <a:lnTo>
                    <a:pt x="217511" y="0"/>
                  </a:lnTo>
                  <a:close/>
                  <a:moveTo>
                    <a:pt x="435050" y="435077"/>
                  </a:moveTo>
                  <a:lnTo>
                    <a:pt x="217539" y="435077"/>
                  </a:lnTo>
                  <a:lnTo>
                    <a:pt x="435050" y="217539"/>
                  </a:lnTo>
                  <a:lnTo>
                    <a:pt x="435050" y="435077"/>
                  </a:lnTo>
                  <a:close/>
                  <a:moveTo>
                    <a:pt x="435050" y="0"/>
                  </a:moveTo>
                  <a:lnTo>
                    <a:pt x="217539" y="0"/>
                  </a:lnTo>
                  <a:lnTo>
                    <a:pt x="435050" y="217539"/>
                  </a:lnTo>
                  <a:lnTo>
                    <a:pt x="435050" y="0"/>
                  </a:lnTo>
                  <a:close/>
                </a:path>
              </a:pathLst>
            </a:custGeom>
            <a:grpFill/>
            <a:ln w="27192" cap="flat">
              <a:noFill/>
              <a:prstDash val="solid"/>
              <a:miter/>
            </a:ln>
          </p:spPr>
          <p:txBody>
            <a:bodyPr rtlCol="0" anchor="ctr"/>
            <a:lstStyle/>
            <a:p>
              <a:endParaRPr lang="uk-UA" sz="900"/>
            </a:p>
          </p:txBody>
        </p:sp>
        <p:sp>
          <p:nvSpPr>
            <p:cNvPr id="201" name="Freeform: Shape 200">
              <a:extLst>
                <a:ext uri="{FF2B5EF4-FFF2-40B4-BE49-F238E27FC236}">
                  <a16:creationId xmlns:a16="http://schemas.microsoft.com/office/drawing/2014/main" id="{4BBF4AA9-B19C-A5A4-E511-47A3476552F1}"/>
                </a:ext>
              </a:extLst>
            </p:cNvPr>
            <p:cNvSpPr/>
            <p:nvPr/>
          </p:nvSpPr>
          <p:spPr>
            <a:xfrm>
              <a:off x="6926907" y="3709219"/>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0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39 h 435077"/>
                <a:gd name="connsiteX9" fmla="*/ 435077 w 435077"/>
                <a:gd name="connsiteY9" fmla="*/ 217539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0"/>
                  </a:lnTo>
                  <a:lnTo>
                    <a:pt x="435077" y="217539"/>
                  </a:lnTo>
                  <a:lnTo>
                    <a:pt x="435077" y="217539"/>
                  </a:lnTo>
                  <a:lnTo>
                    <a:pt x="435077" y="217539"/>
                  </a:lnTo>
                  <a:lnTo>
                    <a:pt x="435077" y="217539"/>
                  </a:lnTo>
                  <a:lnTo>
                    <a:pt x="435077" y="217539"/>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202" name="Freeform: Shape 201">
              <a:extLst>
                <a:ext uri="{FF2B5EF4-FFF2-40B4-BE49-F238E27FC236}">
                  <a16:creationId xmlns:a16="http://schemas.microsoft.com/office/drawing/2014/main" id="{A2644A85-081D-8C8D-A940-92EB79F1BE01}"/>
                </a:ext>
              </a:extLst>
            </p:cNvPr>
            <p:cNvSpPr/>
            <p:nvPr/>
          </p:nvSpPr>
          <p:spPr>
            <a:xfrm>
              <a:off x="8667217" y="370921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p>
          </p:txBody>
        </p:sp>
        <p:sp>
          <p:nvSpPr>
            <p:cNvPr id="203" name="Freeform: Shape 202">
              <a:extLst>
                <a:ext uri="{FF2B5EF4-FFF2-40B4-BE49-F238E27FC236}">
                  <a16:creationId xmlns:a16="http://schemas.microsoft.com/office/drawing/2014/main" id="{28EDC7E2-340E-C40E-9FE1-CB076E76F7EA}"/>
                </a:ext>
              </a:extLst>
            </p:cNvPr>
            <p:cNvSpPr/>
            <p:nvPr/>
          </p:nvSpPr>
          <p:spPr>
            <a:xfrm>
              <a:off x="9537399" y="3709219"/>
              <a:ext cx="435077" cy="435077"/>
            </a:xfrm>
            <a:custGeom>
              <a:avLst/>
              <a:gdLst>
                <a:gd name="connsiteX0" fmla="*/ 371366 w 435077"/>
                <a:gd name="connsiteY0" fmla="*/ 63712 h 435077"/>
                <a:gd name="connsiteX1" fmla="*/ 435077 w 435077"/>
                <a:gd name="connsiteY1" fmla="*/ 217539 h 435077"/>
                <a:gd name="connsiteX2" fmla="*/ 218925 w 435077"/>
                <a:gd name="connsiteY2" fmla="*/ 217539 h 435077"/>
                <a:gd name="connsiteX3" fmla="*/ 371366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1 w 435077"/>
                <a:gd name="connsiteY7" fmla="*/ 281250 h 435077"/>
                <a:gd name="connsiteX8" fmla="*/ 216125 w 435077"/>
                <a:gd name="connsiteY8" fmla="*/ 217539 h 435077"/>
                <a:gd name="connsiteX9" fmla="*/ 0 w 435077"/>
                <a:gd name="connsiteY9" fmla="*/ 217539 h 435077"/>
                <a:gd name="connsiteX10" fmla="*/ 63711 w 435077"/>
                <a:gd name="connsiteY10" fmla="*/ 63712 h 435077"/>
                <a:gd name="connsiteX11" fmla="*/ 217539 w 435077"/>
                <a:gd name="connsiteY11" fmla="*/ 0 h 435077"/>
                <a:gd name="connsiteX12" fmla="*/ 371366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2"/>
                  </a:moveTo>
                  <a:cubicBezTo>
                    <a:pt x="412155" y="104500"/>
                    <a:pt x="435077" y="159837"/>
                    <a:pt x="435077" y="217539"/>
                  </a:cubicBezTo>
                  <a:lnTo>
                    <a:pt x="218925" y="217539"/>
                  </a:lnTo>
                  <a:cubicBezTo>
                    <a:pt x="276111" y="217892"/>
                    <a:pt x="330904" y="240788"/>
                    <a:pt x="371366" y="281250"/>
                  </a:cubicBezTo>
                  <a:cubicBezTo>
                    <a:pt x="412155" y="322039"/>
                    <a:pt x="435077" y="377375"/>
                    <a:pt x="435077" y="435077"/>
                  </a:cubicBezTo>
                  <a:lnTo>
                    <a:pt x="217539" y="435077"/>
                  </a:lnTo>
                  <a:lnTo>
                    <a:pt x="0" y="435077"/>
                  </a:lnTo>
                  <a:cubicBezTo>
                    <a:pt x="0" y="377375"/>
                    <a:pt x="22923" y="322039"/>
                    <a:pt x="63711" y="281250"/>
                  </a:cubicBezTo>
                  <a:cubicBezTo>
                    <a:pt x="104174" y="240788"/>
                    <a:pt x="158939" y="217892"/>
                    <a:pt x="216125" y="217539"/>
                  </a:cubicBezTo>
                  <a:lnTo>
                    <a:pt x="0" y="217539"/>
                  </a:lnTo>
                  <a:cubicBezTo>
                    <a:pt x="0" y="159837"/>
                    <a:pt x="22923" y="104500"/>
                    <a:pt x="63711" y="63712"/>
                  </a:cubicBezTo>
                  <a:cubicBezTo>
                    <a:pt x="104500" y="22923"/>
                    <a:pt x="159836" y="0"/>
                    <a:pt x="217539" y="0"/>
                  </a:cubicBezTo>
                  <a:cubicBezTo>
                    <a:pt x="275214" y="0"/>
                    <a:pt x="330550" y="22923"/>
                    <a:pt x="371366" y="63712"/>
                  </a:cubicBezTo>
                  <a:close/>
                </a:path>
              </a:pathLst>
            </a:custGeom>
            <a:grpFill/>
            <a:ln w="27192" cap="flat">
              <a:noFill/>
              <a:prstDash val="solid"/>
              <a:miter/>
            </a:ln>
          </p:spPr>
          <p:txBody>
            <a:bodyPr rtlCol="0" anchor="ctr"/>
            <a:lstStyle/>
            <a:p>
              <a:endParaRPr lang="uk-UA" sz="900"/>
            </a:p>
          </p:txBody>
        </p:sp>
        <p:sp>
          <p:nvSpPr>
            <p:cNvPr id="204" name="Freeform: Shape 203">
              <a:extLst>
                <a:ext uri="{FF2B5EF4-FFF2-40B4-BE49-F238E27FC236}">
                  <a16:creationId xmlns:a16="http://schemas.microsoft.com/office/drawing/2014/main" id="{E2850C8E-EB4A-D8F4-E84B-15AC9AC84CA9}"/>
                </a:ext>
              </a:extLst>
            </p:cNvPr>
            <p:cNvSpPr/>
            <p:nvPr/>
          </p:nvSpPr>
          <p:spPr>
            <a:xfrm>
              <a:off x="11277709" y="3709219"/>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205" name="Freeform: Shape 204">
              <a:extLst>
                <a:ext uri="{FF2B5EF4-FFF2-40B4-BE49-F238E27FC236}">
                  <a16:creationId xmlns:a16="http://schemas.microsoft.com/office/drawing/2014/main" id="{AE4252EC-F014-6A4F-F6EB-87B38FD9B7B9}"/>
                </a:ext>
              </a:extLst>
            </p:cNvPr>
            <p:cNvSpPr/>
            <p:nvPr/>
          </p:nvSpPr>
          <p:spPr>
            <a:xfrm>
              <a:off x="10407554" y="3709219"/>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0 h 435077"/>
                <a:gd name="connsiteX5" fmla="*/ 435050 w 435077"/>
                <a:gd name="connsiteY5" fmla="*/ 217539 h 435077"/>
                <a:gd name="connsiteX6" fmla="*/ 435077 w 435077"/>
                <a:gd name="connsiteY6" fmla="*/ 217539 h 435077"/>
                <a:gd name="connsiteX7" fmla="*/ 435050 w 435077"/>
                <a:gd name="connsiteY7" fmla="*/ 217539 h 435077"/>
                <a:gd name="connsiteX8" fmla="*/ 435077 w 435077"/>
                <a:gd name="connsiteY8" fmla="*/ 217539 h 435077"/>
                <a:gd name="connsiteX9" fmla="*/ 435050 w 435077"/>
                <a:gd name="connsiteY9" fmla="*/ 217539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0"/>
                  </a:lnTo>
                  <a:lnTo>
                    <a:pt x="435050" y="217539"/>
                  </a:lnTo>
                  <a:lnTo>
                    <a:pt x="435077" y="217539"/>
                  </a:lnTo>
                  <a:lnTo>
                    <a:pt x="435050" y="217539"/>
                  </a:lnTo>
                  <a:lnTo>
                    <a:pt x="435077" y="217539"/>
                  </a:lnTo>
                  <a:lnTo>
                    <a:pt x="435050" y="217539"/>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206" name="Freeform: Shape 205">
              <a:extLst>
                <a:ext uri="{FF2B5EF4-FFF2-40B4-BE49-F238E27FC236}">
                  <a16:creationId xmlns:a16="http://schemas.microsoft.com/office/drawing/2014/main" id="{2AB5EE33-944D-7E7E-F547-55A871A6A194}"/>
                </a:ext>
              </a:extLst>
            </p:cNvPr>
            <p:cNvSpPr/>
            <p:nvPr/>
          </p:nvSpPr>
          <p:spPr>
            <a:xfrm>
              <a:off x="12147864" y="3709219"/>
              <a:ext cx="435103" cy="435077"/>
            </a:xfrm>
            <a:custGeom>
              <a:avLst/>
              <a:gdLst>
                <a:gd name="connsiteX0" fmla="*/ 217539 w 435103"/>
                <a:gd name="connsiteY0" fmla="*/ 0 h 435077"/>
                <a:gd name="connsiteX1" fmla="*/ 0 w 435103"/>
                <a:gd name="connsiteY1" fmla="*/ 0 h 435077"/>
                <a:gd name="connsiteX2" fmla="*/ 0 w 435103"/>
                <a:gd name="connsiteY2" fmla="*/ 217539 h 435077"/>
                <a:gd name="connsiteX3" fmla="*/ 217539 w 435103"/>
                <a:gd name="connsiteY3" fmla="*/ 0 h 435077"/>
                <a:gd name="connsiteX4" fmla="*/ 435104 w 435103"/>
                <a:gd name="connsiteY4" fmla="*/ 0 h 435077"/>
                <a:gd name="connsiteX5" fmla="*/ 435104 w 435103"/>
                <a:gd name="connsiteY5" fmla="*/ 217539 h 435077"/>
                <a:gd name="connsiteX6" fmla="*/ 217565 w 435103"/>
                <a:gd name="connsiteY6" fmla="*/ 0 h 435077"/>
                <a:gd name="connsiteX7" fmla="*/ 435104 w 435103"/>
                <a:gd name="connsiteY7" fmla="*/ 0 h 435077"/>
                <a:gd name="connsiteX8" fmla="*/ 217565 w 435103"/>
                <a:gd name="connsiteY8" fmla="*/ 435077 h 435077"/>
                <a:gd name="connsiteX9" fmla="*/ 435104 w 435103"/>
                <a:gd name="connsiteY9" fmla="*/ 217539 h 435077"/>
                <a:gd name="connsiteX10" fmla="*/ 435104 w 435103"/>
                <a:gd name="connsiteY10" fmla="*/ 435077 h 435077"/>
                <a:gd name="connsiteX11" fmla="*/ 217565 w 435103"/>
                <a:gd name="connsiteY11" fmla="*/ 435077 h 435077"/>
                <a:gd name="connsiteX12" fmla="*/ 217565 w 435103"/>
                <a:gd name="connsiteY12" fmla="*/ 435077 h 435077"/>
                <a:gd name="connsiteX13" fmla="*/ 27 w 435103"/>
                <a:gd name="connsiteY13" fmla="*/ 217539 h 435077"/>
                <a:gd name="connsiteX14" fmla="*/ 27 w 435103"/>
                <a:gd name="connsiteY14" fmla="*/ 435077 h 435077"/>
                <a:gd name="connsiteX15" fmla="*/ 217565 w 435103"/>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3" h="435077">
                  <a:moveTo>
                    <a:pt x="217539" y="0"/>
                  </a:moveTo>
                  <a:lnTo>
                    <a:pt x="0" y="0"/>
                  </a:lnTo>
                  <a:lnTo>
                    <a:pt x="0" y="217539"/>
                  </a:lnTo>
                  <a:lnTo>
                    <a:pt x="217539" y="0"/>
                  </a:lnTo>
                  <a:close/>
                  <a:moveTo>
                    <a:pt x="435104" y="0"/>
                  </a:moveTo>
                  <a:lnTo>
                    <a:pt x="435104" y="217539"/>
                  </a:lnTo>
                  <a:lnTo>
                    <a:pt x="217565" y="0"/>
                  </a:lnTo>
                  <a:lnTo>
                    <a:pt x="435104" y="0"/>
                  </a:lnTo>
                  <a:close/>
                  <a:moveTo>
                    <a:pt x="217565" y="435077"/>
                  </a:moveTo>
                  <a:lnTo>
                    <a:pt x="435104" y="217539"/>
                  </a:lnTo>
                  <a:lnTo>
                    <a:pt x="435104" y="435077"/>
                  </a:lnTo>
                  <a:lnTo>
                    <a:pt x="217565" y="435077"/>
                  </a:lnTo>
                  <a:close/>
                  <a:moveTo>
                    <a:pt x="217565" y="435077"/>
                  </a:moveTo>
                  <a:lnTo>
                    <a:pt x="27" y="217539"/>
                  </a:lnTo>
                  <a:lnTo>
                    <a:pt x="27" y="435077"/>
                  </a:lnTo>
                  <a:lnTo>
                    <a:pt x="217565" y="435077"/>
                  </a:lnTo>
                  <a:close/>
                </a:path>
              </a:pathLst>
            </a:custGeom>
            <a:grpFill/>
            <a:ln w="27192" cap="flat">
              <a:noFill/>
              <a:prstDash val="solid"/>
              <a:miter/>
            </a:ln>
          </p:spPr>
          <p:txBody>
            <a:bodyPr rtlCol="0" anchor="ctr"/>
            <a:lstStyle/>
            <a:p>
              <a:endParaRPr lang="uk-UA" sz="900"/>
            </a:p>
          </p:txBody>
        </p:sp>
        <p:sp>
          <p:nvSpPr>
            <p:cNvPr id="207" name="Freeform: Shape 206">
              <a:extLst>
                <a:ext uri="{FF2B5EF4-FFF2-40B4-BE49-F238E27FC236}">
                  <a16:creationId xmlns:a16="http://schemas.microsoft.com/office/drawing/2014/main" id="{93C4C6B9-F562-53E9-8DE6-57331A459958}"/>
                </a:ext>
              </a:extLst>
            </p:cNvPr>
            <p:cNvSpPr/>
            <p:nvPr/>
          </p:nvSpPr>
          <p:spPr>
            <a:xfrm>
              <a:off x="13018045" y="3709219"/>
              <a:ext cx="435077" cy="435077"/>
            </a:xfrm>
            <a:custGeom>
              <a:avLst/>
              <a:gdLst>
                <a:gd name="connsiteX0" fmla="*/ 371365 w 435077"/>
                <a:gd name="connsiteY0" fmla="*/ 63712 h 435077"/>
                <a:gd name="connsiteX1" fmla="*/ 435077 w 435077"/>
                <a:gd name="connsiteY1" fmla="*/ 217539 h 435077"/>
                <a:gd name="connsiteX2" fmla="*/ 218953 w 435077"/>
                <a:gd name="connsiteY2" fmla="*/ 217539 h 435077"/>
                <a:gd name="connsiteX3" fmla="*/ 371365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51 w 435077"/>
                <a:gd name="connsiteY8" fmla="*/ 217539 h 435077"/>
                <a:gd name="connsiteX9" fmla="*/ 0 w 435077"/>
                <a:gd name="connsiteY9" fmla="*/ 217539 h 435077"/>
                <a:gd name="connsiteX10" fmla="*/ 63712 w 435077"/>
                <a:gd name="connsiteY10" fmla="*/ 63712 h 435077"/>
                <a:gd name="connsiteX11" fmla="*/ 217539 w 435077"/>
                <a:gd name="connsiteY11" fmla="*/ 0 h 435077"/>
                <a:gd name="connsiteX12" fmla="*/ 371365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12"/>
                  </a:moveTo>
                  <a:cubicBezTo>
                    <a:pt x="412154" y="104500"/>
                    <a:pt x="435077" y="159837"/>
                    <a:pt x="435077" y="217539"/>
                  </a:cubicBezTo>
                  <a:lnTo>
                    <a:pt x="218953" y="217539"/>
                  </a:lnTo>
                  <a:cubicBezTo>
                    <a:pt x="276137" y="217892"/>
                    <a:pt x="330904" y="240788"/>
                    <a:pt x="371365" y="281250"/>
                  </a:cubicBezTo>
                  <a:cubicBezTo>
                    <a:pt x="412154" y="322039"/>
                    <a:pt x="435077" y="377375"/>
                    <a:pt x="435077" y="435077"/>
                  </a:cubicBezTo>
                  <a:lnTo>
                    <a:pt x="217539" y="435077"/>
                  </a:lnTo>
                  <a:lnTo>
                    <a:pt x="0" y="435077"/>
                  </a:lnTo>
                  <a:cubicBezTo>
                    <a:pt x="0" y="377375"/>
                    <a:pt x="22924" y="322039"/>
                    <a:pt x="63712" y="281250"/>
                  </a:cubicBezTo>
                  <a:cubicBezTo>
                    <a:pt x="104174" y="240788"/>
                    <a:pt x="158938" y="217892"/>
                    <a:pt x="216151" y="217539"/>
                  </a:cubicBezTo>
                  <a:lnTo>
                    <a:pt x="0" y="217539"/>
                  </a:lnTo>
                  <a:cubicBezTo>
                    <a:pt x="0" y="159837"/>
                    <a:pt x="22924" y="104500"/>
                    <a:pt x="63712" y="63712"/>
                  </a:cubicBezTo>
                  <a:cubicBezTo>
                    <a:pt x="104501" y="22923"/>
                    <a:pt x="159836" y="0"/>
                    <a:pt x="217539" y="0"/>
                  </a:cubicBezTo>
                  <a:cubicBezTo>
                    <a:pt x="275241" y="0"/>
                    <a:pt x="330550" y="22923"/>
                    <a:pt x="371365" y="63712"/>
                  </a:cubicBezTo>
                  <a:close/>
                </a:path>
              </a:pathLst>
            </a:custGeom>
            <a:grpFill/>
            <a:ln w="27192" cap="flat">
              <a:noFill/>
              <a:prstDash val="solid"/>
              <a:miter/>
            </a:ln>
          </p:spPr>
          <p:txBody>
            <a:bodyPr rtlCol="0" anchor="ctr"/>
            <a:lstStyle/>
            <a:p>
              <a:endParaRPr lang="uk-UA" sz="900"/>
            </a:p>
          </p:txBody>
        </p:sp>
        <p:sp>
          <p:nvSpPr>
            <p:cNvPr id="208" name="Freeform: Shape 207">
              <a:extLst>
                <a:ext uri="{FF2B5EF4-FFF2-40B4-BE49-F238E27FC236}">
                  <a16:creationId xmlns:a16="http://schemas.microsoft.com/office/drawing/2014/main" id="{D1FD0916-2663-3405-948A-276B32FBE97B}"/>
                </a:ext>
              </a:extLst>
            </p:cNvPr>
            <p:cNvSpPr/>
            <p:nvPr/>
          </p:nvSpPr>
          <p:spPr>
            <a:xfrm>
              <a:off x="14758382" y="3709219"/>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209" name="Freeform: Shape 208">
              <a:extLst>
                <a:ext uri="{FF2B5EF4-FFF2-40B4-BE49-F238E27FC236}">
                  <a16:creationId xmlns:a16="http://schemas.microsoft.com/office/drawing/2014/main" id="{11D94B39-7ABE-548C-D4EA-9B00A494091C}"/>
                </a:ext>
              </a:extLst>
            </p:cNvPr>
            <p:cNvSpPr/>
            <p:nvPr/>
          </p:nvSpPr>
          <p:spPr>
            <a:xfrm>
              <a:off x="13888174" y="3709192"/>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210" name="Freeform: Shape 209">
              <a:extLst>
                <a:ext uri="{FF2B5EF4-FFF2-40B4-BE49-F238E27FC236}">
                  <a16:creationId xmlns:a16="http://schemas.microsoft.com/office/drawing/2014/main" id="{7AD70C04-8EB3-6CB7-8016-8DDD26EF3C1E}"/>
                </a:ext>
              </a:extLst>
            </p:cNvPr>
            <p:cNvSpPr/>
            <p:nvPr/>
          </p:nvSpPr>
          <p:spPr>
            <a:xfrm>
              <a:off x="15628536" y="3709219"/>
              <a:ext cx="435077" cy="435077"/>
            </a:xfrm>
            <a:custGeom>
              <a:avLst/>
              <a:gdLst>
                <a:gd name="connsiteX0" fmla="*/ 217567 w 435077"/>
                <a:gd name="connsiteY0" fmla="*/ 0 h 435077"/>
                <a:gd name="connsiteX1" fmla="*/ 217539 w 435077"/>
                <a:gd name="connsiteY1" fmla="*/ 0 h 435077"/>
                <a:gd name="connsiteX2" fmla="*/ 28 w 435077"/>
                <a:gd name="connsiteY2" fmla="*/ 0 h 435077"/>
                <a:gd name="connsiteX3" fmla="*/ 28 w 435077"/>
                <a:gd name="connsiteY3" fmla="*/ 217539 h 435077"/>
                <a:gd name="connsiteX4" fmla="*/ 217567 w 435077"/>
                <a:gd name="connsiteY4" fmla="*/ 0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67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67" y="0"/>
                  </a:moveTo>
                  <a:lnTo>
                    <a:pt x="217539" y="0"/>
                  </a:lnTo>
                  <a:lnTo>
                    <a:pt x="28" y="0"/>
                  </a:lnTo>
                  <a:lnTo>
                    <a:pt x="28" y="217539"/>
                  </a:lnTo>
                  <a:lnTo>
                    <a:pt x="217567" y="0"/>
                  </a:lnTo>
                  <a:lnTo>
                    <a:pt x="435077" y="217539"/>
                  </a:lnTo>
                  <a:lnTo>
                    <a:pt x="217539" y="435077"/>
                  </a:lnTo>
                  <a:lnTo>
                    <a:pt x="0" y="217539"/>
                  </a:lnTo>
                  <a:lnTo>
                    <a:pt x="0" y="435077"/>
                  </a:lnTo>
                  <a:lnTo>
                    <a:pt x="217539" y="435077"/>
                  </a:lnTo>
                  <a:lnTo>
                    <a:pt x="435077" y="435077"/>
                  </a:lnTo>
                  <a:lnTo>
                    <a:pt x="435077" y="217539"/>
                  </a:lnTo>
                  <a:lnTo>
                    <a:pt x="435077" y="0"/>
                  </a:lnTo>
                  <a:lnTo>
                    <a:pt x="217567" y="0"/>
                  </a:lnTo>
                  <a:close/>
                </a:path>
              </a:pathLst>
            </a:custGeom>
            <a:grpFill/>
            <a:ln w="27192" cap="flat">
              <a:noFill/>
              <a:prstDash val="solid"/>
              <a:miter/>
            </a:ln>
          </p:spPr>
          <p:txBody>
            <a:bodyPr rtlCol="0" anchor="ctr"/>
            <a:lstStyle/>
            <a:p>
              <a:endParaRPr lang="uk-UA" sz="900"/>
            </a:p>
          </p:txBody>
        </p:sp>
        <p:sp>
          <p:nvSpPr>
            <p:cNvPr id="211" name="Freeform: Shape 210">
              <a:extLst>
                <a:ext uri="{FF2B5EF4-FFF2-40B4-BE49-F238E27FC236}">
                  <a16:creationId xmlns:a16="http://schemas.microsoft.com/office/drawing/2014/main" id="{6AA78748-15C6-E432-5C7A-38D3482E7581}"/>
                </a:ext>
              </a:extLst>
            </p:cNvPr>
            <p:cNvSpPr/>
            <p:nvPr/>
          </p:nvSpPr>
          <p:spPr>
            <a:xfrm>
              <a:off x="16498719" y="3709219"/>
              <a:ext cx="435077" cy="435077"/>
            </a:xfrm>
            <a:custGeom>
              <a:avLst/>
              <a:gdLst>
                <a:gd name="connsiteX0" fmla="*/ 371339 w 435077"/>
                <a:gd name="connsiteY0" fmla="*/ 63712 h 435077"/>
                <a:gd name="connsiteX1" fmla="*/ 435077 w 435077"/>
                <a:gd name="connsiteY1" fmla="*/ 217539 h 435077"/>
                <a:gd name="connsiteX2" fmla="*/ 218925 w 435077"/>
                <a:gd name="connsiteY2" fmla="*/ 217539 h 435077"/>
                <a:gd name="connsiteX3" fmla="*/ 371365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0 w 435077"/>
                <a:gd name="connsiteY7" fmla="*/ 281250 h 435077"/>
                <a:gd name="connsiteX8" fmla="*/ 216125 w 435077"/>
                <a:gd name="connsiteY8" fmla="*/ 217539 h 435077"/>
                <a:gd name="connsiteX9" fmla="*/ 0 w 435077"/>
                <a:gd name="connsiteY9" fmla="*/ 217539 h 435077"/>
                <a:gd name="connsiteX10" fmla="*/ 63710 w 435077"/>
                <a:gd name="connsiteY10" fmla="*/ 63712 h 435077"/>
                <a:gd name="connsiteX11" fmla="*/ 217539 w 435077"/>
                <a:gd name="connsiteY11" fmla="*/ 0 h 435077"/>
                <a:gd name="connsiteX12" fmla="*/ 371339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12"/>
                  </a:moveTo>
                  <a:cubicBezTo>
                    <a:pt x="412154" y="104500"/>
                    <a:pt x="435077" y="159837"/>
                    <a:pt x="435077" y="217539"/>
                  </a:cubicBezTo>
                  <a:lnTo>
                    <a:pt x="218925" y="217539"/>
                  </a:lnTo>
                  <a:cubicBezTo>
                    <a:pt x="276111" y="217892"/>
                    <a:pt x="330876" y="240788"/>
                    <a:pt x="371365" y="281250"/>
                  </a:cubicBezTo>
                  <a:cubicBezTo>
                    <a:pt x="412154" y="322039"/>
                    <a:pt x="435077" y="377375"/>
                    <a:pt x="435077" y="435077"/>
                  </a:cubicBezTo>
                  <a:lnTo>
                    <a:pt x="217539" y="435077"/>
                  </a:lnTo>
                  <a:lnTo>
                    <a:pt x="0" y="435077"/>
                  </a:lnTo>
                  <a:cubicBezTo>
                    <a:pt x="0" y="377375"/>
                    <a:pt x="22922" y="322039"/>
                    <a:pt x="63710" y="281250"/>
                  </a:cubicBezTo>
                  <a:cubicBezTo>
                    <a:pt x="104174" y="240788"/>
                    <a:pt x="158938" y="217892"/>
                    <a:pt x="216125" y="217539"/>
                  </a:cubicBezTo>
                  <a:lnTo>
                    <a:pt x="0" y="217539"/>
                  </a:lnTo>
                  <a:cubicBezTo>
                    <a:pt x="0" y="159837"/>
                    <a:pt x="22895" y="104500"/>
                    <a:pt x="63710" y="63712"/>
                  </a:cubicBezTo>
                  <a:cubicBezTo>
                    <a:pt x="104499" y="22923"/>
                    <a:pt x="159836" y="0"/>
                    <a:pt x="217539" y="0"/>
                  </a:cubicBezTo>
                  <a:cubicBezTo>
                    <a:pt x="275213" y="0"/>
                    <a:pt x="330550" y="22923"/>
                    <a:pt x="371339" y="63712"/>
                  </a:cubicBezTo>
                  <a:close/>
                </a:path>
              </a:pathLst>
            </a:custGeom>
            <a:grpFill/>
            <a:ln w="27192" cap="flat">
              <a:noFill/>
              <a:prstDash val="solid"/>
              <a:miter/>
            </a:ln>
          </p:spPr>
          <p:txBody>
            <a:bodyPr rtlCol="0" anchor="ctr"/>
            <a:lstStyle/>
            <a:p>
              <a:endParaRPr lang="uk-UA" sz="900"/>
            </a:p>
          </p:txBody>
        </p:sp>
        <p:sp>
          <p:nvSpPr>
            <p:cNvPr id="212" name="Freeform: Shape 211">
              <a:extLst>
                <a:ext uri="{FF2B5EF4-FFF2-40B4-BE49-F238E27FC236}">
                  <a16:creationId xmlns:a16="http://schemas.microsoft.com/office/drawing/2014/main" id="{80C5A608-BBBC-C3CE-8C5C-B22F6DDAE2C7}"/>
                </a:ext>
              </a:extLst>
            </p:cNvPr>
            <p:cNvSpPr/>
            <p:nvPr/>
          </p:nvSpPr>
          <p:spPr>
            <a:xfrm>
              <a:off x="18239029" y="3709219"/>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65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65"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213" name="Freeform: Shape 212">
              <a:extLst>
                <a:ext uri="{FF2B5EF4-FFF2-40B4-BE49-F238E27FC236}">
                  <a16:creationId xmlns:a16="http://schemas.microsoft.com/office/drawing/2014/main" id="{8B8BCA65-88C6-999D-52E9-573C4B7B31EC}"/>
                </a:ext>
              </a:extLst>
            </p:cNvPr>
            <p:cNvSpPr/>
            <p:nvPr/>
          </p:nvSpPr>
          <p:spPr>
            <a:xfrm>
              <a:off x="17368874" y="370921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214" name="Freeform: Shape 213">
              <a:extLst>
                <a:ext uri="{FF2B5EF4-FFF2-40B4-BE49-F238E27FC236}">
                  <a16:creationId xmlns:a16="http://schemas.microsoft.com/office/drawing/2014/main" id="{C61F25E4-3512-4B2D-9FFE-7505E0230F30}"/>
                </a:ext>
              </a:extLst>
            </p:cNvPr>
            <p:cNvSpPr/>
            <p:nvPr/>
          </p:nvSpPr>
          <p:spPr>
            <a:xfrm>
              <a:off x="19109210" y="370921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215" name="Freeform: Shape 214">
              <a:extLst>
                <a:ext uri="{FF2B5EF4-FFF2-40B4-BE49-F238E27FC236}">
                  <a16:creationId xmlns:a16="http://schemas.microsoft.com/office/drawing/2014/main" id="{EA699DD9-6186-DA43-E78E-CBD2A4F07AD7}"/>
                </a:ext>
              </a:extLst>
            </p:cNvPr>
            <p:cNvSpPr/>
            <p:nvPr/>
          </p:nvSpPr>
          <p:spPr>
            <a:xfrm>
              <a:off x="19979365" y="3709219"/>
              <a:ext cx="435077" cy="435077"/>
            </a:xfrm>
            <a:custGeom>
              <a:avLst/>
              <a:gdLst>
                <a:gd name="connsiteX0" fmla="*/ 371365 w 435077"/>
                <a:gd name="connsiteY0" fmla="*/ 63712 h 435077"/>
                <a:gd name="connsiteX1" fmla="*/ 435077 w 435077"/>
                <a:gd name="connsiteY1" fmla="*/ 217539 h 435077"/>
                <a:gd name="connsiteX2" fmla="*/ 218953 w 435077"/>
                <a:gd name="connsiteY2" fmla="*/ 217539 h 435077"/>
                <a:gd name="connsiteX3" fmla="*/ 371365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25 w 435077"/>
                <a:gd name="connsiteY8" fmla="*/ 217539 h 435077"/>
                <a:gd name="connsiteX9" fmla="*/ 0 w 435077"/>
                <a:gd name="connsiteY9" fmla="*/ 217539 h 435077"/>
                <a:gd name="connsiteX10" fmla="*/ 63712 w 435077"/>
                <a:gd name="connsiteY10" fmla="*/ 63712 h 435077"/>
                <a:gd name="connsiteX11" fmla="*/ 217539 w 435077"/>
                <a:gd name="connsiteY11" fmla="*/ 0 h 435077"/>
                <a:gd name="connsiteX12" fmla="*/ 371365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12"/>
                  </a:moveTo>
                  <a:cubicBezTo>
                    <a:pt x="412154" y="104500"/>
                    <a:pt x="435077" y="159837"/>
                    <a:pt x="435077" y="217539"/>
                  </a:cubicBezTo>
                  <a:lnTo>
                    <a:pt x="218953" y="217539"/>
                  </a:lnTo>
                  <a:cubicBezTo>
                    <a:pt x="276139" y="217892"/>
                    <a:pt x="330904" y="240788"/>
                    <a:pt x="371365" y="281250"/>
                  </a:cubicBezTo>
                  <a:cubicBezTo>
                    <a:pt x="412154" y="322039"/>
                    <a:pt x="435077" y="377375"/>
                    <a:pt x="435077" y="435077"/>
                  </a:cubicBezTo>
                  <a:lnTo>
                    <a:pt x="217539" y="435077"/>
                  </a:lnTo>
                  <a:lnTo>
                    <a:pt x="0" y="435077"/>
                  </a:lnTo>
                  <a:cubicBezTo>
                    <a:pt x="0" y="377375"/>
                    <a:pt x="22924" y="322039"/>
                    <a:pt x="63712" y="281250"/>
                  </a:cubicBezTo>
                  <a:cubicBezTo>
                    <a:pt x="104174" y="240788"/>
                    <a:pt x="158940" y="217892"/>
                    <a:pt x="216125" y="217539"/>
                  </a:cubicBezTo>
                  <a:lnTo>
                    <a:pt x="0" y="217539"/>
                  </a:lnTo>
                  <a:cubicBezTo>
                    <a:pt x="0" y="159837"/>
                    <a:pt x="22924" y="104500"/>
                    <a:pt x="63712" y="63712"/>
                  </a:cubicBezTo>
                  <a:cubicBezTo>
                    <a:pt x="104501" y="22923"/>
                    <a:pt x="159836" y="0"/>
                    <a:pt x="217539" y="0"/>
                  </a:cubicBezTo>
                  <a:cubicBezTo>
                    <a:pt x="275241" y="0"/>
                    <a:pt x="330550" y="22923"/>
                    <a:pt x="371365" y="63712"/>
                  </a:cubicBezTo>
                  <a:close/>
                </a:path>
              </a:pathLst>
            </a:custGeom>
            <a:grpFill/>
            <a:ln w="27192" cap="flat">
              <a:noFill/>
              <a:prstDash val="solid"/>
              <a:miter/>
            </a:ln>
          </p:spPr>
          <p:txBody>
            <a:bodyPr rtlCol="0" anchor="ctr"/>
            <a:lstStyle/>
            <a:p>
              <a:endParaRPr lang="uk-UA" sz="900"/>
            </a:p>
          </p:txBody>
        </p:sp>
        <p:sp>
          <p:nvSpPr>
            <p:cNvPr id="216" name="Freeform: Shape 215">
              <a:extLst>
                <a:ext uri="{FF2B5EF4-FFF2-40B4-BE49-F238E27FC236}">
                  <a16:creationId xmlns:a16="http://schemas.microsoft.com/office/drawing/2014/main" id="{61D398A7-6624-D096-33B7-797FC867EA7D}"/>
                </a:ext>
              </a:extLst>
            </p:cNvPr>
            <p:cNvSpPr/>
            <p:nvPr/>
          </p:nvSpPr>
          <p:spPr>
            <a:xfrm>
              <a:off x="21719702" y="3709219"/>
              <a:ext cx="435077" cy="435077"/>
            </a:xfrm>
            <a:custGeom>
              <a:avLst/>
              <a:gdLst>
                <a:gd name="connsiteX0" fmla="*/ 0 w 435077"/>
                <a:gd name="connsiteY0" fmla="*/ 435077 h 435077"/>
                <a:gd name="connsiteX1" fmla="*/ 217512 w 435077"/>
                <a:gd name="connsiteY1" fmla="*/ 435077 h 435077"/>
                <a:gd name="connsiteX2" fmla="*/ 217512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12" y="435077"/>
                  </a:lnTo>
                  <a:lnTo>
                    <a:pt x="217512"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217" name="Freeform: Shape 216">
              <a:extLst>
                <a:ext uri="{FF2B5EF4-FFF2-40B4-BE49-F238E27FC236}">
                  <a16:creationId xmlns:a16="http://schemas.microsoft.com/office/drawing/2014/main" id="{B7EC6928-9295-414E-A8C8-1FB7BCE3FF44}"/>
                </a:ext>
              </a:extLst>
            </p:cNvPr>
            <p:cNvSpPr/>
            <p:nvPr/>
          </p:nvSpPr>
          <p:spPr>
            <a:xfrm>
              <a:off x="20849520" y="370921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218" name="Freeform: Shape 217">
              <a:extLst>
                <a:ext uri="{FF2B5EF4-FFF2-40B4-BE49-F238E27FC236}">
                  <a16:creationId xmlns:a16="http://schemas.microsoft.com/office/drawing/2014/main" id="{CB20C862-1D32-360B-AC61-36C3FE3D6617}"/>
                </a:ext>
              </a:extLst>
            </p:cNvPr>
            <p:cNvSpPr/>
            <p:nvPr/>
          </p:nvSpPr>
          <p:spPr>
            <a:xfrm>
              <a:off x="22589856" y="3709219"/>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219" name="Freeform: Shape 218">
              <a:extLst>
                <a:ext uri="{FF2B5EF4-FFF2-40B4-BE49-F238E27FC236}">
                  <a16:creationId xmlns:a16="http://schemas.microsoft.com/office/drawing/2014/main" id="{EAD38310-5DDA-1EF9-AEBB-DA156CF4C854}"/>
                </a:ext>
              </a:extLst>
            </p:cNvPr>
            <p:cNvSpPr/>
            <p:nvPr/>
          </p:nvSpPr>
          <p:spPr>
            <a:xfrm>
              <a:off x="23460039" y="3709219"/>
              <a:ext cx="435077" cy="435077"/>
            </a:xfrm>
            <a:custGeom>
              <a:avLst/>
              <a:gdLst>
                <a:gd name="connsiteX0" fmla="*/ 371339 w 435077"/>
                <a:gd name="connsiteY0" fmla="*/ 63712 h 435077"/>
                <a:gd name="connsiteX1" fmla="*/ 435077 w 435077"/>
                <a:gd name="connsiteY1" fmla="*/ 217539 h 435077"/>
                <a:gd name="connsiteX2" fmla="*/ 218925 w 435077"/>
                <a:gd name="connsiteY2" fmla="*/ 217539 h 435077"/>
                <a:gd name="connsiteX3" fmla="*/ 371339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25 w 435077"/>
                <a:gd name="connsiteY8" fmla="*/ 217539 h 435077"/>
                <a:gd name="connsiteX9" fmla="*/ 0 w 435077"/>
                <a:gd name="connsiteY9" fmla="*/ 217539 h 435077"/>
                <a:gd name="connsiteX10" fmla="*/ 63712 w 435077"/>
                <a:gd name="connsiteY10" fmla="*/ 63712 h 435077"/>
                <a:gd name="connsiteX11" fmla="*/ 217539 w 435077"/>
                <a:gd name="connsiteY11" fmla="*/ 0 h 435077"/>
                <a:gd name="connsiteX12" fmla="*/ 371339 w 435077"/>
                <a:gd name="connsiteY12" fmla="*/ 63712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12"/>
                  </a:moveTo>
                  <a:cubicBezTo>
                    <a:pt x="412154" y="104500"/>
                    <a:pt x="435077" y="159837"/>
                    <a:pt x="435077" y="217539"/>
                  </a:cubicBezTo>
                  <a:lnTo>
                    <a:pt x="218925" y="217539"/>
                  </a:lnTo>
                  <a:cubicBezTo>
                    <a:pt x="276111" y="217892"/>
                    <a:pt x="330876" y="240788"/>
                    <a:pt x="371339" y="281250"/>
                  </a:cubicBezTo>
                  <a:cubicBezTo>
                    <a:pt x="412154" y="322039"/>
                    <a:pt x="435077" y="377375"/>
                    <a:pt x="435077" y="435077"/>
                  </a:cubicBezTo>
                  <a:lnTo>
                    <a:pt x="217539" y="435077"/>
                  </a:lnTo>
                  <a:lnTo>
                    <a:pt x="0" y="435077"/>
                  </a:lnTo>
                  <a:cubicBezTo>
                    <a:pt x="0" y="377375"/>
                    <a:pt x="22895" y="322039"/>
                    <a:pt x="63712" y="281250"/>
                  </a:cubicBezTo>
                  <a:cubicBezTo>
                    <a:pt x="104174" y="240788"/>
                    <a:pt x="158938" y="217892"/>
                    <a:pt x="216125" y="217539"/>
                  </a:cubicBezTo>
                  <a:lnTo>
                    <a:pt x="0" y="217539"/>
                  </a:lnTo>
                  <a:cubicBezTo>
                    <a:pt x="0" y="159837"/>
                    <a:pt x="22895" y="104500"/>
                    <a:pt x="63712" y="63712"/>
                  </a:cubicBezTo>
                  <a:cubicBezTo>
                    <a:pt x="104501" y="22923"/>
                    <a:pt x="159836" y="0"/>
                    <a:pt x="217539" y="0"/>
                  </a:cubicBezTo>
                  <a:cubicBezTo>
                    <a:pt x="275213" y="0"/>
                    <a:pt x="330550" y="22923"/>
                    <a:pt x="371339" y="63712"/>
                  </a:cubicBezTo>
                  <a:close/>
                </a:path>
              </a:pathLst>
            </a:custGeom>
            <a:grpFill/>
            <a:ln w="27192" cap="flat">
              <a:noFill/>
              <a:prstDash val="solid"/>
              <a:miter/>
            </a:ln>
          </p:spPr>
          <p:txBody>
            <a:bodyPr rtlCol="0" anchor="ctr"/>
            <a:lstStyle/>
            <a:p>
              <a:endParaRPr lang="uk-UA" sz="900"/>
            </a:p>
          </p:txBody>
        </p:sp>
        <p:sp>
          <p:nvSpPr>
            <p:cNvPr id="220" name="Freeform: Shape 219">
              <a:extLst>
                <a:ext uri="{FF2B5EF4-FFF2-40B4-BE49-F238E27FC236}">
                  <a16:creationId xmlns:a16="http://schemas.microsoft.com/office/drawing/2014/main" id="{5D8A2495-12DD-31EC-778D-16466BDFAA3D}"/>
                </a:ext>
              </a:extLst>
            </p:cNvPr>
            <p:cNvSpPr/>
            <p:nvPr/>
          </p:nvSpPr>
          <p:spPr>
            <a:xfrm>
              <a:off x="24330194" y="3709219"/>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221" name="Freeform: Shape 220">
              <a:extLst>
                <a:ext uri="{FF2B5EF4-FFF2-40B4-BE49-F238E27FC236}">
                  <a16:creationId xmlns:a16="http://schemas.microsoft.com/office/drawing/2014/main" id="{46D0CB10-B6C4-253D-52EB-4B376698D76C}"/>
                </a:ext>
              </a:extLst>
            </p:cNvPr>
            <p:cNvSpPr/>
            <p:nvPr/>
          </p:nvSpPr>
          <p:spPr>
            <a:xfrm>
              <a:off x="835769" y="4579374"/>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22" name="Freeform: Shape 221">
              <a:extLst>
                <a:ext uri="{FF2B5EF4-FFF2-40B4-BE49-F238E27FC236}">
                  <a16:creationId xmlns:a16="http://schemas.microsoft.com/office/drawing/2014/main" id="{F5480C7F-6611-F0BD-95D9-4C8264AD9009}"/>
                </a:ext>
              </a:extLst>
            </p:cNvPr>
            <p:cNvSpPr/>
            <p:nvPr/>
          </p:nvSpPr>
          <p:spPr>
            <a:xfrm>
              <a:off x="-34398" y="4579374"/>
              <a:ext cx="435063" cy="435077"/>
            </a:xfrm>
            <a:custGeom>
              <a:avLst/>
              <a:gdLst>
                <a:gd name="connsiteX0" fmla="*/ 435064 w 435063"/>
                <a:gd name="connsiteY0" fmla="*/ 435077 h 435077"/>
                <a:gd name="connsiteX1" fmla="*/ 435064 w 435063"/>
                <a:gd name="connsiteY1" fmla="*/ 217539 h 435077"/>
                <a:gd name="connsiteX2" fmla="*/ 435064 w 435063"/>
                <a:gd name="connsiteY2" fmla="*/ 27 h 435077"/>
                <a:gd name="connsiteX3" fmla="*/ 217552 w 435063"/>
                <a:gd name="connsiteY3" fmla="*/ 27 h 435077"/>
                <a:gd name="connsiteX4" fmla="*/ 435064 w 435063"/>
                <a:gd name="connsiteY4" fmla="*/ 217539 h 435077"/>
                <a:gd name="connsiteX5" fmla="*/ 217552 w 435063"/>
                <a:gd name="connsiteY5" fmla="*/ 435077 h 435077"/>
                <a:gd name="connsiteX6" fmla="*/ 435064 w 435063"/>
                <a:gd name="connsiteY6" fmla="*/ 435077 h 435077"/>
                <a:gd name="connsiteX7" fmla="*/ 0 w 435063"/>
                <a:gd name="connsiteY7" fmla="*/ 217539 h 435077"/>
                <a:gd name="connsiteX8" fmla="*/ 0 w 435063"/>
                <a:gd name="connsiteY8" fmla="*/ 0 h 435077"/>
                <a:gd name="connsiteX9" fmla="*/ 217525 w 435063"/>
                <a:gd name="connsiteY9" fmla="*/ 217539 h 435077"/>
                <a:gd name="connsiteX10" fmla="*/ 0 w 435063"/>
                <a:gd name="connsiteY10" fmla="*/ 217539 h 435077"/>
                <a:gd name="connsiteX11" fmla="*/ 0 w 435063"/>
                <a:gd name="connsiteY11" fmla="*/ 435077 h 435077"/>
                <a:gd name="connsiteX12" fmla="*/ 0 w 435063"/>
                <a:gd name="connsiteY12" fmla="*/ 217539 h 435077"/>
                <a:gd name="connsiteX13" fmla="*/ 217525 w 435063"/>
                <a:gd name="connsiteY13" fmla="*/ 217539 h 435077"/>
                <a:gd name="connsiteX14" fmla="*/ 0 w 435063"/>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63" h="435077">
                  <a:moveTo>
                    <a:pt x="435064" y="435077"/>
                  </a:moveTo>
                  <a:lnTo>
                    <a:pt x="435064" y="217539"/>
                  </a:lnTo>
                  <a:lnTo>
                    <a:pt x="435064" y="27"/>
                  </a:lnTo>
                  <a:lnTo>
                    <a:pt x="217552" y="27"/>
                  </a:lnTo>
                  <a:lnTo>
                    <a:pt x="435064" y="217539"/>
                  </a:lnTo>
                  <a:lnTo>
                    <a:pt x="217552" y="435077"/>
                  </a:lnTo>
                  <a:lnTo>
                    <a:pt x="435064" y="435077"/>
                  </a:lnTo>
                  <a:close/>
                  <a:moveTo>
                    <a:pt x="0" y="217539"/>
                  </a:moveTo>
                  <a:lnTo>
                    <a:pt x="0" y="0"/>
                  </a:lnTo>
                  <a:lnTo>
                    <a:pt x="217525" y="217539"/>
                  </a:lnTo>
                  <a:lnTo>
                    <a:pt x="0" y="217539"/>
                  </a:lnTo>
                  <a:close/>
                  <a:moveTo>
                    <a:pt x="0" y="435077"/>
                  </a:moveTo>
                  <a:lnTo>
                    <a:pt x="0" y="217539"/>
                  </a:lnTo>
                  <a:lnTo>
                    <a:pt x="217525" y="217539"/>
                  </a:lnTo>
                  <a:lnTo>
                    <a:pt x="0" y="435077"/>
                  </a:lnTo>
                  <a:close/>
                </a:path>
              </a:pathLst>
            </a:custGeom>
            <a:grpFill/>
            <a:ln w="27192" cap="flat">
              <a:noFill/>
              <a:prstDash val="solid"/>
              <a:miter/>
            </a:ln>
          </p:spPr>
          <p:txBody>
            <a:bodyPr rtlCol="0" anchor="ctr"/>
            <a:lstStyle/>
            <a:p>
              <a:endParaRPr lang="uk-UA" sz="900"/>
            </a:p>
          </p:txBody>
        </p:sp>
        <p:sp>
          <p:nvSpPr>
            <p:cNvPr id="223" name="Freeform: Shape 222">
              <a:extLst>
                <a:ext uri="{FF2B5EF4-FFF2-40B4-BE49-F238E27FC236}">
                  <a16:creationId xmlns:a16="http://schemas.microsoft.com/office/drawing/2014/main" id="{BF2F6C03-F245-E6D9-A214-4BEF3D501DE6}"/>
                </a:ext>
              </a:extLst>
            </p:cNvPr>
            <p:cNvSpPr/>
            <p:nvPr/>
          </p:nvSpPr>
          <p:spPr>
            <a:xfrm>
              <a:off x="1705924" y="4579374"/>
              <a:ext cx="435077" cy="435077"/>
            </a:xfrm>
            <a:custGeom>
              <a:avLst/>
              <a:gdLst>
                <a:gd name="connsiteX0" fmla="*/ 435077 w 435077"/>
                <a:gd name="connsiteY0" fmla="*/ 435077 h 435077"/>
                <a:gd name="connsiteX1" fmla="*/ 435077 w 435077"/>
                <a:gd name="connsiteY1" fmla="*/ 0 h 435077"/>
                <a:gd name="connsiteX2" fmla="*/ 217566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6"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24" name="Freeform: Shape 223">
              <a:extLst>
                <a:ext uri="{FF2B5EF4-FFF2-40B4-BE49-F238E27FC236}">
                  <a16:creationId xmlns:a16="http://schemas.microsoft.com/office/drawing/2014/main" id="{60CB0FF3-6DE4-B352-4488-A0D230A2ACDA}"/>
                </a:ext>
              </a:extLst>
            </p:cNvPr>
            <p:cNvSpPr/>
            <p:nvPr/>
          </p:nvSpPr>
          <p:spPr>
            <a:xfrm>
              <a:off x="2576106" y="457937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3" y="113038"/>
                    <a:pt x="0" y="57702"/>
                    <a:pt x="0" y="0"/>
                  </a:cubicBezTo>
                  <a:lnTo>
                    <a:pt x="217539" y="0"/>
                  </a:lnTo>
                  <a:lnTo>
                    <a:pt x="435077" y="0"/>
                  </a:lnTo>
                  <a:cubicBezTo>
                    <a:pt x="435077" y="57702"/>
                    <a:pt x="412154" y="113038"/>
                    <a:pt x="371366" y="153827"/>
                  </a:cubicBezTo>
                  <a:cubicBezTo>
                    <a:pt x="330550" y="194616"/>
                    <a:pt x="275214" y="217539"/>
                    <a:pt x="217539" y="217539"/>
                  </a:cubicBezTo>
                  <a:cubicBezTo>
                    <a:pt x="159837" y="217539"/>
                    <a:pt x="104500" y="194616"/>
                    <a:pt x="63712" y="153827"/>
                  </a:cubicBezTo>
                  <a:close/>
                  <a:moveTo>
                    <a:pt x="63712" y="281250"/>
                  </a:moveTo>
                  <a:cubicBezTo>
                    <a:pt x="22923" y="322066"/>
                    <a:pt x="0" y="377375"/>
                    <a:pt x="0" y="435077"/>
                  </a:cubicBezTo>
                  <a:lnTo>
                    <a:pt x="217539" y="435077"/>
                  </a:lnTo>
                  <a:lnTo>
                    <a:pt x="435077" y="435077"/>
                  </a:lnTo>
                  <a:cubicBezTo>
                    <a:pt x="435077" y="377375"/>
                    <a:pt x="412154" y="322066"/>
                    <a:pt x="371366" y="281250"/>
                  </a:cubicBezTo>
                  <a:cubicBezTo>
                    <a:pt x="330550" y="240462"/>
                    <a:pt x="275214" y="217539"/>
                    <a:pt x="217539" y="217539"/>
                  </a:cubicBezTo>
                  <a:cubicBezTo>
                    <a:pt x="159837" y="217539"/>
                    <a:pt x="104500" y="240462"/>
                    <a:pt x="63712" y="281250"/>
                  </a:cubicBezTo>
                  <a:close/>
                </a:path>
              </a:pathLst>
            </a:custGeom>
            <a:grpFill/>
            <a:ln w="27192" cap="flat">
              <a:noFill/>
              <a:prstDash val="solid"/>
              <a:miter/>
            </a:ln>
          </p:spPr>
          <p:txBody>
            <a:bodyPr rtlCol="0" anchor="ctr"/>
            <a:lstStyle/>
            <a:p>
              <a:endParaRPr lang="uk-UA" sz="900"/>
            </a:p>
          </p:txBody>
        </p:sp>
        <p:sp>
          <p:nvSpPr>
            <p:cNvPr id="225" name="Freeform: Shape 224">
              <a:extLst>
                <a:ext uri="{FF2B5EF4-FFF2-40B4-BE49-F238E27FC236}">
                  <a16:creationId xmlns:a16="http://schemas.microsoft.com/office/drawing/2014/main" id="{1C429E64-01C6-A61C-24E7-C6BC46891C95}"/>
                </a:ext>
              </a:extLst>
            </p:cNvPr>
            <p:cNvSpPr/>
            <p:nvPr/>
          </p:nvSpPr>
          <p:spPr>
            <a:xfrm>
              <a:off x="4316416" y="4579374"/>
              <a:ext cx="435077" cy="435077"/>
            </a:xfrm>
            <a:custGeom>
              <a:avLst/>
              <a:gdLst>
                <a:gd name="connsiteX0" fmla="*/ 217565 w 435077"/>
                <a:gd name="connsiteY0" fmla="*/ 435077 h 435077"/>
                <a:gd name="connsiteX1" fmla="*/ 217565 w 435077"/>
                <a:gd name="connsiteY1" fmla="*/ 0 h 435077"/>
                <a:gd name="connsiteX2" fmla="*/ 435077 w 435077"/>
                <a:gd name="connsiteY2" fmla="*/ 217539 h 435077"/>
                <a:gd name="connsiteX3" fmla="*/ 217565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65" y="435077"/>
                  </a:moveTo>
                  <a:lnTo>
                    <a:pt x="217565" y="0"/>
                  </a:lnTo>
                  <a:lnTo>
                    <a:pt x="435077" y="217539"/>
                  </a:lnTo>
                  <a:lnTo>
                    <a:pt x="217565"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26" name="Freeform: Shape 225">
              <a:extLst>
                <a:ext uri="{FF2B5EF4-FFF2-40B4-BE49-F238E27FC236}">
                  <a16:creationId xmlns:a16="http://schemas.microsoft.com/office/drawing/2014/main" id="{BF655429-DDBE-B974-0A67-C84FE47DB9B3}"/>
                </a:ext>
              </a:extLst>
            </p:cNvPr>
            <p:cNvSpPr/>
            <p:nvPr/>
          </p:nvSpPr>
          <p:spPr>
            <a:xfrm>
              <a:off x="3446261" y="4579374"/>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6 w 435077"/>
                <a:gd name="connsiteY3" fmla="*/ 27 h 435077"/>
                <a:gd name="connsiteX4" fmla="*/ 435077 w 435077"/>
                <a:gd name="connsiteY4" fmla="*/ 217539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6" y="27"/>
                  </a:lnTo>
                  <a:lnTo>
                    <a:pt x="435077" y="217539"/>
                  </a:lnTo>
                  <a:lnTo>
                    <a:pt x="217566"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27" name="Freeform: Shape 226">
              <a:extLst>
                <a:ext uri="{FF2B5EF4-FFF2-40B4-BE49-F238E27FC236}">
                  <a16:creationId xmlns:a16="http://schemas.microsoft.com/office/drawing/2014/main" id="{2564A185-B985-E0F2-41A7-CCB7F8222EEB}"/>
                </a:ext>
              </a:extLst>
            </p:cNvPr>
            <p:cNvSpPr/>
            <p:nvPr/>
          </p:nvSpPr>
          <p:spPr>
            <a:xfrm>
              <a:off x="5186597" y="4579374"/>
              <a:ext cx="435077" cy="435077"/>
            </a:xfrm>
            <a:custGeom>
              <a:avLst/>
              <a:gdLst>
                <a:gd name="connsiteX0" fmla="*/ 435077 w 435077"/>
                <a:gd name="connsiteY0" fmla="*/ 435077 h 435077"/>
                <a:gd name="connsiteX1" fmla="*/ 435077 w 435077"/>
                <a:gd name="connsiteY1" fmla="*/ 0 h 435077"/>
                <a:gd name="connsiteX2" fmla="*/ 217566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6"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28" name="Freeform: Shape 227">
              <a:extLst>
                <a:ext uri="{FF2B5EF4-FFF2-40B4-BE49-F238E27FC236}">
                  <a16:creationId xmlns:a16="http://schemas.microsoft.com/office/drawing/2014/main" id="{443FF249-47CA-F2F3-4E34-C7947CA6E6BD}"/>
                </a:ext>
              </a:extLst>
            </p:cNvPr>
            <p:cNvSpPr/>
            <p:nvPr/>
          </p:nvSpPr>
          <p:spPr>
            <a:xfrm>
              <a:off x="6056752" y="457937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8"/>
                    <a:pt x="0" y="57702"/>
                    <a:pt x="0" y="0"/>
                  </a:cubicBezTo>
                  <a:lnTo>
                    <a:pt x="217539" y="0"/>
                  </a:lnTo>
                  <a:lnTo>
                    <a:pt x="435077" y="0"/>
                  </a:lnTo>
                  <a:cubicBezTo>
                    <a:pt x="435077" y="57702"/>
                    <a:pt x="412155" y="113038"/>
                    <a:pt x="371366" y="153827"/>
                  </a:cubicBezTo>
                  <a:cubicBezTo>
                    <a:pt x="330550" y="194616"/>
                    <a:pt x="275241" y="217539"/>
                    <a:pt x="217539" y="217539"/>
                  </a:cubicBezTo>
                  <a:cubicBezTo>
                    <a:pt x="159837" y="217539"/>
                    <a:pt x="104501" y="194616"/>
                    <a:pt x="63712" y="153827"/>
                  </a:cubicBezTo>
                  <a:close/>
                  <a:moveTo>
                    <a:pt x="63712" y="281250"/>
                  </a:moveTo>
                  <a:cubicBezTo>
                    <a:pt x="22924" y="322066"/>
                    <a:pt x="0" y="377375"/>
                    <a:pt x="0" y="435077"/>
                  </a:cubicBezTo>
                  <a:lnTo>
                    <a:pt x="217539" y="435077"/>
                  </a:lnTo>
                  <a:lnTo>
                    <a:pt x="435077" y="435077"/>
                  </a:lnTo>
                  <a:cubicBezTo>
                    <a:pt x="435077" y="377375"/>
                    <a:pt x="412155" y="322066"/>
                    <a:pt x="371366" y="281250"/>
                  </a:cubicBezTo>
                  <a:cubicBezTo>
                    <a:pt x="330550" y="240462"/>
                    <a:pt x="275241" y="217539"/>
                    <a:pt x="217539" y="217539"/>
                  </a:cubicBezTo>
                  <a:cubicBezTo>
                    <a:pt x="159837" y="217539"/>
                    <a:pt x="104501" y="240462"/>
                    <a:pt x="63712" y="281250"/>
                  </a:cubicBezTo>
                  <a:close/>
                </a:path>
              </a:pathLst>
            </a:custGeom>
            <a:grpFill/>
            <a:ln w="27192" cap="flat">
              <a:noFill/>
              <a:prstDash val="solid"/>
              <a:miter/>
            </a:ln>
          </p:spPr>
          <p:txBody>
            <a:bodyPr rtlCol="0" anchor="ctr"/>
            <a:lstStyle/>
            <a:p>
              <a:endParaRPr lang="uk-UA" sz="900"/>
            </a:p>
          </p:txBody>
        </p:sp>
        <p:sp>
          <p:nvSpPr>
            <p:cNvPr id="229" name="Freeform: Shape 228">
              <a:extLst>
                <a:ext uri="{FF2B5EF4-FFF2-40B4-BE49-F238E27FC236}">
                  <a16:creationId xmlns:a16="http://schemas.microsoft.com/office/drawing/2014/main" id="{51DC18AD-03CF-1CE0-2136-DFB4B705384A}"/>
                </a:ext>
              </a:extLst>
            </p:cNvPr>
            <p:cNvSpPr/>
            <p:nvPr/>
          </p:nvSpPr>
          <p:spPr>
            <a:xfrm>
              <a:off x="7797062" y="4579374"/>
              <a:ext cx="435077" cy="435077"/>
            </a:xfrm>
            <a:custGeom>
              <a:avLst/>
              <a:gdLst>
                <a:gd name="connsiteX0" fmla="*/ 217566 w 435077"/>
                <a:gd name="connsiteY0" fmla="*/ 435077 h 435077"/>
                <a:gd name="connsiteX1" fmla="*/ 217566 w 435077"/>
                <a:gd name="connsiteY1" fmla="*/ 0 h 435077"/>
                <a:gd name="connsiteX2" fmla="*/ 435077 w 435077"/>
                <a:gd name="connsiteY2" fmla="*/ 217539 h 435077"/>
                <a:gd name="connsiteX3" fmla="*/ 217566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66" y="435077"/>
                  </a:moveTo>
                  <a:lnTo>
                    <a:pt x="217566" y="0"/>
                  </a:lnTo>
                  <a:lnTo>
                    <a:pt x="435077" y="217539"/>
                  </a:lnTo>
                  <a:lnTo>
                    <a:pt x="217566"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30" name="Freeform: Shape 229">
              <a:extLst>
                <a:ext uri="{FF2B5EF4-FFF2-40B4-BE49-F238E27FC236}">
                  <a16:creationId xmlns:a16="http://schemas.microsoft.com/office/drawing/2014/main" id="{5A59CDF4-79E7-1DDB-EEA7-156413FFF384}"/>
                </a:ext>
              </a:extLst>
            </p:cNvPr>
            <p:cNvSpPr/>
            <p:nvPr/>
          </p:nvSpPr>
          <p:spPr>
            <a:xfrm>
              <a:off x="6926907" y="4579374"/>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6 w 435077"/>
                <a:gd name="connsiteY3" fmla="*/ 27 h 435077"/>
                <a:gd name="connsiteX4" fmla="*/ 435077 w 435077"/>
                <a:gd name="connsiteY4" fmla="*/ 217539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6" y="27"/>
                  </a:lnTo>
                  <a:lnTo>
                    <a:pt x="435077" y="217539"/>
                  </a:lnTo>
                  <a:lnTo>
                    <a:pt x="217566"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31" name="Freeform: Shape 230">
              <a:extLst>
                <a:ext uri="{FF2B5EF4-FFF2-40B4-BE49-F238E27FC236}">
                  <a16:creationId xmlns:a16="http://schemas.microsoft.com/office/drawing/2014/main" id="{F08F75E5-89CF-61A8-F065-1D085020092E}"/>
                </a:ext>
              </a:extLst>
            </p:cNvPr>
            <p:cNvSpPr/>
            <p:nvPr/>
          </p:nvSpPr>
          <p:spPr>
            <a:xfrm>
              <a:off x="8667217" y="4579374"/>
              <a:ext cx="435104" cy="435077"/>
            </a:xfrm>
            <a:custGeom>
              <a:avLst/>
              <a:gdLst>
                <a:gd name="connsiteX0" fmla="*/ 435105 w 435104"/>
                <a:gd name="connsiteY0" fmla="*/ 435077 h 435077"/>
                <a:gd name="connsiteX1" fmla="*/ 435105 w 435104"/>
                <a:gd name="connsiteY1" fmla="*/ 0 h 435077"/>
                <a:gd name="connsiteX2" fmla="*/ 217566 w 435104"/>
                <a:gd name="connsiteY2" fmla="*/ 217539 h 435077"/>
                <a:gd name="connsiteX3" fmla="*/ 435105 w 435104"/>
                <a:gd name="connsiteY3" fmla="*/ 435077 h 435077"/>
                <a:gd name="connsiteX4" fmla="*/ 0 w 435104"/>
                <a:gd name="connsiteY4" fmla="*/ 435077 h 435077"/>
                <a:gd name="connsiteX5" fmla="*/ 0 w 435104"/>
                <a:gd name="connsiteY5" fmla="*/ 0 h 435077"/>
                <a:gd name="connsiteX6" fmla="*/ 217539 w 435104"/>
                <a:gd name="connsiteY6" fmla="*/ 217539 h 435077"/>
                <a:gd name="connsiteX7" fmla="*/ 0 w 435104"/>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104" h="435077">
                  <a:moveTo>
                    <a:pt x="435105" y="435077"/>
                  </a:moveTo>
                  <a:lnTo>
                    <a:pt x="435105" y="0"/>
                  </a:lnTo>
                  <a:lnTo>
                    <a:pt x="217566" y="217539"/>
                  </a:lnTo>
                  <a:lnTo>
                    <a:pt x="435105"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32" name="Freeform: Shape 231">
              <a:extLst>
                <a:ext uri="{FF2B5EF4-FFF2-40B4-BE49-F238E27FC236}">
                  <a16:creationId xmlns:a16="http://schemas.microsoft.com/office/drawing/2014/main" id="{2272259D-E42B-B419-5D6A-8E4597292774}"/>
                </a:ext>
              </a:extLst>
            </p:cNvPr>
            <p:cNvSpPr/>
            <p:nvPr/>
          </p:nvSpPr>
          <p:spPr>
            <a:xfrm>
              <a:off x="9537399" y="4579374"/>
              <a:ext cx="435077" cy="435077"/>
            </a:xfrm>
            <a:custGeom>
              <a:avLst/>
              <a:gdLst>
                <a:gd name="connsiteX0" fmla="*/ 63711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1 w 435077"/>
                <a:gd name="connsiteY6" fmla="*/ 153827 h 435077"/>
                <a:gd name="connsiteX7" fmla="*/ 63711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1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1" y="153827"/>
                  </a:moveTo>
                  <a:cubicBezTo>
                    <a:pt x="22923" y="113038"/>
                    <a:pt x="0" y="57702"/>
                    <a:pt x="0" y="0"/>
                  </a:cubicBezTo>
                  <a:lnTo>
                    <a:pt x="217539" y="0"/>
                  </a:lnTo>
                  <a:lnTo>
                    <a:pt x="435077" y="0"/>
                  </a:lnTo>
                  <a:cubicBezTo>
                    <a:pt x="435077" y="57702"/>
                    <a:pt x="412155" y="113038"/>
                    <a:pt x="371366" y="153827"/>
                  </a:cubicBezTo>
                  <a:cubicBezTo>
                    <a:pt x="330550" y="194616"/>
                    <a:pt x="275214" y="217539"/>
                    <a:pt x="217539" y="217539"/>
                  </a:cubicBezTo>
                  <a:cubicBezTo>
                    <a:pt x="159836" y="217539"/>
                    <a:pt x="104500" y="194616"/>
                    <a:pt x="63711" y="153827"/>
                  </a:cubicBezTo>
                  <a:close/>
                  <a:moveTo>
                    <a:pt x="63711" y="281250"/>
                  </a:moveTo>
                  <a:cubicBezTo>
                    <a:pt x="22923" y="322066"/>
                    <a:pt x="0" y="377375"/>
                    <a:pt x="0" y="435077"/>
                  </a:cubicBezTo>
                  <a:lnTo>
                    <a:pt x="217539" y="435077"/>
                  </a:lnTo>
                  <a:lnTo>
                    <a:pt x="435077" y="435077"/>
                  </a:lnTo>
                  <a:cubicBezTo>
                    <a:pt x="435077" y="377375"/>
                    <a:pt x="412155" y="322066"/>
                    <a:pt x="371366" y="281250"/>
                  </a:cubicBezTo>
                  <a:cubicBezTo>
                    <a:pt x="330550" y="240462"/>
                    <a:pt x="275214" y="217539"/>
                    <a:pt x="217539" y="217539"/>
                  </a:cubicBezTo>
                  <a:cubicBezTo>
                    <a:pt x="159836" y="217539"/>
                    <a:pt x="104500" y="240462"/>
                    <a:pt x="63711" y="281250"/>
                  </a:cubicBezTo>
                  <a:close/>
                </a:path>
              </a:pathLst>
            </a:custGeom>
            <a:grpFill/>
            <a:ln w="27192" cap="flat">
              <a:noFill/>
              <a:prstDash val="solid"/>
              <a:miter/>
            </a:ln>
          </p:spPr>
          <p:txBody>
            <a:bodyPr rtlCol="0" anchor="ctr"/>
            <a:lstStyle/>
            <a:p>
              <a:endParaRPr lang="uk-UA" sz="900"/>
            </a:p>
          </p:txBody>
        </p:sp>
        <p:sp>
          <p:nvSpPr>
            <p:cNvPr id="233" name="Freeform: Shape 232">
              <a:extLst>
                <a:ext uri="{FF2B5EF4-FFF2-40B4-BE49-F238E27FC236}">
                  <a16:creationId xmlns:a16="http://schemas.microsoft.com/office/drawing/2014/main" id="{DA6D50F6-3561-A28F-0F0C-BD5A4ADB9D6A}"/>
                </a:ext>
              </a:extLst>
            </p:cNvPr>
            <p:cNvSpPr/>
            <p:nvPr/>
          </p:nvSpPr>
          <p:spPr>
            <a:xfrm>
              <a:off x="11277709" y="4579374"/>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34" name="Freeform: Shape 233">
              <a:extLst>
                <a:ext uri="{FF2B5EF4-FFF2-40B4-BE49-F238E27FC236}">
                  <a16:creationId xmlns:a16="http://schemas.microsoft.com/office/drawing/2014/main" id="{A92B93BA-4BCE-1ABB-F480-174C1DD126D0}"/>
                </a:ext>
              </a:extLst>
            </p:cNvPr>
            <p:cNvSpPr/>
            <p:nvPr/>
          </p:nvSpPr>
          <p:spPr>
            <a:xfrm>
              <a:off x="10407554" y="4579374"/>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39 w 435077"/>
                <a:gd name="connsiteY3" fmla="*/ 27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1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1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39" y="27"/>
                  </a:lnTo>
                  <a:lnTo>
                    <a:pt x="435077" y="217539"/>
                  </a:lnTo>
                  <a:lnTo>
                    <a:pt x="217539" y="435077"/>
                  </a:lnTo>
                  <a:lnTo>
                    <a:pt x="435077" y="435077"/>
                  </a:lnTo>
                  <a:close/>
                  <a:moveTo>
                    <a:pt x="0" y="217539"/>
                  </a:moveTo>
                  <a:lnTo>
                    <a:pt x="0" y="0"/>
                  </a:lnTo>
                  <a:lnTo>
                    <a:pt x="217511" y="217539"/>
                  </a:lnTo>
                  <a:lnTo>
                    <a:pt x="0" y="217539"/>
                  </a:lnTo>
                  <a:close/>
                  <a:moveTo>
                    <a:pt x="0" y="435077"/>
                  </a:moveTo>
                  <a:lnTo>
                    <a:pt x="0" y="217539"/>
                  </a:lnTo>
                  <a:lnTo>
                    <a:pt x="217511" y="217539"/>
                  </a:lnTo>
                  <a:lnTo>
                    <a:pt x="0" y="435077"/>
                  </a:lnTo>
                  <a:close/>
                </a:path>
              </a:pathLst>
            </a:custGeom>
            <a:grpFill/>
            <a:ln w="27192" cap="flat">
              <a:noFill/>
              <a:prstDash val="solid"/>
              <a:miter/>
            </a:ln>
          </p:spPr>
          <p:txBody>
            <a:bodyPr rtlCol="0" anchor="ctr"/>
            <a:lstStyle/>
            <a:p>
              <a:endParaRPr lang="uk-UA" sz="900"/>
            </a:p>
          </p:txBody>
        </p:sp>
        <p:sp>
          <p:nvSpPr>
            <p:cNvPr id="235" name="Freeform: Shape 234">
              <a:extLst>
                <a:ext uri="{FF2B5EF4-FFF2-40B4-BE49-F238E27FC236}">
                  <a16:creationId xmlns:a16="http://schemas.microsoft.com/office/drawing/2014/main" id="{A16EDE36-FEE5-B0F9-14D8-C62DE6E5367F}"/>
                </a:ext>
              </a:extLst>
            </p:cNvPr>
            <p:cNvSpPr/>
            <p:nvPr/>
          </p:nvSpPr>
          <p:spPr>
            <a:xfrm>
              <a:off x="12147891" y="4579374"/>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236" name="Freeform: Shape 235">
              <a:extLst>
                <a:ext uri="{FF2B5EF4-FFF2-40B4-BE49-F238E27FC236}">
                  <a16:creationId xmlns:a16="http://schemas.microsoft.com/office/drawing/2014/main" id="{3FDB1E2F-EDF0-78C9-021E-D832F61C5412}"/>
                </a:ext>
              </a:extLst>
            </p:cNvPr>
            <p:cNvSpPr/>
            <p:nvPr/>
          </p:nvSpPr>
          <p:spPr>
            <a:xfrm>
              <a:off x="13018045" y="457937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8"/>
                    <a:pt x="0" y="57702"/>
                    <a:pt x="0" y="0"/>
                  </a:cubicBezTo>
                  <a:lnTo>
                    <a:pt x="217539" y="0"/>
                  </a:lnTo>
                  <a:lnTo>
                    <a:pt x="435077" y="0"/>
                  </a:lnTo>
                  <a:cubicBezTo>
                    <a:pt x="435077" y="57702"/>
                    <a:pt x="412154" y="113038"/>
                    <a:pt x="371365" y="153827"/>
                  </a:cubicBezTo>
                  <a:cubicBezTo>
                    <a:pt x="330550" y="194616"/>
                    <a:pt x="275241" y="217539"/>
                    <a:pt x="217539" y="217539"/>
                  </a:cubicBezTo>
                  <a:cubicBezTo>
                    <a:pt x="159836" y="217539"/>
                    <a:pt x="104501" y="194616"/>
                    <a:pt x="63712" y="153827"/>
                  </a:cubicBezTo>
                  <a:close/>
                  <a:moveTo>
                    <a:pt x="63712" y="281250"/>
                  </a:moveTo>
                  <a:cubicBezTo>
                    <a:pt x="22924" y="322066"/>
                    <a:pt x="0" y="377375"/>
                    <a:pt x="0" y="435077"/>
                  </a:cubicBezTo>
                  <a:lnTo>
                    <a:pt x="217539" y="435077"/>
                  </a:lnTo>
                  <a:lnTo>
                    <a:pt x="435077" y="435077"/>
                  </a:lnTo>
                  <a:cubicBezTo>
                    <a:pt x="435077" y="377375"/>
                    <a:pt x="412154" y="322066"/>
                    <a:pt x="371365" y="281250"/>
                  </a:cubicBezTo>
                  <a:cubicBezTo>
                    <a:pt x="330550" y="240462"/>
                    <a:pt x="275241" y="217539"/>
                    <a:pt x="217539" y="217539"/>
                  </a:cubicBezTo>
                  <a:cubicBezTo>
                    <a:pt x="159836" y="217539"/>
                    <a:pt x="104501" y="240462"/>
                    <a:pt x="63712" y="281250"/>
                  </a:cubicBezTo>
                  <a:close/>
                </a:path>
              </a:pathLst>
            </a:custGeom>
            <a:grpFill/>
            <a:ln w="27192" cap="flat">
              <a:noFill/>
              <a:prstDash val="solid"/>
              <a:miter/>
            </a:ln>
          </p:spPr>
          <p:txBody>
            <a:bodyPr rtlCol="0" anchor="ctr"/>
            <a:lstStyle/>
            <a:p>
              <a:endParaRPr lang="uk-UA" sz="900"/>
            </a:p>
          </p:txBody>
        </p:sp>
        <p:sp>
          <p:nvSpPr>
            <p:cNvPr id="237" name="Freeform: Shape 236">
              <a:extLst>
                <a:ext uri="{FF2B5EF4-FFF2-40B4-BE49-F238E27FC236}">
                  <a16:creationId xmlns:a16="http://schemas.microsoft.com/office/drawing/2014/main" id="{A490A852-757F-7EB5-944F-AFB6DEF75C37}"/>
                </a:ext>
              </a:extLst>
            </p:cNvPr>
            <p:cNvSpPr/>
            <p:nvPr/>
          </p:nvSpPr>
          <p:spPr>
            <a:xfrm>
              <a:off x="14758382" y="4579374"/>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38" name="Freeform: Shape 237">
              <a:extLst>
                <a:ext uri="{FF2B5EF4-FFF2-40B4-BE49-F238E27FC236}">
                  <a16:creationId xmlns:a16="http://schemas.microsoft.com/office/drawing/2014/main" id="{EFCE6C8F-89D8-839C-4FA0-3E5FB33EC40A}"/>
                </a:ext>
              </a:extLst>
            </p:cNvPr>
            <p:cNvSpPr/>
            <p:nvPr/>
          </p:nvSpPr>
          <p:spPr>
            <a:xfrm>
              <a:off x="13888200" y="4579374"/>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5 w 435077"/>
                <a:gd name="connsiteY3" fmla="*/ 27 h 435077"/>
                <a:gd name="connsiteX4" fmla="*/ 435077 w 435077"/>
                <a:gd name="connsiteY4" fmla="*/ 217539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5" y="27"/>
                  </a:lnTo>
                  <a:lnTo>
                    <a:pt x="435077" y="217539"/>
                  </a:lnTo>
                  <a:lnTo>
                    <a:pt x="217565"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39" name="Freeform: Shape 238">
              <a:extLst>
                <a:ext uri="{FF2B5EF4-FFF2-40B4-BE49-F238E27FC236}">
                  <a16:creationId xmlns:a16="http://schemas.microsoft.com/office/drawing/2014/main" id="{5E6458C1-9A06-2C97-8C8D-C6F5769C5AED}"/>
                </a:ext>
              </a:extLst>
            </p:cNvPr>
            <p:cNvSpPr/>
            <p:nvPr/>
          </p:nvSpPr>
          <p:spPr>
            <a:xfrm>
              <a:off x="15628565" y="4579374"/>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0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0" y="217539"/>
                  </a:lnTo>
                  <a:lnTo>
                    <a:pt x="0" y="435077"/>
                  </a:lnTo>
                  <a:close/>
                </a:path>
              </a:pathLst>
            </a:custGeom>
            <a:grpFill/>
            <a:ln w="27192" cap="flat">
              <a:noFill/>
              <a:prstDash val="solid"/>
              <a:miter/>
            </a:ln>
          </p:spPr>
          <p:txBody>
            <a:bodyPr rtlCol="0" anchor="ctr"/>
            <a:lstStyle/>
            <a:p>
              <a:endParaRPr lang="uk-UA" sz="900"/>
            </a:p>
          </p:txBody>
        </p:sp>
        <p:sp>
          <p:nvSpPr>
            <p:cNvPr id="240" name="Freeform: Shape 239">
              <a:extLst>
                <a:ext uri="{FF2B5EF4-FFF2-40B4-BE49-F238E27FC236}">
                  <a16:creationId xmlns:a16="http://schemas.microsoft.com/office/drawing/2014/main" id="{5FD4ABC3-8062-224D-B85A-77520E63FB98}"/>
                </a:ext>
              </a:extLst>
            </p:cNvPr>
            <p:cNvSpPr/>
            <p:nvPr/>
          </p:nvSpPr>
          <p:spPr>
            <a:xfrm>
              <a:off x="16498719" y="4579374"/>
              <a:ext cx="435077" cy="435077"/>
            </a:xfrm>
            <a:custGeom>
              <a:avLst/>
              <a:gdLst>
                <a:gd name="connsiteX0" fmla="*/ 63710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0 w 435077"/>
                <a:gd name="connsiteY6" fmla="*/ 153827 h 435077"/>
                <a:gd name="connsiteX7" fmla="*/ 63710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50 h 435077"/>
                <a:gd name="connsiteX12" fmla="*/ 217539 w 435077"/>
                <a:gd name="connsiteY12" fmla="*/ 217539 h 435077"/>
                <a:gd name="connsiteX13" fmla="*/ 63710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7"/>
                  </a:moveTo>
                  <a:cubicBezTo>
                    <a:pt x="22895" y="113038"/>
                    <a:pt x="0" y="57702"/>
                    <a:pt x="0" y="0"/>
                  </a:cubicBezTo>
                  <a:lnTo>
                    <a:pt x="217539" y="0"/>
                  </a:lnTo>
                  <a:lnTo>
                    <a:pt x="435077" y="0"/>
                  </a:lnTo>
                  <a:cubicBezTo>
                    <a:pt x="435077" y="57702"/>
                    <a:pt x="412154" y="113038"/>
                    <a:pt x="371339" y="153827"/>
                  </a:cubicBezTo>
                  <a:cubicBezTo>
                    <a:pt x="330550" y="194616"/>
                    <a:pt x="275213" y="217539"/>
                    <a:pt x="217539" y="217539"/>
                  </a:cubicBezTo>
                  <a:cubicBezTo>
                    <a:pt x="159836" y="217539"/>
                    <a:pt x="104499" y="194616"/>
                    <a:pt x="63710" y="153827"/>
                  </a:cubicBezTo>
                  <a:close/>
                  <a:moveTo>
                    <a:pt x="63710" y="281250"/>
                  </a:moveTo>
                  <a:cubicBezTo>
                    <a:pt x="22895" y="322066"/>
                    <a:pt x="0" y="377375"/>
                    <a:pt x="0" y="435077"/>
                  </a:cubicBezTo>
                  <a:lnTo>
                    <a:pt x="217539" y="435077"/>
                  </a:lnTo>
                  <a:lnTo>
                    <a:pt x="435077" y="435077"/>
                  </a:lnTo>
                  <a:cubicBezTo>
                    <a:pt x="435077" y="377375"/>
                    <a:pt x="412154" y="322066"/>
                    <a:pt x="371339" y="281250"/>
                  </a:cubicBezTo>
                  <a:cubicBezTo>
                    <a:pt x="330550" y="240462"/>
                    <a:pt x="275213" y="217539"/>
                    <a:pt x="217539" y="217539"/>
                  </a:cubicBezTo>
                  <a:cubicBezTo>
                    <a:pt x="159836" y="217539"/>
                    <a:pt x="104499" y="240462"/>
                    <a:pt x="63710" y="281250"/>
                  </a:cubicBezTo>
                  <a:close/>
                </a:path>
              </a:pathLst>
            </a:custGeom>
            <a:grpFill/>
            <a:ln w="27192" cap="flat">
              <a:noFill/>
              <a:prstDash val="solid"/>
              <a:miter/>
            </a:ln>
          </p:spPr>
          <p:txBody>
            <a:bodyPr rtlCol="0" anchor="ctr"/>
            <a:lstStyle/>
            <a:p>
              <a:endParaRPr lang="uk-UA" sz="900"/>
            </a:p>
          </p:txBody>
        </p:sp>
        <p:sp>
          <p:nvSpPr>
            <p:cNvPr id="241" name="Freeform: Shape 240">
              <a:extLst>
                <a:ext uri="{FF2B5EF4-FFF2-40B4-BE49-F238E27FC236}">
                  <a16:creationId xmlns:a16="http://schemas.microsoft.com/office/drawing/2014/main" id="{10CC8B1B-2107-B78A-8CA5-39E8559D0FE9}"/>
                </a:ext>
              </a:extLst>
            </p:cNvPr>
            <p:cNvSpPr/>
            <p:nvPr/>
          </p:nvSpPr>
          <p:spPr>
            <a:xfrm>
              <a:off x="18239029" y="4579374"/>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42" name="Freeform: Shape 241">
              <a:extLst>
                <a:ext uri="{FF2B5EF4-FFF2-40B4-BE49-F238E27FC236}">
                  <a16:creationId xmlns:a16="http://schemas.microsoft.com/office/drawing/2014/main" id="{663FCB86-1CFD-0C43-4E47-F0F56FDE201D}"/>
                </a:ext>
              </a:extLst>
            </p:cNvPr>
            <p:cNvSpPr/>
            <p:nvPr/>
          </p:nvSpPr>
          <p:spPr>
            <a:xfrm>
              <a:off x="17368874" y="4579374"/>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39 w 435077"/>
                <a:gd name="connsiteY3" fmla="*/ 27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0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0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39" y="27"/>
                  </a:lnTo>
                  <a:lnTo>
                    <a:pt x="435077" y="217539"/>
                  </a:lnTo>
                  <a:lnTo>
                    <a:pt x="217539" y="435077"/>
                  </a:lnTo>
                  <a:lnTo>
                    <a:pt x="435077" y="435077"/>
                  </a:lnTo>
                  <a:close/>
                  <a:moveTo>
                    <a:pt x="0" y="217539"/>
                  </a:moveTo>
                  <a:lnTo>
                    <a:pt x="0" y="0"/>
                  </a:lnTo>
                  <a:lnTo>
                    <a:pt x="217510" y="217539"/>
                  </a:lnTo>
                  <a:lnTo>
                    <a:pt x="0" y="217539"/>
                  </a:lnTo>
                  <a:close/>
                  <a:moveTo>
                    <a:pt x="0" y="435077"/>
                  </a:moveTo>
                  <a:lnTo>
                    <a:pt x="0" y="217539"/>
                  </a:lnTo>
                  <a:lnTo>
                    <a:pt x="217510" y="217539"/>
                  </a:lnTo>
                  <a:lnTo>
                    <a:pt x="0" y="435077"/>
                  </a:lnTo>
                  <a:close/>
                </a:path>
              </a:pathLst>
            </a:custGeom>
            <a:grpFill/>
            <a:ln w="27192" cap="flat">
              <a:noFill/>
              <a:prstDash val="solid"/>
              <a:miter/>
            </a:ln>
          </p:spPr>
          <p:txBody>
            <a:bodyPr rtlCol="0" anchor="ctr"/>
            <a:lstStyle/>
            <a:p>
              <a:endParaRPr lang="uk-UA" sz="900"/>
            </a:p>
          </p:txBody>
        </p:sp>
        <p:sp>
          <p:nvSpPr>
            <p:cNvPr id="243" name="Freeform: Shape 242">
              <a:extLst>
                <a:ext uri="{FF2B5EF4-FFF2-40B4-BE49-F238E27FC236}">
                  <a16:creationId xmlns:a16="http://schemas.microsoft.com/office/drawing/2014/main" id="{14566610-724C-06C9-3293-CBCE07F861F8}"/>
                </a:ext>
              </a:extLst>
            </p:cNvPr>
            <p:cNvSpPr/>
            <p:nvPr/>
          </p:nvSpPr>
          <p:spPr>
            <a:xfrm>
              <a:off x="19109210" y="4579374"/>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244" name="Freeform: Shape 243">
              <a:extLst>
                <a:ext uri="{FF2B5EF4-FFF2-40B4-BE49-F238E27FC236}">
                  <a16:creationId xmlns:a16="http://schemas.microsoft.com/office/drawing/2014/main" id="{99948969-064E-DAF3-3661-5CB576DB6C12}"/>
                </a:ext>
              </a:extLst>
            </p:cNvPr>
            <p:cNvSpPr/>
            <p:nvPr/>
          </p:nvSpPr>
          <p:spPr>
            <a:xfrm>
              <a:off x="19979365" y="457937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8"/>
                    <a:pt x="0" y="57702"/>
                    <a:pt x="0" y="0"/>
                  </a:cubicBezTo>
                  <a:lnTo>
                    <a:pt x="217539" y="0"/>
                  </a:lnTo>
                  <a:lnTo>
                    <a:pt x="435077" y="0"/>
                  </a:lnTo>
                  <a:cubicBezTo>
                    <a:pt x="435077" y="57702"/>
                    <a:pt x="412154" y="113038"/>
                    <a:pt x="371365" y="153827"/>
                  </a:cubicBezTo>
                  <a:cubicBezTo>
                    <a:pt x="330550" y="194616"/>
                    <a:pt x="275241" y="217539"/>
                    <a:pt x="217539" y="217539"/>
                  </a:cubicBezTo>
                  <a:cubicBezTo>
                    <a:pt x="159836" y="217539"/>
                    <a:pt x="104501" y="194616"/>
                    <a:pt x="63712" y="153827"/>
                  </a:cubicBezTo>
                  <a:close/>
                  <a:moveTo>
                    <a:pt x="63712" y="281250"/>
                  </a:moveTo>
                  <a:cubicBezTo>
                    <a:pt x="22924" y="322066"/>
                    <a:pt x="0" y="377375"/>
                    <a:pt x="0" y="435077"/>
                  </a:cubicBezTo>
                  <a:lnTo>
                    <a:pt x="217539" y="435077"/>
                  </a:lnTo>
                  <a:lnTo>
                    <a:pt x="435077" y="435077"/>
                  </a:lnTo>
                  <a:cubicBezTo>
                    <a:pt x="435077" y="377375"/>
                    <a:pt x="412154" y="322066"/>
                    <a:pt x="371365" y="281250"/>
                  </a:cubicBezTo>
                  <a:cubicBezTo>
                    <a:pt x="330550" y="240462"/>
                    <a:pt x="275241" y="217539"/>
                    <a:pt x="217539" y="217539"/>
                  </a:cubicBezTo>
                  <a:cubicBezTo>
                    <a:pt x="159836" y="217539"/>
                    <a:pt x="104501" y="240462"/>
                    <a:pt x="63712" y="281250"/>
                  </a:cubicBezTo>
                  <a:close/>
                </a:path>
              </a:pathLst>
            </a:custGeom>
            <a:grpFill/>
            <a:ln w="27192" cap="flat">
              <a:noFill/>
              <a:prstDash val="solid"/>
              <a:miter/>
            </a:ln>
          </p:spPr>
          <p:txBody>
            <a:bodyPr rtlCol="0" anchor="ctr"/>
            <a:lstStyle/>
            <a:p>
              <a:endParaRPr lang="uk-UA" sz="900"/>
            </a:p>
          </p:txBody>
        </p:sp>
        <p:sp>
          <p:nvSpPr>
            <p:cNvPr id="245" name="Freeform: Shape 244">
              <a:extLst>
                <a:ext uri="{FF2B5EF4-FFF2-40B4-BE49-F238E27FC236}">
                  <a16:creationId xmlns:a16="http://schemas.microsoft.com/office/drawing/2014/main" id="{0447986B-FE9E-F513-F96B-86B7669DA35A}"/>
                </a:ext>
              </a:extLst>
            </p:cNvPr>
            <p:cNvSpPr/>
            <p:nvPr/>
          </p:nvSpPr>
          <p:spPr>
            <a:xfrm>
              <a:off x="21719702" y="4579374"/>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0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0"/>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246" name="Freeform: Shape 245">
              <a:extLst>
                <a:ext uri="{FF2B5EF4-FFF2-40B4-BE49-F238E27FC236}">
                  <a16:creationId xmlns:a16="http://schemas.microsoft.com/office/drawing/2014/main" id="{C6EB8B6D-D136-DAD0-AF52-67BE039CF435}"/>
                </a:ext>
              </a:extLst>
            </p:cNvPr>
            <p:cNvSpPr/>
            <p:nvPr/>
          </p:nvSpPr>
          <p:spPr>
            <a:xfrm>
              <a:off x="20849520" y="4579374"/>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65 w 435077"/>
                <a:gd name="connsiteY3" fmla="*/ 27 h 435077"/>
                <a:gd name="connsiteX4" fmla="*/ 435077 w 435077"/>
                <a:gd name="connsiteY4" fmla="*/ 217539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65" y="27"/>
                  </a:lnTo>
                  <a:lnTo>
                    <a:pt x="435077" y="217539"/>
                  </a:lnTo>
                  <a:lnTo>
                    <a:pt x="217565"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47" name="Freeform: Shape 246">
              <a:extLst>
                <a:ext uri="{FF2B5EF4-FFF2-40B4-BE49-F238E27FC236}">
                  <a16:creationId xmlns:a16="http://schemas.microsoft.com/office/drawing/2014/main" id="{B9579E08-D521-8907-7FFD-2DD0E051CF08}"/>
                </a:ext>
              </a:extLst>
            </p:cNvPr>
            <p:cNvSpPr/>
            <p:nvPr/>
          </p:nvSpPr>
          <p:spPr>
            <a:xfrm>
              <a:off x="22589856" y="4579374"/>
              <a:ext cx="435077" cy="435077"/>
            </a:xfrm>
            <a:custGeom>
              <a:avLst/>
              <a:gdLst>
                <a:gd name="connsiteX0" fmla="*/ 435077 w 435077"/>
                <a:gd name="connsiteY0" fmla="*/ 435077 h 435077"/>
                <a:gd name="connsiteX1" fmla="*/ 435077 w 435077"/>
                <a:gd name="connsiteY1" fmla="*/ 0 h 435077"/>
                <a:gd name="connsiteX2" fmla="*/ 217567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7"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48" name="Freeform: Shape 247">
              <a:extLst>
                <a:ext uri="{FF2B5EF4-FFF2-40B4-BE49-F238E27FC236}">
                  <a16:creationId xmlns:a16="http://schemas.microsoft.com/office/drawing/2014/main" id="{622CAE63-C569-C2A0-16FB-01789116A6D9}"/>
                </a:ext>
              </a:extLst>
            </p:cNvPr>
            <p:cNvSpPr/>
            <p:nvPr/>
          </p:nvSpPr>
          <p:spPr>
            <a:xfrm>
              <a:off x="23460039" y="4579374"/>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895" y="113038"/>
                    <a:pt x="0" y="57702"/>
                    <a:pt x="0" y="0"/>
                  </a:cubicBezTo>
                  <a:lnTo>
                    <a:pt x="217539" y="0"/>
                  </a:lnTo>
                  <a:lnTo>
                    <a:pt x="435077" y="0"/>
                  </a:lnTo>
                  <a:cubicBezTo>
                    <a:pt x="435077" y="57702"/>
                    <a:pt x="412154" y="113038"/>
                    <a:pt x="371339" y="153827"/>
                  </a:cubicBezTo>
                  <a:cubicBezTo>
                    <a:pt x="330550" y="194616"/>
                    <a:pt x="275213" y="217539"/>
                    <a:pt x="217539" y="217539"/>
                  </a:cubicBezTo>
                  <a:cubicBezTo>
                    <a:pt x="159836" y="217539"/>
                    <a:pt x="104501" y="194616"/>
                    <a:pt x="63712" y="153827"/>
                  </a:cubicBezTo>
                  <a:close/>
                  <a:moveTo>
                    <a:pt x="63712" y="281250"/>
                  </a:moveTo>
                  <a:cubicBezTo>
                    <a:pt x="22895" y="322066"/>
                    <a:pt x="0" y="377375"/>
                    <a:pt x="0" y="435077"/>
                  </a:cubicBezTo>
                  <a:lnTo>
                    <a:pt x="217539" y="435077"/>
                  </a:lnTo>
                  <a:lnTo>
                    <a:pt x="435077" y="435077"/>
                  </a:lnTo>
                  <a:cubicBezTo>
                    <a:pt x="435077" y="377375"/>
                    <a:pt x="412154" y="322066"/>
                    <a:pt x="371339" y="281250"/>
                  </a:cubicBezTo>
                  <a:cubicBezTo>
                    <a:pt x="330550" y="240462"/>
                    <a:pt x="275213" y="217539"/>
                    <a:pt x="217539" y="217539"/>
                  </a:cubicBezTo>
                  <a:cubicBezTo>
                    <a:pt x="159836" y="217539"/>
                    <a:pt x="104501" y="240462"/>
                    <a:pt x="63712" y="281250"/>
                  </a:cubicBezTo>
                  <a:close/>
                </a:path>
              </a:pathLst>
            </a:custGeom>
            <a:grpFill/>
            <a:ln w="27192" cap="flat">
              <a:noFill/>
              <a:prstDash val="solid"/>
              <a:miter/>
            </a:ln>
          </p:spPr>
          <p:txBody>
            <a:bodyPr rtlCol="0" anchor="ctr"/>
            <a:lstStyle/>
            <a:p>
              <a:endParaRPr lang="uk-UA" sz="900"/>
            </a:p>
          </p:txBody>
        </p:sp>
        <p:sp>
          <p:nvSpPr>
            <p:cNvPr id="249" name="Freeform: Shape 248">
              <a:extLst>
                <a:ext uri="{FF2B5EF4-FFF2-40B4-BE49-F238E27FC236}">
                  <a16:creationId xmlns:a16="http://schemas.microsoft.com/office/drawing/2014/main" id="{B35E36ED-4971-D8EB-FC94-A164A3FE0BF7}"/>
                </a:ext>
              </a:extLst>
            </p:cNvPr>
            <p:cNvSpPr/>
            <p:nvPr/>
          </p:nvSpPr>
          <p:spPr>
            <a:xfrm>
              <a:off x="24330194" y="4579374"/>
              <a:ext cx="435077" cy="435077"/>
            </a:xfrm>
            <a:custGeom>
              <a:avLst/>
              <a:gdLst>
                <a:gd name="connsiteX0" fmla="*/ 435077 w 435077"/>
                <a:gd name="connsiteY0" fmla="*/ 435077 h 435077"/>
                <a:gd name="connsiteX1" fmla="*/ 435077 w 435077"/>
                <a:gd name="connsiteY1" fmla="*/ 217539 h 435077"/>
                <a:gd name="connsiteX2" fmla="*/ 435077 w 435077"/>
                <a:gd name="connsiteY2" fmla="*/ 27 h 435077"/>
                <a:gd name="connsiteX3" fmla="*/ 217539 w 435077"/>
                <a:gd name="connsiteY3" fmla="*/ 27 h 435077"/>
                <a:gd name="connsiteX4" fmla="*/ 435077 w 435077"/>
                <a:gd name="connsiteY4" fmla="*/ 217539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39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39"/>
                  </a:lnTo>
                  <a:lnTo>
                    <a:pt x="435077" y="27"/>
                  </a:lnTo>
                  <a:lnTo>
                    <a:pt x="217539" y="27"/>
                  </a:lnTo>
                  <a:lnTo>
                    <a:pt x="435077" y="217539"/>
                  </a:lnTo>
                  <a:lnTo>
                    <a:pt x="217539" y="435077"/>
                  </a:lnTo>
                  <a:lnTo>
                    <a:pt x="435077"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50" name="Freeform: Shape 249">
              <a:extLst>
                <a:ext uri="{FF2B5EF4-FFF2-40B4-BE49-F238E27FC236}">
                  <a16:creationId xmlns:a16="http://schemas.microsoft.com/office/drawing/2014/main" id="{77489216-0AFB-B862-AFF8-4B57CE2625C3}"/>
                </a:ext>
              </a:extLst>
            </p:cNvPr>
            <p:cNvSpPr/>
            <p:nvPr/>
          </p:nvSpPr>
          <p:spPr>
            <a:xfrm>
              <a:off x="835769" y="718983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251" name="Freeform: Shape 250">
              <a:extLst>
                <a:ext uri="{FF2B5EF4-FFF2-40B4-BE49-F238E27FC236}">
                  <a16:creationId xmlns:a16="http://schemas.microsoft.com/office/drawing/2014/main" id="{087D7A1E-D8B2-D241-6C31-201A2EE58268}"/>
                </a:ext>
              </a:extLst>
            </p:cNvPr>
            <p:cNvSpPr/>
            <p:nvPr/>
          </p:nvSpPr>
          <p:spPr>
            <a:xfrm>
              <a:off x="-34398" y="7189838"/>
              <a:ext cx="435090" cy="435077"/>
            </a:xfrm>
            <a:custGeom>
              <a:avLst/>
              <a:gdLst>
                <a:gd name="connsiteX0" fmla="*/ 0 w 435090"/>
                <a:gd name="connsiteY0" fmla="*/ 435077 h 435077"/>
                <a:gd name="connsiteX1" fmla="*/ 217525 w 435090"/>
                <a:gd name="connsiteY1" fmla="*/ 435077 h 435077"/>
                <a:gd name="connsiteX2" fmla="*/ 217525 w 435090"/>
                <a:gd name="connsiteY2" fmla="*/ 217539 h 435077"/>
                <a:gd name="connsiteX3" fmla="*/ 0 w 435090"/>
                <a:gd name="connsiteY3" fmla="*/ 435077 h 435077"/>
                <a:gd name="connsiteX4" fmla="*/ 217525 w 435090"/>
                <a:gd name="connsiteY4" fmla="*/ 0 h 435077"/>
                <a:gd name="connsiteX5" fmla="*/ 3 w 435090"/>
                <a:gd name="connsiteY5" fmla="*/ 0 h 435077"/>
                <a:gd name="connsiteX6" fmla="*/ 217525 w 435090"/>
                <a:gd name="connsiteY6" fmla="*/ 217539 h 435077"/>
                <a:gd name="connsiteX7" fmla="*/ 217525 w 435090"/>
                <a:gd name="connsiteY7" fmla="*/ 0 h 435077"/>
                <a:gd name="connsiteX8" fmla="*/ 435091 w 435090"/>
                <a:gd name="connsiteY8" fmla="*/ 435077 h 435077"/>
                <a:gd name="connsiteX9" fmla="*/ 217552 w 435090"/>
                <a:gd name="connsiteY9" fmla="*/ 435077 h 435077"/>
                <a:gd name="connsiteX10" fmla="*/ 435091 w 435090"/>
                <a:gd name="connsiteY10" fmla="*/ 217539 h 435077"/>
                <a:gd name="connsiteX11" fmla="*/ 435091 w 435090"/>
                <a:gd name="connsiteY11" fmla="*/ 435077 h 435077"/>
                <a:gd name="connsiteX12" fmla="*/ 435091 w 435090"/>
                <a:gd name="connsiteY12" fmla="*/ 0 h 435077"/>
                <a:gd name="connsiteX13" fmla="*/ 217552 w 435090"/>
                <a:gd name="connsiteY13" fmla="*/ 0 h 435077"/>
                <a:gd name="connsiteX14" fmla="*/ 435091 w 435090"/>
                <a:gd name="connsiteY14" fmla="*/ 217539 h 435077"/>
                <a:gd name="connsiteX15" fmla="*/ 435091 w 435090"/>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90" h="435077">
                  <a:moveTo>
                    <a:pt x="0" y="435077"/>
                  </a:moveTo>
                  <a:lnTo>
                    <a:pt x="217525" y="435077"/>
                  </a:lnTo>
                  <a:lnTo>
                    <a:pt x="217525" y="217539"/>
                  </a:lnTo>
                  <a:lnTo>
                    <a:pt x="0" y="435077"/>
                  </a:lnTo>
                  <a:close/>
                  <a:moveTo>
                    <a:pt x="217525" y="0"/>
                  </a:moveTo>
                  <a:lnTo>
                    <a:pt x="3" y="0"/>
                  </a:lnTo>
                  <a:lnTo>
                    <a:pt x="217525" y="217539"/>
                  </a:lnTo>
                  <a:lnTo>
                    <a:pt x="217525" y="0"/>
                  </a:lnTo>
                  <a:close/>
                  <a:moveTo>
                    <a:pt x="435091" y="435077"/>
                  </a:moveTo>
                  <a:lnTo>
                    <a:pt x="217552" y="435077"/>
                  </a:lnTo>
                  <a:lnTo>
                    <a:pt x="435091" y="217539"/>
                  </a:lnTo>
                  <a:lnTo>
                    <a:pt x="435091" y="435077"/>
                  </a:lnTo>
                  <a:close/>
                  <a:moveTo>
                    <a:pt x="435091" y="0"/>
                  </a:moveTo>
                  <a:lnTo>
                    <a:pt x="217552" y="0"/>
                  </a:lnTo>
                  <a:lnTo>
                    <a:pt x="435091" y="217539"/>
                  </a:lnTo>
                  <a:lnTo>
                    <a:pt x="435091" y="0"/>
                  </a:lnTo>
                  <a:close/>
                </a:path>
              </a:pathLst>
            </a:custGeom>
            <a:grpFill/>
            <a:ln w="27192" cap="flat">
              <a:noFill/>
              <a:prstDash val="solid"/>
              <a:miter/>
            </a:ln>
          </p:spPr>
          <p:txBody>
            <a:bodyPr rtlCol="0" anchor="ctr"/>
            <a:lstStyle/>
            <a:p>
              <a:endParaRPr lang="uk-UA" sz="900"/>
            </a:p>
          </p:txBody>
        </p:sp>
        <p:sp>
          <p:nvSpPr>
            <p:cNvPr id="252" name="Freeform: Shape 251">
              <a:extLst>
                <a:ext uri="{FF2B5EF4-FFF2-40B4-BE49-F238E27FC236}">
                  <a16:creationId xmlns:a16="http://schemas.microsoft.com/office/drawing/2014/main" id="{AEF70BD9-C015-9222-4523-8E95B73D32C9}"/>
                </a:ext>
              </a:extLst>
            </p:cNvPr>
            <p:cNvSpPr/>
            <p:nvPr/>
          </p:nvSpPr>
          <p:spPr>
            <a:xfrm>
              <a:off x="1705924" y="7189838"/>
              <a:ext cx="435077" cy="435077"/>
            </a:xfrm>
            <a:custGeom>
              <a:avLst/>
              <a:gdLst>
                <a:gd name="connsiteX0" fmla="*/ 371366 w 435077"/>
                <a:gd name="connsiteY0" fmla="*/ 63711 h 435077"/>
                <a:gd name="connsiteX1" fmla="*/ 435077 w 435077"/>
                <a:gd name="connsiteY1" fmla="*/ 217539 h 435077"/>
                <a:gd name="connsiteX2" fmla="*/ 218952 w 435077"/>
                <a:gd name="connsiteY2" fmla="*/ 217539 h 435077"/>
                <a:gd name="connsiteX3" fmla="*/ 371366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1 w 435077"/>
                <a:gd name="connsiteY7" fmla="*/ 281250 h 435077"/>
                <a:gd name="connsiteX8" fmla="*/ 216152 w 435077"/>
                <a:gd name="connsiteY8" fmla="*/ 217539 h 435077"/>
                <a:gd name="connsiteX9" fmla="*/ 0 w 435077"/>
                <a:gd name="connsiteY9" fmla="*/ 217539 h 435077"/>
                <a:gd name="connsiteX10" fmla="*/ 63711 w 435077"/>
                <a:gd name="connsiteY10" fmla="*/ 63711 h 435077"/>
                <a:gd name="connsiteX11" fmla="*/ 217539 w 435077"/>
                <a:gd name="connsiteY11" fmla="*/ 0 h 435077"/>
                <a:gd name="connsiteX12" fmla="*/ 371366 w 435077"/>
                <a:gd name="connsiteY12" fmla="*/ 63711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1"/>
                  </a:moveTo>
                  <a:cubicBezTo>
                    <a:pt x="412154" y="104527"/>
                    <a:pt x="435077" y="159836"/>
                    <a:pt x="435077" y="217539"/>
                  </a:cubicBezTo>
                  <a:lnTo>
                    <a:pt x="218952" y="217539"/>
                  </a:lnTo>
                  <a:cubicBezTo>
                    <a:pt x="276138" y="217920"/>
                    <a:pt x="330903" y="240788"/>
                    <a:pt x="371366" y="281250"/>
                  </a:cubicBezTo>
                  <a:cubicBezTo>
                    <a:pt x="412154" y="322039"/>
                    <a:pt x="435077" y="377375"/>
                    <a:pt x="435077" y="435077"/>
                  </a:cubicBezTo>
                  <a:lnTo>
                    <a:pt x="217539" y="435077"/>
                  </a:lnTo>
                  <a:lnTo>
                    <a:pt x="0" y="435077"/>
                  </a:lnTo>
                  <a:cubicBezTo>
                    <a:pt x="0" y="377375"/>
                    <a:pt x="22923" y="322039"/>
                    <a:pt x="63711" y="281250"/>
                  </a:cubicBezTo>
                  <a:cubicBezTo>
                    <a:pt x="104201" y="240788"/>
                    <a:pt x="158966" y="217920"/>
                    <a:pt x="216152" y="217539"/>
                  </a:cubicBezTo>
                  <a:lnTo>
                    <a:pt x="0" y="217539"/>
                  </a:lnTo>
                  <a:cubicBezTo>
                    <a:pt x="0" y="159836"/>
                    <a:pt x="22923" y="104527"/>
                    <a:pt x="63711" y="63711"/>
                  </a:cubicBezTo>
                  <a:cubicBezTo>
                    <a:pt x="104527" y="22923"/>
                    <a:pt x="159836" y="0"/>
                    <a:pt x="217539" y="0"/>
                  </a:cubicBezTo>
                  <a:cubicBezTo>
                    <a:pt x="275241" y="0"/>
                    <a:pt x="330577" y="22923"/>
                    <a:pt x="371366" y="63711"/>
                  </a:cubicBezTo>
                  <a:close/>
                </a:path>
              </a:pathLst>
            </a:custGeom>
            <a:grpFill/>
            <a:ln w="27192" cap="flat">
              <a:noFill/>
              <a:prstDash val="solid"/>
              <a:miter/>
            </a:ln>
          </p:spPr>
          <p:txBody>
            <a:bodyPr rtlCol="0" anchor="ctr"/>
            <a:lstStyle/>
            <a:p>
              <a:endParaRPr lang="uk-UA" sz="900"/>
            </a:p>
          </p:txBody>
        </p:sp>
        <p:sp>
          <p:nvSpPr>
            <p:cNvPr id="253" name="Freeform: Shape 252">
              <a:extLst>
                <a:ext uri="{FF2B5EF4-FFF2-40B4-BE49-F238E27FC236}">
                  <a16:creationId xmlns:a16="http://schemas.microsoft.com/office/drawing/2014/main" id="{A710DBD4-0E05-679E-C7E6-26E705160D08}"/>
                </a:ext>
              </a:extLst>
            </p:cNvPr>
            <p:cNvSpPr/>
            <p:nvPr/>
          </p:nvSpPr>
          <p:spPr>
            <a:xfrm>
              <a:off x="2576106" y="718983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50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50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50" y="217539"/>
                  </a:lnTo>
                  <a:lnTo>
                    <a:pt x="435077" y="217539"/>
                  </a:lnTo>
                  <a:lnTo>
                    <a:pt x="435077" y="217539"/>
                  </a:lnTo>
                  <a:lnTo>
                    <a:pt x="435077" y="217539"/>
                  </a:lnTo>
                  <a:lnTo>
                    <a:pt x="435050"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254" name="Freeform: Shape 253">
              <a:extLst>
                <a:ext uri="{FF2B5EF4-FFF2-40B4-BE49-F238E27FC236}">
                  <a16:creationId xmlns:a16="http://schemas.microsoft.com/office/drawing/2014/main" id="{07D20F58-EAD1-6D8C-B58B-BB542160AE43}"/>
                </a:ext>
              </a:extLst>
            </p:cNvPr>
            <p:cNvSpPr/>
            <p:nvPr/>
          </p:nvSpPr>
          <p:spPr>
            <a:xfrm>
              <a:off x="4316416" y="7189838"/>
              <a:ext cx="435077" cy="435077"/>
            </a:xfrm>
            <a:custGeom>
              <a:avLst/>
              <a:gdLst>
                <a:gd name="connsiteX0" fmla="*/ 217565 w 435077"/>
                <a:gd name="connsiteY0" fmla="*/ 0 h 435077"/>
                <a:gd name="connsiteX1" fmla="*/ 217539 w 435077"/>
                <a:gd name="connsiteY1" fmla="*/ 0 h 435077"/>
                <a:gd name="connsiteX2" fmla="*/ 27 w 435077"/>
                <a:gd name="connsiteY2" fmla="*/ 0 h 435077"/>
                <a:gd name="connsiteX3" fmla="*/ 27 w 435077"/>
                <a:gd name="connsiteY3" fmla="*/ 217539 h 435077"/>
                <a:gd name="connsiteX4" fmla="*/ 217565 w 435077"/>
                <a:gd name="connsiteY4" fmla="*/ 0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65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65" y="0"/>
                  </a:moveTo>
                  <a:lnTo>
                    <a:pt x="217539" y="0"/>
                  </a:lnTo>
                  <a:lnTo>
                    <a:pt x="27" y="0"/>
                  </a:lnTo>
                  <a:lnTo>
                    <a:pt x="27" y="217539"/>
                  </a:lnTo>
                  <a:lnTo>
                    <a:pt x="217565" y="0"/>
                  </a:lnTo>
                  <a:lnTo>
                    <a:pt x="435077" y="217539"/>
                  </a:lnTo>
                  <a:lnTo>
                    <a:pt x="217539" y="435077"/>
                  </a:lnTo>
                  <a:lnTo>
                    <a:pt x="0" y="217539"/>
                  </a:lnTo>
                  <a:lnTo>
                    <a:pt x="0" y="435077"/>
                  </a:lnTo>
                  <a:lnTo>
                    <a:pt x="217539" y="435077"/>
                  </a:lnTo>
                  <a:lnTo>
                    <a:pt x="435077" y="435077"/>
                  </a:lnTo>
                  <a:lnTo>
                    <a:pt x="435077" y="217539"/>
                  </a:lnTo>
                  <a:lnTo>
                    <a:pt x="435077" y="0"/>
                  </a:lnTo>
                  <a:lnTo>
                    <a:pt x="217565" y="0"/>
                  </a:lnTo>
                  <a:close/>
                </a:path>
              </a:pathLst>
            </a:custGeom>
            <a:grpFill/>
            <a:ln w="27192" cap="flat">
              <a:noFill/>
              <a:prstDash val="solid"/>
              <a:miter/>
            </a:ln>
          </p:spPr>
          <p:txBody>
            <a:bodyPr rtlCol="0" anchor="ctr"/>
            <a:lstStyle/>
            <a:p>
              <a:endParaRPr lang="uk-UA" sz="900"/>
            </a:p>
          </p:txBody>
        </p:sp>
        <p:sp>
          <p:nvSpPr>
            <p:cNvPr id="255" name="Freeform: Shape 254">
              <a:extLst>
                <a:ext uri="{FF2B5EF4-FFF2-40B4-BE49-F238E27FC236}">
                  <a16:creationId xmlns:a16="http://schemas.microsoft.com/office/drawing/2014/main" id="{97C5CF4A-00A2-8EE0-C5E5-FCF4E01E34D4}"/>
                </a:ext>
              </a:extLst>
            </p:cNvPr>
            <p:cNvSpPr/>
            <p:nvPr/>
          </p:nvSpPr>
          <p:spPr>
            <a:xfrm>
              <a:off x="3446261" y="7189838"/>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66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66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66" y="435077"/>
                  </a:lnTo>
                  <a:lnTo>
                    <a:pt x="435077" y="217539"/>
                  </a:lnTo>
                  <a:lnTo>
                    <a:pt x="435077" y="435077"/>
                  </a:lnTo>
                  <a:close/>
                  <a:moveTo>
                    <a:pt x="435077" y="0"/>
                  </a:moveTo>
                  <a:lnTo>
                    <a:pt x="217566"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256" name="Freeform: Shape 255">
              <a:extLst>
                <a:ext uri="{FF2B5EF4-FFF2-40B4-BE49-F238E27FC236}">
                  <a16:creationId xmlns:a16="http://schemas.microsoft.com/office/drawing/2014/main" id="{636BD380-AD81-F3C0-E12D-2DA43A385483}"/>
                </a:ext>
              </a:extLst>
            </p:cNvPr>
            <p:cNvSpPr/>
            <p:nvPr/>
          </p:nvSpPr>
          <p:spPr>
            <a:xfrm>
              <a:off x="5186597" y="7189838"/>
              <a:ext cx="435077" cy="435077"/>
            </a:xfrm>
            <a:custGeom>
              <a:avLst/>
              <a:gdLst>
                <a:gd name="connsiteX0" fmla="*/ 371366 w 435077"/>
                <a:gd name="connsiteY0" fmla="*/ 63711 h 435077"/>
                <a:gd name="connsiteX1" fmla="*/ 435077 w 435077"/>
                <a:gd name="connsiteY1" fmla="*/ 217539 h 435077"/>
                <a:gd name="connsiteX2" fmla="*/ 218953 w 435077"/>
                <a:gd name="connsiteY2" fmla="*/ 217539 h 435077"/>
                <a:gd name="connsiteX3" fmla="*/ 371366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25 w 435077"/>
                <a:gd name="connsiteY8" fmla="*/ 217539 h 435077"/>
                <a:gd name="connsiteX9" fmla="*/ 0 w 435077"/>
                <a:gd name="connsiteY9" fmla="*/ 217539 h 435077"/>
                <a:gd name="connsiteX10" fmla="*/ 63712 w 435077"/>
                <a:gd name="connsiteY10" fmla="*/ 63711 h 435077"/>
                <a:gd name="connsiteX11" fmla="*/ 217539 w 435077"/>
                <a:gd name="connsiteY11" fmla="*/ 0 h 435077"/>
                <a:gd name="connsiteX12" fmla="*/ 371366 w 435077"/>
                <a:gd name="connsiteY12" fmla="*/ 63711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11"/>
                  </a:moveTo>
                  <a:cubicBezTo>
                    <a:pt x="412155" y="104527"/>
                    <a:pt x="435077" y="159836"/>
                    <a:pt x="435077" y="217539"/>
                  </a:cubicBezTo>
                  <a:lnTo>
                    <a:pt x="218953" y="217539"/>
                  </a:lnTo>
                  <a:cubicBezTo>
                    <a:pt x="276138" y="217920"/>
                    <a:pt x="330904" y="240788"/>
                    <a:pt x="371366" y="281250"/>
                  </a:cubicBezTo>
                  <a:cubicBezTo>
                    <a:pt x="412155" y="322039"/>
                    <a:pt x="435077" y="377375"/>
                    <a:pt x="435077" y="435077"/>
                  </a:cubicBezTo>
                  <a:lnTo>
                    <a:pt x="217539" y="435077"/>
                  </a:lnTo>
                  <a:lnTo>
                    <a:pt x="0" y="435077"/>
                  </a:lnTo>
                  <a:cubicBezTo>
                    <a:pt x="0" y="377375"/>
                    <a:pt x="22924" y="322039"/>
                    <a:pt x="63712" y="281250"/>
                  </a:cubicBezTo>
                  <a:cubicBezTo>
                    <a:pt x="104175" y="240788"/>
                    <a:pt x="158939" y="217920"/>
                    <a:pt x="216125" y="217539"/>
                  </a:cubicBezTo>
                  <a:lnTo>
                    <a:pt x="0" y="217539"/>
                  </a:lnTo>
                  <a:cubicBezTo>
                    <a:pt x="0" y="159836"/>
                    <a:pt x="22924" y="104527"/>
                    <a:pt x="63712" y="63711"/>
                  </a:cubicBezTo>
                  <a:cubicBezTo>
                    <a:pt x="104501" y="22923"/>
                    <a:pt x="159837" y="0"/>
                    <a:pt x="217539" y="0"/>
                  </a:cubicBezTo>
                  <a:cubicBezTo>
                    <a:pt x="275241" y="0"/>
                    <a:pt x="330550" y="22923"/>
                    <a:pt x="371366" y="63711"/>
                  </a:cubicBezTo>
                  <a:close/>
                </a:path>
              </a:pathLst>
            </a:custGeom>
            <a:grpFill/>
            <a:ln w="27192" cap="flat">
              <a:noFill/>
              <a:prstDash val="solid"/>
              <a:miter/>
            </a:ln>
          </p:spPr>
          <p:txBody>
            <a:bodyPr rtlCol="0" anchor="ctr"/>
            <a:lstStyle/>
            <a:p>
              <a:endParaRPr lang="uk-UA" sz="900"/>
            </a:p>
          </p:txBody>
        </p:sp>
        <p:sp>
          <p:nvSpPr>
            <p:cNvPr id="257" name="Freeform: Shape 256">
              <a:extLst>
                <a:ext uri="{FF2B5EF4-FFF2-40B4-BE49-F238E27FC236}">
                  <a16:creationId xmlns:a16="http://schemas.microsoft.com/office/drawing/2014/main" id="{84EC22D9-8A02-6E4A-0AA3-EE7985742084}"/>
                </a:ext>
              </a:extLst>
            </p:cNvPr>
            <p:cNvSpPr/>
            <p:nvPr/>
          </p:nvSpPr>
          <p:spPr>
            <a:xfrm>
              <a:off x="6056752" y="7189838"/>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0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39 h 435077"/>
                <a:gd name="connsiteX9" fmla="*/ 435077 w 435077"/>
                <a:gd name="connsiteY9" fmla="*/ 217539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0"/>
                  </a:lnTo>
                  <a:lnTo>
                    <a:pt x="435077" y="217539"/>
                  </a:lnTo>
                  <a:lnTo>
                    <a:pt x="435077" y="217539"/>
                  </a:lnTo>
                  <a:lnTo>
                    <a:pt x="435077" y="217539"/>
                  </a:lnTo>
                  <a:lnTo>
                    <a:pt x="435077" y="217539"/>
                  </a:lnTo>
                  <a:lnTo>
                    <a:pt x="435077" y="217539"/>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258" name="Freeform: Shape 257">
              <a:extLst>
                <a:ext uri="{FF2B5EF4-FFF2-40B4-BE49-F238E27FC236}">
                  <a16:creationId xmlns:a16="http://schemas.microsoft.com/office/drawing/2014/main" id="{5B41A7FD-2708-7883-D339-3F2C6992A092}"/>
                </a:ext>
              </a:extLst>
            </p:cNvPr>
            <p:cNvSpPr/>
            <p:nvPr/>
          </p:nvSpPr>
          <p:spPr>
            <a:xfrm>
              <a:off x="7797062" y="718983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p>
          </p:txBody>
        </p:sp>
        <p:sp>
          <p:nvSpPr>
            <p:cNvPr id="259" name="Freeform: Shape 258">
              <a:extLst>
                <a:ext uri="{FF2B5EF4-FFF2-40B4-BE49-F238E27FC236}">
                  <a16:creationId xmlns:a16="http://schemas.microsoft.com/office/drawing/2014/main" id="{518FDCAC-BF10-DC50-FDAD-026DEA910C77}"/>
                </a:ext>
              </a:extLst>
            </p:cNvPr>
            <p:cNvSpPr/>
            <p:nvPr/>
          </p:nvSpPr>
          <p:spPr>
            <a:xfrm>
              <a:off x="6926907" y="7189838"/>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260" name="Freeform: Shape 259">
              <a:extLst>
                <a:ext uri="{FF2B5EF4-FFF2-40B4-BE49-F238E27FC236}">
                  <a16:creationId xmlns:a16="http://schemas.microsoft.com/office/drawing/2014/main" id="{443012D7-2DF6-94F0-88F5-5F571496BE86}"/>
                </a:ext>
              </a:extLst>
            </p:cNvPr>
            <p:cNvSpPr/>
            <p:nvPr/>
          </p:nvSpPr>
          <p:spPr>
            <a:xfrm>
              <a:off x="8667217" y="7189838"/>
              <a:ext cx="435104" cy="435077"/>
            </a:xfrm>
            <a:custGeom>
              <a:avLst/>
              <a:gdLst>
                <a:gd name="connsiteX0" fmla="*/ 371366 w 435104"/>
                <a:gd name="connsiteY0" fmla="*/ 63711 h 435077"/>
                <a:gd name="connsiteX1" fmla="*/ 435077 w 435104"/>
                <a:gd name="connsiteY1" fmla="*/ 217539 h 435077"/>
                <a:gd name="connsiteX2" fmla="*/ 218953 w 435104"/>
                <a:gd name="connsiteY2" fmla="*/ 217539 h 435077"/>
                <a:gd name="connsiteX3" fmla="*/ 371366 w 435104"/>
                <a:gd name="connsiteY3" fmla="*/ 281250 h 435077"/>
                <a:gd name="connsiteX4" fmla="*/ 435105 w 435104"/>
                <a:gd name="connsiteY4" fmla="*/ 435077 h 435077"/>
                <a:gd name="connsiteX5" fmla="*/ 217566 w 435104"/>
                <a:gd name="connsiteY5" fmla="*/ 435077 h 435077"/>
                <a:gd name="connsiteX6" fmla="*/ 27 w 435104"/>
                <a:gd name="connsiteY6" fmla="*/ 435077 h 435077"/>
                <a:gd name="connsiteX7" fmla="*/ 63739 w 435104"/>
                <a:gd name="connsiteY7" fmla="*/ 281250 h 435077"/>
                <a:gd name="connsiteX8" fmla="*/ 216152 w 435104"/>
                <a:gd name="connsiteY8" fmla="*/ 217539 h 435077"/>
                <a:gd name="connsiteX9" fmla="*/ 0 w 435104"/>
                <a:gd name="connsiteY9" fmla="*/ 217539 h 435077"/>
                <a:gd name="connsiteX10" fmla="*/ 63739 w 435104"/>
                <a:gd name="connsiteY10" fmla="*/ 63711 h 435077"/>
                <a:gd name="connsiteX11" fmla="*/ 217539 w 435104"/>
                <a:gd name="connsiteY11" fmla="*/ 0 h 435077"/>
                <a:gd name="connsiteX12" fmla="*/ 371366 w 435104"/>
                <a:gd name="connsiteY12" fmla="*/ 63711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4" h="435077">
                  <a:moveTo>
                    <a:pt x="371366" y="63711"/>
                  </a:moveTo>
                  <a:cubicBezTo>
                    <a:pt x="412182" y="104527"/>
                    <a:pt x="435077" y="159836"/>
                    <a:pt x="435077" y="217539"/>
                  </a:cubicBezTo>
                  <a:lnTo>
                    <a:pt x="218953" y="217539"/>
                  </a:lnTo>
                  <a:cubicBezTo>
                    <a:pt x="276138" y="217920"/>
                    <a:pt x="330904" y="240788"/>
                    <a:pt x="371366" y="281250"/>
                  </a:cubicBezTo>
                  <a:cubicBezTo>
                    <a:pt x="412182" y="322039"/>
                    <a:pt x="435105" y="377375"/>
                    <a:pt x="435105" y="435077"/>
                  </a:cubicBezTo>
                  <a:lnTo>
                    <a:pt x="217566" y="435077"/>
                  </a:lnTo>
                  <a:lnTo>
                    <a:pt x="27" y="435077"/>
                  </a:lnTo>
                  <a:cubicBezTo>
                    <a:pt x="27" y="377375"/>
                    <a:pt x="22924" y="322039"/>
                    <a:pt x="63739" y="281250"/>
                  </a:cubicBezTo>
                  <a:cubicBezTo>
                    <a:pt x="104201" y="240788"/>
                    <a:pt x="158967" y="217920"/>
                    <a:pt x="216152" y="217539"/>
                  </a:cubicBezTo>
                  <a:lnTo>
                    <a:pt x="0" y="217539"/>
                  </a:lnTo>
                  <a:cubicBezTo>
                    <a:pt x="0" y="159836"/>
                    <a:pt x="22924" y="104527"/>
                    <a:pt x="63739" y="63711"/>
                  </a:cubicBezTo>
                  <a:cubicBezTo>
                    <a:pt x="104527" y="22923"/>
                    <a:pt x="159864" y="0"/>
                    <a:pt x="217539" y="0"/>
                  </a:cubicBezTo>
                  <a:cubicBezTo>
                    <a:pt x="275241" y="0"/>
                    <a:pt x="330578" y="22923"/>
                    <a:pt x="371366" y="63711"/>
                  </a:cubicBezTo>
                  <a:close/>
                </a:path>
              </a:pathLst>
            </a:custGeom>
            <a:grpFill/>
            <a:ln w="27192" cap="flat">
              <a:noFill/>
              <a:prstDash val="solid"/>
              <a:miter/>
            </a:ln>
          </p:spPr>
          <p:txBody>
            <a:bodyPr rtlCol="0" anchor="ctr"/>
            <a:lstStyle/>
            <a:p>
              <a:endParaRPr lang="uk-UA" sz="900"/>
            </a:p>
          </p:txBody>
        </p:sp>
        <p:sp>
          <p:nvSpPr>
            <p:cNvPr id="261" name="Freeform: Shape 260">
              <a:extLst>
                <a:ext uri="{FF2B5EF4-FFF2-40B4-BE49-F238E27FC236}">
                  <a16:creationId xmlns:a16="http://schemas.microsoft.com/office/drawing/2014/main" id="{90F64222-877F-2A15-C1EA-7FD3F5E4D3CE}"/>
                </a:ext>
              </a:extLst>
            </p:cNvPr>
            <p:cNvSpPr/>
            <p:nvPr/>
          </p:nvSpPr>
          <p:spPr>
            <a:xfrm>
              <a:off x="9537399" y="7189838"/>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0 h 435077"/>
                <a:gd name="connsiteX5" fmla="*/ 435050 w 435077"/>
                <a:gd name="connsiteY5" fmla="*/ 217539 h 435077"/>
                <a:gd name="connsiteX6" fmla="*/ 435077 w 435077"/>
                <a:gd name="connsiteY6" fmla="*/ 217539 h 435077"/>
                <a:gd name="connsiteX7" fmla="*/ 435050 w 435077"/>
                <a:gd name="connsiteY7" fmla="*/ 217539 h 435077"/>
                <a:gd name="connsiteX8" fmla="*/ 435077 w 435077"/>
                <a:gd name="connsiteY8" fmla="*/ 217539 h 435077"/>
                <a:gd name="connsiteX9" fmla="*/ 435050 w 435077"/>
                <a:gd name="connsiteY9" fmla="*/ 217539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0"/>
                  </a:lnTo>
                  <a:lnTo>
                    <a:pt x="435050" y="217539"/>
                  </a:lnTo>
                  <a:lnTo>
                    <a:pt x="435077" y="217539"/>
                  </a:lnTo>
                  <a:lnTo>
                    <a:pt x="435050" y="217539"/>
                  </a:lnTo>
                  <a:lnTo>
                    <a:pt x="435077" y="217539"/>
                  </a:lnTo>
                  <a:lnTo>
                    <a:pt x="435050" y="217539"/>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262" name="Freeform: Shape 261">
              <a:extLst>
                <a:ext uri="{FF2B5EF4-FFF2-40B4-BE49-F238E27FC236}">
                  <a16:creationId xmlns:a16="http://schemas.microsoft.com/office/drawing/2014/main" id="{1A997FF3-4945-6D69-9272-501714348368}"/>
                </a:ext>
              </a:extLst>
            </p:cNvPr>
            <p:cNvSpPr/>
            <p:nvPr/>
          </p:nvSpPr>
          <p:spPr>
            <a:xfrm>
              <a:off x="11277709" y="718983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263" name="Freeform: Shape 262">
              <a:extLst>
                <a:ext uri="{FF2B5EF4-FFF2-40B4-BE49-F238E27FC236}">
                  <a16:creationId xmlns:a16="http://schemas.microsoft.com/office/drawing/2014/main" id="{9DE4D399-EF05-79C3-E940-367C185AC80C}"/>
                </a:ext>
              </a:extLst>
            </p:cNvPr>
            <p:cNvSpPr/>
            <p:nvPr/>
          </p:nvSpPr>
          <p:spPr>
            <a:xfrm>
              <a:off x="10407554" y="7189838"/>
              <a:ext cx="435077" cy="435077"/>
            </a:xfrm>
            <a:custGeom>
              <a:avLst/>
              <a:gdLst>
                <a:gd name="connsiteX0" fmla="*/ 0 w 435077"/>
                <a:gd name="connsiteY0" fmla="*/ 435077 h 435077"/>
                <a:gd name="connsiteX1" fmla="*/ 217511 w 435077"/>
                <a:gd name="connsiteY1" fmla="*/ 435077 h 435077"/>
                <a:gd name="connsiteX2" fmla="*/ 217511 w 435077"/>
                <a:gd name="connsiteY2" fmla="*/ 217539 h 435077"/>
                <a:gd name="connsiteX3" fmla="*/ 0 w 435077"/>
                <a:gd name="connsiteY3" fmla="*/ 435077 h 435077"/>
                <a:gd name="connsiteX4" fmla="*/ 217511 w 435077"/>
                <a:gd name="connsiteY4" fmla="*/ 0 h 435077"/>
                <a:gd name="connsiteX5" fmla="*/ 0 w 435077"/>
                <a:gd name="connsiteY5" fmla="*/ 0 h 435077"/>
                <a:gd name="connsiteX6" fmla="*/ 217511 w 435077"/>
                <a:gd name="connsiteY6" fmla="*/ 217539 h 435077"/>
                <a:gd name="connsiteX7" fmla="*/ 217511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11" y="435077"/>
                  </a:lnTo>
                  <a:lnTo>
                    <a:pt x="217511" y="217539"/>
                  </a:lnTo>
                  <a:lnTo>
                    <a:pt x="0" y="435077"/>
                  </a:lnTo>
                  <a:close/>
                  <a:moveTo>
                    <a:pt x="217511" y="0"/>
                  </a:moveTo>
                  <a:lnTo>
                    <a:pt x="0" y="0"/>
                  </a:lnTo>
                  <a:lnTo>
                    <a:pt x="217511" y="217539"/>
                  </a:lnTo>
                  <a:lnTo>
                    <a:pt x="217511"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264" name="Freeform: Shape 263">
              <a:extLst>
                <a:ext uri="{FF2B5EF4-FFF2-40B4-BE49-F238E27FC236}">
                  <a16:creationId xmlns:a16="http://schemas.microsoft.com/office/drawing/2014/main" id="{45D93056-E643-C589-5408-AABA9285222C}"/>
                </a:ext>
              </a:extLst>
            </p:cNvPr>
            <p:cNvSpPr/>
            <p:nvPr/>
          </p:nvSpPr>
          <p:spPr>
            <a:xfrm>
              <a:off x="12147864" y="7189838"/>
              <a:ext cx="435103" cy="435077"/>
            </a:xfrm>
            <a:custGeom>
              <a:avLst/>
              <a:gdLst>
                <a:gd name="connsiteX0" fmla="*/ 371365 w 435103"/>
                <a:gd name="connsiteY0" fmla="*/ 63711 h 435077"/>
                <a:gd name="connsiteX1" fmla="*/ 435077 w 435103"/>
                <a:gd name="connsiteY1" fmla="*/ 217539 h 435077"/>
                <a:gd name="connsiteX2" fmla="*/ 218953 w 435103"/>
                <a:gd name="connsiteY2" fmla="*/ 217539 h 435077"/>
                <a:gd name="connsiteX3" fmla="*/ 371365 w 435103"/>
                <a:gd name="connsiteY3" fmla="*/ 281250 h 435077"/>
                <a:gd name="connsiteX4" fmla="*/ 435104 w 435103"/>
                <a:gd name="connsiteY4" fmla="*/ 435077 h 435077"/>
                <a:gd name="connsiteX5" fmla="*/ 217565 w 435103"/>
                <a:gd name="connsiteY5" fmla="*/ 435077 h 435077"/>
                <a:gd name="connsiteX6" fmla="*/ 27 w 435103"/>
                <a:gd name="connsiteY6" fmla="*/ 435077 h 435077"/>
                <a:gd name="connsiteX7" fmla="*/ 63739 w 435103"/>
                <a:gd name="connsiteY7" fmla="*/ 281250 h 435077"/>
                <a:gd name="connsiteX8" fmla="*/ 216151 w 435103"/>
                <a:gd name="connsiteY8" fmla="*/ 217539 h 435077"/>
                <a:gd name="connsiteX9" fmla="*/ 0 w 435103"/>
                <a:gd name="connsiteY9" fmla="*/ 217539 h 435077"/>
                <a:gd name="connsiteX10" fmla="*/ 63739 w 435103"/>
                <a:gd name="connsiteY10" fmla="*/ 63711 h 435077"/>
                <a:gd name="connsiteX11" fmla="*/ 217539 w 435103"/>
                <a:gd name="connsiteY11" fmla="*/ 0 h 435077"/>
                <a:gd name="connsiteX12" fmla="*/ 371365 w 435103"/>
                <a:gd name="connsiteY12" fmla="*/ 63711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3" h="435077">
                  <a:moveTo>
                    <a:pt x="371365" y="63711"/>
                  </a:moveTo>
                  <a:cubicBezTo>
                    <a:pt x="412180" y="104527"/>
                    <a:pt x="435077" y="159836"/>
                    <a:pt x="435077" y="217539"/>
                  </a:cubicBezTo>
                  <a:lnTo>
                    <a:pt x="218953" y="217539"/>
                  </a:lnTo>
                  <a:cubicBezTo>
                    <a:pt x="276137" y="217920"/>
                    <a:pt x="330902" y="240788"/>
                    <a:pt x="371365" y="281250"/>
                  </a:cubicBezTo>
                  <a:cubicBezTo>
                    <a:pt x="412180" y="322039"/>
                    <a:pt x="435104" y="377375"/>
                    <a:pt x="435104" y="435077"/>
                  </a:cubicBezTo>
                  <a:lnTo>
                    <a:pt x="217565" y="435077"/>
                  </a:lnTo>
                  <a:lnTo>
                    <a:pt x="27" y="435077"/>
                  </a:lnTo>
                  <a:cubicBezTo>
                    <a:pt x="27" y="377375"/>
                    <a:pt x="22922" y="322039"/>
                    <a:pt x="63739" y="281250"/>
                  </a:cubicBezTo>
                  <a:cubicBezTo>
                    <a:pt x="104200" y="240788"/>
                    <a:pt x="158965" y="217920"/>
                    <a:pt x="216151" y="217539"/>
                  </a:cubicBezTo>
                  <a:lnTo>
                    <a:pt x="0" y="217539"/>
                  </a:lnTo>
                  <a:cubicBezTo>
                    <a:pt x="0" y="159836"/>
                    <a:pt x="22922" y="104527"/>
                    <a:pt x="63739" y="63711"/>
                  </a:cubicBezTo>
                  <a:cubicBezTo>
                    <a:pt x="104527" y="22923"/>
                    <a:pt x="159863" y="0"/>
                    <a:pt x="217539" y="0"/>
                  </a:cubicBezTo>
                  <a:cubicBezTo>
                    <a:pt x="275239" y="0"/>
                    <a:pt x="330577" y="22923"/>
                    <a:pt x="371365" y="63711"/>
                  </a:cubicBezTo>
                  <a:close/>
                </a:path>
              </a:pathLst>
            </a:custGeom>
            <a:grpFill/>
            <a:ln w="27192" cap="flat">
              <a:noFill/>
              <a:prstDash val="solid"/>
              <a:miter/>
            </a:ln>
          </p:spPr>
          <p:txBody>
            <a:bodyPr rtlCol="0" anchor="ctr"/>
            <a:lstStyle/>
            <a:p>
              <a:endParaRPr lang="uk-UA" sz="900"/>
            </a:p>
          </p:txBody>
        </p:sp>
        <p:sp>
          <p:nvSpPr>
            <p:cNvPr id="265" name="Freeform: Shape 264">
              <a:extLst>
                <a:ext uri="{FF2B5EF4-FFF2-40B4-BE49-F238E27FC236}">
                  <a16:creationId xmlns:a16="http://schemas.microsoft.com/office/drawing/2014/main" id="{F690E784-5043-D6B5-059E-9B0557F5704E}"/>
                </a:ext>
              </a:extLst>
            </p:cNvPr>
            <p:cNvSpPr/>
            <p:nvPr/>
          </p:nvSpPr>
          <p:spPr>
            <a:xfrm>
              <a:off x="13017991" y="7189811"/>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266" name="Freeform: Shape 265">
              <a:extLst>
                <a:ext uri="{FF2B5EF4-FFF2-40B4-BE49-F238E27FC236}">
                  <a16:creationId xmlns:a16="http://schemas.microsoft.com/office/drawing/2014/main" id="{1DEFE098-B22B-A4DE-770F-7E14AC90EA17}"/>
                </a:ext>
              </a:extLst>
            </p:cNvPr>
            <p:cNvSpPr/>
            <p:nvPr/>
          </p:nvSpPr>
          <p:spPr>
            <a:xfrm>
              <a:off x="14758382" y="7189838"/>
              <a:ext cx="435077" cy="435077"/>
            </a:xfrm>
            <a:custGeom>
              <a:avLst/>
              <a:gdLst>
                <a:gd name="connsiteX0" fmla="*/ 217539 w 435077"/>
                <a:gd name="connsiteY0" fmla="*/ 0 h 435077"/>
                <a:gd name="connsiteX1" fmla="*/ 217539 w 435077"/>
                <a:gd name="connsiteY1" fmla="*/ 0 h 435077"/>
                <a:gd name="connsiteX2" fmla="*/ 0 w 435077"/>
                <a:gd name="connsiteY2" fmla="*/ 0 h 435077"/>
                <a:gd name="connsiteX3" fmla="*/ 0 w 435077"/>
                <a:gd name="connsiteY3" fmla="*/ 217539 h 435077"/>
                <a:gd name="connsiteX4" fmla="*/ 217539 w 435077"/>
                <a:gd name="connsiteY4" fmla="*/ 0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217539" y="0"/>
                  </a:lnTo>
                  <a:lnTo>
                    <a:pt x="0" y="0"/>
                  </a:lnTo>
                  <a:lnTo>
                    <a:pt x="0" y="217539"/>
                  </a:lnTo>
                  <a:lnTo>
                    <a:pt x="217539" y="0"/>
                  </a:lnTo>
                  <a:lnTo>
                    <a:pt x="435077" y="217539"/>
                  </a:lnTo>
                  <a:lnTo>
                    <a:pt x="217539" y="435077"/>
                  </a:lnTo>
                  <a:lnTo>
                    <a:pt x="0" y="217539"/>
                  </a:lnTo>
                  <a:lnTo>
                    <a:pt x="0" y="435077"/>
                  </a:lnTo>
                  <a:lnTo>
                    <a:pt x="217539" y="435077"/>
                  </a:lnTo>
                  <a:lnTo>
                    <a:pt x="435077" y="435077"/>
                  </a:lnTo>
                  <a:lnTo>
                    <a:pt x="435077" y="217539"/>
                  </a:lnTo>
                  <a:lnTo>
                    <a:pt x="435077" y="0"/>
                  </a:lnTo>
                  <a:lnTo>
                    <a:pt x="217539" y="0"/>
                  </a:lnTo>
                  <a:close/>
                </a:path>
              </a:pathLst>
            </a:custGeom>
            <a:grpFill/>
            <a:ln w="27192" cap="flat">
              <a:noFill/>
              <a:prstDash val="solid"/>
              <a:miter/>
            </a:ln>
          </p:spPr>
          <p:txBody>
            <a:bodyPr rtlCol="0" anchor="ctr"/>
            <a:lstStyle/>
            <a:p>
              <a:endParaRPr lang="uk-UA" sz="900"/>
            </a:p>
          </p:txBody>
        </p:sp>
        <p:sp>
          <p:nvSpPr>
            <p:cNvPr id="267" name="Freeform: Shape 266">
              <a:extLst>
                <a:ext uri="{FF2B5EF4-FFF2-40B4-BE49-F238E27FC236}">
                  <a16:creationId xmlns:a16="http://schemas.microsoft.com/office/drawing/2014/main" id="{B96CD69A-CA3C-D988-F89F-6BCA098332AF}"/>
                </a:ext>
              </a:extLst>
            </p:cNvPr>
            <p:cNvSpPr/>
            <p:nvPr/>
          </p:nvSpPr>
          <p:spPr>
            <a:xfrm>
              <a:off x="13888200" y="7189838"/>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65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65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65" y="435077"/>
                  </a:lnTo>
                  <a:lnTo>
                    <a:pt x="435077" y="217539"/>
                  </a:lnTo>
                  <a:lnTo>
                    <a:pt x="435077" y="435077"/>
                  </a:lnTo>
                  <a:close/>
                  <a:moveTo>
                    <a:pt x="435077" y="0"/>
                  </a:moveTo>
                  <a:lnTo>
                    <a:pt x="217565"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268" name="Freeform: Shape 267">
              <a:extLst>
                <a:ext uri="{FF2B5EF4-FFF2-40B4-BE49-F238E27FC236}">
                  <a16:creationId xmlns:a16="http://schemas.microsoft.com/office/drawing/2014/main" id="{8DB80E08-DD07-DCFB-DD2F-E0F36A9D4A38}"/>
                </a:ext>
              </a:extLst>
            </p:cNvPr>
            <p:cNvSpPr/>
            <p:nvPr/>
          </p:nvSpPr>
          <p:spPr>
            <a:xfrm>
              <a:off x="15628536" y="7189838"/>
              <a:ext cx="435077" cy="435077"/>
            </a:xfrm>
            <a:custGeom>
              <a:avLst/>
              <a:gdLst>
                <a:gd name="connsiteX0" fmla="*/ 371367 w 435077"/>
                <a:gd name="connsiteY0" fmla="*/ 63711 h 435077"/>
                <a:gd name="connsiteX1" fmla="*/ 435077 w 435077"/>
                <a:gd name="connsiteY1" fmla="*/ 217539 h 435077"/>
                <a:gd name="connsiteX2" fmla="*/ 218953 w 435077"/>
                <a:gd name="connsiteY2" fmla="*/ 217539 h 435077"/>
                <a:gd name="connsiteX3" fmla="*/ 371367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39 w 435077"/>
                <a:gd name="connsiteY7" fmla="*/ 281250 h 435077"/>
                <a:gd name="connsiteX8" fmla="*/ 216153 w 435077"/>
                <a:gd name="connsiteY8" fmla="*/ 217539 h 435077"/>
                <a:gd name="connsiteX9" fmla="*/ 0 w 435077"/>
                <a:gd name="connsiteY9" fmla="*/ 217539 h 435077"/>
                <a:gd name="connsiteX10" fmla="*/ 63712 w 435077"/>
                <a:gd name="connsiteY10" fmla="*/ 63711 h 435077"/>
                <a:gd name="connsiteX11" fmla="*/ 217539 w 435077"/>
                <a:gd name="connsiteY11" fmla="*/ 0 h 435077"/>
                <a:gd name="connsiteX12" fmla="*/ 371367 w 435077"/>
                <a:gd name="connsiteY12" fmla="*/ 63711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7" y="63711"/>
                  </a:moveTo>
                  <a:cubicBezTo>
                    <a:pt x="412155" y="104527"/>
                    <a:pt x="435077" y="159836"/>
                    <a:pt x="435077" y="217539"/>
                  </a:cubicBezTo>
                  <a:lnTo>
                    <a:pt x="218953" y="217539"/>
                  </a:lnTo>
                  <a:cubicBezTo>
                    <a:pt x="276139" y="217920"/>
                    <a:pt x="330904" y="240788"/>
                    <a:pt x="371367" y="281250"/>
                  </a:cubicBezTo>
                  <a:cubicBezTo>
                    <a:pt x="412182" y="322039"/>
                    <a:pt x="435077" y="377375"/>
                    <a:pt x="435077" y="435077"/>
                  </a:cubicBezTo>
                  <a:lnTo>
                    <a:pt x="217539" y="435077"/>
                  </a:lnTo>
                  <a:lnTo>
                    <a:pt x="0" y="435077"/>
                  </a:lnTo>
                  <a:cubicBezTo>
                    <a:pt x="0" y="377375"/>
                    <a:pt x="22924" y="322039"/>
                    <a:pt x="63739" y="281250"/>
                  </a:cubicBezTo>
                  <a:cubicBezTo>
                    <a:pt x="104202" y="240788"/>
                    <a:pt x="158967" y="217920"/>
                    <a:pt x="216153" y="217539"/>
                  </a:cubicBezTo>
                  <a:lnTo>
                    <a:pt x="0" y="217539"/>
                  </a:lnTo>
                  <a:cubicBezTo>
                    <a:pt x="0" y="159836"/>
                    <a:pt x="22924" y="104527"/>
                    <a:pt x="63712" y="63711"/>
                  </a:cubicBezTo>
                  <a:cubicBezTo>
                    <a:pt x="104527" y="22923"/>
                    <a:pt x="159865" y="0"/>
                    <a:pt x="217539" y="0"/>
                  </a:cubicBezTo>
                  <a:cubicBezTo>
                    <a:pt x="275241" y="0"/>
                    <a:pt x="330578" y="22923"/>
                    <a:pt x="371367" y="63711"/>
                  </a:cubicBezTo>
                  <a:close/>
                </a:path>
              </a:pathLst>
            </a:custGeom>
            <a:grpFill/>
            <a:ln w="27192" cap="flat">
              <a:noFill/>
              <a:prstDash val="solid"/>
              <a:miter/>
            </a:ln>
          </p:spPr>
          <p:txBody>
            <a:bodyPr rtlCol="0" anchor="ctr"/>
            <a:lstStyle/>
            <a:p>
              <a:endParaRPr lang="uk-UA" sz="900"/>
            </a:p>
          </p:txBody>
        </p:sp>
        <p:sp>
          <p:nvSpPr>
            <p:cNvPr id="269" name="Freeform: Shape 268">
              <a:extLst>
                <a:ext uri="{FF2B5EF4-FFF2-40B4-BE49-F238E27FC236}">
                  <a16:creationId xmlns:a16="http://schemas.microsoft.com/office/drawing/2014/main" id="{29DA634B-7084-C012-7823-99380468653D}"/>
                </a:ext>
              </a:extLst>
            </p:cNvPr>
            <p:cNvSpPr/>
            <p:nvPr/>
          </p:nvSpPr>
          <p:spPr>
            <a:xfrm>
              <a:off x="16498719" y="718983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49 w 435077"/>
                <a:gd name="connsiteY7" fmla="*/ 217539 h 435077"/>
                <a:gd name="connsiteX8" fmla="*/ 435077 w 435077"/>
                <a:gd name="connsiteY8" fmla="*/ 217539 h 435077"/>
                <a:gd name="connsiteX9" fmla="*/ 435049 w 435077"/>
                <a:gd name="connsiteY9" fmla="*/ 217539 h 435077"/>
                <a:gd name="connsiteX10" fmla="*/ 435077 w 435077"/>
                <a:gd name="connsiteY10" fmla="*/ 217539 h 435077"/>
                <a:gd name="connsiteX11" fmla="*/ 435049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49" y="217539"/>
                  </a:lnTo>
                  <a:lnTo>
                    <a:pt x="435077" y="217539"/>
                  </a:lnTo>
                  <a:lnTo>
                    <a:pt x="435049" y="217539"/>
                  </a:lnTo>
                  <a:lnTo>
                    <a:pt x="435077" y="217539"/>
                  </a:lnTo>
                  <a:lnTo>
                    <a:pt x="435049"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270" name="Freeform: Shape 269">
              <a:extLst>
                <a:ext uri="{FF2B5EF4-FFF2-40B4-BE49-F238E27FC236}">
                  <a16:creationId xmlns:a16="http://schemas.microsoft.com/office/drawing/2014/main" id="{FFC8AAB2-43B6-0C5D-852D-E5BD56367833}"/>
                </a:ext>
              </a:extLst>
            </p:cNvPr>
            <p:cNvSpPr/>
            <p:nvPr/>
          </p:nvSpPr>
          <p:spPr>
            <a:xfrm>
              <a:off x="18239029" y="718983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271" name="Freeform: Shape 270">
              <a:extLst>
                <a:ext uri="{FF2B5EF4-FFF2-40B4-BE49-F238E27FC236}">
                  <a16:creationId xmlns:a16="http://schemas.microsoft.com/office/drawing/2014/main" id="{3237EA9E-465C-4704-EFFE-75F272EF3A4D}"/>
                </a:ext>
              </a:extLst>
            </p:cNvPr>
            <p:cNvSpPr/>
            <p:nvPr/>
          </p:nvSpPr>
          <p:spPr>
            <a:xfrm>
              <a:off x="17368874" y="7189838"/>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272" name="Freeform: Shape 271">
              <a:extLst>
                <a:ext uri="{FF2B5EF4-FFF2-40B4-BE49-F238E27FC236}">
                  <a16:creationId xmlns:a16="http://schemas.microsoft.com/office/drawing/2014/main" id="{C797D7F5-D31B-8662-9D1E-C06A8B1AE324}"/>
                </a:ext>
              </a:extLst>
            </p:cNvPr>
            <p:cNvSpPr/>
            <p:nvPr/>
          </p:nvSpPr>
          <p:spPr>
            <a:xfrm>
              <a:off x="19109210" y="7189838"/>
              <a:ext cx="435077" cy="435077"/>
            </a:xfrm>
            <a:custGeom>
              <a:avLst/>
              <a:gdLst>
                <a:gd name="connsiteX0" fmla="*/ 371339 w 435077"/>
                <a:gd name="connsiteY0" fmla="*/ 63711 h 435077"/>
                <a:gd name="connsiteX1" fmla="*/ 435077 w 435077"/>
                <a:gd name="connsiteY1" fmla="*/ 217539 h 435077"/>
                <a:gd name="connsiteX2" fmla="*/ 218926 w 435077"/>
                <a:gd name="connsiteY2" fmla="*/ 217539 h 435077"/>
                <a:gd name="connsiteX3" fmla="*/ 371365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25 w 435077"/>
                <a:gd name="connsiteY8" fmla="*/ 217539 h 435077"/>
                <a:gd name="connsiteX9" fmla="*/ 0 w 435077"/>
                <a:gd name="connsiteY9" fmla="*/ 217539 h 435077"/>
                <a:gd name="connsiteX10" fmla="*/ 63712 w 435077"/>
                <a:gd name="connsiteY10" fmla="*/ 63711 h 435077"/>
                <a:gd name="connsiteX11" fmla="*/ 217539 w 435077"/>
                <a:gd name="connsiteY11" fmla="*/ 0 h 435077"/>
                <a:gd name="connsiteX12" fmla="*/ 371339 w 435077"/>
                <a:gd name="connsiteY12" fmla="*/ 63711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11"/>
                  </a:moveTo>
                  <a:cubicBezTo>
                    <a:pt x="412154" y="104527"/>
                    <a:pt x="435077" y="159836"/>
                    <a:pt x="435077" y="217539"/>
                  </a:cubicBezTo>
                  <a:lnTo>
                    <a:pt x="218926" y="217539"/>
                  </a:lnTo>
                  <a:cubicBezTo>
                    <a:pt x="276111" y="217920"/>
                    <a:pt x="330877" y="240788"/>
                    <a:pt x="371365" y="281250"/>
                  </a:cubicBezTo>
                  <a:cubicBezTo>
                    <a:pt x="412154" y="322039"/>
                    <a:pt x="435077" y="377375"/>
                    <a:pt x="435077" y="435077"/>
                  </a:cubicBezTo>
                  <a:lnTo>
                    <a:pt x="217539" y="435077"/>
                  </a:lnTo>
                  <a:lnTo>
                    <a:pt x="0" y="435077"/>
                  </a:lnTo>
                  <a:cubicBezTo>
                    <a:pt x="0" y="377375"/>
                    <a:pt x="22924" y="322039"/>
                    <a:pt x="63712" y="281250"/>
                  </a:cubicBezTo>
                  <a:cubicBezTo>
                    <a:pt x="104174" y="240788"/>
                    <a:pt x="158940" y="217920"/>
                    <a:pt x="216125" y="217539"/>
                  </a:cubicBezTo>
                  <a:lnTo>
                    <a:pt x="0" y="217539"/>
                  </a:lnTo>
                  <a:cubicBezTo>
                    <a:pt x="0" y="159836"/>
                    <a:pt x="22895" y="104527"/>
                    <a:pt x="63712" y="63711"/>
                  </a:cubicBezTo>
                  <a:cubicBezTo>
                    <a:pt x="104501" y="22923"/>
                    <a:pt x="159836" y="0"/>
                    <a:pt x="217539" y="0"/>
                  </a:cubicBezTo>
                  <a:cubicBezTo>
                    <a:pt x="275215" y="0"/>
                    <a:pt x="330550" y="22923"/>
                    <a:pt x="371339" y="63711"/>
                  </a:cubicBezTo>
                  <a:close/>
                </a:path>
              </a:pathLst>
            </a:custGeom>
            <a:grpFill/>
            <a:ln w="27192" cap="flat">
              <a:noFill/>
              <a:prstDash val="solid"/>
              <a:miter/>
            </a:ln>
          </p:spPr>
          <p:txBody>
            <a:bodyPr rtlCol="0" anchor="ctr"/>
            <a:lstStyle/>
            <a:p>
              <a:endParaRPr lang="uk-UA" sz="900"/>
            </a:p>
          </p:txBody>
        </p:sp>
        <p:sp>
          <p:nvSpPr>
            <p:cNvPr id="273" name="Freeform: Shape 272">
              <a:extLst>
                <a:ext uri="{FF2B5EF4-FFF2-40B4-BE49-F238E27FC236}">
                  <a16:creationId xmlns:a16="http://schemas.microsoft.com/office/drawing/2014/main" id="{D150DC49-F929-9718-40EF-F0CF93462F86}"/>
                </a:ext>
              </a:extLst>
            </p:cNvPr>
            <p:cNvSpPr/>
            <p:nvPr/>
          </p:nvSpPr>
          <p:spPr>
            <a:xfrm>
              <a:off x="19979365" y="718983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51 w 435077"/>
                <a:gd name="connsiteY7" fmla="*/ 217539 h 435077"/>
                <a:gd name="connsiteX8" fmla="*/ 435077 w 435077"/>
                <a:gd name="connsiteY8" fmla="*/ 217539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51" y="217539"/>
                  </a:lnTo>
                  <a:lnTo>
                    <a:pt x="435077" y="217539"/>
                  </a:lnTo>
                  <a:lnTo>
                    <a:pt x="435077" y="217539"/>
                  </a:lnTo>
                  <a:lnTo>
                    <a:pt x="435077" y="217539"/>
                  </a:lnTo>
                  <a:lnTo>
                    <a:pt x="435077"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274" name="Freeform: Shape 273">
              <a:extLst>
                <a:ext uri="{FF2B5EF4-FFF2-40B4-BE49-F238E27FC236}">
                  <a16:creationId xmlns:a16="http://schemas.microsoft.com/office/drawing/2014/main" id="{024BF5F2-043F-C551-D1F3-E51931552698}"/>
                </a:ext>
              </a:extLst>
            </p:cNvPr>
            <p:cNvSpPr/>
            <p:nvPr/>
          </p:nvSpPr>
          <p:spPr>
            <a:xfrm>
              <a:off x="21719702" y="718983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275" name="Freeform: Shape 274">
              <a:extLst>
                <a:ext uri="{FF2B5EF4-FFF2-40B4-BE49-F238E27FC236}">
                  <a16:creationId xmlns:a16="http://schemas.microsoft.com/office/drawing/2014/main" id="{A2D05B49-A20A-96E5-E201-AC54A03D5EDF}"/>
                </a:ext>
              </a:extLst>
            </p:cNvPr>
            <p:cNvSpPr/>
            <p:nvPr/>
          </p:nvSpPr>
          <p:spPr>
            <a:xfrm>
              <a:off x="20849520" y="7189838"/>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65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65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65" y="435077"/>
                  </a:lnTo>
                  <a:lnTo>
                    <a:pt x="435077" y="217539"/>
                  </a:lnTo>
                  <a:lnTo>
                    <a:pt x="435077" y="435077"/>
                  </a:lnTo>
                  <a:close/>
                  <a:moveTo>
                    <a:pt x="435077" y="0"/>
                  </a:moveTo>
                  <a:lnTo>
                    <a:pt x="217565"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276" name="Freeform: Shape 275">
              <a:extLst>
                <a:ext uri="{FF2B5EF4-FFF2-40B4-BE49-F238E27FC236}">
                  <a16:creationId xmlns:a16="http://schemas.microsoft.com/office/drawing/2014/main" id="{1F8A0D0F-F65C-E5D4-1FB5-38A5113E9173}"/>
                </a:ext>
              </a:extLst>
            </p:cNvPr>
            <p:cNvSpPr/>
            <p:nvPr/>
          </p:nvSpPr>
          <p:spPr>
            <a:xfrm>
              <a:off x="22589856" y="7189838"/>
              <a:ext cx="435077" cy="435077"/>
            </a:xfrm>
            <a:custGeom>
              <a:avLst/>
              <a:gdLst>
                <a:gd name="connsiteX0" fmla="*/ 371367 w 435077"/>
                <a:gd name="connsiteY0" fmla="*/ 63711 h 435077"/>
                <a:gd name="connsiteX1" fmla="*/ 435077 w 435077"/>
                <a:gd name="connsiteY1" fmla="*/ 217539 h 435077"/>
                <a:gd name="connsiteX2" fmla="*/ 218953 w 435077"/>
                <a:gd name="connsiteY2" fmla="*/ 217539 h 435077"/>
                <a:gd name="connsiteX3" fmla="*/ 371367 w 435077"/>
                <a:gd name="connsiteY3" fmla="*/ 281250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50 h 435077"/>
                <a:gd name="connsiteX8" fmla="*/ 216153 w 435077"/>
                <a:gd name="connsiteY8" fmla="*/ 217539 h 435077"/>
                <a:gd name="connsiteX9" fmla="*/ 0 w 435077"/>
                <a:gd name="connsiteY9" fmla="*/ 217539 h 435077"/>
                <a:gd name="connsiteX10" fmla="*/ 63712 w 435077"/>
                <a:gd name="connsiteY10" fmla="*/ 63711 h 435077"/>
                <a:gd name="connsiteX11" fmla="*/ 217539 w 435077"/>
                <a:gd name="connsiteY11" fmla="*/ 0 h 435077"/>
                <a:gd name="connsiteX12" fmla="*/ 371367 w 435077"/>
                <a:gd name="connsiteY12" fmla="*/ 63711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7" y="63711"/>
                  </a:moveTo>
                  <a:cubicBezTo>
                    <a:pt x="412155" y="104527"/>
                    <a:pt x="435077" y="159836"/>
                    <a:pt x="435077" y="217539"/>
                  </a:cubicBezTo>
                  <a:lnTo>
                    <a:pt x="218953" y="217539"/>
                  </a:lnTo>
                  <a:cubicBezTo>
                    <a:pt x="276139" y="217920"/>
                    <a:pt x="330904" y="240788"/>
                    <a:pt x="371367" y="281250"/>
                  </a:cubicBezTo>
                  <a:cubicBezTo>
                    <a:pt x="412155" y="322039"/>
                    <a:pt x="435077" y="377375"/>
                    <a:pt x="435077" y="435077"/>
                  </a:cubicBezTo>
                  <a:lnTo>
                    <a:pt x="217539" y="435077"/>
                  </a:lnTo>
                  <a:lnTo>
                    <a:pt x="0" y="435077"/>
                  </a:lnTo>
                  <a:cubicBezTo>
                    <a:pt x="0" y="377375"/>
                    <a:pt x="22924" y="322039"/>
                    <a:pt x="63712" y="281250"/>
                  </a:cubicBezTo>
                  <a:cubicBezTo>
                    <a:pt x="104202" y="240788"/>
                    <a:pt x="158967" y="217920"/>
                    <a:pt x="216153" y="217539"/>
                  </a:cubicBezTo>
                  <a:lnTo>
                    <a:pt x="0" y="217539"/>
                  </a:lnTo>
                  <a:cubicBezTo>
                    <a:pt x="0" y="159836"/>
                    <a:pt x="22924" y="104527"/>
                    <a:pt x="63712" y="63711"/>
                  </a:cubicBezTo>
                  <a:cubicBezTo>
                    <a:pt x="104529" y="22923"/>
                    <a:pt x="159838" y="0"/>
                    <a:pt x="217539" y="0"/>
                  </a:cubicBezTo>
                  <a:cubicBezTo>
                    <a:pt x="275241" y="0"/>
                    <a:pt x="330578" y="22923"/>
                    <a:pt x="371367" y="63711"/>
                  </a:cubicBezTo>
                  <a:close/>
                </a:path>
              </a:pathLst>
            </a:custGeom>
            <a:grpFill/>
            <a:ln w="27192" cap="flat">
              <a:noFill/>
              <a:prstDash val="solid"/>
              <a:miter/>
            </a:ln>
          </p:spPr>
          <p:txBody>
            <a:bodyPr rtlCol="0" anchor="ctr"/>
            <a:lstStyle/>
            <a:p>
              <a:endParaRPr lang="uk-UA" sz="900"/>
            </a:p>
          </p:txBody>
        </p:sp>
        <p:sp>
          <p:nvSpPr>
            <p:cNvPr id="277" name="Freeform: Shape 276">
              <a:extLst>
                <a:ext uri="{FF2B5EF4-FFF2-40B4-BE49-F238E27FC236}">
                  <a16:creationId xmlns:a16="http://schemas.microsoft.com/office/drawing/2014/main" id="{75450FC1-D91E-39B4-2064-B01099900450}"/>
                </a:ext>
              </a:extLst>
            </p:cNvPr>
            <p:cNvSpPr/>
            <p:nvPr/>
          </p:nvSpPr>
          <p:spPr>
            <a:xfrm>
              <a:off x="23460039" y="718983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10 w 435077"/>
                <a:gd name="connsiteY5" fmla="*/ 435077 h 435077"/>
                <a:gd name="connsiteX6" fmla="*/ 217510 w 435077"/>
                <a:gd name="connsiteY6" fmla="*/ 435077 h 435077"/>
                <a:gd name="connsiteX7" fmla="*/ 435049 w 435077"/>
                <a:gd name="connsiteY7" fmla="*/ 217539 h 435077"/>
                <a:gd name="connsiteX8" fmla="*/ 435077 w 435077"/>
                <a:gd name="connsiteY8" fmla="*/ 217539 h 435077"/>
                <a:gd name="connsiteX9" fmla="*/ 435049 w 435077"/>
                <a:gd name="connsiteY9" fmla="*/ 217539 h 435077"/>
                <a:gd name="connsiteX10" fmla="*/ 435049 w 435077"/>
                <a:gd name="connsiteY10" fmla="*/ 217539 h 435077"/>
                <a:gd name="connsiteX11" fmla="*/ 435049 w 435077"/>
                <a:gd name="connsiteY11" fmla="*/ 217539 h 435077"/>
                <a:gd name="connsiteX12" fmla="*/ 217539 w 435077"/>
                <a:gd name="connsiteY12" fmla="*/ 0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10" y="435077"/>
                  </a:lnTo>
                  <a:lnTo>
                    <a:pt x="217510" y="435077"/>
                  </a:lnTo>
                  <a:lnTo>
                    <a:pt x="435049" y="217539"/>
                  </a:lnTo>
                  <a:lnTo>
                    <a:pt x="435077" y="217539"/>
                  </a:lnTo>
                  <a:lnTo>
                    <a:pt x="435049" y="217539"/>
                  </a:lnTo>
                  <a:lnTo>
                    <a:pt x="435049" y="217539"/>
                  </a:lnTo>
                  <a:lnTo>
                    <a:pt x="435049" y="217539"/>
                  </a:lnTo>
                  <a:lnTo>
                    <a:pt x="217539" y="0"/>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278" name="Freeform: Shape 277">
              <a:extLst>
                <a:ext uri="{FF2B5EF4-FFF2-40B4-BE49-F238E27FC236}">
                  <a16:creationId xmlns:a16="http://schemas.microsoft.com/office/drawing/2014/main" id="{72346811-5583-47D7-292E-9A4094073FF8}"/>
                </a:ext>
              </a:extLst>
            </p:cNvPr>
            <p:cNvSpPr/>
            <p:nvPr/>
          </p:nvSpPr>
          <p:spPr>
            <a:xfrm>
              <a:off x="24330194" y="7189838"/>
              <a:ext cx="435077" cy="435077"/>
            </a:xfrm>
            <a:custGeom>
              <a:avLst/>
              <a:gdLst>
                <a:gd name="connsiteX0" fmla="*/ 0 w 435077"/>
                <a:gd name="connsiteY0" fmla="*/ 435077 h 435077"/>
                <a:gd name="connsiteX1" fmla="*/ 217539 w 435077"/>
                <a:gd name="connsiteY1" fmla="*/ 435077 h 435077"/>
                <a:gd name="connsiteX2" fmla="*/ 217539 w 435077"/>
                <a:gd name="connsiteY2" fmla="*/ 217539 h 435077"/>
                <a:gd name="connsiteX3" fmla="*/ 0 w 435077"/>
                <a:gd name="connsiteY3" fmla="*/ 435077 h 435077"/>
                <a:gd name="connsiteX4" fmla="*/ 217539 w 435077"/>
                <a:gd name="connsiteY4" fmla="*/ 0 h 435077"/>
                <a:gd name="connsiteX5" fmla="*/ 0 w 435077"/>
                <a:gd name="connsiteY5" fmla="*/ 0 h 435077"/>
                <a:gd name="connsiteX6" fmla="*/ 217539 w 435077"/>
                <a:gd name="connsiteY6" fmla="*/ 217539 h 435077"/>
                <a:gd name="connsiteX7" fmla="*/ 217539 w 435077"/>
                <a:gd name="connsiteY7" fmla="*/ 0 h 435077"/>
                <a:gd name="connsiteX8" fmla="*/ 435077 w 435077"/>
                <a:gd name="connsiteY8" fmla="*/ 435077 h 435077"/>
                <a:gd name="connsiteX9" fmla="*/ 217539 w 435077"/>
                <a:gd name="connsiteY9" fmla="*/ 435077 h 435077"/>
                <a:gd name="connsiteX10" fmla="*/ 435077 w 435077"/>
                <a:gd name="connsiteY10" fmla="*/ 217539 h 435077"/>
                <a:gd name="connsiteX11" fmla="*/ 435077 w 435077"/>
                <a:gd name="connsiteY11" fmla="*/ 435077 h 435077"/>
                <a:gd name="connsiteX12" fmla="*/ 435077 w 435077"/>
                <a:gd name="connsiteY12" fmla="*/ 0 h 435077"/>
                <a:gd name="connsiteX13" fmla="*/ 217539 w 435077"/>
                <a:gd name="connsiteY13" fmla="*/ 0 h 435077"/>
                <a:gd name="connsiteX14" fmla="*/ 435077 w 435077"/>
                <a:gd name="connsiteY14" fmla="*/ 217539 h 435077"/>
                <a:gd name="connsiteX15" fmla="*/ 435077 w 435077"/>
                <a:gd name="connsiteY15"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0" y="435077"/>
                  </a:moveTo>
                  <a:lnTo>
                    <a:pt x="217539" y="435077"/>
                  </a:lnTo>
                  <a:lnTo>
                    <a:pt x="217539" y="217539"/>
                  </a:lnTo>
                  <a:lnTo>
                    <a:pt x="0" y="435077"/>
                  </a:lnTo>
                  <a:close/>
                  <a:moveTo>
                    <a:pt x="217539" y="0"/>
                  </a:moveTo>
                  <a:lnTo>
                    <a:pt x="0" y="0"/>
                  </a:lnTo>
                  <a:lnTo>
                    <a:pt x="217539" y="217539"/>
                  </a:lnTo>
                  <a:lnTo>
                    <a:pt x="217539" y="0"/>
                  </a:lnTo>
                  <a:close/>
                  <a:moveTo>
                    <a:pt x="435077" y="435077"/>
                  </a:moveTo>
                  <a:lnTo>
                    <a:pt x="217539" y="435077"/>
                  </a:lnTo>
                  <a:lnTo>
                    <a:pt x="435077" y="217539"/>
                  </a:lnTo>
                  <a:lnTo>
                    <a:pt x="435077" y="435077"/>
                  </a:lnTo>
                  <a:close/>
                  <a:moveTo>
                    <a:pt x="435077" y="0"/>
                  </a:moveTo>
                  <a:lnTo>
                    <a:pt x="217539" y="0"/>
                  </a:lnTo>
                  <a:lnTo>
                    <a:pt x="435077" y="217539"/>
                  </a:lnTo>
                  <a:lnTo>
                    <a:pt x="435077" y="0"/>
                  </a:lnTo>
                  <a:close/>
                </a:path>
              </a:pathLst>
            </a:custGeom>
            <a:grpFill/>
            <a:ln w="27192" cap="flat">
              <a:noFill/>
              <a:prstDash val="solid"/>
              <a:miter/>
            </a:ln>
          </p:spPr>
          <p:txBody>
            <a:bodyPr rtlCol="0" anchor="ctr"/>
            <a:lstStyle/>
            <a:p>
              <a:endParaRPr lang="uk-UA" sz="900"/>
            </a:p>
          </p:txBody>
        </p:sp>
        <p:sp>
          <p:nvSpPr>
            <p:cNvPr id="279" name="Freeform: Shape 278">
              <a:extLst>
                <a:ext uri="{FF2B5EF4-FFF2-40B4-BE49-F238E27FC236}">
                  <a16:creationId xmlns:a16="http://schemas.microsoft.com/office/drawing/2014/main" id="{A8BEAB1E-8E3F-3A66-8742-AE5745ABAF5E}"/>
                </a:ext>
              </a:extLst>
            </p:cNvPr>
            <p:cNvSpPr/>
            <p:nvPr/>
          </p:nvSpPr>
          <p:spPr>
            <a:xfrm>
              <a:off x="835769" y="805999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1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1" y="217539"/>
                  </a:lnTo>
                  <a:lnTo>
                    <a:pt x="0" y="435077"/>
                  </a:lnTo>
                  <a:close/>
                </a:path>
              </a:pathLst>
            </a:custGeom>
            <a:grpFill/>
            <a:ln w="27192" cap="flat">
              <a:noFill/>
              <a:prstDash val="solid"/>
              <a:miter/>
            </a:ln>
          </p:spPr>
          <p:txBody>
            <a:bodyPr rtlCol="0" anchor="ctr"/>
            <a:lstStyle/>
            <a:p>
              <a:endParaRPr lang="uk-UA" sz="900"/>
            </a:p>
          </p:txBody>
        </p:sp>
        <p:sp>
          <p:nvSpPr>
            <p:cNvPr id="280" name="Freeform: Shape 279">
              <a:extLst>
                <a:ext uri="{FF2B5EF4-FFF2-40B4-BE49-F238E27FC236}">
                  <a16:creationId xmlns:a16="http://schemas.microsoft.com/office/drawing/2014/main" id="{BE8CEAC2-C717-6B6B-5114-97DA75B59939}"/>
                </a:ext>
              </a:extLst>
            </p:cNvPr>
            <p:cNvSpPr/>
            <p:nvPr/>
          </p:nvSpPr>
          <p:spPr>
            <a:xfrm>
              <a:off x="-34398" y="8059993"/>
              <a:ext cx="435090" cy="435077"/>
            </a:xfrm>
            <a:custGeom>
              <a:avLst/>
              <a:gdLst>
                <a:gd name="connsiteX0" fmla="*/ 217552 w 435090"/>
                <a:gd name="connsiteY0" fmla="*/ 435077 h 435077"/>
                <a:gd name="connsiteX1" fmla="*/ 217552 w 435090"/>
                <a:gd name="connsiteY1" fmla="*/ 0 h 435077"/>
                <a:gd name="connsiteX2" fmla="*/ 435091 w 435090"/>
                <a:gd name="connsiteY2" fmla="*/ 217539 h 435077"/>
                <a:gd name="connsiteX3" fmla="*/ 217552 w 435090"/>
                <a:gd name="connsiteY3" fmla="*/ 435077 h 435077"/>
                <a:gd name="connsiteX4" fmla="*/ 0 w 435090"/>
                <a:gd name="connsiteY4" fmla="*/ 435077 h 435077"/>
                <a:gd name="connsiteX5" fmla="*/ 0 w 435090"/>
                <a:gd name="connsiteY5" fmla="*/ 27 h 435077"/>
                <a:gd name="connsiteX6" fmla="*/ 217525 w 435090"/>
                <a:gd name="connsiteY6" fmla="*/ 217566 h 435077"/>
                <a:gd name="connsiteX7" fmla="*/ 0 w 435090"/>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90" h="435077">
                  <a:moveTo>
                    <a:pt x="217552" y="435077"/>
                  </a:moveTo>
                  <a:lnTo>
                    <a:pt x="217552" y="0"/>
                  </a:lnTo>
                  <a:lnTo>
                    <a:pt x="435091" y="217539"/>
                  </a:lnTo>
                  <a:lnTo>
                    <a:pt x="217552" y="435077"/>
                  </a:lnTo>
                  <a:close/>
                  <a:moveTo>
                    <a:pt x="0" y="435077"/>
                  </a:moveTo>
                  <a:lnTo>
                    <a:pt x="0" y="27"/>
                  </a:lnTo>
                  <a:lnTo>
                    <a:pt x="217525" y="217566"/>
                  </a:lnTo>
                  <a:lnTo>
                    <a:pt x="0" y="435077"/>
                  </a:lnTo>
                  <a:close/>
                </a:path>
              </a:pathLst>
            </a:custGeom>
            <a:grpFill/>
            <a:ln w="27192" cap="flat">
              <a:noFill/>
              <a:prstDash val="solid"/>
              <a:miter/>
            </a:ln>
          </p:spPr>
          <p:txBody>
            <a:bodyPr rtlCol="0" anchor="ctr"/>
            <a:lstStyle/>
            <a:p>
              <a:endParaRPr lang="uk-UA" sz="900"/>
            </a:p>
          </p:txBody>
        </p:sp>
        <p:sp>
          <p:nvSpPr>
            <p:cNvPr id="281" name="Freeform: Shape 280">
              <a:extLst>
                <a:ext uri="{FF2B5EF4-FFF2-40B4-BE49-F238E27FC236}">
                  <a16:creationId xmlns:a16="http://schemas.microsoft.com/office/drawing/2014/main" id="{CFFED92E-D3FA-3E31-91B8-DA76767B035D}"/>
                </a:ext>
              </a:extLst>
            </p:cNvPr>
            <p:cNvSpPr/>
            <p:nvPr/>
          </p:nvSpPr>
          <p:spPr>
            <a:xfrm>
              <a:off x="1705924" y="8059993"/>
              <a:ext cx="435077" cy="435077"/>
            </a:xfrm>
            <a:custGeom>
              <a:avLst/>
              <a:gdLst>
                <a:gd name="connsiteX0" fmla="*/ 63711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1 w 435077"/>
                <a:gd name="connsiteY6" fmla="*/ 153827 h 435077"/>
                <a:gd name="connsiteX7" fmla="*/ 63711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1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1" y="153827"/>
                  </a:moveTo>
                  <a:cubicBezTo>
                    <a:pt x="22923" y="113039"/>
                    <a:pt x="0" y="57702"/>
                    <a:pt x="0" y="0"/>
                  </a:cubicBezTo>
                  <a:lnTo>
                    <a:pt x="217539" y="0"/>
                  </a:lnTo>
                  <a:lnTo>
                    <a:pt x="435077" y="0"/>
                  </a:lnTo>
                  <a:cubicBezTo>
                    <a:pt x="435077" y="57702"/>
                    <a:pt x="412154" y="113039"/>
                    <a:pt x="371366" y="153827"/>
                  </a:cubicBezTo>
                  <a:cubicBezTo>
                    <a:pt x="330577" y="194616"/>
                    <a:pt x="275241" y="217539"/>
                    <a:pt x="217539" y="217539"/>
                  </a:cubicBezTo>
                  <a:cubicBezTo>
                    <a:pt x="159836" y="217539"/>
                    <a:pt x="104527" y="194616"/>
                    <a:pt x="63711" y="153827"/>
                  </a:cubicBezTo>
                  <a:close/>
                  <a:moveTo>
                    <a:pt x="63711" y="281250"/>
                  </a:moveTo>
                  <a:cubicBezTo>
                    <a:pt x="22923" y="322066"/>
                    <a:pt x="0" y="377402"/>
                    <a:pt x="0" y="435077"/>
                  </a:cubicBezTo>
                  <a:lnTo>
                    <a:pt x="217539" y="435077"/>
                  </a:lnTo>
                  <a:lnTo>
                    <a:pt x="435077" y="435077"/>
                  </a:lnTo>
                  <a:cubicBezTo>
                    <a:pt x="435077" y="377402"/>
                    <a:pt x="412154" y="322066"/>
                    <a:pt x="371366" y="281250"/>
                  </a:cubicBezTo>
                  <a:cubicBezTo>
                    <a:pt x="330577" y="240462"/>
                    <a:pt x="275241" y="217539"/>
                    <a:pt x="217539" y="217539"/>
                  </a:cubicBezTo>
                  <a:cubicBezTo>
                    <a:pt x="159836" y="217539"/>
                    <a:pt x="104527" y="240462"/>
                    <a:pt x="63711" y="281250"/>
                  </a:cubicBezTo>
                  <a:close/>
                </a:path>
              </a:pathLst>
            </a:custGeom>
            <a:grpFill/>
            <a:ln w="27192" cap="flat">
              <a:noFill/>
              <a:prstDash val="solid"/>
              <a:miter/>
            </a:ln>
          </p:spPr>
          <p:txBody>
            <a:bodyPr rtlCol="0" anchor="ctr"/>
            <a:lstStyle/>
            <a:p>
              <a:endParaRPr lang="uk-UA" sz="900"/>
            </a:p>
          </p:txBody>
        </p:sp>
        <p:sp>
          <p:nvSpPr>
            <p:cNvPr id="282" name="Freeform: Shape 281">
              <a:extLst>
                <a:ext uri="{FF2B5EF4-FFF2-40B4-BE49-F238E27FC236}">
                  <a16:creationId xmlns:a16="http://schemas.microsoft.com/office/drawing/2014/main" id="{8D1BD63D-9CE4-A8E4-9DC3-CE52FC261651}"/>
                </a:ext>
              </a:extLst>
            </p:cNvPr>
            <p:cNvSpPr/>
            <p:nvPr/>
          </p:nvSpPr>
          <p:spPr>
            <a:xfrm>
              <a:off x="2576106" y="805999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283" name="Freeform: Shape 282">
              <a:extLst>
                <a:ext uri="{FF2B5EF4-FFF2-40B4-BE49-F238E27FC236}">
                  <a16:creationId xmlns:a16="http://schemas.microsoft.com/office/drawing/2014/main" id="{C8F6360C-BFF6-1828-ECE3-83645230B974}"/>
                </a:ext>
              </a:extLst>
            </p:cNvPr>
            <p:cNvSpPr/>
            <p:nvPr/>
          </p:nvSpPr>
          <p:spPr>
            <a:xfrm>
              <a:off x="4316416" y="8059993"/>
              <a:ext cx="435077" cy="435077"/>
            </a:xfrm>
            <a:custGeom>
              <a:avLst/>
              <a:gdLst>
                <a:gd name="connsiteX0" fmla="*/ 435077 w 435077"/>
                <a:gd name="connsiteY0" fmla="*/ 435077 h 435077"/>
                <a:gd name="connsiteX1" fmla="*/ 435077 w 435077"/>
                <a:gd name="connsiteY1" fmla="*/ 0 h 435077"/>
                <a:gd name="connsiteX2" fmla="*/ 217565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84" name="Freeform: Shape 283">
              <a:extLst>
                <a:ext uri="{FF2B5EF4-FFF2-40B4-BE49-F238E27FC236}">
                  <a16:creationId xmlns:a16="http://schemas.microsoft.com/office/drawing/2014/main" id="{9A2743C3-EBF7-C601-8F12-A9842241BE18}"/>
                </a:ext>
              </a:extLst>
            </p:cNvPr>
            <p:cNvSpPr/>
            <p:nvPr/>
          </p:nvSpPr>
          <p:spPr>
            <a:xfrm>
              <a:off x="3446261" y="8059993"/>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27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27"/>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285" name="Freeform: Shape 284">
              <a:extLst>
                <a:ext uri="{FF2B5EF4-FFF2-40B4-BE49-F238E27FC236}">
                  <a16:creationId xmlns:a16="http://schemas.microsoft.com/office/drawing/2014/main" id="{9C118EED-784E-8F0B-6F9C-942C3369E8E6}"/>
                </a:ext>
              </a:extLst>
            </p:cNvPr>
            <p:cNvSpPr/>
            <p:nvPr/>
          </p:nvSpPr>
          <p:spPr>
            <a:xfrm>
              <a:off x="5186597" y="805999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6" y="153827"/>
                  </a:cubicBezTo>
                  <a:cubicBezTo>
                    <a:pt x="330550" y="194616"/>
                    <a:pt x="275241" y="217539"/>
                    <a:pt x="217539" y="217539"/>
                  </a:cubicBezTo>
                  <a:cubicBezTo>
                    <a:pt x="159837" y="217539"/>
                    <a:pt x="104501" y="194616"/>
                    <a:pt x="63712" y="153827"/>
                  </a:cubicBezTo>
                  <a:close/>
                  <a:moveTo>
                    <a:pt x="63712" y="281250"/>
                  </a:moveTo>
                  <a:cubicBezTo>
                    <a:pt x="22924" y="322066"/>
                    <a:pt x="0" y="377402"/>
                    <a:pt x="0" y="435077"/>
                  </a:cubicBezTo>
                  <a:lnTo>
                    <a:pt x="217539" y="435077"/>
                  </a:lnTo>
                  <a:lnTo>
                    <a:pt x="435077" y="435077"/>
                  </a:lnTo>
                  <a:cubicBezTo>
                    <a:pt x="435077" y="377402"/>
                    <a:pt x="412155" y="322066"/>
                    <a:pt x="371366" y="281250"/>
                  </a:cubicBezTo>
                  <a:cubicBezTo>
                    <a:pt x="330550" y="240462"/>
                    <a:pt x="275241" y="217539"/>
                    <a:pt x="217539" y="217539"/>
                  </a:cubicBezTo>
                  <a:cubicBezTo>
                    <a:pt x="159837" y="217539"/>
                    <a:pt x="104501" y="240462"/>
                    <a:pt x="63712" y="281250"/>
                  </a:cubicBezTo>
                  <a:close/>
                </a:path>
              </a:pathLst>
            </a:custGeom>
            <a:grpFill/>
            <a:ln w="27192" cap="flat">
              <a:noFill/>
              <a:prstDash val="solid"/>
              <a:miter/>
            </a:ln>
          </p:spPr>
          <p:txBody>
            <a:bodyPr rtlCol="0" anchor="ctr"/>
            <a:lstStyle/>
            <a:p>
              <a:endParaRPr lang="uk-UA" sz="900"/>
            </a:p>
          </p:txBody>
        </p:sp>
        <p:sp>
          <p:nvSpPr>
            <p:cNvPr id="286" name="Freeform: Shape 285">
              <a:extLst>
                <a:ext uri="{FF2B5EF4-FFF2-40B4-BE49-F238E27FC236}">
                  <a16:creationId xmlns:a16="http://schemas.microsoft.com/office/drawing/2014/main" id="{F3237C3D-E3C2-51BD-CA66-D454C7A17F8E}"/>
                </a:ext>
              </a:extLst>
            </p:cNvPr>
            <p:cNvSpPr/>
            <p:nvPr/>
          </p:nvSpPr>
          <p:spPr>
            <a:xfrm>
              <a:off x="6056752" y="805999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287" name="Freeform: Shape 286">
              <a:extLst>
                <a:ext uri="{FF2B5EF4-FFF2-40B4-BE49-F238E27FC236}">
                  <a16:creationId xmlns:a16="http://schemas.microsoft.com/office/drawing/2014/main" id="{DB7C01F1-75B3-4D0C-F50E-1ED419443874}"/>
                </a:ext>
              </a:extLst>
            </p:cNvPr>
            <p:cNvSpPr/>
            <p:nvPr/>
          </p:nvSpPr>
          <p:spPr>
            <a:xfrm>
              <a:off x="7797062" y="8059993"/>
              <a:ext cx="435077" cy="435077"/>
            </a:xfrm>
            <a:custGeom>
              <a:avLst/>
              <a:gdLst>
                <a:gd name="connsiteX0" fmla="*/ 435077 w 435077"/>
                <a:gd name="connsiteY0" fmla="*/ 435077 h 435077"/>
                <a:gd name="connsiteX1" fmla="*/ 435077 w 435077"/>
                <a:gd name="connsiteY1" fmla="*/ 0 h 435077"/>
                <a:gd name="connsiteX2" fmla="*/ 217566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6"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288" name="Freeform: Shape 287">
              <a:extLst>
                <a:ext uri="{FF2B5EF4-FFF2-40B4-BE49-F238E27FC236}">
                  <a16:creationId xmlns:a16="http://schemas.microsoft.com/office/drawing/2014/main" id="{3B0158A4-81A6-2C7D-6E3A-658166092208}"/>
                </a:ext>
              </a:extLst>
            </p:cNvPr>
            <p:cNvSpPr/>
            <p:nvPr/>
          </p:nvSpPr>
          <p:spPr>
            <a:xfrm>
              <a:off x="6926907" y="8059993"/>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27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27"/>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289" name="Freeform: Shape 288">
              <a:extLst>
                <a:ext uri="{FF2B5EF4-FFF2-40B4-BE49-F238E27FC236}">
                  <a16:creationId xmlns:a16="http://schemas.microsoft.com/office/drawing/2014/main" id="{0A5A1C7A-FC32-9990-8EA0-D14E2BE7FABC}"/>
                </a:ext>
              </a:extLst>
            </p:cNvPr>
            <p:cNvSpPr/>
            <p:nvPr/>
          </p:nvSpPr>
          <p:spPr>
            <a:xfrm>
              <a:off x="8667217" y="8059993"/>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39 w 435077"/>
                <a:gd name="connsiteY6" fmla="*/ 153827 h 435077"/>
                <a:gd name="connsiteX7" fmla="*/ 63739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50 h 435077"/>
                <a:gd name="connsiteX12" fmla="*/ 217539 w 435077"/>
                <a:gd name="connsiteY12" fmla="*/ 217539 h 435077"/>
                <a:gd name="connsiteX13" fmla="*/ 63739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4" y="113039"/>
                    <a:pt x="0" y="57702"/>
                    <a:pt x="0" y="0"/>
                  </a:cubicBezTo>
                  <a:lnTo>
                    <a:pt x="217539" y="0"/>
                  </a:lnTo>
                  <a:lnTo>
                    <a:pt x="435077" y="0"/>
                  </a:lnTo>
                  <a:cubicBezTo>
                    <a:pt x="435077" y="57702"/>
                    <a:pt x="412182" y="113039"/>
                    <a:pt x="371366" y="153827"/>
                  </a:cubicBezTo>
                  <a:cubicBezTo>
                    <a:pt x="330578" y="194616"/>
                    <a:pt x="275241" y="217539"/>
                    <a:pt x="217539" y="217539"/>
                  </a:cubicBezTo>
                  <a:cubicBezTo>
                    <a:pt x="159864" y="217539"/>
                    <a:pt x="104527" y="194616"/>
                    <a:pt x="63739" y="153827"/>
                  </a:cubicBezTo>
                  <a:close/>
                  <a:moveTo>
                    <a:pt x="63739" y="281250"/>
                  </a:moveTo>
                  <a:cubicBezTo>
                    <a:pt x="22924" y="322066"/>
                    <a:pt x="0" y="377402"/>
                    <a:pt x="0" y="435077"/>
                  </a:cubicBezTo>
                  <a:lnTo>
                    <a:pt x="217539" y="435077"/>
                  </a:lnTo>
                  <a:lnTo>
                    <a:pt x="435077" y="435077"/>
                  </a:lnTo>
                  <a:cubicBezTo>
                    <a:pt x="435077" y="377402"/>
                    <a:pt x="412182" y="322066"/>
                    <a:pt x="371366" y="281250"/>
                  </a:cubicBezTo>
                  <a:cubicBezTo>
                    <a:pt x="330578" y="240462"/>
                    <a:pt x="275241" y="217539"/>
                    <a:pt x="217539" y="217539"/>
                  </a:cubicBezTo>
                  <a:cubicBezTo>
                    <a:pt x="159864" y="217539"/>
                    <a:pt x="104527" y="240462"/>
                    <a:pt x="63739" y="281250"/>
                  </a:cubicBezTo>
                  <a:close/>
                </a:path>
              </a:pathLst>
            </a:custGeom>
            <a:grpFill/>
            <a:ln w="27192" cap="flat">
              <a:noFill/>
              <a:prstDash val="solid"/>
              <a:miter/>
            </a:ln>
          </p:spPr>
          <p:txBody>
            <a:bodyPr rtlCol="0" anchor="ctr"/>
            <a:lstStyle/>
            <a:p>
              <a:endParaRPr lang="uk-UA" sz="900"/>
            </a:p>
          </p:txBody>
        </p:sp>
        <p:sp>
          <p:nvSpPr>
            <p:cNvPr id="290" name="Freeform: Shape 289">
              <a:extLst>
                <a:ext uri="{FF2B5EF4-FFF2-40B4-BE49-F238E27FC236}">
                  <a16:creationId xmlns:a16="http://schemas.microsoft.com/office/drawing/2014/main" id="{4D55CCE8-07CC-8526-72B1-1D8DD2828DF4}"/>
                </a:ext>
              </a:extLst>
            </p:cNvPr>
            <p:cNvSpPr/>
            <p:nvPr/>
          </p:nvSpPr>
          <p:spPr>
            <a:xfrm>
              <a:off x="9537399" y="805999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1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1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1" y="217539"/>
                  </a:lnTo>
                  <a:lnTo>
                    <a:pt x="0" y="217539"/>
                  </a:lnTo>
                  <a:close/>
                  <a:moveTo>
                    <a:pt x="0" y="435077"/>
                  </a:moveTo>
                  <a:lnTo>
                    <a:pt x="0" y="217539"/>
                  </a:lnTo>
                  <a:lnTo>
                    <a:pt x="217511" y="217539"/>
                  </a:lnTo>
                  <a:lnTo>
                    <a:pt x="0" y="435077"/>
                  </a:lnTo>
                  <a:close/>
                </a:path>
              </a:pathLst>
            </a:custGeom>
            <a:grpFill/>
            <a:ln w="27192" cap="flat">
              <a:noFill/>
              <a:prstDash val="solid"/>
              <a:miter/>
            </a:ln>
          </p:spPr>
          <p:txBody>
            <a:bodyPr rtlCol="0" anchor="ctr"/>
            <a:lstStyle/>
            <a:p>
              <a:endParaRPr lang="uk-UA" sz="900"/>
            </a:p>
          </p:txBody>
        </p:sp>
        <p:sp>
          <p:nvSpPr>
            <p:cNvPr id="291" name="Freeform: Shape 290">
              <a:extLst>
                <a:ext uri="{FF2B5EF4-FFF2-40B4-BE49-F238E27FC236}">
                  <a16:creationId xmlns:a16="http://schemas.microsoft.com/office/drawing/2014/main" id="{9CA65786-A27E-F00C-5116-DE6C289C1343}"/>
                </a:ext>
              </a:extLst>
            </p:cNvPr>
            <p:cNvSpPr/>
            <p:nvPr/>
          </p:nvSpPr>
          <p:spPr>
            <a:xfrm>
              <a:off x="11277709" y="805999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0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0" y="217539"/>
                  </a:lnTo>
                  <a:lnTo>
                    <a:pt x="0" y="435077"/>
                  </a:lnTo>
                  <a:close/>
                </a:path>
              </a:pathLst>
            </a:custGeom>
            <a:grpFill/>
            <a:ln w="27192" cap="flat">
              <a:noFill/>
              <a:prstDash val="solid"/>
              <a:miter/>
            </a:ln>
          </p:spPr>
          <p:txBody>
            <a:bodyPr rtlCol="0" anchor="ctr"/>
            <a:lstStyle/>
            <a:p>
              <a:endParaRPr lang="uk-UA" sz="900"/>
            </a:p>
          </p:txBody>
        </p:sp>
        <p:sp>
          <p:nvSpPr>
            <p:cNvPr id="292" name="Freeform: Shape 291">
              <a:extLst>
                <a:ext uri="{FF2B5EF4-FFF2-40B4-BE49-F238E27FC236}">
                  <a16:creationId xmlns:a16="http://schemas.microsoft.com/office/drawing/2014/main" id="{B3DBD233-F998-6100-B19B-281F5F7D5EB2}"/>
                </a:ext>
              </a:extLst>
            </p:cNvPr>
            <p:cNvSpPr/>
            <p:nvPr/>
          </p:nvSpPr>
          <p:spPr>
            <a:xfrm>
              <a:off x="10407554" y="8059993"/>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27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27"/>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293" name="Freeform: Shape 292">
              <a:extLst>
                <a:ext uri="{FF2B5EF4-FFF2-40B4-BE49-F238E27FC236}">
                  <a16:creationId xmlns:a16="http://schemas.microsoft.com/office/drawing/2014/main" id="{3C7B1486-A3F6-669A-F894-83BD896425DD}"/>
                </a:ext>
              </a:extLst>
            </p:cNvPr>
            <p:cNvSpPr/>
            <p:nvPr/>
          </p:nvSpPr>
          <p:spPr>
            <a:xfrm>
              <a:off x="12147864" y="8059993"/>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39 w 435077"/>
                <a:gd name="connsiteY6" fmla="*/ 153827 h 435077"/>
                <a:gd name="connsiteX7" fmla="*/ 63739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50 h 435077"/>
                <a:gd name="connsiteX12" fmla="*/ 217539 w 435077"/>
                <a:gd name="connsiteY12" fmla="*/ 217539 h 435077"/>
                <a:gd name="connsiteX13" fmla="*/ 63739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2" y="113039"/>
                    <a:pt x="0" y="57702"/>
                    <a:pt x="0" y="0"/>
                  </a:cubicBezTo>
                  <a:lnTo>
                    <a:pt x="217539" y="0"/>
                  </a:lnTo>
                  <a:lnTo>
                    <a:pt x="435077" y="0"/>
                  </a:lnTo>
                  <a:cubicBezTo>
                    <a:pt x="435077" y="57702"/>
                    <a:pt x="412180" y="113039"/>
                    <a:pt x="371365" y="153827"/>
                  </a:cubicBezTo>
                  <a:cubicBezTo>
                    <a:pt x="330577" y="194616"/>
                    <a:pt x="275239" y="217539"/>
                    <a:pt x="217539" y="217539"/>
                  </a:cubicBezTo>
                  <a:cubicBezTo>
                    <a:pt x="159863" y="217539"/>
                    <a:pt x="104527" y="194616"/>
                    <a:pt x="63739" y="153827"/>
                  </a:cubicBezTo>
                  <a:close/>
                  <a:moveTo>
                    <a:pt x="63739" y="281250"/>
                  </a:moveTo>
                  <a:cubicBezTo>
                    <a:pt x="22922" y="322066"/>
                    <a:pt x="0" y="377402"/>
                    <a:pt x="0" y="435077"/>
                  </a:cubicBezTo>
                  <a:lnTo>
                    <a:pt x="217539" y="435077"/>
                  </a:lnTo>
                  <a:lnTo>
                    <a:pt x="435077" y="435077"/>
                  </a:lnTo>
                  <a:cubicBezTo>
                    <a:pt x="435077" y="377402"/>
                    <a:pt x="412180" y="322066"/>
                    <a:pt x="371365" y="281250"/>
                  </a:cubicBezTo>
                  <a:cubicBezTo>
                    <a:pt x="330577" y="240462"/>
                    <a:pt x="275239" y="217539"/>
                    <a:pt x="217539" y="217539"/>
                  </a:cubicBezTo>
                  <a:cubicBezTo>
                    <a:pt x="159863" y="217539"/>
                    <a:pt x="104527" y="240462"/>
                    <a:pt x="63739" y="281250"/>
                  </a:cubicBezTo>
                  <a:close/>
                </a:path>
              </a:pathLst>
            </a:custGeom>
            <a:grpFill/>
            <a:ln w="27192" cap="flat">
              <a:noFill/>
              <a:prstDash val="solid"/>
              <a:miter/>
            </a:ln>
          </p:spPr>
          <p:txBody>
            <a:bodyPr rtlCol="0" anchor="ctr"/>
            <a:lstStyle/>
            <a:p>
              <a:endParaRPr lang="uk-UA" sz="900"/>
            </a:p>
          </p:txBody>
        </p:sp>
        <p:sp>
          <p:nvSpPr>
            <p:cNvPr id="294" name="Freeform: Shape 293">
              <a:extLst>
                <a:ext uri="{FF2B5EF4-FFF2-40B4-BE49-F238E27FC236}">
                  <a16:creationId xmlns:a16="http://schemas.microsoft.com/office/drawing/2014/main" id="{4EEDDD1F-46BA-77BB-51B0-4832A184270F}"/>
                </a:ext>
              </a:extLst>
            </p:cNvPr>
            <p:cNvSpPr/>
            <p:nvPr/>
          </p:nvSpPr>
          <p:spPr>
            <a:xfrm>
              <a:off x="13018045" y="805999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295" name="Freeform: Shape 294">
              <a:extLst>
                <a:ext uri="{FF2B5EF4-FFF2-40B4-BE49-F238E27FC236}">
                  <a16:creationId xmlns:a16="http://schemas.microsoft.com/office/drawing/2014/main" id="{D813353A-BF19-5D31-CE92-9551AAAA2D2F}"/>
                </a:ext>
              </a:extLst>
            </p:cNvPr>
            <p:cNvSpPr/>
            <p:nvPr/>
          </p:nvSpPr>
          <p:spPr>
            <a:xfrm>
              <a:off x="14758382" y="805999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296" name="Freeform: Shape 295">
              <a:extLst>
                <a:ext uri="{FF2B5EF4-FFF2-40B4-BE49-F238E27FC236}">
                  <a16:creationId xmlns:a16="http://schemas.microsoft.com/office/drawing/2014/main" id="{EDA459BC-3753-FB00-AF41-D6C98644F393}"/>
                </a:ext>
              </a:extLst>
            </p:cNvPr>
            <p:cNvSpPr/>
            <p:nvPr/>
          </p:nvSpPr>
          <p:spPr>
            <a:xfrm>
              <a:off x="13888200" y="8059993"/>
              <a:ext cx="435103" cy="435077"/>
            </a:xfrm>
            <a:custGeom>
              <a:avLst/>
              <a:gdLst>
                <a:gd name="connsiteX0" fmla="*/ 217565 w 435103"/>
                <a:gd name="connsiteY0" fmla="*/ 435077 h 435077"/>
                <a:gd name="connsiteX1" fmla="*/ 217565 w 435103"/>
                <a:gd name="connsiteY1" fmla="*/ 0 h 435077"/>
                <a:gd name="connsiteX2" fmla="*/ 435104 w 435103"/>
                <a:gd name="connsiteY2" fmla="*/ 217539 h 435077"/>
                <a:gd name="connsiteX3" fmla="*/ 217565 w 435103"/>
                <a:gd name="connsiteY3" fmla="*/ 435077 h 435077"/>
                <a:gd name="connsiteX4" fmla="*/ 0 w 435103"/>
                <a:gd name="connsiteY4" fmla="*/ 435077 h 435077"/>
                <a:gd name="connsiteX5" fmla="*/ 0 w 435103"/>
                <a:gd name="connsiteY5" fmla="*/ 27 h 435077"/>
                <a:gd name="connsiteX6" fmla="*/ 217539 w 435103"/>
                <a:gd name="connsiteY6" fmla="*/ 217566 h 435077"/>
                <a:gd name="connsiteX7" fmla="*/ 0 w 435103"/>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103" h="435077">
                  <a:moveTo>
                    <a:pt x="217565" y="435077"/>
                  </a:moveTo>
                  <a:lnTo>
                    <a:pt x="217565" y="0"/>
                  </a:lnTo>
                  <a:lnTo>
                    <a:pt x="435104" y="217539"/>
                  </a:lnTo>
                  <a:lnTo>
                    <a:pt x="217565" y="435077"/>
                  </a:lnTo>
                  <a:close/>
                  <a:moveTo>
                    <a:pt x="0" y="435077"/>
                  </a:moveTo>
                  <a:lnTo>
                    <a:pt x="0" y="27"/>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297" name="Freeform: Shape 296">
              <a:extLst>
                <a:ext uri="{FF2B5EF4-FFF2-40B4-BE49-F238E27FC236}">
                  <a16:creationId xmlns:a16="http://schemas.microsoft.com/office/drawing/2014/main" id="{8E78B404-803A-5955-0C16-E7A7F82AFE1C}"/>
                </a:ext>
              </a:extLst>
            </p:cNvPr>
            <p:cNvSpPr/>
            <p:nvPr/>
          </p:nvSpPr>
          <p:spPr>
            <a:xfrm>
              <a:off x="15628536" y="805999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7" y="153827"/>
                  </a:cubicBezTo>
                  <a:cubicBezTo>
                    <a:pt x="330578" y="194616"/>
                    <a:pt x="275241" y="217539"/>
                    <a:pt x="217539" y="217539"/>
                  </a:cubicBezTo>
                  <a:cubicBezTo>
                    <a:pt x="159865" y="217539"/>
                    <a:pt x="104527" y="194616"/>
                    <a:pt x="63712" y="153827"/>
                  </a:cubicBezTo>
                  <a:close/>
                  <a:moveTo>
                    <a:pt x="63712" y="281250"/>
                  </a:moveTo>
                  <a:cubicBezTo>
                    <a:pt x="22924" y="322066"/>
                    <a:pt x="0" y="377402"/>
                    <a:pt x="0" y="435077"/>
                  </a:cubicBezTo>
                  <a:lnTo>
                    <a:pt x="217539" y="435077"/>
                  </a:lnTo>
                  <a:lnTo>
                    <a:pt x="435077" y="435077"/>
                  </a:lnTo>
                  <a:cubicBezTo>
                    <a:pt x="435077" y="377402"/>
                    <a:pt x="412155" y="322066"/>
                    <a:pt x="371367" y="281250"/>
                  </a:cubicBezTo>
                  <a:cubicBezTo>
                    <a:pt x="330578" y="240462"/>
                    <a:pt x="275241" y="217539"/>
                    <a:pt x="217539" y="217539"/>
                  </a:cubicBezTo>
                  <a:cubicBezTo>
                    <a:pt x="159865" y="217539"/>
                    <a:pt x="104527" y="240462"/>
                    <a:pt x="63712" y="281250"/>
                  </a:cubicBezTo>
                  <a:close/>
                </a:path>
              </a:pathLst>
            </a:custGeom>
            <a:grpFill/>
            <a:ln w="27192" cap="flat">
              <a:noFill/>
              <a:prstDash val="solid"/>
              <a:miter/>
            </a:ln>
          </p:spPr>
          <p:txBody>
            <a:bodyPr rtlCol="0" anchor="ctr"/>
            <a:lstStyle/>
            <a:p>
              <a:endParaRPr lang="uk-UA" sz="900"/>
            </a:p>
          </p:txBody>
        </p:sp>
        <p:sp>
          <p:nvSpPr>
            <p:cNvPr id="298" name="Freeform: Shape 297">
              <a:extLst>
                <a:ext uri="{FF2B5EF4-FFF2-40B4-BE49-F238E27FC236}">
                  <a16:creationId xmlns:a16="http://schemas.microsoft.com/office/drawing/2014/main" id="{7174163A-CDBE-334A-9B0E-60EDD0236643}"/>
                </a:ext>
              </a:extLst>
            </p:cNvPr>
            <p:cNvSpPr/>
            <p:nvPr/>
          </p:nvSpPr>
          <p:spPr>
            <a:xfrm>
              <a:off x="16498719" y="805999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0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0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0" y="217539"/>
                  </a:lnTo>
                  <a:lnTo>
                    <a:pt x="0" y="217539"/>
                  </a:lnTo>
                  <a:close/>
                  <a:moveTo>
                    <a:pt x="0" y="435077"/>
                  </a:moveTo>
                  <a:lnTo>
                    <a:pt x="0" y="217539"/>
                  </a:lnTo>
                  <a:lnTo>
                    <a:pt x="217510" y="217539"/>
                  </a:lnTo>
                  <a:lnTo>
                    <a:pt x="0" y="435077"/>
                  </a:lnTo>
                  <a:close/>
                </a:path>
              </a:pathLst>
            </a:custGeom>
            <a:grpFill/>
            <a:ln w="27192" cap="flat">
              <a:noFill/>
              <a:prstDash val="solid"/>
              <a:miter/>
            </a:ln>
          </p:spPr>
          <p:txBody>
            <a:bodyPr rtlCol="0" anchor="ctr"/>
            <a:lstStyle/>
            <a:p>
              <a:endParaRPr lang="uk-UA" sz="900"/>
            </a:p>
          </p:txBody>
        </p:sp>
        <p:sp>
          <p:nvSpPr>
            <p:cNvPr id="299" name="Freeform: Shape 298">
              <a:extLst>
                <a:ext uri="{FF2B5EF4-FFF2-40B4-BE49-F238E27FC236}">
                  <a16:creationId xmlns:a16="http://schemas.microsoft.com/office/drawing/2014/main" id="{F9CD4D9E-CD9E-FA7A-C2DC-EE9F7CB20950}"/>
                </a:ext>
              </a:extLst>
            </p:cNvPr>
            <p:cNvSpPr/>
            <p:nvPr/>
          </p:nvSpPr>
          <p:spPr>
            <a:xfrm>
              <a:off x="18239029" y="8059993"/>
              <a:ext cx="435077" cy="435077"/>
            </a:xfrm>
            <a:custGeom>
              <a:avLst/>
              <a:gdLst>
                <a:gd name="connsiteX0" fmla="*/ 435077 w 435077"/>
                <a:gd name="connsiteY0" fmla="*/ 435077 h 435077"/>
                <a:gd name="connsiteX1" fmla="*/ 435077 w 435077"/>
                <a:gd name="connsiteY1" fmla="*/ 0 h 435077"/>
                <a:gd name="connsiteX2" fmla="*/ 217565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39"/>
                  </a:lnTo>
                  <a:lnTo>
                    <a:pt x="435077" y="435077"/>
                  </a:lnTo>
                  <a:close/>
                  <a:moveTo>
                    <a:pt x="0" y="435077"/>
                  </a:moveTo>
                  <a:lnTo>
                    <a:pt x="0" y="0"/>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300" name="Freeform: Shape 299">
              <a:extLst>
                <a:ext uri="{FF2B5EF4-FFF2-40B4-BE49-F238E27FC236}">
                  <a16:creationId xmlns:a16="http://schemas.microsoft.com/office/drawing/2014/main" id="{D7630BDC-7F9D-A71E-8D86-C0A935925B4B}"/>
                </a:ext>
              </a:extLst>
            </p:cNvPr>
            <p:cNvSpPr/>
            <p:nvPr/>
          </p:nvSpPr>
          <p:spPr>
            <a:xfrm>
              <a:off x="17368874" y="8059993"/>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27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27"/>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301" name="Freeform: Shape 300">
              <a:extLst>
                <a:ext uri="{FF2B5EF4-FFF2-40B4-BE49-F238E27FC236}">
                  <a16:creationId xmlns:a16="http://schemas.microsoft.com/office/drawing/2014/main" id="{A27CCCD7-EBD2-3F22-D2A0-310F4D61445C}"/>
                </a:ext>
              </a:extLst>
            </p:cNvPr>
            <p:cNvSpPr/>
            <p:nvPr/>
          </p:nvSpPr>
          <p:spPr>
            <a:xfrm>
              <a:off x="19109210" y="805999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895" y="113039"/>
                    <a:pt x="0" y="57702"/>
                    <a:pt x="0" y="0"/>
                  </a:cubicBezTo>
                  <a:lnTo>
                    <a:pt x="217539" y="0"/>
                  </a:lnTo>
                  <a:lnTo>
                    <a:pt x="435077" y="0"/>
                  </a:lnTo>
                  <a:cubicBezTo>
                    <a:pt x="435077" y="57702"/>
                    <a:pt x="412154" y="113039"/>
                    <a:pt x="371339" y="153827"/>
                  </a:cubicBezTo>
                  <a:cubicBezTo>
                    <a:pt x="330550" y="194616"/>
                    <a:pt x="275215" y="217539"/>
                    <a:pt x="217539" y="217539"/>
                  </a:cubicBezTo>
                  <a:cubicBezTo>
                    <a:pt x="159836" y="217539"/>
                    <a:pt x="104501" y="194616"/>
                    <a:pt x="63712" y="153827"/>
                  </a:cubicBezTo>
                  <a:close/>
                  <a:moveTo>
                    <a:pt x="63712" y="281250"/>
                  </a:moveTo>
                  <a:cubicBezTo>
                    <a:pt x="22895" y="322066"/>
                    <a:pt x="0" y="377402"/>
                    <a:pt x="0" y="435077"/>
                  </a:cubicBezTo>
                  <a:lnTo>
                    <a:pt x="217539" y="435077"/>
                  </a:lnTo>
                  <a:lnTo>
                    <a:pt x="435077" y="435077"/>
                  </a:lnTo>
                  <a:cubicBezTo>
                    <a:pt x="435077" y="377402"/>
                    <a:pt x="412154" y="322066"/>
                    <a:pt x="371339" y="281250"/>
                  </a:cubicBezTo>
                  <a:cubicBezTo>
                    <a:pt x="330550" y="240462"/>
                    <a:pt x="275215" y="217539"/>
                    <a:pt x="217539" y="217539"/>
                  </a:cubicBezTo>
                  <a:cubicBezTo>
                    <a:pt x="159836" y="217539"/>
                    <a:pt x="104501" y="240462"/>
                    <a:pt x="63712" y="281250"/>
                  </a:cubicBezTo>
                  <a:close/>
                </a:path>
              </a:pathLst>
            </a:custGeom>
            <a:grpFill/>
            <a:ln w="27192" cap="flat">
              <a:noFill/>
              <a:prstDash val="solid"/>
              <a:miter/>
            </a:ln>
          </p:spPr>
          <p:txBody>
            <a:bodyPr rtlCol="0" anchor="ctr"/>
            <a:lstStyle/>
            <a:p>
              <a:endParaRPr lang="uk-UA" sz="900"/>
            </a:p>
          </p:txBody>
        </p:sp>
        <p:sp>
          <p:nvSpPr>
            <p:cNvPr id="302" name="Freeform: Shape 301">
              <a:extLst>
                <a:ext uri="{FF2B5EF4-FFF2-40B4-BE49-F238E27FC236}">
                  <a16:creationId xmlns:a16="http://schemas.microsoft.com/office/drawing/2014/main" id="{CC312617-D0B7-4F3A-EFE0-4963AB697B11}"/>
                </a:ext>
              </a:extLst>
            </p:cNvPr>
            <p:cNvSpPr/>
            <p:nvPr/>
          </p:nvSpPr>
          <p:spPr>
            <a:xfrm>
              <a:off x="19979365" y="805999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39 h 435077"/>
                <a:gd name="connsiteX13" fmla="*/ 217512 w 435077"/>
                <a:gd name="connsiteY13" fmla="*/ 217539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2" y="217539"/>
                  </a:lnTo>
                  <a:lnTo>
                    <a:pt x="0" y="217539"/>
                  </a:lnTo>
                  <a:close/>
                  <a:moveTo>
                    <a:pt x="0" y="435077"/>
                  </a:moveTo>
                  <a:lnTo>
                    <a:pt x="0" y="217539"/>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303" name="Freeform: Shape 302">
              <a:extLst>
                <a:ext uri="{FF2B5EF4-FFF2-40B4-BE49-F238E27FC236}">
                  <a16:creationId xmlns:a16="http://schemas.microsoft.com/office/drawing/2014/main" id="{335364F0-377A-646F-42D1-6D1922FC5126}"/>
                </a:ext>
              </a:extLst>
            </p:cNvPr>
            <p:cNvSpPr/>
            <p:nvPr/>
          </p:nvSpPr>
          <p:spPr>
            <a:xfrm>
              <a:off x="21719702" y="8059993"/>
              <a:ext cx="435077" cy="435077"/>
            </a:xfrm>
            <a:custGeom>
              <a:avLst/>
              <a:gdLst>
                <a:gd name="connsiteX0" fmla="*/ 435077 w 435077"/>
                <a:gd name="connsiteY0" fmla="*/ 435077 h 435077"/>
                <a:gd name="connsiteX1" fmla="*/ 435077 w 435077"/>
                <a:gd name="connsiteY1" fmla="*/ 0 h 435077"/>
                <a:gd name="connsiteX2" fmla="*/ 217539 w 435077"/>
                <a:gd name="connsiteY2" fmla="*/ 217539 h 435077"/>
                <a:gd name="connsiteX3" fmla="*/ 435077 w 435077"/>
                <a:gd name="connsiteY3" fmla="*/ 435077 h 435077"/>
                <a:gd name="connsiteX4" fmla="*/ 0 w 435077"/>
                <a:gd name="connsiteY4" fmla="*/ 435077 h 435077"/>
                <a:gd name="connsiteX5" fmla="*/ 0 w 435077"/>
                <a:gd name="connsiteY5" fmla="*/ 0 h 435077"/>
                <a:gd name="connsiteX6" fmla="*/ 217512 w 435077"/>
                <a:gd name="connsiteY6" fmla="*/ 217539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39"/>
                  </a:lnTo>
                  <a:lnTo>
                    <a:pt x="435077" y="435077"/>
                  </a:lnTo>
                  <a:close/>
                  <a:moveTo>
                    <a:pt x="0" y="435077"/>
                  </a:moveTo>
                  <a:lnTo>
                    <a:pt x="0" y="0"/>
                  </a:lnTo>
                  <a:lnTo>
                    <a:pt x="217512" y="217539"/>
                  </a:lnTo>
                  <a:lnTo>
                    <a:pt x="0" y="435077"/>
                  </a:lnTo>
                  <a:close/>
                </a:path>
              </a:pathLst>
            </a:custGeom>
            <a:grpFill/>
            <a:ln w="27192" cap="flat">
              <a:noFill/>
              <a:prstDash val="solid"/>
              <a:miter/>
            </a:ln>
          </p:spPr>
          <p:txBody>
            <a:bodyPr rtlCol="0" anchor="ctr"/>
            <a:lstStyle/>
            <a:p>
              <a:endParaRPr lang="uk-UA" sz="900"/>
            </a:p>
          </p:txBody>
        </p:sp>
        <p:sp>
          <p:nvSpPr>
            <p:cNvPr id="304" name="Freeform: Shape 303">
              <a:extLst>
                <a:ext uri="{FF2B5EF4-FFF2-40B4-BE49-F238E27FC236}">
                  <a16:creationId xmlns:a16="http://schemas.microsoft.com/office/drawing/2014/main" id="{DA8F3657-CE31-F0F2-F647-07EBB01938ED}"/>
                </a:ext>
              </a:extLst>
            </p:cNvPr>
            <p:cNvSpPr/>
            <p:nvPr/>
          </p:nvSpPr>
          <p:spPr>
            <a:xfrm>
              <a:off x="20849520" y="8059993"/>
              <a:ext cx="435077" cy="435077"/>
            </a:xfrm>
            <a:custGeom>
              <a:avLst/>
              <a:gdLst>
                <a:gd name="connsiteX0" fmla="*/ 217565 w 435077"/>
                <a:gd name="connsiteY0" fmla="*/ 435077 h 435077"/>
                <a:gd name="connsiteX1" fmla="*/ 217565 w 435077"/>
                <a:gd name="connsiteY1" fmla="*/ 0 h 435077"/>
                <a:gd name="connsiteX2" fmla="*/ 435077 w 435077"/>
                <a:gd name="connsiteY2" fmla="*/ 217539 h 435077"/>
                <a:gd name="connsiteX3" fmla="*/ 217565 w 435077"/>
                <a:gd name="connsiteY3" fmla="*/ 435077 h 435077"/>
                <a:gd name="connsiteX4" fmla="*/ 0 w 435077"/>
                <a:gd name="connsiteY4" fmla="*/ 435077 h 435077"/>
                <a:gd name="connsiteX5" fmla="*/ 0 w 435077"/>
                <a:gd name="connsiteY5" fmla="*/ 27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65" y="435077"/>
                  </a:moveTo>
                  <a:lnTo>
                    <a:pt x="217565" y="0"/>
                  </a:lnTo>
                  <a:lnTo>
                    <a:pt x="435077" y="217539"/>
                  </a:lnTo>
                  <a:lnTo>
                    <a:pt x="217565" y="435077"/>
                  </a:lnTo>
                  <a:close/>
                  <a:moveTo>
                    <a:pt x="0" y="435077"/>
                  </a:moveTo>
                  <a:lnTo>
                    <a:pt x="0" y="27"/>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305" name="Freeform: Shape 304">
              <a:extLst>
                <a:ext uri="{FF2B5EF4-FFF2-40B4-BE49-F238E27FC236}">
                  <a16:creationId xmlns:a16="http://schemas.microsoft.com/office/drawing/2014/main" id="{3011EB22-8E45-289D-9332-73C6B70C3679}"/>
                </a:ext>
              </a:extLst>
            </p:cNvPr>
            <p:cNvSpPr/>
            <p:nvPr/>
          </p:nvSpPr>
          <p:spPr>
            <a:xfrm>
              <a:off x="22589856" y="805999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7 h 435077"/>
                <a:gd name="connsiteX5" fmla="*/ 217539 w 435077"/>
                <a:gd name="connsiteY5" fmla="*/ 217539 h 435077"/>
                <a:gd name="connsiteX6" fmla="*/ 63712 w 435077"/>
                <a:gd name="connsiteY6" fmla="*/ 153827 h 435077"/>
                <a:gd name="connsiteX7" fmla="*/ 63712 w 435077"/>
                <a:gd name="connsiteY7" fmla="*/ 281250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50 h 435077"/>
                <a:gd name="connsiteX12" fmla="*/ 217539 w 435077"/>
                <a:gd name="connsiteY12" fmla="*/ 217539 h 435077"/>
                <a:gd name="connsiteX13" fmla="*/ 63712 w 435077"/>
                <a:gd name="connsiteY13" fmla="*/ 28125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7" y="153827"/>
                  </a:cubicBezTo>
                  <a:cubicBezTo>
                    <a:pt x="330578" y="194616"/>
                    <a:pt x="275241" y="217539"/>
                    <a:pt x="217539" y="217539"/>
                  </a:cubicBezTo>
                  <a:cubicBezTo>
                    <a:pt x="159838" y="217539"/>
                    <a:pt x="104529" y="194616"/>
                    <a:pt x="63712" y="153827"/>
                  </a:cubicBezTo>
                  <a:close/>
                  <a:moveTo>
                    <a:pt x="63712" y="281250"/>
                  </a:moveTo>
                  <a:cubicBezTo>
                    <a:pt x="22924" y="322066"/>
                    <a:pt x="0" y="377402"/>
                    <a:pt x="0" y="435077"/>
                  </a:cubicBezTo>
                  <a:lnTo>
                    <a:pt x="217539" y="435077"/>
                  </a:lnTo>
                  <a:lnTo>
                    <a:pt x="435077" y="435077"/>
                  </a:lnTo>
                  <a:cubicBezTo>
                    <a:pt x="435077" y="377402"/>
                    <a:pt x="412155" y="322066"/>
                    <a:pt x="371367" y="281250"/>
                  </a:cubicBezTo>
                  <a:cubicBezTo>
                    <a:pt x="330578" y="240462"/>
                    <a:pt x="275241" y="217539"/>
                    <a:pt x="217539" y="217539"/>
                  </a:cubicBezTo>
                  <a:cubicBezTo>
                    <a:pt x="159838" y="217539"/>
                    <a:pt x="104529" y="240462"/>
                    <a:pt x="63712" y="281250"/>
                  </a:cubicBezTo>
                  <a:close/>
                </a:path>
              </a:pathLst>
            </a:custGeom>
            <a:grpFill/>
            <a:ln w="27192" cap="flat">
              <a:noFill/>
              <a:prstDash val="solid"/>
              <a:miter/>
            </a:ln>
          </p:spPr>
          <p:txBody>
            <a:bodyPr rtlCol="0" anchor="ctr"/>
            <a:lstStyle/>
            <a:p>
              <a:endParaRPr lang="uk-UA" sz="900"/>
            </a:p>
          </p:txBody>
        </p:sp>
        <p:sp>
          <p:nvSpPr>
            <p:cNvPr id="306" name="Freeform: Shape 305">
              <a:extLst>
                <a:ext uri="{FF2B5EF4-FFF2-40B4-BE49-F238E27FC236}">
                  <a16:creationId xmlns:a16="http://schemas.microsoft.com/office/drawing/2014/main" id="{A769F3F1-9E54-1E10-31E8-2AEFC3C07358}"/>
                </a:ext>
              </a:extLst>
            </p:cNvPr>
            <p:cNvSpPr/>
            <p:nvPr/>
          </p:nvSpPr>
          <p:spPr>
            <a:xfrm>
              <a:off x="23460011" y="8059993"/>
              <a:ext cx="435105" cy="435077"/>
            </a:xfrm>
            <a:custGeom>
              <a:avLst/>
              <a:gdLst>
                <a:gd name="connsiteX0" fmla="*/ 435106 w 435105"/>
                <a:gd name="connsiteY0" fmla="*/ 435077 h 435077"/>
                <a:gd name="connsiteX1" fmla="*/ 435106 w 435105"/>
                <a:gd name="connsiteY1" fmla="*/ 217566 h 435077"/>
                <a:gd name="connsiteX2" fmla="*/ 435106 w 435105"/>
                <a:gd name="connsiteY2" fmla="*/ 27 h 435077"/>
                <a:gd name="connsiteX3" fmla="*/ 217567 w 435105"/>
                <a:gd name="connsiteY3" fmla="*/ 27 h 435077"/>
                <a:gd name="connsiteX4" fmla="*/ 435106 w 435105"/>
                <a:gd name="connsiteY4" fmla="*/ 217566 h 435077"/>
                <a:gd name="connsiteX5" fmla="*/ 217567 w 435105"/>
                <a:gd name="connsiteY5" fmla="*/ 435077 h 435077"/>
                <a:gd name="connsiteX6" fmla="*/ 435106 w 435105"/>
                <a:gd name="connsiteY6" fmla="*/ 435077 h 435077"/>
                <a:gd name="connsiteX7" fmla="*/ 0 w 435105"/>
                <a:gd name="connsiteY7" fmla="*/ 217539 h 435077"/>
                <a:gd name="connsiteX8" fmla="*/ 0 w 435105"/>
                <a:gd name="connsiteY8" fmla="*/ 0 h 435077"/>
                <a:gd name="connsiteX9" fmla="*/ 217539 w 435105"/>
                <a:gd name="connsiteY9" fmla="*/ 217539 h 435077"/>
                <a:gd name="connsiteX10" fmla="*/ 0 w 435105"/>
                <a:gd name="connsiteY10" fmla="*/ 217539 h 435077"/>
                <a:gd name="connsiteX11" fmla="*/ 0 w 435105"/>
                <a:gd name="connsiteY11" fmla="*/ 435077 h 435077"/>
                <a:gd name="connsiteX12" fmla="*/ 0 w 435105"/>
                <a:gd name="connsiteY12" fmla="*/ 217539 h 435077"/>
                <a:gd name="connsiteX13" fmla="*/ 217539 w 435105"/>
                <a:gd name="connsiteY13" fmla="*/ 217539 h 435077"/>
                <a:gd name="connsiteX14" fmla="*/ 0 w 435105"/>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105" h="435077">
                  <a:moveTo>
                    <a:pt x="435106" y="435077"/>
                  </a:moveTo>
                  <a:lnTo>
                    <a:pt x="435106" y="217566"/>
                  </a:lnTo>
                  <a:lnTo>
                    <a:pt x="435106" y="27"/>
                  </a:lnTo>
                  <a:lnTo>
                    <a:pt x="217567" y="27"/>
                  </a:lnTo>
                  <a:lnTo>
                    <a:pt x="435106" y="217566"/>
                  </a:lnTo>
                  <a:lnTo>
                    <a:pt x="217567" y="435077"/>
                  </a:lnTo>
                  <a:lnTo>
                    <a:pt x="435106" y="435077"/>
                  </a:lnTo>
                  <a:close/>
                  <a:moveTo>
                    <a:pt x="0" y="217539"/>
                  </a:moveTo>
                  <a:lnTo>
                    <a:pt x="0" y="0"/>
                  </a:lnTo>
                  <a:lnTo>
                    <a:pt x="217539" y="217539"/>
                  </a:lnTo>
                  <a:lnTo>
                    <a:pt x="0" y="217539"/>
                  </a:lnTo>
                  <a:close/>
                  <a:moveTo>
                    <a:pt x="0" y="435077"/>
                  </a:moveTo>
                  <a:lnTo>
                    <a:pt x="0" y="217539"/>
                  </a:lnTo>
                  <a:lnTo>
                    <a:pt x="217539" y="217539"/>
                  </a:lnTo>
                  <a:lnTo>
                    <a:pt x="0" y="435077"/>
                  </a:lnTo>
                  <a:close/>
                </a:path>
              </a:pathLst>
            </a:custGeom>
            <a:grpFill/>
            <a:ln w="27192" cap="flat">
              <a:noFill/>
              <a:prstDash val="solid"/>
              <a:miter/>
            </a:ln>
          </p:spPr>
          <p:txBody>
            <a:bodyPr rtlCol="0" anchor="ctr"/>
            <a:lstStyle/>
            <a:p>
              <a:endParaRPr lang="uk-UA" sz="900"/>
            </a:p>
          </p:txBody>
        </p:sp>
        <p:sp>
          <p:nvSpPr>
            <p:cNvPr id="307" name="Freeform: Shape 306">
              <a:extLst>
                <a:ext uri="{FF2B5EF4-FFF2-40B4-BE49-F238E27FC236}">
                  <a16:creationId xmlns:a16="http://schemas.microsoft.com/office/drawing/2014/main" id="{2E43A313-16DD-C993-13DC-1DE21012D57D}"/>
                </a:ext>
              </a:extLst>
            </p:cNvPr>
            <p:cNvSpPr/>
            <p:nvPr/>
          </p:nvSpPr>
          <p:spPr>
            <a:xfrm>
              <a:off x="24330194" y="8059993"/>
              <a:ext cx="435077" cy="435077"/>
            </a:xfrm>
            <a:custGeom>
              <a:avLst/>
              <a:gdLst>
                <a:gd name="connsiteX0" fmla="*/ 217539 w 435077"/>
                <a:gd name="connsiteY0" fmla="*/ 435077 h 435077"/>
                <a:gd name="connsiteX1" fmla="*/ 217539 w 435077"/>
                <a:gd name="connsiteY1" fmla="*/ 0 h 435077"/>
                <a:gd name="connsiteX2" fmla="*/ 435077 w 435077"/>
                <a:gd name="connsiteY2" fmla="*/ 217539 h 435077"/>
                <a:gd name="connsiteX3" fmla="*/ 217539 w 435077"/>
                <a:gd name="connsiteY3" fmla="*/ 435077 h 435077"/>
                <a:gd name="connsiteX4" fmla="*/ 0 w 435077"/>
                <a:gd name="connsiteY4" fmla="*/ 435077 h 435077"/>
                <a:gd name="connsiteX5" fmla="*/ 0 w 435077"/>
                <a:gd name="connsiteY5" fmla="*/ 27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217539" y="435077"/>
                  </a:moveTo>
                  <a:lnTo>
                    <a:pt x="217539" y="0"/>
                  </a:lnTo>
                  <a:lnTo>
                    <a:pt x="435077" y="217539"/>
                  </a:lnTo>
                  <a:lnTo>
                    <a:pt x="217539" y="435077"/>
                  </a:lnTo>
                  <a:close/>
                  <a:moveTo>
                    <a:pt x="0" y="435077"/>
                  </a:moveTo>
                  <a:lnTo>
                    <a:pt x="0" y="27"/>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308" name="Freeform: Shape 307">
              <a:extLst>
                <a:ext uri="{FF2B5EF4-FFF2-40B4-BE49-F238E27FC236}">
                  <a16:creationId xmlns:a16="http://schemas.microsoft.com/office/drawing/2014/main" id="{7618AF9E-E549-A40C-33D4-9042C97B898B}"/>
                </a:ext>
              </a:extLst>
            </p:cNvPr>
            <p:cNvSpPr/>
            <p:nvPr/>
          </p:nvSpPr>
          <p:spPr>
            <a:xfrm>
              <a:off x="835769" y="8930148"/>
              <a:ext cx="435077" cy="435104"/>
            </a:xfrm>
            <a:custGeom>
              <a:avLst/>
              <a:gdLst>
                <a:gd name="connsiteX0" fmla="*/ 0 w 435077"/>
                <a:gd name="connsiteY0" fmla="*/ 435077 h 435104"/>
                <a:gd name="connsiteX1" fmla="*/ 217511 w 435077"/>
                <a:gd name="connsiteY1" fmla="*/ 435077 h 435104"/>
                <a:gd name="connsiteX2" fmla="*/ 217511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11" y="435077"/>
                  </a:lnTo>
                  <a:lnTo>
                    <a:pt x="217511"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309" name="Freeform: Shape 308">
              <a:extLst>
                <a:ext uri="{FF2B5EF4-FFF2-40B4-BE49-F238E27FC236}">
                  <a16:creationId xmlns:a16="http://schemas.microsoft.com/office/drawing/2014/main" id="{02A8BED4-F402-48BC-BD41-23B1F476D0B3}"/>
                </a:ext>
              </a:extLst>
            </p:cNvPr>
            <p:cNvSpPr/>
            <p:nvPr/>
          </p:nvSpPr>
          <p:spPr>
            <a:xfrm>
              <a:off x="-34398" y="8930148"/>
              <a:ext cx="435063" cy="435077"/>
            </a:xfrm>
            <a:custGeom>
              <a:avLst/>
              <a:gdLst>
                <a:gd name="connsiteX0" fmla="*/ 217525 w 435063"/>
                <a:gd name="connsiteY0" fmla="*/ 217539 h 435077"/>
                <a:gd name="connsiteX1" fmla="*/ 217525 w 435063"/>
                <a:gd name="connsiteY1" fmla="*/ 0 h 435077"/>
                <a:gd name="connsiteX2" fmla="*/ 0 w 435063"/>
                <a:gd name="connsiteY2" fmla="*/ 0 h 435077"/>
                <a:gd name="connsiteX3" fmla="*/ 217525 w 435063"/>
                <a:gd name="connsiteY3" fmla="*/ 217539 h 435077"/>
                <a:gd name="connsiteX4" fmla="*/ 0 w 435063"/>
                <a:gd name="connsiteY4" fmla="*/ 435077 h 435077"/>
                <a:gd name="connsiteX5" fmla="*/ 217525 w 435063"/>
                <a:gd name="connsiteY5" fmla="*/ 435077 h 435077"/>
                <a:gd name="connsiteX6" fmla="*/ 217525 w 435063"/>
                <a:gd name="connsiteY6" fmla="*/ 435077 h 435077"/>
                <a:gd name="connsiteX7" fmla="*/ 435064 w 435063"/>
                <a:gd name="connsiteY7" fmla="*/ 217566 h 435077"/>
                <a:gd name="connsiteX8" fmla="*/ 435064 w 435063"/>
                <a:gd name="connsiteY8" fmla="*/ 217566 h 435077"/>
                <a:gd name="connsiteX9" fmla="*/ 435064 w 435063"/>
                <a:gd name="connsiteY9" fmla="*/ 217539 h 435077"/>
                <a:gd name="connsiteX10" fmla="*/ 435064 w 435063"/>
                <a:gd name="connsiteY10" fmla="*/ 217539 h 435077"/>
                <a:gd name="connsiteX11" fmla="*/ 435064 w 435063"/>
                <a:gd name="connsiteY11" fmla="*/ 217539 h 435077"/>
                <a:gd name="connsiteX12" fmla="*/ 217525 w 435063"/>
                <a:gd name="connsiteY12" fmla="*/ 27 h 435077"/>
                <a:gd name="connsiteX13" fmla="*/ 217525 w 435063"/>
                <a:gd name="connsiteY13" fmla="*/ 217539 h 435077"/>
                <a:gd name="connsiteX14" fmla="*/ 217525 w 435063"/>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63" h="435077">
                  <a:moveTo>
                    <a:pt x="217525" y="217539"/>
                  </a:moveTo>
                  <a:lnTo>
                    <a:pt x="217525" y="0"/>
                  </a:lnTo>
                  <a:lnTo>
                    <a:pt x="0" y="0"/>
                  </a:lnTo>
                  <a:lnTo>
                    <a:pt x="217525" y="217539"/>
                  </a:lnTo>
                  <a:lnTo>
                    <a:pt x="0" y="435077"/>
                  </a:lnTo>
                  <a:lnTo>
                    <a:pt x="217525" y="435077"/>
                  </a:lnTo>
                  <a:lnTo>
                    <a:pt x="217525" y="435077"/>
                  </a:lnTo>
                  <a:lnTo>
                    <a:pt x="435064" y="217566"/>
                  </a:lnTo>
                  <a:lnTo>
                    <a:pt x="435064" y="217566"/>
                  </a:lnTo>
                  <a:lnTo>
                    <a:pt x="435064" y="217539"/>
                  </a:lnTo>
                  <a:lnTo>
                    <a:pt x="435064" y="217539"/>
                  </a:lnTo>
                  <a:lnTo>
                    <a:pt x="435064" y="217539"/>
                  </a:lnTo>
                  <a:lnTo>
                    <a:pt x="217525" y="27"/>
                  </a:lnTo>
                  <a:lnTo>
                    <a:pt x="217525" y="217539"/>
                  </a:lnTo>
                  <a:lnTo>
                    <a:pt x="217525" y="217539"/>
                  </a:lnTo>
                  <a:close/>
                </a:path>
              </a:pathLst>
            </a:custGeom>
            <a:grpFill/>
            <a:ln w="27192" cap="flat">
              <a:noFill/>
              <a:prstDash val="solid"/>
              <a:miter/>
            </a:ln>
          </p:spPr>
          <p:txBody>
            <a:bodyPr rtlCol="0" anchor="ctr"/>
            <a:lstStyle/>
            <a:p>
              <a:endParaRPr lang="uk-UA" sz="900"/>
            </a:p>
          </p:txBody>
        </p:sp>
        <p:sp>
          <p:nvSpPr>
            <p:cNvPr id="310" name="Freeform: Shape 309">
              <a:extLst>
                <a:ext uri="{FF2B5EF4-FFF2-40B4-BE49-F238E27FC236}">
                  <a16:creationId xmlns:a16="http://schemas.microsoft.com/office/drawing/2014/main" id="{452B85AF-D964-B2C6-68D4-0D663E38D8CC}"/>
                </a:ext>
              </a:extLst>
            </p:cNvPr>
            <p:cNvSpPr/>
            <p:nvPr/>
          </p:nvSpPr>
          <p:spPr>
            <a:xfrm>
              <a:off x="1705924" y="8930148"/>
              <a:ext cx="435104" cy="435077"/>
            </a:xfrm>
            <a:custGeom>
              <a:avLst/>
              <a:gdLst>
                <a:gd name="connsiteX0" fmla="*/ 217539 w 435104"/>
                <a:gd name="connsiteY0" fmla="*/ 0 h 435077"/>
                <a:gd name="connsiteX1" fmla="*/ 0 w 435104"/>
                <a:gd name="connsiteY1" fmla="*/ 0 h 435077"/>
                <a:gd name="connsiteX2" fmla="*/ 0 w 435104"/>
                <a:gd name="connsiteY2" fmla="*/ 217539 h 435077"/>
                <a:gd name="connsiteX3" fmla="*/ 217539 w 435104"/>
                <a:gd name="connsiteY3" fmla="*/ 0 h 435077"/>
                <a:gd name="connsiteX4" fmla="*/ 435104 w 435104"/>
                <a:gd name="connsiteY4" fmla="*/ 27 h 435077"/>
                <a:gd name="connsiteX5" fmla="*/ 435104 w 435104"/>
                <a:gd name="connsiteY5" fmla="*/ 217566 h 435077"/>
                <a:gd name="connsiteX6" fmla="*/ 217566 w 435104"/>
                <a:gd name="connsiteY6" fmla="*/ 27 h 435077"/>
                <a:gd name="connsiteX7" fmla="*/ 435104 w 435104"/>
                <a:gd name="connsiteY7" fmla="*/ 27 h 435077"/>
                <a:gd name="connsiteX8" fmla="*/ 217566 w 435104"/>
                <a:gd name="connsiteY8" fmla="*/ 435077 h 435077"/>
                <a:gd name="connsiteX9" fmla="*/ 435104 w 435104"/>
                <a:gd name="connsiteY9" fmla="*/ 217566 h 435077"/>
                <a:gd name="connsiteX10" fmla="*/ 435104 w 435104"/>
                <a:gd name="connsiteY10" fmla="*/ 435077 h 435077"/>
                <a:gd name="connsiteX11" fmla="*/ 217566 w 435104"/>
                <a:gd name="connsiteY11" fmla="*/ 435077 h 435077"/>
                <a:gd name="connsiteX12" fmla="*/ 217566 w 435104"/>
                <a:gd name="connsiteY12" fmla="*/ 435077 h 435077"/>
                <a:gd name="connsiteX13" fmla="*/ 27 w 435104"/>
                <a:gd name="connsiteY13" fmla="*/ 217566 h 435077"/>
                <a:gd name="connsiteX14" fmla="*/ 27 w 435104"/>
                <a:gd name="connsiteY14" fmla="*/ 435077 h 435077"/>
                <a:gd name="connsiteX15" fmla="*/ 217566 w 435104"/>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4" h="435077">
                  <a:moveTo>
                    <a:pt x="217539" y="0"/>
                  </a:moveTo>
                  <a:lnTo>
                    <a:pt x="0" y="0"/>
                  </a:lnTo>
                  <a:lnTo>
                    <a:pt x="0" y="217539"/>
                  </a:lnTo>
                  <a:lnTo>
                    <a:pt x="217539" y="0"/>
                  </a:lnTo>
                  <a:close/>
                  <a:moveTo>
                    <a:pt x="435104" y="27"/>
                  </a:moveTo>
                  <a:lnTo>
                    <a:pt x="435104" y="217566"/>
                  </a:lnTo>
                  <a:lnTo>
                    <a:pt x="217566" y="27"/>
                  </a:lnTo>
                  <a:lnTo>
                    <a:pt x="435104" y="27"/>
                  </a:lnTo>
                  <a:close/>
                  <a:moveTo>
                    <a:pt x="217566" y="435077"/>
                  </a:moveTo>
                  <a:lnTo>
                    <a:pt x="435104" y="217566"/>
                  </a:lnTo>
                  <a:lnTo>
                    <a:pt x="435104" y="435077"/>
                  </a:lnTo>
                  <a:lnTo>
                    <a:pt x="217566" y="435077"/>
                  </a:lnTo>
                  <a:close/>
                  <a:moveTo>
                    <a:pt x="217566" y="435077"/>
                  </a:moveTo>
                  <a:lnTo>
                    <a:pt x="27" y="217566"/>
                  </a:lnTo>
                  <a:lnTo>
                    <a:pt x="27" y="435077"/>
                  </a:lnTo>
                  <a:lnTo>
                    <a:pt x="217566" y="435077"/>
                  </a:lnTo>
                  <a:close/>
                </a:path>
              </a:pathLst>
            </a:custGeom>
            <a:grpFill/>
            <a:ln w="27192" cap="flat">
              <a:noFill/>
              <a:prstDash val="solid"/>
              <a:miter/>
            </a:ln>
          </p:spPr>
          <p:txBody>
            <a:bodyPr rtlCol="0" anchor="ctr"/>
            <a:lstStyle/>
            <a:p>
              <a:endParaRPr lang="uk-UA" sz="900"/>
            </a:p>
          </p:txBody>
        </p:sp>
        <p:sp>
          <p:nvSpPr>
            <p:cNvPr id="311" name="Freeform: Shape 310">
              <a:extLst>
                <a:ext uri="{FF2B5EF4-FFF2-40B4-BE49-F238E27FC236}">
                  <a16:creationId xmlns:a16="http://schemas.microsoft.com/office/drawing/2014/main" id="{F0EEF9F0-3634-FDB0-BE4C-7C81ED91D0F3}"/>
                </a:ext>
              </a:extLst>
            </p:cNvPr>
            <p:cNvSpPr/>
            <p:nvPr/>
          </p:nvSpPr>
          <p:spPr>
            <a:xfrm>
              <a:off x="2576106" y="8930148"/>
              <a:ext cx="435077" cy="435077"/>
            </a:xfrm>
            <a:custGeom>
              <a:avLst/>
              <a:gdLst>
                <a:gd name="connsiteX0" fmla="*/ 371366 w 435077"/>
                <a:gd name="connsiteY0" fmla="*/ 63739 h 435077"/>
                <a:gd name="connsiteX1" fmla="*/ 435077 w 435077"/>
                <a:gd name="connsiteY1" fmla="*/ 217539 h 435077"/>
                <a:gd name="connsiteX2" fmla="*/ 217702 w 435077"/>
                <a:gd name="connsiteY2" fmla="*/ 217539 h 435077"/>
                <a:gd name="connsiteX3" fmla="*/ 371366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6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39"/>
                  </a:moveTo>
                  <a:cubicBezTo>
                    <a:pt x="412154" y="104527"/>
                    <a:pt x="435077" y="159864"/>
                    <a:pt x="435077" y="217539"/>
                  </a:cubicBezTo>
                  <a:lnTo>
                    <a:pt x="217702" y="217539"/>
                  </a:lnTo>
                  <a:cubicBezTo>
                    <a:pt x="275350" y="217593"/>
                    <a:pt x="330605" y="240516"/>
                    <a:pt x="371366" y="281277"/>
                  </a:cubicBezTo>
                  <a:cubicBezTo>
                    <a:pt x="412154" y="322066"/>
                    <a:pt x="435077" y="377402"/>
                    <a:pt x="435077" y="435077"/>
                  </a:cubicBezTo>
                  <a:lnTo>
                    <a:pt x="217539" y="435077"/>
                  </a:lnTo>
                  <a:lnTo>
                    <a:pt x="0" y="435077"/>
                  </a:lnTo>
                  <a:cubicBezTo>
                    <a:pt x="0" y="377402"/>
                    <a:pt x="22923" y="322066"/>
                    <a:pt x="63712" y="281277"/>
                  </a:cubicBezTo>
                  <a:cubicBezTo>
                    <a:pt x="104473" y="240516"/>
                    <a:pt x="159728" y="217593"/>
                    <a:pt x="217376" y="217539"/>
                  </a:cubicBezTo>
                  <a:lnTo>
                    <a:pt x="0" y="217539"/>
                  </a:lnTo>
                  <a:cubicBezTo>
                    <a:pt x="0" y="159864"/>
                    <a:pt x="22923" y="104527"/>
                    <a:pt x="63712" y="63739"/>
                  </a:cubicBezTo>
                  <a:cubicBezTo>
                    <a:pt x="104500" y="22923"/>
                    <a:pt x="159837" y="0"/>
                    <a:pt x="217539" y="0"/>
                  </a:cubicBezTo>
                  <a:cubicBezTo>
                    <a:pt x="275214" y="0"/>
                    <a:pt x="330550" y="22923"/>
                    <a:pt x="371366" y="63739"/>
                  </a:cubicBezTo>
                  <a:close/>
                </a:path>
              </a:pathLst>
            </a:custGeom>
            <a:grpFill/>
            <a:ln w="27192" cap="flat">
              <a:noFill/>
              <a:prstDash val="solid"/>
              <a:miter/>
            </a:ln>
          </p:spPr>
          <p:txBody>
            <a:bodyPr rtlCol="0" anchor="ctr"/>
            <a:lstStyle/>
            <a:p>
              <a:endParaRPr lang="uk-UA" sz="900"/>
            </a:p>
          </p:txBody>
        </p:sp>
        <p:sp>
          <p:nvSpPr>
            <p:cNvPr id="312" name="Freeform: Shape 311">
              <a:extLst>
                <a:ext uri="{FF2B5EF4-FFF2-40B4-BE49-F238E27FC236}">
                  <a16:creationId xmlns:a16="http://schemas.microsoft.com/office/drawing/2014/main" id="{2B6B44D8-5C72-01AF-D6DE-F76836C3327D}"/>
                </a:ext>
              </a:extLst>
            </p:cNvPr>
            <p:cNvSpPr/>
            <p:nvPr/>
          </p:nvSpPr>
          <p:spPr>
            <a:xfrm>
              <a:off x="4316442" y="8930148"/>
              <a:ext cx="435050" cy="435104"/>
            </a:xfrm>
            <a:custGeom>
              <a:avLst/>
              <a:gdLst>
                <a:gd name="connsiteX0" fmla="*/ 0 w 435050"/>
                <a:gd name="connsiteY0" fmla="*/ 435077 h 435104"/>
                <a:gd name="connsiteX1" fmla="*/ 217512 w 435050"/>
                <a:gd name="connsiteY1" fmla="*/ 435077 h 435104"/>
                <a:gd name="connsiteX2" fmla="*/ 217512 w 435050"/>
                <a:gd name="connsiteY2" fmla="*/ 217566 h 435104"/>
                <a:gd name="connsiteX3" fmla="*/ 0 w 435050"/>
                <a:gd name="connsiteY3" fmla="*/ 435077 h 435104"/>
                <a:gd name="connsiteX4" fmla="*/ 217512 w 435050"/>
                <a:gd name="connsiteY4" fmla="*/ 0 h 435104"/>
                <a:gd name="connsiteX5" fmla="*/ 0 w 435050"/>
                <a:gd name="connsiteY5" fmla="*/ 0 h 435104"/>
                <a:gd name="connsiteX6" fmla="*/ 217512 w 435050"/>
                <a:gd name="connsiteY6" fmla="*/ 217539 h 435104"/>
                <a:gd name="connsiteX7" fmla="*/ 217512 w 435050"/>
                <a:gd name="connsiteY7" fmla="*/ 0 h 435104"/>
                <a:gd name="connsiteX8" fmla="*/ 435051 w 435050"/>
                <a:gd name="connsiteY8" fmla="*/ 435105 h 435104"/>
                <a:gd name="connsiteX9" fmla="*/ 217539 w 435050"/>
                <a:gd name="connsiteY9" fmla="*/ 435105 h 435104"/>
                <a:gd name="connsiteX10" fmla="*/ 435051 w 435050"/>
                <a:gd name="connsiteY10" fmla="*/ 217566 h 435104"/>
                <a:gd name="connsiteX11" fmla="*/ 435051 w 435050"/>
                <a:gd name="connsiteY11" fmla="*/ 435105 h 435104"/>
                <a:gd name="connsiteX12" fmla="*/ 435051 w 435050"/>
                <a:gd name="connsiteY12" fmla="*/ 27 h 435104"/>
                <a:gd name="connsiteX13" fmla="*/ 217539 w 435050"/>
                <a:gd name="connsiteY13" fmla="*/ 27 h 435104"/>
                <a:gd name="connsiteX14" fmla="*/ 435051 w 435050"/>
                <a:gd name="connsiteY14" fmla="*/ 217539 h 435104"/>
                <a:gd name="connsiteX15" fmla="*/ 435051 w 435050"/>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50" h="435104">
                  <a:moveTo>
                    <a:pt x="0" y="435077"/>
                  </a:moveTo>
                  <a:lnTo>
                    <a:pt x="217512" y="435077"/>
                  </a:lnTo>
                  <a:lnTo>
                    <a:pt x="217512" y="217566"/>
                  </a:lnTo>
                  <a:lnTo>
                    <a:pt x="0" y="435077"/>
                  </a:lnTo>
                  <a:close/>
                  <a:moveTo>
                    <a:pt x="217512" y="0"/>
                  </a:moveTo>
                  <a:lnTo>
                    <a:pt x="0" y="0"/>
                  </a:lnTo>
                  <a:lnTo>
                    <a:pt x="217512" y="217539"/>
                  </a:lnTo>
                  <a:lnTo>
                    <a:pt x="217512" y="0"/>
                  </a:lnTo>
                  <a:close/>
                  <a:moveTo>
                    <a:pt x="435051" y="435105"/>
                  </a:moveTo>
                  <a:lnTo>
                    <a:pt x="217539" y="435105"/>
                  </a:lnTo>
                  <a:lnTo>
                    <a:pt x="435051" y="217566"/>
                  </a:lnTo>
                  <a:lnTo>
                    <a:pt x="435051" y="435105"/>
                  </a:lnTo>
                  <a:close/>
                  <a:moveTo>
                    <a:pt x="435051" y="27"/>
                  </a:moveTo>
                  <a:lnTo>
                    <a:pt x="217539" y="27"/>
                  </a:lnTo>
                  <a:lnTo>
                    <a:pt x="435051" y="217539"/>
                  </a:lnTo>
                  <a:lnTo>
                    <a:pt x="435051" y="27"/>
                  </a:lnTo>
                  <a:close/>
                </a:path>
              </a:pathLst>
            </a:custGeom>
            <a:grpFill/>
            <a:ln w="27192" cap="flat">
              <a:noFill/>
              <a:prstDash val="solid"/>
              <a:miter/>
            </a:ln>
          </p:spPr>
          <p:txBody>
            <a:bodyPr rtlCol="0" anchor="ctr"/>
            <a:lstStyle/>
            <a:p>
              <a:endParaRPr lang="uk-UA" sz="900"/>
            </a:p>
          </p:txBody>
        </p:sp>
        <p:sp>
          <p:nvSpPr>
            <p:cNvPr id="313" name="Freeform: Shape 312">
              <a:extLst>
                <a:ext uri="{FF2B5EF4-FFF2-40B4-BE49-F238E27FC236}">
                  <a16:creationId xmlns:a16="http://schemas.microsoft.com/office/drawing/2014/main" id="{11A2764F-FC08-FC97-146B-B6E3B53E0841}"/>
                </a:ext>
              </a:extLst>
            </p:cNvPr>
            <p:cNvSpPr/>
            <p:nvPr/>
          </p:nvSpPr>
          <p:spPr>
            <a:xfrm>
              <a:off x="3446261" y="893014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314" name="Freeform: Shape 313">
              <a:extLst>
                <a:ext uri="{FF2B5EF4-FFF2-40B4-BE49-F238E27FC236}">
                  <a16:creationId xmlns:a16="http://schemas.microsoft.com/office/drawing/2014/main" id="{8952820A-2FFA-C2BE-A2FF-C765CE4910EF}"/>
                </a:ext>
              </a:extLst>
            </p:cNvPr>
            <p:cNvSpPr/>
            <p:nvPr/>
          </p:nvSpPr>
          <p:spPr>
            <a:xfrm>
              <a:off x="5186597" y="8930148"/>
              <a:ext cx="435077" cy="435077"/>
            </a:xfrm>
            <a:custGeom>
              <a:avLst/>
              <a:gdLst>
                <a:gd name="connsiteX0" fmla="*/ 217539 w 435077"/>
                <a:gd name="connsiteY0" fmla="*/ 0 h 435077"/>
                <a:gd name="connsiteX1" fmla="*/ 217539 w 435077"/>
                <a:gd name="connsiteY1" fmla="*/ 0 h 435077"/>
                <a:gd name="connsiteX2" fmla="*/ 0 w 435077"/>
                <a:gd name="connsiteY2" fmla="*/ 0 h 435077"/>
                <a:gd name="connsiteX3" fmla="*/ 0 w 435077"/>
                <a:gd name="connsiteY3" fmla="*/ 217539 h 435077"/>
                <a:gd name="connsiteX4" fmla="*/ 217539 w 435077"/>
                <a:gd name="connsiteY4" fmla="*/ 27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217539" y="0"/>
                  </a:lnTo>
                  <a:lnTo>
                    <a:pt x="0" y="0"/>
                  </a:lnTo>
                  <a:lnTo>
                    <a:pt x="0" y="217539"/>
                  </a:lnTo>
                  <a:lnTo>
                    <a:pt x="217539" y="27"/>
                  </a:lnTo>
                  <a:lnTo>
                    <a:pt x="435077" y="217539"/>
                  </a:lnTo>
                  <a:lnTo>
                    <a:pt x="217539" y="435077"/>
                  </a:lnTo>
                  <a:lnTo>
                    <a:pt x="0" y="217539"/>
                  </a:lnTo>
                  <a:lnTo>
                    <a:pt x="0" y="435077"/>
                  </a:lnTo>
                  <a:lnTo>
                    <a:pt x="217539" y="435077"/>
                  </a:lnTo>
                  <a:lnTo>
                    <a:pt x="435077" y="435077"/>
                  </a:lnTo>
                  <a:lnTo>
                    <a:pt x="435077" y="217539"/>
                  </a:lnTo>
                  <a:lnTo>
                    <a:pt x="435077" y="0"/>
                  </a:lnTo>
                  <a:lnTo>
                    <a:pt x="217539" y="0"/>
                  </a:lnTo>
                  <a:close/>
                </a:path>
              </a:pathLst>
            </a:custGeom>
            <a:grpFill/>
            <a:ln w="27192" cap="flat">
              <a:noFill/>
              <a:prstDash val="solid"/>
              <a:miter/>
            </a:ln>
          </p:spPr>
          <p:txBody>
            <a:bodyPr rtlCol="0" anchor="ctr"/>
            <a:lstStyle/>
            <a:p>
              <a:endParaRPr lang="uk-UA" sz="900"/>
            </a:p>
          </p:txBody>
        </p:sp>
        <p:sp>
          <p:nvSpPr>
            <p:cNvPr id="315" name="Freeform: Shape 314">
              <a:extLst>
                <a:ext uri="{FF2B5EF4-FFF2-40B4-BE49-F238E27FC236}">
                  <a16:creationId xmlns:a16="http://schemas.microsoft.com/office/drawing/2014/main" id="{A30C8EAB-0F67-D2CF-B821-A6DEA3EFBB7B}"/>
                </a:ext>
              </a:extLst>
            </p:cNvPr>
            <p:cNvSpPr/>
            <p:nvPr/>
          </p:nvSpPr>
          <p:spPr>
            <a:xfrm>
              <a:off x="6056752" y="8930148"/>
              <a:ext cx="435077" cy="435077"/>
            </a:xfrm>
            <a:custGeom>
              <a:avLst/>
              <a:gdLst>
                <a:gd name="connsiteX0" fmla="*/ 371366 w 435077"/>
                <a:gd name="connsiteY0" fmla="*/ 63739 h 435077"/>
                <a:gd name="connsiteX1" fmla="*/ 435077 w 435077"/>
                <a:gd name="connsiteY1" fmla="*/ 217539 h 435077"/>
                <a:gd name="connsiteX2" fmla="*/ 217702 w 435077"/>
                <a:gd name="connsiteY2" fmla="*/ 217539 h 435077"/>
                <a:gd name="connsiteX3" fmla="*/ 371366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6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39"/>
                  </a:moveTo>
                  <a:cubicBezTo>
                    <a:pt x="412155" y="104527"/>
                    <a:pt x="435077" y="159864"/>
                    <a:pt x="435077" y="217539"/>
                  </a:cubicBezTo>
                  <a:lnTo>
                    <a:pt x="217702" y="217539"/>
                  </a:lnTo>
                  <a:cubicBezTo>
                    <a:pt x="275350" y="217593"/>
                    <a:pt x="330605" y="240516"/>
                    <a:pt x="371366" y="281277"/>
                  </a:cubicBezTo>
                  <a:cubicBezTo>
                    <a:pt x="412155" y="322066"/>
                    <a:pt x="435077" y="377402"/>
                    <a:pt x="435077" y="435077"/>
                  </a:cubicBezTo>
                  <a:lnTo>
                    <a:pt x="217539" y="435077"/>
                  </a:lnTo>
                  <a:lnTo>
                    <a:pt x="0" y="435077"/>
                  </a:lnTo>
                  <a:cubicBezTo>
                    <a:pt x="0" y="377402"/>
                    <a:pt x="22924" y="322066"/>
                    <a:pt x="63712" y="281277"/>
                  </a:cubicBezTo>
                  <a:cubicBezTo>
                    <a:pt x="104473" y="240516"/>
                    <a:pt x="159728" y="217593"/>
                    <a:pt x="217376" y="217539"/>
                  </a:cubicBezTo>
                  <a:lnTo>
                    <a:pt x="0" y="217539"/>
                  </a:lnTo>
                  <a:cubicBezTo>
                    <a:pt x="0" y="159864"/>
                    <a:pt x="22924" y="104527"/>
                    <a:pt x="63712" y="63739"/>
                  </a:cubicBezTo>
                  <a:cubicBezTo>
                    <a:pt x="104501" y="22923"/>
                    <a:pt x="159837" y="0"/>
                    <a:pt x="217539" y="0"/>
                  </a:cubicBezTo>
                  <a:cubicBezTo>
                    <a:pt x="275241" y="0"/>
                    <a:pt x="330550" y="22923"/>
                    <a:pt x="371366" y="63739"/>
                  </a:cubicBezTo>
                  <a:close/>
                </a:path>
              </a:pathLst>
            </a:custGeom>
            <a:grpFill/>
            <a:ln w="27192" cap="flat">
              <a:noFill/>
              <a:prstDash val="solid"/>
              <a:miter/>
            </a:ln>
          </p:spPr>
          <p:txBody>
            <a:bodyPr rtlCol="0" anchor="ctr"/>
            <a:lstStyle/>
            <a:p>
              <a:endParaRPr lang="uk-UA" sz="900"/>
            </a:p>
          </p:txBody>
        </p:sp>
        <p:sp>
          <p:nvSpPr>
            <p:cNvPr id="316" name="Freeform: Shape 315">
              <a:extLst>
                <a:ext uri="{FF2B5EF4-FFF2-40B4-BE49-F238E27FC236}">
                  <a16:creationId xmlns:a16="http://schemas.microsoft.com/office/drawing/2014/main" id="{C7E911A2-BB7E-3B5C-D48B-C63C0065BA30}"/>
                </a:ext>
              </a:extLst>
            </p:cNvPr>
            <p:cNvSpPr/>
            <p:nvPr/>
          </p:nvSpPr>
          <p:spPr>
            <a:xfrm>
              <a:off x="7797089" y="8930148"/>
              <a:ext cx="435050" cy="435104"/>
            </a:xfrm>
            <a:custGeom>
              <a:avLst/>
              <a:gdLst>
                <a:gd name="connsiteX0" fmla="*/ 0 w 435050"/>
                <a:gd name="connsiteY0" fmla="*/ 435077 h 435104"/>
                <a:gd name="connsiteX1" fmla="*/ 217511 w 435050"/>
                <a:gd name="connsiteY1" fmla="*/ 435077 h 435104"/>
                <a:gd name="connsiteX2" fmla="*/ 217511 w 435050"/>
                <a:gd name="connsiteY2" fmla="*/ 217566 h 435104"/>
                <a:gd name="connsiteX3" fmla="*/ 0 w 435050"/>
                <a:gd name="connsiteY3" fmla="*/ 435077 h 435104"/>
                <a:gd name="connsiteX4" fmla="*/ 217511 w 435050"/>
                <a:gd name="connsiteY4" fmla="*/ 0 h 435104"/>
                <a:gd name="connsiteX5" fmla="*/ 0 w 435050"/>
                <a:gd name="connsiteY5" fmla="*/ 0 h 435104"/>
                <a:gd name="connsiteX6" fmla="*/ 217511 w 435050"/>
                <a:gd name="connsiteY6" fmla="*/ 217539 h 435104"/>
                <a:gd name="connsiteX7" fmla="*/ 217511 w 435050"/>
                <a:gd name="connsiteY7" fmla="*/ 0 h 435104"/>
                <a:gd name="connsiteX8" fmla="*/ 435050 w 435050"/>
                <a:gd name="connsiteY8" fmla="*/ 435105 h 435104"/>
                <a:gd name="connsiteX9" fmla="*/ 217539 w 435050"/>
                <a:gd name="connsiteY9" fmla="*/ 435105 h 435104"/>
                <a:gd name="connsiteX10" fmla="*/ 435050 w 435050"/>
                <a:gd name="connsiteY10" fmla="*/ 217566 h 435104"/>
                <a:gd name="connsiteX11" fmla="*/ 435050 w 435050"/>
                <a:gd name="connsiteY11" fmla="*/ 435105 h 435104"/>
                <a:gd name="connsiteX12" fmla="*/ 435050 w 435050"/>
                <a:gd name="connsiteY12" fmla="*/ 27 h 435104"/>
                <a:gd name="connsiteX13" fmla="*/ 217539 w 435050"/>
                <a:gd name="connsiteY13" fmla="*/ 27 h 435104"/>
                <a:gd name="connsiteX14" fmla="*/ 435050 w 435050"/>
                <a:gd name="connsiteY14" fmla="*/ 217539 h 435104"/>
                <a:gd name="connsiteX15" fmla="*/ 435050 w 435050"/>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50" h="435104">
                  <a:moveTo>
                    <a:pt x="0" y="435077"/>
                  </a:moveTo>
                  <a:lnTo>
                    <a:pt x="217511" y="435077"/>
                  </a:lnTo>
                  <a:lnTo>
                    <a:pt x="217511" y="217566"/>
                  </a:lnTo>
                  <a:lnTo>
                    <a:pt x="0" y="435077"/>
                  </a:lnTo>
                  <a:close/>
                  <a:moveTo>
                    <a:pt x="217511" y="0"/>
                  </a:moveTo>
                  <a:lnTo>
                    <a:pt x="0" y="0"/>
                  </a:lnTo>
                  <a:lnTo>
                    <a:pt x="217511" y="217539"/>
                  </a:lnTo>
                  <a:lnTo>
                    <a:pt x="217511" y="0"/>
                  </a:lnTo>
                  <a:close/>
                  <a:moveTo>
                    <a:pt x="435050" y="435105"/>
                  </a:moveTo>
                  <a:lnTo>
                    <a:pt x="217539" y="435105"/>
                  </a:lnTo>
                  <a:lnTo>
                    <a:pt x="435050" y="217566"/>
                  </a:lnTo>
                  <a:lnTo>
                    <a:pt x="435050" y="435105"/>
                  </a:lnTo>
                  <a:close/>
                  <a:moveTo>
                    <a:pt x="435050" y="27"/>
                  </a:moveTo>
                  <a:lnTo>
                    <a:pt x="217539" y="27"/>
                  </a:lnTo>
                  <a:lnTo>
                    <a:pt x="435050" y="217539"/>
                  </a:lnTo>
                  <a:lnTo>
                    <a:pt x="435050" y="27"/>
                  </a:lnTo>
                  <a:close/>
                </a:path>
              </a:pathLst>
            </a:custGeom>
            <a:grpFill/>
            <a:ln w="27192" cap="flat">
              <a:noFill/>
              <a:prstDash val="solid"/>
              <a:miter/>
            </a:ln>
          </p:spPr>
          <p:txBody>
            <a:bodyPr rtlCol="0" anchor="ctr"/>
            <a:lstStyle/>
            <a:p>
              <a:endParaRPr lang="uk-UA" sz="900"/>
            </a:p>
          </p:txBody>
        </p:sp>
        <p:sp>
          <p:nvSpPr>
            <p:cNvPr id="317" name="Freeform: Shape 316">
              <a:extLst>
                <a:ext uri="{FF2B5EF4-FFF2-40B4-BE49-F238E27FC236}">
                  <a16:creationId xmlns:a16="http://schemas.microsoft.com/office/drawing/2014/main" id="{B9AB82AA-E476-3858-E2C5-15E50947FBEA}"/>
                </a:ext>
              </a:extLst>
            </p:cNvPr>
            <p:cNvSpPr/>
            <p:nvPr/>
          </p:nvSpPr>
          <p:spPr>
            <a:xfrm>
              <a:off x="6926907" y="8930148"/>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27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66 h 435077"/>
                <a:gd name="connsiteX9" fmla="*/ 435077 w 435077"/>
                <a:gd name="connsiteY9" fmla="*/ 217566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27"/>
                  </a:lnTo>
                  <a:lnTo>
                    <a:pt x="435077" y="217539"/>
                  </a:lnTo>
                  <a:lnTo>
                    <a:pt x="435077" y="217539"/>
                  </a:lnTo>
                  <a:lnTo>
                    <a:pt x="435077" y="217539"/>
                  </a:lnTo>
                  <a:lnTo>
                    <a:pt x="435077" y="217566"/>
                  </a:lnTo>
                  <a:lnTo>
                    <a:pt x="435077" y="217566"/>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318" name="Freeform: Shape 317">
              <a:extLst>
                <a:ext uri="{FF2B5EF4-FFF2-40B4-BE49-F238E27FC236}">
                  <a16:creationId xmlns:a16="http://schemas.microsoft.com/office/drawing/2014/main" id="{9A6E7A68-B940-C364-C01E-FF2B2405D3E1}"/>
                </a:ext>
              </a:extLst>
            </p:cNvPr>
            <p:cNvSpPr/>
            <p:nvPr/>
          </p:nvSpPr>
          <p:spPr>
            <a:xfrm>
              <a:off x="8667217" y="893014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p>
          </p:txBody>
        </p:sp>
        <p:sp>
          <p:nvSpPr>
            <p:cNvPr id="319" name="Freeform: Shape 318">
              <a:extLst>
                <a:ext uri="{FF2B5EF4-FFF2-40B4-BE49-F238E27FC236}">
                  <a16:creationId xmlns:a16="http://schemas.microsoft.com/office/drawing/2014/main" id="{1378BD5E-90EC-27D9-D682-5181B15838D5}"/>
                </a:ext>
              </a:extLst>
            </p:cNvPr>
            <p:cNvSpPr/>
            <p:nvPr/>
          </p:nvSpPr>
          <p:spPr>
            <a:xfrm>
              <a:off x="9537399" y="8930148"/>
              <a:ext cx="435077" cy="435077"/>
            </a:xfrm>
            <a:custGeom>
              <a:avLst/>
              <a:gdLst>
                <a:gd name="connsiteX0" fmla="*/ 371366 w 435077"/>
                <a:gd name="connsiteY0" fmla="*/ 63739 h 435077"/>
                <a:gd name="connsiteX1" fmla="*/ 435077 w 435077"/>
                <a:gd name="connsiteY1" fmla="*/ 217539 h 435077"/>
                <a:gd name="connsiteX2" fmla="*/ 217702 w 435077"/>
                <a:gd name="connsiteY2" fmla="*/ 217539 h 435077"/>
                <a:gd name="connsiteX3" fmla="*/ 371366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1 w 435077"/>
                <a:gd name="connsiteY7" fmla="*/ 281277 h 435077"/>
                <a:gd name="connsiteX8" fmla="*/ 217375 w 435077"/>
                <a:gd name="connsiteY8" fmla="*/ 217539 h 435077"/>
                <a:gd name="connsiteX9" fmla="*/ 0 w 435077"/>
                <a:gd name="connsiteY9" fmla="*/ 217539 h 435077"/>
                <a:gd name="connsiteX10" fmla="*/ 63711 w 435077"/>
                <a:gd name="connsiteY10" fmla="*/ 63739 h 435077"/>
                <a:gd name="connsiteX11" fmla="*/ 217539 w 435077"/>
                <a:gd name="connsiteY11" fmla="*/ 0 h 435077"/>
                <a:gd name="connsiteX12" fmla="*/ 371366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39"/>
                  </a:moveTo>
                  <a:cubicBezTo>
                    <a:pt x="412155" y="104527"/>
                    <a:pt x="435077" y="159864"/>
                    <a:pt x="435077" y="217539"/>
                  </a:cubicBezTo>
                  <a:lnTo>
                    <a:pt x="217702" y="217539"/>
                  </a:lnTo>
                  <a:cubicBezTo>
                    <a:pt x="275322" y="217593"/>
                    <a:pt x="330604" y="240516"/>
                    <a:pt x="371366" y="281277"/>
                  </a:cubicBezTo>
                  <a:cubicBezTo>
                    <a:pt x="412155" y="322066"/>
                    <a:pt x="435077" y="377402"/>
                    <a:pt x="435077" y="435077"/>
                  </a:cubicBezTo>
                  <a:lnTo>
                    <a:pt x="217539" y="435077"/>
                  </a:lnTo>
                  <a:lnTo>
                    <a:pt x="0" y="435077"/>
                  </a:lnTo>
                  <a:cubicBezTo>
                    <a:pt x="0" y="377402"/>
                    <a:pt x="22923" y="322066"/>
                    <a:pt x="63711" y="281277"/>
                  </a:cubicBezTo>
                  <a:cubicBezTo>
                    <a:pt x="104473" y="240516"/>
                    <a:pt x="159728" y="217593"/>
                    <a:pt x="217375" y="217539"/>
                  </a:cubicBezTo>
                  <a:lnTo>
                    <a:pt x="0" y="217539"/>
                  </a:lnTo>
                  <a:cubicBezTo>
                    <a:pt x="0" y="159864"/>
                    <a:pt x="22923" y="104527"/>
                    <a:pt x="63711" y="63739"/>
                  </a:cubicBezTo>
                  <a:cubicBezTo>
                    <a:pt x="104500" y="22923"/>
                    <a:pt x="159836" y="0"/>
                    <a:pt x="217539" y="0"/>
                  </a:cubicBezTo>
                  <a:cubicBezTo>
                    <a:pt x="275214" y="0"/>
                    <a:pt x="330550" y="22923"/>
                    <a:pt x="371366" y="63739"/>
                  </a:cubicBezTo>
                  <a:close/>
                </a:path>
              </a:pathLst>
            </a:custGeom>
            <a:grpFill/>
            <a:ln w="27192" cap="flat">
              <a:noFill/>
              <a:prstDash val="solid"/>
              <a:miter/>
            </a:ln>
          </p:spPr>
          <p:txBody>
            <a:bodyPr rtlCol="0" anchor="ctr"/>
            <a:lstStyle/>
            <a:p>
              <a:endParaRPr lang="uk-UA" sz="900"/>
            </a:p>
          </p:txBody>
        </p:sp>
        <p:sp>
          <p:nvSpPr>
            <p:cNvPr id="320" name="Freeform: Shape 319">
              <a:extLst>
                <a:ext uri="{FF2B5EF4-FFF2-40B4-BE49-F238E27FC236}">
                  <a16:creationId xmlns:a16="http://schemas.microsoft.com/office/drawing/2014/main" id="{5B50B119-B7F8-D091-C781-AD95A4F8CB97}"/>
                </a:ext>
              </a:extLst>
            </p:cNvPr>
            <p:cNvSpPr/>
            <p:nvPr/>
          </p:nvSpPr>
          <p:spPr>
            <a:xfrm>
              <a:off x="11277709" y="893014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321" name="Freeform: Shape 320">
              <a:extLst>
                <a:ext uri="{FF2B5EF4-FFF2-40B4-BE49-F238E27FC236}">
                  <a16:creationId xmlns:a16="http://schemas.microsoft.com/office/drawing/2014/main" id="{DD0F5D43-882D-9222-5638-78B449B4F998}"/>
                </a:ext>
              </a:extLst>
            </p:cNvPr>
            <p:cNvSpPr/>
            <p:nvPr/>
          </p:nvSpPr>
          <p:spPr>
            <a:xfrm>
              <a:off x="10407554" y="8930148"/>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27 h 435077"/>
                <a:gd name="connsiteX5" fmla="*/ 435050 w 435077"/>
                <a:gd name="connsiteY5" fmla="*/ 217539 h 435077"/>
                <a:gd name="connsiteX6" fmla="*/ 435077 w 435077"/>
                <a:gd name="connsiteY6" fmla="*/ 217539 h 435077"/>
                <a:gd name="connsiteX7" fmla="*/ 435050 w 435077"/>
                <a:gd name="connsiteY7" fmla="*/ 217539 h 435077"/>
                <a:gd name="connsiteX8" fmla="*/ 435077 w 435077"/>
                <a:gd name="connsiteY8" fmla="*/ 217566 h 435077"/>
                <a:gd name="connsiteX9" fmla="*/ 435050 w 435077"/>
                <a:gd name="connsiteY9" fmla="*/ 217566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27"/>
                  </a:lnTo>
                  <a:lnTo>
                    <a:pt x="435050" y="217539"/>
                  </a:lnTo>
                  <a:lnTo>
                    <a:pt x="435077" y="217539"/>
                  </a:lnTo>
                  <a:lnTo>
                    <a:pt x="435050" y="217539"/>
                  </a:lnTo>
                  <a:lnTo>
                    <a:pt x="435077" y="217566"/>
                  </a:lnTo>
                  <a:lnTo>
                    <a:pt x="435050" y="217566"/>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322" name="Freeform: Shape 321">
              <a:extLst>
                <a:ext uri="{FF2B5EF4-FFF2-40B4-BE49-F238E27FC236}">
                  <a16:creationId xmlns:a16="http://schemas.microsoft.com/office/drawing/2014/main" id="{C32BE7ED-9B09-64F6-DCCF-7AED4859263E}"/>
                </a:ext>
              </a:extLst>
            </p:cNvPr>
            <p:cNvSpPr/>
            <p:nvPr/>
          </p:nvSpPr>
          <p:spPr>
            <a:xfrm>
              <a:off x="12147864" y="8930148"/>
              <a:ext cx="435103" cy="435077"/>
            </a:xfrm>
            <a:custGeom>
              <a:avLst/>
              <a:gdLst>
                <a:gd name="connsiteX0" fmla="*/ 217539 w 435103"/>
                <a:gd name="connsiteY0" fmla="*/ 0 h 435077"/>
                <a:gd name="connsiteX1" fmla="*/ 0 w 435103"/>
                <a:gd name="connsiteY1" fmla="*/ 0 h 435077"/>
                <a:gd name="connsiteX2" fmla="*/ 0 w 435103"/>
                <a:gd name="connsiteY2" fmla="*/ 217539 h 435077"/>
                <a:gd name="connsiteX3" fmla="*/ 217539 w 435103"/>
                <a:gd name="connsiteY3" fmla="*/ 0 h 435077"/>
                <a:gd name="connsiteX4" fmla="*/ 435104 w 435103"/>
                <a:gd name="connsiteY4" fmla="*/ 27 h 435077"/>
                <a:gd name="connsiteX5" fmla="*/ 435104 w 435103"/>
                <a:gd name="connsiteY5" fmla="*/ 217566 h 435077"/>
                <a:gd name="connsiteX6" fmla="*/ 217565 w 435103"/>
                <a:gd name="connsiteY6" fmla="*/ 27 h 435077"/>
                <a:gd name="connsiteX7" fmla="*/ 435104 w 435103"/>
                <a:gd name="connsiteY7" fmla="*/ 27 h 435077"/>
                <a:gd name="connsiteX8" fmla="*/ 217565 w 435103"/>
                <a:gd name="connsiteY8" fmla="*/ 435077 h 435077"/>
                <a:gd name="connsiteX9" fmla="*/ 435104 w 435103"/>
                <a:gd name="connsiteY9" fmla="*/ 217566 h 435077"/>
                <a:gd name="connsiteX10" fmla="*/ 435104 w 435103"/>
                <a:gd name="connsiteY10" fmla="*/ 435077 h 435077"/>
                <a:gd name="connsiteX11" fmla="*/ 217565 w 435103"/>
                <a:gd name="connsiteY11" fmla="*/ 435077 h 435077"/>
                <a:gd name="connsiteX12" fmla="*/ 217565 w 435103"/>
                <a:gd name="connsiteY12" fmla="*/ 435077 h 435077"/>
                <a:gd name="connsiteX13" fmla="*/ 27 w 435103"/>
                <a:gd name="connsiteY13" fmla="*/ 217566 h 435077"/>
                <a:gd name="connsiteX14" fmla="*/ 27 w 435103"/>
                <a:gd name="connsiteY14" fmla="*/ 435077 h 435077"/>
                <a:gd name="connsiteX15" fmla="*/ 217565 w 435103"/>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3" h="435077">
                  <a:moveTo>
                    <a:pt x="217539" y="0"/>
                  </a:moveTo>
                  <a:lnTo>
                    <a:pt x="0" y="0"/>
                  </a:lnTo>
                  <a:lnTo>
                    <a:pt x="0" y="217539"/>
                  </a:lnTo>
                  <a:lnTo>
                    <a:pt x="217539" y="0"/>
                  </a:lnTo>
                  <a:close/>
                  <a:moveTo>
                    <a:pt x="435104" y="27"/>
                  </a:moveTo>
                  <a:lnTo>
                    <a:pt x="435104" y="217566"/>
                  </a:lnTo>
                  <a:lnTo>
                    <a:pt x="217565" y="27"/>
                  </a:lnTo>
                  <a:lnTo>
                    <a:pt x="435104" y="27"/>
                  </a:lnTo>
                  <a:close/>
                  <a:moveTo>
                    <a:pt x="217565" y="435077"/>
                  </a:moveTo>
                  <a:lnTo>
                    <a:pt x="435104" y="217566"/>
                  </a:lnTo>
                  <a:lnTo>
                    <a:pt x="435104" y="435077"/>
                  </a:lnTo>
                  <a:lnTo>
                    <a:pt x="217565" y="435077"/>
                  </a:lnTo>
                  <a:close/>
                  <a:moveTo>
                    <a:pt x="217565" y="435077"/>
                  </a:moveTo>
                  <a:lnTo>
                    <a:pt x="27" y="217566"/>
                  </a:lnTo>
                  <a:lnTo>
                    <a:pt x="27" y="435077"/>
                  </a:lnTo>
                  <a:lnTo>
                    <a:pt x="217565" y="435077"/>
                  </a:lnTo>
                  <a:close/>
                </a:path>
              </a:pathLst>
            </a:custGeom>
            <a:grpFill/>
            <a:ln w="27192" cap="flat">
              <a:noFill/>
              <a:prstDash val="solid"/>
              <a:miter/>
            </a:ln>
          </p:spPr>
          <p:txBody>
            <a:bodyPr rtlCol="0" anchor="ctr"/>
            <a:lstStyle/>
            <a:p>
              <a:endParaRPr lang="uk-UA" sz="900"/>
            </a:p>
          </p:txBody>
        </p:sp>
        <p:sp>
          <p:nvSpPr>
            <p:cNvPr id="323" name="Freeform: Shape 322">
              <a:extLst>
                <a:ext uri="{FF2B5EF4-FFF2-40B4-BE49-F238E27FC236}">
                  <a16:creationId xmlns:a16="http://schemas.microsoft.com/office/drawing/2014/main" id="{60C92545-D90D-996F-92EC-FB30E9FF18FC}"/>
                </a:ext>
              </a:extLst>
            </p:cNvPr>
            <p:cNvSpPr/>
            <p:nvPr/>
          </p:nvSpPr>
          <p:spPr>
            <a:xfrm>
              <a:off x="13018045" y="8930148"/>
              <a:ext cx="435077" cy="435077"/>
            </a:xfrm>
            <a:custGeom>
              <a:avLst/>
              <a:gdLst>
                <a:gd name="connsiteX0" fmla="*/ 371365 w 435077"/>
                <a:gd name="connsiteY0" fmla="*/ 63739 h 435077"/>
                <a:gd name="connsiteX1" fmla="*/ 435077 w 435077"/>
                <a:gd name="connsiteY1" fmla="*/ 217539 h 435077"/>
                <a:gd name="connsiteX2" fmla="*/ 217701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5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39"/>
                  </a:moveTo>
                  <a:cubicBezTo>
                    <a:pt x="412154" y="104527"/>
                    <a:pt x="435077" y="159864"/>
                    <a:pt x="435077" y="217539"/>
                  </a:cubicBezTo>
                  <a:lnTo>
                    <a:pt x="217701" y="217539"/>
                  </a:lnTo>
                  <a:cubicBezTo>
                    <a:pt x="275349" y="217593"/>
                    <a:pt x="330605" y="240516"/>
                    <a:pt x="371365" y="281277"/>
                  </a:cubicBezTo>
                  <a:cubicBezTo>
                    <a:pt x="412154" y="322066"/>
                    <a:pt x="435077" y="377402"/>
                    <a:pt x="435077" y="435077"/>
                  </a:cubicBezTo>
                  <a:lnTo>
                    <a:pt x="217539" y="435077"/>
                  </a:lnTo>
                  <a:lnTo>
                    <a:pt x="0" y="435077"/>
                  </a:lnTo>
                  <a:cubicBezTo>
                    <a:pt x="0" y="377402"/>
                    <a:pt x="22924" y="322066"/>
                    <a:pt x="63712" y="281277"/>
                  </a:cubicBezTo>
                  <a:cubicBezTo>
                    <a:pt x="104472" y="240516"/>
                    <a:pt x="159728" y="217593"/>
                    <a:pt x="217376" y="217539"/>
                  </a:cubicBezTo>
                  <a:lnTo>
                    <a:pt x="0" y="217539"/>
                  </a:lnTo>
                  <a:cubicBezTo>
                    <a:pt x="0" y="159864"/>
                    <a:pt x="22924" y="104527"/>
                    <a:pt x="63712" y="63739"/>
                  </a:cubicBezTo>
                  <a:cubicBezTo>
                    <a:pt x="104501" y="22923"/>
                    <a:pt x="159836" y="0"/>
                    <a:pt x="217539" y="0"/>
                  </a:cubicBezTo>
                  <a:cubicBezTo>
                    <a:pt x="275241" y="0"/>
                    <a:pt x="330550" y="22923"/>
                    <a:pt x="371365" y="63739"/>
                  </a:cubicBezTo>
                  <a:close/>
                </a:path>
              </a:pathLst>
            </a:custGeom>
            <a:grpFill/>
            <a:ln w="27192" cap="flat">
              <a:noFill/>
              <a:prstDash val="solid"/>
              <a:miter/>
            </a:ln>
          </p:spPr>
          <p:txBody>
            <a:bodyPr rtlCol="0" anchor="ctr"/>
            <a:lstStyle/>
            <a:p>
              <a:endParaRPr lang="uk-UA" sz="900"/>
            </a:p>
          </p:txBody>
        </p:sp>
        <p:sp>
          <p:nvSpPr>
            <p:cNvPr id="324" name="Freeform: Shape 323">
              <a:extLst>
                <a:ext uri="{FF2B5EF4-FFF2-40B4-BE49-F238E27FC236}">
                  <a16:creationId xmlns:a16="http://schemas.microsoft.com/office/drawing/2014/main" id="{494BAE9F-2469-DF5C-406D-F22F9AD0207F}"/>
                </a:ext>
              </a:extLst>
            </p:cNvPr>
            <p:cNvSpPr/>
            <p:nvPr/>
          </p:nvSpPr>
          <p:spPr>
            <a:xfrm>
              <a:off x="14758382" y="893014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325" name="Freeform: Shape 324">
              <a:extLst>
                <a:ext uri="{FF2B5EF4-FFF2-40B4-BE49-F238E27FC236}">
                  <a16:creationId xmlns:a16="http://schemas.microsoft.com/office/drawing/2014/main" id="{7D5ADAEF-C49E-2937-BA11-73CB07FF9898}"/>
                </a:ext>
              </a:extLst>
            </p:cNvPr>
            <p:cNvSpPr/>
            <p:nvPr/>
          </p:nvSpPr>
          <p:spPr>
            <a:xfrm>
              <a:off x="13888174" y="893014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326" name="Freeform: Shape 325">
              <a:extLst>
                <a:ext uri="{FF2B5EF4-FFF2-40B4-BE49-F238E27FC236}">
                  <a16:creationId xmlns:a16="http://schemas.microsoft.com/office/drawing/2014/main" id="{8D72A60D-B8CC-0256-49C8-C5EA646751A7}"/>
                </a:ext>
              </a:extLst>
            </p:cNvPr>
            <p:cNvSpPr/>
            <p:nvPr/>
          </p:nvSpPr>
          <p:spPr>
            <a:xfrm>
              <a:off x="15628536" y="8930148"/>
              <a:ext cx="435077" cy="435077"/>
            </a:xfrm>
            <a:custGeom>
              <a:avLst/>
              <a:gdLst>
                <a:gd name="connsiteX0" fmla="*/ 217567 w 435077"/>
                <a:gd name="connsiteY0" fmla="*/ 0 h 435077"/>
                <a:gd name="connsiteX1" fmla="*/ 217539 w 435077"/>
                <a:gd name="connsiteY1" fmla="*/ 0 h 435077"/>
                <a:gd name="connsiteX2" fmla="*/ 28 w 435077"/>
                <a:gd name="connsiteY2" fmla="*/ 0 h 435077"/>
                <a:gd name="connsiteX3" fmla="*/ 28 w 435077"/>
                <a:gd name="connsiteY3" fmla="*/ 217539 h 435077"/>
                <a:gd name="connsiteX4" fmla="*/ 217567 w 435077"/>
                <a:gd name="connsiteY4" fmla="*/ 27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67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67" y="0"/>
                  </a:moveTo>
                  <a:lnTo>
                    <a:pt x="217539" y="0"/>
                  </a:lnTo>
                  <a:lnTo>
                    <a:pt x="28" y="0"/>
                  </a:lnTo>
                  <a:lnTo>
                    <a:pt x="28" y="217539"/>
                  </a:lnTo>
                  <a:lnTo>
                    <a:pt x="217567" y="27"/>
                  </a:lnTo>
                  <a:lnTo>
                    <a:pt x="435077" y="217539"/>
                  </a:lnTo>
                  <a:lnTo>
                    <a:pt x="217539" y="435077"/>
                  </a:lnTo>
                  <a:lnTo>
                    <a:pt x="0" y="217539"/>
                  </a:lnTo>
                  <a:lnTo>
                    <a:pt x="0" y="435077"/>
                  </a:lnTo>
                  <a:lnTo>
                    <a:pt x="217539" y="435077"/>
                  </a:lnTo>
                  <a:lnTo>
                    <a:pt x="435077" y="435077"/>
                  </a:lnTo>
                  <a:lnTo>
                    <a:pt x="435077" y="217539"/>
                  </a:lnTo>
                  <a:lnTo>
                    <a:pt x="435077" y="0"/>
                  </a:lnTo>
                  <a:lnTo>
                    <a:pt x="217567" y="0"/>
                  </a:lnTo>
                  <a:close/>
                </a:path>
              </a:pathLst>
            </a:custGeom>
            <a:grpFill/>
            <a:ln w="27192" cap="flat">
              <a:noFill/>
              <a:prstDash val="solid"/>
              <a:miter/>
            </a:ln>
          </p:spPr>
          <p:txBody>
            <a:bodyPr rtlCol="0" anchor="ctr"/>
            <a:lstStyle/>
            <a:p>
              <a:endParaRPr lang="uk-UA" sz="900"/>
            </a:p>
          </p:txBody>
        </p:sp>
        <p:sp>
          <p:nvSpPr>
            <p:cNvPr id="327" name="Freeform: Shape 326">
              <a:extLst>
                <a:ext uri="{FF2B5EF4-FFF2-40B4-BE49-F238E27FC236}">
                  <a16:creationId xmlns:a16="http://schemas.microsoft.com/office/drawing/2014/main" id="{0B29FE27-47AC-7D5F-6A78-7E4EF635EEFD}"/>
                </a:ext>
              </a:extLst>
            </p:cNvPr>
            <p:cNvSpPr/>
            <p:nvPr/>
          </p:nvSpPr>
          <p:spPr>
            <a:xfrm>
              <a:off x="16498719" y="8930148"/>
              <a:ext cx="435077" cy="435077"/>
            </a:xfrm>
            <a:custGeom>
              <a:avLst/>
              <a:gdLst>
                <a:gd name="connsiteX0" fmla="*/ 371339 w 435077"/>
                <a:gd name="connsiteY0" fmla="*/ 63739 h 435077"/>
                <a:gd name="connsiteX1" fmla="*/ 435077 w 435077"/>
                <a:gd name="connsiteY1" fmla="*/ 217539 h 435077"/>
                <a:gd name="connsiteX2" fmla="*/ 217701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0 w 435077"/>
                <a:gd name="connsiteY7" fmla="*/ 281277 h 435077"/>
                <a:gd name="connsiteX8" fmla="*/ 217374 w 435077"/>
                <a:gd name="connsiteY8" fmla="*/ 217539 h 435077"/>
                <a:gd name="connsiteX9" fmla="*/ 0 w 435077"/>
                <a:gd name="connsiteY9" fmla="*/ 217539 h 435077"/>
                <a:gd name="connsiteX10" fmla="*/ 63710 w 435077"/>
                <a:gd name="connsiteY10" fmla="*/ 63739 h 435077"/>
                <a:gd name="connsiteX11" fmla="*/ 217539 w 435077"/>
                <a:gd name="connsiteY11" fmla="*/ 0 h 435077"/>
                <a:gd name="connsiteX12" fmla="*/ 371339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39"/>
                  </a:moveTo>
                  <a:cubicBezTo>
                    <a:pt x="412154" y="104527"/>
                    <a:pt x="435077" y="159864"/>
                    <a:pt x="435077" y="217539"/>
                  </a:cubicBezTo>
                  <a:lnTo>
                    <a:pt x="217701" y="217539"/>
                  </a:lnTo>
                  <a:cubicBezTo>
                    <a:pt x="275322" y="217593"/>
                    <a:pt x="330603" y="240516"/>
                    <a:pt x="371365" y="281277"/>
                  </a:cubicBezTo>
                  <a:cubicBezTo>
                    <a:pt x="412154" y="322066"/>
                    <a:pt x="435077" y="377402"/>
                    <a:pt x="435077" y="435077"/>
                  </a:cubicBezTo>
                  <a:lnTo>
                    <a:pt x="217539" y="435077"/>
                  </a:lnTo>
                  <a:lnTo>
                    <a:pt x="0" y="435077"/>
                  </a:lnTo>
                  <a:cubicBezTo>
                    <a:pt x="0" y="377402"/>
                    <a:pt x="22922" y="322066"/>
                    <a:pt x="63710" y="281277"/>
                  </a:cubicBezTo>
                  <a:cubicBezTo>
                    <a:pt x="104472" y="240516"/>
                    <a:pt x="159727" y="217593"/>
                    <a:pt x="217374" y="217539"/>
                  </a:cubicBezTo>
                  <a:lnTo>
                    <a:pt x="0" y="217539"/>
                  </a:lnTo>
                  <a:cubicBezTo>
                    <a:pt x="0" y="159864"/>
                    <a:pt x="22895" y="104527"/>
                    <a:pt x="63710" y="63739"/>
                  </a:cubicBezTo>
                  <a:cubicBezTo>
                    <a:pt x="104499" y="22923"/>
                    <a:pt x="159836" y="0"/>
                    <a:pt x="217539" y="0"/>
                  </a:cubicBezTo>
                  <a:cubicBezTo>
                    <a:pt x="275213" y="0"/>
                    <a:pt x="330550" y="22923"/>
                    <a:pt x="371339" y="63739"/>
                  </a:cubicBezTo>
                  <a:close/>
                </a:path>
              </a:pathLst>
            </a:custGeom>
            <a:grpFill/>
            <a:ln w="27192" cap="flat">
              <a:noFill/>
              <a:prstDash val="solid"/>
              <a:miter/>
            </a:ln>
          </p:spPr>
          <p:txBody>
            <a:bodyPr rtlCol="0" anchor="ctr"/>
            <a:lstStyle/>
            <a:p>
              <a:endParaRPr lang="uk-UA" sz="900"/>
            </a:p>
          </p:txBody>
        </p:sp>
        <p:sp>
          <p:nvSpPr>
            <p:cNvPr id="328" name="Freeform: Shape 327">
              <a:extLst>
                <a:ext uri="{FF2B5EF4-FFF2-40B4-BE49-F238E27FC236}">
                  <a16:creationId xmlns:a16="http://schemas.microsoft.com/office/drawing/2014/main" id="{595FAF4D-7268-BA85-6E3D-8593E3B7658B}"/>
                </a:ext>
              </a:extLst>
            </p:cNvPr>
            <p:cNvSpPr/>
            <p:nvPr/>
          </p:nvSpPr>
          <p:spPr>
            <a:xfrm>
              <a:off x="18239029" y="893014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329" name="Freeform: Shape 328">
              <a:extLst>
                <a:ext uri="{FF2B5EF4-FFF2-40B4-BE49-F238E27FC236}">
                  <a16:creationId xmlns:a16="http://schemas.microsoft.com/office/drawing/2014/main" id="{C2995364-DFD5-FC8C-A53C-A296CFAD8F0F}"/>
                </a:ext>
              </a:extLst>
            </p:cNvPr>
            <p:cNvSpPr/>
            <p:nvPr/>
          </p:nvSpPr>
          <p:spPr>
            <a:xfrm>
              <a:off x="17368874" y="893014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330" name="Freeform: Shape 329">
              <a:extLst>
                <a:ext uri="{FF2B5EF4-FFF2-40B4-BE49-F238E27FC236}">
                  <a16:creationId xmlns:a16="http://schemas.microsoft.com/office/drawing/2014/main" id="{360E356C-1AB2-8528-B870-70F3DB61EFEF}"/>
                </a:ext>
              </a:extLst>
            </p:cNvPr>
            <p:cNvSpPr/>
            <p:nvPr/>
          </p:nvSpPr>
          <p:spPr>
            <a:xfrm>
              <a:off x="19109210" y="893014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27 h 435077"/>
                <a:gd name="connsiteX5" fmla="*/ 435077 w 435077"/>
                <a:gd name="connsiteY5" fmla="*/ 217566 h 435077"/>
                <a:gd name="connsiteX6" fmla="*/ 217539 w 435077"/>
                <a:gd name="connsiteY6" fmla="*/ 27 h 435077"/>
                <a:gd name="connsiteX7" fmla="*/ 435077 w 435077"/>
                <a:gd name="connsiteY7" fmla="*/ 27 h 435077"/>
                <a:gd name="connsiteX8" fmla="*/ 217539 w 435077"/>
                <a:gd name="connsiteY8" fmla="*/ 435077 h 435077"/>
                <a:gd name="connsiteX9" fmla="*/ 435077 w 435077"/>
                <a:gd name="connsiteY9" fmla="*/ 217566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66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27"/>
                  </a:moveTo>
                  <a:lnTo>
                    <a:pt x="435077" y="217566"/>
                  </a:lnTo>
                  <a:lnTo>
                    <a:pt x="217539" y="27"/>
                  </a:lnTo>
                  <a:lnTo>
                    <a:pt x="435077" y="27"/>
                  </a:lnTo>
                  <a:close/>
                  <a:moveTo>
                    <a:pt x="217539" y="435077"/>
                  </a:moveTo>
                  <a:lnTo>
                    <a:pt x="435077" y="217566"/>
                  </a:lnTo>
                  <a:lnTo>
                    <a:pt x="435077" y="435077"/>
                  </a:lnTo>
                  <a:lnTo>
                    <a:pt x="217539" y="435077"/>
                  </a:lnTo>
                  <a:close/>
                  <a:moveTo>
                    <a:pt x="217539" y="435077"/>
                  </a:moveTo>
                  <a:lnTo>
                    <a:pt x="0" y="217566"/>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331" name="Freeform: Shape 330">
              <a:extLst>
                <a:ext uri="{FF2B5EF4-FFF2-40B4-BE49-F238E27FC236}">
                  <a16:creationId xmlns:a16="http://schemas.microsoft.com/office/drawing/2014/main" id="{E0D1976C-ACE5-48A9-6807-C1B3D761DC88}"/>
                </a:ext>
              </a:extLst>
            </p:cNvPr>
            <p:cNvSpPr/>
            <p:nvPr/>
          </p:nvSpPr>
          <p:spPr>
            <a:xfrm>
              <a:off x="19979365" y="8930148"/>
              <a:ext cx="435077" cy="435077"/>
            </a:xfrm>
            <a:custGeom>
              <a:avLst/>
              <a:gdLst>
                <a:gd name="connsiteX0" fmla="*/ 371365 w 435077"/>
                <a:gd name="connsiteY0" fmla="*/ 63739 h 435077"/>
                <a:gd name="connsiteX1" fmla="*/ 435077 w 435077"/>
                <a:gd name="connsiteY1" fmla="*/ 217539 h 435077"/>
                <a:gd name="connsiteX2" fmla="*/ 217701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5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39"/>
                  </a:moveTo>
                  <a:cubicBezTo>
                    <a:pt x="412154" y="104527"/>
                    <a:pt x="435077" y="159864"/>
                    <a:pt x="435077" y="217539"/>
                  </a:cubicBezTo>
                  <a:lnTo>
                    <a:pt x="217701" y="217539"/>
                  </a:lnTo>
                  <a:cubicBezTo>
                    <a:pt x="275349" y="217593"/>
                    <a:pt x="330605" y="240516"/>
                    <a:pt x="371365" y="281277"/>
                  </a:cubicBezTo>
                  <a:cubicBezTo>
                    <a:pt x="412154" y="322066"/>
                    <a:pt x="435077" y="377402"/>
                    <a:pt x="435077" y="435077"/>
                  </a:cubicBezTo>
                  <a:lnTo>
                    <a:pt x="217539" y="435077"/>
                  </a:lnTo>
                  <a:lnTo>
                    <a:pt x="0" y="435077"/>
                  </a:lnTo>
                  <a:cubicBezTo>
                    <a:pt x="0" y="377402"/>
                    <a:pt x="22924" y="322066"/>
                    <a:pt x="63712" y="281277"/>
                  </a:cubicBezTo>
                  <a:cubicBezTo>
                    <a:pt x="104472" y="240516"/>
                    <a:pt x="159728" y="217593"/>
                    <a:pt x="217376" y="217539"/>
                  </a:cubicBezTo>
                  <a:lnTo>
                    <a:pt x="0" y="217539"/>
                  </a:lnTo>
                  <a:cubicBezTo>
                    <a:pt x="0" y="159864"/>
                    <a:pt x="22924" y="104527"/>
                    <a:pt x="63712" y="63739"/>
                  </a:cubicBezTo>
                  <a:cubicBezTo>
                    <a:pt x="104501" y="22923"/>
                    <a:pt x="159836" y="0"/>
                    <a:pt x="217539" y="0"/>
                  </a:cubicBezTo>
                  <a:cubicBezTo>
                    <a:pt x="275241" y="0"/>
                    <a:pt x="330550" y="22923"/>
                    <a:pt x="371365" y="63739"/>
                  </a:cubicBezTo>
                  <a:close/>
                </a:path>
              </a:pathLst>
            </a:custGeom>
            <a:grpFill/>
            <a:ln w="27192" cap="flat">
              <a:noFill/>
              <a:prstDash val="solid"/>
              <a:miter/>
            </a:ln>
          </p:spPr>
          <p:txBody>
            <a:bodyPr rtlCol="0" anchor="ctr"/>
            <a:lstStyle/>
            <a:p>
              <a:endParaRPr lang="uk-UA" sz="900"/>
            </a:p>
          </p:txBody>
        </p:sp>
        <p:sp>
          <p:nvSpPr>
            <p:cNvPr id="332" name="Freeform: Shape 331">
              <a:extLst>
                <a:ext uri="{FF2B5EF4-FFF2-40B4-BE49-F238E27FC236}">
                  <a16:creationId xmlns:a16="http://schemas.microsoft.com/office/drawing/2014/main" id="{F43A6EED-DE82-FDFD-FE7E-80E6C896EB43}"/>
                </a:ext>
              </a:extLst>
            </p:cNvPr>
            <p:cNvSpPr/>
            <p:nvPr/>
          </p:nvSpPr>
          <p:spPr>
            <a:xfrm>
              <a:off x="21719702" y="8930148"/>
              <a:ext cx="435077" cy="435104"/>
            </a:xfrm>
            <a:custGeom>
              <a:avLst/>
              <a:gdLst>
                <a:gd name="connsiteX0" fmla="*/ 0 w 435077"/>
                <a:gd name="connsiteY0" fmla="*/ 435077 h 435104"/>
                <a:gd name="connsiteX1" fmla="*/ 217512 w 435077"/>
                <a:gd name="connsiteY1" fmla="*/ 435077 h 435104"/>
                <a:gd name="connsiteX2" fmla="*/ 217512 w 435077"/>
                <a:gd name="connsiteY2" fmla="*/ 217566 h 435104"/>
                <a:gd name="connsiteX3" fmla="*/ 0 w 435077"/>
                <a:gd name="connsiteY3" fmla="*/ 435077 h 435104"/>
                <a:gd name="connsiteX4" fmla="*/ 217512 w 435077"/>
                <a:gd name="connsiteY4" fmla="*/ 0 h 435104"/>
                <a:gd name="connsiteX5" fmla="*/ 0 w 435077"/>
                <a:gd name="connsiteY5" fmla="*/ 0 h 435104"/>
                <a:gd name="connsiteX6" fmla="*/ 217512 w 435077"/>
                <a:gd name="connsiteY6" fmla="*/ 217539 h 435104"/>
                <a:gd name="connsiteX7" fmla="*/ 217512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12" y="435077"/>
                  </a:lnTo>
                  <a:lnTo>
                    <a:pt x="217512" y="217566"/>
                  </a:lnTo>
                  <a:lnTo>
                    <a:pt x="0" y="435077"/>
                  </a:lnTo>
                  <a:close/>
                  <a:moveTo>
                    <a:pt x="217512" y="0"/>
                  </a:moveTo>
                  <a:lnTo>
                    <a:pt x="0" y="0"/>
                  </a:lnTo>
                  <a:lnTo>
                    <a:pt x="217512" y="217539"/>
                  </a:lnTo>
                  <a:lnTo>
                    <a:pt x="217512"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333" name="Freeform: Shape 332">
              <a:extLst>
                <a:ext uri="{FF2B5EF4-FFF2-40B4-BE49-F238E27FC236}">
                  <a16:creationId xmlns:a16="http://schemas.microsoft.com/office/drawing/2014/main" id="{2DE41DDC-D407-1484-1BED-68AE6EAEC309}"/>
                </a:ext>
              </a:extLst>
            </p:cNvPr>
            <p:cNvSpPr/>
            <p:nvPr/>
          </p:nvSpPr>
          <p:spPr>
            <a:xfrm>
              <a:off x="20849520" y="893014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334" name="Freeform: Shape 333">
              <a:extLst>
                <a:ext uri="{FF2B5EF4-FFF2-40B4-BE49-F238E27FC236}">
                  <a16:creationId xmlns:a16="http://schemas.microsoft.com/office/drawing/2014/main" id="{1932B39F-F52E-0F78-71BC-23B633A249F3}"/>
                </a:ext>
              </a:extLst>
            </p:cNvPr>
            <p:cNvSpPr/>
            <p:nvPr/>
          </p:nvSpPr>
          <p:spPr>
            <a:xfrm>
              <a:off x="22589856" y="893014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27 h 435077"/>
                <a:gd name="connsiteX5" fmla="*/ 435077 w 435077"/>
                <a:gd name="connsiteY5" fmla="*/ 217566 h 435077"/>
                <a:gd name="connsiteX6" fmla="*/ 217539 w 435077"/>
                <a:gd name="connsiteY6" fmla="*/ 27 h 435077"/>
                <a:gd name="connsiteX7" fmla="*/ 435077 w 435077"/>
                <a:gd name="connsiteY7" fmla="*/ 27 h 435077"/>
                <a:gd name="connsiteX8" fmla="*/ 217539 w 435077"/>
                <a:gd name="connsiteY8" fmla="*/ 435077 h 435077"/>
                <a:gd name="connsiteX9" fmla="*/ 435077 w 435077"/>
                <a:gd name="connsiteY9" fmla="*/ 217566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66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27"/>
                  </a:moveTo>
                  <a:lnTo>
                    <a:pt x="435077" y="217566"/>
                  </a:lnTo>
                  <a:lnTo>
                    <a:pt x="217539" y="27"/>
                  </a:lnTo>
                  <a:lnTo>
                    <a:pt x="435077" y="27"/>
                  </a:lnTo>
                  <a:close/>
                  <a:moveTo>
                    <a:pt x="217539" y="435077"/>
                  </a:moveTo>
                  <a:lnTo>
                    <a:pt x="435077" y="217566"/>
                  </a:lnTo>
                  <a:lnTo>
                    <a:pt x="435077" y="435077"/>
                  </a:lnTo>
                  <a:lnTo>
                    <a:pt x="217539" y="435077"/>
                  </a:lnTo>
                  <a:close/>
                  <a:moveTo>
                    <a:pt x="217539" y="435077"/>
                  </a:moveTo>
                  <a:lnTo>
                    <a:pt x="0" y="217566"/>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335" name="Freeform: Shape 334">
              <a:extLst>
                <a:ext uri="{FF2B5EF4-FFF2-40B4-BE49-F238E27FC236}">
                  <a16:creationId xmlns:a16="http://schemas.microsoft.com/office/drawing/2014/main" id="{88C2B3FC-182F-2EBD-5790-761A2F08D977}"/>
                </a:ext>
              </a:extLst>
            </p:cNvPr>
            <p:cNvSpPr/>
            <p:nvPr/>
          </p:nvSpPr>
          <p:spPr>
            <a:xfrm>
              <a:off x="23460039" y="8930148"/>
              <a:ext cx="435077" cy="435077"/>
            </a:xfrm>
            <a:custGeom>
              <a:avLst/>
              <a:gdLst>
                <a:gd name="connsiteX0" fmla="*/ 371339 w 435077"/>
                <a:gd name="connsiteY0" fmla="*/ 63739 h 435077"/>
                <a:gd name="connsiteX1" fmla="*/ 435077 w 435077"/>
                <a:gd name="connsiteY1" fmla="*/ 217539 h 435077"/>
                <a:gd name="connsiteX2" fmla="*/ 217701 w 435077"/>
                <a:gd name="connsiteY2" fmla="*/ 217539 h 435077"/>
                <a:gd name="connsiteX3" fmla="*/ 371339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48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39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39"/>
                  </a:moveTo>
                  <a:cubicBezTo>
                    <a:pt x="412154" y="104527"/>
                    <a:pt x="435077" y="159864"/>
                    <a:pt x="435077" y="217539"/>
                  </a:cubicBezTo>
                  <a:lnTo>
                    <a:pt x="217701" y="217539"/>
                  </a:lnTo>
                  <a:cubicBezTo>
                    <a:pt x="275322" y="217593"/>
                    <a:pt x="330605" y="240516"/>
                    <a:pt x="371339" y="281277"/>
                  </a:cubicBezTo>
                  <a:cubicBezTo>
                    <a:pt x="412154" y="322066"/>
                    <a:pt x="435077" y="377402"/>
                    <a:pt x="435077" y="435077"/>
                  </a:cubicBezTo>
                  <a:lnTo>
                    <a:pt x="217539" y="435077"/>
                  </a:lnTo>
                  <a:lnTo>
                    <a:pt x="0" y="435077"/>
                  </a:lnTo>
                  <a:cubicBezTo>
                    <a:pt x="0" y="377402"/>
                    <a:pt x="22895" y="322066"/>
                    <a:pt x="63712" y="281277"/>
                  </a:cubicBezTo>
                  <a:cubicBezTo>
                    <a:pt x="104472" y="240516"/>
                    <a:pt x="159727" y="217593"/>
                    <a:pt x="217348" y="217539"/>
                  </a:cubicBezTo>
                  <a:lnTo>
                    <a:pt x="0" y="217539"/>
                  </a:lnTo>
                  <a:cubicBezTo>
                    <a:pt x="0" y="159864"/>
                    <a:pt x="22895" y="104527"/>
                    <a:pt x="63712" y="63739"/>
                  </a:cubicBezTo>
                  <a:cubicBezTo>
                    <a:pt x="104501" y="22923"/>
                    <a:pt x="159836" y="0"/>
                    <a:pt x="217539" y="0"/>
                  </a:cubicBezTo>
                  <a:cubicBezTo>
                    <a:pt x="275213" y="0"/>
                    <a:pt x="330550" y="22923"/>
                    <a:pt x="371339" y="63739"/>
                  </a:cubicBezTo>
                  <a:close/>
                </a:path>
              </a:pathLst>
            </a:custGeom>
            <a:grpFill/>
            <a:ln w="27192" cap="flat">
              <a:noFill/>
              <a:prstDash val="solid"/>
              <a:miter/>
            </a:ln>
          </p:spPr>
          <p:txBody>
            <a:bodyPr rtlCol="0" anchor="ctr"/>
            <a:lstStyle/>
            <a:p>
              <a:endParaRPr lang="uk-UA" sz="900"/>
            </a:p>
          </p:txBody>
        </p:sp>
        <p:sp>
          <p:nvSpPr>
            <p:cNvPr id="336" name="Freeform: Shape 335">
              <a:extLst>
                <a:ext uri="{FF2B5EF4-FFF2-40B4-BE49-F238E27FC236}">
                  <a16:creationId xmlns:a16="http://schemas.microsoft.com/office/drawing/2014/main" id="{70EF7F9D-E260-5F54-8C60-B5C7D553528D}"/>
                </a:ext>
              </a:extLst>
            </p:cNvPr>
            <p:cNvSpPr/>
            <p:nvPr/>
          </p:nvSpPr>
          <p:spPr>
            <a:xfrm>
              <a:off x="24330194" y="893014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337" name="Freeform: Shape 336">
              <a:extLst>
                <a:ext uri="{FF2B5EF4-FFF2-40B4-BE49-F238E27FC236}">
                  <a16:creationId xmlns:a16="http://schemas.microsoft.com/office/drawing/2014/main" id="{F78E7364-E210-0BCB-6F34-AEAD32F12DD6}"/>
                </a:ext>
              </a:extLst>
            </p:cNvPr>
            <p:cNvSpPr/>
            <p:nvPr/>
          </p:nvSpPr>
          <p:spPr>
            <a:xfrm>
              <a:off x="835769" y="9800303"/>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338" name="Freeform: Shape 337">
              <a:extLst>
                <a:ext uri="{FF2B5EF4-FFF2-40B4-BE49-F238E27FC236}">
                  <a16:creationId xmlns:a16="http://schemas.microsoft.com/office/drawing/2014/main" id="{32177139-19C1-A2B1-E5E1-0D12AE437119}"/>
                </a:ext>
              </a:extLst>
            </p:cNvPr>
            <p:cNvSpPr/>
            <p:nvPr/>
          </p:nvSpPr>
          <p:spPr>
            <a:xfrm>
              <a:off x="-34398" y="9800303"/>
              <a:ext cx="435063" cy="435077"/>
            </a:xfrm>
            <a:custGeom>
              <a:avLst/>
              <a:gdLst>
                <a:gd name="connsiteX0" fmla="*/ 435064 w 435063"/>
                <a:gd name="connsiteY0" fmla="*/ 435077 h 435077"/>
                <a:gd name="connsiteX1" fmla="*/ 435064 w 435063"/>
                <a:gd name="connsiteY1" fmla="*/ 217566 h 435077"/>
                <a:gd name="connsiteX2" fmla="*/ 435064 w 435063"/>
                <a:gd name="connsiteY2" fmla="*/ 27 h 435077"/>
                <a:gd name="connsiteX3" fmla="*/ 217552 w 435063"/>
                <a:gd name="connsiteY3" fmla="*/ 27 h 435077"/>
                <a:gd name="connsiteX4" fmla="*/ 435064 w 435063"/>
                <a:gd name="connsiteY4" fmla="*/ 217566 h 435077"/>
                <a:gd name="connsiteX5" fmla="*/ 217552 w 435063"/>
                <a:gd name="connsiteY5" fmla="*/ 435077 h 435077"/>
                <a:gd name="connsiteX6" fmla="*/ 435064 w 435063"/>
                <a:gd name="connsiteY6" fmla="*/ 435077 h 435077"/>
                <a:gd name="connsiteX7" fmla="*/ 0 w 435063"/>
                <a:gd name="connsiteY7" fmla="*/ 217539 h 435077"/>
                <a:gd name="connsiteX8" fmla="*/ 0 w 435063"/>
                <a:gd name="connsiteY8" fmla="*/ 0 h 435077"/>
                <a:gd name="connsiteX9" fmla="*/ 217525 w 435063"/>
                <a:gd name="connsiteY9" fmla="*/ 217539 h 435077"/>
                <a:gd name="connsiteX10" fmla="*/ 0 w 435063"/>
                <a:gd name="connsiteY10" fmla="*/ 217539 h 435077"/>
                <a:gd name="connsiteX11" fmla="*/ 0 w 435063"/>
                <a:gd name="connsiteY11" fmla="*/ 435077 h 435077"/>
                <a:gd name="connsiteX12" fmla="*/ 0 w 435063"/>
                <a:gd name="connsiteY12" fmla="*/ 217566 h 435077"/>
                <a:gd name="connsiteX13" fmla="*/ 217525 w 435063"/>
                <a:gd name="connsiteY13" fmla="*/ 217566 h 435077"/>
                <a:gd name="connsiteX14" fmla="*/ 0 w 435063"/>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63" h="435077">
                  <a:moveTo>
                    <a:pt x="435064" y="435077"/>
                  </a:moveTo>
                  <a:lnTo>
                    <a:pt x="435064" y="217566"/>
                  </a:lnTo>
                  <a:lnTo>
                    <a:pt x="435064" y="27"/>
                  </a:lnTo>
                  <a:lnTo>
                    <a:pt x="217552" y="27"/>
                  </a:lnTo>
                  <a:lnTo>
                    <a:pt x="435064" y="217566"/>
                  </a:lnTo>
                  <a:lnTo>
                    <a:pt x="217552" y="435077"/>
                  </a:lnTo>
                  <a:lnTo>
                    <a:pt x="435064" y="435077"/>
                  </a:lnTo>
                  <a:close/>
                  <a:moveTo>
                    <a:pt x="0" y="217539"/>
                  </a:moveTo>
                  <a:lnTo>
                    <a:pt x="0" y="0"/>
                  </a:lnTo>
                  <a:lnTo>
                    <a:pt x="217525" y="217539"/>
                  </a:lnTo>
                  <a:lnTo>
                    <a:pt x="0" y="217539"/>
                  </a:lnTo>
                  <a:close/>
                  <a:moveTo>
                    <a:pt x="0" y="435077"/>
                  </a:moveTo>
                  <a:lnTo>
                    <a:pt x="0" y="217566"/>
                  </a:lnTo>
                  <a:lnTo>
                    <a:pt x="217525" y="217566"/>
                  </a:lnTo>
                  <a:lnTo>
                    <a:pt x="0" y="435077"/>
                  </a:lnTo>
                  <a:close/>
                </a:path>
              </a:pathLst>
            </a:custGeom>
            <a:grpFill/>
            <a:ln w="27192" cap="flat">
              <a:noFill/>
              <a:prstDash val="solid"/>
              <a:miter/>
            </a:ln>
          </p:spPr>
          <p:txBody>
            <a:bodyPr rtlCol="0" anchor="ctr"/>
            <a:lstStyle/>
            <a:p>
              <a:endParaRPr lang="uk-UA" sz="900"/>
            </a:p>
          </p:txBody>
        </p:sp>
        <p:sp>
          <p:nvSpPr>
            <p:cNvPr id="339" name="Freeform: Shape 338">
              <a:extLst>
                <a:ext uri="{FF2B5EF4-FFF2-40B4-BE49-F238E27FC236}">
                  <a16:creationId xmlns:a16="http://schemas.microsoft.com/office/drawing/2014/main" id="{4A43CAA2-72EF-7D0F-59DD-6C2C8F20D83C}"/>
                </a:ext>
              </a:extLst>
            </p:cNvPr>
            <p:cNvSpPr/>
            <p:nvPr/>
          </p:nvSpPr>
          <p:spPr>
            <a:xfrm>
              <a:off x="1705924" y="9800330"/>
              <a:ext cx="435077" cy="435050"/>
            </a:xfrm>
            <a:custGeom>
              <a:avLst/>
              <a:gdLst>
                <a:gd name="connsiteX0" fmla="*/ 435077 w 435077"/>
                <a:gd name="connsiteY0" fmla="*/ 435050 h 435050"/>
                <a:gd name="connsiteX1" fmla="*/ 435077 w 435077"/>
                <a:gd name="connsiteY1" fmla="*/ 0 h 435050"/>
                <a:gd name="connsiteX2" fmla="*/ 217566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39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66" y="217539"/>
                  </a:lnTo>
                  <a:lnTo>
                    <a:pt x="435077" y="435050"/>
                  </a:lnTo>
                  <a:close/>
                  <a:moveTo>
                    <a:pt x="0" y="435050"/>
                  </a:moveTo>
                  <a:lnTo>
                    <a:pt x="0" y="0"/>
                  </a:lnTo>
                  <a:lnTo>
                    <a:pt x="217539" y="217539"/>
                  </a:lnTo>
                  <a:lnTo>
                    <a:pt x="0" y="435050"/>
                  </a:lnTo>
                  <a:close/>
                </a:path>
              </a:pathLst>
            </a:custGeom>
            <a:grpFill/>
            <a:ln w="27192" cap="flat">
              <a:noFill/>
              <a:prstDash val="solid"/>
              <a:miter/>
            </a:ln>
          </p:spPr>
          <p:txBody>
            <a:bodyPr rtlCol="0" anchor="ctr"/>
            <a:lstStyle/>
            <a:p>
              <a:endParaRPr lang="uk-UA" sz="900"/>
            </a:p>
          </p:txBody>
        </p:sp>
        <p:sp>
          <p:nvSpPr>
            <p:cNvPr id="340" name="Freeform: Shape 339">
              <a:extLst>
                <a:ext uri="{FF2B5EF4-FFF2-40B4-BE49-F238E27FC236}">
                  <a16:creationId xmlns:a16="http://schemas.microsoft.com/office/drawing/2014/main" id="{F2F8CC18-6963-CA52-6C11-C2B70009A958}"/>
                </a:ext>
              </a:extLst>
            </p:cNvPr>
            <p:cNvSpPr/>
            <p:nvPr/>
          </p:nvSpPr>
          <p:spPr>
            <a:xfrm>
              <a:off x="2576106" y="980030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3" y="113039"/>
                    <a:pt x="0" y="57702"/>
                    <a:pt x="0" y="0"/>
                  </a:cubicBezTo>
                  <a:lnTo>
                    <a:pt x="217539" y="0"/>
                  </a:lnTo>
                  <a:lnTo>
                    <a:pt x="435077" y="0"/>
                  </a:lnTo>
                  <a:cubicBezTo>
                    <a:pt x="435077" y="57702"/>
                    <a:pt x="412154" y="113039"/>
                    <a:pt x="371366" y="153827"/>
                  </a:cubicBezTo>
                  <a:cubicBezTo>
                    <a:pt x="330550" y="194642"/>
                    <a:pt x="275214" y="217539"/>
                    <a:pt x="217539" y="217539"/>
                  </a:cubicBezTo>
                  <a:cubicBezTo>
                    <a:pt x="159837" y="217539"/>
                    <a:pt x="104500" y="194642"/>
                    <a:pt x="63712" y="153827"/>
                  </a:cubicBezTo>
                  <a:close/>
                  <a:moveTo>
                    <a:pt x="63712" y="281277"/>
                  </a:moveTo>
                  <a:cubicBezTo>
                    <a:pt x="22923" y="322066"/>
                    <a:pt x="0" y="377402"/>
                    <a:pt x="0" y="435077"/>
                  </a:cubicBezTo>
                  <a:lnTo>
                    <a:pt x="217539" y="435077"/>
                  </a:lnTo>
                  <a:lnTo>
                    <a:pt x="435077" y="435077"/>
                  </a:lnTo>
                  <a:cubicBezTo>
                    <a:pt x="435077" y="377402"/>
                    <a:pt x="412154" y="322066"/>
                    <a:pt x="371366" y="281277"/>
                  </a:cubicBezTo>
                  <a:cubicBezTo>
                    <a:pt x="330550" y="240462"/>
                    <a:pt x="275214" y="217539"/>
                    <a:pt x="217539" y="217539"/>
                  </a:cubicBezTo>
                  <a:cubicBezTo>
                    <a:pt x="159837" y="217539"/>
                    <a:pt x="104500" y="240462"/>
                    <a:pt x="63712" y="281277"/>
                  </a:cubicBezTo>
                  <a:close/>
                </a:path>
              </a:pathLst>
            </a:custGeom>
            <a:grpFill/>
            <a:ln w="27192" cap="flat">
              <a:noFill/>
              <a:prstDash val="solid"/>
              <a:miter/>
            </a:ln>
          </p:spPr>
          <p:txBody>
            <a:bodyPr rtlCol="0" anchor="ctr"/>
            <a:lstStyle/>
            <a:p>
              <a:endParaRPr lang="uk-UA" sz="900"/>
            </a:p>
          </p:txBody>
        </p:sp>
        <p:sp>
          <p:nvSpPr>
            <p:cNvPr id="341" name="Freeform: Shape 340">
              <a:extLst>
                <a:ext uri="{FF2B5EF4-FFF2-40B4-BE49-F238E27FC236}">
                  <a16:creationId xmlns:a16="http://schemas.microsoft.com/office/drawing/2014/main" id="{062E3D3C-656F-798B-5F29-891E8306980A}"/>
                </a:ext>
              </a:extLst>
            </p:cNvPr>
            <p:cNvSpPr/>
            <p:nvPr/>
          </p:nvSpPr>
          <p:spPr>
            <a:xfrm>
              <a:off x="4316416" y="9800303"/>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65 w 435077"/>
                <a:gd name="connsiteY4" fmla="*/ 435077 h 435077"/>
                <a:gd name="connsiteX5" fmla="*/ 217565 w 435077"/>
                <a:gd name="connsiteY5" fmla="*/ 0 h 435077"/>
                <a:gd name="connsiteX6" fmla="*/ 435077 w 435077"/>
                <a:gd name="connsiteY6" fmla="*/ 217566 h 435077"/>
                <a:gd name="connsiteX7" fmla="*/ 217565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65" y="435077"/>
                  </a:moveTo>
                  <a:lnTo>
                    <a:pt x="217565" y="0"/>
                  </a:lnTo>
                  <a:lnTo>
                    <a:pt x="435077" y="217566"/>
                  </a:lnTo>
                  <a:lnTo>
                    <a:pt x="217565" y="435077"/>
                  </a:lnTo>
                  <a:close/>
                </a:path>
              </a:pathLst>
            </a:custGeom>
            <a:grpFill/>
            <a:ln w="27192" cap="flat">
              <a:noFill/>
              <a:prstDash val="solid"/>
              <a:miter/>
            </a:ln>
          </p:spPr>
          <p:txBody>
            <a:bodyPr rtlCol="0" anchor="ctr"/>
            <a:lstStyle/>
            <a:p>
              <a:endParaRPr lang="uk-UA" sz="900"/>
            </a:p>
          </p:txBody>
        </p:sp>
        <p:sp>
          <p:nvSpPr>
            <p:cNvPr id="342" name="Freeform: Shape 341">
              <a:extLst>
                <a:ext uri="{FF2B5EF4-FFF2-40B4-BE49-F238E27FC236}">
                  <a16:creationId xmlns:a16="http://schemas.microsoft.com/office/drawing/2014/main" id="{5250EE02-2DE9-8A12-8A8F-9DBDD2DD688E}"/>
                </a:ext>
              </a:extLst>
            </p:cNvPr>
            <p:cNvSpPr/>
            <p:nvPr/>
          </p:nvSpPr>
          <p:spPr>
            <a:xfrm>
              <a:off x="3446261" y="980030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6 w 435077"/>
                <a:gd name="connsiteY3" fmla="*/ 27 h 435077"/>
                <a:gd name="connsiteX4" fmla="*/ 435077 w 435077"/>
                <a:gd name="connsiteY4" fmla="*/ 217566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6" y="27"/>
                  </a:lnTo>
                  <a:lnTo>
                    <a:pt x="435077" y="217566"/>
                  </a:lnTo>
                  <a:lnTo>
                    <a:pt x="217566"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343" name="Freeform: Shape 342">
              <a:extLst>
                <a:ext uri="{FF2B5EF4-FFF2-40B4-BE49-F238E27FC236}">
                  <a16:creationId xmlns:a16="http://schemas.microsoft.com/office/drawing/2014/main" id="{E7A7F1F5-7EFA-9088-3CA3-B511340E10BC}"/>
                </a:ext>
              </a:extLst>
            </p:cNvPr>
            <p:cNvSpPr/>
            <p:nvPr/>
          </p:nvSpPr>
          <p:spPr>
            <a:xfrm>
              <a:off x="5186597" y="9800330"/>
              <a:ext cx="435077" cy="435050"/>
            </a:xfrm>
            <a:custGeom>
              <a:avLst/>
              <a:gdLst>
                <a:gd name="connsiteX0" fmla="*/ 435077 w 435077"/>
                <a:gd name="connsiteY0" fmla="*/ 435050 h 435050"/>
                <a:gd name="connsiteX1" fmla="*/ 435077 w 435077"/>
                <a:gd name="connsiteY1" fmla="*/ 0 h 435050"/>
                <a:gd name="connsiteX2" fmla="*/ 217566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39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66" y="217539"/>
                  </a:lnTo>
                  <a:lnTo>
                    <a:pt x="435077" y="435050"/>
                  </a:lnTo>
                  <a:close/>
                  <a:moveTo>
                    <a:pt x="0" y="435050"/>
                  </a:moveTo>
                  <a:lnTo>
                    <a:pt x="0" y="0"/>
                  </a:lnTo>
                  <a:lnTo>
                    <a:pt x="217539" y="217539"/>
                  </a:lnTo>
                  <a:lnTo>
                    <a:pt x="0" y="435050"/>
                  </a:lnTo>
                  <a:close/>
                </a:path>
              </a:pathLst>
            </a:custGeom>
            <a:grpFill/>
            <a:ln w="27192" cap="flat">
              <a:noFill/>
              <a:prstDash val="solid"/>
              <a:miter/>
            </a:ln>
          </p:spPr>
          <p:txBody>
            <a:bodyPr rtlCol="0" anchor="ctr"/>
            <a:lstStyle/>
            <a:p>
              <a:endParaRPr lang="uk-UA" sz="900"/>
            </a:p>
          </p:txBody>
        </p:sp>
        <p:sp>
          <p:nvSpPr>
            <p:cNvPr id="344" name="Freeform: Shape 343">
              <a:extLst>
                <a:ext uri="{FF2B5EF4-FFF2-40B4-BE49-F238E27FC236}">
                  <a16:creationId xmlns:a16="http://schemas.microsoft.com/office/drawing/2014/main" id="{73EDBCAB-242E-40C9-2030-EA3B6D1273BF}"/>
                </a:ext>
              </a:extLst>
            </p:cNvPr>
            <p:cNvSpPr/>
            <p:nvPr/>
          </p:nvSpPr>
          <p:spPr>
            <a:xfrm>
              <a:off x="6056752" y="980030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6" y="153827"/>
                  </a:cubicBezTo>
                  <a:cubicBezTo>
                    <a:pt x="330550" y="194642"/>
                    <a:pt x="275241" y="217539"/>
                    <a:pt x="217539" y="217539"/>
                  </a:cubicBezTo>
                  <a:cubicBezTo>
                    <a:pt x="159837"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5" y="322066"/>
                    <a:pt x="371366" y="281277"/>
                  </a:cubicBezTo>
                  <a:cubicBezTo>
                    <a:pt x="330550" y="240462"/>
                    <a:pt x="275241" y="217539"/>
                    <a:pt x="217539" y="217539"/>
                  </a:cubicBezTo>
                  <a:cubicBezTo>
                    <a:pt x="159837" y="217539"/>
                    <a:pt x="104501" y="240462"/>
                    <a:pt x="63712" y="281277"/>
                  </a:cubicBezTo>
                  <a:close/>
                </a:path>
              </a:pathLst>
            </a:custGeom>
            <a:grpFill/>
            <a:ln w="27192" cap="flat">
              <a:noFill/>
              <a:prstDash val="solid"/>
              <a:miter/>
            </a:ln>
          </p:spPr>
          <p:txBody>
            <a:bodyPr rtlCol="0" anchor="ctr"/>
            <a:lstStyle/>
            <a:p>
              <a:endParaRPr lang="uk-UA" sz="900"/>
            </a:p>
          </p:txBody>
        </p:sp>
        <p:sp>
          <p:nvSpPr>
            <p:cNvPr id="345" name="Freeform: Shape 344">
              <a:extLst>
                <a:ext uri="{FF2B5EF4-FFF2-40B4-BE49-F238E27FC236}">
                  <a16:creationId xmlns:a16="http://schemas.microsoft.com/office/drawing/2014/main" id="{59E2C08C-6FBC-DC37-211A-C5069AE5F180}"/>
                </a:ext>
              </a:extLst>
            </p:cNvPr>
            <p:cNvSpPr/>
            <p:nvPr/>
          </p:nvSpPr>
          <p:spPr>
            <a:xfrm>
              <a:off x="7797062" y="9800303"/>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66 w 435077"/>
                <a:gd name="connsiteY4" fmla="*/ 435077 h 435077"/>
                <a:gd name="connsiteX5" fmla="*/ 217566 w 435077"/>
                <a:gd name="connsiteY5" fmla="*/ 0 h 435077"/>
                <a:gd name="connsiteX6" fmla="*/ 435077 w 435077"/>
                <a:gd name="connsiteY6" fmla="*/ 217566 h 435077"/>
                <a:gd name="connsiteX7" fmla="*/ 217566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66" y="435077"/>
                  </a:moveTo>
                  <a:lnTo>
                    <a:pt x="217566" y="0"/>
                  </a:lnTo>
                  <a:lnTo>
                    <a:pt x="435077" y="217566"/>
                  </a:lnTo>
                  <a:lnTo>
                    <a:pt x="217566" y="435077"/>
                  </a:lnTo>
                  <a:close/>
                </a:path>
              </a:pathLst>
            </a:custGeom>
            <a:grpFill/>
            <a:ln w="27192" cap="flat">
              <a:noFill/>
              <a:prstDash val="solid"/>
              <a:miter/>
            </a:ln>
          </p:spPr>
          <p:txBody>
            <a:bodyPr rtlCol="0" anchor="ctr"/>
            <a:lstStyle/>
            <a:p>
              <a:endParaRPr lang="uk-UA" sz="900"/>
            </a:p>
          </p:txBody>
        </p:sp>
        <p:sp>
          <p:nvSpPr>
            <p:cNvPr id="346" name="Freeform: Shape 345">
              <a:extLst>
                <a:ext uri="{FF2B5EF4-FFF2-40B4-BE49-F238E27FC236}">
                  <a16:creationId xmlns:a16="http://schemas.microsoft.com/office/drawing/2014/main" id="{53271C58-4592-9FD8-B3A4-8E34C110365F}"/>
                </a:ext>
              </a:extLst>
            </p:cNvPr>
            <p:cNvSpPr/>
            <p:nvPr/>
          </p:nvSpPr>
          <p:spPr>
            <a:xfrm>
              <a:off x="6926907" y="980030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6 w 435077"/>
                <a:gd name="connsiteY3" fmla="*/ 27 h 435077"/>
                <a:gd name="connsiteX4" fmla="*/ 435077 w 435077"/>
                <a:gd name="connsiteY4" fmla="*/ 217566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6" y="27"/>
                  </a:lnTo>
                  <a:lnTo>
                    <a:pt x="435077" y="217566"/>
                  </a:lnTo>
                  <a:lnTo>
                    <a:pt x="217566"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347" name="Freeform: Shape 346">
              <a:extLst>
                <a:ext uri="{FF2B5EF4-FFF2-40B4-BE49-F238E27FC236}">
                  <a16:creationId xmlns:a16="http://schemas.microsoft.com/office/drawing/2014/main" id="{B3F8638D-6385-BC69-BAAC-16BAA2E11CC3}"/>
                </a:ext>
              </a:extLst>
            </p:cNvPr>
            <p:cNvSpPr/>
            <p:nvPr/>
          </p:nvSpPr>
          <p:spPr>
            <a:xfrm>
              <a:off x="8667244" y="980033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1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1" y="217539"/>
                  </a:lnTo>
                  <a:lnTo>
                    <a:pt x="0" y="435050"/>
                  </a:lnTo>
                  <a:close/>
                </a:path>
              </a:pathLst>
            </a:custGeom>
            <a:grpFill/>
            <a:ln w="27192" cap="flat">
              <a:noFill/>
              <a:prstDash val="solid"/>
              <a:miter/>
            </a:ln>
          </p:spPr>
          <p:txBody>
            <a:bodyPr rtlCol="0" anchor="ctr"/>
            <a:lstStyle/>
            <a:p>
              <a:endParaRPr lang="uk-UA" sz="900"/>
            </a:p>
          </p:txBody>
        </p:sp>
        <p:sp>
          <p:nvSpPr>
            <p:cNvPr id="348" name="Freeform: Shape 347">
              <a:extLst>
                <a:ext uri="{FF2B5EF4-FFF2-40B4-BE49-F238E27FC236}">
                  <a16:creationId xmlns:a16="http://schemas.microsoft.com/office/drawing/2014/main" id="{8D8D9505-9B17-779F-DFCA-635946DC459E}"/>
                </a:ext>
              </a:extLst>
            </p:cNvPr>
            <p:cNvSpPr/>
            <p:nvPr/>
          </p:nvSpPr>
          <p:spPr>
            <a:xfrm>
              <a:off x="9537399" y="9800303"/>
              <a:ext cx="435077" cy="435077"/>
            </a:xfrm>
            <a:custGeom>
              <a:avLst/>
              <a:gdLst>
                <a:gd name="connsiteX0" fmla="*/ 63711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1 w 435077"/>
                <a:gd name="connsiteY6" fmla="*/ 153827 h 435077"/>
                <a:gd name="connsiteX7" fmla="*/ 63711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11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1" y="153827"/>
                  </a:moveTo>
                  <a:cubicBezTo>
                    <a:pt x="22923" y="113039"/>
                    <a:pt x="0" y="57702"/>
                    <a:pt x="0" y="0"/>
                  </a:cubicBezTo>
                  <a:lnTo>
                    <a:pt x="217539" y="0"/>
                  </a:lnTo>
                  <a:lnTo>
                    <a:pt x="435077" y="0"/>
                  </a:lnTo>
                  <a:cubicBezTo>
                    <a:pt x="435077" y="57702"/>
                    <a:pt x="412155" y="113039"/>
                    <a:pt x="371366" y="153827"/>
                  </a:cubicBezTo>
                  <a:cubicBezTo>
                    <a:pt x="330550" y="194642"/>
                    <a:pt x="275214" y="217539"/>
                    <a:pt x="217539" y="217539"/>
                  </a:cubicBezTo>
                  <a:cubicBezTo>
                    <a:pt x="159836" y="217539"/>
                    <a:pt x="104500" y="194642"/>
                    <a:pt x="63711" y="153827"/>
                  </a:cubicBezTo>
                  <a:close/>
                  <a:moveTo>
                    <a:pt x="63711" y="281277"/>
                  </a:moveTo>
                  <a:cubicBezTo>
                    <a:pt x="22923" y="322066"/>
                    <a:pt x="0" y="377402"/>
                    <a:pt x="0" y="435077"/>
                  </a:cubicBezTo>
                  <a:lnTo>
                    <a:pt x="217539" y="435077"/>
                  </a:lnTo>
                  <a:lnTo>
                    <a:pt x="435077" y="435077"/>
                  </a:lnTo>
                  <a:cubicBezTo>
                    <a:pt x="435077" y="377402"/>
                    <a:pt x="412155" y="322066"/>
                    <a:pt x="371366" y="281277"/>
                  </a:cubicBezTo>
                  <a:cubicBezTo>
                    <a:pt x="330550" y="240462"/>
                    <a:pt x="275214" y="217539"/>
                    <a:pt x="217539" y="217539"/>
                  </a:cubicBezTo>
                  <a:cubicBezTo>
                    <a:pt x="159836" y="217539"/>
                    <a:pt x="104500" y="240462"/>
                    <a:pt x="63711" y="281277"/>
                  </a:cubicBezTo>
                  <a:close/>
                </a:path>
              </a:pathLst>
            </a:custGeom>
            <a:grpFill/>
            <a:ln w="27192" cap="flat">
              <a:noFill/>
              <a:prstDash val="solid"/>
              <a:miter/>
            </a:ln>
          </p:spPr>
          <p:txBody>
            <a:bodyPr rtlCol="0" anchor="ctr"/>
            <a:lstStyle/>
            <a:p>
              <a:endParaRPr lang="uk-UA" sz="900"/>
            </a:p>
          </p:txBody>
        </p:sp>
        <p:sp>
          <p:nvSpPr>
            <p:cNvPr id="349" name="Freeform: Shape 348">
              <a:extLst>
                <a:ext uri="{FF2B5EF4-FFF2-40B4-BE49-F238E27FC236}">
                  <a16:creationId xmlns:a16="http://schemas.microsoft.com/office/drawing/2014/main" id="{6193F058-F03A-7B46-0BE6-9B5B94026582}"/>
                </a:ext>
              </a:extLst>
            </p:cNvPr>
            <p:cNvSpPr/>
            <p:nvPr/>
          </p:nvSpPr>
          <p:spPr>
            <a:xfrm>
              <a:off x="11277709" y="9800303"/>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350" name="Freeform: Shape 349">
              <a:extLst>
                <a:ext uri="{FF2B5EF4-FFF2-40B4-BE49-F238E27FC236}">
                  <a16:creationId xmlns:a16="http://schemas.microsoft.com/office/drawing/2014/main" id="{7E0993CD-0929-C528-CCF2-1BDEE6E5B8A8}"/>
                </a:ext>
              </a:extLst>
            </p:cNvPr>
            <p:cNvSpPr/>
            <p:nvPr/>
          </p:nvSpPr>
          <p:spPr>
            <a:xfrm>
              <a:off x="10407554" y="980030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1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11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1" y="217539"/>
                  </a:lnTo>
                  <a:lnTo>
                    <a:pt x="0" y="217539"/>
                  </a:lnTo>
                  <a:close/>
                  <a:moveTo>
                    <a:pt x="0" y="435077"/>
                  </a:moveTo>
                  <a:lnTo>
                    <a:pt x="0" y="217566"/>
                  </a:lnTo>
                  <a:lnTo>
                    <a:pt x="217511" y="217566"/>
                  </a:lnTo>
                  <a:lnTo>
                    <a:pt x="0" y="435077"/>
                  </a:lnTo>
                  <a:close/>
                </a:path>
              </a:pathLst>
            </a:custGeom>
            <a:grpFill/>
            <a:ln w="27192" cap="flat">
              <a:noFill/>
              <a:prstDash val="solid"/>
              <a:miter/>
            </a:ln>
          </p:spPr>
          <p:txBody>
            <a:bodyPr rtlCol="0" anchor="ctr"/>
            <a:lstStyle/>
            <a:p>
              <a:endParaRPr lang="uk-UA" sz="900"/>
            </a:p>
          </p:txBody>
        </p:sp>
        <p:sp>
          <p:nvSpPr>
            <p:cNvPr id="351" name="Freeform: Shape 350">
              <a:extLst>
                <a:ext uri="{FF2B5EF4-FFF2-40B4-BE49-F238E27FC236}">
                  <a16:creationId xmlns:a16="http://schemas.microsoft.com/office/drawing/2014/main" id="{2CE4DB87-1B45-65DB-EAD0-14871BCEC8FE}"/>
                </a:ext>
              </a:extLst>
            </p:cNvPr>
            <p:cNvSpPr/>
            <p:nvPr/>
          </p:nvSpPr>
          <p:spPr>
            <a:xfrm>
              <a:off x="12147891" y="980033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2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2" y="217539"/>
                  </a:lnTo>
                  <a:lnTo>
                    <a:pt x="0" y="435050"/>
                  </a:lnTo>
                  <a:close/>
                </a:path>
              </a:pathLst>
            </a:custGeom>
            <a:grpFill/>
            <a:ln w="27192" cap="flat">
              <a:noFill/>
              <a:prstDash val="solid"/>
              <a:miter/>
            </a:ln>
          </p:spPr>
          <p:txBody>
            <a:bodyPr rtlCol="0" anchor="ctr"/>
            <a:lstStyle/>
            <a:p>
              <a:endParaRPr lang="uk-UA" sz="900"/>
            </a:p>
          </p:txBody>
        </p:sp>
        <p:sp>
          <p:nvSpPr>
            <p:cNvPr id="352" name="Freeform: Shape 351">
              <a:extLst>
                <a:ext uri="{FF2B5EF4-FFF2-40B4-BE49-F238E27FC236}">
                  <a16:creationId xmlns:a16="http://schemas.microsoft.com/office/drawing/2014/main" id="{BA682D0D-2281-9D95-AE6D-C753CBA89CBA}"/>
                </a:ext>
              </a:extLst>
            </p:cNvPr>
            <p:cNvSpPr/>
            <p:nvPr/>
          </p:nvSpPr>
          <p:spPr>
            <a:xfrm>
              <a:off x="13018045" y="980030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4" y="113039"/>
                    <a:pt x="371365" y="153827"/>
                  </a:cubicBezTo>
                  <a:cubicBezTo>
                    <a:pt x="330550" y="194642"/>
                    <a:pt x="275241" y="217539"/>
                    <a:pt x="217539" y="217539"/>
                  </a:cubicBezTo>
                  <a:cubicBezTo>
                    <a:pt x="159836"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4" y="322066"/>
                    <a:pt x="371365" y="281277"/>
                  </a:cubicBezTo>
                  <a:cubicBezTo>
                    <a:pt x="330550" y="240462"/>
                    <a:pt x="275241" y="217539"/>
                    <a:pt x="217539" y="217539"/>
                  </a:cubicBezTo>
                  <a:cubicBezTo>
                    <a:pt x="159836" y="217539"/>
                    <a:pt x="104501" y="240462"/>
                    <a:pt x="63712" y="281277"/>
                  </a:cubicBezTo>
                  <a:close/>
                </a:path>
              </a:pathLst>
            </a:custGeom>
            <a:grpFill/>
            <a:ln w="27192" cap="flat">
              <a:noFill/>
              <a:prstDash val="solid"/>
              <a:miter/>
            </a:ln>
          </p:spPr>
          <p:txBody>
            <a:bodyPr rtlCol="0" anchor="ctr"/>
            <a:lstStyle/>
            <a:p>
              <a:endParaRPr lang="uk-UA" sz="900"/>
            </a:p>
          </p:txBody>
        </p:sp>
        <p:sp>
          <p:nvSpPr>
            <p:cNvPr id="353" name="Freeform: Shape 352">
              <a:extLst>
                <a:ext uri="{FF2B5EF4-FFF2-40B4-BE49-F238E27FC236}">
                  <a16:creationId xmlns:a16="http://schemas.microsoft.com/office/drawing/2014/main" id="{2E1A817A-2DD5-B971-19CE-48E0E2A2E6DA}"/>
                </a:ext>
              </a:extLst>
            </p:cNvPr>
            <p:cNvSpPr/>
            <p:nvPr/>
          </p:nvSpPr>
          <p:spPr>
            <a:xfrm>
              <a:off x="14758382" y="9800303"/>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354" name="Freeform: Shape 353">
              <a:extLst>
                <a:ext uri="{FF2B5EF4-FFF2-40B4-BE49-F238E27FC236}">
                  <a16:creationId xmlns:a16="http://schemas.microsoft.com/office/drawing/2014/main" id="{FC693BDB-05E7-6C03-160B-6A6E9C475012}"/>
                </a:ext>
              </a:extLst>
            </p:cNvPr>
            <p:cNvSpPr/>
            <p:nvPr/>
          </p:nvSpPr>
          <p:spPr>
            <a:xfrm>
              <a:off x="13888200" y="980030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5 w 435077"/>
                <a:gd name="connsiteY3" fmla="*/ 27 h 435077"/>
                <a:gd name="connsiteX4" fmla="*/ 435077 w 435077"/>
                <a:gd name="connsiteY4" fmla="*/ 217566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5" y="27"/>
                  </a:lnTo>
                  <a:lnTo>
                    <a:pt x="435077" y="217566"/>
                  </a:lnTo>
                  <a:lnTo>
                    <a:pt x="217565"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355" name="Freeform: Shape 354">
              <a:extLst>
                <a:ext uri="{FF2B5EF4-FFF2-40B4-BE49-F238E27FC236}">
                  <a16:creationId xmlns:a16="http://schemas.microsoft.com/office/drawing/2014/main" id="{1C2B2945-C69C-4320-D114-6F2011AFF84F}"/>
                </a:ext>
              </a:extLst>
            </p:cNvPr>
            <p:cNvSpPr/>
            <p:nvPr/>
          </p:nvSpPr>
          <p:spPr>
            <a:xfrm>
              <a:off x="15628565" y="980033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0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0" y="217539"/>
                  </a:lnTo>
                  <a:lnTo>
                    <a:pt x="0" y="435050"/>
                  </a:lnTo>
                  <a:close/>
                </a:path>
              </a:pathLst>
            </a:custGeom>
            <a:grpFill/>
            <a:ln w="27192" cap="flat">
              <a:noFill/>
              <a:prstDash val="solid"/>
              <a:miter/>
            </a:ln>
          </p:spPr>
          <p:txBody>
            <a:bodyPr rtlCol="0" anchor="ctr"/>
            <a:lstStyle/>
            <a:p>
              <a:endParaRPr lang="uk-UA" sz="900"/>
            </a:p>
          </p:txBody>
        </p:sp>
        <p:sp>
          <p:nvSpPr>
            <p:cNvPr id="356" name="Freeform: Shape 355">
              <a:extLst>
                <a:ext uri="{FF2B5EF4-FFF2-40B4-BE49-F238E27FC236}">
                  <a16:creationId xmlns:a16="http://schemas.microsoft.com/office/drawing/2014/main" id="{3CD9D052-DEDE-F96A-D23B-EA3B10810D59}"/>
                </a:ext>
              </a:extLst>
            </p:cNvPr>
            <p:cNvSpPr/>
            <p:nvPr/>
          </p:nvSpPr>
          <p:spPr>
            <a:xfrm>
              <a:off x="16498719" y="9800303"/>
              <a:ext cx="435077" cy="435077"/>
            </a:xfrm>
            <a:custGeom>
              <a:avLst/>
              <a:gdLst>
                <a:gd name="connsiteX0" fmla="*/ 63710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0 w 435077"/>
                <a:gd name="connsiteY6" fmla="*/ 153827 h 435077"/>
                <a:gd name="connsiteX7" fmla="*/ 63710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77 h 435077"/>
                <a:gd name="connsiteX12" fmla="*/ 217539 w 435077"/>
                <a:gd name="connsiteY12" fmla="*/ 217539 h 435077"/>
                <a:gd name="connsiteX13" fmla="*/ 63710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7"/>
                  </a:moveTo>
                  <a:cubicBezTo>
                    <a:pt x="22895" y="113039"/>
                    <a:pt x="0" y="57702"/>
                    <a:pt x="0" y="0"/>
                  </a:cubicBezTo>
                  <a:lnTo>
                    <a:pt x="217539" y="0"/>
                  </a:lnTo>
                  <a:lnTo>
                    <a:pt x="435077" y="0"/>
                  </a:lnTo>
                  <a:cubicBezTo>
                    <a:pt x="435077" y="57702"/>
                    <a:pt x="412154" y="113039"/>
                    <a:pt x="371339" y="153827"/>
                  </a:cubicBezTo>
                  <a:cubicBezTo>
                    <a:pt x="330550" y="194642"/>
                    <a:pt x="275213" y="217539"/>
                    <a:pt x="217539" y="217539"/>
                  </a:cubicBezTo>
                  <a:cubicBezTo>
                    <a:pt x="159836" y="217539"/>
                    <a:pt x="104499" y="194642"/>
                    <a:pt x="63710" y="153827"/>
                  </a:cubicBezTo>
                  <a:close/>
                  <a:moveTo>
                    <a:pt x="63710" y="281277"/>
                  </a:moveTo>
                  <a:cubicBezTo>
                    <a:pt x="22895" y="322066"/>
                    <a:pt x="0" y="377402"/>
                    <a:pt x="0" y="435077"/>
                  </a:cubicBezTo>
                  <a:lnTo>
                    <a:pt x="217539" y="435077"/>
                  </a:lnTo>
                  <a:lnTo>
                    <a:pt x="435077" y="435077"/>
                  </a:lnTo>
                  <a:cubicBezTo>
                    <a:pt x="435077" y="377402"/>
                    <a:pt x="412154" y="322066"/>
                    <a:pt x="371339" y="281277"/>
                  </a:cubicBezTo>
                  <a:cubicBezTo>
                    <a:pt x="330550" y="240462"/>
                    <a:pt x="275213" y="217539"/>
                    <a:pt x="217539" y="217539"/>
                  </a:cubicBezTo>
                  <a:cubicBezTo>
                    <a:pt x="159836" y="217539"/>
                    <a:pt x="104499" y="240462"/>
                    <a:pt x="63710" y="281277"/>
                  </a:cubicBezTo>
                  <a:close/>
                </a:path>
              </a:pathLst>
            </a:custGeom>
            <a:grpFill/>
            <a:ln w="27192" cap="flat">
              <a:noFill/>
              <a:prstDash val="solid"/>
              <a:miter/>
            </a:ln>
          </p:spPr>
          <p:txBody>
            <a:bodyPr rtlCol="0" anchor="ctr"/>
            <a:lstStyle/>
            <a:p>
              <a:endParaRPr lang="uk-UA" sz="900"/>
            </a:p>
          </p:txBody>
        </p:sp>
        <p:sp>
          <p:nvSpPr>
            <p:cNvPr id="357" name="Freeform: Shape 356">
              <a:extLst>
                <a:ext uri="{FF2B5EF4-FFF2-40B4-BE49-F238E27FC236}">
                  <a16:creationId xmlns:a16="http://schemas.microsoft.com/office/drawing/2014/main" id="{B13C2970-32C2-233F-C424-1AC5BF437DA2}"/>
                </a:ext>
              </a:extLst>
            </p:cNvPr>
            <p:cNvSpPr/>
            <p:nvPr/>
          </p:nvSpPr>
          <p:spPr>
            <a:xfrm>
              <a:off x="18239029" y="9800303"/>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358" name="Freeform: Shape 357">
              <a:extLst>
                <a:ext uri="{FF2B5EF4-FFF2-40B4-BE49-F238E27FC236}">
                  <a16:creationId xmlns:a16="http://schemas.microsoft.com/office/drawing/2014/main" id="{CB678F61-3469-AD1E-49A3-C8BD7877A3B2}"/>
                </a:ext>
              </a:extLst>
            </p:cNvPr>
            <p:cNvSpPr/>
            <p:nvPr/>
          </p:nvSpPr>
          <p:spPr>
            <a:xfrm>
              <a:off x="17368874" y="980030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0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10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0" y="217539"/>
                  </a:lnTo>
                  <a:lnTo>
                    <a:pt x="0" y="217539"/>
                  </a:lnTo>
                  <a:close/>
                  <a:moveTo>
                    <a:pt x="0" y="435077"/>
                  </a:moveTo>
                  <a:lnTo>
                    <a:pt x="0" y="217566"/>
                  </a:lnTo>
                  <a:lnTo>
                    <a:pt x="217510" y="217566"/>
                  </a:lnTo>
                  <a:lnTo>
                    <a:pt x="0" y="435077"/>
                  </a:lnTo>
                  <a:close/>
                </a:path>
              </a:pathLst>
            </a:custGeom>
            <a:grpFill/>
            <a:ln w="27192" cap="flat">
              <a:noFill/>
              <a:prstDash val="solid"/>
              <a:miter/>
            </a:ln>
          </p:spPr>
          <p:txBody>
            <a:bodyPr rtlCol="0" anchor="ctr"/>
            <a:lstStyle/>
            <a:p>
              <a:endParaRPr lang="uk-UA" sz="900"/>
            </a:p>
          </p:txBody>
        </p:sp>
        <p:sp>
          <p:nvSpPr>
            <p:cNvPr id="359" name="Freeform: Shape 358">
              <a:extLst>
                <a:ext uri="{FF2B5EF4-FFF2-40B4-BE49-F238E27FC236}">
                  <a16:creationId xmlns:a16="http://schemas.microsoft.com/office/drawing/2014/main" id="{0CF9CEF5-AB5B-7013-6C61-DFABC8FF5787}"/>
                </a:ext>
              </a:extLst>
            </p:cNvPr>
            <p:cNvSpPr/>
            <p:nvPr/>
          </p:nvSpPr>
          <p:spPr>
            <a:xfrm>
              <a:off x="19109210" y="9800303"/>
              <a:ext cx="435077" cy="435077"/>
            </a:xfrm>
            <a:custGeom>
              <a:avLst/>
              <a:gdLst>
                <a:gd name="connsiteX0" fmla="*/ 435077 w 435077"/>
                <a:gd name="connsiteY0" fmla="*/ 435077 h 435077"/>
                <a:gd name="connsiteX1" fmla="*/ 435077 w 435077"/>
                <a:gd name="connsiteY1" fmla="*/ 0 h 435077"/>
                <a:gd name="connsiteX2" fmla="*/ 217539 w 435077"/>
                <a:gd name="connsiteY2" fmla="*/ 217566 h 435077"/>
                <a:gd name="connsiteX3" fmla="*/ 435077 w 435077"/>
                <a:gd name="connsiteY3" fmla="*/ 435077 h 435077"/>
                <a:gd name="connsiteX4" fmla="*/ 0 w 435077"/>
                <a:gd name="connsiteY4" fmla="*/ 435077 h 435077"/>
                <a:gd name="connsiteX5" fmla="*/ 0 w 435077"/>
                <a:gd name="connsiteY5" fmla="*/ 0 h 435077"/>
                <a:gd name="connsiteX6" fmla="*/ 217512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66"/>
                  </a:lnTo>
                  <a:lnTo>
                    <a:pt x="435077" y="435077"/>
                  </a:lnTo>
                  <a:close/>
                  <a:moveTo>
                    <a:pt x="0" y="435077"/>
                  </a:moveTo>
                  <a:lnTo>
                    <a:pt x="0" y="0"/>
                  </a:lnTo>
                  <a:lnTo>
                    <a:pt x="217512" y="217566"/>
                  </a:lnTo>
                  <a:lnTo>
                    <a:pt x="0" y="435077"/>
                  </a:lnTo>
                  <a:close/>
                </a:path>
              </a:pathLst>
            </a:custGeom>
            <a:grpFill/>
            <a:ln w="27192" cap="flat">
              <a:noFill/>
              <a:prstDash val="solid"/>
              <a:miter/>
            </a:ln>
          </p:spPr>
          <p:txBody>
            <a:bodyPr rtlCol="0" anchor="ctr"/>
            <a:lstStyle/>
            <a:p>
              <a:endParaRPr lang="uk-UA" sz="900"/>
            </a:p>
          </p:txBody>
        </p:sp>
        <p:sp>
          <p:nvSpPr>
            <p:cNvPr id="360" name="Freeform: Shape 359">
              <a:extLst>
                <a:ext uri="{FF2B5EF4-FFF2-40B4-BE49-F238E27FC236}">
                  <a16:creationId xmlns:a16="http://schemas.microsoft.com/office/drawing/2014/main" id="{2F8418C5-FD84-B42B-D95C-E576F2EBC411}"/>
                </a:ext>
              </a:extLst>
            </p:cNvPr>
            <p:cNvSpPr/>
            <p:nvPr/>
          </p:nvSpPr>
          <p:spPr>
            <a:xfrm>
              <a:off x="19979365" y="980030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4" y="113039"/>
                    <a:pt x="371365" y="153827"/>
                  </a:cubicBezTo>
                  <a:cubicBezTo>
                    <a:pt x="330550" y="194642"/>
                    <a:pt x="275241" y="217539"/>
                    <a:pt x="217539" y="217539"/>
                  </a:cubicBezTo>
                  <a:cubicBezTo>
                    <a:pt x="159836"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4" y="322066"/>
                    <a:pt x="371365" y="281277"/>
                  </a:cubicBezTo>
                  <a:cubicBezTo>
                    <a:pt x="330550" y="240462"/>
                    <a:pt x="275241" y="217539"/>
                    <a:pt x="217539" y="217539"/>
                  </a:cubicBezTo>
                  <a:cubicBezTo>
                    <a:pt x="159836" y="217539"/>
                    <a:pt x="104501" y="240462"/>
                    <a:pt x="63712" y="281277"/>
                  </a:cubicBezTo>
                  <a:close/>
                </a:path>
              </a:pathLst>
            </a:custGeom>
            <a:grpFill/>
            <a:ln w="27192" cap="flat">
              <a:noFill/>
              <a:prstDash val="solid"/>
              <a:miter/>
            </a:ln>
          </p:spPr>
          <p:txBody>
            <a:bodyPr rtlCol="0" anchor="ctr"/>
            <a:lstStyle/>
            <a:p>
              <a:endParaRPr lang="uk-UA" sz="900"/>
            </a:p>
          </p:txBody>
        </p:sp>
        <p:sp>
          <p:nvSpPr>
            <p:cNvPr id="361" name="Freeform: Shape 360">
              <a:extLst>
                <a:ext uri="{FF2B5EF4-FFF2-40B4-BE49-F238E27FC236}">
                  <a16:creationId xmlns:a16="http://schemas.microsoft.com/office/drawing/2014/main" id="{561AC187-0D38-C763-3EBE-E14844B633B3}"/>
                </a:ext>
              </a:extLst>
            </p:cNvPr>
            <p:cNvSpPr/>
            <p:nvPr/>
          </p:nvSpPr>
          <p:spPr>
            <a:xfrm>
              <a:off x="21719702" y="9800303"/>
              <a:ext cx="435077" cy="435077"/>
            </a:xfrm>
            <a:custGeom>
              <a:avLst/>
              <a:gdLst>
                <a:gd name="connsiteX0" fmla="*/ 0 w 435077"/>
                <a:gd name="connsiteY0" fmla="*/ 435077 h 435077"/>
                <a:gd name="connsiteX1" fmla="*/ 0 w 435077"/>
                <a:gd name="connsiteY1" fmla="*/ 0 h 435077"/>
                <a:gd name="connsiteX2" fmla="*/ 217512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12"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362" name="Freeform: Shape 361">
              <a:extLst>
                <a:ext uri="{FF2B5EF4-FFF2-40B4-BE49-F238E27FC236}">
                  <a16:creationId xmlns:a16="http://schemas.microsoft.com/office/drawing/2014/main" id="{184AF3C4-A75B-0EA1-72AE-977963C68E11}"/>
                </a:ext>
              </a:extLst>
            </p:cNvPr>
            <p:cNvSpPr/>
            <p:nvPr/>
          </p:nvSpPr>
          <p:spPr>
            <a:xfrm>
              <a:off x="20849520" y="980030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5 w 435077"/>
                <a:gd name="connsiteY3" fmla="*/ 27 h 435077"/>
                <a:gd name="connsiteX4" fmla="*/ 435077 w 435077"/>
                <a:gd name="connsiteY4" fmla="*/ 217566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5" y="27"/>
                  </a:lnTo>
                  <a:lnTo>
                    <a:pt x="435077" y="217566"/>
                  </a:lnTo>
                  <a:lnTo>
                    <a:pt x="217565"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363" name="Freeform: Shape 362">
              <a:extLst>
                <a:ext uri="{FF2B5EF4-FFF2-40B4-BE49-F238E27FC236}">
                  <a16:creationId xmlns:a16="http://schemas.microsoft.com/office/drawing/2014/main" id="{0A3C4817-DB73-E3FC-BD38-6B0E42184BAC}"/>
                </a:ext>
              </a:extLst>
            </p:cNvPr>
            <p:cNvSpPr/>
            <p:nvPr/>
          </p:nvSpPr>
          <p:spPr>
            <a:xfrm>
              <a:off x="22589856" y="9800303"/>
              <a:ext cx="435077" cy="435077"/>
            </a:xfrm>
            <a:custGeom>
              <a:avLst/>
              <a:gdLst>
                <a:gd name="connsiteX0" fmla="*/ 435077 w 435077"/>
                <a:gd name="connsiteY0" fmla="*/ 435077 h 435077"/>
                <a:gd name="connsiteX1" fmla="*/ 435077 w 435077"/>
                <a:gd name="connsiteY1" fmla="*/ 0 h 435077"/>
                <a:gd name="connsiteX2" fmla="*/ 217567 w 435077"/>
                <a:gd name="connsiteY2" fmla="*/ 217566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7" y="217566"/>
                  </a:lnTo>
                  <a:lnTo>
                    <a:pt x="435077" y="435077"/>
                  </a:lnTo>
                  <a:close/>
                  <a:moveTo>
                    <a:pt x="0" y="435077"/>
                  </a:moveTo>
                  <a:lnTo>
                    <a:pt x="0" y="0"/>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364" name="Freeform: Shape 363">
              <a:extLst>
                <a:ext uri="{FF2B5EF4-FFF2-40B4-BE49-F238E27FC236}">
                  <a16:creationId xmlns:a16="http://schemas.microsoft.com/office/drawing/2014/main" id="{D3DA0B77-592E-3FC1-06F5-19A789C8E875}"/>
                </a:ext>
              </a:extLst>
            </p:cNvPr>
            <p:cNvSpPr/>
            <p:nvPr/>
          </p:nvSpPr>
          <p:spPr>
            <a:xfrm>
              <a:off x="23460039" y="9800303"/>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895" y="113039"/>
                    <a:pt x="0" y="57702"/>
                    <a:pt x="0" y="0"/>
                  </a:cubicBezTo>
                  <a:lnTo>
                    <a:pt x="217539" y="0"/>
                  </a:lnTo>
                  <a:lnTo>
                    <a:pt x="435077" y="0"/>
                  </a:lnTo>
                  <a:cubicBezTo>
                    <a:pt x="435077" y="57702"/>
                    <a:pt x="412154" y="113039"/>
                    <a:pt x="371339" y="153827"/>
                  </a:cubicBezTo>
                  <a:cubicBezTo>
                    <a:pt x="330550" y="194642"/>
                    <a:pt x="275213" y="217539"/>
                    <a:pt x="217539" y="217539"/>
                  </a:cubicBezTo>
                  <a:cubicBezTo>
                    <a:pt x="159836" y="217539"/>
                    <a:pt x="104501" y="194642"/>
                    <a:pt x="63712" y="153827"/>
                  </a:cubicBezTo>
                  <a:close/>
                  <a:moveTo>
                    <a:pt x="63712" y="281277"/>
                  </a:moveTo>
                  <a:cubicBezTo>
                    <a:pt x="22895" y="322066"/>
                    <a:pt x="0" y="377402"/>
                    <a:pt x="0" y="435077"/>
                  </a:cubicBezTo>
                  <a:lnTo>
                    <a:pt x="217539" y="435077"/>
                  </a:lnTo>
                  <a:lnTo>
                    <a:pt x="435077" y="435077"/>
                  </a:lnTo>
                  <a:cubicBezTo>
                    <a:pt x="435077" y="377402"/>
                    <a:pt x="412154" y="322066"/>
                    <a:pt x="371339" y="281277"/>
                  </a:cubicBezTo>
                  <a:cubicBezTo>
                    <a:pt x="330550" y="240462"/>
                    <a:pt x="275213" y="217539"/>
                    <a:pt x="217539" y="217539"/>
                  </a:cubicBezTo>
                  <a:cubicBezTo>
                    <a:pt x="159836" y="217539"/>
                    <a:pt x="104501" y="240462"/>
                    <a:pt x="63712" y="281277"/>
                  </a:cubicBezTo>
                  <a:close/>
                </a:path>
              </a:pathLst>
            </a:custGeom>
            <a:grpFill/>
            <a:ln w="27192" cap="flat">
              <a:noFill/>
              <a:prstDash val="solid"/>
              <a:miter/>
            </a:ln>
          </p:spPr>
          <p:txBody>
            <a:bodyPr rtlCol="0" anchor="ctr"/>
            <a:lstStyle/>
            <a:p>
              <a:endParaRPr lang="uk-UA" sz="900"/>
            </a:p>
          </p:txBody>
        </p:sp>
        <p:sp>
          <p:nvSpPr>
            <p:cNvPr id="365" name="Freeform: Shape 364">
              <a:extLst>
                <a:ext uri="{FF2B5EF4-FFF2-40B4-BE49-F238E27FC236}">
                  <a16:creationId xmlns:a16="http://schemas.microsoft.com/office/drawing/2014/main" id="{90FE989F-D466-0D35-CA4E-9E244B04E147}"/>
                </a:ext>
              </a:extLst>
            </p:cNvPr>
            <p:cNvSpPr/>
            <p:nvPr/>
          </p:nvSpPr>
          <p:spPr>
            <a:xfrm>
              <a:off x="24330194" y="9800303"/>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366" name="Freeform: Shape 365">
              <a:extLst>
                <a:ext uri="{FF2B5EF4-FFF2-40B4-BE49-F238E27FC236}">
                  <a16:creationId xmlns:a16="http://schemas.microsoft.com/office/drawing/2014/main" id="{AF9616B8-B3DB-8FD4-22D7-D65631243D6B}"/>
                </a:ext>
              </a:extLst>
            </p:cNvPr>
            <p:cNvSpPr/>
            <p:nvPr/>
          </p:nvSpPr>
          <p:spPr>
            <a:xfrm>
              <a:off x="835742" y="1067045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367" name="Freeform: Shape 366">
              <a:extLst>
                <a:ext uri="{FF2B5EF4-FFF2-40B4-BE49-F238E27FC236}">
                  <a16:creationId xmlns:a16="http://schemas.microsoft.com/office/drawing/2014/main" id="{56B7CB51-C6D8-1D03-08D6-9EBE8117013C}"/>
                </a:ext>
              </a:extLst>
            </p:cNvPr>
            <p:cNvSpPr/>
            <p:nvPr/>
          </p:nvSpPr>
          <p:spPr>
            <a:xfrm>
              <a:off x="-34407" y="10670458"/>
              <a:ext cx="435072" cy="435077"/>
            </a:xfrm>
            <a:custGeom>
              <a:avLst/>
              <a:gdLst>
                <a:gd name="connsiteX0" fmla="*/ 371360 w 435072"/>
                <a:gd name="connsiteY0" fmla="*/ 63739 h 435077"/>
                <a:gd name="connsiteX1" fmla="*/ 435072 w 435072"/>
                <a:gd name="connsiteY1" fmla="*/ 217539 h 435077"/>
                <a:gd name="connsiteX2" fmla="*/ 217724 w 435072"/>
                <a:gd name="connsiteY2" fmla="*/ 217539 h 435077"/>
                <a:gd name="connsiteX3" fmla="*/ 371360 w 435072"/>
                <a:gd name="connsiteY3" fmla="*/ 281277 h 435077"/>
                <a:gd name="connsiteX4" fmla="*/ 435072 w 435072"/>
                <a:gd name="connsiteY4" fmla="*/ 435077 h 435077"/>
                <a:gd name="connsiteX5" fmla="*/ 217533 w 435072"/>
                <a:gd name="connsiteY5" fmla="*/ 435077 h 435077"/>
                <a:gd name="connsiteX6" fmla="*/ 5 w 435072"/>
                <a:gd name="connsiteY6" fmla="*/ 435077 h 435077"/>
                <a:gd name="connsiteX7" fmla="*/ 63720 w 435072"/>
                <a:gd name="connsiteY7" fmla="*/ 281277 h 435077"/>
                <a:gd name="connsiteX8" fmla="*/ 217370 w 435072"/>
                <a:gd name="connsiteY8" fmla="*/ 217539 h 435077"/>
                <a:gd name="connsiteX9" fmla="*/ 0 w 435072"/>
                <a:gd name="connsiteY9" fmla="*/ 217539 h 435077"/>
                <a:gd name="connsiteX10" fmla="*/ 63717 w 435072"/>
                <a:gd name="connsiteY10" fmla="*/ 63739 h 435077"/>
                <a:gd name="connsiteX11" fmla="*/ 217533 w 435072"/>
                <a:gd name="connsiteY11" fmla="*/ 0 h 435077"/>
                <a:gd name="connsiteX12" fmla="*/ 371360 w 435072"/>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2" h="435077">
                  <a:moveTo>
                    <a:pt x="371360" y="63739"/>
                  </a:moveTo>
                  <a:cubicBezTo>
                    <a:pt x="412149" y="104527"/>
                    <a:pt x="435072" y="159864"/>
                    <a:pt x="435072" y="217539"/>
                  </a:cubicBezTo>
                  <a:lnTo>
                    <a:pt x="217724" y="217539"/>
                  </a:lnTo>
                  <a:cubicBezTo>
                    <a:pt x="275344" y="217593"/>
                    <a:pt x="330599" y="240516"/>
                    <a:pt x="371360" y="281277"/>
                  </a:cubicBezTo>
                  <a:cubicBezTo>
                    <a:pt x="412176" y="322066"/>
                    <a:pt x="435072" y="377402"/>
                    <a:pt x="435072" y="435077"/>
                  </a:cubicBezTo>
                  <a:lnTo>
                    <a:pt x="217533" y="435077"/>
                  </a:lnTo>
                  <a:lnTo>
                    <a:pt x="5" y="435077"/>
                  </a:lnTo>
                  <a:cubicBezTo>
                    <a:pt x="5" y="377402"/>
                    <a:pt x="22923" y="322066"/>
                    <a:pt x="63720" y="281277"/>
                  </a:cubicBezTo>
                  <a:cubicBezTo>
                    <a:pt x="104476" y="240516"/>
                    <a:pt x="159750" y="217593"/>
                    <a:pt x="217370" y="217539"/>
                  </a:cubicBezTo>
                  <a:lnTo>
                    <a:pt x="0" y="217539"/>
                  </a:lnTo>
                  <a:cubicBezTo>
                    <a:pt x="0" y="159864"/>
                    <a:pt x="22921" y="104527"/>
                    <a:pt x="63717" y="63739"/>
                  </a:cubicBezTo>
                  <a:cubicBezTo>
                    <a:pt x="104514" y="22923"/>
                    <a:pt x="159858" y="0"/>
                    <a:pt x="217533" y="0"/>
                  </a:cubicBezTo>
                  <a:cubicBezTo>
                    <a:pt x="275236" y="0"/>
                    <a:pt x="330572" y="22923"/>
                    <a:pt x="371360" y="63739"/>
                  </a:cubicBezTo>
                  <a:close/>
                </a:path>
              </a:pathLst>
            </a:custGeom>
            <a:grpFill/>
            <a:ln w="27192" cap="flat">
              <a:noFill/>
              <a:prstDash val="solid"/>
              <a:miter/>
            </a:ln>
          </p:spPr>
          <p:txBody>
            <a:bodyPr rtlCol="0" anchor="ctr"/>
            <a:lstStyle/>
            <a:p>
              <a:endParaRPr lang="uk-UA" sz="900"/>
            </a:p>
          </p:txBody>
        </p:sp>
        <p:sp>
          <p:nvSpPr>
            <p:cNvPr id="368" name="Freeform: Shape 367">
              <a:extLst>
                <a:ext uri="{FF2B5EF4-FFF2-40B4-BE49-F238E27FC236}">
                  <a16:creationId xmlns:a16="http://schemas.microsoft.com/office/drawing/2014/main" id="{BB395674-A8C0-41FA-28CE-EC42DDF5FAAF}"/>
                </a:ext>
              </a:extLst>
            </p:cNvPr>
            <p:cNvSpPr/>
            <p:nvPr/>
          </p:nvSpPr>
          <p:spPr>
            <a:xfrm>
              <a:off x="1705924" y="1067045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369" name="Freeform: Shape 368">
              <a:extLst>
                <a:ext uri="{FF2B5EF4-FFF2-40B4-BE49-F238E27FC236}">
                  <a16:creationId xmlns:a16="http://schemas.microsoft.com/office/drawing/2014/main" id="{EC3B8078-BC33-628E-63EF-563B61296FB0}"/>
                </a:ext>
              </a:extLst>
            </p:cNvPr>
            <p:cNvSpPr/>
            <p:nvPr/>
          </p:nvSpPr>
          <p:spPr>
            <a:xfrm>
              <a:off x="2576079" y="10670458"/>
              <a:ext cx="435104" cy="435077"/>
            </a:xfrm>
            <a:custGeom>
              <a:avLst/>
              <a:gdLst>
                <a:gd name="connsiteX0" fmla="*/ 217539 w 435104"/>
                <a:gd name="connsiteY0" fmla="*/ 0 h 435077"/>
                <a:gd name="connsiteX1" fmla="*/ 0 w 435104"/>
                <a:gd name="connsiteY1" fmla="*/ 0 h 435077"/>
                <a:gd name="connsiteX2" fmla="*/ 0 w 435104"/>
                <a:gd name="connsiteY2" fmla="*/ 217539 h 435077"/>
                <a:gd name="connsiteX3" fmla="*/ 217539 w 435104"/>
                <a:gd name="connsiteY3" fmla="*/ 0 h 435077"/>
                <a:gd name="connsiteX4" fmla="*/ 435104 w 435104"/>
                <a:gd name="connsiteY4" fmla="*/ 0 h 435077"/>
                <a:gd name="connsiteX5" fmla="*/ 435104 w 435104"/>
                <a:gd name="connsiteY5" fmla="*/ 217539 h 435077"/>
                <a:gd name="connsiteX6" fmla="*/ 217566 w 435104"/>
                <a:gd name="connsiteY6" fmla="*/ 0 h 435077"/>
                <a:gd name="connsiteX7" fmla="*/ 435104 w 435104"/>
                <a:gd name="connsiteY7" fmla="*/ 0 h 435077"/>
                <a:gd name="connsiteX8" fmla="*/ 217566 w 435104"/>
                <a:gd name="connsiteY8" fmla="*/ 435077 h 435077"/>
                <a:gd name="connsiteX9" fmla="*/ 435104 w 435104"/>
                <a:gd name="connsiteY9" fmla="*/ 217539 h 435077"/>
                <a:gd name="connsiteX10" fmla="*/ 435104 w 435104"/>
                <a:gd name="connsiteY10" fmla="*/ 435077 h 435077"/>
                <a:gd name="connsiteX11" fmla="*/ 217566 w 435104"/>
                <a:gd name="connsiteY11" fmla="*/ 435077 h 435077"/>
                <a:gd name="connsiteX12" fmla="*/ 217566 w 435104"/>
                <a:gd name="connsiteY12" fmla="*/ 435077 h 435077"/>
                <a:gd name="connsiteX13" fmla="*/ 27 w 435104"/>
                <a:gd name="connsiteY13" fmla="*/ 217539 h 435077"/>
                <a:gd name="connsiteX14" fmla="*/ 27 w 435104"/>
                <a:gd name="connsiteY14" fmla="*/ 435077 h 435077"/>
                <a:gd name="connsiteX15" fmla="*/ 217566 w 435104"/>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4" h="435077">
                  <a:moveTo>
                    <a:pt x="217539" y="0"/>
                  </a:moveTo>
                  <a:lnTo>
                    <a:pt x="0" y="0"/>
                  </a:lnTo>
                  <a:lnTo>
                    <a:pt x="0" y="217539"/>
                  </a:lnTo>
                  <a:lnTo>
                    <a:pt x="217539" y="0"/>
                  </a:lnTo>
                  <a:close/>
                  <a:moveTo>
                    <a:pt x="435104" y="0"/>
                  </a:moveTo>
                  <a:lnTo>
                    <a:pt x="435104" y="217539"/>
                  </a:lnTo>
                  <a:lnTo>
                    <a:pt x="217566" y="0"/>
                  </a:lnTo>
                  <a:lnTo>
                    <a:pt x="435104" y="0"/>
                  </a:lnTo>
                  <a:close/>
                  <a:moveTo>
                    <a:pt x="217566" y="435077"/>
                  </a:moveTo>
                  <a:lnTo>
                    <a:pt x="435104" y="217539"/>
                  </a:lnTo>
                  <a:lnTo>
                    <a:pt x="435104" y="435077"/>
                  </a:lnTo>
                  <a:lnTo>
                    <a:pt x="217566" y="435077"/>
                  </a:lnTo>
                  <a:close/>
                  <a:moveTo>
                    <a:pt x="217566" y="435077"/>
                  </a:moveTo>
                  <a:lnTo>
                    <a:pt x="27" y="217539"/>
                  </a:lnTo>
                  <a:lnTo>
                    <a:pt x="27" y="435077"/>
                  </a:lnTo>
                  <a:lnTo>
                    <a:pt x="217566" y="435077"/>
                  </a:lnTo>
                  <a:close/>
                </a:path>
              </a:pathLst>
            </a:custGeom>
            <a:grpFill/>
            <a:ln w="27192" cap="flat">
              <a:noFill/>
              <a:prstDash val="solid"/>
              <a:miter/>
            </a:ln>
          </p:spPr>
          <p:txBody>
            <a:bodyPr rtlCol="0" anchor="ctr"/>
            <a:lstStyle/>
            <a:p>
              <a:endParaRPr lang="uk-UA" sz="900"/>
            </a:p>
          </p:txBody>
        </p:sp>
        <p:sp>
          <p:nvSpPr>
            <p:cNvPr id="370" name="Freeform: Shape 369">
              <a:extLst>
                <a:ext uri="{FF2B5EF4-FFF2-40B4-BE49-F238E27FC236}">
                  <a16:creationId xmlns:a16="http://schemas.microsoft.com/office/drawing/2014/main" id="{E1BD25FF-8C7D-D787-7FED-05A9240782EE}"/>
                </a:ext>
              </a:extLst>
            </p:cNvPr>
            <p:cNvSpPr/>
            <p:nvPr/>
          </p:nvSpPr>
          <p:spPr>
            <a:xfrm>
              <a:off x="4316416" y="1067045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371" name="Freeform: Shape 370">
              <a:extLst>
                <a:ext uri="{FF2B5EF4-FFF2-40B4-BE49-F238E27FC236}">
                  <a16:creationId xmlns:a16="http://schemas.microsoft.com/office/drawing/2014/main" id="{CB2A5D8B-25B5-0A7C-52CF-F03C1C030BDD}"/>
                </a:ext>
              </a:extLst>
            </p:cNvPr>
            <p:cNvSpPr/>
            <p:nvPr/>
          </p:nvSpPr>
          <p:spPr>
            <a:xfrm>
              <a:off x="3446261" y="10670458"/>
              <a:ext cx="435077" cy="435077"/>
            </a:xfrm>
            <a:custGeom>
              <a:avLst/>
              <a:gdLst>
                <a:gd name="connsiteX0" fmla="*/ 371366 w 435077"/>
                <a:gd name="connsiteY0" fmla="*/ 63739 h 435077"/>
                <a:gd name="connsiteX1" fmla="*/ 435077 w 435077"/>
                <a:gd name="connsiteY1" fmla="*/ 217539 h 435077"/>
                <a:gd name="connsiteX2" fmla="*/ 217702 w 435077"/>
                <a:gd name="connsiteY2" fmla="*/ 217539 h 435077"/>
                <a:gd name="connsiteX3" fmla="*/ 371366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6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39"/>
                  </a:moveTo>
                  <a:cubicBezTo>
                    <a:pt x="412154" y="104527"/>
                    <a:pt x="435077" y="159864"/>
                    <a:pt x="435077" y="217539"/>
                  </a:cubicBezTo>
                  <a:lnTo>
                    <a:pt x="217702" y="217539"/>
                  </a:lnTo>
                  <a:cubicBezTo>
                    <a:pt x="275350" y="217593"/>
                    <a:pt x="330605" y="240516"/>
                    <a:pt x="371366" y="281277"/>
                  </a:cubicBezTo>
                  <a:cubicBezTo>
                    <a:pt x="412154" y="322066"/>
                    <a:pt x="435077" y="377402"/>
                    <a:pt x="435077" y="435077"/>
                  </a:cubicBezTo>
                  <a:lnTo>
                    <a:pt x="217539" y="435077"/>
                  </a:lnTo>
                  <a:lnTo>
                    <a:pt x="0" y="435077"/>
                  </a:lnTo>
                  <a:cubicBezTo>
                    <a:pt x="0" y="377402"/>
                    <a:pt x="22923" y="322066"/>
                    <a:pt x="63712" y="281277"/>
                  </a:cubicBezTo>
                  <a:cubicBezTo>
                    <a:pt x="104473" y="240516"/>
                    <a:pt x="159728" y="217593"/>
                    <a:pt x="217376" y="217539"/>
                  </a:cubicBezTo>
                  <a:lnTo>
                    <a:pt x="0" y="217539"/>
                  </a:lnTo>
                  <a:cubicBezTo>
                    <a:pt x="0" y="159864"/>
                    <a:pt x="22923" y="104527"/>
                    <a:pt x="63712" y="63739"/>
                  </a:cubicBezTo>
                  <a:cubicBezTo>
                    <a:pt x="104500" y="22923"/>
                    <a:pt x="159837" y="0"/>
                    <a:pt x="217539" y="0"/>
                  </a:cubicBezTo>
                  <a:cubicBezTo>
                    <a:pt x="275241" y="0"/>
                    <a:pt x="330577" y="22923"/>
                    <a:pt x="371366" y="63739"/>
                  </a:cubicBezTo>
                  <a:close/>
                </a:path>
              </a:pathLst>
            </a:custGeom>
            <a:grpFill/>
            <a:ln w="27192" cap="flat">
              <a:noFill/>
              <a:prstDash val="solid"/>
              <a:miter/>
            </a:ln>
          </p:spPr>
          <p:txBody>
            <a:bodyPr rtlCol="0" anchor="ctr"/>
            <a:lstStyle/>
            <a:p>
              <a:endParaRPr lang="uk-UA" sz="900"/>
            </a:p>
          </p:txBody>
        </p:sp>
        <p:sp>
          <p:nvSpPr>
            <p:cNvPr id="372" name="Freeform: Shape 371">
              <a:extLst>
                <a:ext uri="{FF2B5EF4-FFF2-40B4-BE49-F238E27FC236}">
                  <a16:creationId xmlns:a16="http://schemas.microsoft.com/office/drawing/2014/main" id="{06A9F0DE-AFF1-B3F7-BB10-4928296B2046}"/>
                </a:ext>
              </a:extLst>
            </p:cNvPr>
            <p:cNvSpPr/>
            <p:nvPr/>
          </p:nvSpPr>
          <p:spPr>
            <a:xfrm>
              <a:off x="5186597" y="10670458"/>
              <a:ext cx="435077" cy="435104"/>
            </a:xfrm>
            <a:custGeom>
              <a:avLst/>
              <a:gdLst>
                <a:gd name="connsiteX0" fmla="*/ 0 w 435077"/>
                <a:gd name="connsiteY0" fmla="*/ 435077 h 435104"/>
                <a:gd name="connsiteX1" fmla="*/ 217512 w 435077"/>
                <a:gd name="connsiteY1" fmla="*/ 435077 h 435104"/>
                <a:gd name="connsiteX2" fmla="*/ 217512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12" y="435077"/>
                  </a:lnTo>
                  <a:lnTo>
                    <a:pt x="217512"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373" name="Freeform: Shape 372">
              <a:extLst>
                <a:ext uri="{FF2B5EF4-FFF2-40B4-BE49-F238E27FC236}">
                  <a16:creationId xmlns:a16="http://schemas.microsoft.com/office/drawing/2014/main" id="{CE000EF5-36C6-4327-D337-3696E70CE07F}"/>
                </a:ext>
              </a:extLst>
            </p:cNvPr>
            <p:cNvSpPr/>
            <p:nvPr/>
          </p:nvSpPr>
          <p:spPr>
            <a:xfrm>
              <a:off x="6056752" y="10670458"/>
              <a:ext cx="435077" cy="435077"/>
            </a:xfrm>
            <a:custGeom>
              <a:avLst/>
              <a:gdLst>
                <a:gd name="connsiteX0" fmla="*/ 217539 w 435077"/>
                <a:gd name="connsiteY0" fmla="*/ 0 h 435077"/>
                <a:gd name="connsiteX1" fmla="*/ 217539 w 435077"/>
                <a:gd name="connsiteY1" fmla="*/ 0 h 435077"/>
                <a:gd name="connsiteX2" fmla="*/ 0 w 435077"/>
                <a:gd name="connsiteY2" fmla="*/ 0 h 435077"/>
                <a:gd name="connsiteX3" fmla="*/ 0 w 435077"/>
                <a:gd name="connsiteY3" fmla="*/ 217539 h 435077"/>
                <a:gd name="connsiteX4" fmla="*/ 217539 w 435077"/>
                <a:gd name="connsiteY4" fmla="*/ 27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217539" y="0"/>
                  </a:lnTo>
                  <a:lnTo>
                    <a:pt x="0" y="0"/>
                  </a:lnTo>
                  <a:lnTo>
                    <a:pt x="0" y="217539"/>
                  </a:lnTo>
                  <a:lnTo>
                    <a:pt x="217539" y="27"/>
                  </a:lnTo>
                  <a:lnTo>
                    <a:pt x="435077" y="217539"/>
                  </a:lnTo>
                  <a:lnTo>
                    <a:pt x="217539" y="435077"/>
                  </a:lnTo>
                  <a:lnTo>
                    <a:pt x="0" y="217539"/>
                  </a:lnTo>
                  <a:lnTo>
                    <a:pt x="0" y="435077"/>
                  </a:lnTo>
                  <a:lnTo>
                    <a:pt x="217539" y="435077"/>
                  </a:lnTo>
                  <a:lnTo>
                    <a:pt x="435077" y="435077"/>
                  </a:lnTo>
                  <a:lnTo>
                    <a:pt x="435077" y="217539"/>
                  </a:lnTo>
                  <a:lnTo>
                    <a:pt x="435077" y="0"/>
                  </a:lnTo>
                  <a:lnTo>
                    <a:pt x="217539" y="0"/>
                  </a:lnTo>
                  <a:close/>
                </a:path>
              </a:pathLst>
            </a:custGeom>
            <a:grpFill/>
            <a:ln w="27192" cap="flat">
              <a:noFill/>
              <a:prstDash val="solid"/>
              <a:miter/>
            </a:ln>
          </p:spPr>
          <p:txBody>
            <a:bodyPr rtlCol="0" anchor="ctr"/>
            <a:lstStyle/>
            <a:p>
              <a:endParaRPr lang="uk-UA" sz="900"/>
            </a:p>
          </p:txBody>
        </p:sp>
        <p:sp>
          <p:nvSpPr>
            <p:cNvPr id="374" name="Freeform: Shape 373">
              <a:extLst>
                <a:ext uri="{FF2B5EF4-FFF2-40B4-BE49-F238E27FC236}">
                  <a16:creationId xmlns:a16="http://schemas.microsoft.com/office/drawing/2014/main" id="{8B42A008-4AE7-F39A-67E4-84AE3358E199}"/>
                </a:ext>
              </a:extLst>
            </p:cNvPr>
            <p:cNvSpPr/>
            <p:nvPr/>
          </p:nvSpPr>
          <p:spPr>
            <a:xfrm>
              <a:off x="7797062" y="10670458"/>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27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66 h 435077"/>
                <a:gd name="connsiteX9" fmla="*/ 435077 w 435077"/>
                <a:gd name="connsiteY9" fmla="*/ 217566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27"/>
                  </a:lnTo>
                  <a:lnTo>
                    <a:pt x="435077" y="217539"/>
                  </a:lnTo>
                  <a:lnTo>
                    <a:pt x="435077" y="217539"/>
                  </a:lnTo>
                  <a:lnTo>
                    <a:pt x="435077" y="217539"/>
                  </a:lnTo>
                  <a:lnTo>
                    <a:pt x="435077" y="217566"/>
                  </a:lnTo>
                  <a:lnTo>
                    <a:pt x="435077" y="217566"/>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375" name="Freeform: Shape 374">
              <a:extLst>
                <a:ext uri="{FF2B5EF4-FFF2-40B4-BE49-F238E27FC236}">
                  <a16:creationId xmlns:a16="http://schemas.microsoft.com/office/drawing/2014/main" id="{2D022756-6240-E429-3BB9-0A6E6BEC1324}"/>
                </a:ext>
              </a:extLst>
            </p:cNvPr>
            <p:cNvSpPr/>
            <p:nvPr/>
          </p:nvSpPr>
          <p:spPr>
            <a:xfrm>
              <a:off x="6926907" y="10670458"/>
              <a:ext cx="435077" cy="435077"/>
            </a:xfrm>
            <a:custGeom>
              <a:avLst/>
              <a:gdLst>
                <a:gd name="connsiteX0" fmla="*/ 371366 w 435077"/>
                <a:gd name="connsiteY0" fmla="*/ 63739 h 435077"/>
                <a:gd name="connsiteX1" fmla="*/ 435077 w 435077"/>
                <a:gd name="connsiteY1" fmla="*/ 217539 h 435077"/>
                <a:gd name="connsiteX2" fmla="*/ 217702 w 435077"/>
                <a:gd name="connsiteY2" fmla="*/ 217539 h 435077"/>
                <a:gd name="connsiteX3" fmla="*/ 371366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6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39"/>
                  </a:moveTo>
                  <a:cubicBezTo>
                    <a:pt x="412155" y="104527"/>
                    <a:pt x="435077" y="159864"/>
                    <a:pt x="435077" y="217539"/>
                  </a:cubicBezTo>
                  <a:lnTo>
                    <a:pt x="217702" y="217539"/>
                  </a:lnTo>
                  <a:cubicBezTo>
                    <a:pt x="275350" y="217593"/>
                    <a:pt x="330605" y="240516"/>
                    <a:pt x="371366" y="281277"/>
                  </a:cubicBezTo>
                  <a:cubicBezTo>
                    <a:pt x="412155" y="322066"/>
                    <a:pt x="435077" y="377402"/>
                    <a:pt x="435077" y="435077"/>
                  </a:cubicBezTo>
                  <a:lnTo>
                    <a:pt x="217539" y="435077"/>
                  </a:lnTo>
                  <a:lnTo>
                    <a:pt x="0" y="435077"/>
                  </a:lnTo>
                  <a:cubicBezTo>
                    <a:pt x="0" y="377402"/>
                    <a:pt x="22924" y="322066"/>
                    <a:pt x="63712" y="281277"/>
                  </a:cubicBezTo>
                  <a:cubicBezTo>
                    <a:pt x="104473" y="240516"/>
                    <a:pt x="159728" y="217593"/>
                    <a:pt x="217376" y="217539"/>
                  </a:cubicBezTo>
                  <a:lnTo>
                    <a:pt x="0" y="217539"/>
                  </a:lnTo>
                  <a:cubicBezTo>
                    <a:pt x="0" y="159864"/>
                    <a:pt x="22924" y="104527"/>
                    <a:pt x="63712" y="63739"/>
                  </a:cubicBezTo>
                  <a:cubicBezTo>
                    <a:pt x="104501" y="22923"/>
                    <a:pt x="159837" y="0"/>
                    <a:pt x="217539" y="0"/>
                  </a:cubicBezTo>
                  <a:cubicBezTo>
                    <a:pt x="275241" y="0"/>
                    <a:pt x="330550" y="22923"/>
                    <a:pt x="371366" y="63739"/>
                  </a:cubicBezTo>
                  <a:close/>
                </a:path>
              </a:pathLst>
            </a:custGeom>
            <a:grpFill/>
            <a:ln w="27192" cap="flat">
              <a:noFill/>
              <a:prstDash val="solid"/>
              <a:miter/>
            </a:ln>
          </p:spPr>
          <p:txBody>
            <a:bodyPr rtlCol="0" anchor="ctr"/>
            <a:lstStyle/>
            <a:p>
              <a:endParaRPr lang="uk-UA" sz="900"/>
            </a:p>
          </p:txBody>
        </p:sp>
        <p:sp>
          <p:nvSpPr>
            <p:cNvPr id="376" name="Freeform: Shape 375">
              <a:extLst>
                <a:ext uri="{FF2B5EF4-FFF2-40B4-BE49-F238E27FC236}">
                  <a16:creationId xmlns:a16="http://schemas.microsoft.com/office/drawing/2014/main" id="{B14C534E-F3BE-EFCF-5CA4-4F067C864583}"/>
                </a:ext>
              </a:extLst>
            </p:cNvPr>
            <p:cNvSpPr/>
            <p:nvPr/>
          </p:nvSpPr>
          <p:spPr>
            <a:xfrm>
              <a:off x="8667217" y="1067045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377" name="Freeform: Shape 376">
              <a:extLst>
                <a:ext uri="{FF2B5EF4-FFF2-40B4-BE49-F238E27FC236}">
                  <a16:creationId xmlns:a16="http://schemas.microsoft.com/office/drawing/2014/main" id="{E0F6F510-58BC-68E3-F943-C8204B6F7898}"/>
                </a:ext>
              </a:extLst>
            </p:cNvPr>
            <p:cNvSpPr/>
            <p:nvPr/>
          </p:nvSpPr>
          <p:spPr>
            <a:xfrm>
              <a:off x="9537371" y="1067045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p>
          </p:txBody>
        </p:sp>
        <p:sp>
          <p:nvSpPr>
            <p:cNvPr id="378" name="Freeform: Shape 377">
              <a:extLst>
                <a:ext uri="{FF2B5EF4-FFF2-40B4-BE49-F238E27FC236}">
                  <a16:creationId xmlns:a16="http://schemas.microsoft.com/office/drawing/2014/main" id="{6BB5AD26-429B-18D9-1FA7-32EBE5C7B87A}"/>
                </a:ext>
              </a:extLst>
            </p:cNvPr>
            <p:cNvSpPr/>
            <p:nvPr/>
          </p:nvSpPr>
          <p:spPr>
            <a:xfrm>
              <a:off x="11277709" y="10670458"/>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27 h 435077"/>
                <a:gd name="connsiteX5" fmla="*/ 435049 w 435077"/>
                <a:gd name="connsiteY5" fmla="*/ 217539 h 435077"/>
                <a:gd name="connsiteX6" fmla="*/ 435077 w 435077"/>
                <a:gd name="connsiteY6" fmla="*/ 217539 h 435077"/>
                <a:gd name="connsiteX7" fmla="*/ 435049 w 435077"/>
                <a:gd name="connsiteY7" fmla="*/ 217539 h 435077"/>
                <a:gd name="connsiteX8" fmla="*/ 435077 w 435077"/>
                <a:gd name="connsiteY8" fmla="*/ 217566 h 435077"/>
                <a:gd name="connsiteX9" fmla="*/ 435049 w 435077"/>
                <a:gd name="connsiteY9" fmla="*/ 217566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27"/>
                  </a:lnTo>
                  <a:lnTo>
                    <a:pt x="435049" y="217539"/>
                  </a:lnTo>
                  <a:lnTo>
                    <a:pt x="435077" y="217539"/>
                  </a:lnTo>
                  <a:lnTo>
                    <a:pt x="435049" y="217539"/>
                  </a:lnTo>
                  <a:lnTo>
                    <a:pt x="435077" y="217566"/>
                  </a:lnTo>
                  <a:lnTo>
                    <a:pt x="435049" y="217566"/>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379" name="Freeform: Shape 378">
              <a:extLst>
                <a:ext uri="{FF2B5EF4-FFF2-40B4-BE49-F238E27FC236}">
                  <a16:creationId xmlns:a16="http://schemas.microsoft.com/office/drawing/2014/main" id="{B8210F42-532D-AD35-5420-7A2E07BE2CEE}"/>
                </a:ext>
              </a:extLst>
            </p:cNvPr>
            <p:cNvSpPr/>
            <p:nvPr/>
          </p:nvSpPr>
          <p:spPr>
            <a:xfrm>
              <a:off x="10407526" y="10670458"/>
              <a:ext cx="435104" cy="435077"/>
            </a:xfrm>
            <a:custGeom>
              <a:avLst/>
              <a:gdLst>
                <a:gd name="connsiteX0" fmla="*/ 371366 w 435104"/>
                <a:gd name="connsiteY0" fmla="*/ 63739 h 435077"/>
                <a:gd name="connsiteX1" fmla="*/ 435077 w 435104"/>
                <a:gd name="connsiteY1" fmla="*/ 217539 h 435077"/>
                <a:gd name="connsiteX2" fmla="*/ 217730 w 435104"/>
                <a:gd name="connsiteY2" fmla="*/ 217539 h 435077"/>
                <a:gd name="connsiteX3" fmla="*/ 371366 w 435104"/>
                <a:gd name="connsiteY3" fmla="*/ 281277 h 435077"/>
                <a:gd name="connsiteX4" fmla="*/ 435105 w 435104"/>
                <a:gd name="connsiteY4" fmla="*/ 435077 h 435077"/>
                <a:gd name="connsiteX5" fmla="*/ 217566 w 435104"/>
                <a:gd name="connsiteY5" fmla="*/ 435077 h 435077"/>
                <a:gd name="connsiteX6" fmla="*/ 27 w 435104"/>
                <a:gd name="connsiteY6" fmla="*/ 435077 h 435077"/>
                <a:gd name="connsiteX7" fmla="*/ 63739 w 435104"/>
                <a:gd name="connsiteY7" fmla="*/ 281277 h 435077"/>
                <a:gd name="connsiteX8" fmla="*/ 217376 w 435104"/>
                <a:gd name="connsiteY8" fmla="*/ 217539 h 435077"/>
                <a:gd name="connsiteX9" fmla="*/ 0 w 435104"/>
                <a:gd name="connsiteY9" fmla="*/ 217539 h 435077"/>
                <a:gd name="connsiteX10" fmla="*/ 63739 w 435104"/>
                <a:gd name="connsiteY10" fmla="*/ 63739 h 435077"/>
                <a:gd name="connsiteX11" fmla="*/ 217539 w 435104"/>
                <a:gd name="connsiteY11" fmla="*/ 0 h 435077"/>
                <a:gd name="connsiteX12" fmla="*/ 371366 w 435104"/>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4" h="435077">
                  <a:moveTo>
                    <a:pt x="371366" y="63739"/>
                  </a:moveTo>
                  <a:cubicBezTo>
                    <a:pt x="412182" y="104527"/>
                    <a:pt x="435077" y="159864"/>
                    <a:pt x="435077" y="217539"/>
                  </a:cubicBezTo>
                  <a:lnTo>
                    <a:pt x="217730" y="217539"/>
                  </a:lnTo>
                  <a:cubicBezTo>
                    <a:pt x="275350" y="217593"/>
                    <a:pt x="330632" y="240516"/>
                    <a:pt x="371366" y="281277"/>
                  </a:cubicBezTo>
                  <a:cubicBezTo>
                    <a:pt x="412182" y="322066"/>
                    <a:pt x="435105" y="377402"/>
                    <a:pt x="435105" y="435077"/>
                  </a:cubicBezTo>
                  <a:lnTo>
                    <a:pt x="217566" y="435077"/>
                  </a:lnTo>
                  <a:lnTo>
                    <a:pt x="27" y="435077"/>
                  </a:lnTo>
                  <a:cubicBezTo>
                    <a:pt x="27" y="377402"/>
                    <a:pt x="22924" y="322066"/>
                    <a:pt x="63739" y="281277"/>
                  </a:cubicBezTo>
                  <a:cubicBezTo>
                    <a:pt x="104501" y="240516"/>
                    <a:pt x="159755" y="217593"/>
                    <a:pt x="217376" y="217539"/>
                  </a:cubicBezTo>
                  <a:lnTo>
                    <a:pt x="0" y="217539"/>
                  </a:lnTo>
                  <a:cubicBezTo>
                    <a:pt x="0" y="159864"/>
                    <a:pt x="22924" y="104527"/>
                    <a:pt x="63739" y="63739"/>
                  </a:cubicBezTo>
                  <a:cubicBezTo>
                    <a:pt x="104527" y="22923"/>
                    <a:pt x="159864" y="0"/>
                    <a:pt x="217539" y="0"/>
                  </a:cubicBezTo>
                  <a:cubicBezTo>
                    <a:pt x="275241" y="0"/>
                    <a:pt x="330578" y="22923"/>
                    <a:pt x="371366" y="63739"/>
                  </a:cubicBezTo>
                  <a:close/>
                </a:path>
              </a:pathLst>
            </a:custGeom>
            <a:grpFill/>
            <a:ln w="27192" cap="flat">
              <a:noFill/>
              <a:prstDash val="solid"/>
              <a:miter/>
            </a:ln>
          </p:spPr>
          <p:txBody>
            <a:bodyPr rtlCol="0" anchor="ctr"/>
            <a:lstStyle/>
            <a:p>
              <a:endParaRPr lang="uk-UA" sz="900"/>
            </a:p>
          </p:txBody>
        </p:sp>
        <p:sp>
          <p:nvSpPr>
            <p:cNvPr id="380" name="Freeform: Shape 379">
              <a:extLst>
                <a:ext uri="{FF2B5EF4-FFF2-40B4-BE49-F238E27FC236}">
                  <a16:creationId xmlns:a16="http://schemas.microsoft.com/office/drawing/2014/main" id="{BB9E6442-99EC-47CA-40DE-0E5EE0318316}"/>
                </a:ext>
              </a:extLst>
            </p:cNvPr>
            <p:cNvSpPr/>
            <p:nvPr/>
          </p:nvSpPr>
          <p:spPr>
            <a:xfrm>
              <a:off x="12147864" y="1067045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381" name="Freeform: Shape 380">
              <a:extLst>
                <a:ext uri="{FF2B5EF4-FFF2-40B4-BE49-F238E27FC236}">
                  <a16:creationId xmlns:a16="http://schemas.microsoft.com/office/drawing/2014/main" id="{09F62C5A-AADF-6FA9-7681-041E21DA6082}"/>
                </a:ext>
              </a:extLst>
            </p:cNvPr>
            <p:cNvSpPr/>
            <p:nvPr/>
          </p:nvSpPr>
          <p:spPr>
            <a:xfrm>
              <a:off x="13018045" y="1067045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382" name="Freeform: Shape 381">
              <a:extLst>
                <a:ext uri="{FF2B5EF4-FFF2-40B4-BE49-F238E27FC236}">
                  <a16:creationId xmlns:a16="http://schemas.microsoft.com/office/drawing/2014/main" id="{3AC30AAE-6DB3-BCD4-F85F-C49F4C6E7553}"/>
                </a:ext>
              </a:extLst>
            </p:cNvPr>
            <p:cNvSpPr/>
            <p:nvPr/>
          </p:nvSpPr>
          <p:spPr>
            <a:xfrm>
              <a:off x="14758328" y="1067045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383" name="Freeform: Shape 382">
              <a:extLst>
                <a:ext uri="{FF2B5EF4-FFF2-40B4-BE49-F238E27FC236}">
                  <a16:creationId xmlns:a16="http://schemas.microsoft.com/office/drawing/2014/main" id="{DAD43225-7487-E2BD-7B3D-F8A760CDA52F}"/>
                </a:ext>
              </a:extLst>
            </p:cNvPr>
            <p:cNvSpPr/>
            <p:nvPr/>
          </p:nvSpPr>
          <p:spPr>
            <a:xfrm>
              <a:off x="13888200" y="10670458"/>
              <a:ext cx="435077" cy="435077"/>
            </a:xfrm>
            <a:custGeom>
              <a:avLst/>
              <a:gdLst>
                <a:gd name="connsiteX0" fmla="*/ 371365 w 435077"/>
                <a:gd name="connsiteY0" fmla="*/ 63739 h 435077"/>
                <a:gd name="connsiteX1" fmla="*/ 435077 w 435077"/>
                <a:gd name="connsiteY1" fmla="*/ 217539 h 435077"/>
                <a:gd name="connsiteX2" fmla="*/ 217730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39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5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39"/>
                  </a:moveTo>
                  <a:cubicBezTo>
                    <a:pt x="412154" y="104527"/>
                    <a:pt x="435077" y="159864"/>
                    <a:pt x="435077" y="217539"/>
                  </a:cubicBezTo>
                  <a:lnTo>
                    <a:pt x="217730" y="217539"/>
                  </a:lnTo>
                  <a:cubicBezTo>
                    <a:pt x="275349" y="217593"/>
                    <a:pt x="330605" y="240516"/>
                    <a:pt x="371365" y="281277"/>
                  </a:cubicBezTo>
                  <a:cubicBezTo>
                    <a:pt x="412182" y="322066"/>
                    <a:pt x="435077" y="377402"/>
                    <a:pt x="435077" y="435077"/>
                  </a:cubicBezTo>
                  <a:lnTo>
                    <a:pt x="217539" y="435077"/>
                  </a:lnTo>
                  <a:lnTo>
                    <a:pt x="0" y="435077"/>
                  </a:lnTo>
                  <a:cubicBezTo>
                    <a:pt x="0" y="377402"/>
                    <a:pt x="22924" y="322066"/>
                    <a:pt x="63739" y="281277"/>
                  </a:cubicBezTo>
                  <a:cubicBezTo>
                    <a:pt x="104472" y="240516"/>
                    <a:pt x="159755" y="217593"/>
                    <a:pt x="217376" y="217539"/>
                  </a:cubicBezTo>
                  <a:lnTo>
                    <a:pt x="0" y="217539"/>
                  </a:lnTo>
                  <a:cubicBezTo>
                    <a:pt x="0" y="159864"/>
                    <a:pt x="22924" y="104527"/>
                    <a:pt x="63712" y="63739"/>
                  </a:cubicBezTo>
                  <a:cubicBezTo>
                    <a:pt x="104527" y="22923"/>
                    <a:pt x="159836" y="0"/>
                    <a:pt x="217539" y="0"/>
                  </a:cubicBezTo>
                  <a:cubicBezTo>
                    <a:pt x="275241" y="0"/>
                    <a:pt x="330577" y="22923"/>
                    <a:pt x="371365" y="63739"/>
                  </a:cubicBezTo>
                  <a:close/>
                </a:path>
              </a:pathLst>
            </a:custGeom>
            <a:grpFill/>
            <a:ln w="27192" cap="flat">
              <a:noFill/>
              <a:prstDash val="solid"/>
              <a:miter/>
            </a:ln>
          </p:spPr>
          <p:txBody>
            <a:bodyPr rtlCol="0" anchor="ctr"/>
            <a:lstStyle/>
            <a:p>
              <a:endParaRPr lang="uk-UA" sz="900"/>
            </a:p>
          </p:txBody>
        </p:sp>
        <p:sp>
          <p:nvSpPr>
            <p:cNvPr id="384" name="Freeform: Shape 383">
              <a:extLst>
                <a:ext uri="{FF2B5EF4-FFF2-40B4-BE49-F238E27FC236}">
                  <a16:creationId xmlns:a16="http://schemas.microsoft.com/office/drawing/2014/main" id="{50446D0F-85B8-1156-260F-0160CB036C8A}"/>
                </a:ext>
              </a:extLst>
            </p:cNvPr>
            <p:cNvSpPr/>
            <p:nvPr/>
          </p:nvSpPr>
          <p:spPr>
            <a:xfrm>
              <a:off x="15628536" y="1067045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385" name="Freeform: Shape 384">
              <a:extLst>
                <a:ext uri="{FF2B5EF4-FFF2-40B4-BE49-F238E27FC236}">
                  <a16:creationId xmlns:a16="http://schemas.microsoft.com/office/drawing/2014/main" id="{5F7EEA66-4420-A54F-575B-E1D8DF4D81B5}"/>
                </a:ext>
              </a:extLst>
            </p:cNvPr>
            <p:cNvSpPr/>
            <p:nvPr/>
          </p:nvSpPr>
          <p:spPr>
            <a:xfrm>
              <a:off x="16498691" y="10670458"/>
              <a:ext cx="435077" cy="435077"/>
            </a:xfrm>
            <a:custGeom>
              <a:avLst/>
              <a:gdLst>
                <a:gd name="connsiteX0" fmla="*/ 217567 w 435077"/>
                <a:gd name="connsiteY0" fmla="*/ 0 h 435077"/>
                <a:gd name="connsiteX1" fmla="*/ 217539 w 435077"/>
                <a:gd name="connsiteY1" fmla="*/ 0 h 435077"/>
                <a:gd name="connsiteX2" fmla="*/ 28 w 435077"/>
                <a:gd name="connsiteY2" fmla="*/ 0 h 435077"/>
                <a:gd name="connsiteX3" fmla="*/ 28 w 435077"/>
                <a:gd name="connsiteY3" fmla="*/ 217539 h 435077"/>
                <a:gd name="connsiteX4" fmla="*/ 217567 w 435077"/>
                <a:gd name="connsiteY4" fmla="*/ 27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67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67" y="0"/>
                  </a:moveTo>
                  <a:lnTo>
                    <a:pt x="217539" y="0"/>
                  </a:lnTo>
                  <a:lnTo>
                    <a:pt x="28" y="0"/>
                  </a:lnTo>
                  <a:lnTo>
                    <a:pt x="28" y="217539"/>
                  </a:lnTo>
                  <a:lnTo>
                    <a:pt x="217567" y="27"/>
                  </a:lnTo>
                  <a:lnTo>
                    <a:pt x="435077" y="217539"/>
                  </a:lnTo>
                  <a:lnTo>
                    <a:pt x="217539" y="435077"/>
                  </a:lnTo>
                  <a:lnTo>
                    <a:pt x="0" y="217539"/>
                  </a:lnTo>
                  <a:lnTo>
                    <a:pt x="0" y="435077"/>
                  </a:lnTo>
                  <a:lnTo>
                    <a:pt x="217539" y="435077"/>
                  </a:lnTo>
                  <a:lnTo>
                    <a:pt x="435077" y="435077"/>
                  </a:lnTo>
                  <a:lnTo>
                    <a:pt x="435077" y="217539"/>
                  </a:lnTo>
                  <a:lnTo>
                    <a:pt x="435077" y="0"/>
                  </a:lnTo>
                  <a:lnTo>
                    <a:pt x="217567" y="0"/>
                  </a:lnTo>
                  <a:close/>
                </a:path>
              </a:pathLst>
            </a:custGeom>
            <a:grpFill/>
            <a:ln w="27192" cap="flat">
              <a:noFill/>
              <a:prstDash val="solid"/>
              <a:miter/>
            </a:ln>
          </p:spPr>
          <p:txBody>
            <a:bodyPr rtlCol="0" anchor="ctr"/>
            <a:lstStyle/>
            <a:p>
              <a:endParaRPr lang="uk-UA" sz="900"/>
            </a:p>
          </p:txBody>
        </p:sp>
        <p:sp>
          <p:nvSpPr>
            <p:cNvPr id="386" name="Freeform: Shape 385">
              <a:extLst>
                <a:ext uri="{FF2B5EF4-FFF2-40B4-BE49-F238E27FC236}">
                  <a16:creationId xmlns:a16="http://schemas.microsoft.com/office/drawing/2014/main" id="{604A788F-CBBE-AF19-7EDD-B81893C8AF57}"/>
                </a:ext>
              </a:extLst>
            </p:cNvPr>
            <p:cNvSpPr/>
            <p:nvPr/>
          </p:nvSpPr>
          <p:spPr>
            <a:xfrm>
              <a:off x="18239029" y="1067045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387" name="Freeform: Shape 386">
              <a:extLst>
                <a:ext uri="{FF2B5EF4-FFF2-40B4-BE49-F238E27FC236}">
                  <a16:creationId xmlns:a16="http://schemas.microsoft.com/office/drawing/2014/main" id="{6007FDD5-E505-6146-B8E2-87A877F6EAFF}"/>
                </a:ext>
              </a:extLst>
            </p:cNvPr>
            <p:cNvSpPr/>
            <p:nvPr/>
          </p:nvSpPr>
          <p:spPr>
            <a:xfrm>
              <a:off x="17368874" y="10670458"/>
              <a:ext cx="435077" cy="435077"/>
            </a:xfrm>
            <a:custGeom>
              <a:avLst/>
              <a:gdLst>
                <a:gd name="connsiteX0" fmla="*/ 371339 w 435077"/>
                <a:gd name="connsiteY0" fmla="*/ 63739 h 435077"/>
                <a:gd name="connsiteX1" fmla="*/ 435077 w 435077"/>
                <a:gd name="connsiteY1" fmla="*/ 217539 h 435077"/>
                <a:gd name="connsiteX2" fmla="*/ 217701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0 w 435077"/>
                <a:gd name="connsiteY7" fmla="*/ 281277 h 435077"/>
                <a:gd name="connsiteX8" fmla="*/ 217374 w 435077"/>
                <a:gd name="connsiteY8" fmla="*/ 217539 h 435077"/>
                <a:gd name="connsiteX9" fmla="*/ 0 w 435077"/>
                <a:gd name="connsiteY9" fmla="*/ 217539 h 435077"/>
                <a:gd name="connsiteX10" fmla="*/ 63710 w 435077"/>
                <a:gd name="connsiteY10" fmla="*/ 63739 h 435077"/>
                <a:gd name="connsiteX11" fmla="*/ 217539 w 435077"/>
                <a:gd name="connsiteY11" fmla="*/ 0 h 435077"/>
                <a:gd name="connsiteX12" fmla="*/ 371339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39" y="63739"/>
                  </a:moveTo>
                  <a:cubicBezTo>
                    <a:pt x="412154" y="104527"/>
                    <a:pt x="435077" y="159864"/>
                    <a:pt x="435077" y="217539"/>
                  </a:cubicBezTo>
                  <a:lnTo>
                    <a:pt x="217701" y="217539"/>
                  </a:lnTo>
                  <a:cubicBezTo>
                    <a:pt x="275322" y="217593"/>
                    <a:pt x="330603" y="240516"/>
                    <a:pt x="371365" y="281277"/>
                  </a:cubicBezTo>
                  <a:cubicBezTo>
                    <a:pt x="412154" y="322066"/>
                    <a:pt x="435077" y="377402"/>
                    <a:pt x="435077" y="435077"/>
                  </a:cubicBezTo>
                  <a:lnTo>
                    <a:pt x="217539" y="435077"/>
                  </a:lnTo>
                  <a:lnTo>
                    <a:pt x="0" y="435077"/>
                  </a:lnTo>
                  <a:cubicBezTo>
                    <a:pt x="0" y="377402"/>
                    <a:pt x="22922" y="322066"/>
                    <a:pt x="63710" y="281277"/>
                  </a:cubicBezTo>
                  <a:cubicBezTo>
                    <a:pt x="104472" y="240516"/>
                    <a:pt x="159727" y="217593"/>
                    <a:pt x="217374" y="217539"/>
                  </a:cubicBezTo>
                  <a:lnTo>
                    <a:pt x="0" y="217539"/>
                  </a:lnTo>
                  <a:cubicBezTo>
                    <a:pt x="0" y="159864"/>
                    <a:pt x="22895" y="104527"/>
                    <a:pt x="63710" y="63739"/>
                  </a:cubicBezTo>
                  <a:cubicBezTo>
                    <a:pt x="104499" y="22923"/>
                    <a:pt x="159836" y="0"/>
                    <a:pt x="217539" y="0"/>
                  </a:cubicBezTo>
                  <a:cubicBezTo>
                    <a:pt x="275213" y="0"/>
                    <a:pt x="330550" y="22923"/>
                    <a:pt x="371339" y="63739"/>
                  </a:cubicBezTo>
                  <a:close/>
                </a:path>
              </a:pathLst>
            </a:custGeom>
            <a:grpFill/>
            <a:ln w="27192" cap="flat">
              <a:noFill/>
              <a:prstDash val="solid"/>
              <a:miter/>
            </a:ln>
          </p:spPr>
          <p:txBody>
            <a:bodyPr rtlCol="0" anchor="ctr"/>
            <a:lstStyle/>
            <a:p>
              <a:endParaRPr lang="uk-UA" sz="900"/>
            </a:p>
          </p:txBody>
        </p:sp>
        <p:sp>
          <p:nvSpPr>
            <p:cNvPr id="388" name="Freeform: Shape 387">
              <a:extLst>
                <a:ext uri="{FF2B5EF4-FFF2-40B4-BE49-F238E27FC236}">
                  <a16:creationId xmlns:a16="http://schemas.microsoft.com/office/drawing/2014/main" id="{CBB063E0-31AC-1129-A399-56E1223B9608}"/>
                </a:ext>
              </a:extLst>
            </p:cNvPr>
            <p:cNvSpPr/>
            <p:nvPr/>
          </p:nvSpPr>
          <p:spPr>
            <a:xfrm>
              <a:off x="19109184" y="1067045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65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65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65" y="435105"/>
                  </a:lnTo>
                  <a:lnTo>
                    <a:pt x="435077" y="217566"/>
                  </a:lnTo>
                  <a:lnTo>
                    <a:pt x="435077" y="435105"/>
                  </a:lnTo>
                  <a:close/>
                  <a:moveTo>
                    <a:pt x="435077" y="27"/>
                  </a:moveTo>
                  <a:lnTo>
                    <a:pt x="217565"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389" name="Freeform: Shape 388">
              <a:extLst>
                <a:ext uri="{FF2B5EF4-FFF2-40B4-BE49-F238E27FC236}">
                  <a16:creationId xmlns:a16="http://schemas.microsoft.com/office/drawing/2014/main" id="{31B134E7-9D95-D2F8-D83F-E9FB62FBF92D}"/>
                </a:ext>
              </a:extLst>
            </p:cNvPr>
            <p:cNvSpPr/>
            <p:nvPr/>
          </p:nvSpPr>
          <p:spPr>
            <a:xfrm>
              <a:off x="19979365" y="10670458"/>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390" name="Freeform: Shape 389">
              <a:extLst>
                <a:ext uri="{FF2B5EF4-FFF2-40B4-BE49-F238E27FC236}">
                  <a16:creationId xmlns:a16="http://schemas.microsoft.com/office/drawing/2014/main" id="{AE6F31C6-DC6A-DF25-2839-6998A92F2E33}"/>
                </a:ext>
              </a:extLst>
            </p:cNvPr>
            <p:cNvSpPr/>
            <p:nvPr/>
          </p:nvSpPr>
          <p:spPr>
            <a:xfrm>
              <a:off x="21719675" y="10670458"/>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391" name="Freeform: Shape 390">
              <a:extLst>
                <a:ext uri="{FF2B5EF4-FFF2-40B4-BE49-F238E27FC236}">
                  <a16:creationId xmlns:a16="http://schemas.microsoft.com/office/drawing/2014/main" id="{4564816A-BA59-86E2-554B-2DF3AE8BA3A0}"/>
                </a:ext>
              </a:extLst>
            </p:cNvPr>
            <p:cNvSpPr/>
            <p:nvPr/>
          </p:nvSpPr>
          <p:spPr>
            <a:xfrm>
              <a:off x="20849520" y="10670458"/>
              <a:ext cx="435077" cy="435077"/>
            </a:xfrm>
            <a:custGeom>
              <a:avLst/>
              <a:gdLst>
                <a:gd name="connsiteX0" fmla="*/ 371365 w 435077"/>
                <a:gd name="connsiteY0" fmla="*/ 63739 h 435077"/>
                <a:gd name="connsiteX1" fmla="*/ 435077 w 435077"/>
                <a:gd name="connsiteY1" fmla="*/ 217539 h 435077"/>
                <a:gd name="connsiteX2" fmla="*/ 217701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5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39"/>
                  </a:moveTo>
                  <a:cubicBezTo>
                    <a:pt x="412154" y="104527"/>
                    <a:pt x="435077" y="159864"/>
                    <a:pt x="435077" y="217539"/>
                  </a:cubicBezTo>
                  <a:lnTo>
                    <a:pt x="217701" y="217539"/>
                  </a:lnTo>
                  <a:cubicBezTo>
                    <a:pt x="275349" y="217593"/>
                    <a:pt x="330605" y="240516"/>
                    <a:pt x="371365" y="281277"/>
                  </a:cubicBezTo>
                  <a:cubicBezTo>
                    <a:pt x="412154" y="322066"/>
                    <a:pt x="435077" y="377402"/>
                    <a:pt x="435077" y="435077"/>
                  </a:cubicBezTo>
                  <a:lnTo>
                    <a:pt x="217539" y="435077"/>
                  </a:lnTo>
                  <a:lnTo>
                    <a:pt x="0" y="435077"/>
                  </a:lnTo>
                  <a:cubicBezTo>
                    <a:pt x="0" y="377402"/>
                    <a:pt x="22924" y="322066"/>
                    <a:pt x="63712" y="281277"/>
                  </a:cubicBezTo>
                  <a:cubicBezTo>
                    <a:pt x="104472" y="240516"/>
                    <a:pt x="159755" y="217593"/>
                    <a:pt x="217376" y="217539"/>
                  </a:cubicBezTo>
                  <a:lnTo>
                    <a:pt x="0" y="217539"/>
                  </a:lnTo>
                  <a:cubicBezTo>
                    <a:pt x="0" y="159864"/>
                    <a:pt x="22924" y="104527"/>
                    <a:pt x="63712" y="63739"/>
                  </a:cubicBezTo>
                  <a:cubicBezTo>
                    <a:pt x="104501" y="22923"/>
                    <a:pt x="159836" y="0"/>
                    <a:pt x="217539" y="0"/>
                  </a:cubicBezTo>
                  <a:cubicBezTo>
                    <a:pt x="275241" y="0"/>
                    <a:pt x="330577" y="22923"/>
                    <a:pt x="371365" y="63739"/>
                  </a:cubicBezTo>
                  <a:close/>
                </a:path>
              </a:pathLst>
            </a:custGeom>
            <a:grpFill/>
            <a:ln w="27192" cap="flat">
              <a:noFill/>
              <a:prstDash val="solid"/>
              <a:miter/>
            </a:ln>
          </p:spPr>
          <p:txBody>
            <a:bodyPr rtlCol="0" anchor="ctr"/>
            <a:lstStyle/>
            <a:p>
              <a:endParaRPr lang="uk-UA" sz="900"/>
            </a:p>
          </p:txBody>
        </p:sp>
        <p:sp>
          <p:nvSpPr>
            <p:cNvPr id="392" name="Freeform: Shape 391">
              <a:extLst>
                <a:ext uri="{FF2B5EF4-FFF2-40B4-BE49-F238E27FC236}">
                  <a16:creationId xmlns:a16="http://schemas.microsoft.com/office/drawing/2014/main" id="{CB6E4490-8969-B68A-9F9A-232FF67EB4F9}"/>
                </a:ext>
              </a:extLst>
            </p:cNvPr>
            <p:cNvSpPr/>
            <p:nvPr/>
          </p:nvSpPr>
          <p:spPr>
            <a:xfrm>
              <a:off x="22589856" y="10670458"/>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393" name="Freeform: Shape 392">
              <a:extLst>
                <a:ext uri="{FF2B5EF4-FFF2-40B4-BE49-F238E27FC236}">
                  <a16:creationId xmlns:a16="http://schemas.microsoft.com/office/drawing/2014/main" id="{6365B678-1274-7360-0624-81B365870A56}"/>
                </a:ext>
              </a:extLst>
            </p:cNvPr>
            <p:cNvSpPr/>
            <p:nvPr/>
          </p:nvSpPr>
          <p:spPr>
            <a:xfrm>
              <a:off x="23460011" y="10670458"/>
              <a:ext cx="435105" cy="435077"/>
            </a:xfrm>
            <a:custGeom>
              <a:avLst/>
              <a:gdLst>
                <a:gd name="connsiteX0" fmla="*/ 217539 w 435105"/>
                <a:gd name="connsiteY0" fmla="*/ 0 h 435077"/>
                <a:gd name="connsiteX1" fmla="*/ 0 w 435105"/>
                <a:gd name="connsiteY1" fmla="*/ 0 h 435077"/>
                <a:gd name="connsiteX2" fmla="*/ 0 w 435105"/>
                <a:gd name="connsiteY2" fmla="*/ 217539 h 435077"/>
                <a:gd name="connsiteX3" fmla="*/ 217539 w 435105"/>
                <a:gd name="connsiteY3" fmla="*/ 0 h 435077"/>
                <a:gd name="connsiteX4" fmla="*/ 435106 w 435105"/>
                <a:gd name="connsiteY4" fmla="*/ 27 h 435077"/>
                <a:gd name="connsiteX5" fmla="*/ 435106 w 435105"/>
                <a:gd name="connsiteY5" fmla="*/ 217566 h 435077"/>
                <a:gd name="connsiteX6" fmla="*/ 217567 w 435105"/>
                <a:gd name="connsiteY6" fmla="*/ 27 h 435077"/>
                <a:gd name="connsiteX7" fmla="*/ 435106 w 435105"/>
                <a:gd name="connsiteY7" fmla="*/ 27 h 435077"/>
                <a:gd name="connsiteX8" fmla="*/ 217567 w 435105"/>
                <a:gd name="connsiteY8" fmla="*/ 435077 h 435077"/>
                <a:gd name="connsiteX9" fmla="*/ 435106 w 435105"/>
                <a:gd name="connsiteY9" fmla="*/ 217566 h 435077"/>
                <a:gd name="connsiteX10" fmla="*/ 435106 w 435105"/>
                <a:gd name="connsiteY10" fmla="*/ 435077 h 435077"/>
                <a:gd name="connsiteX11" fmla="*/ 217567 w 435105"/>
                <a:gd name="connsiteY11" fmla="*/ 435077 h 435077"/>
                <a:gd name="connsiteX12" fmla="*/ 217567 w 435105"/>
                <a:gd name="connsiteY12" fmla="*/ 435077 h 435077"/>
                <a:gd name="connsiteX13" fmla="*/ 28 w 435105"/>
                <a:gd name="connsiteY13" fmla="*/ 217566 h 435077"/>
                <a:gd name="connsiteX14" fmla="*/ 28 w 435105"/>
                <a:gd name="connsiteY14" fmla="*/ 435077 h 435077"/>
                <a:gd name="connsiteX15" fmla="*/ 217567 w 435105"/>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5" h="435077">
                  <a:moveTo>
                    <a:pt x="217539" y="0"/>
                  </a:moveTo>
                  <a:lnTo>
                    <a:pt x="0" y="0"/>
                  </a:lnTo>
                  <a:lnTo>
                    <a:pt x="0" y="217539"/>
                  </a:lnTo>
                  <a:lnTo>
                    <a:pt x="217539" y="0"/>
                  </a:lnTo>
                  <a:close/>
                  <a:moveTo>
                    <a:pt x="435106" y="27"/>
                  </a:moveTo>
                  <a:lnTo>
                    <a:pt x="435106" y="217566"/>
                  </a:lnTo>
                  <a:lnTo>
                    <a:pt x="217567" y="27"/>
                  </a:lnTo>
                  <a:lnTo>
                    <a:pt x="435106" y="27"/>
                  </a:lnTo>
                  <a:close/>
                  <a:moveTo>
                    <a:pt x="217567" y="435077"/>
                  </a:moveTo>
                  <a:lnTo>
                    <a:pt x="435106" y="217566"/>
                  </a:lnTo>
                  <a:lnTo>
                    <a:pt x="435106" y="435077"/>
                  </a:lnTo>
                  <a:lnTo>
                    <a:pt x="217567" y="435077"/>
                  </a:lnTo>
                  <a:close/>
                  <a:moveTo>
                    <a:pt x="217567" y="435077"/>
                  </a:moveTo>
                  <a:lnTo>
                    <a:pt x="28" y="217566"/>
                  </a:lnTo>
                  <a:lnTo>
                    <a:pt x="28" y="435077"/>
                  </a:lnTo>
                  <a:lnTo>
                    <a:pt x="217567" y="435077"/>
                  </a:lnTo>
                  <a:close/>
                </a:path>
              </a:pathLst>
            </a:custGeom>
            <a:grpFill/>
            <a:ln w="27192" cap="flat">
              <a:noFill/>
              <a:prstDash val="solid"/>
              <a:miter/>
            </a:ln>
          </p:spPr>
          <p:txBody>
            <a:bodyPr rtlCol="0" anchor="ctr"/>
            <a:lstStyle/>
            <a:p>
              <a:endParaRPr lang="uk-UA" sz="900"/>
            </a:p>
          </p:txBody>
        </p:sp>
        <p:sp>
          <p:nvSpPr>
            <p:cNvPr id="394" name="Freeform: Shape 393">
              <a:extLst>
                <a:ext uri="{FF2B5EF4-FFF2-40B4-BE49-F238E27FC236}">
                  <a16:creationId xmlns:a16="http://schemas.microsoft.com/office/drawing/2014/main" id="{262682A1-CCD8-A4F4-D5AE-42905C11436D}"/>
                </a:ext>
              </a:extLst>
            </p:cNvPr>
            <p:cNvSpPr/>
            <p:nvPr/>
          </p:nvSpPr>
          <p:spPr>
            <a:xfrm>
              <a:off x="24330194" y="10670458"/>
              <a:ext cx="435077" cy="435077"/>
            </a:xfrm>
            <a:custGeom>
              <a:avLst/>
              <a:gdLst>
                <a:gd name="connsiteX0" fmla="*/ 371447 w 435077"/>
                <a:gd name="connsiteY0" fmla="*/ 63739 h 435077"/>
                <a:gd name="connsiteX1" fmla="*/ 435077 w 435077"/>
                <a:gd name="connsiteY1" fmla="*/ 217539 h 435077"/>
                <a:gd name="connsiteX2" fmla="*/ 217811 w 435077"/>
                <a:gd name="connsiteY2" fmla="*/ 217539 h 435077"/>
                <a:gd name="connsiteX3" fmla="*/ 371447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267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447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447" y="63739"/>
                  </a:moveTo>
                  <a:cubicBezTo>
                    <a:pt x="412235" y="104527"/>
                    <a:pt x="435077" y="159864"/>
                    <a:pt x="435077" y="217539"/>
                  </a:cubicBezTo>
                  <a:lnTo>
                    <a:pt x="217811" y="217539"/>
                  </a:lnTo>
                  <a:cubicBezTo>
                    <a:pt x="275459" y="217593"/>
                    <a:pt x="330658" y="240516"/>
                    <a:pt x="371447" y="281277"/>
                  </a:cubicBezTo>
                  <a:cubicBezTo>
                    <a:pt x="412235" y="322066"/>
                    <a:pt x="435077" y="377402"/>
                    <a:pt x="435077" y="435077"/>
                  </a:cubicBezTo>
                  <a:lnTo>
                    <a:pt x="217539" y="435077"/>
                  </a:lnTo>
                  <a:lnTo>
                    <a:pt x="0" y="435077"/>
                  </a:lnTo>
                  <a:cubicBezTo>
                    <a:pt x="0" y="377402"/>
                    <a:pt x="22924" y="322066"/>
                    <a:pt x="63712" y="281277"/>
                  </a:cubicBezTo>
                  <a:cubicBezTo>
                    <a:pt x="104472" y="240516"/>
                    <a:pt x="159727" y="217593"/>
                    <a:pt x="217267" y="217539"/>
                  </a:cubicBezTo>
                  <a:lnTo>
                    <a:pt x="0" y="217539"/>
                  </a:lnTo>
                  <a:cubicBezTo>
                    <a:pt x="0" y="159864"/>
                    <a:pt x="22924" y="104527"/>
                    <a:pt x="63712" y="63739"/>
                  </a:cubicBezTo>
                  <a:cubicBezTo>
                    <a:pt x="104501" y="22923"/>
                    <a:pt x="159836" y="0"/>
                    <a:pt x="217539" y="0"/>
                  </a:cubicBezTo>
                  <a:cubicBezTo>
                    <a:pt x="275186" y="0"/>
                    <a:pt x="330658" y="22923"/>
                    <a:pt x="371447" y="63739"/>
                  </a:cubicBezTo>
                  <a:close/>
                </a:path>
              </a:pathLst>
            </a:custGeom>
            <a:grpFill/>
            <a:ln w="27192" cap="flat">
              <a:noFill/>
              <a:prstDash val="solid"/>
              <a:miter/>
            </a:ln>
          </p:spPr>
          <p:txBody>
            <a:bodyPr rtlCol="0" anchor="ctr"/>
            <a:lstStyle/>
            <a:p>
              <a:endParaRPr lang="uk-UA" sz="900"/>
            </a:p>
          </p:txBody>
        </p:sp>
        <p:sp>
          <p:nvSpPr>
            <p:cNvPr id="395" name="Freeform: Shape 394">
              <a:extLst>
                <a:ext uri="{FF2B5EF4-FFF2-40B4-BE49-F238E27FC236}">
                  <a16:creationId xmlns:a16="http://schemas.microsoft.com/office/drawing/2014/main" id="{6E373078-3C35-E1A3-7B4E-C2FE18F87AE2}"/>
                </a:ext>
              </a:extLst>
            </p:cNvPr>
            <p:cNvSpPr/>
            <p:nvPr/>
          </p:nvSpPr>
          <p:spPr>
            <a:xfrm>
              <a:off x="835742" y="1154061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6 w 435077"/>
                <a:gd name="connsiteY3" fmla="*/ 27 h 435077"/>
                <a:gd name="connsiteX4" fmla="*/ 435077 w 435077"/>
                <a:gd name="connsiteY4" fmla="*/ 217566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6" y="27"/>
                  </a:lnTo>
                  <a:lnTo>
                    <a:pt x="435077" y="217566"/>
                  </a:lnTo>
                  <a:lnTo>
                    <a:pt x="217566"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396" name="Freeform: Shape 395">
              <a:extLst>
                <a:ext uri="{FF2B5EF4-FFF2-40B4-BE49-F238E27FC236}">
                  <a16:creationId xmlns:a16="http://schemas.microsoft.com/office/drawing/2014/main" id="{C8ECCEE5-FF85-1462-5AC2-929C34FA4258}"/>
                </a:ext>
              </a:extLst>
            </p:cNvPr>
            <p:cNvSpPr/>
            <p:nvPr/>
          </p:nvSpPr>
          <p:spPr>
            <a:xfrm>
              <a:off x="-34407" y="11540612"/>
              <a:ext cx="435072" cy="435077"/>
            </a:xfrm>
            <a:custGeom>
              <a:avLst/>
              <a:gdLst>
                <a:gd name="connsiteX0" fmla="*/ 63717 w 435072"/>
                <a:gd name="connsiteY0" fmla="*/ 153827 h 435077"/>
                <a:gd name="connsiteX1" fmla="*/ 0 w 435072"/>
                <a:gd name="connsiteY1" fmla="*/ 0 h 435077"/>
                <a:gd name="connsiteX2" fmla="*/ 217533 w 435072"/>
                <a:gd name="connsiteY2" fmla="*/ 0 h 435077"/>
                <a:gd name="connsiteX3" fmla="*/ 435072 w 435072"/>
                <a:gd name="connsiteY3" fmla="*/ 0 h 435077"/>
                <a:gd name="connsiteX4" fmla="*/ 371360 w 435072"/>
                <a:gd name="connsiteY4" fmla="*/ 153827 h 435077"/>
                <a:gd name="connsiteX5" fmla="*/ 217533 w 435072"/>
                <a:gd name="connsiteY5" fmla="*/ 217539 h 435077"/>
                <a:gd name="connsiteX6" fmla="*/ 63717 w 435072"/>
                <a:gd name="connsiteY6" fmla="*/ 153827 h 435077"/>
                <a:gd name="connsiteX7" fmla="*/ 63717 w 435072"/>
                <a:gd name="connsiteY7" fmla="*/ 281277 h 435077"/>
                <a:gd name="connsiteX8" fmla="*/ 0 w 435072"/>
                <a:gd name="connsiteY8" fmla="*/ 435077 h 435077"/>
                <a:gd name="connsiteX9" fmla="*/ 217533 w 435072"/>
                <a:gd name="connsiteY9" fmla="*/ 435077 h 435077"/>
                <a:gd name="connsiteX10" fmla="*/ 435072 w 435072"/>
                <a:gd name="connsiteY10" fmla="*/ 435077 h 435077"/>
                <a:gd name="connsiteX11" fmla="*/ 371360 w 435072"/>
                <a:gd name="connsiteY11" fmla="*/ 281277 h 435077"/>
                <a:gd name="connsiteX12" fmla="*/ 217533 w 435072"/>
                <a:gd name="connsiteY12" fmla="*/ 217539 h 435077"/>
                <a:gd name="connsiteX13" fmla="*/ 63717 w 435072"/>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2" h="435077">
                  <a:moveTo>
                    <a:pt x="63717" y="153827"/>
                  </a:moveTo>
                  <a:cubicBezTo>
                    <a:pt x="22921" y="113039"/>
                    <a:pt x="0" y="57702"/>
                    <a:pt x="0" y="0"/>
                  </a:cubicBezTo>
                  <a:lnTo>
                    <a:pt x="217533" y="0"/>
                  </a:lnTo>
                  <a:lnTo>
                    <a:pt x="435072" y="0"/>
                  </a:lnTo>
                  <a:cubicBezTo>
                    <a:pt x="435072" y="57702"/>
                    <a:pt x="412149" y="113039"/>
                    <a:pt x="371360" y="153827"/>
                  </a:cubicBezTo>
                  <a:cubicBezTo>
                    <a:pt x="330572" y="194642"/>
                    <a:pt x="275236" y="217539"/>
                    <a:pt x="217533" y="217539"/>
                  </a:cubicBezTo>
                  <a:cubicBezTo>
                    <a:pt x="159858" y="217539"/>
                    <a:pt x="104514" y="194642"/>
                    <a:pt x="63717" y="153827"/>
                  </a:cubicBezTo>
                  <a:close/>
                  <a:moveTo>
                    <a:pt x="63717" y="281277"/>
                  </a:moveTo>
                  <a:cubicBezTo>
                    <a:pt x="22921" y="322066"/>
                    <a:pt x="0" y="377402"/>
                    <a:pt x="0" y="435077"/>
                  </a:cubicBezTo>
                  <a:lnTo>
                    <a:pt x="217533" y="435077"/>
                  </a:lnTo>
                  <a:lnTo>
                    <a:pt x="435072" y="435077"/>
                  </a:lnTo>
                  <a:cubicBezTo>
                    <a:pt x="435072" y="377402"/>
                    <a:pt x="412149" y="322066"/>
                    <a:pt x="371360" y="281277"/>
                  </a:cubicBezTo>
                  <a:cubicBezTo>
                    <a:pt x="330572" y="240462"/>
                    <a:pt x="275236" y="217539"/>
                    <a:pt x="217533" y="217539"/>
                  </a:cubicBezTo>
                  <a:cubicBezTo>
                    <a:pt x="159858" y="217539"/>
                    <a:pt x="104514" y="240462"/>
                    <a:pt x="63717" y="281277"/>
                  </a:cubicBezTo>
                  <a:close/>
                </a:path>
              </a:pathLst>
            </a:custGeom>
            <a:grpFill/>
            <a:ln w="27192" cap="flat">
              <a:noFill/>
              <a:prstDash val="solid"/>
              <a:miter/>
            </a:ln>
          </p:spPr>
          <p:txBody>
            <a:bodyPr rtlCol="0" anchor="ctr"/>
            <a:lstStyle/>
            <a:p>
              <a:endParaRPr lang="uk-UA" sz="900"/>
            </a:p>
          </p:txBody>
        </p:sp>
        <p:sp>
          <p:nvSpPr>
            <p:cNvPr id="397" name="Freeform: Shape 396">
              <a:extLst>
                <a:ext uri="{FF2B5EF4-FFF2-40B4-BE49-F238E27FC236}">
                  <a16:creationId xmlns:a16="http://schemas.microsoft.com/office/drawing/2014/main" id="{72E3D57C-7C27-9B64-51E5-E52049B54CE5}"/>
                </a:ext>
              </a:extLst>
            </p:cNvPr>
            <p:cNvSpPr/>
            <p:nvPr/>
          </p:nvSpPr>
          <p:spPr>
            <a:xfrm>
              <a:off x="1705924" y="1154061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398" name="Freeform: Shape 397">
              <a:extLst>
                <a:ext uri="{FF2B5EF4-FFF2-40B4-BE49-F238E27FC236}">
                  <a16:creationId xmlns:a16="http://schemas.microsoft.com/office/drawing/2014/main" id="{2BAB1434-6399-065C-68CB-A4C408C74D89}"/>
                </a:ext>
              </a:extLst>
            </p:cNvPr>
            <p:cNvSpPr/>
            <p:nvPr/>
          </p:nvSpPr>
          <p:spPr>
            <a:xfrm>
              <a:off x="2576106" y="1154064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2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2" y="217539"/>
                  </a:lnTo>
                  <a:lnTo>
                    <a:pt x="0" y="435050"/>
                  </a:lnTo>
                  <a:close/>
                </a:path>
              </a:pathLst>
            </a:custGeom>
            <a:grpFill/>
            <a:ln w="27192" cap="flat">
              <a:noFill/>
              <a:prstDash val="solid"/>
              <a:miter/>
            </a:ln>
          </p:spPr>
          <p:txBody>
            <a:bodyPr rtlCol="0" anchor="ctr"/>
            <a:lstStyle/>
            <a:p>
              <a:endParaRPr lang="uk-UA" sz="900"/>
            </a:p>
          </p:txBody>
        </p:sp>
        <p:sp>
          <p:nvSpPr>
            <p:cNvPr id="399" name="Freeform: Shape 398">
              <a:extLst>
                <a:ext uri="{FF2B5EF4-FFF2-40B4-BE49-F238E27FC236}">
                  <a16:creationId xmlns:a16="http://schemas.microsoft.com/office/drawing/2014/main" id="{9CB57AB0-A354-3486-C529-2F9105CDCE09}"/>
                </a:ext>
              </a:extLst>
            </p:cNvPr>
            <p:cNvSpPr/>
            <p:nvPr/>
          </p:nvSpPr>
          <p:spPr>
            <a:xfrm>
              <a:off x="4316416" y="1154061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5 w 435077"/>
                <a:gd name="connsiteY3" fmla="*/ 27 h 435077"/>
                <a:gd name="connsiteX4" fmla="*/ 435077 w 435077"/>
                <a:gd name="connsiteY4" fmla="*/ 217566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5" y="27"/>
                  </a:lnTo>
                  <a:lnTo>
                    <a:pt x="435077" y="217566"/>
                  </a:lnTo>
                  <a:lnTo>
                    <a:pt x="217565"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400" name="Freeform: Shape 399">
              <a:extLst>
                <a:ext uri="{FF2B5EF4-FFF2-40B4-BE49-F238E27FC236}">
                  <a16:creationId xmlns:a16="http://schemas.microsoft.com/office/drawing/2014/main" id="{A5396570-CD4C-F876-22FC-14C55BD49194}"/>
                </a:ext>
              </a:extLst>
            </p:cNvPr>
            <p:cNvSpPr/>
            <p:nvPr/>
          </p:nvSpPr>
          <p:spPr>
            <a:xfrm>
              <a:off x="3446261" y="1154061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3" y="113039"/>
                    <a:pt x="0" y="57702"/>
                    <a:pt x="0" y="0"/>
                  </a:cubicBezTo>
                  <a:lnTo>
                    <a:pt x="217539" y="0"/>
                  </a:lnTo>
                  <a:lnTo>
                    <a:pt x="435077" y="0"/>
                  </a:lnTo>
                  <a:cubicBezTo>
                    <a:pt x="435077" y="57702"/>
                    <a:pt x="412154" y="113039"/>
                    <a:pt x="371366" y="153827"/>
                  </a:cubicBezTo>
                  <a:cubicBezTo>
                    <a:pt x="330577" y="194642"/>
                    <a:pt x="275241" y="217539"/>
                    <a:pt x="217539" y="217539"/>
                  </a:cubicBezTo>
                  <a:cubicBezTo>
                    <a:pt x="159837" y="217539"/>
                    <a:pt x="104500" y="194642"/>
                    <a:pt x="63712" y="153827"/>
                  </a:cubicBezTo>
                  <a:close/>
                  <a:moveTo>
                    <a:pt x="63712" y="281277"/>
                  </a:moveTo>
                  <a:cubicBezTo>
                    <a:pt x="22923" y="322066"/>
                    <a:pt x="0" y="377402"/>
                    <a:pt x="0" y="435077"/>
                  </a:cubicBezTo>
                  <a:lnTo>
                    <a:pt x="217539" y="435077"/>
                  </a:lnTo>
                  <a:lnTo>
                    <a:pt x="435077" y="435077"/>
                  </a:lnTo>
                  <a:cubicBezTo>
                    <a:pt x="435077" y="377402"/>
                    <a:pt x="412154" y="322066"/>
                    <a:pt x="371366" y="281277"/>
                  </a:cubicBezTo>
                  <a:cubicBezTo>
                    <a:pt x="330577" y="240462"/>
                    <a:pt x="275241" y="217539"/>
                    <a:pt x="217539" y="217539"/>
                  </a:cubicBezTo>
                  <a:cubicBezTo>
                    <a:pt x="159837" y="217539"/>
                    <a:pt x="104500" y="240462"/>
                    <a:pt x="63712" y="281277"/>
                  </a:cubicBezTo>
                  <a:close/>
                </a:path>
              </a:pathLst>
            </a:custGeom>
            <a:grpFill/>
            <a:ln w="27192" cap="flat">
              <a:noFill/>
              <a:prstDash val="solid"/>
              <a:miter/>
            </a:ln>
          </p:spPr>
          <p:txBody>
            <a:bodyPr rtlCol="0" anchor="ctr"/>
            <a:lstStyle/>
            <a:p>
              <a:endParaRPr lang="uk-UA" sz="900"/>
            </a:p>
          </p:txBody>
        </p:sp>
        <p:sp>
          <p:nvSpPr>
            <p:cNvPr id="401" name="Freeform: Shape 400">
              <a:extLst>
                <a:ext uri="{FF2B5EF4-FFF2-40B4-BE49-F238E27FC236}">
                  <a16:creationId xmlns:a16="http://schemas.microsoft.com/office/drawing/2014/main" id="{06931EE5-ED2A-5D0F-EFE5-A86FF17B6342}"/>
                </a:ext>
              </a:extLst>
            </p:cNvPr>
            <p:cNvSpPr/>
            <p:nvPr/>
          </p:nvSpPr>
          <p:spPr>
            <a:xfrm>
              <a:off x="5186597" y="11540612"/>
              <a:ext cx="435077" cy="435077"/>
            </a:xfrm>
            <a:custGeom>
              <a:avLst/>
              <a:gdLst>
                <a:gd name="connsiteX0" fmla="*/ 0 w 435077"/>
                <a:gd name="connsiteY0" fmla="*/ 435077 h 435077"/>
                <a:gd name="connsiteX1" fmla="*/ 0 w 435077"/>
                <a:gd name="connsiteY1" fmla="*/ 0 h 435077"/>
                <a:gd name="connsiteX2" fmla="*/ 217512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12"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402" name="Freeform: Shape 401">
              <a:extLst>
                <a:ext uri="{FF2B5EF4-FFF2-40B4-BE49-F238E27FC236}">
                  <a16:creationId xmlns:a16="http://schemas.microsoft.com/office/drawing/2014/main" id="{EAC73275-1F51-790C-2943-900582F8D649}"/>
                </a:ext>
              </a:extLst>
            </p:cNvPr>
            <p:cNvSpPr/>
            <p:nvPr/>
          </p:nvSpPr>
          <p:spPr>
            <a:xfrm>
              <a:off x="6056752" y="1154064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2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2" y="217539"/>
                  </a:lnTo>
                  <a:lnTo>
                    <a:pt x="0" y="435050"/>
                  </a:lnTo>
                  <a:close/>
                </a:path>
              </a:pathLst>
            </a:custGeom>
            <a:grpFill/>
            <a:ln w="27192" cap="flat">
              <a:noFill/>
              <a:prstDash val="solid"/>
              <a:miter/>
            </a:ln>
          </p:spPr>
          <p:txBody>
            <a:bodyPr rtlCol="0" anchor="ctr"/>
            <a:lstStyle/>
            <a:p>
              <a:endParaRPr lang="uk-UA" sz="900"/>
            </a:p>
          </p:txBody>
        </p:sp>
        <p:sp>
          <p:nvSpPr>
            <p:cNvPr id="403" name="Freeform: Shape 402">
              <a:extLst>
                <a:ext uri="{FF2B5EF4-FFF2-40B4-BE49-F238E27FC236}">
                  <a16:creationId xmlns:a16="http://schemas.microsoft.com/office/drawing/2014/main" id="{65EB04A4-E90B-28B9-9317-E0891DA6D3CF}"/>
                </a:ext>
              </a:extLst>
            </p:cNvPr>
            <p:cNvSpPr/>
            <p:nvPr/>
          </p:nvSpPr>
          <p:spPr>
            <a:xfrm>
              <a:off x="7797062" y="1154061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6 w 435077"/>
                <a:gd name="connsiteY3" fmla="*/ 27 h 435077"/>
                <a:gd name="connsiteX4" fmla="*/ 435077 w 435077"/>
                <a:gd name="connsiteY4" fmla="*/ 217566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6" y="27"/>
                  </a:lnTo>
                  <a:lnTo>
                    <a:pt x="435077" y="217566"/>
                  </a:lnTo>
                  <a:lnTo>
                    <a:pt x="217566"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404" name="Freeform: Shape 403">
              <a:extLst>
                <a:ext uri="{FF2B5EF4-FFF2-40B4-BE49-F238E27FC236}">
                  <a16:creationId xmlns:a16="http://schemas.microsoft.com/office/drawing/2014/main" id="{E82D1396-8DE5-87C0-D788-64F01690E8D9}"/>
                </a:ext>
              </a:extLst>
            </p:cNvPr>
            <p:cNvSpPr/>
            <p:nvPr/>
          </p:nvSpPr>
          <p:spPr>
            <a:xfrm>
              <a:off x="6926907" y="1154061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6" y="153827"/>
                  </a:cubicBezTo>
                  <a:cubicBezTo>
                    <a:pt x="330550" y="194642"/>
                    <a:pt x="275241" y="217539"/>
                    <a:pt x="217539" y="217539"/>
                  </a:cubicBezTo>
                  <a:cubicBezTo>
                    <a:pt x="159837"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5" y="322066"/>
                    <a:pt x="371366" y="281277"/>
                  </a:cubicBezTo>
                  <a:cubicBezTo>
                    <a:pt x="330550" y="240462"/>
                    <a:pt x="275241" y="217539"/>
                    <a:pt x="217539" y="217539"/>
                  </a:cubicBezTo>
                  <a:cubicBezTo>
                    <a:pt x="159837" y="217539"/>
                    <a:pt x="104501" y="240462"/>
                    <a:pt x="63712" y="281277"/>
                  </a:cubicBezTo>
                  <a:close/>
                </a:path>
              </a:pathLst>
            </a:custGeom>
            <a:grpFill/>
            <a:ln w="27192" cap="flat">
              <a:noFill/>
              <a:prstDash val="solid"/>
              <a:miter/>
            </a:ln>
          </p:spPr>
          <p:txBody>
            <a:bodyPr rtlCol="0" anchor="ctr"/>
            <a:lstStyle/>
            <a:p>
              <a:endParaRPr lang="uk-UA" sz="900"/>
            </a:p>
          </p:txBody>
        </p:sp>
        <p:sp>
          <p:nvSpPr>
            <p:cNvPr id="405" name="Freeform: Shape 404">
              <a:extLst>
                <a:ext uri="{FF2B5EF4-FFF2-40B4-BE49-F238E27FC236}">
                  <a16:creationId xmlns:a16="http://schemas.microsoft.com/office/drawing/2014/main" id="{A5E8B7C1-5DCA-A249-9847-CC3B0F214F8A}"/>
                </a:ext>
              </a:extLst>
            </p:cNvPr>
            <p:cNvSpPr/>
            <p:nvPr/>
          </p:nvSpPr>
          <p:spPr>
            <a:xfrm>
              <a:off x="8667217" y="1154061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406" name="Freeform: Shape 405">
              <a:extLst>
                <a:ext uri="{FF2B5EF4-FFF2-40B4-BE49-F238E27FC236}">
                  <a16:creationId xmlns:a16="http://schemas.microsoft.com/office/drawing/2014/main" id="{A6D5903D-89FD-2B1F-38A8-F79D8A96A313}"/>
                </a:ext>
              </a:extLst>
            </p:cNvPr>
            <p:cNvSpPr/>
            <p:nvPr/>
          </p:nvSpPr>
          <p:spPr>
            <a:xfrm>
              <a:off x="9537399" y="1154064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1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1" y="217539"/>
                  </a:lnTo>
                  <a:lnTo>
                    <a:pt x="0" y="435050"/>
                  </a:lnTo>
                  <a:close/>
                </a:path>
              </a:pathLst>
            </a:custGeom>
            <a:grpFill/>
            <a:ln w="27192" cap="flat">
              <a:noFill/>
              <a:prstDash val="solid"/>
              <a:miter/>
            </a:ln>
          </p:spPr>
          <p:txBody>
            <a:bodyPr rtlCol="0" anchor="ctr"/>
            <a:lstStyle/>
            <a:p>
              <a:endParaRPr lang="uk-UA" sz="900"/>
            </a:p>
          </p:txBody>
        </p:sp>
        <p:sp>
          <p:nvSpPr>
            <p:cNvPr id="407" name="Freeform: Shape 406">
              <a:extLst>
                <a:ext uri="{FF2B5EF4-FFF2-40B4-BE49-F238E27FC236}">
                  <a16:creationId xmlns:a16="http://schemas.microsoft.com/office/drawing/2014/main" id="{1C11D475-5CE1-F057-FC6E-CCBB6E1A2AD2}"/>
                </a:ext>
              </a:extLst>
            </p:cNvPr>
            <p:cNvSpPr/>
            <p:nvPr/>
          </p:nvSpPr>
          <p:spPr>
            <a:xfrm>
              <a:off x="11277709" y="1154061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0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10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0" y="217539"/>
                  </a:lnTo>
                  <a:lnTo>
                    <a:pt x="0" y="217539"/>
                  </a:lnTo>
                  <a:close/>
                  <a:moveTo>
                    <a:pt x="0" y="435077"/>
                  </a:moveTo>
                  <a:lnTo>
                    <a:pt x="0" y="217566"/>
                  </a:lnTo>
                  <a:lnTo>
                    <a:pt x="217510" y="217566"/>
                  </a:lnTo>
                  <a:lnTo>
                    <a:pt x="0" y="435077"/>
                  </a:lnTo>
                  <a:close/>
                </a:path>
              </a:pathLst>
            </a:custGeom>
            <a:grpFill/>
            <a:ln w="27192" cap="flat">
              <a:noFill/>
              <a:prstDash val="solid"/>
              <a:miter/>
            </a:ln>
          </p:spPr>
          <p:txBody>
            <a:bodyPr rtlCol="0" anchor="ctr"/>
            <a:lstStyle/>
            <a:p>
              <a:endParaRPr lang="uk-UA" sz="900"/>
            </a:p>
          </p:txBody>
        </p:sp>
        <p:sp>
          <p:nvSpPr>
            <p:cNvPr id="408" name="Freeform: Shape 407">
              <a:extLst>
                <a:ext uri="{FF2B5EF4-FFF2-40B4-BE49-F238E27FC236}">
                  <a16:creationId xmlns:a16="http://schemas.microsoft.com/office/drawing/2014/main" id="{49897E87-EC39-C3C2-612B-6B9A7A64289F}"/>
                </a:ext>
              </a:extLst>
            </p:cNvPr>
            <p:cNvSpPr/>
            <p:nvPr/>
          </p:nvSpPr>
          <p:spPr>
            <a:xfrm>
              <a:off x="10407526" y="11540612"/>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39 w 435077"/>
                <a:gd name="connsiteY6" fmla="*/ 153827 h 435077"/>
                <a:gd name="connsiteX7" fmla="*/ 63739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39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4" y="113039"/>
                    <a:pt x="0" y="57702"/>
                    <a:pt x="0" y="0"/>
                  </a:cubicBezTo>
                  <a:lnTo>
                    <a:pt x="217539" y="0"/>
                  </a:lnTo>
                  <a:lnTo>
                    <a:pt x="435077" y="0"/>
                  </a:lnTo>
                  <a:cubicBezTo>
                    <a:pt x="435077" y="57702"/>
                    <a:pt x="412182" y="113039"/>
                    <a:pt x="371366" y="153827"/>
                  </a:cubicBezTo>
                  <a:cubicBezTo>
                    <a:pt x="330578" y="194642"/>
                    <a:pt x="275241" y="217539"/>
                    <a:pt x="217539" y="217539"/>
                  </a:cubicBezTo>
                  <a:cubicBezTo>
                    <a:pt x="159864" y="217539"/>
                    <a:pt x="104527" y="194642"/>
                    <a:pt x="63739" y="153827"/>
                  </a:cubicBezTo>
                  <a:close/>
                  <a:moveTo>
                    <a:pt x="63739" y="281277"/>
                  </a:moveTo>
                  <a:cubicBezTo>
                    <a:pt x="22924" y="322066"/>
                    <a:pt x="0" y="377402"/>
                    <a:pt x="0" y="435077"/>
                  </a:cubicBezTo>
                  <a:lnTo>
                    <a:pt x="217539" y="435077"/>
                  </a:lnTo>
                  <a:lnTo>
                    <a:pt x="435077" y="435077"/>
                  </a:lnTo>
                  <a:cubicBezTo>
                    <a:pt x="435077" y="377402"/>
                    <a:pt x="412182" y="322066"/>
                    <a:pt x="371366" y="281277"/>
                  </a:cubicBezTo>
                  <a:cubicBezTo>
                    <a:pt x="330578" y="240462"/>
                    <a:pt x="275241" y="217539"/>
                    <a:pt x="217539" y="217539"/>
                  </a:cubicBezTo>
                  <a:cubicBezTo>
                    <a:pt x="159864" y="217539"/>
                    <a:pt x="104527" y="240462"/>
                    <a:pt x="63739" y="281277"/>
                  </a:cubicBezTo>
                  <a:close/>
                </a:path>
              </a:pathLst>
            </a:custGeom>
            <a:grpFill/>
            <a:ln w="27192" cap="flat">
              <a:noFill/>
              <a:prstDash val="solid"/>
              <a:miter/>
            </a:ln>
          </p:spPr>
          <p:txBody>
            <a:bodyPr rtlCol="0" anchor="ctr"/>
            <a:lstStyle/>
            <a:p>
              <a:endParaRPr lang="uk-UA" sz="900"/>
            </a:p>
          </p:txBody>
        </p:sp>
        <p:sp>
          <p:nvSpPr>
            <p:cNvPr id="409" name="Freeform: Shape 408">
              <a:extLst>
                <a:ext uri="{FF2B5EF4-FFF2-40B4-BE49-F238E27FC236}">
                  <a16:creationId xmlns:a16="http://schemas.microsoft.com/office/drawing/2014/main" id="{41885C32-BFC0-3281-5596-D04E3EA01D34}"/>
                </a:ext>
              </a:extLst>
            </p:cNvPr>
            <p:cNvSpPr/>
            <p:nvPr/>
          </p:nvSpPr>
          <p:spPr>
            <a:xfrm>
              <a:off x="12147864" y="1154061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410" name="Freeform: Shape 409">
              <a:extLst>
                <a:ext uri="{FF2B5EF4-FFF2-40B4-BE49-F238E27FC236}">
                  <a16:creationId xmlns:a16="http://schemas.microsoft.com/office/drawing/2014/main" id="{3FD0D914-040F-D411-EECA-80082B925EAC}"/>
                </a:ext>
              </a:extLst>
            </p:cNvPr>
            <p:cNvSpPr/>
            <p:nvPr/>
          </p:nvSpPr>
          <p:spPr>
            <a:xfrm>
              <a:off x="13018045" y="1154064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2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2" y="217539"/>
                  </a:lnTo>
                  <a:lnTo>
                    <a:pt x="0" y="435050"/>
                  </a:lnTo>
                  <a:close/>
                </a:path>
              </a:pathLst>
            </a:custGeom>
            <a:grpFill/>
            <a:ln w="27192" cap="flat">
              <a:noFill/>
              <a:prstDash val="solid"/>
              <a:miter/>
            </a:ln>
          </p:spPr>
          <p:txBody>
            <a:bodyPr rtlCol="0" anchor="ctr"/>
            <a:lstStyle/>
            <a:p>
              <a:endParaRPr lang="uk-UA" sz="900"/>
            </a:p>
          </p:txBody>
        </p:sp>
        <p:sp>
          <p:nvSpPr>
            <p:cNvPr id="411" name="Freeform: Shape 410">
              <a:extLst>
                <a:ext uri="{FF2B5EF4-FFF2-40B4-BE49-F238E27FC236}">
                  <a16:creationId xmlns:a16="http://schemas.microsoft.com/office/drawing/2014/main" id="{AC96E6B9-CBA2-9A84-031C-1BE5E3F21013}"/>
                </a:ext>
              </a:extLst>
            </p:cNvPr>
            <p:cNvSpPr/>
            <p:nvPr/>
          </p:nvSpPr>
          <p:spPr>
            <a:xfrm>
              <a:off x="14758355" y="11540612"/>
              <a:ext cx="435103" cy="435077"/>
            </a:xfrm>
            <a:custGeom>
              <a:avLst/>
              <a:gdLst>
                <a:gd name="connsiteX0" fmla="*/ 435104 w 435103"/>
                <a:gd name="connsiteY0" fmla="*/ 435077 h 435077"/>
                <a:gd name="connsiteX1" fmla="*/ 435104 w 435103"/>
                <a:gd name="connsiteY1" fmla="*/ 217566 h 435077"/>
                <a:gd name="connsiteX2" fmla="*/ 435104 w 435103"/>
                <a:gd name="connsiteY2" fmla="*/ 27 h 435077"/>
                <a:gd name="connsiteX3" fmla="*/ 217565 w 435103"/>
                <a:gd name="connsiteY3" fmla="*/ 27 h 435077"/>
                <a:gd name="connsiteX4" fmla="*/ 435104 w 435103"/>
                <a:gd name="connsiteY4" fmla="*/ 217566 h 435077"/>
                <a:gd name="connsiteX5" fmla="*/ 217565 w 435103"/>
                <a:gd name="connsiteY5" fmla="*/ 435077 h 435077"/>
                <a:gd name="connsiteX6" fmla="*/ 435104 w 435103"/>
                <a:gd name="connsiteY6" fmla="*/ 435077 h 435077"/>
                <a:gd name="connsiteX7" fmla="*/ 0 w 435103"/>
                <a:gd name="connsiteY7" fmla="*/ 217539 h 435077"/>
                <a:gd name="connsiteX8" fmla="*/ 0 w 435103"/>
                <a:gd name="connsiteY8" fmla="*/ 0 h 435077"/>
                <a:gd name="connsiteX9" fmla="*/ 217539 w 435103"/>
                <a:gd name="connsiteY9" fmla="*/ 217539 h 435077"/>
                <a:gd name="connsiteX10" fmla="*/ 0 w 435103"/>
                <a:gd name="connsiteY10" fmla="*/ 217539 h 435077"/>
                <a:gd name="connsiteX11" fmla="*/ 27 w 435103"/>
                <a:gd name="connsiteY11" fmla="*/ 435077 h 435077"/>
                <a:gd name="connsiteX12" fmla="*/ 27 w 435103"/>
                <a:gd name="connsiteY12" fmla="*/ 217566 h 435077"/>
                <a:gd name="connsiteX13" fmla="*/ 217539 w 435103"/>
                <a:gd name="connsiteY13" fmla="*/ 217566 h 435077"/>
                <a:gd name="connsiteX14" fmla="*/ 27 w 435103"/>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103" h="435077">
                  <a:moveTo>
                    <a:pt x="435104" y="435077"/>
                  </a:moveTo>
                  <a:lnTo>
                    <a:pt x="435104" y="217566"/>
                  </a:lnTo>
                  <a:lnTo>
                    <a:pt x="435104" y="27"/>
                  </a:lnTo>
                  <a:lnTo>
                    <a:pt x="217565" y="27"/>
                  </a:lnTo>
                  <a:lnTo>
                    <a:pt x="435104" y="217566"/>
                  </a:lnTo>
                  <a:lnTo>
                    <a:pt x="217565" y="435077"/>
                  </a:lnTo>
                  <a:lnTo>
                    <a:pt x="435104" y="435077"/>
                  </a:lnTo>
                  <a:close/>
                  <a:moveTo>
                    <a:pt x="0" y="217539"/>
                  </a:moveTo>
                  <a:lnTo>
                    <a:pt x="0" y="0"/>
                  </a:lnTo>
                  <a:lnTo>
                    <a:pt x="217539" y="217539"/>
                  </a:lnTo>
                  <a:lnTo>
                    <a:pt x="0" y="217539"/>
                  </a:lnTo>
                  <a:close/>
                  <a:moveTo>
                    <a:pt x="27" y="435077"/>
                  </a:moveTo>
                  <a:lnTo>
                    <a:pt x="27" y="217566"/>
                  </a:lnTo>
                  <a:lnTo>
                    <a:pt x="217539" y="217566"/>
                  </a:lnTo>
                  <a:lnTo>
                    <a:pt x="27" y="435077"/>
                  </a:lnTo>
                  <a:close/>
                </a:path>
              </a:pathLst>
            </a:custGeom>
            <a:grpFill/>
            <a:ln w="27192" cap="flat">
              <a:noFill/>
              <a:prstDash val="solid"/>
              <a:miter/>
            </a:ln>
          </p:spPr>
          <p:txBody>
            <a:bodyPr rtlCol="0" anchor="ctr"/>
            <a:lstStyle/>
            <a:p>
              <a:endParaRPr lang="uk-UA" sz="900"/>
            </a:p>
          </p:txBody>
        </p:sp>
        <p:sp>
          <p:nvSpPr>
            <p:cNvPr id="412" name="Freeform: Shape 411">
              <a:extLst>
                <a:ext uri="{FF2B5EF4-FFF2-40B4-BE49-F238E27FC236}">
                  <a16:creationId xmlns:a16="http://schemas.microsoft.com/office/drawing/2014/main" id="{CC60B8B6-DA89-B2C6-8F2B-51A1BED87EEC}"/>
                </a:ext>
              </a:extLst>
            </p:cNvPr>
            <p:cNvSpPr/>
            <p:nvPr/>
          </p:nvSpPr>
          <p:spPr>
            <a:xfrm>
              <a:off x="13888200" y="1154061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4" y="113039"/>
                    <a:pt x="371365" y="153827"/>
                  </a:cubicBezTo>
                  <a:cubicBezTo>
                    <a:pt x="330577" y="194642"/>
                    <a:pt x="275241" y="217539"/>
                    <a:pt x="217539" y="217539"/>
                  </a:cubicBezTo>
                  <a:cubicBezTo>
                    <a:pt x="159836" y="217539"/>
                    <a:pt x="104527" y="194642"/>
                    <a:pt x="63712" y="153827"/>
                  </a:cubicBezTo>
                  <a:close/>
                  <a:moveTo>
                    <a:pt x="63712" y="281277"/>
                  </a:moveTo>
                  <a:cubicBezTo>
                    <a:pt x="22924" y="322066"/>
                    <a:pt x="0" y="377402"/>
                    <a:pt x="0" y="435077"/>
                  </a:cubicBezTo>
                  <a:lnTo>
                    <a:pt x="217539" y="435077"/>
                  </a:lnTo>
                  <a:lnTo>
                    <a:pt x="435077" y="435077"/>
                  </a:lnTo>
                  <a:cubicBezTo>
                    <a:pt x="435077" y="377402"/>
                    <a:pt x="412154" y="322066"/>
                    <a:pt x="371365" y="281277"/>
                  </a:cubicBezTo>
                  <a:cubicBezTo>
                    <a:pt x="330577" y="240462"/>
                    <a:pt x="275241" y="217539"/>
                    <a:pt x="217539" y="217539"/>
                  </a:cubicBezTo>
                  <a:cubicBezTo>
                    <a:pt x="159836" y="217539"/>
                    <a:pt x="104527" y="240462"/>
                    <a:pt x="63712" y="281277"/>
                  </a:cubicBezTo>
                  <a:close/>
                </a:path>
              </a:pathLst>
            </a:custGeom>
            <a:grpFill/>
            <a:ln w="27192" cap="flat">
              <a:noFill/>
              <a:prstDash val="solid"/>
              <a:miter/>
            </a:ln>
          </p:spPr>
          <p:txBody>
            <a:bodyPr rtlCol="0" anchor="ctr"/>
            <a:lstStyle/>
            <a:p>
              <a:endParaRPr lang="uk-UA" sz="900"/>
            </a:p>
          </p:txBody>
        </p:sp>
        <p:sp>
          <p:nvSpPr>
            <p:cNvPr id="413" name="Freeform: Shape 412">
              <a:extLst>
                <a:ext uri="{FF2B5EF4-FFF2-40B4-BE49-F238E27FC236}">
                  <a16:creationId xmlns:a16="http://schemas.microsoft.com/office/drawing/2014/main" id="{04567BA7-088F-29D6-4B23-CE67B0981272}"/>
                </a:ext>
              </a:extLst>
            </p:cNvPr>
            <p:cNvSpPr/>
            <p:nvPr/>
          </p:nvSpPr>
          <p:spPr>
            <a:xfrm>
              <a:off x="15628536" y="1154061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414" name="Freeform: Shape 413">
              <a:extLst>
                <a:ext uri="{FF2B5EF4-FFF2-40B4-BE49-F238E27FC236}">
                  <a16:creationId xmlns:a16="http://schemas.microsoft.com/office/drawing/2014/main" id="{015A349D-32D3-B851-F47C-7372DBED4D1A}"/>
                </a:ext>
              </a:extLst>
            </p:cNvPr>
            <p:cNvSpPr/>
            <p:nvPr/>
          </p:nvSpPr>
          <p:spPr>
            <a:xfrm>
              <a:off x="16498719" y="11540640"/>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0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0" y="217539"/>
                  </a:lnTo>
                  <a:lnTo>
                    <a:pt x="0" y="435050"/>
                  </a:lnTo>
                  <a:close/>
                </a:path>
              </a:pathLst>
            </a:custGeom>
            <a:grpFill/>
            <a:ln w="27192" cap="flat">
              <a:noFill/>
              <a:prstDash val="solid"/>
              <a:miter/>
            </a:ln>
          </p:spPr>
          <p:txBody>
            <a:bodyPr rtlCol="0" anchor="ctr"/>
            <a:lstStyle/>
            <a:p>
              <a:endParaRPr lang="uk-UA" sz="900"/>
            </a:p>
          </p:txBody>
        </p:sp>
        <p:sp>
          <p:nvSpPr>
            <p:cNvPr id="415" name="Freeform: Shape 414">
              <a:extLst>
                <a:ext uri="{FF2B5EF4-FFF2-40B4-BE49-F238E27FC236}">
                  <a16:creationId xmlns:a16="http://schemas.microsoft.com/office/drawing/2014/main" id="{4AC88228-F5A4-8657-19DD-6C09B87BEC3D}"/>
                </a:ext>
              </a:extLst>
            </p:cNvPr>
            <p:cNvSpPr/>
            <p:nvPr/>
          </p:nvSpPr>
          <p:spPr>
            <a:xfrm>
              <a:off x="18239029" y="1154061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39 w 435077"/>
                <a:gd name="connsiteY3" fmla="*/ 27 h 435077"/>
                <a:gd name="connsiteX4" fmla="*/ 435077 w 435077"/>
                <a:gd name="connsiteY4" fmla="*/ 217566 h 435077"/>
                <a:gd name="connsiteX5" fmla="*/ 217539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0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10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39" y="27"/>
                  </a:lnTo>
                  <a:lnTo>
                    <a:pt x="435077" y="217566"/>
                  </a:lnTo>
                  <a:lnTo>
                    <a:pt x="217539" y="435077"/>
                  </a:lnTo>
                  <a:lnTo>
                    <a:pt x="435077" y="435077"/>
                  </a:lnTo>
                  <a:close/>
                  <a:moveTo>
                    <a:pt x="0" y="217539"/>
                  </a:moveTo>
                  <a:lnTo>
                    <a:pt x="0" y="0"/>
                  </a:lnTo>
                  <a:lnTo>
                    <a:pt x="217510" y="217539"/>
                  </a:lnTo>
                  <a:lnTo>
                    <a:pt x="0" y="217539"/>
                  </a:lnTo>
                  <a:close/>
                  <a:moveTo>
                    <a:pt x="0" y="435077"/>
                  </a:moveTo>
                  <a:lnTo>
                    <a:pt x="0" y="217566"/>
                  </a:lnTo>
                  <a:lnTo>
                    <a:pt x="217510" y="217566"/>
                  </a:lnTo>
                  <a:lnTo>
                    <a:pt x="0" y="435077"/>
                  </a:lnTo>
                  <a:close/>
                </a:path>
              </a:pathLst>
            </a:custGeom>
            <a:grpFill/>
            <a:ln w="27192" cap="flat">
              <a:noFill/>
              <a:prstDash val="solid"/>
              <a:miter/>
            </a:ln>
          </p:spPr>
          <p:txBody>
            <a:bodyPr rtlCol="0" anchor="ctr"/>
            <a:lstStyle/>
            <a:p>
              <a:endParaRPr lang="uk-UA" sz="900"/>
            </a:p>
          </p:txBody>
        </p:sp>
        <p:sp>
          <p:nvSpPr>
            <p:cNvPr id="416" name="Freeform: Shape 415">
              <a:extLst>
                <a:ext uri="{FF2B5EF4-FFF2-40B4-BE49-F238E27FC236}">
                  <a16:creationId xmlns:a16="http://schemas.microsoft.com/office/drawing/2014/main" id="{038A72E1-6950-9ECF-CBE2-CCFAD3ABAD5A}"/>
                </a:ext>
              </a:extLst>
            </p:cNvPr>
            <p:cNvSpPr/>
            <p:nvPr/>
          </p:nvSpPr>
          <p:spPr>
            <a:xfrm>
              <a:off x="17368874" y="11540612"/>
              <a:ext cx="435077" cy="435077"/>
            </a:xfrm>
            <a:custGeom>
              <a:avLst/>
              <a:gdLst>
                <a:gd name="connsiteX0" fmla="*/ 63710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39 w 435077"/>
                <a:gd name="connsiteY4" fmla="*/ 153827 h 435077"/>
                <a:gd name="connsiteX5" fmla="*/ 217539 w 435077"/>
                <a:gd name="connsiteY5" fmla="*/ 217539 h 435077"/>
                <a:gd name="connsiteX6" fmla="*/ 63710 w 435077"/>
                <a:gd name="connsiteY6" fmla="*/ 153827 h 435077"/>
                <a:gd name="connsiteX7" fmla="*/ 63710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39 w 435077"/>
                <a:gd name="connsiteY11" fmla="*/ 281277 h 435077"/>
                <a:gd name="connsiteX12" fmla="*/ 217539 w 435077"/>
                <a:gd name="connsiteY12" fmla="*/ 217539 h 435077"/>
                <a:gd name="connsiteX13" fmla="*/ 63710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7"/>
                  </a:moveTo>
                  <a:cubicBezTo>
                    <a:pt x="22895" y="113039"/>
                    <a:pt x="0" y="57702"/>
                    <a:pt x="0" y="0"/>
                  </a:cubicBezTo>
                  <a:lnTo>
                    <a:pt x="217539" y="0"/>
                  </a:lnTo>
                  <a:lnTo>
                    <a:pt x="435077" y="0"/>
                  </a:lnTo>
                  <a:cubicBezTo>
                    <a:pt x="435077" y="57702"/>
                    <a:pt x="412154" y="113039"/>
                    <a:pt x="371339" y="153827"/>
                  </a:cubicBezTo>
                  <a:cubicBezTo>
                    <a:pt x="330550" y="194642"/>
                    <a:pt x="275213" y="217539"/>
                    <a:pt x="217539" y="217539"/>
                  </a:cubicBezTo>
                  <a:cubicBezTo>
                    <a:pt x="159836" y="217539"/>
                    <a:pt x="104499" y="194642"/>
                    <a:pt x="63710" y="153827"/>
                  </a:cubicBezTo>
                  <a:close/>
                  <a:moveTo>
                    <a:pt x="63710" y="281277"/>
                  </a:moveTo>
                  <a:cubicBezTo>
                    <a:pt x="22895" y="322066"/>
                    <a:pt x="0" y="377402"/>
                    <a:pt x="0" y="435077"/>
                  </a:cubicBezTo>
                  <a:lnTo>
                    <a:pt x="217539" y="435077"/>
                  </a:lnTo>
                  <a:lnTo>
                    <a:pt x="435077" y="435077"/>
                  </a:lnTo>
                  <a:cubicBezTo>
                    <a:pt x="435077" y="377402"/>
                    <a:pt x="412154" y="322066"/>
                    <a:pt x="371339" y="281277"/>
                  </a:cubicBezTo>
                  <a:cubicBezTo>
                    <a:pt x="330550" y="240462"/>
                    <a:pt x="275213" y="217539"/>
                    <a:pt x="217539" y="217539"/>
                  </a:cubicBezTo>
                  <a:cubicBezTo>
                    <a:pt x="159836" y="217539"/>
                    <a:pt x="104499" y="240462"/>
                    <a:pt x="63710" y="281277"/>
                  </a:cubicBezTo>
                  <a:close/>
                </a:path>
              </a:pathLst>
            </a:custGeom>
            <a:grpFill/>
            <a:ln w="27192" cap="flat">
              <a:noFill/>
              <a:prstDash val="solid"/>
              <a:miter/>
            </a:ln>
          </p:spPr>
          <p:txBody>
            <a:bodyPr rtlCol="0" anchor="ctr"/>
            <a:lstStyle/>
            <a:p>
              <a:endParaRPr lang="uk-UA" sz="900"/>
            </a:p>
          </p:txBody>
        </p:sp>
        <p:sp>
          <p:nvSpPr>
            <p:cNvPr id="417" name="Freeform: Shape 416">
              <a:extLst>
                <a:ext uri="{FF2B5EF4-FFF2-40B4-BE49-F238E27FC236}">
                  <a16:creationId xmlns:a16="http://schemas.microsoft.com/office/drawing/2014/main" id="{99B714BE-4546-8D31-981F-08C990E0881E}"/>
                </a:ext>
              </a:extLst>
            </p:cNvPr>
            <p:cNvSpPr/>
            <p:nvPr/>
          </p:nvSpPr>
          <p:spPr>
            <a:xfrm>
              <a:off x="19109184" y="1154061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418" name="Freeform: Shape 417">
              <a:extLst>
                <a:ext uri="{FF2B5EF4-FFF2-40B4-BE49-F238E27FC236}">
                  <a16:creationId xmlns:a16="http://schemas.microsoft.com/office/drawing/2014/main" id="{96F3CB33-4315-1E2F-5C00-E5C9BF5477ED}"/>
                </a:ext>
              </a:extLst>
            </p:cNvPr>
            <p:cNvSpPr/>
            <p:nvPr/>
          </p:nvSpPr>
          <p:spPr>
            <a:xfrm>
              <a:off x="19979365" y="11540612"/>
              <a:ext cx="435077" cy="435077"/>
            </a:xfrm>
            <a:custGeom>
              <a:avLst/>
              <a:gdLst>
                <a:gd name="connsiteX0" fmla="*/ 435077 w 435077"/>
                <a:gd name="connsiteY0" fmla="*/ 435077 h 435077"/>
                <a:gd name="connsiteX1" fmla="*/ 435077 w 435077"/>
                <a:gd name="connsiteY1" fmla="*/ 0 h 435077"/>
                <a:gd name="connsiteX2" fmla="*/ 217539 w 435077"/>
                <a:gd name="connsiteY2" fmla="*/ 217566 h 435077"/>
                <a:gd name="connsiteX3" fmla="*/ 435077 w 435077"/>
                <a:gd name="connsiteY3" fmla="*/ 435077 h 435077"/>
                <a:gd name="connsiteX4" fmla="*/ 0 w 435077"/>
                <a:gd name="connsiteY4" fmla="*/ 435077 h 435077"/>
                <a:gd name="connsiteX5" fmla="*/ 0 w 435077"/>
                <a:gd name="connsiteY5" fmla="*/ 0 h 435077"/>
                <a:gd name="connsiteX6" fmla="*/ 217512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39" y="217566"/>
                  </a:lnTo>
                  <a:lnTo>
                    <a:pt x="435077" y="435077"/>
                  </a:lnTo>
                  <a:close/>
                  <a:moveTo>
                    <a:pt x="0" y="435077"/>
                  </a:moveTo>
                  <a:lnTo>
                    <a:pt x="0" y="0"/>
                  </a:lnTo>
                  <a:lnTo>
                    <a:pt x="217512" y="217566"/>
                  </a:lnTo>
                  <a:lnTo>
                    <a:pt x="0" y="435077"/>
                  </a:lnTo>
                  <a:close/>
                </a:path>
              </a:pathLst>
            </a:custGeom>
            <a:grpFill/>
            <a:ln w="27192" cap="flat">
              <a:noFill/>
              <a:prstDash val="solid"/>
              <a:miter/>
            </a:ln>
          </p:spPr>
          <p:txBody>
            <a:bodyPr rtlCol="0" anchor="ctr"/>
            <a:lstStyle/>
            <a:p>
              <a:endParaRPr lang="uk-UA" sz="900"/>
            </a:p>
          </p:txBody>
        </p:sp>
        <p:sp>
          <p:nvSpPr>
            <p:cNvPr id="419" name="Freeform: Shape 418">
              <a:extLst>
                <a:ext uri="{FF2B5EF4-FFF2-40B4-BE49-F238E27FC236}">
                  <a16:creationId xmlns:a16="http://schemas.microsoft.com/office/drawing/2014/main" id="{83CFACE5-4C4D-B806-C97D-8FF0895598F7}"/>
                </a:ext>
              </a:extLst>
            </p:cNvPr>
            <p:cNvSpPr/>
            <p:nvPr/>
          </p:nvSpPr>
          <p:spPr>
            <a:xfrm>
              <a:off x="21719675" y="1154061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5 w 435077"/>
                <a:gd name="connsiteY3" fmla="*/ 27 h 435077"/>
                <a:gd name="connsiteX4" fmla="*/ 435077 w 435077"/>
                <a:gd name="connsiteY4" fmla="*/ 217566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5" y="27"/>
                  </a:lnTo>
                  <a:lnTo>
                    <a:pt x="435077" y="217566"/>
                  </a:lnTo>
                  <a:lnTo>
                    <a:pt x="217565"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420" name="Freeform: Shape 419">
              <a:extLst>
                <a:ext uri="{FF2B5EF4-FFF2-40B4-BE49-F238E27FC236}">
                  <a16:creationId xmlns:a16="http://schemas.microsoft.com/office/drawing/2014/main" id="{BCD5D4C6-20DC-DF15-0989-6F409090EF7A}"/>
                </a:ext>
              </a:extLst>
            </p:cNvPr>
            <p:cNvSpPr/>
            <p:nvPr/>
          </p:nvSpPr>
          <p:spPr>
            <a:xfrm>
              <a:off x="20849520" y="1154061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4" y="113039"/>
                    <a:pt x="371365" y="153827"/>
                  </a:cubicBezTo>
                  <a:cubicBezTo>
                    <a:pt x="330577" y="194642"/>
                    <a:pt x="275241" y="217539"/>
                    <a:pt x="217539" y="217539"/>
                  </a:cubicBezTo>
                  <a:cubicBezTo>
                    <a:pt x="159836"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4" y="322066"/>
                    <a:pt x="371365" y="281277"/>
                  </a:cubicBezTo>
                  <a:cubicBezTo>
                    <a:pt x="330577" y="240462"/>
                    <a:pt x="275241" y="217539"/>
                    <a:pt x="217539" y="217539"/>
                  </a:cubicBezTo>
                  <a:cubicBezTo>
                    <a:pt x="159836" y="217539"/>
                    <a:pt x="104501" y="240462"/>
                    <a:pt x="63712" y="281277"/>
                  </a:cubicBezTo>
                  <a:close/>
                </a:path>
              </a:pathLst>
            </a:custGeom>
            <a:grpFill/>
            <a:ln w="27192" cap="flat">
              <a:noFill/>
              <a:prstDash val="solid"/>
              <a:miter/>
            </a:ln>
          </p:spPr>
          <p:txBody>
            <a:bodyPr rtlCol="0" anchor="ctr"/>
            <a:lstStyle/>
            <a:p>
              <a:endParaRPr lang="uk-UA" sz="900"/>
            </a:p>
          </p:txBody>
        </p:sp>
        <p:sp>
          <p:nvSpPr>
            <p:cNvPr id="421" name="Freeform: Shape 420">
              <a:extLst>
                <a:ext uri="{FF2B5EF4-FFF2-40B4-BE49-F238E27FC236}">
                  <a16:creationId xmlns:a16="http://schemas.microsoft.com/office/drawing/2014/main" id="{48814989-D4FC-14E4-81A5-B4707D6189FE}"/>
                </a:ext>
              </a:extLst>
            </p:cNvPr>
            <p:cNvSpPr/>
            <p:nvPr/>
          </p:nvSpPr>
          <p:spPr>
            <a:xfrm>
              <a:off x="22589856" y="1154061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422" name="Freeform: Shape 421">
              <a:extLst>
                <a:ext uri="{FF2B5EF4-FFF2-40B4-BE49-F238E27FC236}">
                  <a16:creationId xmlns:a16="http://schemas.microsoft.com/office/drawing/2014/main" id="{6B9235E4-4CD6-EE09-21B0-1F3369074C5F}"/>
                </a:ext>
              </a:extLst>
            </p:cNvPr>
            <p:cNvSpPr/>
            <p:nvPr/>
          </p:nvSpPr>
          <p:spPr>
            <a:xfrm>
              <a:off x="23460011" y="11540612"/>
              <a:ext cx="435077" cy="435077"/>
            </a:xfrm>
            <a:custGeom>
              <a:avLst/>
              <a:gdLst>
                <a:gd name="connsiteX0" fmla="*/ 435077 w 435077"/>
                <a:gd name="connsiteY0" fmla="*/ 435077 h 435077"/>
                <a:gd name="connsiteX1" fmla="*/ 435077 w 435077"/>
                <a:gd name="connsiteY1" fmla="*/ 0 h 435077"/>
                <a:gd name="connsiteX2" fmla="*/ 217567 w 435077"/>
                <a:gd name="connsiteY2" fmla="*/ 217566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7" y="217566"/>
                  </a:lnTo>
                  <a:lnTo>
                    <a:pt x="435077" y="435077"/>
                  </a:lnTo>
                  <a:close/>
                  <a:moveTo>
                    <a:pt x="0" y="435077"/>
                  </a:moveTo>
                  <a:lnTo>
                    <a:pt x="0" y="0"/>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423" name="Freeform: Shape 422">
              <a:extLst>
                <a:ext uri="{FF2B5EF4-FFF2-40B4-BE49-F238E27FC236}">
                  <a16:creationId xmlns:a16="http://schemas.microsoft.com/office/drawing/2014/main" id="{6FBFBE83-6CDF-3663-19FD-EA06F70BE729}"/>
                </a:ext>
              </a:extLst>
            </p:cNvPr>
            <p:cNvSpPr/>
            <p:nvPr/>
          </p:nvSpPr>
          <p:spPr>
            <a:xfrm>
              <a:off x="24330194" y="1154061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447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447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235" y="113039"/>
                    <a:pt x="371447" y="153827"/>
                  </a:cubicBezTo>
                  <a:cubicBezTo>
                    <a:pt x="330658" y="194642"/>
                    <a:pt x="275186" y="217539"/>
                    <a:pt x="217539" y="217539"/>
                  </a:cubicBezTo>
                  <a:cubicBezTo>
                    <a:pt x="159836" y="217539"/>
                    <a:pt x="104501" y="194642"/>
                    <a:pt x="63712" y="153827"/>
                  </a:cubicBezTo>
                  <a:close/>
                  <a:moveTo>
                    <a:pt x="63712" y="281277"/>
                  </a:moveTo>
                  <a:cubicBezTo>
                    <a:pt x="22924" y="322066"/>
                    <a:pt x="0" y="377402"/>
                    <a:pt x="0" y="435077"/>
                  </a:cubicBezTo>
                  <a:lnTo>
                    <a:pt x="217539" y="435077"/>
                  </a:lnTo>
                  <a:lnTo>
                    <a:pt x="435077" y="435077"/>
                  </a:lnTo>
                  <a:cubicBezTo>
                    <a:pt x="435077" y="377402"/>
                    <a:pt x="412235" y="322066"/>
                    <a:pt x="371447" y="281277"/>
                  </a:cubicBezTo>
                  <a:cubicBezTo>
                    <a:pt x="330658" y="240462"/>
                    <a:pt x="275186" y="217539"/>
                    <a:pt x="217539" y="217539"/>
                  </a:cubicBezTo>
                  <a:cubicBezTo>
                    <a:pt x="159836" y="217539"/>
                    <a:pt x="104501" y="240462"/>
                    <a:pt x="63712" y="281277"/>
                  </a:cubicBezTo>
                  <a:close/>
                </a:path>
              </a:pathLst>
            </a:custGeom>
            <a:grpFill/>
            <a:ln w="27192" cap="flat">
              <a:noFill/>
              <a:prstDash val="solid"/>
              <a:miter/>
            </a:ln>
          </p:spPr>
          <p:txBody>
            <a:bodyPr rtlCol="0" anchor="ctr"/>
            <a:lstStyle/>
            <a:p>
              <a:endParaRPr lang="uk-UA" sz="900"/>
            </a:p>
          </p:txBody>
        </p:sp>
        <p:sp>
          <p:nvSpPr>
            <p:cNvPr id="424" name="Freeform: Shape 423">
              <a:extLst>
                <a:ext uri="{FF2B5EF4-FFF2-40B4-BE49-F238E27FC236}">
                  <a16:creationId xmlns:a16="http://schemas.microsoft.com/office/drawing/2014/main" id="{F89C5E76-AEDE-8A3C-00B1-F7EA95C67869}"/>
                </a:ext>
              </a:extLst>
            </p:cNvPr>
            <p:cNvSpPr/>
            <p:nvPr/>
          </p:nvSpPr>
          <p:spPr>
            <a:xfrm>
              <a:off x="835742" y="12410767"/>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p>
          </p:txBody>
        </p:sp>
        <p:sp>
          <p:nvSpPr>
            <p:cNvPr id="425" name="Freeform: Shape 424">
              <a:extLst>
                <a:ext uri="{FF2B5EF4-FFF2-40B4-BE49-F238E27FC236}">
                  <a16:creationId xmlns:a16="http://schemas.microsoft.com/office/drawing/2014/main" id="{5F8087F0-757F-2204-6A33-133776A9A7ED}"/>
                </a:ext>
              </a:extLst>
            </p:cNvPr>
            <p:cNvSpPr/>
            <p:nvPr/>
          </p:nvSpPr>
          <p:spPr>
            <a:xfrm>
              <a:off x="-34409" y="12410767"/>
              <a:ext cx="435074" cy="435104"/>
            </a:xfrm>
            <a:custGeom>
              <a:avLst/>
              <a:gdLst>
                <a:gd name="connsiteX0" fmla="*/ 0 w 435074"/>
                <a:gd name="connsiteY0" fmla="*/ 435077 h 435104"/>
                <a:gd name="connsiteX1" fmla="*/ 217536 w 435074"/>
                <a:gd name="connsiteY1" fmla="*/ 435077 h 435104"/>
                <a:gd name="connsiteX2" fmla="*/ 217536 w 435074"/>
                <a:gd name="connsiteY2" fmla="*/ 217566 h 435104"/>
                <a:gd name="connsiteX3" fmla="*/ 0 w 435074"/>
                <a:gd name="connsiteY3" fmla="*/ 435077 h 435104"/>
                <a:gd name="connsiteX4" fmla="*/ 217536 w 435074"/>
                <a:gd name="connsiteY4" fmla="*/ 0 h 435104"/>
                <a:gd name="connsiteX5" fmla="*/ 3 w 435074"/>
                <a:gd name="connsiteY5" fmla="*/ 0 h 435104"/>
                <a:gd name="connsiteX6" fmla="*/ 217536 w 435074"/>
                <a:gd name="connsiteY6" fmla="*/ 217539 h 435104"/>
                <a:gd name="connsiteX7" fmla="*/ 217536 w 435074"/>
                <a:gd name="connsiteY7" fmla="*/ 0 h 435104"/>
                <a:gd name="connsiteX8" fmla="*/ 435075 w 435074"/>
                <a:gd name="connsiteY8" fmla="*/ 435105 h 435104"/>
                <a:gd name="connsiteX9" fmla="*/ 217536 w 435074"/>
                <a:gd name="connsiteY9" fmla="*/ 435105 h 435104"/>
                <a:gd name="connsiteX10" fmla="*/ 435075 w 435074"/>
                <a:gd name="connsiteY10" fmla="*/ 217566 h 435104"/>
                <a:gd name="connsiteX11" fmla="*/ 435075 w 435074"/>
                <a:gd name="connsiteY11" fmla="*/ 435105 h 435104"/>
                <a:gd name="connsiteX12" fmla="*/ 435075 w 435074"/>
                <a:gd name="connsiteY12" fmla="*/ 27 h 435104"/>
                <a:gd name="connsiteX13" fmla="*/ 217536 w 435074"/>
                <a:gd name="connsiteY13" fmla="*/ 27 h 435104"/>
                <a:gd name="connsiteX14" fmla="*/ 435075 w 435074"/>
                <a:gd name="connsiteY14" fmla="*/ 217539 h 435104"/>
                <a:gd name="connsiteX15" fmla="*/ 435075 w 435074"/>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4" h="435104">
                  <a:moveTo>
                    <a:pt x="0" y="435077"/>
                  </a:moveTo>
                  <a:lnTo>
                    <a:pt x="217536" y="435077"/>
                  </a:lnTo>
                  <a:lnTo>
                    <a:pt x="217536" y="217566"/>
                  </a:lnTo>
                  <a:lnTo>
                    <a:pt x="0" y="435077"/>
                  </a:lnTo>
                  <a:close/>
                  <a:moveTo>
                    <a:pt x="217536" y="0"/>
                  </a:moveTo>
                  <a:lnTo>
                    <a:pt x="3" y="0"/>
                  </a:lnTo>
                  <a:lnTo>
                    <a:pt x="217536" y="217539"/>
                  </a:lnTo>
                  <a:lnTo>
                    <a:pt x="217536" y="0"/>
                  </a:lnTo>
                  <a:close/>
                  <a:moveTo>
                    <a:pt x="435075" y="435105"/>
                  </a:moveTo>
                  <a:lnTo>
                    <a:pt x="217536" y="435105"/>
                  </a:lnTo>
                  <a:lnTo>
                    <a:pt x="435075" y="217566"/>
                  </a:lnTo>
                  <a:lnTo>
                    <a:pt x="435075" y="435105"/>
                  </a:lnTo>
                  <a:close/>
                  <a:moveTo>
                    <a:pt x="435075" y="27"/>
                  </a:moveTo>
                  <a:lnTo>
                    <a:pt x="217536" y="27"/>
                  </a:lnTo>
                  <a:lnTo>
                    <a:pt x="435075" y="217539"/>
                  </a:lnTo>
                  <a:lnTo>
                    <a:pt x="435075" y="27"/>
                  </a:lnTo>
                  <a:close/>
                </a:path>
              </a:pathLst>
            </a:custGeom>
            <a:grpFill/>
            <a:ln w="27192" cap="flat">
              <a:noFill/>
              <a:prstDash val="solid"/>
              <a:miter/>
            </a:ln>
          </p:spPr>
          <p:txBody>
            <a:bodyPr rtlCol="0" anchor="ctr"/>
            <a:lstStyle/>
            <a:p>
              <a:endParaRPr lang="uk-UA" sz="900"/>
            </a:p>
          </p:txBody>
        </p:sp>
        <p:sp>
          <p:nvSpPr>
            <p:cNvPr id="426" name="Freeform: Shape 425">
              <a:extLst>
                <a:ext uri="{FF2B5EF4-FFF2-40B4-BE49-F238E27FC236}">
                  <a16:creationId xmlns:a16="http://schemas.microsoft.com/office/drawing/2014/main" id="{1E703ECD-8C5D-FD2A-474D-9C89D58A47AE}"/>
                </a:ext>
              </a:extLst>
            </p:cNvPr>
            <p:cNvSpPr/>
            <p:nvPr/>
          </p:nvSpPr>
          <p:spPr>
            <a:xfrm>
              <a:off x="1705924" y="12410767"/>
              <a:ext cx="435077" cy="435077"/>
            </a:xfrm>
            <a:custGeom>
              <a:avLst/>
              <a:gdLst>
                <a:gd name="connsiteX0" fmla="*/ 371366 w 435077"/>
                <a:gd name="connsiteY0" fmla="*/ 63739 h 435077"/>
                <a:gd name="connsiteX1" fmla="*/ 435077 w 435077"/>
                <a:gd name="connsiteY1" fmla="*/ 217539 h 435077"/>
                <a:gd name="connsiteX2" fmla="*/ 217702 w 435077"/>
                <a:gd name="connsiteY2" fmla="*/ 217539 h 435077"/>
                <a:gd name="connsiteX3" fmla="*/ 371366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1 w 435077"/>
                <a:gd name="connsiteY7" fmla="*/ 281277 h 435077"/>
                <a:gd name="connsiteX8" fmla="*/ 217375 w 435077"/>
                <a:gd name="connsiteY8" fmla="*/ 217539 h 435077"/>
                <a:gd name="connsiteX9" fmla="*/ 0 w 435077"/>
                <a:gd name="connsiteY9" fmla="*/ 217539 h 435077"/>
                <a:gd name="connsiteX10" fmla="*/ 63711 w 435077"/>
                <a:gd name="connsiteY10" fmla="*/ 63739 h 435077"/>
                <a:gd name="connsiteX11" fmla="*/ 217539 w 435077"/>
                <a:gd name="connsiteY11" fmla="*/ 0 h 435077"/>
                <a:gd name="connsiteX12" fmla="*/ 371366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39"/>
                  </a:moveTo>
                  <a:cubicBezTo>
                    <a:pt x="412154" y="104527"/>
                    <a:pt x="435077" y="159864"/>
                    <a:pt x="435077" y="217539"/>
                  </a:cubicBezTo>
                  <a:lnTo>
                    <a:pt x="217702" y="217539"/>
                  </a:lnTo>
                  <a:cubicBezTo>
                    <a:pt x="275349" y="217593"/>
                    <a:pt x="330604" y="240516"/>
                    <a:pt x="371366" y="281277"/>
                  </a:cubicBezTo>
                  <a:cubicBezTo>
                    <a:pt x="412154" y="322066"/>
                    <a:pt x="435077" y="377402"/>
                    <a:pt x="435077" y="435077"/>
                  </a:cubicBezTo>
                  <a:lnTo>
                    <a:pt x="217539" y="435077"/>
                  </a:lnTo>
                  <a:lnTo>
                    <a:pt x="0" y="435077"/>
                  </a:lnTo>
                  <a:cubicBezTo>
                    <a:pt x="0" y="377402"/>
                    <a:pt x="22923" y="322066"/>
                    <a:pt x="63711" y="281277"/>
                  </a:cubicBezTo>
                  <a:cubicBezTo>
                    <a:pt x="104473" y="240516"/>
                    <a:pt x="159728" y="217593"/>
                    <a:pt x="217375" y="217539"/>
                  </a:cubicBezTo>
                  <a:lnTo>
                    <a:pt x="0" y="217539"/>
                  </a:lnTo>
                  <a:cubicBezTo>
                    <a:pt x="0" y="159864"/>
                    <a:pt x="22923" y="104527"/>
                    <a:pt x="63711" y="63739"/>
                  </a:cubicBezTo>
                  <a:cubicBezTo>
                    <a:pt x="104500" y="22923"/>
                    <a:pt x="159836" y="0"/>
                    <a:pt x="217539" y="0"/>
                  </a:cubicBezTo>
                  <a:cubicBezTo>
                    <a:pt x="275213" y="0"/>
                    <a:pt x="330550" y="22923"/>
                    <a:pt x="371366" y="63739"/>
                  </a:cubicBezTo>
                  <a:close/>
                </a:path>
              </a:pathLst>
            </a:custGeom>
            <a:grpFill/>
            <a:ln w="27192" cap="flat">
              <a:noFill/>
              <a:prstDash val="solid"/>
              <a:miter/>
            </a:ln>
          </p:spPr>
          <p:txBody>
            <a:bodyPr rtlCol="0" anchor="ctr"/>
            <a:lstStyle/>
            <a:p>
              <a:endParaRPr lang="uk-UA" sz="900"/>
            </a:p>
          </p:txBody>
        </p:sp>
        <p:sp>
          <p:nvSpPr>
            <p:cNvPr id="427" name="Freeform: Shape 426">
              <a:extLst>
                <a:ext uri="{FF2B5EF4-FFF2-40B4-BE49-F238E27FC236}">
                  <a16:creationId xmlns:a16="http://schemas.microsoft.com/office/drawing/2014/main" id="{83365365-63F4-705F-B80D-96BE6CD7288B}"/>
                </a:ext>
              </a:extLst>
            </p:cNvPr>
            <p:cNvSpPr/>
            <p:nvPr/>
          </p:nvSpPr>
          <p:spPr>
            <a:xfrm>
              <a:off x="2576079" y="12410767"/>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428" name="Freeform: Shape 427">
              <a:extLst>
                <a:ext uri="{FF2B5EF4-FFF2-40B4-BE49-F238E27FC236}">
                  <a16:creationId xmlns:a16="http://schemas.microsoft.com/office/drawing/2014/main" id="{39CFB1E6-1B43-BAAC-AFAF-3201410DB982}"/>
                </a:ext>
              </a:extLst>
            </p:cNvPr>
            <p:cNvSpPr/>
            <p:nvPr/>
          </p:nvSpPr>
          <p:spPr>
            <a:xfrm>
              <a:off x="4316416" y="12410767"/>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429" name="Freeform: Shape 428">
              <a:extLst>
                <a:ext uri="{FF2B5EF4-FFF2-40B4-BE49-F238E27FC236}">
                  <a16:creationId xmlns:a16="http://schemas.microsoft.com/office/drawing/2014/main" id="{F3BAB95C-A362-7F05-EC00-82F505D1AA00}"/>
                </a:ext>
              </a:extLst>
            </p:cNvPr>
            <p:cNvSpPr/>
            <p:nvPr/>
          </p:nvSpPr>
          <p:spPr>
            <a:xfrm>
              <a:off x="3446261" y="12410767"/>
              <a:ext cx="435077" cy="435104"/>
            </a:xfrm>
            <a:custGeom>
              <a:avLst/>
              <a:gdLst>
                <a:gd name="connsiteX0" fmla="*/ 0 w 435077"/>
                <a:gd name="connsiteY0" fmla="*/ 435077 h 435104"/>
                <a:gd name="connsiteX1" fmla="*/ 217512 w 435077"/>
                <a:gd name="connsiteY1" fmla="*/ 435077 h 435104"/>
                <a:gd name="connsiteX2" fmla="*/ 217512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12" y="435077"/>
                  </a:lnTo>
                  <a:lnTo>
                    <a:pt x="217512"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430" name="Freeform: Shape 429">
              <a:extLst>
                <a:ext uri="{FF2B5EF4-FFF2-40B4-BE49-F238E27FC236}">
                  <a16:creationId xmlns:a16="http://schemas.microsoft.com/office/drawing/2014/main" id="{BD5F0627-9F9A-DEE3-FC99-082759273172}"/>
                </a:ext>
              </a:extLst>
            </p:cNvPr>
            <p:cNvSpPr/>
            <p:nvPr/>
          </p:nvSpPr>
          <p:spPr>
            <a:xfrm>
              <a:off x="5186571" y="12410767"/>
              <a:ext cx="435103" cy="435077"/>
            </a:xfrm>
            <a:custGeom>
              <a:avLst/>
              <a:gdLst>
                <a:gd name="connsiteX0" fmla="*/ 371365 w 435103"/>
                <a:gd name="connsiteY0" fmla="*/ 63739 h 435077"/>
                <a:gd name="connsiteX1" fmla="*/ 435077 w 435103"/>
                <a:gd name="connsiteY1" fmla="*/ 217539 h 435077"/>
                <a:gd name="connsiteX2" fmla="*/ 217729 w 435103"/>
                <a:gd name="connsiteY2" fmla="*/ 217539 h 435077"/>
                <a:gd name="connsiteX3" fmla="*/ 371365 w 435103"/>
                <a:gd name="connsiteY3" fmla="*/ 281277 h 435077"/>
                <a:gd name="connsiteX4" fmla="*/ 435104 w 435103"/>
                <a:gd name="connsiteY4" fmla="*/ 435077 h 435077"/>
                <a:gd name="connsiteX5" fmla="*/ 217565 w 435103"/>
                <a:gd name="connsiteY5" fmla="*/ 435077 h 435077"/>
                <a:gd name="connsiteX6" fmla="*/ 27 w 435103"/>
                <a:gd name="connsiteY6" fmla="*/ 435077 h 435077"/>
                <a:gd name="connsiteX7" fmla="*/ 63739 w 435103"/>
                <a:gd name="connsiteY7" fmla="*/ 281277 h 435077"/>
                <a:gd name="connsiteX8" fmla="*/ 217375 w 435103"/>
                <a:gd name="connsiteY8" fmla="*/ 217539 h 435077"/>
                <a:gd name="connsiteX9" fmla="*/ 0 w 435103"/>
                <a:gd name="connsiteY9" fmla="*/ 217539 h 435077"/>
                <a:gd name="connsiteX10" fmla="*/ 63739 w 435103"/>
                <a:gd name="connsiteY10" fmla="*/ 63739 h 435077"/>
                <a:gd name="connsiteX11" fmla="*/ 217539 w 435103"/>
                <a:gd name="connsiteY11" fmla="*/ 0 h 435077"/>
                <a:gd name="connsiteX12" fmla="*/ 371365 w 435103"/>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03" h="435077">
                  <a:moveTo>
                    <a:pt x="371365" y="63739"/>
                  </a:moveTo>
                  <a:cubicBezTo>
                    <a:pt x="412181" y="104527"/>
                    <a:pt x="435077" y="159864"/>
                    <a:pt x="435077" y="217539"/>
                  </a:cubicBezTo>
                  <a:lnTo>
                    <a:pt x="217729" y="217539"/>
                  </a:lnTo>
                  <a:cubicBezTo>
                    <a:pt x="275349" y="217593"/>
                    <a:pt x="330632" y="240516"/>
                    <a:pt x="371365" y="281277"/>
                  </a:cubicBezTo>
                  <a:cubicBezTo>
                    <a:pt x="412181" y="322066"/>
                    <a:pt x="435104" y="377402"/>
                    <a:pt x="435104" y="435077"/>
                  </a:cubicBezTo>
                  <a:lnTo>
                    <a:pt x="217565" y="435077"/>
                  </a:lnTo>
                  <a:lnTo>
                    <a:pt x="27" y="435077"/>
                  </a:lnTo>
                  <a:cubicBezTo>
                    <a:pt x="27" y="377402"/>
                    <a:pt x="22923" y="322066"/>
                    <a:pt x="63739" y="281277"/>
                  </a:cubicBezTo>
                  <a:cubicBezTo>
                    <a:pt x="104500" y="240516"/>
                    <a:pt x="159755" y="217593"/>
                    <a:pt x="217375" y="217539"/>
                  </a:cubicBezTo>
                  <a:lnTo>
                    <a:pt x="0" y="217539"/>
                  </a:lnTo>
                  <a:cubicBezTo>
                    <a:pt x="0" y="159864"/>
                    <a:pt x="22923" y="104527"/>
                    <a:pt x="63739" y="63739"/>
                  </a:cubicBezTo>
                  <a:cubicBezTo>
                    <a:pt x="104527" y="22923"/>
                    <a:pt x="159864" y="0"/>
                    <a:pt x="217539" y="0"/>
                  </a:cubicBezTo>
                  <a:cubicBezTo>
                    <a:pt x="275240" y="0"/>
                    <a:pt x="330577" y="22923"/>
                    <a:pt x="371365" y="63739"/>
                  </a:cubicBezTo>
                  <a:close/>
                </a:path>
              </a:pathLst>
            </a:custGeom>
            <a:grpFill/>
            <a:ln w="27192" cap="flat">
              <a:noFill/>
              <a:prstDash val="solid"/>
              <a:miter/>
            </a:ln>
          </p:spPr>
          <p:txBody>
            <a:bodyPr rtlCol="0" anchor="ctr"/>
            <a:lstStyle/>
            <a:p>
              <a:endParaRPr lang="uk-UA" sz="900"/>
            </a:p>
          </p:txBody>
        </p:sp>
        <p:sp>
          <p:nvSpPr>
            <p:cNvPr id="431" name="Freeform: Shape 430">
              <a:extLst>
                <a:ext uri="{FF2B5EF4-FFF2-40B4-BE49-F238E27FC236}">
                  <a16:creationId xmlns:a16="http://schemas.microsoft.com/office/drawing/2014/main" id="{ADAB8359-80C9-D2C6-4605-38BF15777E2D}"/>
                </a:ext>
              </a:extLst>
            </p:cNvPr>
            <p:cNvSpPr/>
            <p:nvPr/>
          </p:nvSpPr>
          <p:spPr>
            <a:xfrm>
              <a:off x="6056725" y="12410767"/>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432" name="Freeform: Shape 431">
              <a:extLst>
                <a:ext uri="{FF2B5EF4-FFF2-40B4-BE49-F238E27FC236}">
                  <a16:creationId xmlns:a16="http://schemas.microsoft.com/office/drawing/2014/main" id="{EE7FFEF2-69C8-9CDE-6B58-E389DF727A1B}"/>
                </a:ext>
              </a:extLst>
            </p:cNvPr>
            <p:cNvSpPr/>
            <p:nvPr/>
          </p:nvSpPr>
          <p:spPr>
            <a:xfrm>
              <a:off x="7797062" y="12410767"/>
              <a:ext cx="435077" cy="435077"/>
            </a:xfrm>
            <a:custGeom>
              <a:avLst/>
              <a:gdLst>
                <a:gd name="connsiteX0" fmla="*/ 217539 w 435077"/>
                <a:gd name="connsiteY0" fmla="*/ 0 h 435077"/>
                <a:gd name="connsiteX1" fmla="*/ 217539 w 435077"/>
                <a:gd name="connsiteY1" fmla="*/ 0 h 435077"/>
                <a:gd name="connsiteX2" fmla="*/ 0 w 435077"/>
                <a:gd name="connsiteY2" fmla="*/ 0 h 435077"/>
                <a:gd name="connsiteX3" fmla="*/ 0 w 435077"/>
                <a:gd name="connsiteY3" fmla="*/ 217539 h 435077"/>
                <a:gd name="connsiteX4" fmla="*/ 217539 w 435077"/>
                <a:gd name="connsiteY4" fmla="*/ 27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217539" y="0"/>
                  </a:lnTo>
                  <a:lnTo>
                    <a:pt x="0" y="0"/>
                  </a:lnTo>
                  <a:lnTo>
                    <a:pt x="0" y="217539"/>
                  </a:lnTo>
                  <a:lnTo>
                    <a:pt x="217539" y="27"/>
                  </a:lnTo>
                  <a:lnTo>
                    <a:pt x="435077" y="217539"/>
                  </a:lnTo>
                  <a:lnTo>
                    <a:pt x="217539" y="435077"/>
                  </a:lnTo>
                  <a:lnTo>
                    <a:pt x="0" y="217539"/>
                  </a:lnTo>
                  <a:lnTo>
                    <a:pt x="0" y="435077"/>
                  </a:lnTo>
                  <a:lnTo>
                    <a:pt x="217539" y="435077"/>
                  </a:lnTo>
                  <a:lnTo>
                    <a:pt x="435077" y="435077"/>
                  </a:lnTo>
                  <a:lnTo>
                    <a:pt x="435077" y="217539"/>
                  </a:lnTo>
                  <a:lnTo>
                    <a:pt x="435077" y="0"/>
                  </a:lnTo>
                  <a:lnTo>
                    <a:pt x="217539" y="0"/>
                  </a:lnTo>
                  <a:close/>
                </a:path>
              </a:pathLst>
            </a:custGeom>
            <a:grpFill/>
            <a:ln w="27192" cap="flat">
              <a:noFill/>
              <a:prstDash val="solid"/>
              <a:miter/>
            </a:ln>
          </p:spPr>
          <p:txBody>
            <a:bodyPr rtlCol="0" anchor="ctr"/>
            <a:lstStyle/>
            <a:p>
              <a:endParaRPr lang="uk-UA" sz="900"/>
            </a:p>
          </p:txBody>
        </p:sp>
        <p:sp>
          <p:nvSpPr>
            <p:cNvPr id="433" name="Freeform: Shape 432">
              <a:extLst>
                <a:ext uri="{FF2B5EF4-FFF2-40B4-BE49-F238E27FC236}">
                  <a16:creationId xmlns:a16="http://schemas.microsoft.com/office/drawing/2014/main" id="{BB1E0588-734F-1BFD-7B40-0A83004394B4}"/>
                </a:ext>
              </a:extLst>
            </p:cNvPr>
            <p:cNvSpPr/>
            <p:nvPr/>
          </p:nvSpPr>
          <p:spPr>
            <a:xfrm>
              <a:off x="6926907" y="12410767"/>
              <a:ext cx="435077" cy="435104"/>
            </a:xfrm>
            <a:custGeom>
              <a:avLst/>
              <a:gdLst>
                <a:gd name="connsiteX0" fmla="*/ 0 w 435077"/>
                <a:gd name="connsiteY0" fmla="*/ 435077 h 435104"/>
                <a:gd name="connsiteX1" fmla="*/ 217512 w 435077"/>
                <a:gd name="connsiteY1" fmla="*/ 435077 h 435104"/>
                <a:gd name="connsiteX2" fmla="*/ 217512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12" y="435077"/>
                  </a:lnTo>
                  <a:lnTo>
                    <a:pt x="217512"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434" name="Freeform: Shape 433">
              <a:extLst>
                <a:ext uri="{FF2B5EF4-FFF2-40B4-BE49-F238E27FC236}">
                  <a16:creationId xmlns:a16="http://schemas.microsoft.com/office/drawing/2014/main" id="{842012C6-2E2D-1136-021F-939FA9D7722F}"/>
                </a:ext>
              </a:extLst>
            </p:cNvPr>
            <p:cNvSpPr/>
            <p:nvPr/>
          </p:nvSpPr>
          <p:spPr>
            <a:xfrm>
              <a:off x="8667217" y="12410767"/>
              <a:ext cx="435077" cy="435077"/>
            </a:xfrm>
            <a:custGeom>
              <a:avLst/>
              <a:gdLst>
                <a:gd name="connsiteX0" fmla="*/ 371366 w 435077"/>
                <a:gd name="connsiteY0" fmla="*/ 63739 h 435077"/>
                <a:gd name="connsiteX1" fmla="*/ 435077 w 435077"/>
                <a:gd name="connsiteY1" fmla="*/ 217539 h 435077"/>
                <a:gd name="connsiteX2" fmla="*/ 217702 w 435077"/>
                <a:gd name="connsiteY2" fmla="*/ 217539 h 435077"/>
                <a:gd name="connsiteX3" fmla="*/ 371366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6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6" y="63739"/>
                  </a:moveTo>
                  <a:cubicBezTo>
                    <a:pt x="412155" y="104527"/>
                    <a:pt x="435077" y="159864"/>
                    <a:pt x="435077" y="217539"/>
                  </a:cubicBezTo>
                  <a:lnTo>
                    <a:pt x="217702" y="217539"/>
                  </a:lnTo>
                  <a:cubicBezTo>
                    <a:pt x="275350" y="217593"/>
                    <a:pt x="330605" y="240516"/>
                    <a:pt x="371366" y="281277"/>
                  </a:cubicBezTo>
                  <a:cubicBezTo>
                    <a:pt x="412155" y="322066"/>
                    <a:pt x="435077" y="377402"/>
                    <a:pt x="435077" y="435077"/>
                  </a:cubicBezTo>
                  <a:lnTo>
                    <a:pt x="217539" y="435077"/>
                  </a:lnTo>
                  <a:lnTo>
                    <a:pt x="0" y="435077"/>
                  </a:lnTo>
                  <a:cubicBezTo>
                    <a:pt x="0" y="377402"/>
                    <a:pt x="22924" y="322066"/>
                    <a:pt x="63712" y="281277"/>
                  </a:cubicBezTo>
                  <a:cubicBezTo>
                    <a:pt x="104473" y="240516"/>
                    <a:pt x="159728" y="217593"/>
                    <a:pt x="217376" y="217539"/>
                  </a:cubicBezTo>
                  <a:lnTo>
                    <a:pt x="0" y="217539"/>
                  </a:lnTo>
                  <a:cubicBezTo>
                    <a:pt x="0" y="159864"/>
                    <a:pt x="22924" y="104527"/>
                    <a:pt x="63712" y="63739"/>
                  </a:cubicBezTo>
                  <a:cubicBezTo>
                    <a:pt x="104501" y="22923"/>
                    <a:pt x="159837" y="0"/>
                    <a:pt x="217539" y="0"/>
                  </a:cubicBezTo>
                  <a:cubicBezTo>
                    <a:pt x="275241" y="0"/>
                    <a:pt x="330550" y="22923"/>
                    <a:pt x="371366" y="63739"/>
                  </a:cubicBezTo>
                  <a:close/>
                </a:path>
              </a:pathLst>
            </a:custGeom>
            <a:grpFill/>
            <a:ln w="27192" cap="flat">
              <a:noFill/>
              <a:prstDash val="solid"/>
              <a:miter/>
            </a:ln>
          </p:spPr>
          <p:txBody>
            <a:bodyPr rtlCol="0" anchor="ctr"/>
            <a:lstStyle/>
            <a:p>
              <a:endParaRPr lang="uk-UA" sz="900"/>
            </a:p>
          </p:txBody>
        </p:sp>
        <p:sp>
          <p:nvSpPr>
            <p:cNvPr id="435" name="Freeform: Shape 434">
              <a:extLst>
                <a:ext uri="{FF2B5EF4-FFF2-40B4-BE49-F238E27FC236}">
                  <a16:creationId xmlns:a16="http://schemas.microsoft.com/office/drawing/2014/main" id="{AA92DD2D-A664-EBF9-A4F2-9277440596CB}"/>
                </a:ext>
              </a:extLst>
            </p:cNvPr>
            <p:cNvSpPr/>
            <p:nvPr/>
          </p:nvSpPr>
          <p:spPr>
            <a:xfrm>
              <a:off x="9537371" y="12410767"/>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27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66 h 435077"/>
                <a:gd name="connsiteX9" fmla="*/ 435077 w 435077"/>
                <a:gd name="connsiteY9" fmla="*/ 217566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27"/>
                  </a:lnTo>
                  <a:lnTo>
                    <a:pt x="435077" y="217539"/>
                  </a:lnTo>
                  <a:lnTo>
                    <a:pt x="435077" y="217539"/>
                  </a:lnTo>
                  <a:lnTo>
                    <a:pt x="435077" y="217539"/>
                  </a:lnTo>
                  <a:lnTo>
                    <a:pt x="435077" y="217566"/>
                  </a:lnTo>
                  <a:lnTo>
                    <a:pt x="435077" y="217566"/>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436" name="Freeform: Shape 435">
              <a:extLst>
                <a:ext uri="{FF2B5EF4-FFF2-40B4-BE49-F238E27FC236}">
                  <a16:creationId xmlns:a16="http://schemas.microsoft.com/office/drawing/2014/main" id="{D29BFB37-E88C-892D-10FB-9141CE42CD82}"/>
                </a:ext>
              </a:extLst>
            </p:cNvPr>
            <p:cNvSpPr/>
            <p:nvPr/>
          </p:nvSpPr>
          <p:spPr>
            <a:xfrm>
              <a:off x="11277681" y="12410767"/>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0 w 435077"/>
                <a:gd name="connsiteY3" fmla="*/ 435077 h 435077"/>
                <a:gd name="connsiteX4" fmla="*/ 217539 w 435077"/>
                <a:gd name="connsiteY4" fmla="*/ 435077 h 435077"/>
                <a:gd name="connsiteX5" fmla="*/ 435077 w 435077"/>
                <a:gd name="connsiteY5" fmla="*/ 435077 h 435077"/>
                <a:gd name="connsiteX6" fmla="*/ 435077 w 435077"/>
                <a:gd name="connsiteY6" fmla="*/ 217539 h 435077"/>
                <a:gd name="connsiteX7" fmla="*/ 435077 w 435077"/>
                <a:gd name="connsiteY7" fmla="*/ 0 h 435077"/>
                <a:gd name="connsiteX8" fmla="*/ 217539 w 435077"/>
                <a:gd name="connsiteY8" fmla="*/ 0 h 435077"/>
                <a:gd name="connsiteX9" fmla="*/ 217539 w 435077"/>
                <a:gd name="connsiteY9" fmla="*/ 0 h 435077"/>
                <a:gd name="connsiteX10" fmla="*/ 435077 w 435077"/>
                <a:gd name="connsiteY10" fmla="*/ 217539 h 435077"/>
                <a:gd name="connsiteX11" fmla="*/ 217539 w 435077"/>
                <a:gd name="connsiteY11" fmla="*/ 435077 h 435077"/>
                <a:gd name="connsiteX12" fmla="*/ 0 w 435077"/>
                <a:gd name="connsiteY12" fmla="*/ 217539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0" y="0"/>
                  </a:lnTo>
                  <a:lnTo>
                    <a:pt x="0" y="217539"/>
                  </a:lnTo>
                  <a:lnTo>
                    <a:pt x="0" y="435077"/>
                  </a:lnTo>
                  <a:lnTo>
                    <a:pt x="217539" y="435077"/>
                  </a:lnTo>
                  <a:lnTo>
                    <a:pt x="435077" y="435077"/>
                  </a:lnTo>
                  <a:lnTo>
                    <a:pt x="435077" y="217539"/>
                  </a:lnTo>
                  <a:lnTo>
                    <a:pt x="435077" y="0"/>
                  </a:lnTo>
                  <a:lnTo>
                    <a:pt x="217539" y="0"/>
                  </a:lnTo>
                  <a:close/>
                  <a:moveTo>
                    <a:pt x="217539" y="0"/>
                  </a:moveTo>
                  <a:lnTo>
                    <a:pt x="435077" y="217539"/>
                  </a:lnTo>
                  <a:lnTo>
                    <a:pt x="217539" y="435077"/>
                  </a:lnTo>
                  <a:lnTo>
                    <a:pt x="0" y="217539"/>
                  </a:lnTo>
                  <a:lnTo>
                    <a:pt x="217539" y="0"/>
                  </a:lnTo>
                  <a:close/>
                </a:path>
              </a:pathLst>
            </a:custGeom>
            <a:grpFill/>
            <a:ln w="27192" cap="flat">
              <a:noFill/>
              <a:prstDash val="solid"/>
              <a:miter/>
            </a:ln>
          </p:spPr>
          <p:txBody>
            <a:bodyPr rtlCol="0" anchor="ctr"/>
            <a:lstStyle/>
            <a:p>
              <a:endParaRPr lang="uk-UA" sz="900"/>
            </a:p>
          </p:txBody>
        </p:sp>
        <p:sp>
          <p:nvSpPr>
            <p:cNvPr id="437" name="Freeform: Shape 436">
              <a:extLst>
                <a:ext uri="{FF2B5EF4-FFF2-40B4-BE49-F238E27FC236}">
                  <a16:creationId xmlns:a16="http://schemas.microsoft.com/office/drawing/2014/main" id="{9F95CE21-CA42-1077-9E96-502E71407A9C}"/>
                </a:ext>
              </a:extLst>
            </p:cNvPr>
            <p:cNvSpPr/>
            <p:nvPr/>
          </p:nvSpPr>
          <p:spPr>
            <a:xfrm>
              <a:off x="10407526" y="12410767"/>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438" name="Freeform: Shape 437">
              <a:extLst>
                <a:ext uri="{FF2B5EF4-FFF2-40B4-BE49-F238E27FC236}">
                  <a16:creationId xmlns:a16="http://schemas.microsoft.com/office/drawing/2014/main" id="{8195BCB8-D287-269B-E82B-6589B1930EF2}"/>
                </a:ext>
              </a:extLst>
            </p:cNvPr>
            <p:cNvSpPr/>
            <p:nvPr/>
          </p:nvSpPr>
          <p:spPr>
            <a:xfrm>
              <a:off x="12147864" y="12410767"/>
              <a:ext cx="435077" cy="435077"/>
            </a:xfrm>
            <a:custGeom>
              <a:avLst/>
              <a:gdLst>
                <a:gd name="connsiteX0" fmla="*/ 371365 w 435077"/>
                <a:gd name="connsiteY0" fmla="*/ 63739 h 435077"/>
                <a:gd name="connsiteX1" fmla="*/ 435077 w 435077"/>
                <a:gd name="connsiteY1" fmla="*/ 217539 h 435077"/>
                <a:gd name="connsiteX2" fmla="*/ 217701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0 w 435077"/>
                <a:gd name="connsiteY7" fmla="*/ 281277 h 435077"/>
                <a:gd name="connsiteX8" fmla="*/ 217374 w 435077"/>
                <a:gd name="connsiteY8" fmla="*/ 217539 h 435077"/>
                <a:gd name="connsiteX9" fmla="*/ 0 w 435077"/>
                <a:gd name="connsiteY9" fmla="*/ 217539 h 435077"/>
                <a:gd name="connsiteX10" fmla="*/ 63710 w 435077"/>
                <a:gd name="connsiteY10" fmla="*/ 63739 h 435077"/>
                <a:gd name="connsiteX11" fmla="*/ 217539 w 435077"/>
                <a:gd name="connsiteY11" fmla="*/ 0 h 435077"/>
                <a:gd name="connsiteX12" fmla="*/ 371365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39"/>
                  </a:moveTo>
                  <a:cubicBezTo>
                    <a:pt x="412154" y="104527"/>
                    <a:pt x="435077" y="159864"/>
                    <a:pt x="435077" y="217539"/>
                  </a:cubicBezTo>
                  <a:lnTo>
                    <a:pt x="217701" y="217539"/>
                  </a:lnTo>
                  <a:cubicBezTo>
                    <a:pt x="275349" y="217593"/>
                    <a:pt x="330603" y="240516"/>
                    <a:pt x="371365" y="281277"/>
                  </a:cubicBezTo>
                  <a:cubicBezTo>
                    <a:pt x="412154" y="322066"/>
                    <a:pt x="435077" y="377402"/>
                    <a:pt x="435077" y="435077"/>
                  </a:cubicBezTo>
                  <a:lnTo>
                    <a:pt x="217539" y="435077"/>
                  </a:lnTo>
                  <a:lnTo>
                    <a:pt x="0" y="435077"/>
                  </a:lnTo>
                  <a:cubicBezTo>
                    <a:pt x="0" y="377402"/>
                    <a:pt x="22922" y="322066"/>
                    <a:pt x="63710" y="281277"/>
                  </a:cubicBezTo>
                  <a:cubicBezTo>
                    <a:pt x="104472" y="240516"/>
                    <a:pt x="159727" y="217593"/>
                    <a:pt x="217374" y="217539"/>
                  </a:cubicBezTo>
                  <a:lnTo>
                    <a:pt x="0" y="217539"/>
                  </a:lnTo>
                  <a:cubicBezTo>
                    <a:pt x="0" y="159864"/>
                    <a:pt x="22922" y="104527"/>
                    <a:pt x="63710" y="63739"/>
                  </a:cubicBezTo>
                  <a:cubicBezTo>
                    <a:pt x="104499" y="22923"/>
                    <a:pt x="159836" y="0"/>
                    <a:pt x="217539" y="0"/>
                  </a:cubicBezTo>
                  <a:cubicBezTo>
                    <a:pt x="275239" y="0"/>
                    <a:pt x="330549" y="22923"/>
                    <a:pt x="371365" y="63739"/>
                  </a:cubicBezTo>
                  <a:close/>
                </a:path>
              </a:pathLst>
            </a:custGeom>
            <a:grpFill/>
            <a:ln w="27192" cap="flat">
              <a:noFill/>
              <a:prstDash val="solid"/>
              <a:miter/>
            </a:ln>
          </p:spPr>
          <p:txBody>
            <a:bodyPr rtlCol="0" anchor="ctr"/>
            <a:lstStyle/>
            <a:p>
              <a:endParaRPr lang="uk-UA" sz="900"/>
            </a:p>
          </p:txBody>
        </p:sp>
        <p:sp>
          <p:nvSpPr>
            <p:cNvPr id="439" name="Freeform: Shape 438">
              <a:extLst>
                <a:ext uri="{FF2B5EF4-FFF2-40B4-BE49-F238E27FC236}">
                  <a16:creationId xmlns:a16="http://schemas.microsoft.com/office/drawing/2014/main" id="{E605A8F5-48FB-74BB-4582-E07BC160A602}"/>
                </a:ext>
              </a:extLst>
            </p:cNvPr>
            <p:cNvSpPr/>
            <p:nvPr/>
          </p:nvSpPr>
          <p:spPr>
            <a:xfrm>
              <a:off x="13018019" y="12410767"/>
              <a:ext cx="435077" cy="435077"/>
            </a:xfrm>
            <a:custGeom>
              <a:avLst/>
              <a:gdLst>
                <a:gd name="connsiteX0" fmla="*/ 217539 w 435077"/>
                <a:gd name="connsiteY0" fmla="*/ 217539 h 435077"/>
                <a:gd name="connsiteX1" fmla="*/ 217539 w 435077"/>
                <a:gd name="connsiteY1" fmla="*/ 217539 h 435077"/>
                <a:gd name="connsiteX2" fmla="*/ 0 w 435077"/>
                <a:gd name="connsiteY2" fmla="*/ 0 h 435077"/>
                <a:gd name="connsiteX3" fmla="*/ 217539 w 435077"/>
                <a:gd name="connsiteY3" fmla="*/ 0 h 435077"/>
                <a:gd name="connsiteX4" fmla="*/ 217539 w 435077"/>
                <a:gd name="connsiteY4" fmla="*/ 27 h 435077"/>
                <a:gd name="connsiteX5" fmla="*/ 435077 w 435077"/>
                <a:gd name="connsiteY5" fmla="*/ 217539 h 435077"/>
                <a:gd name="connsiteX6" fmla="*/ 435077 w 435077"/>
                <a:gd name="connsiteY6" fmla="*/ 217539 h 435077"/>
                <a:gd name="connsiteX7" fmla="*/ 435077 w 435077"/>
                <a:gd name="connsiteY7" fmla="*/ 217539 h 435077"/>
                <a:gd name="connsiteX8" fmla="*/ 435077 w 435077"/>
                <a:gd name="connsiteY8" fmla="*/ 217566 h 435077"/>
                <a:gd name="connsiteX9" fmla="*/ 435077 w 435077"/>
                <a:gd name="connsiteY9" fmla="*/ 217566 h 435077"/>
                <a:gd name="connsiteX10" fmla="*/ 217539 w 435077"/>
                <a:gd name="connsiteY10" fmla="*/ 435077 h 435077"/>
                <a:gd name="connsiteX11" fmla="*/ 217539 w 435077"/>
                <a:gd name="connsiteY11" fmla="*/ 435077 h 435077"/>
                <a:gd name="connsiteX12" fmla="*/ 0 w 435077"/>
                <a:gd name="connsiteY12" fmla="*/ 435077 h 435077"/>
                <a:gd name="connsiteX13" fmla="*/ 217539 w 435077"/>
                <a:gd name="connsiteY13"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217539"/>
                  </a:moveTo>
                  <a:lnTo>
                    <a:pt x="217539" y="217539"/>
                  </a:lnTo>
                  <a:lnTo>
                    <a:pt x="0" y="0"/>
                  </a:lnTo>
                  <a:lnTo>
                    <a:pt x="217539" y="0"/>
                  </a:lnTo>
                  <a:lnTo>
                    <a:pt x="217539" y="27"/>
                  </a:lnTo>
                  <a:lnTo>
                    <a:pt x="435077" y="217539"/>
                  </a:lnTo>
                  <a:lnTo>
                    <a:pt x="435077" y="217539"/>
                  </a:lnTo>
                  <a:lnTo>
                    <a:pt x="435077" y="217539"/>
                  </a:lnTo>
                  <a:lnTo>
                    <a:pt x="435077" y="217566"/>
                  </a:lnTo>
                  <a:lnTo>
                    <a:pt x="435077" y="217566"/>
                  </a:lnTo>
                  <a:lnTo>
                    <a:pt x="217539" y="435077"/>
                  </a:lnTo>
                  <a:lnTo>
                    <a:pt x="217539" y="435077"/>
                  </a:lnTo>
                  <a:lnTo>
                    <a:pt x="0" y="435077"/>
                  </a:lnTo>
                  <a:lnTo>
                    <a:pt x="217539" y="217539"/>
                  </a:lnTo>
                  <a:close/>
                </a:path>
              </a:pathLst>
            </a:custGeom>
            <a:grpFill/>
            <a:ln w="27192" cap="flat">
              <a:noFill/>
              <a:prstDash val="solid"/>
              <a:miter/>
            </a:ln>
          </p:spPr>
          <p:txBody>
            <a:bodyPr rtlCol="0" anchor="ctr"/>
            <a:lstStyle/>
            <a:p>
              <a:endParaRPr lang="uk-UA" sz="900"/>
            </a:p>
          </p:txBody>
        </p:sp>
        <p:sp>
          <p:nvSpPr>
            <p:cNvPr id="440" name="Freeform: Shape 439">
              <a:extLst>
                <a:ext uri="{FF2B5EF4-FFF2-40B4-BE49-F238E27FC236}">
                  <a16:creationId xmlns:a16="http://schemas.microsoft.com/office/drawing/2014/main" id="{046B112C-A3DD-BD6E-768F-CC048AC9D276}"/>
                </a:ext>
              </a:extLst>
            </p:cNvPr>
            <p:cNvSpPr/>
            <p:nvPr/>
          </p:nvSpPr>
          <p:spPr>
            <a:xfrm>
              <a:off x="14758355" y="12410767"/>
              <a:ext cx="435103" cy="435077"/>
            </a:xfrm>
            <a:custGeom>
              <a:avLst/>
              <a:gdLst>
                <a:gd name="connsiteX0" fmla="*/ 217539 w 435103"/>
                <a:gd name="connsiteY0" fmla="*/ 0 h 435077"/>
                <a:gd name="connsiteX1" fmla="*/ 0 w 435103"/>
                <a:gd name="connsiteY1" fmla="*/ 0 h 435077"/>
                <a:gd name="connsiteX2" fmla="*/ 0 w 435103"/>
                <a:gd name="connsiteY2" fmla="*/ 217539 h 435077"/>
                <a:gd name="connsiteX3" fmla="*/ 217539 w 435103"/>
                <a:gd name="connsiteY3" fmla="*/ 0 h 435077"/>
                <a:gd name="connsiteX4" fmla="*/ 435104 w 435103"/>
                <a:gd name="connsiteY4" fmla="*/ 0 h 435077"/>
                <a:gd name="connsiteX5" fmla="*/ 435104 w 435103"/>
                <a:gd name="connsiteY5" fmla="*/ 217539 h 435077"/>
                <a:gd name="connsiteX6" fmla="*/ 217565 w 435103"/>
                <a:gd name="connsiteY6" fmla="*/ 0 h 435077"/>
                <a:gd name="connsiteX7" fmla="*/ 435104 w 435103"/>
                <a:gd name="connsiteY7" fmla="*/ 0 h 435077"/>
                <a:gd name="connsiteX8" fmla="*/ 217565 w 435103"/>
                <a:gd name="connsiteY8" fmla="*/ 435077 h 435077"/>
                <a:gd name="connsiteX9" fmla="*/ 435104 w 435103"/>
                <a:gd name="connsiteY9" fmla="*/ 217539 h 435077"/>
                <a:gd name="connsiteX10" fmla="*/ 435104 w 435103"/>
                <a:gd name="connsiteY10" fmla="*/ 435077 h 435077"/>
                <a:gd name="connsiteX11" fmla="*/ 217565 w 435103"/>
                <a:gd name="connsiteY11" fmla="*/ 435077 h 435077"/>
                <a:gd name="connsiteX12" fmla="*/ 217565 w 435103"/>
                <a:gd name="connsiteY12" fmla="*/ 435077 h 435077"/>
                <a:gd name="connsiteX13" fmla="*/ 27 w 435103"/>
                <a:gd name="connsiteY13" fmla="*/ 217539 h 435077"/>
                <a:gd name="connsiteX14" fmla="*/ 27 w 435103"/>
                <a:gd name="connsiteY14" fmla="*/ 435077 h 435077"/>
                <a:gd name="connsiteX15" fmla="*/ 217565 w 435103"/>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103" h="435077">
                  <a:moveTo>
                    <a:pt x="217539" y="0"/>
                  </a:moveTo>
                  <a:lnTo>
                    <a:pt x="0" y="0"/>
                  </a:lnTo>
                  <a:lnTo>
                    <a:pt x="0" y="217539"/>
                  </a:lnTo>
                  <a:lnTo>
                    <a:pt x="217539" y="0"/>
                  </a:lnTo>
                  <a:close/>
                  <a:moveTo>
                    <a:pt x="435104" y="0"/>
                  </a:moveTo>
                  <a:lnTo>
                    <a:pt x="435104" y="217539"/>
                  </a:lnTo>
                  <a:lnTo>
                    <a:pt x="217565" y="0"/>
                  </a:lnTo>
                  <a:lnTo>
                    <a:pt x="435104" y="0"/>
                  </a:lnTo>
                  <a:close/>
                  <a:moveTo>
                    <a:pt x="217565" y="435077"/>
                  </a:moveTo>
                  <a:lnTo>
                    <a:pt x="435104" y="217539"/>
                  </a:lnTo>
                  <a:lnTo>
                    <a:pt x="435104" y="435077"/>
                  </a:lnTo>
                  <a:lnTo>
                    <a:pt x="217565" y="435077"/>
                  </a:lnTo>
                  <a:close/>
                  <a:moveTo>
                    <a:pt x="217565" y="435077"/>
                  </a:moveTo>
                  <a:lnTo>
                    <a:pt x="27" y="217539"/>
                  </a:lnTo>
                  <a:lnTo>
                    <a:pt x="27" y="435077"/>
                  </a:lnTo>
                  <a:lnTo>
                    <a:pt x="217565" y="435077"/>
                  </a:lnTo>
                  <a:close/>
                </a:path>
              </a:pathLst>
            </a:custGeom>
            <a:grpFill/>
            <a:ln w="27192" cap="flat">
              <a:noFill/>
              <a:prstDash val="solid"/>
              <a:miter/>
            </a:ln>
          </p:spPr>
          <p:txBody>
            <a:bodyPr rtlCol="0" anchor="ctr"/>
            <a:lstStyle/>
            <a:p>
              <a:endParaRPr lang="uk-UA" sz="900"/>
            </a:p>
          </p:txBody>
        </p:sp>
        <p:sp>
          <p:nvSpPr>
            <p:cNvPr id="441" name="Freeform: Shape 440">
              <a:extLst>
                <a:ext uri="{FF2B5EF4-FFF2-40B4-BE49-F238E27FC236}">
                  <a16:creationId xmlns:a16="http://schemas.microsoft.com/office/drawing/2014/main" id="{D434F666-5E77-0099-1186-5391947FC6EA}"/>
                </a:ext>
              </a:extLst>
            </p:cNvPr>
            <p:cNvSpPr/>
            <p:nvPr/>
          </p:nvSpPr>
          <p:spPr>
            <a:xfrm>
              <a:off x="13888200" y="12410767"/>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442" name="Freeform: Shape 441">
              <a:extLst>
                <a:ext uri="{FF2B5EF4-FFF2-40B4-BE49-F238E27FC236}">
                  <a16:creationId xmlns:a16="http://schemas.microsoft.com/office/drawing/2014/main" id="{C61CF463-16F4-59F5-8B89-385F22A5FEAF}"/>
                </a:ext>
              </a:extLst>
            </p:cNvPr>
            <p:cNvSpPr/>
            <p:nvPr/>
          </p:nvSpPr>
          <p:spPr>
            <a:xfrm>
              <a:off x="15628536" y="12410767"/>
              <a:ext cx="435077" cy="435077"/>
            </a:xfrm>
            <a:custGeom>
              <a:avLst/>
              <a:gdLst>
                <a:gd name="connsiteX0" fmla="*/ 371367 w 435077"/>
                <a:gd name="connsiteY0" fmla="*/ 63739 h 435077"/>
                <a:gd name="connsiteX1" fmla="*/ 435077 w 435077"/>
                <a:gd name="connsiteY1" fmla="*/ 217539 h 435077"/>
                <a:gd name="connsiteX2" fmla="*/ 217703 w 435077"/>
                <a:gd name="connsiteY2" fmla="*/ 217539 h 435077"/>
                <a:gd name="connsiteX3" fmla="*/ 371367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7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7" y="63739"/>
                  </a:moveTo>
                  <a:cubicBezTo>
                    <a:pt x="412155" y="104527"/>
                    <a:pt x="435077" y="159864"/>
                    <a:pt x="435077" y="217539"/>
                  </a:cubicBezTo>
                  <a:lnTo>
                    <a:pt x="217703" y="217539"/>
                  </a:lnTo>
                  <a:cubicBezTo>
                    <a:pt x="275351" y="217593"/>
                    <a:pt x="330605" y="240516"/>
                    <a:pt x="371367" y="281277"/>
                  </a:cubicBezTo>
                  <a:cubicBezTo>
                    <a:pt x="412155" y="322066"/>
                    <a:pt x="435077" y="377402"/>
                    <a:pt x="435077" y="435077"/>
                  </a:cubicBezTo>
                  <a:lnTo>
                    <a:pt x="217539" y="435077"/>
                  </a:lnTo>
                  <a:lnTo>
                    <a:pt x="0" y="435077"/>
                  </a:lnTo>
                  <a:cubicBezTo>
                    <a:pt x="0" y="377402"/>
                    <a:pt x="22924" y="322066"/>
                    <a:pt x="63712" y="281277"/>
                  </a:cubicBezTo>
                  <a:cubicBezTo>
                    <a:pt x="104474" y="240516"/>
                    <a:pt x="159728" y="217593"/>
                    <a:pt x="217376" y="217539"/>
                  </a:cubicBezTo>
                  <a:lnTo>
                    <a:pt x="0" y="217539"/>
                  </a:lnTo>
                  <a:cubicBezTo>
                    <a:pt x="0" y="159864"/>
                    <a:pt x="22924" y="104527"/>
                    <a:pt x="63712" y="63739"/>
                  </a:cubicBezTo>
                  <a:cubicBezTo>
                    <a:pt x="104501" y="22923"/>
                    <a:pt x="159836" y="0"/>
                    <a:pt x="217539" y="0"/>
                  </a:cubicBezTo>
                  <a:cubicBezTo>
                    <a:pt x="275241" y="0"/>
                    <a:pt x="330550" y="22923"/>
                    <a:pt x="371367" y="63739"/>
                  </a:cubicBezTo>
                  <a:close/>
                </a:path>
              </a:pathLst>
            </a:custGeom>
            <a:grpFill/>
            <a:ln w="27192" cap="flat">
              <a:noFill/>
              <a:prstDash val="solid"/>
              <a:miter/>
            </a:ln>
          </p:spPr>
          <p:txBody>
            <a:bodyPr rtlCol="0" anchor="ctr"/>
            <a:lstStyle/>
            <a:p>
              <a:endParaRPr lang="uk-UA" sz="900"/>
            </a:p>
          </p:txBody>
        </p:sp>
        <p:sp>
          <p:nvSpPr>
            <p:cNvPr id="443" name="Freeform: Shape 442">
              <a:extLst>
                <a:ext uri="{FF2B5EF4-FFF2-40B4-BE49-F238E27FC236}">
                  <a16:creationId xmlns:a16="http://schemas.microsoft.com/office/drawing/2014/main" id="{6FFD2D73-19A6-4199-ABB1-73C683EC2AD7}"/>
                </a:ext>
              </a:extLst>
            </p:cNvPr>
            <p:cNvSpPr/>
            <p:nvPr/>
          </p:nvSpPr>
          <p:spPr>
            <a:xfrm>
              <a:off x="16498665" y="12410767"/>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51 w 435077"/>
                <a:gd name="connsiteY7" fmla="*/ 217566 h 435077"/>
                <a:gd name="connsiteX8" fmla="*/ 435077 w 435077"/>
                <a:gd name="connsiteY8" fmla="*/ 217566 h 435077"/>
                <a:gd name="connsiteX9" fmla="*/ 435051 w 435077"/>
                <a:gd name="connsiteY9" fmla="*/ 217539 h 435077"/>
                <a:gd name="connsiteX10" fmla="*/ 435077 w 435077"/>
                <a:gd name="connsiteY10" fmla="*/ 217539 h 435077"/>
                <a:gd name="connsiteX11" fmla="*/ 435051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51" y="217566"/>
                  </a:lnTo>
                  <a:lnTo>
                    <a:pt x="435077" y="217566"/>
                  </a:lnTo>
                  <a:lnTo>
                    <a:pt x="435051" y="217539"/>
                  </a:lnTo>
                  <a:lnTo>
                    <a:pt x="435077" y="217539"/>
                  </a:lnTo>
                  <a:lnTo>
                    <a:pt x="435051"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444" name="Freeform: Shape 443">
              <a:extLst>
                <a:ext uri="{FF2B5EF4-FFF2-40B4-BE49-F238E27FC236}">
                  <a16:creationId xmlns:a16="http://schemas.microsoft.com/office/drawing/2014/main" id="{D75B4636-5CD6-2B8C-4D92-B10BA926DFA3}"/>
                </a:ext>
              </a:extLst>
            </p:cNvPr>
            <p:cNvSpPr/>
            <p:nvPr/>
          </p:nvSpPr>
          <p:spPr>
            <a:xfrm>
              <a:off x="18239029" y="12410767"/>
              <a:ext cx="435077" cy="435077"/>
            </a:xfrm>
            <a:custGeom>
              <a:avLst/>
              <a:gdLst>
                <a:gd name="connsiteX0" fmla="*/ 217539 w 435077"/>
                <a:gd name="connsiteY0" fmla="*/ 0 h 435077"/>
                <a:gd name="connsiteX1" fmla="*/ 217539 w 435077"/>
                <a:gd name="connsiteY1" fmla="*/ 0 h 435077"/>
                <a:gd name="connsiteX2" fmla="*/ 0 w 435077"/>
                <a:gd name="connsiteY2" fmla="*/ 0 h 435077"/>
                <a:gd name="connsiteX3" fmla="*/ 0 w 435077"/>
                <a:gd name="connsiteY3" fmla="*/ 217539 h 435077"/>
                <a:gd name="connsiteX4" fmla="*/ 217539 w 435077"/>
                <a:gd name="connsiteY4" fmla="*/ 27 h 435077"/>
                <a:gd name="connsiteX5" fmla="*/ 435077 w 435077"/>
                <a:gd name="connsiteY5" fmla="*/ 217539 h 435077"/>
                <a:gd name="connsiteX6" fmla="*/ 217539 w 435077"/>
                <a:gd name="connsiteY6" fmla="*/ 435077 h 435077"/>
                <a:gd name="connsiteX7" fmla="*/ 0 w 435077"/>
                <a:gd name="connsiteY7" fmla="*/ 217539 h 435077"/>
                <a:gd name="connsiteX8" fmla="*/ 0 w 435077"/>
                <a:gd name="connsiteY8" fmla="*/ 435077 h 435077"/>
                <a:gd name="connsiteX9" fmla="*/ 217539 w 435077"/>
                <a:gd name="connsiteY9" fmla="*/ 435077 h 435077"/>
                <a:gd name="connsiteX10" fmla="*/ 435077 w 435077"/>
                <a:gd name="connsiteY10" fmla="*/ 435077 h 435077"/>
                <a:gd name="connsiteX11" fmla="*/ 435077 w 435077"/>
                <a:gd name="connsiteY11" fmla="*/ 217539 h 435077"/>
                <a:gd name="connsiteX12" fmla="*/ 435077 w 435077"/>
                <a:gd name="connsiteY12" fmla="*/ 0 h 435077"/>
                <a:gd name="connsiteX13" fmla="*/ 217539 w 435077"/>
                <a:gd name="connsiteY13" fmla="*/ 0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217539" y="0"/>
                  </a:moveTo>
                  <a:lnTo>
                    <a:pt x="217539" y="0"/>
                  </a:lnTo>
                  <a:lnTo>
                    <a:pt x="0" y="0"/>
                  </a:lnTo>
                  <a:lnTo>
                    <a:pt x="0" y="217539"/>
                  </a:lnTo>
                  <a:lnTo>
                    <a:pt x="217539" y="27"/>
                  </a:lnTo>
                  <a:lnTo>
                    <a:pt x="435077" y="217539"/>
                  </a:lnTo>
                  <a:lnTo>
                    <a:pt x="217539" y="435077"/>
                  </a:lnTo>
                  <a:lnTo>
                    <a:pt x="0" y="217539"/>
                  </a:lnTo>
                  <a:lnTo>
                    <a:pt x="0" y="435077"/>
                  </a:lnTo>
                  <a:lnTo>
                    <a:pt x="217539" y="435077"/>
                  </a:lnTo>
                  <a:lnTo>
                    <a:pt x="435077" y="435077"/>
                  </a:lnTo>
                  <a:lnTo>
                    <a:pt x="435077" y="217539"/>
                  </a:lnTo>
                  <a:lnTo>
                    <a:pt x="435077" y="0"/>
                  </a:lnTo>
                  <a:lnTo>
                    <a:pt x="217539" y="0"/>
                  </a:lnTo>
                  <a:close/>
                </a:path>
              </a:pathLst>
            </a:custGeom>
            <a:grpFill/>
            <a:ln w="27192" cap="flat">
              <a:noFill/>
              <a:prstDash val="solid"/>
              <a:miter/>
            </a:ln>
          </p:spPr>
          <p:txBody>
            <a:bodyPr rtlCol="0" anchor="ctr"/>
            <a:lstStyle/>
            <a:p>
              <a:endParaRPr lang="uk-UA" sz="900"/>
            </a:p>
          </p:txBody>
        </p:sp>
        <p:sp>
          <p:nvSpPr>
            <p:cNvPr id="445" name="Freeform: Shape 444">
              <a:extLst>
                <a:ext uri="{FF2B5EF4-FFF2-40B4-BE49-F238E27FC236}">
                  <a16:creationId xmlns:a16="http://schemas.microsoft.com/office/drawing/2014/main" id="{B96B76D6-6482-D798-FF32-D739BE85B225}"/>
                </a:ext>
              </a:extLst>
            </p:cNvPr>
            <p:cNvSpPr/>
            <p:nvPr/>
          </p:nvSpPr>
          <p:spPr>
            <a:xfrm>
              <a:off x="17368846" y="12410767"/>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67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67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67" y="435105"/>
                  </a:lnTo>
                  <a:lnTo>
                    <a:pt x="435077" y="217566"/>
                  </a:lnTo>
                  <a:lnTo>
                    <a:pt x="435077" y="435105"/>
                  </a:lnTo>
                  <a:close/>
                  <a:moveTo>
                    <a:pt x="435077" y="27"/>
                  </a:moveTo>
                  <a:lnTo>
                    <a:pt x="217567"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446" name="Freeform: Shape 445">
              <a:extLst>
                <a:ext uri="{FF2B5EF4-FFF2-40B4-BE49-F238E27FC236}">
                  <a16:creationId xmlns:a16="http://schemas.microsoft.com/office/drawing/2014/main" id="{DA1BE80F-7B2C-5B33-B896-04E68CBC8395}"/>
                </a:ext>
              </a:extLst>
            </p:cNvPr>
            <p:cNvSpPr/>
            <p:nvPr/>
          </p:nvSpPr>
          <p:spPr>
            <a:xfrm>
              <a:off x="19109184" y="12410767"/>
              <a:ext cx="435077" cy="435077"/>
            </a:xfrm>
            <a:custGeom>
              <a:avLst/>
              <a:gdLst>
                <a:gd name="connsiteX0" fmla="*/ 371365 w 435077"/>
                <a:gd name="connsiteY0" fmla="*/ 63739 h 435077"/>
                <a:gd name="connsiteX1" fmla="*/ 435077 w 435077"/>
                <a:gd name="connsiteY1" fmla="*/ 217539 h 435077"/>
                <a:gd name="connsiteX2" fmla="*/ 217701 w 435077"/>
                <a:gd name="connsiteY2" fmla="*/ 217539 h 435077"/>
                <a:gd name="connsiteX3" fmla="*/ 371365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0 w 435077"/>
                <a:gd name="connsiteY7" fmla="*/ 281277 h 435077"/>
                <a:gd name="connsiteX8" fmla="*/ 217374 w 435077"/>
                <a:gd name="connsiteY8" fmla="*/ 217539 h 435077"/>
                <a:gd name="connsiteX9" fmla="*/ 0 w 435077"/>
                <a:gd name="connsiteY9" fmla="*/ 217539 h 435077"/>
                <a:gd name="connsiteX10" fmla="*/ 63710 w 435077"/>
                <a:gd name="connsiteY10" fmla="*/ 63739 h 435077"/>
                <a:gd name="connsiteX11" fmla="*/ 217539 w 435077"/>
                <a:gd name="connsiteY11" fmla="*/ 0 h 435077"/>
                <a:gd name="connsiteX12" fmla="*/ 371365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5" y="63739"/>
                  </a:moveTo>
                  <a:cubicBezTo>
                    <a:pt x="412154" y="104527"/>
                    <a:pt x="435077" y="159864"/>
                    <a:pt x="435077" y="217539"/>
                  </a:cubicBezTo>
                  <a:lnTo>
                    <a:pt x="217701" y="217539"/>
                  </a:lnTo>
                  <a:cubicBezTo>
                    <a:pt x="275349" y="217593"/>
                    <a:pt x="330603" y="240516"/>
                    <a:pt x="371365" y="281277"/>
                  </a:cubicBezTo>
                  <a:cubicBezTo>
                    <a:pt x="412154" y="322066"/>
                    <a:pt x="435077" y="377402"/>
                    <a:pt x="435077" y="435077"/>
                  </a:cubicBezTo>
                  <a:lnTo>
                    <a:pt x="217539" y="435077"/>
                  </a:lnTo>
                  <a:lnTo>
                    <a:pt x="0" y="435077"/>
                  </a:lnTo>
                  <a:cubicBezTo>
                    <a:pt x="0" y="377402"/>
                    <a:pt x="22922" y="322066"/>
                    <a:pt x="63710" y="281277"/>
                  </a:cubicBezTo>
                  <a:cubicBezTo>
                    <a:pt x="104472" y="240516"/>
                    <a:pt x="159755" y="217593"/>
                    <a:pt x="217374" y="217539"/>
                  </a:cubicBezTo>
                  <a:lnTo>
                    <a:pt x="0" y="217539"/>
                  </a:lnTo>
                  <a:cubicBezTo>
                    <a:pt x="0" y="159864"/>
                    <a:pt x="22922" y="104527"/>
                    <a:pt x="63710" y="63739"/>
                  </a:cubicBezTo>
                  <a:cubicBezTo>
                    <a:pt x="104527" y="22923"/>
                    <a:pt x="159836" y="0"/>
                    <a:pt x="217539" y="0"/>
                  </a:cubicBezTo>
                  <a:cubicBezTo>
                    <a:pt x="275241" y="0"/>
                    <a:pt x="330577" y="22923"/>
                    <a:pt x="371365" y="63739"/>
                  </a:cubicBezTo>
                  <a:close/>
                </a:path>
              </a:pathLst>
            </a:custGeom>
            <a:grpFill/>
            <a:ln w="27192" cap="flat">
              <a:noFill/>
              <a:prstDash val="solid"/>
              <a:miter/>
            </a:ln>
          </p:spPr>
          <p:txBody>
            <a:bodyPr rtlCol="0" anchor="ctr"/>
            <a:lstStyle/>
            <a:p>
              <a:endParaRPr lang="uk-UA" sz="900"/>
            </a:p>
          </p:txBody>
        </p:sp>
        <p:sp>
          <p:nvSpPr>
            <p:cNvPr id="447" name="Freeform: Shape 446">
              <a:extLst>
                <a:ext uri="{FF2B5EF4-FFF2-40B4-BE49-F238E27FC236}">
                  <a16:creationId xmlns:a16="http://schemas.microsoft.com/office/drawing/2014/main" id="{DBA85EDE-8435-A4D4-1778-013D942FD97E}"/>
                </a:ext>
              </a:extLst>
            </p:cNvPr>
            <p:cNvSpPr/>
            <p:nvPr/>
          </p:nvSpPr>
          <p:spPr>
            <a:xfrm>
              <a:off x="19979339" y="12410767"/>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448" name="Freeform: Shape 447">
              <a:extLst>
                <a:ext uri="{FF2B5EF4-FFF2-40B4-BE49-F238E27FC236}">
                  <a16:creationId xmlns:a16="http://schemas.microsoft.com/office/drawing/2014/main" id="{9666D87C-A9A9-0BB8-8133-CF80B816AF5C}"/>
                </a:ext>
              </a:extLst>
            </p:cNvPr>
            <p:cNvSpPr/>
            <p:nvPr/>
          </p:nvSpPr>
          <p:spPr>
            <a:xfrm>
              <a:off x="21719675" y="12410767"/>
              <a:ext cx="435077" cy="435077"/>
            </a:xfrm>
            <a:custGeom>
              <a:avLst/>
              <a:gdLst>
                <a:gd name="connsiteX0" fmla="*/ 217539 w 435077"/>
                <a:gd name="connsiteY0" fmla="*/ 0 h 435077"/>
                <a:gd name="connsiteX1" fmla="*/ 0 w 435077"/>
                <a:gd name="connsiteY1" fmla="*/ 0 h 435077"/>
                <a:gd name="connsiteX2" fmla="*/ 0 w 435077"/>
                <a:gd name="connsiteY2" fmla="*/ 217539 h 435077"/>
                <a:gd name="connsiteX3" fmla="*/ 217539 w 435077"/>
                <a:gd name="connsiteY3" fmla="*/ 0 h 435077"/>
                <a:gd name="connsiteX4" fmla="*/ 435077 w 435077"/>
                <a:gd name="connsiteY4" fmla="*/ 0 h 435077"/>
                <a:gd name="connsiteX5" fmla="*/ 435077 w 435077"/>
                <a:gd name="connsiteY5" fmla="*/ 217539 h 435077"/>
                <a:gd name="connsiteX6" fmla="*/ 217539 w 435077"/>
                <a:gd name="connsiteY6" fmla="*/ 0 h 435077"/>
                <a:gd name="connsiteX7" fmla="*/ 435077 w 435077"/>
                <a:gd name="connsiteY7" fmla="*/ 0 h 435077"/>
                <a:gd name="connsiteX8" fmla="*/ 217539 w 435077"/>
                <a:gd name="connsiteY8" fmla="*/ 435077 h 435077"/>
                <a:gd name="connsiteX9" fmla="*/ 435077 w 435077"/>
                <a:gd name="connsiteY9" fmla="*/ 217539 h 435077"/>
                <a:gd name="connsiteX10" fmla="*/ 435077 w 435077"/>
                <a:gd name="connsiteY10" fmla="*/ 435077 h 435077"/>
                <a:gd name="connsiteX11" fmla="*/ 217539 w 435077"/>
                <a:gd name="connsiteY11" fmla="*/ 435077 h 435077"/>
                <a:gd name="connsiteX12" fmla="*/ 217539 w 435077"/>
                <a:gd name="connsiteY12" fmla="*/ 435077 h 435077"/>
                <a:gd name="connsiteX13" fmla="*/ 0 w 435077"/>
                <a:gd name="connsiteY13" fmla="*/ 217539 h 435077"/>
                <a:gd name="connsiteX14" fmla="*/ 0 w 435077"/>
                <a:gd name="connsiteY14" fmla="*/ 435077 h 435077"/>
                <a:gd name="connsiteX15" fmla="*/ 217539 w 435077"/>
                <a:gd name="connsiteY15"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077">
                  <a:moveTo>
                    <a:pt x="217539" y="0"/>
                  </a:moveTo>
                  <a:lnTo>
                    <a:pt x="0" y="0"/>
                  </a:lnTo>
                  <a:lnTo>
                    <a:pt x="0" y="217539"/>
                  </a:lnTo>
                  <a:lnTo>
                    <a:pt x="217539" y="0"/>
                  </a:lnTo>
                  <a:close/>
                  <a:moveTo>
                    <a:pt x="435077" y="0"/>
                  </a:moveTo>
                  <a:lnTo>
                    <a:pt x="435077" y="217539"/>
                  </a:lnTo>
                  <a:lnTo>
                    <a:pt x="217539" y="0"/>
                  </a:lnTo>
                  <a:lnTo>
                    <a:pt x="435077" y="0"/>
                  </a:lnTo>
                  <a:close/>
                  <a:moveTo>
                    <a:pt x="217539" y="435077"/>
                  </a:moveTo>
                  <a:lnTo>
                    <a:pt x="435077" y="217539"/>
                  </a:lnTo>
                  <a:lnTo>
                    <a:pt x="435077" y="435077"/>
                  </a:lnTo>
                  <a:lnTo>
                    <a:pt x="217539" y="435077"/>
                  </a:lnTo>
                  <a:close/>
                  <a:moveTo>
                    <a:pt x="217539" y="435077"/>
                  </a:moveTo>
                  <a:lnTo>
                    <a:pt x="0" y="217539"/>
                  </a:lnTo>
                  <a:lnTo>
                    <a:pt x="0" y="435077"/>
                  </a:lnTo>
                  <a:lnTo>
                    <a:pt x="217539" y="435077"/>
                  </a:lnTo>
                  <a:close/>
                </a:path>
              </a:pathLst>
            </a:custGeom>
            <a:grpFill/>
            <a:ln w="27192" cap="flat">
              <a:noFill/>
              <a:prstDash val="solid"/>
              <a:miter/>
            </a:ln>
          </p:spPr>
          <p:txBody>
            <a:bodyPr rtlCol="0" anchor="ctr"/>
            <a:lstStyle/>
            <a:p>
              <a:endParaRPr lang="uk-UA" sz="900"/>
            </a:p>
          </p:txBody>
        </p:sp>
        <p:sp>
          <p:nvSpPr>
            <p:cNvPr id="449" name="Freeform: Shape 448">
              <a:extLst>
                <a:ext uri="{FF2B5EF4-FFF2-40B4-BE49-F238E27FC236}">
                  <a16:creationId xmlns:a16="http://schemas.microsoft.com/office/drawing/2014/main" id="{040AF5CB-C07D-65D6-C068-7A9C27B2F663}"/>
                </a:ext>
              </a:extLst>
            </p:cNvPr>
            <p:cNvSpPr/>
            <p:nvPr/>
          </p:nvSpPr>
          <p:spPr>
            <a:xfrm>
              <a:off x="20849520" y="12410767"/>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450" name="Freeform: Shape 449">
              <a:extLst>
                <a:ext uri="{FF2B5EF4-FFF2-40B4-BE49-F238E27FC236}">
                  <a16:creationId xmlns:a16="http://schemas.microsoft.com/office/drawing/2014/main" id="{C5E245F6-E7B6-CBE4-7C1B-3113DE278185}"/>
                </a:ext>
              </a:extLst>
            </p:cNvPr>
            <p:cNvSpPr/>
            <p:nvPr/>
          </p:nvSpPr>
          <p:spPr>
            <a:xfrm>
              <a:off x="22589856" y="12410767"/>
              <a:ext cx="435077" cy="435077"/>
            </a:xfrm>
            <a:custGeom>
              <a:avLst/>
              <a:gdLst>
                <a:gd name="connsiteX0" fmla="*/ 371367 w 435077"/>
                <a:gd name="connsiteY0" fmla="*/ 63739 h 435077"/>
                <a:gd name="connsiteX1" fmla="*/ 435077 w 435077"/>
                <a:gd name="connsiteY1" fmla="*/ 217539 h 435077"/>
                <a:gd name="connsiteX2" fmla="*/ 217703 w 435077"/>
                <a:gd name="connsiteY2" fmla="*/ 217539 h 435077"/>
                <a:gd name="connsiteX3" fmla="*/ 371367 w 435077"/>
                <a:gd name="connsiteY3" fmla="*/ 281277 h 435077"/>
                <a:gd name="connsiteX4" fmla="*/ 435077 w 435077"/>
                <a:gd name="connsiteY4" fmla="*/ 435077 h 435077"/>
                <a:gd name="connsiteX5" fmla="*/ 217539 w 435077"/>
                <a:gd name="connsiteY5" fmla="*/ 435077 h 435077"/>
                <a:gd name="connsiteX6" fmla="*/ 0 w 435077"/>
                <a:gd name="connsiteY6" fmla="*/ 435077 h 435077"/>
                <a:gd name="connsiteX7" fmla="*/ 63712 w 435077"/>
                <a:gd name="connsiteY7" fmla="*/ 281277 h 435077"/>
                <a:gd name="connsiteX8" fmla="*/ 217376 w 435077"/>
                <a:gd name="connsiteY8" fmla="*/ 217539 h 435077"/>
                <a:gd name="connsiteX9" fmla="*/ 0 w 435077"/>
                <a:gd name="connsiteY9" fmla="*/ 217539 h 435077"/>
                <a:gd name="connsiteX10" fmla="*/ 63712 w 435077"/>
                <a:gd name="connsiteY10" fmla="*/ 63739 h 435077"/>
                <a:gd name="connsiteX11" fmla="*/ 217539 w 435077"/>
                <a:gd name="connsiteY11" fmla="*/ 0 h 435077"/>
                <a:gd name="connsiteX12" fmla="*/ 371367 w 435077"/>
                <a:gd name="connsiteY12" fmla="*/ 637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077" h="435077">
                  <a:moveTo>
                    <a:pt x="371367" y="63739"/>
                  </a:moveTo>
                  <a:cubicBezTo>
                    <a:pt x="412155" y="104527"/>
                    <a:pt x="435077" y="159864"/>
                    <a:pt x="435077" y="217539"/>
                  </a:cubicBezTo>
                  <a:lnTo>
                    <a:pt x="217703" y="217539"/>
                  </a:lnTo>
                  <a:cubicBezTo>
                    <a:pt x="275351" y="217593"/>
                    <a:pt x="330605" y="240516"/>
                    <a:pt x="371367" y="281277"/>
                  </a:cubicBezTo>
                  <a:cubicBezTo>
                    <a:pt x="412155" y="322066"/>
                    <a:pt x="435077" y="377402"/>
                    <a:pt x="435077" y="435077"/>
                  </a:cubicBezTo>
                  <a:lnTo>
                    <a:pt x="217539" y="435077"/>
                  </a:lnTo>
                  <a:lnTo>
                    <a:pt x="0" y="435077"/>
                  </a:lnTo>
                  <a:cubicBezTo>
                    <a:pt x="0" y="377402"/>
                    <a:pt x="22924" y="322066"/>
                    <a:pt x="63712" y="281277"/>
                  </a:cubicBezTo>
                  <a:cubicBezTo>
                    <a:pt x="104474" y="240516"/>
                    <a:pt x="159728" y="217593"/>
                    <a:pt x="217376" y="217539"/>
                  </a:cubicBezTo>
                  <a:lnTo>
                    <a:pt x="0" y="217539"/>
                  </a:lnTo>
                  <a:cubicBezTo>
                    <a:pt x="0" y="159864"/>
                    <a:pt x="22924" y="104527"/>
                    <a:pt x="63712" y="63739"/>
                  </a:cubicBezTo>
                  <a:cubicBezTo>
                    <a:pt x="104501" y="22923"/>
                    <a:pt x="159838" y="0"/>
                    <a:pt x="217539" y="0"/>
                  </a:cubicBezTo>
                  <a:cubicBezTo>
                    <a:pt x="275215" y="0"/>
                    <a:pt x="330550" y="22923"/>
                    <a:pt x="371367" y="63739"/>
                  </a:cubicBezTo>
                  <a:close/>
                </a:path>
              </a:pathLst>
            </a:custGeom>
            <a:grpFill/>
            <a:ln w="27192" cap="flat">
              <a:noFill/>
              <a:prstDash val="solid"/>
              <a:miter/>
            </a:ln>
          </p:spPr>
          <p:txBody>
            <a:bodyPr rtlCol="0" anchor="ctr"/>
            <a:lstStyle/>
            <a:p>
              <a:endParaRPr lang="uk-UA" sz="900"/>
            </a:p>
          </p:txBody>
        </p:sp>
        <p:sp>
          <p:nvSpPr>
            <p:cNvPr id="451" name="Freeform: Shape 450">
              <a:extLst>
                <a:ext uri="{FF2B5EF4-FFF2-40B4-BE49-F238E27FC236}">
                  <a16:creationId xmlns:a16="http://schemas.microsoft.com/office/drawing/2014/main" id="{02ADB455-4F97-47DF-5E85-899747C7EE89}"/>
                </a:ext>
              </a:extLst>
            </p:cNvPr>
            <p:cNvSpPr/>
            <p:nvPr/>
          </p:nvSpPr>
          <p:spPr>
            <a:xfrm>
              <a:off x="23460011" y="12410767"/>
              <a:ext cx="435077" cy="435077"/>
            </a:xfrm>
            <a:custGeom>
              <a:avLst/>
              <a:gdLst>
                <a:gd name="connsiteX0" fmla="*/ 217539 w 435077"/>
                <a:gd name="connsiteY0" fmla="*/ 217539 h 435077"/>
                <a:gd name="connsiteX1" fmla="*/ 217539 w 435077"/>
                <a:gd name="connsiteY1" fmla="*/ 0 h 435077"/>
                <a:gd name="connsiteX2" fmla="*/ 0 w 435077"/>
                <a:gd name="connsiteY2" fmla="*/ 0 h 435077"/>
                <a:gd name="connsiteX3" fmla="*/ 217539 w 435077"/>
                <a:gd name="connsiteY3" fmla="*/ 217539 h 435077"/>
                <a:gd name="connsiteX4" fmla="*/ 0 w 435077"/>
                <a:gd name="connsiteY4" fmla="*/ 435077 h 435077"/>
                <a:gd name="connsiteX5" fmla="*/ 217539 w 435077"/>
                <a:gd name="connsiteY5" fmla="*/ 435077 h 435077"/>
                <a:gd name="connsiteX6" fmla="*/ 217539 w 435077"/>
                <a:gd name="connsiteY6" fmla="*/ 435077 h 435077"/>
                <a:gd name="connsiteX7" fmla="*/ 435077 w 435077"/>
                <a:gd name="connsiteY7" fmla="*/ 217566 h 435077"/>
                <a:gd name="connsiteX8" fmla="*/ 435077 w 435077"/>
                <a:gd name="connsiteY8" fmla="*/ 217566 h 435077"/>
                <a:gd name="connsiteX9" fmla="*/ 435077 w 435077"/>
                <a:gd name="connsiteY9" fmla="*/ 217539 h 435077"/>
                <a:gd name="connsiteX10" fmla="*/ 435077 w 435077"/>
                <a:gd name="connsiteY10" fmla="*/ 217539 h 435077"/>
                <a:gd name="connsiteX11" fmla="*/ 435077 w 435077"/>
                <a:gd name="connsiteY11" fmla="*/ 217539 h 435077"/>
                <a:gd name="connsiteX12" fmla="*/ 217539 w 435077"/>
                <a:gd name="connsiteY12" fmla="*/ 27 h 435077"/>
                <a:gd name="connsiteX13" fmla="*/ 217539 w 435077"/>
                <a:gd name="connsiteY13" fmla="*/ 217539 h 435077"/>
                <a:gd name="connsiteX14" fmla="*/ 217539 w 435077"/>
                <a:gd name="connsiteY14" fmla="*/ 217539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217539" y="217539"/>
                  </a:moveTo>
                  <a:lnTo>
                    <a:pt x="217539" y="0"/>
                  </a:lnTo>
                  <a:lnTo>
                    <a:pt x="0" y="0"/>
                  </a:lnTo>
                  <a:lnTo>
                    <a:pt x="217539" y="217539"/>
                  </a:lnTo>
                  <a:lnTo>
                    <a:pt x="0" y="435077"/>
                  </a:lnTo>
                  <a:lnTo>
                    <a:pt x="217539" y="435077"/>
                  </a:lnTo>
                  <a:lnTo>
                    <a:pt x="217539" y="435077"/>
                  </a:lnTo>
                  <a:lnTo>
                    <a:pt x="435077" y="217566"/>
                  </a:lnTo>
                  <a:lnTo>
                    <a:pt x="435077" y="217566"/>
                  </a:lnTo>
                  <a:lnTo>
                    <a:pt x="435077" y="217539"/>
                  </a:lnTo>
                  <a:lnTo>
                    <a:pt x="435077" y="217539"/>
                  </a:lnTo>
                  <a:lnTo>
                    <a:pt x="435077" y="217539"/>
                  </a:lnTo>
                  <a:lnTo>
                    <a:pt x="217539" y="27"/>
                  </a:lnTo>
                  <a:lnTo>
                    <a:pt x="217539" y="217539"/>
                  </a:lnTo>
                  <a:lnTo>
                    <a:pt x="217539" y="217539"/>
                  </a:lnTo>
                  <a:close/>
                </a:path>
              </a:pathLst>
            </a:custGeom>
            <a:grpFill/>
            <a:ln w="27192" cap="flat">
              <a:noFill/>
              <a:prstDash val="solid"/>
              <a:miter/>
            </a:ln>
          </p:spPr>
          <p:txBody>
            <a:bodyPr rtlCol="0" anchor="ctr"/>
            <a:lstStyle/>
            <a:p>
              <a:endParaRPr lang="uk-UA" sz="900"/>
            </a:p>
          </p:txBody>
        </p:sp>
        <p:sp>
          <p:nvSpPr>
            <p:cNvPr id="452" name="Freeform: Shape 451">
              <a:extLst>
                <a:ext uri="{FF2B5EF4-FFF2-40B4-BE49-F238E27FC236}">
                  <a16:creationId xmlns:a16="http://schemas.microsoft.com/office/drawing/2014/main" id="{0E5E013C-A289-70B0-FB4E-0436E9FCCB97}"/>
                </a:ext>
              </a:extLst>
            </p:cNvPr>
            <p:cNvSpPr/>
            <p:nvPr/>
          </p:nvSpPr>
          <p:spPr>
            <a:xfrm>
              <a:off x="24330194" y="12410767"/>
              <a:ext cx="435077" cy="435104"/>
            </a:xfrm>
            <a:custGeom>
              <a:avLst/>
              <a:gdLst>
                <a:gd name="connsiteX0" fmla="*/ 0 w 435077"/>
                <a:gd name="connsiteY0" fmla="*/ 435077 h 435104"/>
                <a:gd name="connsiteX1" fmla="*/ 217539 w 435077"/>
                <a:gd name="connsiteY1" fmla="*/ 435077 h 435104"/>
                <a:gd name="connsiteX2" fmla="*/ 217539 w 435077"/>
                <a:gd name="connsiteY2" fmla="*/ 217566 h 435104"/>
                <a:gd name="connsiteX3" fmla="*/ 0 w 435077"/>
                <a:gd name="connsiteY3" fmla="*/ 435077 h 435104"/>
                <a:gd name="connsiteX4" fmla="*/ 217539 w 435077"/>
                <a:gd name="connsiteY4" fmla="*/ 0 h 435104"/>
                <a:gd name="connsiteX5" fmla="*/ 0 w 435077"/>
                <a:gd name="connsiteY5" fmla="*/ 0 h 435104"/>
                <a:gd name="connsiteX6" fmla="*/ 217539 w 435077"/>
                <a:gd name="connsiteY6" fmla="*/ 217539 h 435104"/>
                <a:gd name="connsiteX7" fmla="*/ 217539 w 435077"/>
                <a:gd name="connsiteY7" fmla="*/ 0 h 435104"/>
                <a:gd name="connsiteX8" fmla="*/ 435077 w 435077"/>
                <a:gd name="connsiteY8" fmla="*/ 435105 h 435104"/>
                <a:gd name="connsiteX9" fmla="*/ 217539 w 435077"/>
                <a:gd name="connsiteY9" fmla="*/ 435105 h 435104"/>
                <a:gd name="connsiteX10" fmla="*/ 435077 w 435077"/>
                <a:gd name="connsiteY10" fmla="*/ 217566 h 435104"/>
                <a:gd name="connsiteX11" fmla="*/ 435077 w 435077"/>
                <a:gd name="connsiteY11" fmla="*/ 435105 h 435104"/>
                <a:gd name="connsiteX12" fmla="*/ 435077 w 435077"/>
                <a:gd name="connsiteY12" fmla="*/ 27 h 435104"/>
                <a:gd name="connsiteX13" fmla="*/ 217539 w 435077"/>
                <a:gd name="connsiteY13" fmla="*/ 27 h 435104"/>
                <a:gd name="connsiteX14" fmla="*/ 435077 w 435077"/>
                <a:gd name="connsiteY14" fmla="*/ 217539 h 435104"/>
                <a:gd name="connsiteX15" fmla="*/ 435077 w 435077"/>
                <a:gd name="connsiteY15" fmla="*/ 27 h 43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5077" h="435104">
                  <a:moveTo>
                    <a:pt x="0" y="435077"/>
                  </a:moveTo>
                  <a:lnTo>
                    <a:pt x="217539" y="435077"/>
                  </a:lnTo>
                  <a:lnTo>
                    <a:pt x="217539" y="217566"/>
                  </a:lnTo>
                  <a:lnTo>
                    <a:pt x="0" y="435077"/>
                  </a:lnTo>
                  <a:close/>
                  <a:moveTo>
                    <a:pt x="217539" y="0"/>
                  </a:moveTo>
                  <a:lnTo>
                    <a:pt x="0" y="0"/>
                  </a:lnTo>
                  <a:lnTo>
                    <a:pt x="217539" y="217539"/>
                  </a:lnTo>
                  <a:lnTo>
                    <a:pt x="217539" y="0"/>
                  </a:lnTo>
                  <a:close/>
                  <a:moveTo>
                    <a:pt x="435077" y="435105"/>
                  </a:moveTo>
                  <a:lnTo>
                    <a:pt x="217539" y="435105"/>
                  </a:lnTo>
                  <a:lnTo>
                    <a:pt x="435077" y="217566"/>
                  </a:lnTo>
                  <a:lnTo>
                    <a:pt x="435077" y="435105"/>
                  </a:lnTo>
                  <a:close/>
                  <a:moveTo>
                    <a:pt x="435077" y="27"/>
                  </a:moveTo>
                  <a:lnTo>
                    <a:pt x="217539" y="27"/>
                  </a:lnTo>
                  <a:lnTo>
                    <a:pt x="435077" y="217539"/>
                  </a:lnTo>
                  <a:lnTo>
                    <a:pt x="435077" y="27"/>
                  </a:lnTo>
                  <a:close/>
                </a:path>
              </a:pathLst>
            </a:custGeom>
            <a:grpFill/>
            <a:ln w="27192" cap="flat">
              <a:noFill/>
              <a:prstDash val="solid"/>
              <a:miter/>
            </a:ln>
          </p:spPr>
          <p:txBody>
            <a:bodyPr rtlCol="0" anchor="ctr"/>
            <a:lstStyle/>
            <a:p>
              <a:endParaRPr lang="uk-UA" sz="900"/>
            </a:p>
          </p:txBody>
        </p:sp>
        <p:sp>
          <p:nvSpPr>
            <p:cNvPr id="453" name="Freeform: Shape 452">
              <a:extLst>
                <a:ext uri="{FF2B5EF4-FFF2-40B4-BE49-F238E27FC236}">
                  <a16:creationId xmlns:a16="http://schemas.microsoft.com/office/drawing/2014/main" id="{55ED719A-DA7F-FE6C-AF2A-8D110059B60F}"/>
                </a:ext>
              </a:extLst>
            </p:cNvPr>
            <p:cNvSpPr/>
            <p:nvPr/>
          </p:nvSpPr>
          <p:spPr>
            <a:xfrm>
              <a:off x="835742" y="13280949"/>
              <a:ext cx="435077" cy="435050"/>
            </a:xfrm>
            <a:custGeom>
              <a:avLst/>
              <a:gdLst>
                <a:gd name="connsiteX0" fmla="*/ 435077 w 435077"/>
                <a:gd name="connsiteY0" fmla="*/ 435050 h 435050"/>
                <a:gd name="connsiteX1" fmla="*/ 435077 w 435077"/>
                <a:gd name="connsiteY1" fmla="*/ 0 h 435050"/>
                <a:gd name="connsiteX2" fmla="*/ 217566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39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66" y="217539"/>
                  </a:lnTo>
                  <a:lnTo>
                    <a:pt x="435077" y="435050"/>
                  </a:lnTo>
                  <a:close/>
                  <a:moveTo>
                    <a:pt x="0" y="435050"/>
                  </a:moveTo>
                  <a:lnTo>
                    <a:pt x="0" y="0"/>
                  </a:lnTo>
                  <a:lnTo>
                    <a:pt x="217539" y="217539"/>
                  </a:lnTo>
                  <a:lnTo>
                    <a:pt x="0" y="435050"/>
                  </a:lnTo>
                  <a:close/>
                </a:path>
              </a:pathLst>
            </a:custGeom>
            <a:grpFill/>
            <a:ln w="27192" cap="flat">
              <a:noFill/>
              <a:prstDash val="solid"/>
              <a:miter/>
            </a:ln>
          </p:spPr>
          <p:txBody>
            <a:bodyPr rtlCol="0" anchor="ctr"/>
            <a:lstStyle/>
            <a:p>
              <a:endParaRPr lang="uk-UA" sz="900"/>
            </a:p>
          </p:txBody>
        </p:sp>
        <p:sp>
          <p:nvSpPr>
            <p:cNvPr id="454" name="Freeform: Shape 453">
              <a:extLst>
                <a:ext uri="{FF2B5EF4-FFF2-40B4-BE49-F238E27FC236}">
                  <a16:creationId xmlns:a16="http://schemas.microsoft.com/office/drawing/2014/main" id="{A6887E43-BC5D-3A97-AEB3-AD43F3436AA3}"/>
                </a:ext>
              </a:extLst>
            </p:cNvPr>
            <p:cNvSpPr/>
            <p:nvPr/>
          </p:nvSpPr>
          <p:spPr>
            <a:xfrm>
              <a:off x="-34412" y="1328092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455" name="Freeform: Shape 454">
              <a:extLst>
                <a:ext uri="{FF2B5EF4-FFF2-40B4-BE49-F238E27FC236}">
                  <a16:creationId xmlns:a16="http://schemas.microsoft.com/office/drawing/2014/main" id="{5FD1DC08-3BBB-7ACE-70AE-2AC4869D5F3B}"/>
                </a:ext>
              </a:extLst>
            </p:cNvPr>
            <p:cNvSpPr/>
            <p:nvPr/>
          </p:nvSpPr>
          <p:spPr>
            <a:xfrm>
              <a:off x="1705924" y="13280922"/>
              <a:ext cx="435077" cy="435077"/>
            </a:xfrm>
            <a:custGeom>
              <a:avLst/>
              <a:gdLst>
                <a:gd name="connsiteX0" fmla="*/ 63711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1 w 435077"/>
                <a:gd name="connsiteY6" fmla="*/ 153827 h 435077"/>
                <a:gd name="connsiteX7" fmla="*/ 63711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11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1" y="153827"/>
                  </a:moveTo>
                  <a:cubicBezTo>
                    <a:pt x="22923" y="113039"/>
                    <a:pt x="0" y="57702"/>
                    <a:pt x="0" y="0"/>
                  </a:cubicBezTo>
                  <a:lnTo>
                    <a:pt x="217539" y="0"/>
                  </a:lnTo>
                  <a:lnTo>
                    <a:pt x="435077" y="0"/>
                  </a:lnTo>
                  <a:cubicBezTo>
                    <a:pt x="435077" y="57702"/>
                    <a:pt x="412154" y="113039"/>
                    <a:pt x="371366" y="153827"/>
                  </a:cubicBezTo>
                  <a:cubicBezTo>
                    <a:pt x="330550" y="194642"/>
                    <a:pt x="275213" y="217539"/>
                    <a:pt x="217539" y="217539"/>
                  </a:cubicBezTo>
                  <a:cubicBezTo>
                    <a:pt x="159836" y="217539"/>
                    <a:pt x="104500" y="194642"/>
                    <a:pt x="63711" y="153827"/>
                  </a:cubicBezTo>
                  <a:close/>
                  <a:moveTo>
                    <a:pt x="63711" y="281277"/>
                  </a:moveTo>
                  <a:cubicBezTo>
                    <a:pt x="22923" y="322066"/>
                    <a:pt x="0" y="377402"/>
                    <a:pt x="0" y="435077"/>
                  </a:cubicBezTo>
                  <a:lnTo>
                    <a:pt x="217539" y="435077"/>
                  </a:lnTo>
                  <a:lnTo>
                    <a:pt x="435077" y="435077"/>
                  </a:lnTo>
                  <a:cubicBezTo>
                    <a:pt x="435077" y="377402"/>
                    <a:pt x="412154" y="322066"/>
                    <a:pt x="371366" y="281277"/>
                  </a:cubicBezTo>
                  <a:cubicBezTo>
                    <a:pt x="330550" y="240462"/>
                    <a:pt x="275213" y="217539"/>
                    <a:pt x="217539" y="217539"/>
                  </a:cubicBezTo>
                  <a:cubicBezTo>
                    <a:pt x="159836" y="217539"/>
                    <a:pt x="104500" y="240462"/>
                    <a:pt x="63711" y="281277"/>
                  </a:cubicBezTo>
                  <a:close/>
                </a:path>
              </a:pathLst>
            </a:custGeom>
            <a:grpFill/>
            <a:ln w="27192" cap="flat">
              <a:noFill/>
              <a:prstDash val="solid"/>
              <a:miter/>
            </a:ln>
          </p:spPr>
          <p:txBody>
            <a:bodyPr rtlCol="0" anchor="ctr"/>
            <a:lstStyle/>
            <a:p>
              <a:endParaRPr lang="uk-UA" sz="900"/>
            </a:p>
          </p:txBody>
        </p:sp>
        <p:sp>
          <p:nvSpPr>
            <p:cNvPr id="456" name="Freeform: Shape 455">
              <a:extLst>
                <a:ext uri="{FF2B5EF4-FFF2-40B4-BE49-F238E27FC236}">
                  <a16:creationId xmlns:a16="http://schemas.microsoft.com/office/drawing/2014/main" id="{D0D7AA14-B53B-F3D1-16F4-570147940E2C}"/>
                </a:ext>
              </a:extLst>
            </p:cNvPr>
            <p:cNvSpPr/>
            <p:nvPr/>
          </p:nvSpPr>
          <p:spPr>
            <a:xfrm>
              <a:off x="2576079" y="1328092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6 w 435077"/>
                <a:gd name="connsiteY3" fmla="*/ 27 h 435077"/>
                <a:gd name="connsiteX4" fmla="*/ 435077 w 435077"/>
                <a:gd name="connsiteY4" fmla="*/ 217566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6" y="27"/>
                  </a:lnTo>
                  <a:lnTo>
                    <a:pt x="435077" y="217566"/>
                  </a:lnTo>
                  <a:lnTo>
                    <a:pt x="217566"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457" name="Freeform: Shape 456">
              <a:extLst>
                <a:ext uri="{FF2B5EF4-FFF2-40B4-BE49-F238E27FC236}">
                  <a16:creationId xmlns:a16="http://schemas.microsoft.com/office/drawing/2014/main" id="{4BEEDDC1-DCFA-46DA-B0CD-BA6FEB15C326}"/>
                </a:ext>
              </a:extLst>
            </p:cNvPr>
            <p:cNvSpPr/>
            <p:nvPr/>
          </p:nvSpPr>
          <p:spPr>
            <a:xfrm>
              <a:off x="4316416" y="13280949"/>
              <a:ext cx="435077" cy="435050"/>
            </a:xfrm>
            <a:custGeom>
              <a:avLst/>
              <a:gdLst>
                <a:gd name="connsiteX0" fmla="*/ 435077 w 435077"/>
                <a:gd name="connsiteY0" fmla="*/ 435050 h 435050"/>
                <a:gd name="connsiteX1" fmla="*/ 435077 w 435077"/>
                <a:gd name="connsiteY1" fmla="*/ 0 h 435050"/>
                <a:gd name="connsiteX2" fmla="*/ 217565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39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65" y="217539"/>
                  </a:lnTo>
                  <a:lnTo>
                    <a:pt x="435077" y="435050"/>
                  </a:lnTo>
                  <a:close/>
                  <a:moveTo>
                    <a:pt x="0" y="435050"/>
                  </a:moveTo>
                  <a:lnTo>
                    <a:pt x="0" y="0"/>
                  </a:lnTo>
                  <a:lnTo>
                    <a:pt x="217539" y="217539"/>
                  </a:lnTo>
                  <a:lnTo>
                    <a:pt x="0" y="435050"/>
                  </a:lnTo>
                  <a:close/>
                </a:path>
              </a:pathLst>
            </a:custGeom>
            <a:grpFill/>
            <a:ln w="27192" cap="flat">
              <a:noFill/>
              <a:prstDash val="solid"/>
              <a:miter/>
            </a:ln>
          </p:spPr>
          <p:txBody>
            <a:bodyPr rtlCol="0" anchor="ctr"/>
            <a:lstStyle/>
            <a:p>
              <a:endParaRPr lang="uk-UA" sz="900"/>
            </a:p>
          </p:txBody>
        </p:sp>
        <p:sp>
          <p:nvSpPr>
            <p:cNvPr id="458" name="Freeform: Shape 457">
              <a:extLst>
                <a:ext uri="{FF2B5EF4-FFF2-40B4-BE49-F238E27FC236}">
                  <a16:creationId xmlns:a16="http://schemas.microsoft.com/office/drawing/2014/main" id="{C457D334-8EF2-4B9D-0841-6CD5CC179D6C}"/>
                </a:ext>
              </a:extLst>
            </p:cNvPr>
            <p:cNvSpPr/>
            <p:nvPr/>
          </p:nvSpPr>
          <p:spPr>
            <a:xfrm>
              <a:off x="3446261" y="1328092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459" name="Freeform: Shape 458">
              <a:extLst>
                <a:ext uri="{FF2B5EF4-FFF2-40B4-BE49-F238E27FC236}">
                  <a16:creationId xmlns:a16="http://schemas.microsoft.com/office/drawing/2014/main" id="{90847E50-737C-3438-B86F-383625BBD120}"/>
                </a:ext>
              </a:extLst>
            </p:cNvPr>
            <p:cNvSpPr/>
            <p:nvPr/>
          </p:nvSpPr>
          <p:spPr>
            <a:xfrm>
              <a:off x="5186571" y="13280922"/>
              <a:ext cx="435077" cy="435077"/>
            </a:xfrm>
            <a:custGeom>
              <a:avLst/>
              <a:gdLst>
                <a:gd name="connsiteX0" fmla="*/ 63739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39 w 435077"/>
                <a:gd name="connsiteY6" fmla="*/ 153827 h 435077"/>
                <a:gd name="connsiteX7" fmla="*/ 63739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77 h 435077"/>
                <a:gd name="connsiteX12" fmla="*/ 217539 w 435077"/>
                <a:gd name="connsiteY12" fmla="*/ 217539 h 435077"/>
                <a:gd name="connsiteX13" fmla="*/ 63739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39" y="153827"/>
                  </a:moveTo>
                  <a:cubicBezTo>
                    <a:pt x="22923" y="113039"/>
                    <a:pt x="0" y="57702"/>
                    <a:pt x="0" y="0"/>
                  </a:cubicBezTo>
                  <a:lnTo>
                    <a:pt x="217539" y="0"/>
                  </a:lnTo>
                  <a:lnTo>
                    <a:pt x="435077" y="0"/>
                  </a:lnTo>
                  <a:cubicBezTo>
                    <a:pt x="435077" y="57702"/>
                    <a:pt x="412181" y="113039"/>
                    <a:pt x="371365" y="153827"/>
                  </a:cubicBezTo>
                  <a:cubicBezTo>
                    <a:pt x="330577" y="194642"/>
                    <a:pt x="275240" y="217539"/>
                    <a:pt x="217539" y="217539"/>
                  </a:cubicBezTo>
                  <a:cubicBezTo>
                    <a:pt x="159864" y="217539"/>
                    <a:pt x="104527" y="194642"/>
                    <a:pt x="63739" y="153827"/>
                  </a:cubicBezTo>
                  <a:close/>
                  <a:moveTo>
                    <a:pt x="63739" y="281277"/>
                  </a:moveTo>
                  <a:cubicBezTo>
                    <a:pt x="22923" y="322066"/>
                    <a:pt x="0" y="377402"/>
                    <a:pt x="0" y="435077"/>
                  </a:cubicBezTo>
                  <a:lnTo>
                    <a:pt x="217539" y="435077"/>
                  </a:lnTo>
                  <a:lnTo>
                    <a:pt x="435077" y="435077"/>
                  </a:lnTo>
                  <a:cubicBezTo>
                    <a:pt x="435077" y="377402"/>
                    <a:pt x="412181" y="322066"/>
                    <a:pt x="371365" y="281277"/>
                  </a:cubicBezTo>
                  <a:cubicBezTo>
                    <a:pt x="330577" y="240462"/>
                    <a:pt x="275240" y="217539"/>
                    <a:pt x="217539" y="217539"/>
                  </a:cubicBezTo>
                  <a:cubicBezTo>
                    <a:pt x="159864" y="217539"/>
                    <a:pt x="104527" y="240462"/>
                    <a:pt x="63739" y="281277"/>
                  </a:cubicBezTo>
                  <a:close/>
                </a:path>
              </a:pathLst>
            </a:custGeom>
            <a:grpFill/>
            <a:ln w="27192" cap="flat">
              <a:noFill/>
              <a:prstDash val="solid"/>
              <a:miter/>
            </a:ln>
          </p:spPr>
          <p:txBody>
            <a:bodyPr rtlCol="0" anchor="ctr"/>
            <a:lstStyle/>
            <a:p>
              <a:endParaRPr lang="uk-UA" sz="900"/>
            </a:p>
          </p:txBody>
        </p:sp>
        <p:sp>
          <p:nvSpPr>
            <p:cNvPr id="460" name="Freeform: Shape 459">
              <a:extLst>
                <a:ext uri="{FF2B5EF4-FFF2-40B4-BE49-F238E27FC236}">
                  <a16:creationId xmlns:a16="http://schemas.microsoft.com/office/drawing/2014/main" id="{D2204353-5C97-AFCD-8687-065B37766F2F}"/>
                </a:ext>
              </a:extLst>
            </p:cNvPr>
            <p:cNvSpPr/>
            <p:nvPr/>
          </p:nvSpPr>
          <p:spPr>
            <a:xfrm>
              <a:off x="6056725" y="1328092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5 w 435077"/>
                <a:gd name="connsiteY3" fmla="*/ 27 h 435077"/>
                <a:gd name="connsiteX4" fmla="*/ 435077 w 435077"/>
                <a:gd name="connsiteY4" fmla="*/ 217566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5" y="27"/>
                  </a:lnTo>
                  <a:lnTo>
                    <a:pt x="435077" y="217566"/>
                  </a:lnTo>
                  <a:lnTo>
                    <a:pt x="217565"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461" name="Freeform: Shape 460">
              <a:extLst>
                <a:ext uri="{FF2B5EF4-FFF2-40B4-BE49-F238E27FC236}">
                  <a16:creationId xmlns:a16="http://schemas.microsoft.com/office/drawing/2014/main" id="{F05C5377-ADDE-A6F4-12CB-AD3C28042A3B}"/>
                </a:ext>
              </a:extLst>
            </p:cNvPr>
            <p:cNvSpPr/>
            <p:nvPr/>
          </p:nvSpPr>
          <p:spPr>
            <a:xfrm>
              <a:off x="7797062" y="13280949"/>
              <a:ext cx="435077" cy="435050"/>
            </a:xfrm>
            <a:custGeom>
              <a:avLst/>
              <a:gdLst>
                <a:gd name="connsiteX0" fmla="*/ 435077 w 435077"/>
                <a:gd name="connsiteY0" fmla="*/ 435050 h 435050"/>
                <a:gd name="connsiteX1" fmla="*/ 435077 w 435077"/>
                <a:gd name="connsiteY1" fmla="*/ 0 h 435050"/>
                <a:gd name="connsiteX2" fmla="*/ 217566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39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66" y="217539"/>
                  </a:lnTo>
                  <a:lnTo>
                    <a:pt x="435077" y="435050"/>
                  </a:lnTo>
                  <a:close/>
                  <a:moveTo>
                    <a:pt x="0" y="435050"/>
                  </a:moveTo>
                  <a:lnTo>
                    <a:pt x="0" y="0"/>
                  </a:lnTo>
                  <a:lnTo>
                    <a:pt x="217539" y="217539"/>
                  </a:lnTo>
                  <a:lnTo>
                    <a:pt x="0" y="435050"/>
                  </a:lnTo>
                  <a:close/>
                </a:path>
              </a:pathLst>
            </a:custGeom>
            <a:grpFill/>
            <a:ln w="27192" cap="flat">
              <a:noFill/>
              <a:prstDash val="solid"/>
              <a:miter/>
            </a:ln>
          </p:spPr>
          <p:txBody>
            <a:bodyPr rtlCol="0" anchor="ctr"/>
            <a:lstStyle/>
            <a:p>
              <a:endParaRPr lang="uk-UA" sz="900"/>
            </a:p>
          </p:txBody>
        </p:sp>
        <p:sp>
          <p:nvSpPr>
            <p:cNvPr id="462" name="Freeform: Shape 461">
              <a:extLst>
                <a:ext uri="{FF2B5EF4-FFF2-40B4-BE49-F238E27FC236}">
                  <a16:creationId xmlns:a16="http://schemas.microsoft.com/office/drawing/2014/main" id="{20BDA93C-A280-45B2-53A2-7094B9858854}"/>
                </a:ext>
              </a:extLst>
            </p:cNvPr>
            <p:cNvSpPr/>
            <p:nvPr/>
          </p:nvSpPr>
          <p:spPr>
            <a:xfrm>
              <a:off x="6926907" y="13280922"/>
              <a:ext cx="435077" cy="435077"/>
            </a:xfrm>
            <a:custGeom>
              <a:avLst/>
              <a:gdLst>
                <a:gd name="connsiteX0" fmla="*/ 0 w 435077"/>
                <a:gd name="connsiteY0" fmla="*/ 435077 h 435077"/>
                <a:gd name="connsiteX1" fmla="*/ 0 w 435077"/>
                <a:gd name="connsiteY1" fmla="*/ 0 h 435077"/>
                <a:gd name="connsiteX2" fmla="*/ 217512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12"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463" name="Freeform: Shape 462">
              <a:extLst>
                <a:ext uri="{FF2B5EF4-FFF2-40B4-BE49-F238E27FC236}">
                  <a16:creationId xmlns:a16="http://schemas.microsoft.com/office/drawing/2014/main" id="{578C6647-E248-E11E-9FFF-820CDE4C5314}"/>
                </a:ext>
              </a:extLst>
            </p:cNvPr>
            <p:cNvSpPr/>
            <p:nvPr/>
          </p:nvSpPr>
          <p:spPr>
            <a:xfrm>
              <a:off x="8667217" y="1328092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6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6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6" y="153827"/>
                  </a:cubicBezTo>
                  <a:cubicBezTo>
                    <a:pt x="330550" y="194642"/>
                    <a:pt x="275241" y="217539"/>
                    <a:pt x="217539" y="217539"/>
                  </a:cubicBezTo>
                  <a:cubicBezTo>
                    <a:pt x="159837"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5" y="322066"/>
                    <a:pt x="371366" y="281277"/>
                  </a:cubicBezTo>
                  <a:cubicBezTo>
                    <a:pt x="330550" y="240462"/>
                    <a:pt x="275241" y="217539"/>
                    <a:pt x="217539" y="217539"/>
                  </a:cubicBezTo>
                  <a:cubicBezTo>
                    <a:pt x="159837" y="217539"/>
                    <a:pt x="104501" y="240462"/>
                    <a:pt x="63712" y="281277"/>
                  </a:cubicBezTo>
                  <a:close/>
                </a:path>
              </a:pathLst>
            </a:custGeom>
            <a:grpFill/>
            <a:ln w="27192" cap="flat">
              <a:noFill/>
              <a:prstDash val="solid"/>
              <a:miter/>
            </a:ln>
          </p:spPr>
          <p:txBody>
            <a:bodyPr rtlCol="0" anchor="ctr"/>
            <a:lstStyle/>
            <a:p>
              <a:endParaRPr lang="uk-UA" sz="900"/>
            </a:p>
          </p:txBody>
        </p:sp>
        <p:sp>
          <p:nvSpPr>
            <p:cNvPr id="464" name="Freeform: Shape 463">
              <a:extLst>
                <a:ext uri="{FF2B5EF4-FFF2-40B4-BE49-F238E27FC236}">
                  <a16:creationId xmlns:a16="http://schemas.microsoft.com/office/drawing/2014/main" id="{5CB5B6D6-AAA1-B7B1-EC4F-AE7DD1BB3398}"/>
                </a:ext>
              </a:extLst>
            </p:cNvPr>
            <p:cNvSpPr/>
            <p:nvPr/>
          </p:nvSpPr>
          <p:spPr>
            <a:xfrm>
              <a:off x="9537371" y="1328092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6 w 435077"/>
                <a:gd name="connsiteY3" fmla="*/ 27 h 435077"/>
                <a:gd name="connsiteX4" fmla="*/ 435077 w 435077"/>
                <a:gd name="connsiteY4" fmla="*/ 217566 h 435077"/>
                <a:gd name="connsiteX5" fmla="*/ 217566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6" y="27"/>
                  </a:lnTo>
                  <a:lnTo>
                    <a:pt x="435077" y="217566"/>
                  </a:lnTo>
                  <a:lnTo>
                    <a:pt x="217566"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465" name="Freeform: Shape 464">
              <a:extLst>
                <a:ext uri="{FF2B5EF4-FFF2-40B4-BE49-F238E27FC236}">
                  <a16:creationId xmlns:a16="http://schemas.microsoft.com/office/drawing/2014/main" id="{A68375BF-AF46-D146-9362-F8C545F9B9C5}"/>
                </a:ext>
              </a:extLst>
            </p:cNvPr>
            <p:cNvSpPr/>
            <p:nvPr/>
          </p:nvSpPr>
          <p:spPr>
            <a:xfrm>
              <a:off x="11277709" y="13280949"/>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0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0" y="217539"/>
                  </a:lnTo>
                  <a:lnTo>
                    <a:pt x="0" y="435050"/>
                  </a:lnTo>
                  <a:close/>
                </a:path>
              </a:pathLst>
            </a:custGeom>
            <a:grpFill/>
            <a:ln w="27192" cap="flat">
              <a:noFill/>
              <a:prstDash val="solid"/>
              <a:miter/>
            </a:ln>
          </p:spPr>
          <p:txBody>
            <a:bodyPr rtlCol="0" anchor="ctr"/>
            <a:lstStyle/>
            <a:p>
              <a:endParaRPr lang="uk-UA" sz="900"/>
            </a:p>
          </p:txBody>
        </p:sp>
        <p:sp>
          <p:nvSpPr>
            <p:cNvPr id="466" name="Freeform: Shape 465">
              <a:extLst>
                <a:ext uri="{FF2B5EF4-FFF2-40B4-BE49-F238E27FC236}">
                  <a16:creationId xmlns:a16="http://schemas.microsoft.com/office/drawing/2014/main" id="{81DFF4F8-EA0A-219B-F4D2-D161EF3E4B4D}"/>
                </a:ext>
              </a:extLst>
            </p:cNvPr>
            <p:cNvSpPr/>
            <p:nvPr/>
          </p:nvSpPr>
          <p:spPr>
            <a:xfrm>
              <a:off x="10407526" y="1328092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467" name="Freeform: Shape 466">
              <a:extLst>
                <a:ext uri="{FF2B5EF4-FFF2-40B4-BE49-F238E27FC236}">
                  <a16:creationId xmlns:a16="http://schemas.microsoft.com/office/drawing/2014/main" id="{EBE8D570-EB40-5805-3E89-B73083D344EC}"/>
                </a:ext>
              </a:extLst>
            </p:cNvPr>
            <p:cNvSpPr/>
            <p:nvPr/>
          </p:nvSpPr>
          <p:spPr>
            <a:xfrm>
              <a:off x="12147864" y="13280922"/>
              <a:ext cx="435077" cy="435077"/>
            </a:xfrm>
            <a:custGeom>
              <a:avLst/>
              <a:gdLst>
                <a:gd name="connsiteX0" fmla="*/ 63710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0 w 435077"/>
                <a:gd name="connsiteY6" fmla="*/ 153827 h 435077"/>
                <a:gd name="connsiteX7" fmla="*/ 63710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77 h 435077"/>
                <a:gd name="connsiteX12" fmla="*/ 217539 w 435077"/>
                <a:gd name="connsiteY12" fmla="*/ 217539 h 435077"/>
                <a:gd name="connsiteX13" fmla="*/ 63710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7"/>
                  </a:moveTo>
                  <a:cubicBezTo>
                    <a:pt x="22922" y="113039"/>
                    <a:pt x="0" y="57702"/>
                    <a:pt x="0" y="0"/>
                  </a:cubicBezTo>
                  <a:lnTo>
                    <a:pt x="217539" y="0"/>
                  </a:lnTo>
                  <a:lnTo>
                    <a:pt x="435077" y="0"/>
                  </a:lnTo>
                  <a:cubicBezTo>
                    <a:pt x="435077" y="57702"/>
                    <a:pt x="412154" y="113039"/>
                    <a:pt x="371365" y="153827"/>
                  </a:cubicBezTo>
                  <a:cubicBezTo>
                    <a:pt x="330549" y="194642"/>
                    <a:pt x="275239" y="217539"/>
                    <a:pt x="217539" y="217539"/>
                  </a:cubicBezTo>
                  <a:cubicBezTo>
                    <a:pt x="159836" y="217539"/>
                    <a:pt x="104499" y="194642"/>
                    <a:pt x="63710" y="153827"/>
                  </a:cubicBezTo>
                  <a:close/>
                  <a:moveTo>
                    <a:pt x="63710" y="281277"/>
                  </a:moveTo>
                  <a:cubicBezTo>
                    <a:pt x="22922" y="322066"/>
                    <a:pt x="0" y="377402"/>
                    <a:pt x="0" y="435077"/>
                  </a:cubicBezTo>
                  <a:lnTo>
                    <a:pt x="217539" y="435077"/>
                  </a:lnTo>
                  <a:lnTo>
                    <a:pt x="435077" y="435077"/>
                  </a:lnTo>
                  <a:cubicBezTo>
                    <a:pt x="435077" y="377402"/>
                    <a:pt x="412154" y="322066"/>
                    <a:pt x="371365" y="281277"/>
                  </a:cubicBezTo>
                  <a:cubicBezTo>
                    <a:pt x="330549" y="240462"/>
                    <a:pt x="275239" y="217539"/>
                    <a:pt x="217539" y="217539"/>
                  </a:cubicBezTo>
                  <a:cubicBezTo>
                    <a:pt x="159836" y="217539"/>
                    <a:pt x="104499" y="240462"/>
                    <a:pt x="63710" y="281277"/>
                  </a:cubicBezTo>
                  <a:close/>
                </a:path>
              </a:pathLst>
            </a:custGeom>
            <a:grpFill/>
            <a:ln w="27192" cap="flat">
              <a:noFill/>
              <a:prstDash val="solid"/>
              <a:miter/>
            </a:ln>
          </p:spPr>
          <p:txBody>
            <a:bodyPr rtlCol="0" anchor="ctr"/>
            <a:lstStyle/>
            <a:p>
              <a:endParaRPr lang="uk-UA" sz="900"/>
            </a:p>
          </p:txBody>
        </p:sp>
        <p:sp>
          <p:nvSpPr>
            <p:cNvPr id="468" name="Freeform: Shape 467">
              <a:extLst>
                <a:ext uri="{FF2B5EF4-FFF2-40B4-BE49-F238E27FC236}">
                  <a16:creationId xmlns:a16="http://schemas.microsoft.com/office/drawing/2014/main" id="{4DA0A94C-67C2-0F24-3AEB-9A72ABEBDF05}"/>
                </a:ext>
              </a:extLst>
            </p:cNvPr>
            <p:cNvSpPr/>
            <p:nvPr/>
          </p:nvSpPr>
          <p:spPr>
            <a:xfrm>
              <a:off x="13018019" y="1328092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5 w 435077"/>
                <a:gd name="connsiteY3" fmla="*/ 27 h 435077"/>
                <a:gd name="connsiteX4" fmla="*/ 435077 w 435077"/>
                <a:gd name="connsiteY4" fmla="*/ 217566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5" y="27"/>
                  </a:lnTo>
                  <a:lnTo>
                    <a:pt x="435077" y="217566"/>
                  </a:lnTo>
                  <a:lnTo>
                    <a:pt x="217565"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469" name="Freeform: Shape 468">
              <a:extLst>
                <a:ext uri="{FF2B5EF4-FFF2-40B4-BE49-F238E27FC236}">
                  <a16:creationId xmlns:a16="http://schemas.microsoft.com/office/drawing/2014/main" id="{C5BC201E-FA30-9715-488C-DBD7373901B4}"/>
                </a:ext>
              </a:extLst>
            </p:cNvPr>
            <p:cNvSpPr/>
            <p:nvPr/>
          </p:nvSpPr>
          <p:spPr>
            <a:xfrm>
              <a:off x="14758382" y="13280949"/>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2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2" y="217539"/>
                  </a:lnTo>
                  <a:lnTo>
                    <a:pt x="0" y="435050"/>
                  </a:lnTo>
                  <a:close/>
                </a:path>
              </a:pathLst>
            </a:custGeom>
            <a:grpFill/>
            <a:ln w="27192" cap="flat">
              <a:noFill/>
              <a:prstDash val="solid"/>
              <a:miter/>
            </a:ln>
          </p:spPr>
          <p:txBody>
            <a:bodyPr rtlCol="0" anchor="ctr"/>
            <a:lstStyle/>
            <a:p>
              <a:endParaRPr lang="uk-UA" sz="900"/>
            </a:p>
          </p:txBody>
        </p:sp>
        <p:sp>
          <p:nvSpPr>
            <p:cNvPr id="470" name="Freeform: Shape 469">
              <a:extLst>
                <a:ext uri="{FF2B5EF4-FFF2-40B4-BE49-F238E27FC236}">
                  <a16:creationId xmlns:a16="http://schemas.microsoft.com/office/drawing/2014/main" id="{67EBFD50-B412-413A-5CDA-E755ADF5488B}"/>
                </a:ext>
              </a:extLst>
            </p:cNvPr>
            <p:cNvSpPr/>
            <p:nvPr/>
          </p:nvSpPr>
          <p:spPr>
            <a:xfrm>
              <a:off x="13888200" y="1328092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471" name="Freeform: Shape 470">
              <a:extLst>
                <a:ext uri="{FF2B5EF4-FFF2-40B4-BE49-F238E27FC236}">
                  <a16:creationId xmlns:a16="http://schemas.microsoft.com/office/drawing/2014/main" id="{DCF4D570-026B-77B2-FD8D-110877704075}"/>
                </a:ext>
              </a:extLst>
            </p:cNvPr>
            <p:cNvSpPr/>
            <p:nvPr/>
          </p:nvSpPr>
          <p:spPr>
            <a:xfrm>
              <a:off x="15628536" y="1328092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7" y="153827"/>
                  </a:cubicBezTo>
                  <a:cubicBezTo>
                    <a:pt x="330550" y="194642"/>
                    <a:pt x="275241" y="217539"/>
                    <a:pt x="217539" y="217539"/>
                  </a:cubicBezTo>
                  <a:cubicBezTo>
                    <a:pt x="159836"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5" y="322066"/>
                    <a:pt x="371367" y="281277"/>
                  </a:cubicBezTo>
                  <a:cubicBezTo>
                    <a:pt x="330550" y="240462"/>
                    <a:pt x="275241" y="217539"/>
                    <a:pt x="217539" y="217539"/>
                  </a:cubicBezTo>
                  <a:cubicBezTo>
                    <a:pt x="159836" y="217539"/>
                    <a:pt x="104501" y="240462"/>
                    <a:pt x="63712" y="281277"/>
                  </a:cubicBezTo>
                  <a:close/>
                </a:path>
              </a:pathLst>
            </a:custGeom>
            <a:grpFill/>
            <a:ln w="27192" cap="flat">
              <a:noFill/>
              <a:prstDash val="solid"/>
              <a:miter/>
            </a:ln>
          </p:spPr>
          <p:txBody>
            <a:bodyPr rtlCol="0" anchor="ctr"/>
            <a:lstStyle/>
            <a:p>
              <a:endParaRPr lang="uk-UA" sz="900"/>
            </a:p>
          </p:txBody>
        </p:sp>
        <p:sp>
          <p:nvSpPr>
            <p:cNvPr id="472" name="Freeform: Shape 471">
              <a:extLst>
                <a:ext uri="{FF2B5EF4-FFF2-40B4-BE49-F238E27FC236}">
                  <a16:creationId xmlns:a16="http://schemas.microsoft.com/office/drawing/2014/main" id="{B1A80ACE-CDC5-83A6-82E4-C8B43C931673}"/>
                </a:ext>
              </a:extLst>
            </p:cNvPr>
            <p:cNvSpPr/>
            <p:nvPr/>
          </p:nvSpPr>
          <p:spPr>
            <a:xfrm>
              <a:off x="16498691" y="1328092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7 w 435077"/>
                <a:gd name="connsiteY3" fmla="*/ 27 h 435077"/>
                <a:gd name="connsiteX4" fmla="*/ 435077 w 435077"/>
                <a:gd name="connsiteY4" fmla="*/ 217566 h 435077"/>
                <a:gd name="connsiteX5" fmla="*/ 217567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7" y="27"/>
                  </a:lnTo>
                  <a:lnTo>
                    <a:pt x="435077" y="217566"/>
                  </a:lnTo>
                  <a:lnTo>
                    <a:pt x="217567"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473" name="Freeform: Shape 472">
              <a:extLst>
                <a:ext uri="{FF2B5EF4-FFF2-40B4-BE49-F238E27FC236}">
                  <a16:creationId xmlns:a16="http://schemas.microsoft.com/office/drawing/2014/main" id="{21FBF736-BB18-A24B-A512-02FDC357313C}"/>
                </a:ext>
              </a:extLst>
            </p:cNvPr>
            <p:cNvSpPr/>
            <p:nvPr/>
          </p:nvSpPr>
          <p:spPr>
            <a:xfrm>
              <a:off x="18239029" y="13280949"/>
              <a:ext cx="435077" cy="435050"/>
            </a:xfrm>
            <a:custGeom>
              <a:avLst/>
              <a:gdLst>
                <a:gd name="connsiteX0" fmla="*/ 435077 w 435077"/>
                <a:gd name="connsiteY0" fmla="*/ 435050 h 435050"/>
                <a:gd name="connsiteX1" fmla="*/ 435077 w 435077"/>
                <a:gd name="connsiteY1" fmla="*/ 0 h 435050"/>
                <a:gd name="connsiteX2" fmla="*/ 217539 w 435077"/>
                <a:gd name="connsiteY2" fmla="*/ 217539 h 435050"/>
                <a:gd name="connsiteX3" fmla="*/ 435077 w 435077"/>
                <a:gd name="connsiteY3" fmla="*/ 435050 h 435050"/>
                <a:gd name="connsiteX4" fmla="*/ 0 w 435077"/>
                <a:gd name="connsiteY4" fmla="*/ 435050 h 435050"/>
                <a:gd name="connsiteX5" fmla="*/ 0 w 435077"/>
                <a:gd name="connsiteY5" fmla="*/ 0 h 435050"/>
                <a:gd name="connsiteX6" fmla="*/ 217510 w 435077"/>
                <a:gd name="connsiteY6" fmla="*/ 217539 h 435050"/>
                <a:gd name="connsiteX7" fmla="*/ 0 w 435077"/>
                <a:gd name="connsiteY7" fmla="*/ 435050 h 4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50">
                  <a:moveTo>
                    <a:pt x="435077" y="435050"/>
                  </a:moveTo>
                  <a:lnTo>
                    <a:pt x="435077" y="0"/>
                  </a:lnTo>
                  <a:lnTo>
                    <a:pt x="217539" y="217539"/>
                  </a:lnTo>
                  <a:lnTo>
                    <a:pt x="435077" y="435050"/>
                  </a:lnTo>
                  <a:close/>
                  <a:moveTo>
                    <a:pt x="0" y="435050"/>
                  </a:moveTo>
                  <a:lnTo>
                    <a:pt x="0" y="0"/>
                  </a:lnTo>
                  <a:lnTo>
                    <a:pt x="217510" y="217539"/>
                  </a:lnTo>
                  <a:lnTo>
                    <a:pt x="0" y="435050"/>
                  </a:lnTo>
                  <a:close/>
                </a:path>
              </a:pathLst>
            </a:custGeom>
            <a:grpFill/>
            <a:ln w="27192" cap="flat">
              <a:noFill/>
              <a:prstDash val="solid"/>
              <a:miter/>
            </a:ln>
          </p:spPr>
          <p:txBody>
            <a:bodyPr rtlCol="0" anchor="ctr"/>
            <a:lstStyle/>
            <a:p>
              <a:endParaRPr lang="uk-UA" sz="900"/>
            </a:p>
          </p:txBody>
        </p:sp>
        <p:sp>
          <p:nvSpPr>
            <p:cNvPr id="474" name="Freeform: Shape 473">
              <a:extLst>
                <a:ext uri="{FF2B5EF4-FFF2-40B4-BE49-F238E27FC236}">
                  <a16:creationId xmlns:a16="http://schemas.microsoft.com/office/drawing/2014/main" id="{CB3243B4-2B19-A666-0552-B33654B6327E}"/>
                </a:ext>
              </a:extLst>
            </p:cNvPr>
            <p:cNvSpPr/>
            <p:nvPr/>
          </p:nvSpPr>
          <p:spPr>
            <a:xfrm>
              <a:off x="17368846" y="1328092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67 w 435077"/>
                <a:gd name="connsiteY4" fmla="*/ 435077 h 435077"/>
                <a:gd name="connsiteX5" fmla="*/ 217567 w 435077"/>
                <a:gd name="connsiteY5" fmla="*/ 0 h 435077"/>
                <a:gd name="connsiteX6" fmla="*/ 435077 w 435077"/>
                <a:gd name="connsiteY6" fmla="*/ 217566 h 435077"/>
                <a:gd name="connsiteX7" fmla="*/ 217567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67" y="435077"/>
                  </a:moveTo>
                  <a:lnTo>
                    <a:pt x="217567" y="0"/>
                  </a:lnTo>
                  <a:lnTo>
                    <a:pt x="435077" y="217566"/>
                  </a:lnTo>
                  <a:lnTo>
                    <a:pt x="217567" y="435077"/>
                  </a:lnTo>
                  <a:close/>
                </a:path>
              </a:pathLst>
            </a:custGeom>
            <a:grpFill/>
            <a:ln w="27192" cap="flat">
              <a:noFill/>
              <a:prstDash val="solid"/>
              <a:miter/>
            </a:ln>
          </p:spPr>
          <p:txBody>
            <a:bodyPr rtlCol="0" anchor="ctr"/>
            <a:lstStyle/>
            <a:p>
              <a:endParaRPr lang="uk-UA" sz="900"/>
            </a:p>
          </p:txBody>
        </p:sp>
        <p:sp>
          <p:nvSpPr>
            <p:cNvPr id="475" name="Freeform: Shape 474">
              <a:extLst>
                <a:ext uri="{FF2B5EF4-FFF2-40B4-BE49-F238E27FC236}">
                  <a16:creationId xmlns:a16="http://schemas.microsoft.com/office/drawing/2014/main" id="{51218ECB-D375-8881-99A1-3A85A195BB7B}"/>
                </a:ext>
              </a:extLst>
            </p:cNvPr>
            <p:cNvSpPr/>
            <p:nvPr/>
          </p:nvSpPr>
          <p:spPr>
            <a:xfrm>
              <a:off x="19109184" y="13280922"/>
              <a:ext cx="435077" cy="435077"/>
            </a:xfrm>
            <a:custGeom>
              <a:avLst/>
              <a:gdLst>
                <a:gd name="connsiteX0" fmla="*/ 63710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5 w 435077"/>
                <a:gd name="connsiteY4" fmla="*/ 153827 h 435077"/>
                <a:gd name="connsiteX5" fmla="*/ 217539 w 435077"/>
                <a:gd name="connsiteY5" fmla="*/ 217539 h 435077"/>
                <a:gd name="connsiteX6" fmla="*/ 63710 w 435077"/>
                <a:gd name="connsiteY6" fmla="*/ 153827 h 435077"/>
                <a:gd name="connsiteX7" fmla="*/ 63710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5 w 435077"/>
                <a:gd name="connsiteY11" fmla="*/ 281277 h 435077"/>
                <a:gd name="connsiteX12" fmla="*/ 217539 w 435077"/>
                <a:gd name="connsiteY12" fmla="*/ 217539 h 435077"/>
                <a:gd name="connsiteX13" fmla="*/ 63710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0" y="153827"/>
                  </a:moveTo>
                  <a:cubicBezTo>
                    <a:pt x="22922" y="113039"/>
                    <a:pt x="0" y="57702"/>
                    <a:pt x="0" y="0"/>
                  </a:cubicBezTo>
                  <a:lnTo>
                    <a:pt x="217539" y="0"/>
                  </a:lnTo>
                  <a:lnTo>
                    <a:pt x="435077" y="0"/>
                  </a:lnTo>
                  <a:cubicBezTo>
                    <a:pt x="435077" y="57702"/>
                    <a:pt x="412154" y="113039"/>
                    <a:pt x="371365" y="153827"/>
                  </a:cubicBezTo>
                  <a:cubicBezTo>
                    <a:pt x="330577" y="194642"/>
                    <a:pt x="275241" y="217539"/>
                    <a:pt x="217539" y="217539"/>
                  </a:cubicBezTo>
                  <a:cubicBezTo>
                    <a:pt x="159836" y="217539"/>
                    <a:pt x="104527" y="194642"/>
                    <a:pt x="63710" y="153827"/>
                  </a:cubicBezTo>
                  <a:close/>
                  <a:moveTo>
                    <a:pt x="63710" y="281277"/>
                  </a:moveTo>
                  <a:cubicBezTo>
                    <a:pt x="22922" y="322066"/>
                    <a:pt x="0" y="377402"/>
                    <a:pt x="0" y="435077"/>
                  </a:cubicBezTo>
                  <a:lnTo>
                    <a:pt x="217539" y="435077"/>
                  </a:lnTo>
                  <a:lnTo>
                    <a:pt x="435077" y="435077"/>
                  </a:lnTo>
                  <a:cubicBezTo>
                    <a:pt x="435077" y="377402"/>
                    <a:pt x="412154" y="322066"/>
                    <a:pt x="371365" y="281277"/>
                  </a:cubicBezTo>
                  <a:cubicBezTo>
                    <a:pt x="330577" y="240462"/>
                    <a:pt x="275241" y="217539"/>
                    <a:pt x="217539" y="217539"/>
                  </a:cubicBezTo>
                  <a:cubicBezTo>
                    <a:pt x="159836" y="217539"/>
                    <a:pt x="104527" y="240462"/>
                    <a:pt x="63710" y="281277"/>
                  </a:cubicBezTo>
                  <a:close/>
                </a:path>
              </a:pathLst>
            </a:custGeom>
            <a:grpFill/>
            <a:ln w="27192" cap="flat">
              <a:noFill/>
              <a:prstDash val="solid"/>
              <a:miter/>
            </a:ln>
          </p:spPr>
          <p:txBody>
            <a:bodyPr rtlCol="0" anchor="ctr"/>
            <a:lstStyle/>
            <a:p>
              <a:endParaRPr lang="uk-UA" sz="900"/>
            </a:p>
          </p:txBody>
        </p:sp>
        <p:sp>
          <p:nvSpPr>
            <p:cNvPr id="476" name="Freeform: Shape 475">
              <a:extLst>
                <a:ext uri="{FF2B5EF4-FFF2-40B4-BE49-F238E27FC236}">
                  <a16:creationId xmlns:a16="http://schemas.microsoft.com/office/drawing/2014/main" id="{304FA20E-38F1-86C9-EB6A-344063086F3B}"/>
                </a:ext>
              </a:extLst>
            </p:cNvPr>
            <p:cNvSpPr/>
            <p:nvPr/>
          </p:nvSpPr>
          <p:spPr>
            <a:xfrm>
              <a:off x="19979339" y="1328092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5 w 435077"/>
                <a:gd name="connsiteY3" fmla="*/ 27 h 435077"/>
                <a:gd name="connsiteX4" fmla="*/ 435077 w 435077"/>
                <a:gd name="connsiteY4" fmla="*/ 217566 h 435077"/>
                <a:gd name="connsiteX5" fmla="*/ 217565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39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39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5" y="27"/>
                  </a:lnTo>
                  <a:lnTo>
                    <a:pt x="435077" y="217566"/>
                  </a:lnTo>
                  <a:lnTo>
                    <a:pt x="217565" y="435077"/>
                  </a:lnTo>
                  <a:lnTo>
                    <a:pt x="435077" y="435077"/>
                  </a:lnTo>
                  <a:close/>
                  <a:moveTo>
                    <a:pt x="0" y="217539"/>
                  </a:moveTo>
                  <a:lnTo>
                    <a:pt x="0" y="0"/>
                  </a:lnTo>
                  <a:lnTo>
                    <a:pt x="217539" y="217539"/>
                  </a:lnTo>
                  <a:lnTo>
                    <a:pt x="0" y="217539"/>
                  </a:lnTo>
                  <a:close/>
                  <a:moveTo>
                    <a:pt x="0" y="435077"/>
                  </a:moveTo>
                  <a:lnTo>
                    <a:pt x="0" y="217566"/>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477" name="Freeform: Shape 476">
              <a:extLst>
                <a:ext uri="{FF2B5EF4-FFF2-40B4-BE49-F238E27FC236}">
                  <a16:creationId xmlns:a16="http://schemas.microsoft.com/office/drawing/2014/main" id="{55CF2A9D-B2EC-5AF7-5196-092C09C44290}"/>
                </a:ext>
              </a:extLst>
            </p:cNvPr>
            <p:cNvSpPr/>
            <p:nvPr/>
          </p:nvSpPr>
          <p:spPr>
            <a:xfrm>
              <a:off x="21719675" y="13280922"/>
              <a:ext cx="435077" cy="435077"/>
            </a:xfrm>
            <a:custGeom>
              <a:avLst/>
              <a:gdLst>
                <a:gd name="connsiteX0" fmla="*/ 435077 w 435077"/>
                <a:gd name="connsiteY0" fmla="*/ 435077 h 435077"/>
                <a:gd name="connsiteX1" fmla="*/ 435077 w 435077"/>
                <a:gd name="connsiteY1" fmla="*/ 0 h 435077"/>
                <a:gd name="connsiteX2" fmla="*/ 217565 w 435077"/>
                <a:gd name="connsiteY2" fmla="*/ 217566 h 435077"/>
                <a:gd name="connsiteX3" fmla="*/ 435077 w 435077"/>
                <a:gd name="connsiteY3" fmla="*/ 435077 h 435077"/>
                <a:gd name="connsiteX4" fmla="*/ 0 w 435077"/>
                <a:gd name="connsiteY4" fmla="*/ 435077 h 435077"/>
                <a:gd name="connsiteX5" fmla="*/ 0 w 435077"/>
                <a:gd name="connsiteY5" fmla="*/ 0 h 435077"/>
                <a:gd name="connsiteX6" fmla="*/ 217539 w 435077"/>
                <a:gd name="connsiteY6" fmla="*/ 217566 h 435077"/>
                <a:gd name="connsiteX7" fmla="*/ 0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435077" y="435077"/>
                  </a:moveTo>
                  <a:lnTo>
                    <a:pt x="435077" y="0"/>
                  </a:lnTo>
                  <a:lnTo>
                    <a:pt x="217565" y="217566"/>
                  </a:lnTo>
                  <a:lnTo>
                    <a:pt x="435077" y="435077"/>
                  </a:lnTo>
                  <a:close/>
                  <a:moveTo>
                    <a:pt x="0" y="435077"/>
                  </a:moveTo>
                  <a:lnTo>
                    <a:pt x="0" y="0"/>
                  </a:lnTo>
                  <a:lnTo>
                    <a:pt x="217539" y="217566"/>
                  </a:lnTo>
                  <a:lnTo>
                    <a:pt x="0" y="435077"/>
                  </a:lnTo>
                  <a:close/>
                </a:path>
              </a:pathLst>
            </a:custGeom>
            <a:grpFill/>
            <a:ln w="27192" cap="flat">
              <a:noFill/>
              <a:prstDash val="solid"/>
              <a:miter/>
            </a:ln>
          </p:spPr>
          <p:txBody>
            <a:bodyPr rtlCol="0" anchor="ctr"/>
            <a:lstStyle/>
            <a:p>
              <a:endParaRPr lang="uk-UA" sz="900"/>
            </a:p>
          </p:txBody>
        </p:sp>
        <p:sp>
          <p:nvSpPr>
            <p:cNvPr id="478" name="Freeform: Shape 477">
              <a:extLst>
                <a:ext uri="{FF2B5EF4-FFF2-40B4-BE49-F238E27FC236}">
                  <a16:creationId xmlns:a16="http://schemas.microsoft.com/office/drawing/2014/main" id="{A6460F16-7992-F9A5-C2A8-2E9E0F56517F}"/>
                </a:ext>
              </a:extLst>
            </p:cNvPr>
            <p:cNvSpPr/>
            <p:nvPr/>
          </p:nvSpPr>
          <p:spPr>
            <a:xfrm>
              <a:off x="20849520" y="1328092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sp>
          <p:nvSpPr>
            <p:cNvPr id="479" name="Freeform: Shape 478">
              <a:extLst>
                <a:ext uri="{FF2B5EF4-FFF2-40B4-BE49-F238E27FC236}">
                  <a16:creationId xmlns:a16="http://schemas.microsoft.com/office/drawing/2014/main" id="{678DB7A5-B7DC-6522-01D8-934725ADBC7B}"/>
                </a:ext>
              </a:extLst>
            </p:cNvPr>
            <p:cNvSpPr/>
            <p:nvPr/>
          </p:nvSpPr>
          <p:spPr>
            <a:xfrm>
              <a:off x="22589856" y="13280922"/>
              <a:ext cx="435077" cy="435077"/>
            </a:xfrm>
            <a:custGeom>
              <a:avLst/>
              <a:gdLst>
                <a:gd name="connsiteX0" fmla="*/ 63712 w 435077"/>
                <a:gd name="connsiteY0" fmla="*/ 153827 h 435077"/>
                <a:gd name="connsiteX1" fmla="*/ 0 w 435077"/>
                <a:gd name="connsiteY1" fmla="*/ 0 h 435077"/>
                <a:gd name="connsiteX2" fmla="*/ 217539 w 435077"/>
                <a:gd name="connsiteY2" fmla="*/ 0 h 435077"/>
                <a:gd name="connsiteX3" fmla="*/ 435077 w 435077"/>
                <a:gd name="connsiteY3" fmla="*/ 0 h 435077"/>
                <a:gd name="connsiteX4" fmla="*/ 371367 w 435077"/>
                <a:gd name="connsiteY4" fmla="*/ 153827 h 435077"/>
                <a:gd name="connsiteX5" fmla="*/ 217539 w 435077"/>
                <a:gd name="connsiteY5" fmla="*/ 217539 h 435077"/>
                <a:gd name="connsiteX6" fmla="*/ 63712 w 435077"/>
                <a:gd name="connsiteY6" fmla="*/ 153827 h 435077"/>
                <a:gd name="connsiteX7" fmla="*/ 63712 w 435077"/>
                <a:gd name="connsiteY7" fmla="*/ 281277 h 435077"/>
                <a:gd name="connsiteX8" fmla="*/ 0 w 435077"/>
                <a:gd name="connsiteY8" fmla="*/ 435077 h 435077"/>
                <a:gd name="connsiteX9" fmla="*/ 217539 w 435077"/>
                <a:gd name="connsiteY9" fmla="*/ 435077 h 435077"/>
                <a:gd name="connsiteX10" fmla="*/ 435077 w 435077"/>
                <a:gd name="connsiteY10" fmla="*/ 435077 h 435077"/>
                <a:gd name="connsiteX11" fmla="*/ 371367 w 435077"/>
                <a:gd name="connsiteY11" fmla="*/ 281277 h 435077"/>
                <a:gd name="connsiteX12" fmla="*/ 217539 w 435077"/>
                <a:gd name="connsiteY12" fmla="*/ 217539 h 435077"/>
                <a:gd name="connsiteX13" fmla="*/ 63712 w 435077"/>
                <a:gd name="connsiteY13" fmla="*/ 2812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77" h="435077">
                  <a:moveTo>
                    <a:pt x="63712" y="153827"/>
                  </a:moveTo>
                  <a:cubicBezTo>
                    <a:pt x="22924" y="113039"/>
                    <a:pt x="0" y="57702"/>
                    <a:pt x="0" y="0"/>
                  </a:cubicBezTo>
                  <a:lnTo>
                    <a:pt x="217539" y="0"/>
                  </a:lnTo>
                  <a:lnTo>
                    <a:pt x="435077" y="0"/>
                  </a:lnTo>
                  <a:cubicBezTo>
                    <a:pt x="435077" y="57702"/>
                    <a:pt x="412155" y="113039"/>
                    <a:pt x="371367" y="153827"/>
                  </a:cubicBezTo>
                  <a:cubicBezTo>
                    <a:pt x="330550" y="194642"/>
                    <a:pt x="275215" y="217539"/>
                    <a:pt x="217539" y="217539"/>
                  </a:cubicBezTo>
                  <a:cubicBezTo>
                    <a:pt x="159838" y="217539"/>
                    <a:pt x="104501" y="194642"/>
                    <a:pt x="63712" y="153827"/>
                  </a:cubicBezTo>
                  <a:close/>
                  <a:moveTo>
                    <a:pt x="63712" y="281277"/>
                  </a:moveTo>
                  <a:cubicBezTo>
                    <a:pt x="22924" y="322066"/>
                    <a:pt x="0" y="377402"/>
                    <a:pt x="0" y="435077"/>
                  </a:cubicBezTo>
                  <a:lnTo>
                    <a:pt x="217539" y="435077"/>
                  </a:lnTo>
                  <a:lnTo>
                    <a:pt x="435077" y="435077"/>
                  </a:lnTo>
                  <a:cubicBezTo>
                    <a:pt x="435077" y="377402"/>
                    <a:pt x="412155" y="322066"/>
                    <a:pt x="371367" y="281277"/>
                  </a:cubicBezTo>
                  <a:cubicBezTo>
                    <a:pt x="330550" y="240462"/>
                    <a:pt x="275215" y="217539"/>
                    <a:pt x="217539" y="217539"/>
                  </a:cubicBezTo>
                  <a:cubicBezTo>
                    <a:pt x="159838" y="217539"/>
                    <a:pt x="104501" y="240462"/>
                    <a:pt x="63712" y="281277"/>
                  </a:cubicBezTo>
                  <a:close/>
                </a:path>
              </a:pathLst>
            </a:custGeom>
            <a:grpFill/>
            <a:ln w="27192" cap="flat">
              <a:noFill/>
              <a:prstDash val="solid"/>
              <a:miter/>
            </a:ln>
          </p:spPr>
          <p:txBody>
            <a:bodyPr rtlCol="0" anchor="ctr"/>
            <a:lstStyle/>
            <a:p>
              <a:endParaRPr lang="uk-UA" sz="900"/>
            </a:p>
          </p:txBody>
        </p:sp>
        <p:sp>
          <p:nvSpPr>
            <p:cNvPr id="480" name="Freeform: Shape 479">
              <a:extLst>
                <a:ext uri="{FF2B5EF4-FFF2-40B4-BE49-F238E27FC236}">
                  <a16:creationId xmlns:a16="http://schemas.microsoft.com/office/drawing/2014/main" id="{520E5F7A-EB54-3198-05EF-6107D5A41C4B}"/>
                </a:ext>
              </a:extLst>
            </p:cNvPr>
            <p:cNvSpPr/>
            <p:nvPr/>
          </p:nvSpPr>
          <p:spPr>
            <a:xfrm>
              <a:off x="23460011" y="13280922"/>
              <a:ext cx="435077" cy="435077"/>
            </a:xfrm>
            <a:custGeom>
              <a:avLst/>
              <a:gdLst>
                <a:gd name="connsiteX0" fmla="*/ 435077 w 435077"/>
                <a:gd name="connsiteY0" fmla="*/ 435077 h 435077"/>
                <a:gd name="connsiteX1" fmla="*/ 435077 w 435077"/>
                <a:gd name="connsiteY1" fmla="*/ 217566 h 435077"/>
                <a:gd name="connsiteX2" fmla="*/ 435077 w 435077"/>
                <a:gd name="connsiteY2" fmla="*/ 27 h 435077"/>
                <a:gd name="connsiteX3" fmla="*/ 217567 w 435077"/>
                <a:gd name="connsiteY3" fmla="*/ 27 h 435077"/>
                <a:gd name="connsiteX4" fmla="*/ 435077 w 435077"/>
                <a:gd name="connsiteY4" fmla="*/ 217566 h 435077"/>
                <a:gd name="connsiteX5" fmla="*/ 217567 w 435077"/>
                <a:gd name="connsiteY5" fmla="*/ 435077 h 435077"/>
                <a:gd name="connsiteX6" fmla="*/ 435077 w 435077"/>
                <a:gd name="connsiteY6" fmla="*/ 435077 h 435077"/>
                <a:gd name="connsiteX7" fmla="*/ 0 w 435077"/>
                <a:gd name="connsiteY7" fmla="*/ 217539 h 435077"/>
                <a:gd name="connsiteX8" fmla="*/ 0 w 435077"/>
                <a:gd name="connsiteY8" fmla="*/ 0 h 435077"/>
                <a:gd name="connsiteX9" fmla="*/ 217512 w 435077"/>
                <a:gd name="connsiteY9" fmla="*/ 217539 h 435077"/>
                <a:gd name="connsiteX10" fmla="*/ 0 w 435077"/>
                <a:gd name="connsiteY10" fmla="*/ 217539 h 435077"/>
                <a:gd name="connsiteX11" fmla="*/ 0 w 435077"/>
                <a:gd name="connsiteY11" fmla="*/ 435077 h 435077"/>
                <a:gd name="connsiteX12" fmla="*/ 0 w 435077"/>
                <a:gd name="connsiteY12" fmla="*/ 217566 h 435077"/>
                <a:gd name="connsiteX13" fmla="*/ 217512 w 435077"/>
                <a:gd name="connsiteY13" fmla="*/ 217566 h 435077"/>
                <a:gd name="connsiteX14" fmla="*/ 0 w 435077"/>
                <a:gd name="connsiteY14"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077" h="435077">
                  <a:moveTo>
                    <a:pt x="435077" y="435077"/>
                  </a:moveTo>
                  <a:lnTo>
                    <a:pt x="435077" y="217566"/>
                  </a:lnTo>
                  <a:lnTo>
                    <a:pt x="435077" y="27"/>
                  </a:lnTo>
                  <a:lnTo>
                    <a:pt x="217567" y="27"/>
                  </a:lnTo>
                  <a:lnTo>
                    <a:pt x="435077" y="217566"/>
                  </a:lnTo>
                  <a:lnTo>
                    <a:pt x="217567" y="435077"/>
                  </a:lnTo>
                  <a:lnTo>
                    <a:pt x="435077" y="435077"/>
                  </a:lnTo>
                  <a:close/>
                  <a:moveTo>
                    <a:pt x="0" y="217539"/>
                  </a:moveTo>
                  <a:lnTo>
                    <a:pt x="0" y="0"/>
                  </a:lnTo>
                  <a:lnTo>
                    <a:pt x="217512" y="217539"/>
                  </a:lnTo>
                  <a:lnTo>
                    <a:pt x="0" y="217539"/>
                  </a:lnTo>
                  <a:close/>
                  <a:moveTo>
                    <a:pt x="0" y="435077"/>
                  </a:moveTo>
                  <a:lnTo>
                    <a:pt x="0" y="217566"/>
                  </a:lnTo>
                  <a:lnTo>
                    <a:pt x="217512" y="217566"/>
                  </a:lnTo>
                  <a:lnTo>
                    <a:pt x="0" y="435077"/>
                  </a:lnTo>
                  <a:close/>
                </a:path>
              </a:pathLst>
            </a:custGeom>
            <a:grpFill/>
            <a:ln w="27192" cap="flat">
              <a:noFill/>
              <a:prstDash val="solid"/>
              <a:miter/>
            </a:ln>
          </p:spPr>
          <p:txBody>
            <a:bodyPr rtlCol="0" anchor="ctr"/>
            <a:lstStyle/>
            <a:p>
              <a:endParaRPr lang="uk-UA" sz="900"/>
            </a:p>
          </p:txBody>
        </p:sp>
        <p:sp>
          <p:nvSpPr>
            <p:cNvPr id="481" name="Freeform: Shape 480">
              <a:extLst>
                <a:ext uri="{FF2B5EF4-FFF2-40B4-BE49-F238E27FC236}">
                  <a16:creationId xmlns:a16="http://schemas.microsoft.com/office/drawing/2014/main" id="{8DA7E87C-1ACC-DE74-F96F-F5D55A1A5178}"/>
                </a:ext>
              </a:extLst>
            </p:cNvPr>
            <p:cNvSpPr/>
            <p:nvPr/>
          </p:nvSpPr>
          <p:spPr>
            <a:xfrm>
              <a:off x="24330194" y="13280922"/>
              <a:ext cx="435077" cy="435077"/>
            </a:xfrm>
            <a:custGeom>
              <a:avLst/>
              <a:gdLst>
                <a:gd name="connsiteX0" fmla="*/ 0 w 435077"/>
                <a:gd name="connsiteY0" fmla="*/ 435077 h 435077"/>
                <a:gd name="connsiteX1" fmla="*/ 0 w 435077"/>
                <a:gd name="connsiteY1" fmla="*/ 0 h 435077"/>
                <a:gd name="connsiteX2" fmla="*/ 217539 w 435077"/>
                <a:gd name="connsiteY2" fmla="*/ 217566 h 435077"/>
                <a:gd name="connsiteX3" fmla="*/ 0 w 435077"/>
                <a:gd name="connsiteY3" fmla="*/ 435077 h 435077"/>
                <a:gd name="connsiteX4" fmla="*/ 217539 w 435077"/>
                <a:gd name="connsiteY4" fmla="*/ 435077 h 435077"/>
                <a:gd name="connsiteX5" fmla="*/ 217539 w 435077"/>
                <a:gd name="connsiteY5" fmla="*/ 0 h 435077"/>
                <a:gd name="connsiteX6" fmla="*/ 435077 w 435077"/>
                <a:gd name="connsiteY6" fmla="*/ 217566 h 435077"/>
                <a:gd name="connsiteX7" fmla="*/ 217539 w 435077"/>
                <a:gd name="connsiteY7" fmla="*/ 435077 h 43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077" h="435077">
                  <a:moveTo>
                    <a:pt x="0" y="435077"/>
                  </a:moveTo>
                  <a:lnTo>
                    <a:pt x="0" y="0"/>
                  </a:lnTo>
                  <a:lnTo>
                    <a:pt x="217539" y="217566"/>
                  </a:lnTo>
                  <a:lnTo>
                    <a:pt x="0" y="435077"/>
                  </a:lnTo>
                  <a:close/>
                  <a:moveTo>
                    <a:pt x="217539" y="435077"/>
                  </a:moveTo>
                  <a:lnTo>
                    <a:pt x="217539" y="0"/>
                  </a:lnTo>
                  <a:lnTo>
                    <a:pt x="435077" y="217566"/>
                  </a:lnTo>
                  <a:lnTo>
                    <a:pt x="217539" y="435077"/>
                  </a:lnTo>
                  <a:close/>
                </a:path>
              </a:pathLst>
            </a:custGeom>
            <a:grpFill/>
            <a:ln w="27192" cap="flat">
              <a:noFill/>
              <a:prstDash val="solid"/>
              <a:miter/>
            </a:ln>
          </p:spPr>
          <p:txBody>
            <a:bodyPr rtlCol="0" anchor="ctr"/>
            <a:lstStyle/>
            <a:p>
              <a:endParaRPr lang="uk-UA" sz="900"/>
            </a:p>
          </p:txBody>
        </p:sp>
      </p:grpSp>
      <p:sp>
        <p:nvSpPr>
          <p:cNvPr id="6" name="Title 1">
            <a:extLst>
              <a:ext uri="{FF2B5EF4-FFF2-40B4-BE49-F238E27FC236}">
                <a16:creationId xmlns:a16="http://schemas.microsoft.com/office/drawing/2014/main" id="{C31CA7A0-E1EA-CC28-464A-48C141E3AF04}"/>
              </a:ext>
            </a:extLst>
          </p:cNvPr>
          <p:cNvSpPr>
            <a:spLocks noGrp="1"/>
          </p:cNvSpPr>
          <p:nvPr>
            <p:ph type="title"/>
          </p:nvPr>
        </p:nvSpPr>
        <p:spPr>
          <a:xfrm>
            <a:off x="288888" y="169655"/>
            <a:ext cx="5545750" cy="5828714"/>
          </a:xfrm>
        </p:spPr>
        <p:txBody>
          <a:bodyPr/>
          <a:lstStyle>
            <a:lvl1pPr>
              <a:lnSpc>
                <a:spcPct val="100000"/>
              </a:lnSpc>
              <a:defRPr sz="3199">
                <a:solidFill>
                  <a:schemeClr val="tx2"/>
                </a:solidFill>
              </a:defRPr>
            </a:lvl1pPr>
          </a:lstStyle>
          <a:p>
            <a:r>
              <a:rPr lang="en-US"/>
              <a:t>Click to edit Master title style</a:t>
            </a:r>
          </a:p>
        </p:txBody>
      </p:sp>
      <p:sp>
        <p:nvSpPr>
          <p:cNvPr id="30" name="TextBox 29">
            <a:extLst>
              <a:ext uri="{FF2B5EF4-FFF2-40B4-BE49-F238E27FC236}">
                <a16:creationId xmlns:a16="http://schemas.microsoft.com/office/drawing/2014/main" id="{B6AB9E3D-DE47-1DBC-98EF-F2C303C25948}"/>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rgbClr val="000000"/>
                </a:solidFill>
                <a:latin typeface="IBM Plex Sans" panose="020B0503050203000203" pitchFamily="34" charset="0"/>
                <a:ea typeface="+mj-ea"/>
                <a:cs typeface="+mj-cs"/>
                <a:sym typeface="IBM Plex Sans Light"/>
              </a:rPr>
              <a:t>#IBMTechXchange</a:t>
            </a:r>
          </a:p>
        </p:txBody>
      </p:sp>
      <p:sp>
        <p:nvSpPr>
          <p:cNvPr id="8" name="Footer Placeholder 1">
            <a:extLst>
              <a:ext uri="{FF2B5EF4-FFF2-40B4-BE49-F238E27FC236}">
                <a16:creationId xmlns:a16="http://schemas.microsoft.com/office/drawing/2014/main" id="{9BCAF19F-1CE8-B5CA-60ED-FA856519EF00}"/>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
        <p:nvSpPr>
          <p:cNvPr id="4" name="Slide Number">
            <a:extLst>
              <a:ext uri="{FF2B5EF4-FFF2-40B4-BE49-F238E27FC236}">
                <a16:creationId xmlns:a16="http://schemas.microsoft.com/office/drawing/2014/main" id="{BCFA4843-2EEB-F757-826B-7080CBD95F05}"/>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768840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2 callouts">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Title 1">
            <a:extLst>
              <a:ext uri="{FF2B5EF4-FFF2-40B4-BE49-F238E27FC236}">
                <a16:creationId xmlns:a16="http://schemas.microsoft.com/office/drawing/2014/main" id="{6733F7B7-5AD6-1E43-4FD9-3C700AC2CBD0}"/>
              </a:ext>
            </a:extLst>
          </p:cNvPr>
          <p:cNvSpPr>
            <a:spLocks noGrp="1"/>
          </p:cNvSpPr>
          <p:nvPr>
            <p:ph type="title"/>
          </p:nvPr>
        </p:nvSpPr>
        <p:spPr>
          <a:xfrm>
            <a:off x="269212" y="191937"/>
            <a:ext cx="7345034" cy="1285171"/>
          </a:xfrm>
        </p:spPr>
        <p:txBody>
          <a:bodyPr rIns="457200"/>
          <a:lstStyle>
            <a:lvl1pPr>
              <a:lnSpc>
                <a:spcPct val="100000"/>
              </a:lnSpc>
              <a:defRPr sz="3199">
                <a:solidFill>
                  <a:schemeClr val="tx2"/>
                </a:solidFill>
              </a:defRPr>
            </a:lvl1pPr>
          </a:lstStyle>
          <a:p>
            <a:r>
              <a:rPr lang="en-US"/>
              <a:t>Click to edit Master title style</a:t>
            </a:r>
          </a:p>
        </p:txBody>
      </p:sp>
      <p:sp>
        <p:nvSpPr>
          <p:cNvPr id="2" name="Text Placeholder 5">
            <a:extLst>
              <a:ext uri="{FF2B5EF4-FFF2-40B4-BE49-F238E27FC236}">
                <a16:creationId xmlns:a16="http://schemas.microsoft.com/office/drawing/2014/main" id="{393683E6-4962-57E0-9658-36D986D693BD}"/>
              </a:ext>
            </a:extLst>
          </p:cNvPr>
          <p:cNvSpPr>
            <a:spLocks noGrp="1"/>
          </p:cNvSpPr>
          <p:nvPr>
            <p:ph type="body" sz="quarter" idx="11"/>
          </p:nvPr>
        </p:nvSpPr>
        <p:spPr>
          <a:xfrm>
            <a:off x="6669807" y="1999457"/>
            <a:ext cx="4946006" cy="3723164"/>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7">
            <a:extLst>
              <a:ext uri="{FF2B5EF4-FFF2-40B4-BE49-F238E27FC236}">
                <a16:creationId xmlns:a16="http://schemas.microsoft.com/office/drawing/2014/main" id="{322783DF-B709-0768-BAFA-FEDE312037C8}"/>
              </a:ext>
            </a:extLst>
          </p:cNvPr>
          <p:cNvSpPr>
            <a:spLocks noGrp="1"/>
          </p:cNvSpPr>
          <p:nvPr>
            <p:ph type="body" sz="quarter" idx="12"/>
          </p:nvPr>
        </p:nvSpPr>
        <p:spPr>
          <a:xfrm>
            <a:off x="577775" y="1999457"/>
            <a:ext cx="4942038" cy="3723164"/>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1">
            <a:extLst>
              <a:ext uri="{FF2B5EF4-FFF2-40B4-BE49-F238E27FC236}">
                <a16:creationId xmlns:a16="http://schemas.microsoft.com/office/drawing/2014/main" id="{3A62BE5F-1F51-450E-D8FE-040CFAFD9A1C}"/>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
        <p:nvSpPr>
          <p:cNvPr id="7" name="TextBox 6">
            <a:extLst>
              <a:ext uri="{FF2B5EF4-FFF2-40B4-BE49-F238E27FC236}">
                <a16:creationId xmlns:a16="http://schemas.microsoft.com/office/drawing/2014/main" id="{09284B70-BC6C-6444-D91C-5568D1CE4978}"/>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rgbClr val="000000"/>
                </a:solidFill>
                <a:latin typeface="IBM Plex Sans" panose="020B0503050203000203" pitchFamily="34" charset="0"/>
                <a:ea typeface="+mj-ea"/>
                <a:cs typeface="+mj-cs"/>
                <a:sym typeface="IBM Plex Sans Light"/>
              </a:rPr>
              <a:t>#IBMTechXchange</a:t>
            </a:r>
          </a:p>
        </p:txBody>
      </p:sp>
    </p:spTree>
    <p:extLst>
      <p:ext uri="{BB962C8B-B14F-4D97-AF65-F5344CB8AC3E}">
        <p14:creationId xmlns:p14="http://schemas.microsoft.com/office/powerpoint/2010/main" val="2652172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ext, pictograms, 2 wide column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87999" y="3429000"/>
            <a:ext cx="5049180" cy="2569369"/>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6380919" y="3429000"/>
            <a:ext cx="5047593" cy="2569369"/>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8" name="Picture Placeholder 12">
            <a:extLst>
              <a:ext uri="{FF2B5EF4-FFF2-40B4-BE49-F238E27FC236}">
                <a16:creationId xmlns:a16="http://schemas.microsoft.com/office/drawing/2014/main" id="{79CF79E9-58BB-513E-43E9-E0BEE12B4583}"/>
              </a:ext>
            </a:extLst>
          </p:cNvPr>
          <p:cNvSpPr>
            <a:spLocks noGrp="1"/>
          </p:cNvSpPr>
          <p:nvPr>
            <p:ph type="pic" sz="quarter" idx="15" hasCustomPrompt="1"/>
          </p:nvPr>
        </p:nvSpPr>
        <p:spPr>
          <a:xfrm>
            <a:off x="287998" y="2478024"/>
            <a:ext cx="607997" cy="608076"/>
          </a:xfrm>
        </p:spPr>
        <p:txBody>
          <a:bodyPr anchor="ctr"/>
          <a:lstStyle>
            <a:lvl1pPr algn="ctr">
              <a:defRPr sz="800"/>
            </a:lvl1pPr>
          </a:lstStyle>
          <a:p>
            <a:r>
              <a:rPr lang="en-US"/>
              <a:t>Pictogram</a:t>
            </a:r>
          </a:p>
        </p:txBody>
      </p:sp>
      <p:sp>
        <p:nvSpPr>
          <p:cNvPr id="9" name="Title 1">
            <a:extLst>
              <a:ext uri="{FF2B5EF4-FFF2-40B4-BE49-F238E27FC236}">
                <a16:creationId xmlns:a16="http://schemas.microsoft.com/office/drawing/2014/main" id="{922459F1-A8D7-D6F0-9077-040A2C23378F}"/>
              </a:ext>
            </a:extLst>
          </p:cNvPr>
          <p:cNvSpPr>
            <a:spLocks noGrp="1"/>
          </p:cNvSpPr>
          <p:nvPr>
            <p:ph type="title"/>
          </p:nvPr>
        </p:nvSpPr>
        <p:spPr>
          <a:xfrm>
            <a:off x="269212" y="191937"/>
            <a:ext cx="7345034" cy="1429544"/>
          </a:xfrm>
        </p:spPr>
        <p:txBody>
          <a:bodyPr rIns="457200"/>
          <a:lstStyle>
            <a:lvl1pPr>
              <a:lnSpc>
                <a:spcPct val="100000"/>
              </a:lnSpc>
              <a:defRPr sz="3199">
                <a:solidFill>
                  <a:schemeClr val="tx2"/>
                </a:solidFill>
              </a:defRPr>
            </a:lvl1pPr>
          </a:lstStyle>
          <a:p>
            <a:r>
              <a:rPr lang="en-US"/>
              <a:t>Click to edit Master title style</a:t>
            </a:r>
          </a:p>
        </p:txBody>
      </p:sp>
      <p:sp>
        <p:nvSpPr>
          <p:cNvPr id="10" name="Picture Placeholder 12">
            <a:extLst>
              <a:ext uri="{FF2B5EF4-FFF2-40B4-BE49-F238E27FC236}">
                <a16:creationId xmlns:a16="http://schemas.microsoft.com/office/drawing/2014/main" id="{FA3EE5FA-E03D-2868-F43C-AED3641C30C5}"/>
              </a:ext>
            </a:extLst>
          </p:cNvPr>
          <p:cNvSpPr>
            <a:spLocks noGrp="1"/>
          </p:cNvSpPr>
          <p:nvPr>
            <p:ph type="pic" sz="quarter" idx="16" hasCustomPrompt="1"/>
          </p:nvPr>
        </p:nvSpPr>
        <p:spPr>
          <a:xfrm>
            <a:off x="6380919" y="2478024"/>
            <a:ext cx="607997" cy="608076"/>
          </a:xfrm>
        </p:spPr>
        <p:txBody>
          <a:bodyPr anchor="ctr"/>
          <a:lstStyle>
            <a:lvl1pPr algn="ctr">
              <a:defRPr sz="800"/>
            </a:lvl1pPr>
          </a:lstStyle>
          <a:p>
            <a:r>
              <a:rPr lang="en-US"/>
              <a:t>Pictogram</a:t>
            </a:r>
          </a:p>
        </p:txBody>
      </p:sp>
      <p:sp>
        <p:nvSpPr>
          <p:cNvPr id="3" name="Footer Placeholder 1">
            <a:extLst>
              <a:ext uri="{FF2B5EF4-FFF2-40B4-BE49-F238E27FC236}">
                <a16:creationId xmlns:a16="http://schemas.microsoft.com/office/drawing/2014/main" id="{4A670BDF-CD12-E7E2-0D14-69CE028ED3DE}"/>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
        <p:nvSpPr>
          <p:cNvPr id="2" name="TextBox 1">
            <a:extLst>
              <a:ext uri="{FF2B5EF4-FFF2-40B4-BE49-F238E27FC236}">
                <a16:creationId xmlns:a16="http://schemas.microsoft.com/office/drawing/2014/main" id="{CAFD2C5D-3974-015A-EBB8-84CB326BB0B8}"/>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rgbClr val="000000"/>
                </a:solidFill>
                <a:latin typeface="IBM Plex Sans" panose="020B0503050203000203" pitchFamily="34" charset="0"/>
                <a:ea typeface="+mj-ea"/>
                <a:cs typeface="+mj-cs"/>
                <a:sym typeface="IBM Plex Sans Light"/>
              </a:rPr>
              <a:t>#IBMTechXchange</a:t>
            </a:r>
          </a:p>
        </p:txBody>
      </p:sp>
    </p:spTree>
    <p:extLst>
      <p:ext uri="{BB962C8B-B14F-4D97-AF65-F5344CB8AC3E}">
        <p14:creationId xmlns:p14="http://schemas.microsoft.com/office/powerpoint/2010/main" val="1551011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section, 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68951" y="198288"/>
            <a:ext cx="5524575" cy="1114846"/>
          </a:xfrm>
        </p:spPr>
        <p:txBody>
          <a:bodyPr rIns="457200"/>
          <a:lstStyle>
            <a:lvl1pPr>
              <a:lnSpc>
                <a:spcPct val="100000"/>
              </a:lnSpc>
              <a:defRPr>
                <a:solidFill>
                  <a:schemeClr val="tx2"/>
                </a:solidFill>
              </a:defRPr>
            </a:lvl1pPr>
          </a:lstStyle>
          <a:p>
            <a:r>
              <a:rPr lang="en-US"/>
              <a:t>Click to edit Master title style</a:t>
            </a:r>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8" y="2824719"/>
            <a:ext cx="3487982" cy="2571750"/>
          </a:xfrm>
        </p:spPr>
        <p:txBody>
          <a:bodyPr/>
          <a:lstStyle>
            <a:lvl1pPr>
              <a:spcBef>
                <a:spcPts val="0"/>
              </a:spcBef>
              <a:spcAft>
                <a:spcPts val="600"/>
              </a:spcAft>
              <a:defRPr sz="1800">
                <a:solidFill>
                  <a:schemeClr val="tx1"/>
                </a:solidFill>
              </a:defRPr>
            </a:lvl1pPr>
            <a:lvl2pPr marL="127990" indent="-127990">
              <a:spcBef>
                <a:spcPts val="0"/>
              </a:spcBef>
              <a:spcAft>
                <a:spcPts val="600"/>
              </a:spcAft>
              <a:defRPr sz="1800">
                <a:solidFill>
                  <a:schemeClr val="tx1"/>
                </a:solidFill>
              </a:defRPr>
            </a:lvl2pPr>
            <a:lvl3pPr marL="255981" indent="-127990">
              <a:spcBef>
                <a:spcPts val="0"/>
              </a:spcBef>
              <a:spcAft>
                <a:spcPts val="600"/>
              </a:spcAft>
              <a:defRPr sz="1800">
                <a:solidFill>
                  <a:schemeClr val="tx1"/>
                </a:solidFill>
              </a:defRPr>
            </a:lvl3pPr>
            <a:lvl4pPr marL="383971" indent="-127990">
              <a:spcBef>
                <a:spcPts val="0"/>
              </a:spcBef>
              <a:spcAft>
                <a:spcPts val="600"/>
              </a:spcAft>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4352358" y="2824719"/>
            <a:ext cx="3487982" cy="2571750"/>
          </a:xfrm>
        </p:spPr>
        <p:txBody>
          <a:bodyPr/>
          <a:lstStyle>
            <a:lvl1pPr>
              <a:spcBef>
                <a:spcPts val="0"/>
              </a:spcBef>
              <a:spcAft>
                <a:spcPts val="600"/>
              </a:spcAft>
              <a:defRPr sz="1800">
                <a:solidFill>
                  <a:schemeClr val="tx1"/>
                </a:solidFill>
              </a:defRPr>
            </a:lvl1pPr>
            <a:lvl2pPr marL="127990" indent="-127990">
              <a:spcBef>
                <a:spcPts val="0"/>
              </a:spcBef>
              <a:spcAft>
                <a:spcPts val="600"/>
              </a:spcAft>
              <a:defRPr sz="1800">
                <a:solidFill>
                  <a:schemeClr val="tx1"/>
                </a:solidFill>
              </a:defRPr>
            </a:lvl2pPr>
            <a:lvl3pPr marL="255981" indent="-127990">
              <a:spcBef>
                <a:spcPts val="0"/>
              </a:spcBef>
              <a:spcAft>
                <a:spcPts val="600"/>
              </a:spcAft>
              <a:defRPr sz="1800">
                <a:solidFill>
                  <a:schemeClr val="tx1"/>
                </a:solidFill>
              </a:defRPr>
            </a:lvl3pPr>
            <a:lvl4pPr marL="383971" indent="-127990">
              <a:spcBef>
                <a:spcPts val="0"/>
              </a:spcBef>
              <a:spcAft>
                <a:spcPts val="600"/>
              </a:spcAft>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8416718" y="2824719"/>
            <a:ext cx="3487982" cy="2571750"/>
          </a:xfrm>
        </p:spPr>
        <p:txBody>
          <a:bodyPr/>
          <a:lstStyle>
            <a:lvl1pPr>
              <a:spcBef>
                <a:spcPts val="0"/>
              </a:spcBef>
              <a:spcAft>
                <a:spcPts val="600"/>
              </a:spcAft>
              <a:defRPr sz="1800">
                <a:solidFill>
                  <a:schemeClr val="tx1"/>
                </a:solidFill>
              </a:defRPr>
            </a:lvl1pPr>
            <a:lvl2pPr marL="127990" indent="-127990">
              <a:spcBef>
                <a:spcPts val="0"/>
              </a:spcBef>
              <a:spcAft>
                <a:spcPts val="600"/>
              </a:spcAft>
              <a:defRPr sz="1800">
                <a:solidFill>
                  <a:schemeClr val="tx1"/>
                </a:solidFill>
              </a:defRPr>
            </a:lvl2pPr>
            <a:lvl3pPr marL="255981" indent="-127990">
              <a:spcBef>
                <a:spcPts val="0"/>
              </a:spcBef>
              <a:spcAft>
                <a:spcPts val="600"/>
              </a:spcAft>
              <a:defRPr sz="1800">
                <a:solidFill>
                  <a:schemeClr val="tx1"/>
                </a:solidFill>
              </a:defRPr>
            </a:lvl3pPr>
            <a:lvl4pPr marL="383971" indent="-127990">
              <a:spcBef>
                <a:spcPts val="0"/>
              </a:spcBef>
              <a:spcAft>
                <a:spcPts val="600"/>
              </a:spcAft>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cxnSp>
        <p:nvCxnSpPr>
          <p:cNvPr id="3" name="Straight Connector 2">
            <a:extLst>
              <a:ext uri="{FF2B5EF4-FFF2-40B4-BE49-F238E27FC236}">
                <a16:creationId xmlns:a16="http://schemas.microsoft.com/office/drawing/2014/main" id="{DD0490D2-C450-EA05-A628-8CDD83FB950C}"/>
              </a:ext>
            </a:extLst>
          </p:cNvPr>
          <p:cNvCxnSpPr>
            <a:cxnSpLocks/>
          </p:cNvCxnSpPr>
          <p:nvPr userDrawn="1"/>
        </p:nvCxnSpPr>
        <p:spPr bwMode="auto">
          <a:xfrm>
            <a:off x="4064169" y="2824719"/>
            <a:ext cx="0" cy="316277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 name="Straight Connector 5">
            <a:extLst>
              <a:ext uri="{FF2B5EF4-FFF2-40B4-BE49-F238E27FC236}">
                <a16:creationId xmlns:a16="http://schemas.microsoft.com/office/drawing/2014/main" id="{DDD95C4A-640F-44BD-E7DB-7952B40B47EA}"/>
              </a:ext>
            </a:extLst>
          </p:cNvPr>
          <p:cNvCxnSpPr>
            <a:cxnSpLocks/>
          </p:cNvCxnSpPr>
          <p:nvPr userDrawn="1"/>
        </p:nvCxnSpPr>
        <p:spPr bwMode="auto">
          <a:xfrm>
            <a:off x="8128529" y="2824719"/>
            <a:ext cx="0" cy="31736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Footer Placeholder 1">
            <a:extLst>
              <a:ext uri="{FF2B5EF4-FFF2-40B4-BE49-F238E27FC236}">
                <a16:creationId xmlns:a16="http://schemas.microsoft.com/office/drawing/2014/main" id="{86080BDB-2578-19DC-62DC-21A64E466A93}"/>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
        <p:nvSpPr>
          <p:cNvPr id="7" name="TextBox 6">
            <a:extLst>
              <a:ext uri="{FF2B5EF4-FFF2-40B4-BE49-F238E27FC236}">
                <a16:creationId xmlns:a16="http://schemas.microsoft.com/office/drawing/2014/main" id="{A15204DA-CECD-F7CE-4C91-433F3390E2D0}"/>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rgbClr val="000000"/>
                </a:solidFill>
                <a:latin typeface="IBM Plex Sans" panose="020B0503050203000203" pitchFamily="34" charset="0"/>
                <a:ea typeface="+mj-ea"/>
                <a:cs typeface="+mj-cs"/>
                <a:sym typeface="IBM Plex Sans Light"/>
              </a:rPr>
              <a:t>#IBMTechXchange</a:t>
            </a:r>
          </a:p>
        </p:txBody>
      </p:sp>
    </p:spTree>
    <p:extLst>
      <p:ext uri="{BB962C8B-B14F-4D97-AF65-F5344CB8AC3E}">
        <p14:creationId xmlns:p14="http://schemas.microsoft.com/office/powerpoint/2010/main" val="2413005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pictograms, 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68951" y="198288"/>
            <a:ext cx="5524575" cy="1114846"/>
          </a:xfrm>
        </p:spPr>
        <p:txBody>
          <a:bodyPr rIns="457200"/>
          <a:lstStyle>
            <a:lvl1pPr>
              <a:lnSpc>
                <a:spcPct val="100000"/>
              </a:lnSpc>
              <a:defRPr>
                <a:solidFill>
                  <a:schemeClr val="tx2"/>
                </a:solidFill>
              </a:defRPr>
            </a:lvl1pPr>
          </a:lstStyle>
          <a:p>
            <a:r>
              <a:rPr lang="en-US"/>
              <a:t>Click to edit Master title style</a:t>
            </a:r>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8" y="3391046"/>
            <a:ext cx="3487982" cy="2571750"/>
          </a:xfrm>
        </p:spPr>
        <p:txBody>
          <a:bodyPr/>
          <a:lstStyle>
            <a:lvl1pPr>
              <a:spcBef>
                <a:spcPts val="0"/>
              </a:spcBef>
              <a:defRPr sz="1800">
                <a:solidFill>
                  <a:schemeClr val="tx1"/>
                </a:solidFill>
              </a:defRPr>
            </a:lvl1pPr>
            <a:lvl2pPr marL="127990" indent="-127990">
              <a:spcBef>
                <a:spcPts val="0"/>
              </a:spcBef>
              <a:defRPr sz="1800">
                <a:solidFill>
                  <a:schemeClr val="tx1"/>
                </a:solidFill>
              </a:defRPr>
            </a:lvl2pPr>
            <a:lvl3pPr marL="255981" indent="-127990">
              <a:spcBef>
                <a:spcPts val="0"/>
              </a:spcBef>
              <a:defRPr sz="1800">
                <a:solidFill>
                  <a:schemeClr val="tx1"/>
                </a:solidFill>
              </a:defRPr>
            </a:lvl3pPr>
            <a:lvl4pPr marL="383971" indent="-127990">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4352358" y="3391046"/>
            <a:ext cx="3487982" cy="2571750"/>
          </a:xfrm>
        </p:spPr>
        <p:txBody>
          <a:bodyPr/>
          <a:lstStyle>
            <a:lvl1pPr>
              <a:spcBef>
                <a:spcPts val="0"/>
              </a:spcBef>
              <a:defRPr sz="1800">
                <a:solidFill>
                  <a:schemeClr val="tx1"/>
                </a:solidFill>
              </a:defRPr>
            </a:lvl1pPr>
            <a:lvl2pPr marL="127990" indent="-127990">
              <a:spcBef>
                <a:spcPts val="0"/>
              </a:spcBef>
              <a:defRPr sz="1800">
                <a:solidFill>
                  <a:schemeClr val="tx1"/>
                </a:solidFill>
              </a:defRPr>
            </a:lvl2pPr>
            <a:lvl3pPr marL="255981" indent="-127990">
              <a:spcBef>
                <a:spcPts val="0"/>
              </a:spcBef>
              <a:defRPr sz="1800">
                <a:solidFill>
                  <a:schemeClr val="tx1"/>
                </a:solidFill>
              </a:defRPr>
            </a:lvl3pPr>
            <a:lvl4pPr marL="383971" indent="-127990">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8416718" y="3391046"/>
            <a:ext cx="3487982" cy="2571750"/>
          </a:xfrm>
        </p:spPr>
        <p:txBody>
          <a:bodyPr/>
          <a:lstStyle>
            <a:lvl1pPr>
              <a:spcBef>
                <a:spcPts val="0"/>
              </a:spcBef>
              <a:defRPr sz="1800">
                <a:solidFill>
                  <a:schemeClr val="tx1"/>
                </a:solidFill>
              </a:defRPr>
            </a:lvl1pPr>
            <a:lvl2pPr marL="127990" indent="-127990">
              <a:spcBef>
                <a:spcPts val="0"/>
              </a:spcBef>
              <a:defRPr sz="1800">
                <a:solidFill>
                  <a:schemeClr val="tx1"/>
                </a:solidFill>
              </a:defRPr>
            </a:lvl2pPr>
            <a:lvl3pPr marL="255981" indent="-127990">
              <a:spcBef>
                <a:spcPts val="0"/>
              </a:spcBef>
              <a:defRPr sz="1800">
                <a:solidFill>
                  <a:schemeClr val="tx1"/>
                </a:solidFill>
              </a:defRPr>
            </a:lvl3pPr>
            <a:lvl4pPr marL="383971" indent="-127990">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9" name="Picture Placeholder 12">
            <a:extLst>
              <a:ext uri="{FF2B5EF4-FFF2-40B4-BE49-F238E27FC236}">
                <a16:creationId xmlns:a16="http://schemas.microsoft.com/office/drawing/2014/main" id="{3D239E8C-BDAD-3BA7-69BA-6E9D9922A765}"/>
              </a:ext>
            </a:extLst>
          </p:cNvPr>
          <p:cNvSpPr>
            <a:spLocks noGrp="1"/>
          </p:cNvSpPr>
          <p:nvPr>
            <p:ph type="pic" sz="quarter" idx="18" hasCustomPrompt="1"/>
          </p:nvPr>
        </p:nvSpPr>
        <p:spPr>
          <a:xfrm>
            <a:off x="4352358" y="2440070"/>
            <a:ext cx="607997" cy="608076"/>
          </a:xfrm>
        </p:spPr>
        <p:txBody>
          <a:bodyPr anchor="ctr"/>
          <a:lstStyle>
            <a:lvl1pPr algn="ctr">
              <a:defRPr sz="800"/>
            </a:lvl1pPr>
          </a:lstStyle>
          <a:p>
            <a:r>
              <a:rPr lang="en-US"/>
              <a:t>Pictogram</a:t>
            </a:r>
          </a:p>
        </p:txBody>
      </p:sp>
      <p:sp>
        <p:nvSpPr>
          <p:cNvPr id="10" name="Picture Placeholder 12">
            <a:extLst>
              <a:ext uri="{FF2B5EF4-FFF2-40B4-BE49-F238E27FC236}">
                <a16:creationId xmlns:a16="http://schemas.microsoft.com/office/drawing/2014/main" id="{78F2607C-C2D8-FFBC-278F-61D7DB611750}"/>
              </a:ext>
            </a:extLst>
          </p:cNvPr>
          <p:cNvSpPr>
            <a:spLocks noGrp="1"/>
          </p:cNvSpPr>
          <p:nvPr>
            <p:ph type="pic" sz="quarter" idx="19" hasCustomPrompt="1"/>
          </p:nvPr>
        </p:nvSpPr>
        <p:spPr>
          <a:xfrm>
            <a:off x="8416718" y="2440070"/>
            <a:ext cx="607997" cy="608076"/>
          </a:xfrm>
        </p:spPr>
        <p:txBody>
          <a:bodyPr anchor="ctr"/>
          <a:lstStyle>
            <a:lvl1pPr algn="ctr">
              <a:defRPr sz="800"/>
            </a:lvl1pPr>
          </a:lstStyle>
          <a:p>
            <a:r>
              <a:rPr lang="en-US"/>
              <a:t>Pictogram</a:t>
            </a:r>
          </a:p>
        </p:txBody>
      </p:sp>
      <p:sp>
        <p:nvSpPr>
          <p:cNvPr id="15" name="Picture Placeholder 12">
            <a:extLst>
              <a:ext uri="{FF2B5EF4-FFF2-40B4-BE49-F238E27FC236}">
                <a16:creationId xmlns:a16="http://schemas.microsoft.com/office/drawing/2014/main" id="{E646E100-F22C-3F1E-673A-CE8E02105E6C}"/>
              </a:ext>
            </a:extLst>
          </p:cNvPr>
          <p:cNvSpPr>
            <a:spLocks noGrp="1"/>
          </p:cNvSpPr>
          <p:nvPr>
            <p:ph type="pic" sz="quarter" idx="21" hasCustomPrompt="1"/>
          </p:nvPr>
        </p:nvSpPr>
        <p:spPr>
          <a:xfrm>
            <a:off x="287998" y="2440070"/>
            <a:ext cx="607997" cy="608076"/>
          </a:xfrm>
        </p:spPr>
        <p:txBody>
          <a:bodyPr anchor="ctr"/>
          <a:lstStyle>
            <a:lvl1pPr algn="ctr">
              <a:defRPr sz="800"/>
            </a:lvl1pPr>
          </a:lstStyle>
          <a:p>
            <a:r>
              <a:rPr lang="en-US"/>
              <a:t>Pictogram</a:t>
            </a:r>
          </a:p>
        </p:txBody>
      </p:sp>
      <p:sp>
        <p:nvSpPr>
          <p:cNvPr id="4" name="Footer Placeholder 1">
            <a:extLst>
              <a:ext uri="{FF2B5EF4-FFF2-40B4-BE49-F238E27FC236}">
                <a16:creationId xmlns:a16="http://schemas.microsoft.com/office/drawing/2014/main" id="{48176892-FFF9-AD2F-96B8-DCCD56B20546}"/>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
        <p:nvSpPr>
          <p:cNvPr id="3" name="TextBox 2">
            <a:extLst>
              <a:ext uri="{FF2B5EF4-FFF2-40B4-BE49-F238E27FC236}">
                <a16:creationId xmlns:a16="http://schemas.microsoft.com/office/drawing/2014/main" id="{5A16FF4A-7B4F-AC5D-FA6F-4D99F2204F19}"/>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rgbClr val="000000"/>
                </a:solidFill>
                <a:latin typeface="IBM Plex Sans" panose="020B0503050203000203" pitchFamily="34" charset="0"/>
                <a:ea typeface="+mj-ea"/>
                <a:cs typeface="+mj-cs"/>
                <a:sym typeface="IBM Plex Sans Light"/>
              </a:rPr>
              <a:t>#IBMTechXchange</a:t>
            </a:r>
          </a:p>
        </p:txBody>
      </p:sp>
    </p:spTree>
    <p:extLst>
      <p:ext uri="{BB962C8B-B14F-4D97-AF65-F5344CB8AC3E}">
        <p14:creationId xmlns:p14="http://schemas.microsoft.com/office/powerpoint/2010/main" val="3037392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section, 3 middl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68951" y="198287"/>
            <a:ext cx="2493638" cy="3230713"/>
          </a:xfrm>
        </p:spPr>
        <p:txBody>
          <a:bodyPr rIns="457200"/>
          <a:lstStyle>
            <a:lvl1pPr>
              <a:lnSpc>
                <a:spcPct val="100000"/>
              </a:lnSpc>
              <a:defRPr>
                <a:solidFill>
                  <a:schemeClr val="tx2"/>
                </a:solidFill>
              </a:defRPr>
            </a:lvl1pPr>
          </a:lstStyle>
          <a:p>
            <a:r>
              <a:rPr lang="en-US"/>
              <a:t>Click to edit Master title style</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54298" y="2571750"/>
            <a:ext cx="2474590" cy="2571750"/>
          </a:xfrm>
        </p:spPr>
        <p:txBody>
          <a:bodyPr/>
          <a:lstStyle>
            <a:lvl1pPr>
              <a:spcBef>
                <a:spcPts val="0"/>
              </a:spcBef>
              <a:spcAft>
                <a:spcPts val="600"/>
              </a:spcAft>
              <a:defRPr sz="1800">
                <a:solidFill>
                  <a:schemeClr val="tx1"/>
                </a:solidFill>
              </a:defRPr>
            </a:lvl1pPr>
            <a:lvl2pPr marL="127990" indent="-127990">
              <a:spcBef>
                <a:spcPts val="0"/>
              </a:spcBef>
              <a:spcAft>
                <a:spcPts val="600"/>
              </a:spcAft>
              <a:defRPr sz="1800">
                <a:solidFill>
                  <a:schemeClr val="tx1"/>
                </a:solidFill>
              </a:defRPr>
            </a:lvl2pPr>
            <a:lvl3pPr marL="255981" indent="-127990">
              <a:spcBef>
                <a:spcPts val="0"/>
              </a:spcBef>
              <a:spcAft>
                <a:spcPts val="600"/>
              </a:spcAft>
              <a:defRPr sz="1800">
                <a:solidFill>
                  <a:schemeClr val="tx1"/>
                </a:solidFill>
              </a:defRPr>
            </a:lvl3pPr>
            <a:lvl4pPr marL="383971" indent="-127990">
              <a:spcBef>
                <a:spcPts val="0"/>
              </a:spcBef>
              <a:spcAft>
                <a:spcPts val="600"/>
              </a:spcAft>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401378" y="2571750"/>
            <a:ext cx="2474590" cy="2571750"/>
          </a:xfrm>
        </p:spPr>
        <p:txBody>
          <a:bodyPr/>
          <a:lstStyle>
            <a:lvl1pPr>
              <a:spcBef>
                <a:spcPts val="0"/>
              </a:spcBef>
              <a:spcAft>
                <a:spcPts val="600"/>
              </a:spcAft>
              <a:defRPr sz="1800">
                <a:solidFill>
                  <a:schemeClr val="tx1"/>
                </a:solidFill>
              </a:defRPr>
            </a:lvl1pPr>
            <a:lvl2pPr marL="127990" indent="-127990">
              <a:spcBef>
                <a:spcPts val="0"/>
              </a:spcBef>
              <a:spcAft>
                <a:spcPts val="600"/>
              </a:spcAft>
              <a:defRPr sz="1800">
                <a:solidFill>
                  <a:schemeClr val="tx1"/>
                </a:solidFill>
              </a:defRPr>
            </a:lvl2pPr>
            <a:lvl3pPr marL="255981" indent="-127990">
              <a:spcBef>
                <a:spcPts val="0"/>
              </a:spcBef>
              <a:spcAft>
                <a:spcPts val="600"/>
              </a:spcAft>
              <a:defRPr sz="1800">
                <a:solidFill>
                  <a:schemeClr val="tx1"/>
                </a:solidFill>
              </a:defRPr>
            </a:lvl3pPr>
            <a:lvl4pPr marL="383971" indent="-127990">
              <a:spcBef>
                <a:spcPts val="0"/>
              </a:spcBef>
              <a:spcAft>
                <a:spcPts val="600"/>
              </a:spcAft>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48459" y="2571750"/>
            <a:ext cx="2474590" cy="2571750"/>
          </a:xfrm>
        </p:spPr>
        <p:txBody>
          <a:bodyPr/>
          <a:lstStyle>
            <a:lvl1pPr>
              <a:spcBef>
                <a:spcPts val="0"/>
              </a:spcBef>
              <a:spcAft>
                <a:spcPts val="600"/>
              </a:spcAft>
              <a:defRPr sz="1800">
                <a:solidFill>
                  <a:schemeClr val="tx1"/>
                </a:solidFill>
              </a:defRPr>
            </a:lvl1pPr>
            <a:lvl2pPr marL="127990" indent="-127990">
              <a:spcBef>
                <a:spcPts val="0"/>
              </a:spcBef>
              <a:spcAft>
                <a:spcPts val="600"/>
              </a:spcAft>
              <a:defRPr sz="1800">
                <a:solidFill>
                  <a:schemeClr val="tx1"/>
                </a:solidFill>
              </a:defRPr>
            </a:lvl2pPr>
            <a:lvl3pPr marL="255981" indent="-127990">
              <a:spcBef>
                <a:spcPts val="0"/>
              </a:spcBef>
              <a:spcAft>
                <a:spcPts val="600"/>
              </a:spcAft>
              <a:defRPr sz="1800">
                <a:solidFill>
                  <a:schemeClr val="tx1"/>
                </a:solidFill>
              </a:defRPr>
            </a:lvl3pPr>
            <a:lvl4pPr marL="383971" indent="-127990">
              <a:spcBef>
                <a:spcPts val="0"/>
              </a:spcBef>
              <a:spcAft>
                <a:spcPts val="600"/>
              </a:spcAft>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grpSp>
        <p:nvGrpSpPr>
          <p:cNvPr id="8" name="Group 7">
            <a:extLst>
              <a:ext uri="{FF2B5EF4-FFF2-40B4-BE49-F238E27FC236}">
                <a16:creationId xmlns:a16="http://schemas.microsoft.com/office/drawing/2014/main" id="{5C66A411-C374-F3F3-B9CB-8D8D477D2E17}"/>
              </a:ext>
            </a:extLst>
          </p:cNvPr>
          <p:cNvGrpSpPr/>
          <p:nvPr userDrawn="1"/>
        </p:nvGrpSpPr>
        <p:grpSpPr>
          <a:xfrm>
            <a:off x="6093683" y="288925"/>
            <a:ext cx="3049127" cy="5709444"/>
            <a:chOff x="12188952" y="592079"/>
            <a:chExt cx="6099048" cy="5143498"/>
          </a:xfrm>
        </p:grpSpPr>
        <p:cxnSp>
          <p:nvCxnSpPr>
            <p:cNvPr id="6" name="Straight Connector 5">
              <a:extLst>
                <a:ext uri="{FF2B5EF4-FFF2-40B4-BE49-F238E27FC236}">
                  <a16:creationId xmlns:a16="http://schemas.microsoft.com/office/drawing/2014/main" id="{0319ED4A-BFBA-E53C-2BB8-09CE78A79FE7}"/>
                </a:ext>
              </a:extLst>
            </p:cNvPr>
            <p:cNvCxnSpPr>
              <a:cxnSpLocks/>
            </p:cNvCxnSpPr>
            <p:nvPr userDrawn="1"/>
          </p:nvCxnSpPr>
          <p:spPr bwMode="auto">
            <a:xfrm>
              <a:off x="12188952" y="594739"/>
              <a:ext cx="0" cy="514083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200224B-2BF1-5B5D-5780-D5DB90A12032}"/>
                </a:ext>
              </a:extLst>
            </p:cNvPr>
            <p:cNvCxnSpPr>
              <a:cxnSpLocks/>
            </p:cNvCxnSpPr>
            <p:nvPr userDrawn="1"/>
          </p:nvCxnSpPr>
          <p:spPr bwMode="auto">
            <a:xfrm>
              <a:off x="18288000" y="592079"/>
              <a:ext cx="0" cy="512137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grpSp>
      <p:sp>
        <p:nvSpPr>
          <p:cNvPr id="4" name="Footer Placeholder 1">
            <a:extLst>
              <a:ext uri="{FF2B5EF4-FFF2-40B4-BE49-F238E27FC236}">
                <a16:creationId xmlns:a16="http://schemas.microsoft.com/office/drawing/2014/main" id="{0D0F0F89-7318-2CE8-B2F0-DDA405BDB226}"/>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
        <p:nvSpPr>
          <p:cNvPr id="3" name="TextBox 2">
            <a:extLst>
              <a:ext uri="{FF2B5EF4-FFF2-40B4-BE49-F238E27FC236}">
                <a16:creationId xmlns:a16="http://schemas.microsoft.com/office/drawing/2014/main" id="{F63B397F-B89C-D29D-50C0-6DD99594A347}"/>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rgbClr val="000000"/>
                </a:solidFill>
                <a:latin typeface="IBM Plex Sans" panose="020B0503050203000203" pitchFamily="34" charset="0"/>
                <a:ea typeface="+mj-ea"/>
                <a:cs typeface="+mj-cs"/>
                <a:sym typeface="IBM Plex Sans Light"/>
              </a:rPr>
              <a:t>#IBMTechXchange</a:t>
            </a:r>
          </a:p>
        </p:txBody>
      </p:sp>
    </p:spTree>
    <p:extLst>
      <p:ext uri="{BB962C8B-B14F-4D97-AF65-F5344CB8AC3E}">
        <p14:creationId xmlns:p14="http://schemas.microsoft.com/office/powerpoint/2010/main" val="3334143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pictograms, 3 columns vertic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68951" y="198287"/>
            <a:ext cx="2493638" cy="3230713"/>
          </a:xfrm>
        </p:spPr>
        <p:txBody>
          <a:bodyPr rIns="457200"/>
          <a:lstStyle>
            <a:lvl1pPr>
              <a:lnSpc>
                <a:spcPct val="100000"/>
              </a:lnSpc>
              <a:defRPr>
                <a:solidFill>
                  <a:schemeClr val="tx2"/>
                </a:solidFill>
              </a:defRPr>
            </a:lvl1pPr>
          </a:lstStyle>
          <a:p>
            <a:r>
              <a:rPr lang="en-US"/>
              <a:t>Click to edit Master title style</a:t>
            </a:r>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cxnSp>
        <p:nvCxnSpPr>
          <p:cNvPr id="6" name="Straight Connector 5">
            <a:extLst>
              <a:ext uri="{FF2B5EF4-FFF2-40B4-BE49-F238E27FC236}">
                <a16:creationId xmlns:a16="http://schemas.microsoft.com/office/drawing/2014/main" id="{0319ED4A-BFBA-E53C-2BB8-09CE78A79FE7}"/>
              </a:ext>
            </a:extLst>
          </p:cNvPr>
          <p:cNvCxnSpPr>
            <a:cxnSpLocks/>
          </p:cNvCxnSpPr>
          <p:nvPr userDrawn="1"/>
        </p:nvCxnSpPr>
        <p:spPr bwMode="auto">
          <a:xfrm>
            <a:off x="6093683" y="291878"/>
            <a:ext cx="0" cy="570649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200224B-2BF1-5B5D-5780-D5DB90A12032}"/>
              </a:ext>
            </a:extLst>
          </p:cNvPr>
          <p:cNvCxnSpPr>
            <a:cxnSpLocks/>
          </p:cNvCxnSpPr>
          <p:nvPr userDrawn="1"/>
        </p:nvCxnSpPr>
        <p:spPr bwMode="auto">
          <a:xfrm>
            <a:off x="9142810" y="288925"/>
            <a:ext cx="0" cy="568488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 name="Text Placeholder 4">
            <a:extLst>
              <a:ext uri="{FF2B5EF4-FFF2-40B4-BE49-F238E27FC236}">
                <a16:creationId xmlns:a16="http://schemas.microsoft.com/office/drawing/2014/main" id="{375A15DB-1EFF-520D-BB52-429C515C5390}"/>
              </a:ext>
            </a:extLst>
          </p:cNvPr>
          <p:cNvSpPr>
            <a:spLocks noGrp="1"/>
          </p:cNvSpPr>
          <p:nvPr userDrawn="1">
            <p:ph type="body" sz="quarter" idx="22"/>
          </p:nvPr>
        </p:nvSpPr>
        <p:spPr>
          <a:xfrm>
            <a:off x="9424555" y="1239012"/>
            <a:ext cx="2476177" cy="3047238"/>
          </a:xfrm>
        </p:spPr>
        <p:txBody>
          <a:bodyPr/>
          <a:lstStyle>
            <a:lvl1pPr>
              <a:lnSpc>
                <a:spcPct val="100000"/>
              </a:lnSpc>
              <a:spcBef>
                <a:spcPts val="0"/>
              </a:spcBef>
              <a:spcAft>
                <a:spcPts val="600"/>
              </a:spcAft>
              <a:defRPr sz="1800">
                <a:solidFill>
                  <a:schemeClr val="tx1"/>
                </a:solidFill>
              </a:defRPr>
            </a:lvl1pPr>
            <a:lvl2pPr marL="201128" indent="-201128">
              <a:lnSpc>
                <a:spcPct val="100000"/>
              </a:lnSpc>
              <a:spcBef>
                <a:spcPts val="0"/>
              </a:spcBef>
              <a:spcAft>
                <a:spcPts val="600"/>
              </a:spcAft>
              <a:defRPr sz="1800">
                <a:solidFill>
                  <a:schemeClr val="tx1"/>
                </a:solidFill>
              </a:defRPr>
            </a:lvl2pPr>
            <a:lvl3pPr marL="402256" indent="-201128">
              <a:lnSpc>
                <a:spcPct val="100000"/>
              </a:lnSpc>
              <a:spcBef>
                <a:spcPts val="0"/>
              </a:spcBef>
              <a:spcAft>
                <a:spcPts val="600"/>
              </a:spcAft>
              <a:defRPr sz="1800">
                <a:solidFill>
                  <a:schemeClr val="tx1"/>
                </a:solidFill>
              </a:defRPr>
            </a:lvl3pPr>
            <a:lvl4pPr marL="557672" indent="-201128">
              <a:lnSpc>
                <a:spcPct val="100000"/>
              </a:lnSpc>
              <a:spcBef>
                <a:spcPts val="0"/>
              </a:spcBef>
              <a:spcAft>
                <a:spcPts val="600"/>
              </a:spcAft>
              <a:defRPr sz="18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Picture Placeholder 12">
            <a:extLst>
              <a:ext uri="{FF2B5EF4-FFF2-40B4-BE49-F238E27FC236}">
                <a16:creationId xmlns:a16="http://schemas.microsoft.com/office/drawing/2014/main" id="{DFA218C9-742E-511E-BA94-C411B5869722}"/>
              </a:ext>
            </a:extLst>
          </p:cNvPr>
          <p:cNvSpPr>
            <a:spLocks noGrp="1"/>
          </p:cNvSpPr>
          <p:nvPr userDrawn="1">
            <p:ph type="pic" sz="quarter" idx="23" hasCustomPrompt="1"/>
          </p:nvPr>
        </p:nvSpPr>
        <p:spPr>
          <a:xfrm>
            <a:off x="9424555" y="288036"/>
            <a:ext cx="607997" cy="608076"/>
          </a:xfrm>
        </p:spPr>
        <p:txBody>
          <a:bodyPr anchor="ctr"/>
          <a:lstStyle>
            <a:lvl1pPr algn="ctr">
              <a:defRPr sz="800"/>
            </a:lvl1pPr>
          </a:lstStyle>
          <a:p>
            <a:r>
              <a:rPr lang="en-US"/>
              <a:t>Pictogram</a:t>
            </a:r>
          </a:p>
        </p:txBody>
      </p:sp>
      <p:sp>
        <p:nvSpPr>
          <p:cNvPr id="10" name="Text Placeholder 4">
            <a:extLst>
              <a:ext uri="{FF2B5EF4-FFF2-40B4-BE49-F238E27FC236}">
                <a16:creationId xmlns:a16="http://schemas.microsoft.com/office/drawing/2014/main" id="{FFA8738A-CEF0-79AA-B419-B7680A6CC615}"/>
              </a:ext>
            </a:extLst>
          </p:cNvPr>
          <p:cNvSpPr>
            <a:spLocks noGrp="1"/>
          </p:cNvSpPr>
          <p:nvPr userDrawn="1">
            <p:ph type="body" sz="quarter" idx="24"/>
          </p:nvPr>
        </p:nvSpPr>
        <p:spPr>
          <a:xfrm>
            <a:off x="6389426" y="1239012"/>
            <a:ext cx="2476177" cy="3047238"/>
          </a:xfrm>
        </p:spPr>
        <p:txBody>
          <a:bodyPr/>
          <a:lstStyle>
            <a:lvl1pPr>
              <a:lnSpc>
                <a:spcPct val="100000"/>
              </a:lnSpc>
              <a:spcBef>
                <a:spcPts val="0"/>
              </a:spcBef>
              <a:spcAft>
                <a:spcPts val="600"/>
              </a:spcAft>
              <a:defRPr sz="1800">
                <a:solidFill>
                  <a:schemeClr val="tx1"/>
                </a:solidFill>
              </a:defRPr>
            </a:lvl1pPr>
            <a:lvl2pPr marL="201128" indent="-201128">
              <a:lnSpc>
                <a:spcPct val="100000"/>
              </a:lnSpc>
              <a:spcBef>
                <a:spcPts val="0"/>
              </a:spcBef>
              <a:spcAft>
                <a:spcPts val="600"/>
              </a:spcAft>
              <a:defRPr sz="1800">
                <a:solidFill>
                  <a:schemeClr val="tx1"/>
                </a:solidFill>
              </a:defRPr>
            </a:lvl2pPr>
            <a:lvl3pPr marL="402256" indent="-201128">
              <a:lnSpc>
                <a:spcPct val="100000"/>
              </a:lnSpc>
              <a:spcBef>
                <a:spcPts val="0"/>
              </a:spcBef>
              <a:spcAft>
                <a:spcPts val="600"/>
              </a:spcAft>
              <a:defRPr sz="1800">
                <a:solidFill>
                  <a:schemeClr val="tx1"/>
                </a:solidFill>
              </a:defRPr>
            </a:lvl3pPr>
            <a:lvl4pPr marL="557672" indent="-201128">
              <a:lnSpc>
                <a:spcPct val="100000"/>
              </a:lnSpc>
              <a:spcBef>
                <a:spcPts val="0"/>
              </a:spcBef>
              <a:spcAft>
                <a:spcPts val="600"/>
              </a:spcAft>
              <a:defRPr sz="18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12">
            <a:extLst>
              <a:ext uri="{FF2B5EF4-FFF2-40B4-BE49-F238E27FC236}">
                <a16:creationId xmlns:a16="http://schemas.microsoft.com/office/drawing/2014/main" id="{742E71B1-B5F7-9235-D02B-4E7306F89829}"/>
              </a:ext>
            </a:extLst>
          </p:cNvPr>
          <p:cNvSpPr>
            <a:spLocks noGrp="1"/>
          </p:cNvSpPr>
          <p:nvPr userDrawn="1">
            <p:ph type="pic" sz="quarter" idx="25" hasCustomPrompt="1"/>
          </p:nvPr>
        </p:nvSpPr>
        <p:spPr>
          <a:xfrm>
            <a:off x="6389426" y="288036"/>
            <a:ext cx="607997" cy="608076"/>
          </a:xfrm>
        </p:spPr>
        <p:txBody>
          <a:bodyPr anchor="ctr"/>
          <a:lstStyle>
            <a:lvl1pPr algn="ctr">
              <a:defRPr sz="800"/>
            </a:lvl1pPr>
          </a:lstStyle>
          <a:p>
            <a:r>
              <a:rPr lang="en-US"/>
              <a:t>Pictogram</a:t>
            </a:r>
          </a:p>
        </p:txBody>
      </p:sp>
      <p:sp>
        <p:nvSpPr>
          <p:cNvPr id="15" name="Text Placeholder 4">
            <a:extLst>
              <a:ext uri="{FF2B5EF4-FFF2-40B4-BE49-F238E27FC236}">
                <a16:creationId xmlns:a16="http://schemas.microsoft.com/office/drawing/2014/main" id="{0B7FE31C-8FA8-1E02-8414-47C66592F2A1}"/>
              </a:ext>
            </a:extLst>
          </p:cNvPr>
          <p:cNvSpPr>
            <a:spLocks noGrp="1"/>
          </p:cNvSpPr>
          <p:nvPr userDrawn="1">
            <p:ph type="body" sz="quarter" idx="26"/>
          </p:nvPr>
        </p:nvSpPr>
        <p:spPr>
          <a:xfrm>
            <a:off x="3354298" y="1239012"/>
            <a:ext cx="2476177" cy="3047238"/>
          </a:xfrm>
        </p:spPr>
        <p:txBody>
          <a:bodyPr/>
          <a:lstStyle>
            <a:lvl1pPr>
              <a:lnSpc>
                <a:spcPct val="100000"/>
              </a:lnSpc>
              <a:spcBef>
                <a:spcPts val="0"/>
              </a:spcBef>
              <a:spcAft>
                <a:spcPts val="600"/>
              </a:spcAft>
              <a:defRPr sz="1800">
                <a:solidFill>
                  <a:schemeClr val="tx1"/>
                </a:solidFill>
              </a:defRPr>
            </a:lvl1pPr>
            <a:lvl2pPr marL="201128" indent="-201128">
              <a:lnSpc>
                <a:spcPct val="100000"/>
              </a:lnSpc>
              <a:spcBef>
                <a:spcPts val="0"/>
              </a:spcBef>
              <a:spcAft>
                <a:spcPts val="600"/>
              </a:spcAft>
              <a:defRPr sz="1800">
                <a:solidFill>
                  <a:schemeClr val="tx1"/>
                </a:solidFill>
              </a:defRPr>
            </a:lvl2pPr>
            <a:lvl3pPr marL="402256" indent="-201128">
              <a:lnSpc>
                <a:spcPct val="100000"/>
              </a:lnSpc>
              <a:spcBef>
                <a:spcPts val="0"/>
              </a:spcBef>
              <a:spcAft>
                <a:spcPts val="600"/>
              </a:spcAft>
              <a:defRPr sz="1800">
                <a:solidFill>
                  <a:schemeClr val="tx1"/>
                </a:solidFill>
              </a:defRPr>
            </a:lvl3pPr>
            <a:lvl4pPr marL="557672" indent="-201128">
              <a:lnSpc>
                <a:spcPct val="100000"/>
              </a:lnSpc>
              <a:spcBef>
                <a:spcPts val="0"/>
              </a:spcBef>
              <a:spcAft>
                <a:spcPts val="600"/>
              </a:spcAft>
              <a:defRPr sz="18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2">
            <a:extLst>
              <a:ext uri="{FF2B5EF4-FFF2-40B4-BE49-F238E27FC236}">
                <a16:creationId xmlns:a16="http://schemas.microsoft.com/office/drawing/2014/main" id="{E798A212-9B60-58A9-FAAF-19FACBA14613}"/>
              </a:ext>
            </a:extLst>
          </p:cNvPr>
          <p:cNvSpPr>
            <a:spLocks noGrp="1"/>
          </p:cNvSpPr>
          <p:nvPr userDrawn="1">
            <p:ph type="pic" sz="quarter" idx="27" hasCustomPrompt="1"/>
          </p:nvPr>
        </p:nvSpPr>
        <p:spPr>
          <a:xfrm>
            <a:off x="3354298" y="288036"/>
            <a:ext cx="607997" cy="608076"/>
          </a:xfrm>
        </p:spPr>
        <p:txBody>
          <a:bodyPr anchor="ctr"/>
          <a:lstStyle>
            <a:lvl1pPr algn="ctr">
              <a:defRPr sz="800"/>
            </a:lvl1pPr>
          </a:lstStyle>
          <a:p>
            <a:r>
              <a:rPr lang="en-US"/>
              <a:t>Pictogram</a:t>
            </a:r>
          </a:p>
        </p:txBody>
      </p:sp>
      <p:cxnSp>
        <p:nvCxnSpPr>
          <p:cNvPr id="17" name="Straight Connector 16">
            <a:extLst>
              <a:ext uri="{FF2B5EF4-FFF2-40B4-BE49-F238E27FC236}">
                <a16:creationId xmlns:a16="http://schemas.microsoft.com/office/drawing/2014/main" id="{57AA5A9F-1FF4-B8F4-1347-735214DFF067}"/>
              </a:ext>
            </a:extLst>
          </p:cNvPr>
          <p:cNvCxnSpPr>
            <a:cxnSpLocks/>
          </p:cNvCxnSpPr>
          <p:nvPr userDrawn="1"/>
        </p:nvCxnSpPr>
        <p:spPr bwMode="auto">
          <a:xfrm>
            <a:off x="3055186" y="291878"/>
            <a:ext cx="0" cy="570649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Footer Placeholder 1">
            <a:extLst>
              <a:ext uri="{FF2B5EF4-FFF2-40B4-BE49-F238E27FC236}">
                <a16:creationId xmlns:a16="http://schemas.microsoft.com/office/drawing/2014/main" id="{7DE1C342-B84B-FDDF-9C31-E2203F3C72F2}"/>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
        <p:nvSpPr>
          <p:cNvPr id="8" name="TextBox 7">
            <a:extLst>
              <a:ext uri="{FF2B5EF4-FFF2-40B4-BE49-F238E27FC236}">
                <a16:creationId xmlns:a16="http://schemas.microsoft.com/office/drawing/2014/main" id="{A36B3BC3-C936-235D-8E26-BC015B58B821}"/>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rgbClr val="000000"/>
                </a:solidFill>
                <a:latin typeface="IBM Plex Sans" panose="020B0503050203000203" pitchFamily="34" charset="0"/>
                <a:ea typeface="+mj-ea"/>
                <a:cs typeface="+mj-cs"/>
                <a:sym typeface="IBM Plex Sans Light"/>
              </a:rPr>
              <a:t>#IBMTechXchange</a:t>
            </a:r>
          </a:p>
        </p:txBody>
      </p:sp>
    </p:spTree>
    <p:extLst>
      <p:ext uri="{BB962C8B-B14F-4D97-AF65-F5344CB8AC3E}">
        <p14:creationId xmlns:p14="http://schemas.microsoft.com/office/powerpoint/2010/main" val="4089117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63" y="192024"/>
            <a:ext cx="4953942" cy="2104835"/>
          </a:xfrm>
        </p:spPr>
        <p:txBody>
          <a:bodyPr/>
          <a:lstStyle>
            <a:lvl1pPr>
              <a:lnSpc>
                <a:spcPct val="100000"/>
              </a:lnSpc>
              <a:defRPr sz="3399">
                <a:solidFill>
                  <a:schemeClr val="tx2"/>
                </a:solidFill>
              </a:defRPr>
            </a:lvl1pPr>
          </a:lstStyle>
          <a:p>
            <a:r>
              <a:rPr lang="en-US"/>
              <a:t>Click to edit Master title style</a:t>
            </a:r>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6389168" y="192024"/>
            <a:ext cx="5520318" cy="4389247"/>
          </a:xfrm>
        </p:spPr>
        <p:txBody>
          <a:bodyPr/>
          <a:lstStyle>
            <a:lvl1pPr>
              <a:lnSpc>
                <a:spcPct val="100000"/>
              </a:lnSpc>
              <a:spcBef>
                <a:spcPts val="0"/>
              </a:spcBef>
              <a:defRPr sz="3399">
                <a:solidFill>
                  <a:schemeClr val="tx2"/>
                </a:solidFill>
              </a:defRPr>
            </a:lvl1pPr>
            <a:lvl2pPr marL="292549" indent="-292549">
              <a:lnSpc>
                <a:spcPct val="100000"/>
              </a:lnSpc>
              <a:spcBef>
                <a:spcPts val="0"/>
              </a:spcBef>
              <a:defRPr sz="3399">
                <a:solidFill>
                  <a:schemeClr val="tx2"/>
                </a:solidFill>
              </a:defRPr>
            </a:lvl2pPr>
            <a:lvl3pPr marL="548530" indent="-292549">
              <a:lnSpc>
                <a:spcPct val="100000"/>
              </a:lnSpc>
              <a:spcBef>
                <a:spcPts val="0"/>
              </a:spcBef>
              <a:defRPr sz="3399">
                <a:solidFill>
                  <a:schemeClr val="tx2"/>
                </a:solidFill>
              </a:defRPr>
            </a:lvl3pPr>
            <a:lvl4pPr marL="877648">
              <a:lnSpc>
                <a:spcPct val="100000"/>
              </a:lnSpc>
              <a:spcBef>
                <a:spcPts val="0"/>
              </a:spcBef>
              <a:defRPr sz="3399">
                <a:solidFill>
                  <a:schemeClr val="tx2"/>
                </a:solidFill>
              </a:defRPr>
            </a:lvl4pPr>
            <a:lvl5pPr>
              <a:lnSpc>
                <a:spcPct val="100000"/>
              </a:lnSpc>
              <a:spcBef>
                <a:spcPts val="0"/>
              </a:spcBef>
              <a:defRPr sz="3199"/>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20FC8337-4A61-6950-CEE5-DDB270D10746}"/>
              </a:ext>
            </a:extLst>
          </p:cNvPr>
          <p:cNvSpPr>
            <a:spLocks noGrp="1"/>
          </p:cNvSpPr>
          <p:nvPr>
            <p:ph type="ftr" sz="quarter" idx="18"/>
          </p:nvPr>
        </p:nvSpPr>
        <p:spPr>
          <a:xfrm>
            <a:off x="287963" y="6408000"/>
            <a:ext cx="2477765" cy="190500"/>
          </a:xfrm>
        </p:spPr>
        <p:txBody>
          <a:bodyPr/>
          <a:lstStyle/>
          <a:p>
            <a:endParaRPr lang="en-US"/>
          </a:p>
        </p:txBody>
      </p:sp>
      <p:sp>
        <p:nvSpPr>
          <p:cNvPr id="7" name="Slide Number">
            <a:extLst>
              <a:ext uri="{FF2B5EF4-FFF2-40B4-BE49-F238E27FC236}">
                <a16:creationId xmlns:a16="http://schemas.microsoft.com/office/drawing/2014/main" id="{F8F57643-D39B-662E-5D14-6D9BFA200F39}"/>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500215044"/>
      </p:ext>
    </p:extLst>
  </p:cSld>
  <p:clrMapOvr>
    <a:masterClrMapping/>
  </p:clrMapOvr>
  <p:transition spd="med"/>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section, pictograms, 3 columns vertic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68951" y="198287"/>
            <a:ext cx="2493638" cy="3230713"/>
          </a:xfrm>
        </p:spPr>
        <p:txBody>
          <a:bodyPr rIns="457200"/>
          <a:lstStyle>
            <a:lvl1pPr>
              <a:lnSpc>
                <a:spcPct val="100000"/>
              </a:lnSpc>
              <a:defRPr>
                <a:solidFill>
                  <a:schemeClr val="tx2"/>
                </a:solidFill>
              </a:defRPr>
            </a:lvl1pPr>
          </a:lstStyle>
          <a:p>
            <a:r>
              <a:rPr lang="en-US"/>
              <a:t>Click to edit Master title style</a:t>
            </a:r>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cxnSp>
        <p:nvCxnSpPr>
          <p:cNvPr id="6" name="Straight Connector 5">
            <a:extLst>
              <a:ext uri="{FF2B5EF4-FFF2-40B4-BE49-F238E27FC236}">
                <a16:creationId xmlns:a16="http://schemas.microsoft.com/office/drawing/2014/main" id="{0319ED4A-BFBA-E53C-2BB8-09CE78A79FE7}"/>
              </a:ext>
            </a:extLst>
          </p:cNvPr>
          <p:cNvCxnSpPr>
            <a:cxnSpLocks/>
          </p:cNvCxnSpPr>
          <p:nvPr userDrawn="1"/>
        </p:nvCxnSpPr>
        <p:spPr bwMode="auto">
          <a:xfrm>
            <a:off x="6093683" y="291878"/>
            <a:ext cx="0" cy="570649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200224B-2BF1-5B5D-5780-D5DB90A12032}"/>
              </a:ext>
            </a:extLst>
          </p:cNvPr>
          <p:cNvCxnSpPr>
            <a:cxnSpLocks/>
          </p:cNvCxnSpPr>
          <p:nvPr userDrawn="1"/>
        </p:nvCxnSpPr>
        <p:spPr bwMode="auto">
          <a:xfrm>
            <a:off x="9142810" y="288925"/>
            <a:ext cx="0" cy="568488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 name="Text Placeholder 4">
            <a:extLst>
              <a:ext uri="{FF2B5EF4-FFF2-40B4-BE49-F238E27FC236}">
                <a16:creationId xmlns:a16="http://schemas.microsoft.com/office/drawing/2014/main" id="{375A15DB-1EFF-520D-BB52-429C515C5390}"/>
              </a:ext>
            </a:extLst>
          </p:cNvPr>
          <p:cNvSpPr>
            <a:spLocks noGrp="1"/>
          </p:cNvSpPr>
          <p:nvPr userDrawn="1">
            <p:ph type="body" sz="quarter" idx="22"/>
          </p:nvPr>
        </p:nvSpPr>
        <p:spPr>
          <a:xfrm>
            <a:off x="9424555" y="1239012"/>
            <a:ext cx="2476177" cy="3047238"/>
          </a:xfrm>
        </p:spPr>
        <p:txBody>
          <a:bodyPr/>
          <a:lstStyle>
            <a:lvl1pPr>
              <a:lnSpc>
                <a:spcPct val="100000"/>
              </a:lnSpc>
              <a:spcBef>
                <a:spcPts val="0"/>
              </a:spcBef>
              <a:spcAft>
                <a:spcPts val="600"/>
              </a:spcAft>
              <a:defRPr sz="1800">
                <a:solidFill>
                  <a:schemeClr val="tx1"/>
                </a:solidFill>
              </a:defRPr>
            </a:lvl1pPr>
            <a:lvl2pPr marL="201128" indent="-201128">
              <a:lnSpc>
                <a:spcPct val="100000"/>
              </a:lnSpc>
              <a:spcBef>
                <a:spcPts val="0"/>
              </a:spcBef>
              <a:spcAft>
                <a:spcPts val="600"/>
              </a:spcAft>
              <a:defRPr sz="1800">
                <a:solidFill>
                  <a:schemeClr val="tx1"/>
                </a:solidFill>
              </a:defRPr>
            </a:lvl2pPr>
            <a:lvl3pPr marL="402256" indent="-201128">
              <a:lnSpc>
                <a:spcPct val="100000"/>
              </a:lnSpc>
              <a:spcBef>
                <a:spcPts val="0"/>
              </a:spcBef>
              <a:spcAft>
                <a:spcPts val="600"/>
              </a:spcAft>
              <a:defRPr sz="1800">
                <a:solidFill>
                  <a:schemeClr val="tx1"/>
                </a:solidFill>
              </a:defRPr>
            </a:lvl3pPr>
            <a:lvl4pPr marL="557672" indent="-201128">
              <a:lnSpc>
                <a:spcPct val="100000"/>
              </a:lnSpc>
              <a:spcBef>
                <a:spcPts val="0"/>
              </a:spcBef>
              <a:spcAft>
                <a:spcPts val="600"/>
              </a:spcAft>
              <a:defRPr sz="18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Picture Placeholder 12">
            <a:extLst>
              <a:ext uri="{FF2B5EF4-FFF2-40B4-BE49-F238E27FC236}">
                <a16:creationId xmlns:a16="http://schemas.microsoft.com/office/drawing/2014/main" id="{DFA218C9-742E-511E-BA94-C411B5869722}"/>
              </a:ext>
            </a:extLst>
          </p:cNvPr>
          <p:cNvSpPr>
            <a:spLocks noGrp="1"/>
          </p:cNvSpPr>
          <p:nvPr userDrawn="1">
            <p:ph type="pic" sz="quarter" idx="23" hasCustomPrompt="1"/>
          </p:nvPr>
        </p:nvSpPr>
        <p:spPr>
          <a:xfrm>
            <a:off x="9424555" y="288036"/>
            <a:ext cx="607997" cy="608076"/>
          </a:xfrm>
        </p:spPr>
        <p:txBody>
          <a:bodyPr anchor="ctr"/>
          <a:lstStyle>
            <a:lvl1pPr algn="ctr">
              <a:defRPr sz="800"/>
            </a:lvl1pPr>
          </a:lstStyle>
          <a:p>
            <a:r>
              <a:rPr lang="en-US"/>
              <a:t>Pictogram</a:t>
            </a:r>
          </a:p>
        </p:txBody>
      </p:sp>
      <p:sp>
        <p:nvSpPr>
          <p:cNvPr id="10" name="Text Placeholder 4">
            <a:extLst>
              <a:ext uri="{FF2B5EF4-FFF2-40B4-BE49-F238E27FC236}">
                <a16:creationId xmlns:a16="http://schemas.microsoft.com/office/drawing/2014/main" id="{FFA8738A-CEF0-79AA-B419-B7680A6CC615}"/>
              </a:ext>
            </a:extLst>
          </p:cNvPr>
          <p:cNvSpPr>
            <a:spLocks noGrp="1"/>
          </p:cNvSpPr>
          <p:nvPr userDrawn="1">
            <p:ph type="body" sz="quarter" idx="24"/>
          </p:nvPr>
        </p:nvSpPr>
        <p:spPr>
          <a:xfrm>
            <a:off x="6389426" y="1239012"/>
            <a:ext cx="2476177" cy="3047238"/>
          </a:xfrm>
        </p:spPr>
        <p:txBody>
          <a:bodyPr/>
          <a:lstStyle>
            <a:lvl1pPr>
              <a:lnSpc>
                <a:spcPct val="100000"/>
              </a:lnSpc>
              <a:spcBef>
                <a:spcPts val="0"/>
              </a:spcBef>
              <a:spcAft>
                <a:spcPts val="600"/>
              </a:spcAft>
              <a:defRPr sz="1800">
                <a:solidFill>
                  <a:schemeClr val="tx1"/>
                </a:solidFill>
              </a:defRPr>
            </a:lvl1pPr>
            <a:lvl2pPr marL="201128" indent="-201128">
              <a:lnSpc>
                <a:spcPct val="100000"/>
              </a:lnSpc>
              <a:spcBef>
                <a:spcPts val="0"/>
              </a:spcBef>
              <a:spcAft>
                <a:spcPts val="600"/>
              </a:spcAft>
              <a:defRPr sz="1800">
                <a:solidFill>
                  <a:schemeClr val="tx1"/>
                </a:solidFill>
              </a:defRPr>
            </a:lvl2pPr>
            <a:lvl3pPr marL="402256" indent="-201128">
              <a:lnSpc>
                <a:spcPct val="100000"/>
              </a:lnSpc>
              <a:spcBef>
                <a:spcPts val="0"/>
              </a:spcBef>
              <a:spcAft>
                <a:spcPts val="600"/>
              </a:spcAft>
              <a:defRPr sz="1800">
                <a:solidFill>
                  <a:schemeClr val="tx1"/>
                </a:solidFill>
              </a:defRPr>
            </a:lvl3pPr>
            <a:lvl4pPr marL="557672" indent="-201128">
              <a:lnSpc>
                <a:spcPct val="100000"/>
              </a:lnSpc>
              <a:spcBef>
                <a:spcPts val="0"/>
              </a:spcBef>
              <a:spcAft>
                <a:spcPts val="600"/>
              </a:spcAft>
              <a:defRPr sz="18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12">
            <a:extLst>
              <a:ext uri="{FF2B5EF4-FFF2-40B4-BE49-F238E27FC236}">
                <a16:creationId xmlns:a16="http://schemas.microsoft.com/office/drawing/2014/main" id="{742E71B1-B5F7-9235-D02B-4E7306F89829}"/>
              </a:ext>
            </a:extLst>
          </p:cNvPr>
          <p:cNvSpPr>
            <a:spLocks noGrp="1"/>
          </p:cNvSpPr>
          <p:nvPr userDrawn="1">
            <p:ph type="pic" sz="quarter" idx="25" hasCustomPrompt="1"/>
          </p:nvPr>
        </p:nvSpPr>
        <p:spPr>
          <a:xfrm>
            <a:off x="6389426" y="288036"/>
            <a:ext cx="607997" cy="608076"/>
          </a:xfrm>
        </p:spPr>
        <p:txBody>
          <a:bodyPr anchor="ctr"/>
          <a:lstStyle>
            <a:lvl1pPr algn="ctr">
              <a:defRPr sz="800"/>
            </a:lvl1pPr>
          </a:lstStyle>
          <a:p>
            <a:r>
              <a:rPr lang="en-US"/>
              <a:t>Pictogram</a:t>
            </a:r>
          </a:p>
        </p:txBody>
      </p:sp>
      <p:sp>
        <p:nvSpPr>
          <p:cNvPr id="15" name="Text Placeholder 4">
            <a:extLst>
              <a:ext uri="{FF2B5EF4-FFF2-40B4-BE49-F238E27FC236}">
                <a16:creationId xmlns:a16="http://schemas.microsoft.com/office/drawing/2014/main" id="{0B7FE31C-8FA8-1E02-8414-47C66592F2A1}"/>
              </a:ext>
            </a:extLst>
          </p:cNvPr>
          <p:cNvSpPr>
            <a:spLocks noGrp="1"/>
          </p:cNvSpPr>
          <p:nvPr userDrawn="1">
            <p:ph type="body" sz="quarter" idx="26"/>
          </p:nvPr>
        </p:nvSpPr>
        <p:spPr>
          <a:xfrm>
            <a:off x="3354298" y="1239012"/>
            <a:ext cx="2476177" cy="3047238"/>
          </a:xfrm>
        </p:spPr>
        <p:txBody>
          <a:bodyPr/>
          <a:lstStyle>
            <a:lvl1pPr>
              <a:lnSpc>
                <a:spcPct val="100000"/>
              </a:lnSpc>
              <a:spcBef>
                <a:spcPts val="0"/>
              </a:spcBef>
              <a:spcAft>
                <a:spcPts val="600"/>
              </a:spcAft>
              <a:defRPr sz="1800">
                <a:solidFill>
                  <a:schemeClr val="tx1"/>
                </a:solidFill>
              </a:defRPr>
            </a:lvl1pPr>
            <a:lvl2pPr marL="201128" indent="-201128">
              <a:lnSpc>
                <a:spcPct val="100000"/>
              </a:lnSpc>
              <a:spcBef>
                <a:spcPts val="0"/>
              </a:spcBef>
              <a:spcAft>
                <a:spcPts val="600"/>
              </a:spcAft>
              <a:defRPr sz="1800">
                <a:solidFill>
                  <a:schemeClr val="tx1"/>
                </a:solidFill>
              </a:defRPr>
            </a:lvl2pPr>
            <a:lvl3pPr marL="402256" indent="-201128">
              <a:lnSpc>
                <a:spcPct val="100000"/>
              </a:lnSpc>
              <a:spcBef>
                <a:spcPts val="0"/>
              </a:spcBef>
              <a:spcAft>
                <a:spcPts val="600"/>
              </a:spcAft>
              <a:defRPr sz="1800">
                <a:solidFill>
                  <a:schemeClr val="tx1"/>
                </a:solidFill>
              </a:defRPr>
            </a:lvl3pPr>
            <a:lvl4pPr marL="557672" indent="-201128">
              <a:lnSpc>
                <a:spcPct val="100000"/>
              </a:lnSpc>
              <a:spcBef>
                <a:spcPts val="0"/>
              </a:spcBef>
              <a:spcAft>
                <a:spcPts val="600"/>
              </a:spcAft>
              <a:defRPr sz="18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2">
            <a:extLst>
              <a:ext uri="{FF2B5EF4-FFF2-40B4-BE49-F238E27FC236}">
                <a16:creationId xmlns:a16="http://schemas.microsoft.com/office/drawing/2014/main" id="{E798A212-9B60-58A9-FAAF-19FACBA14613}"/>
              </a:ext>
            </a:extLst>
          </p:cNvPr>
          <p:cNvSpPr>
            <a:spLocks noGrp="1"/>
          </p:cNvSpPr>
          <p:nvPr userDrawn="1">
            <p:ph type="pic" sz="quarter" idx="27" hasCustomPrompt="1"/>
          </p:nvPr>
        </p:nvSpPr>
        <p:spPr>
          <a:xfrm>
            <a:off x="3354298" y="288036"/>
            <a:ext cx="607997" cy="608076"/>
          </a:xfrm>
        </p:spPr>
        <p:txBody>
          <a:bodyPr anchor="ctr"/>
          <a:lstStyle>
            <a:lvl1pPr algn="ctr">
              <a:defRPr sz="800"/>
            </a:lvl1pPr>
          </a:lstStyle>
          <a:p>
            <a:r>
              <a:rPr lang="en-US"/>
              <a:t>Pictogram</a:t>
            </a:r>
          </a:p>
        </p:txBody>
      </p:sp>
      <p:sp>
        <p:nvSpPr>
          <p:cNvPr id="4" name="Footer Placeholder 1">
            <a:extLst>
              <a:ext uri="{FF2B5EF4-FFF2-40B4-BE49-F238E27FC236}">
                <a16:creationId xmlns:a16="http://schemas.microsoft.com/office/drawing/2014/main" id="{708C075F-C93C-07FC-A0F1-23C5342F3420}"/>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
        <p:nvSpPr>
          <p:cNvPr id="8" name="TextBox 7">
            <a:extLst>
              <a:ext uri="{FF2B5EF4-FFF2-40B4-BE49-F238E27FC236}">
                <a16:creationId xmlns:a16="http://schemas.microsoft.com/office/drawing/2014/main" id="{FB22DEEE-957D-B96B-D7BE-343484099D41}"/>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rgbClr val="000000"/>
                </a:solidFill>
                <a:latin typeface="IBM Plex Sans" panose="020B0503050203000203" pitchFamily="34" charset="0"/>
                <a:ea typeface="+mj-ea"/>
                <a:cs typeface="+mj-cs"/>
                <a:sym typeface="IBM Plex Sans Light"/>
              </a:rPr>
              <a:t>#IBMTechXchange</a:t>
            </a:r>
          </a:p>
        </p:txBody>
      </p:sp>
    </p:spTree>
    <p:extLst>
      <p:ext uri="{BB962C8B-B14F-4D97-AF65-F5344CB8AC3E}">
        <p14:creationId xmlns:p14="http://schemas.microsoft.com/office/powerpoint/2010/main" val="2282677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pictograms, 2x2 callou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88888" y="2675700"/>
            <a:ext cx="3334903" cy="754063"/>
          </a:xfrm>
        </p:spPr>
        <p:txBody>
          <a:bodyPr/>
          <a:lstStyle>
            <a:lvl1pPr>
              <a:lnSpc>
                <a:spcPct val="100000"/>
              </a:lnSpc>
              <a:spcBef>
                <a:spcPts val="0"/>
              </a:spcBef>
              <a:defRPr sz="1800">
                <a:solidFill>
                  <a:schemeClr val="tx1"/>
                </a:solidFill>
              </a:defRPr>
            </a:lvl1pPr>
            <a:lvl2pPr marL="201128" indent="-201128">
              <a:lnSpc>
                <a:spcPct val="100000"/>
              </a:lnSpc>
              <a:spcBef>
                <a:spcPts val="0"/>
              </a:spcBef>
              <a:defRPr sz="1800">
                <a:solidFill>
                  <a:schemeClr val="tx1"/>
                </a:solidFill>
              </a:defRPr>
            </a:lvl2pPr>
            <a:lvl3pPr marL="402256" indent="-201128">
              <a:lnSpc>
                <a:spcPct val="100000"/>
              </a:lnSpc>
              <a:spcBef>
                <a:spcPts val="0"/>
              </a:spcBef>
              <a:defRPr sz="1800">
                <a:solidFill>
                  <a:schemeClr val="tx1"/>
                </a:solidFill>
              </a:defRPr>
            </a:lvl3pPr>
            <a:lvl4pPr marL="557672" indent="-201128">
              <a:lnSpc>
                <a:spcPct val="100000"/>
              </a:lnSpc>
              <a:spcBef>
                <a:spcPts val="0"/>
              </a:spcBef>
              <a:defRPr sz="18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6381808" y="2674938"/>
            <a:ext cx="3333316" cy="754063"/>
          </a:xfrm>
        </p:spPr>
        <p:txBody>
          <a:bodyPr/>
          <a:lstStyle>
            <a:lvl1pPr>
              <a:lnSpc>
                <a:spcPct val="100000"/>
              </a:lnSpc>
              <a:spcBef>
                <a:spcPts val="0"/>
              </a:spcBef>
              <a:defRPr sz="1800">
                <a:solidFill>
                  <a:schemeClr val="tx1"/>
                </a:solidFill>
              </a:defRPr>
            </a:lvl1pPr>
            <a:lvl2pPr marL="201128" indent="-201128">
              <a:lnSpc>
                <a:spcPct val="100000"/>
              </a:lnSpc>
              <a:spcBef>
                <a:spcPts val="0"/>
              </a:spcBef>
              <a:defRPr sz="1800">
                <a:solidFill>
                  <a:schemeClr val="tx1"/>
                </a:solidFill>
              </a:defRPr>
            </a:lvl2pPr>
            <a:lvl3pPr marL="402256" indent="-201128">
              <a:lnSpc>
                <a:spcPct val="100000"/>
              </a:lnSpc>
              <a:spcBef>
                <a:spcPts val="0"/>
              </a:spcBef>
              <a:defRPr sz="1800">
                <a:solidFill>
                  <a:schemeClr val="tx1"/>
                </a:solidFill>
              </a:defRPr>
            </a:lvl3pPr>
            <a:lvl4pPr marL="557672" indent="-201128">
              <a:lnSpc>
                <a:spcPct val="100000"/>
              </a:lnSpc>
              <a:spcBef>
                <a:spcPts val="0"/>
              </a:spcBef>
              <a:defRPr sz="18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88887" y="5147889"/>
            <a:ext cx="3334904" cy="754063"/>
          </a:xfrm>
        </p:spPr>
        <p:txBody>
          <a:bodyPr/>
          <a:lstStyle>
            <a:lvl1pPr>
              <a:lnSpc>
                <a:spcPct val="100000"/>
              </a:lnSpc>
              <a:spcBef>
                <a:spcPts val="0"/>
              </a:spcBef>
              <a:defRPr sz="1800">
                <a:solidFill>
                  <a:schemeClr val="tx1"/>
                </a:solidFill>
              </a:defRPr>
            </a:lvl1pPr>
            <a:lvl2pPr marL="201128" indent="-201128">
              <a:lnSpc>
                <a:spcPct val="100000"/>
              </a:lnSpc>
              <a:spcBef>
                <a:spcPts val="0"/>
              </a:spcBef>
              <a:defRPr sz="1800">
                <a:solidFill>
                  <a:schemeClr val="tx1"/>
                </a:solidFill>
              </a:defRPr>
            </a:lvl2pPr>
            <a:lvl3pPr marL="402256" indent="-201128">
              <a:lnSpc>
                <a:spcPct val="100000"/>
              </a:lnSpc>
              <a:spcBef>
                <a:spcPts val="0"/>
              </a:spcBef>
              <a:defRPr sz="1800">
                <a:solidFill>
                  <a:schemeClr val="tx1"/>
                </a:solidFill>
              </a:defRPr>
            </a:lvl3pPr>
            <a:lvl4pPr marL="557672" indent="-201128">
              <a:lnSpc>
                <a:spcPct val="100000"/>
              </a:lnSpc>
              <a:spcBef>
                <a:spcPts val="0"/>
              </a:spcBef>
              <a:defRPr sz="18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6381809" y="5146365"/>
            <a:ext cx="3333316" cy="754063"/>
          </a:xfrm>
        </p:spPr>
        <p:txBody>
          <a:bodyPr/>
          <a:lstStyle>
            <a:lvl1pPr>
              <a:lnSpc>
                <a:spcPct val="100000"/>
              </a:lnSpc>
              <a:spcBef>
                <a:spcPts val="0"/>
              </a:spcBef>
              <a:defRPr sz="1800">
                <a:solidFill>
                  <a:schemeClr val="tx1"/>
                </a:solidFill>
              </a:defRPr>
            </a:lvl1pPr>
            <a:lvl2pPr marL="201128" indent="-201128">
              <a:lnSpc>
                <a:spcPct val="100000"/>
              </a:lnSpc>
              <a:spcBef>
                <a:spcPts val="0"/>
              </a:spcBef>
              <a:defRPr sz="1800">
                <a:solidFill>
                  <a:schemeClr val="tx1"/>
                </a:solidFill>
              </a:defRPr>
            </a:lvl2pPr>
            <a:lvl3pPr marL="402256" indent="-201128">
              <a:lnSpc>
                <a:spcPct val="100000"/>
              </a:lnSpc>
              <a:spcBef>
                <a:spcPts val="0"/>
              </a:spcBef>
              <a:defRPr sz="1800">
                <a:solidFill>
                  <a:schemeClr val="tx1"/>
                </a:solidFill>
              </a:defRPr>
            </a:lvl3pPr>
            <a:lvl4pPr marL="557672" indent="-201128">
              <a:lnSpc>
                <a:spcPct val="100000"/>
              </a:lnSpc>
              <a:spcBef>
                <a:spcPts val="0"/>
              </a:spcBef>
              <a:defRPr sz="18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88887" y="1724724"/>
            <a:ext cx="607997" cy="608076"/>
          </a:xfrm>
        </p:spPr>
        <p:txBody>
          <a:bodyPr anchor="ctr"/>
          <a:lstStyle>
            <a:lvl1pPr algn="ctr">
              <a:defRPr sz="800"/>
            </a:lvl1pPr>
          </a:lstStyle>
          <a:p>
            <a:r>
              <a:rPr lang="en-US"/>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6381808" y="1724724"/>
            <a:ext cx="607997" cy="608076"/>
          </a:xfrm>
        </p:spPr>
        <p:txBody>
          <a:bodyPr anchor="ctr"/>
          <a:lstStyle>
            <a:lvl1pPr algn="ctr">
              <a:defRPr sz="800"/>
            </a:lvl1pPr>
          </a:lstStyle>
          <a:p>
            <a:r>
              <a:rPr lang="en-US"/>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88887" y="4192340"/>
            <a:ext cx="607997" cy="608076"/>
          </a:xfrm>
        </p:spPr>
        <p:txBody>
          <a:bodyPr anchor="ctr"/>
          <a:lstStyle>
            <a:lvl1pPr algn="ctr">
              <a:defRPr sz="800"/>
            </a:lvl1pPr>
          </a:lstStyle>
          <a:p>
            <a:r>
              <a:rPr lang="en-US"/>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6381808" y="4193865"/>
            <a:ext cx="607997" cy="608076"/>
          </a:xfrm>
        </p:spPr>
        <p:txBody>
          <a:bodyPr anchor="ctr"/>
          <a:lstStyle>
            <a:lvl1pPr algn="ctr">
              <a:defRPr sz="800"/>
            </a:lvl1pPr>
          </a:lstStyle>
          <a:p>
            <a:r>
              <a:rPr lang="en-US"/>
              <a:t>Pictogram</a:t>
            </a:r>
          </a:p>
        </p:txBody>
      </p:sp>
      <p:cxnSp>
        <p:nvCxnSpPr>
          <p:cNvPr id="14" name="Straight Connector 13">
            <a:extLst>
              <a:ext uri="{FF2B5EF4-FFF2-40B4-BE49-F238E27FC236}">
                <a16:creationId xmlns:a16="http://schemas.microsoft.com/office/drawing/2014/main" id="{00A530A6-2F26-DA70-D0D9-6DD90453CEC1}"/>
              </a:ext>
            </a:extLst>
          </p:cNvPr>
          <p:cNvCxnSpPr>
            <a:cxnSpLocks/>
          </p:cNvCxnSpPr>
          <p:nvPr userDrawn="1"/>
        </p:nvCxnSpPr>
        <p:spPr bwMode="auto">
          <a:xfrm>
            <a:off x="6095206" y="1714500"/>
            <a:ext cx="0" cy="42862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a:cxnSpLocks/>
          </p:cNvCxnSpPr>
          <p:nvPr userDrawn="1"/>
        </p:nvCxnSpPr>
        <p:spPr bwMode="auto">
          <a:xfrm>
            <a:off x="284126" y="3857625"/>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6" name="Title 1">
            <a:extLst>
              <a:ext uri="{FF2B5EF4-FFF2-40B4-BE49-F238E27FC236}">
                <a16:creationId xmlns:a16="http://schemas.microsoft.com/office/drawing/2014/main" id="{52EBAB1D-E41A-FCE6-D13F-87955CDFEE44}"/>
              </a:ext>
            </a:extLst>
          </p:cNvPr>
          <p:cNvSpPr>
            <a:spLocks noGrp="1"/>
          </p:cNvSpPr>
          <p:nvPr>
            <p:ph type="title"/>
          </p:nvPr>
        </p:nvSpPr>
        <p:spPr>
          <a:xfrm>
            <a:off x="268951" y="198287"/>
            <a:ext cx="11620573" cy="1290543"/>
          </a:xfrm>
        </p:spPr>
        <p:txBody>
          <a:bodyPr rIns="457200"/>
          <a:lstStyle>
            <a:lvl1pPr>
              <a:lnSpc>
                <a:spcPct val="100000"/>
              </a:lnSpc>
              <a:defRPr>
                <a:solidFill>
                  <a:schemeClr val="tx2"/>
                </a:solidFill>
              </a:defRPr>
            </a:lvl1pPr>
          </a:lstStyle>
          <a:p>
            <a:r>
              <a:rPr lang="en-US"/>
              <a:t>Click to edit Master title style</a:t>
            </a:r>
          </a:p>
        </p:txBody>
      </p:sp>
      <p:sp>
        <p:nvSpPr>
          <p:cNvPr id="8" name="Footer Placeholder 1">
            <a:extLst>
              <a:ext uri="{FF2B5EF4-FFF2-40B4-BE49-F238E27FC236}">
                <a16:creationId xmlns:a16="http://schemas.microsoft.com/office/drawing/2014/main" id="{57895912-82BE-A180-A2EE-6DED0F5F5B62}"/>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
        <p:nvSpPr>
          <p:cNvPr id="2" name="TextBox 1">
            <a:extLst>
              <a:ext uri="{FF2B5EF4-FFF2-40B4-BE49-F238E27FC236}">
                <a16:creationId xmlns:a16="http://schemas.microsoft.com/office/drawing/2014/main" id="{39136A90-9E40-FC9C-6676-25918D0DC500}"/>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rgbClr val="000000"/>
                </a:solidFill>
                <a:latin typeface="IBM Plex Sans" panose="020B0503050203000203" pitchFamily="34" charset="0"/>
                <a:ea typeface="+mj-ea"/>
                <a:cs typeface="+mj-cs"/>
                <a:sym typeface="IBM Plex Sans Light"/>
              </a:rPr>
              <a:t>#IBMTechXchange</a:t>
            </a:r>
          </a:p>
        </p:txBody>
      </p:sp>
    </p:spTree>
    <p:extLst>
      <p:ext uri="{BB962C8B-B14F-4D97-AF65-F5344CB8AC3E}">
        <p14:creationId xmlns:p14="http://schemas.microsoft.com/office/powerpoint/2010/main" val="3837268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section, 2x2 side callouts">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47379"/>
            <a:ext cx="2476178" cy="2572544"/>
          </a:xfrm>
        </p:spPr>
        <p:txBody>
          <a:bodyPr/>
          <a:lstStyle>
            <a:lvl1pPr>
              <a:lnSpc>
                <a:spcPct val="110000"/>
              </a:lnSpc>
              <a:spcBef>
                <a:spcPts val="0"/>
              </a:spcBef>
              <a:spcAft>
                <a:spcPts val="600"/>
              </a:spcAft>
              <a:defRPr sz="1800" b="0" i="0">
                <a:solidFill>
                  <a:schemeClr val="tx1"/>
                </a:solidFill>
                <a:latin typeface="IBM Plex Sans Light" panose="020B0403050203000203" pitchFamily="34" charset="0"/>
              </a:defRPr>
            </a:lvl1pPr>
            <a:lvl2pPr marL="127990" indent="-127990">
              <a:lnSpc>
                <a:spcPct val="110000"/>
              </a:lnSpc>
              <a:spcBef>
                <a:spcPts val="0"/>
              </a:spcBef>
              <a:spcAft>
                <a:spcPts val="600"/>
              </a:spcAft>
              <a:defRPr sz="1800" b="0" i="0">
                <a:solidFill>
                  <a:schemeClr val="tx1"/>
                </a:solidFill>
                <a:latin typeface="IBM Plex Sans Light" panose="020B0403050203000203" pitchFamily="34" charset="0"/>
              </a:defRPr>
            </a:lvl2pPr>
            <a:lvl3pPr marL="255981" indent="-127990">
              <a:lnSpc>
                <a:spcPct val="110000"/>
              </a:lnSpc>
              <a:spcBef>
                <a:spcPts val="0"/>
              </a:spcBef>
              <a:spcAft>
                <a:spcPts val="600"/>
              </a:spcAft>
              <a:defRPr sz="1800" b="0" i="0">
                <a:solidFill>
                  <a:schemeClr val="tx1"/>
                </a:solidFill>
                <a:latin typeface="IBM Plex Sans Light" panose="020B0403050203000203" pitchFamily="34" charset="0"/>
              </a:defRPr>
            </a:lvl3pPr>
            <a:lvl4pPr marL="383971" indent="-127990">
              <a:lnSpc>
                <a:spcPct val="110000"/>
              </a:lnSpc>
              <a:spcBef>
                <a:spcPts val="0"/>
              </a:spcBef>
              <a:spcAft>
                <a:spcPts val="600"/>
              </a:spcAft>
              <a:defRPr sz="18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47379"/>
            <a:ext cx="2479352" cy="2572544"/>
          </a:xfrm>
        </p:spPr>
        <p:txBody>
          <a:bodyPr/>
          <a:lstStyle>
            <a:lvl1pPr>
              <a:lnSpc>
                <a:spcPct val="110000"/>
              </a:lnSpc>
              <a:spcBef>
                <a:spcPts val="0"/>
              </a:spcBef>
              <a:spcAft>
                <a:spcPts val="600"/>
              </a:spcAft>
              <a:defRPr sz="1800" b="0" i="0">
                <a:solidFill>
                  <a:schemeClr val="tx1"/>
                </a:solidFill>
                <a:latin typeface="IBM Plex Sans Light" panose="020B0403050203000203" pitchFamily="34" charset="0"/>
              </a:defRPr>
            </a:lvl1pPr>
            <a:lvl2pPr marL="127990" indent="-127990">
              <a:lnSpc>
                <a:spcPct val="110000"/>
              </a:lnSpc>
              <a:spcBef>
                <a:spcPts val="0"/>
              </a:spcBef>
              <a:spcAft>
                <a:spcPts val="600"/>
              </a:spcAft>
              <a:defRPr sz="1800" b="0" i="0">
                <a:solidFill>
                  <a:schemeClr val="tx1"/>
                </a:solidFill>
                <a:latin typeface="IBM Plex Sans Light" panose="020B0403050203000203" pitchFamily="34" charset="0"/>
              </a:defRPr>
            </a:lvl2pPr>
            <a:lvl3pPr marL="255981" indent="-127990">
              <a:lnSpc>
                <a:spcPct val="110000"/>
              </a:lnSpc>
              <a:spcBef>
                <a:spcPts val="0"/>
              </a:spcBef>
              <a:spcAft>
                <a:spcPts val="600"/>
              </a:spcAft>
              <a:defRPr sz="1800" b="0" i="0">
                <a:solidFill>
                  <a:schemeClr val="tx1"/>
                </a:solidFill>
                <a:latin typeface="IBM Plex Sans Light" panose="020B0403050203000203" pitchFamily="34" charset="0"/>
              </a:defRPr>
            </a:lvl3pPr>
            <a:lvl4pPr marL="383971" indent="-127990">
              <a:lnSpc>
                <a:spcPct val="110000"/>
              </a:lnSpc>
              <a:spcBef>
                <a:spcPts val="0"/>
              </a:spcBef>
              <a:spcAft>
                <a:spcPts val="600"/>
              </a:spcAft>
              <a:defRPr sz="18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90117"/>
            <a:ext cx="2476178" cy="2476500"/>
          </a:xfrm>
        </p:spPr>
        <p:txBody>
          <a:bodyPr/>
          <a:lstStyle>
            <a:lvl1pPr>
              <a:lnSpc>
                <a:spcPct val="110000"/>
              </a:lnSpc>
              <a:spcBef>
                <a:spcPts val="0"/>
              </a:spcBef>
              <a:spcAft>
                <a:spcPts val="600"/>
              </a:spcAft>
              <a:defRPr sz="1800" b="0" i="0">
                <a:solidFill>
                  <a:schemeClr val="tx1"/>
                </a:solidFill>
                <a:latin typeface="IBM Plex Sans Light" panose="020B0403050203000203" pitchFamily="34" charset="0"/>
              </a:defRPr>
            </a:lvl1pPr>
            <a:lvl2pPr marL="127990" indent="-127990">
              <a:lnSpc>
                <a:spcPct val="110000"/>
              </a:lnSpc>
              <a:spcBef>
                <a:spcPts val="0"/>
              </a:spcBef>
              <a:spcAft>
                <a:spcPts val="600"/>
              </a:spcAft>
              <a:defRPr sz="1800" b="0" i="0">
                <a:solidFill>
                  <a:schemeClr val="tx1"/>
                </a:solidFill>
                <a:latin typeface="IBM Plex Sans Light" panose="020B0403050203000203" pitchFamily="34" charset="0"/>
              </a:defRPr>
            </a:lvl2pPr>
            <a:lvl3pPr marL="255981" indent="-127990">
              <a:lnSpc>
                <a:spcPct val="110000"/>
              </a:lnSpc>
              <a:spcBef>
                <a:spcPts val="0"/>
              </a:spcBef>
              <a:spcAft>
                <a:spcPts val="600"/>
              </a:spcAft>
              <a:defRPr sz="1800" b="0" i="0">
                <a:solidFill>
                  <a:schemeClr val="tx1"/>
                </a:solidFill>
                <a:latin typeface="IBM Plex Sans Light" panose="020B0403050203000203" pitchFamily="34" charset="0"/>
              </a:defRPr>
            </a:lvl3pPr>
            <a:lvl4pPr marL="383971" indent="-127990">
              <a:lnSpc>
                <a:spcPct val="110000"/>
              </a:lnSpc>
              <a:spcBef>
                <a:spcPts val="0"/>
              </a:spcBef>
              <a:spcAft>
                <a:spcPts val="600"/>
              </a:spcAft>
              <a:defRPr sz="18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90117"/>
            <a:ext cx="2476178" cy="2476500"/>
          </a:xfrm>
        </p:spPr>
        <p:txBody>
          <a:bodyPr/>
          <a:lstStyle>
            <a:lvl1pPr>
              <a:lnSpc>
                <a:spcPct val="110000"/>
              </a:lnSpc>
              <a:spcBef>
                <a:spcPts val="0"/>
              </a:spcBef>
              <a:spcAft>
                <a:spcPts val="600"/>
              </a:spcAft>
              <a:defRPr sz="1800" b="0" i="0">
                <a:solidFill>
                  <a:schemeClr val="tx1"/>
                </a:solidFill>
                <a:latin typeface="IBM Plex Sans Light" panose="020B0403050203000203" pitchFamily="34" charset="0"/>
              </a:defRPr>
            </a:lvl1pPr>
            <a:lvl2pPr marL="127990" indent="-127990">
              <a:lnSpc>
                <a:spcPct val="110000"/>
              </a:lnSpc>
              <a:spcBef>
                <a:spcPts val="0"/>
              </a:spcBef>
              <a:spcAft>
                <a:spcPts val="600"/>
              </a:spcAft>
              <a:defRPr sz="1800" b="0" i="0">
                <a:solidFill>
                  <a:schemeClr val="tx1"/>
                </a:solidFill>
                <a:latin typeface="IBM Plex Sans Light" panose="020B0403050203000203" pitchFamily="34" charset="0"/>
              </a:defRPr>
            </a:lvl2pPr>
            <a:lvl3pPr marL="255981" indent="-127990">
              <a:lnSpc>
                <a:spcPct val="110000"/>
              </a:lnSpc>
              <a:spcBef>
                <a:spcPts val="0"/>
              </a:spcBef>
              <a:spcAft>
                <a:spcPts val="600"/>
              </a:spcAft>
              <a:defRPr sz="1800" b="0" i="0">
                <a:solidFill>
                  <a:schemeClr val="tx1"/>
                </a:solidFill>
                <a:latin typeface="IBM Plex Sans Light" panose="020B0403050203000203" pitchFamily="34" charset="0"/>
              </a:defRPr>
            </a:lvl3pPr>
            <a:lvl4pPr marL="383971" indent="-127990">
              <a:lnSpc>
                <a:spcPct val="110000"/>
              </a:lnSpc>
              <a:spcBef>
                <a:spcPts val="0"/>
              </a:spcBef>
              <a:spcAft>
                <a:spcPts val="600"/>
              </a:spcAft>
              <a:defRPr sz="18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cxnSp>
        <p:nvCxnSpPr>
          <p:cNvPr id="9" name="Straight Connector 8">
            <a:extLst>
              <a:ext uri="{FF2B5EF4-FFF2-40B4-BE49-F238E27FC236}">
                <a16:creationId xmlns:a16="http://schemas.microsoft.com/office/drawing/2014/main" id="{F2187E1D-CADD-954F-F4C0-5C4235ED1448}"/>
              </a:ext>
            </a:extLst>
          </p:cNvPr>
          <p:cNvCxnSpPr>
            <a:cxnSpLocks/>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 name="Straight Connector 1">
            <a:extLst>
              <a:ext uri="{FF2B5EF4-FFF2-40B4-BE49-F238E27FC236}">
                <a16:creationId xmlns:a16="http://schemas.microsoft.com/office/drawing/2014/main" id="{82BAB8C9-7E2A-46DD-2399-A214C4EDF57F}"/>
              </a:ext>
            </a:extLst>
          </p:cNvPr>
          <p:cNvCxnSpPr>
            <a:cxnSpLocks/>
          </p:cNvCxnSpPr>
          <p:nvPr userDrawn="1"/>
        </p:nvCxnSpPr>
        <p:spPr bwMode="auto">
          <a:xfrm>
            <a:off x="6380919" y="3142853"/>
            <a:ext cx="552454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itle 1">
            <a:extLst>
              <a:ext uri="{FF2B5EF4-FFF2-40B4-BE49-F238E27FC236}">
                <a16:creationId xmlns:a16="http://schemas.microsoft.com/office/drawing/2014/main" id="{2FD89A00-A4D6-01CC-82BF-001A1713FD38}"/>
              </a:ext>
            </a:extLst>
          </p:cNvPr>
          <p:cNvSpPr>
            <a:spLocks noGrp="1"/>
          </p:cNvSpPr>
          <p:nvPr>
            <p:ph type="title"/>
          </p:nvPr>
        </p:nvSpPr>
        <p:spPr>
          <a:xfrm>
            <a:off x="268951" y="198287"/>
            <a:ext cx="5524575" cy="2373463"/>
          </a:xfrm>
        </p:spPr>
        <p:txBody>
          <a:bodyPr rIns="457200"/>
          <a:lstStyle>
            <a:lvl1pPr>
              <a:lnSpc>
                <a:spcPct val="100000"/>
              </a:lnSpc>
              <a:defRPr>
                <a:solidFill>
                  <a:schemeClr val="tx2"/>
                </a:solidFill>
              </a:defRPr>
            </a:lvl1pPr>
          </a:lstStyle>
          <a:p>
            <a:r>
              <a:rPr lang="en-US"/>
              <a:t>Click to edit Master title style</a:t>
            </a:r>
          </a:p>
        </p:txBody>
      </p:sp>
      <p:sp>
        <p:nvSpPr>
          <p:cNvPr id="4" name="Footer Placeholder 1">
            <a:extLst>
              <a:ext uri="{FF2B5EF4-FFF2-40B4-BE49-F238E27FC236}">
                <a16:creationId xmlns:a16="http://schemas.microsoft.com/office/drawing/2014/main" id="{9D0D49E6-7CA5-18FC-9FD9-9EDA2C4F406A}"/>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
        <p:nvSpPr>
          <p:cNvPr id="3" name="TextBox 2">
            <a:extLst>
              <a:ext uri="{FF2B5EF4-FFF2-40B4-BE49-F238E27FC236}">
                <a16:creationId xmlns:a16="http://schemas.microsoft.com/office/drawing/2014/main" id="{136B6C46-C666-43DE-7ABD-50A03CBE66DA}"/>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rgbClr val="000000"/>
                </a:solidFill>
                <a:latin typeface="IBM Plex Sans" panose="020B0503050203000203" pitchFamily="34" charset="0"/>
                <a:ea typeface="+mj-ea"/>
                <a:cs typeface="+mj-cs"/>
                <a:sym typeface="IBM Plex Sans Light"/>
              </a:rPr>
              <a:t>#IBMTechXchange</a:t>
            </a:r>
          </a:p>
        </p:txBody>
      </p:sp>
    </p:spTree>
    <p:extLst>
      <p:ext uri="{BB962C8B-B14F-4D97-AF65-F5344CB8AC3E}">
        <p14:creationId xmlns:p14="http://schemas.microsoft.com/office/powerpoint/2010/main" val="784047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 pictograms, 4 columns plai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68951" y="198288"/>
            <a:ext cx="5524575" cy="1516213"/>
          </a:xfrm>
        </p:spPr>
        <p:txBody>
          <a:bodyPr rIns="457200"/>
          <a:lstStyle>
            <a:lvl1pPr>
              <a:lnSpc>
                <a:spcPct val="100000"/>
              </a:lnSpc>
              <a:defRPr>
                <a:solidFill>
                  <a:schemeClr val="tx2"/>
                </a:solidFill>
              </a:defRPr>
            </a:lvl1pPr>
          </a:lstStyle>
          <a:p>
            <a:r>
              <a:rPr lang="en-US"/>
              <a:t>Click to edit Master title style</a:t>
            </a:r>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91047"/>
            <a:ext cx="2474590" cy="2607323"/>
          </a:xfrm>
        </p:spPr>
        <p:txBody>
          <a:bodyPr/>
          <a:lstStyle>
            <a:lvl1pPr>
              <a:spcBef>
                <a:spcPts val="0"/>
              </a:spcBef>
              <a:defRPr sz="1800">
                <a:solidFill>
                  <a:schemeClr val="tx1"/>
                </a:solidFill>
              </a:defRPr>
            </a:lvl1pPr>
            <a:lvl2pPr marL="127990" indent="-127990">
              <a:spcBef>
                <a:spcPts val="0"/>
              </a:spcBef>
              <a:defRPr sz="1800">
                <a:solidFill>
                  <a:schemeClr val="tx1"/>
                </a:solidFill>
              </a:defRPr>
            </a:lvl2pPr>
            <a:lvl3pPr marL="255981" indent="-127990">
              <a:spcBef>
                <a:spcPts val="0"/>
              </a:spcBef>
              <a:defRPr sz="1800">
                <a:solidFill>
                  <a:schemeClr val="tx1"/>
                </a:solidFill>
              </a:defRPr>
            </a:lvl3pPr>
            <a:lvl4pPr marL="383971" indent="-127990">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4362" y="3391047"/>
            <a:ext cx="2474590" cy="2607323"/>
          </a:xfrm>
        </p:spPr>
        <p:txBody>
          <a:bodyPr/>
          <a:lstStyle>
            <a:lvl1pPr>
              <a:spcBef>
                <a:spcPts val="0"/>
              </a:spcBef>
              <a:defRPr sz="1800">
                <a:solidFill>
                  <a:schemeClr val="tx1"/>
                </a:solidFill>
              </a:defRPr>
            </a:lvl1pPr>
            <a:lvl2pPr marL="127990" indent="-127990">
              <a:spcBef>
                <a:spcPts val="0"/>
              </a:spcBef>
              <a:defRPr sz="1800">
                <a:solidFill>
                  <a:schemeClr val="tx1"/>
                </a:solidFill>
              </a:defRPr>
            </a:lvl2pPr>
            <a:lvl3pPr marL="255981" indent="-127990">
              <a:spcBef>
                <a:spcPts val="0"/>
              </a:spcBef>
              <a:defRPr sz="1800">
                <a:solidFill>
                  <a:schemeClr val="tx1"/>
                </a:solidFill>
              </a:defRPr>
            </a:lvl3pPr>
            <a:lvl4pPr marL="383971" indent="-127990">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49" y="3391047"/>
            <a:ext cx="2474590" cy="2607323"/>
          </a:xfrm>
        </p:spPr>
        <p:txBody>
          <a:bodyPr/>
          <a:lstStyle>
            <a:lvl1pPr>
              <a:spcBef>
                <a:spcPts val="0"/>
              </a:spcBef>
              <a:defRPr sz="1800">
                <a:solidFill>
                  <a:schemeClr val="tx1"/>
                </a:solidFill>
              </a:defRPr>
            </a:lvl1pPr>
            <a:lvl2pPr marL="127990" indent="-127990">
              <a:spcBef>
                <a:spcPts val="0"/>
              </a:spcBef>
              <a:defRPr sz="1800">
                <a:solidFill>
                  <a:schemeClr val="tx1"/>
                </a:solidFill>
              </a:defRPr>
            </a:lvl2pPr>
            <a:lvl3pPr marL="255981" indent="-127990">
              <a:spcBef>
                <a:spcPts val="0"/>
              </a:spcBef>
              <a:defRPr sz="1800">
                <a:solidFill>
                  <a:schemeClr val="tx1"/>
                </a:solidFill>
              </a:defRPr>
            </a:lvl3pPr>
            <a:lvl4pPr marL="383971" indent="-127990">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91047"/>
            <a:ext cx="2474590" cy="2607323"/>
          </a:xfrm>
        </p:spPr>
        <p:txBody>
          <a:bodyPr/>
          <a:lstStyle>
            <a:lvl1pPr>
              <a:spcBef>
                <a:spcPts val="0"/>
              </a:spcBef>
              <a:defRPr sz="1800">
                <a:solidFill>
                  <a:schemeClr val="tx1"/>
                </a:solidFill>
              </a:defRPr>
            </a:lvl1pPr>
            <a:lvl2pPr marL="127990" indent="-127990">
              <a:spcBef>
                <a:spcPts val="0"/>
              </a:spcBef>
              <a:defRPr sz="1800">
                <a:solidFill>
                  <a:schemeClr val="tx1"/>
                </a:solidFill>
              </a:defRPr>
            </a:lvl2pPr>
            <a:lvl3pPr marL="255981" indent="-127990">
              <a:spcBef>
                <a:spcPts val="0"/>
              </a:spcBef>
              <a:defRPr sz="1800">
                <a:solidFill>
                  <a:schemeClr val="tx1"/>
                </a:solidFill>
              </a:defRPr>
            </a:lvl3pPr>
            <a:lvl4pPr marL="383971" indent="-127990">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10" name="Picture Placeholder 12">
            <a:extLst>
              <a:ext uri="{FF2B5EF4-FFF2-40B4-BE49-F238E27FC236}">
                <a16:creationId xmlns:a16="http://schemas.microsoft.com/office/drawing/2014/main" id="{229F0A3E-56B4-C089-C20B-6B33FC69B856}"/>
              </a:ext>
            </a:extLst>
          </p:cNvPr>
          <p:cNvSpPr>
            <a:spLocks noGrp="1"/>
          </p:cNvSpPr>
          <p:nvPr>
            <p:ph type="pic" sz="quarter" idx="17" hasCustomPrompt="1"/>
          </p:nvPr>
        </p:nvSpPr>
        <p:spPr>
          <a:xfrm>
            <a:off x="287998" y="2440070"/>
            <a:ext cx="607997" cy="608076"/>
          </a:xfrm>
        </p:spPr>
        <p:txBody>
          <a:bodyPr anchor="ctr"/>
          <a:lstStyle>
            <a:lvl1pPr algn="ctr">
              <a:defRPr sz="800"/>
            </a:lvl1pPr>
          </a:lstStyle>
          <a:p>
            <a:r>
              <a:rPr lang="en-US"/>
              <a:t>Pictogram</a:t>
            </a:r>
          </a:p>
        </p:txBody>
      </p:sp>
      <p:sp>
        <p:nvSpPr>
          <p:cNvPr id="15" name="Picture Placeholder 12">
            <a:extLst>
              <a:ext uri="{FF2B5EF4-FFF2-40B4-BE49-F238E27FC236}">
                <a16:creationId xmlns:a16="http://schemas.microsoft.com/office/drawing/2014/main" id="{D9CE9053-2DD6-966F-8843-B50FBF7C7C97}"/>
              </a:ext>
            </a:extLst>
          </p:cNvPr>
          <p:cNvSpPr>
            <a:spLocks noGrp="1"/>
          </p:cNvSpPr>
          <p:nvPr>
            <p:ph type="pic" sz="quarter" idx="18" hasCustomPrompt="1"/>
          </p:nvPr>
        </p:nvSpPr>
        <p:spPr>
          <a:xfrm>
            <a:off x="3334361" y="2440070"/>
            <a:ext cx="607997" cy="608076"/>
          </a:xfrm>
        </p:spPr>
        <p:txBody>
          <a:bodyPr anchor="ctr"/>
          <a:lstStyle>
            <a:lvl1pPr algn="ctr">
              <a:defRPr sz="800"/>
            </a:lvl1pPr>
          </a:lstStyle>
          <a:p>
            <a:r>
              <a:rPr lang="en-US"/>
              <a:t>Pictogram</a:t>
            </a:r>
          </a:p>
        </p:txBody>
      </p:sp>
      <p:sp>
        <p:nvSpPr>
          <p:cNvPr id="16" name="Picture Placeholder 12">
            <a:extLst>
              <a:ext uri="{FF2B5EF4-FFF2-40B4-BE49-F238E27FC236}">
                <a16:creationId xmlns:a16="http://schemas.microsoft.com/office/drawing/2014/main" id="{29DB6E44-F962-A27A-53E2-9736F1F7CE60}"/>
              </a:ext>
            </a:extLst>
          </p:cNvPr>
          <p:cNvSpPr>
            <a:spLocks noGrp="1"/>
          </p:cNvSpPr>
          <p:nvPr>
            <p:ph type="pic" sz="quarter" idx="19" hasCustomPrompt="1"/>
          </p:nvPr>
        </p:nvSpPr>
        <p:spPr>
          <a:xfrm>
            <a:off x="6383049" y="2440070"/>
            <a:ext cx="607997" cy="608076"/>
          </a:xfrm>
        </p:spPr>
        <p:txBody>
          <a:bodyPr anchor="ctr"/>
          <a:lstStyle>
            <a:lvl1pPr algn="ctr">
              <a:defRPr sz="800"/>
            </a:lvl1pPr>
          </a:lstStyle>
          <a:p>
            <a:r>
              <a:rPr lang="en-US"/>
              <a:t>Pictogram</a:t>
            </a:r>
          </a:p>
        </p:txBody>
      </p:sp>
      <p:sp>
        <p:nvSpPr>
          <p:cNvPr id="17" name="Picture Placeholder 12">
            <a:extLst>
              <a:ext uri="{FF2B5EF4-FFF2-40B4-BE49-F238E27FC236}">
                <a16:creationId xmlns:a16="http://schemas.microsoft.com/office/drawing/2014/main" id="{7F43B7C7-FC2D-A79E-9E4C-CAB7C1D5F693}"/>
              </a:ext>
            </a:extLst>
          </p:cNvPr>
          <p:cNvSpPr>
            <a:spLocks noGrp="1"/>
          </p:cNvSpPr>
          <p:nvPr>
            <p:ph type="pic" sz="quarter" idx="20" hasCustomPrompt="1"/>
          </p:nvPr>
        </p:nvSpPr>
        <p:spPr>
          <a:xfrm>
            <a:off x="9428522" y="2440070"/>
            <a:ext cx="607997" cy="608076"/>
          </a:xfrm>
        </p:spPr>
        <p:txBody>
          <a:bodyPr anchor="ctr"/>
          <a:lstStyle>
            <a:lvl1pPr algn="ctr">
              <a:defRPr sz="800"/>
            </a:lvl1pPr>
          </a:lstStyle>
          <a:p>
            <a:r>
              <a:rPr lang="en-US"/>
              <a:t>Pictogram</a:t>
            </a:r>
          </a:p>
        </p:txBody>
      </p:sp>
      <p:sp>
        <p:nvSpPr>
          <p:cNvPr id="6" name="Footer Placeholder 1">
            <a:extLst>
              <a:ext uri="{FF2B5EF4-FFF2-40B4-BE49-F238E27FC236}">
                <a16:creationId xmlns:a16="http://schemas.microsoft.com/office/drawing/2014/main" id="{5AD2A69D-35AD-8E1B-0055-B0347A82FF74}"/>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
        <p:nvSpPr>
          <p:cNvPr id="3" name="TextBox 2">
            <a:extLst>
              <a:ext uri="{FF2B5EF4-FFF2-40B4-BE49-F238E27FC236}">
                <a16:creationId xmlns:a16="http://schemas.microsoft.com/office/drawing/2014/main" id="{8287B17F-02E8-571F-D592-3B6CA683B306}"/>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rgbClr val="000000"/>
                </a:solidFill>
                <a:latin typeface="IBM Plex Sans" panose="020B0503050203000203" pitchFamily="34" charset="0"/>
                <a:ea typeface="+mj-ea"/>
                <a:cs typeface="+mj-cs"/>
                <a:sym typeface="IBM Plex Sans Light"/>
              </a:rPr>
              <a:t>#IBMTechXchange</a:t>
            </a:r>
          </a:p>
        </p:txBody>
      </p:sp>
    </p:spTree>
    <p:extLst>
      <p:ext uri="{BB962C8B-B14F-4D97-AF65-F5344CB8AC3E}">
        <p14:creationId xmlns:p14="http://schemas.microsoft.com/office/powerpoint/2010/main" val="2086016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section, icons, 4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68951" y="198288"/>
            <a:ext cx="5524575" cy="1516213"/>
          </a:xfrm>
        </p:spPr>
        <p:txBody>
          <a:bodyPr rIns="457200"/>
          <a:lstStyle>
            <a:lvl1pPr>
              <a:lnSpc>
                <a:spcPct val="100000"/>
              </a:lnSpc>
              <a:defRPr>
                <a:solidFill>
                  <a:schemeClr val="tx2"/>
                </a:solidFill>
              </a:defRPr>
            </a:lvl1pPr>
          </a:lstStyle>
          <a:p>
            <a:r>
              <a:rPr lang="en-US"/>
              <a:t>Click to edit Master title style</a:t>
            </a:r>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118339"/>
            <a:ext cx="2474590" cy="2880031"/>
          </a:xfrm>
        </p:spPr>
        <p:txBody>
          <a:bodyPr/>
          <a:lstStyle>
            <a:lvl1pPr>
              <a:spcBef>
                <a:spcPts val="0"/>
              </a:spcBef>
              <a:defRPr sz="1800">
                <a:solidFill>
                  <a:schemeClr val="tx1"/>
                </a:solidFill>
              </a:defRPr>
            </a:lvl1pPr>
            <a:lvl2pPr marL="127990" indent="-127990">
              <a:spcBef>
                <a:spcPts val="0"/>
              </a:spcBef>
              <a:defRPr sz="1800">
                <a:solidFill>
                  <a:schemeClr val="tx1"/>
                </a:solidFill>
              </a:defRPr>
            </a:lvl2pPr>
            <a:lvl3pPr marL="255981" indent="-127990">
              <a:spcBef>
                <a:spcPts val="0"/>
              </a:spcBef>
              <a:defRPr sz="1800">
                <a:solidFill>
                  <a:schemeClr val="tx1"/>
                </a:solidFill>
              </a:defRPr>
            </a:lvl3pPr>
            <a:lvl4pPr marL="383971" indent="-127990">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4362" y="3118339"/>
            <a:ext cx="2474590" cy="2880031"/>
          </a:xfrm>
        </p:spPr>
        <p:txBody>
          <a:bodyPr/>
          <a:lstStyle>
            <a:lvl1pPr>
              <a:spcBef>
                <a:spcPts val="0"/>
              </a:spcBef>
              <a:defRPr sz="1800">
                <a:solidFill>
                  <a:schemeClr val="tx1"/>
                </a:solidFill>
              </a:defRPr>
            </a:lvl1pPr>
            <a:lvl2pPr marL="127990" indent="-127990">
              <a:spcBef>
                <a:spcPts val="0"/>
              </a:spcBef>
              <a:defRPr sz="1800">
                <a:solidFill>
                  <a:schemeClr val="tx1"/>
                </a:solidFill>
              </a:defRPr>
            </a:lvl2pPr>
            <a:lvl3pPr marL="255981" indent="-127990">
              <a:spcBef>
                <a:spcPts val="0"/>
              </a:spcBef>
              <a:defRPr sz="1800">
                <a:solidFill>
                  <a:schemeClr val="tx1"/>
                </a:solidFill>
              </a:defRPr>
            </a:lvl3pPr>
            <a:lvl4pPr marL="383971" indent="-127990">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49" y="3118339"/>
            <a:ext cx="2474590" cy="2880031"/>
          </a:xfrm>
        </p:spPr>
        <p:txBody>
          <a:bodyPr/>
          <a:lstStyle>
            <a:lvl1pPr>
              <a:spcBef>
                <a:spcPts val="0"/>
              </a:spcBef>
              <a:defRPr sz="1800">
                <a:solidFill>
                  <a:schemeClr val="tx1"/>
                </a:solidFill>
              </a:defRPr>
            </a:lvl1pPr>
            <a:lvl2pPr marL="127990" indent="-127990">
              <a:spcBef>
                <a:spcPts val="0"/>
              </a:spcBef>
              <a:defRPr sz="1800">
                <a:solidFill>
                  <a:schemeClr val="tx1"/>
                </a:solidFill>
              </a:defRPr>
            </a:lvl2pPr>
            <a:lvl3pPr marL="255981" indent="-127990">
              <a:spcBef>
                <a:spcPts val="0"/>
              </a:spcBef>
              <a:defRPr sz="1800">
                <a:solidFill>
                  <a:schemeClr val="tx1"/>
                </a:solidFill>
              </a:defRPr>
            </a:lvl3pPr>
            <a:lvl4pPr marL="383971" indent="-127990">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118339"/>
            <a:ext cx="2474590" cy="2880031"/>
          </a:xfrm>
        </p:spPr>
        <p:txBody>
          <a:bodyPr/>
          <a:lstStyle>
            <a:lvl1pPr>
              <a:spcBef>
                <a:spcPts val="0"/>
              </a:spcBef>
              <a:defRPr sz="1800">
                <a:solidFill>
                  <a:schemeClr val="tx1"/>
                </a:solidFill>
              </a:defRPr>
            </a:lvl1pPr>
            <a:lvl2pPr marL="127990" indent="-127990">
              <a:spcBef>
                <a:spcPts val="0"/>
              </a:spcBef>
              <a:defRPr sz="1800">
                <a:solidFill>
                  <a:schemeClr val="tx1"/>
                </a:solidFill>
              </a:defRPr>
            </a:lvl2pPr>
            <a:lvl3pPr marL="255981" indent="-127990">
              <a:spcBef>
                <a:spcPts val="0"/>
              </a:spcBef>
              <a:defRPr sz="1800">
                <a:solidFill>
                  <a:schemeClr val="tx1"/>
                </a:solidFill>
              </a:defRPr>
            </a:lvl3pPr>
            <a:lvl4pPr marL="383971" indent="-127990">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grpSp>
        <p:nvGrpSpPr>
          <p:cNvPr id="9" name="Group 8">
            <a:extLst>
              <a:ext uri="{FF2B5EF4-FFF2-40B4-BE49-F238E27FC236}">
                <a16:creationId xmlns:a16="http://schemas.microsoft.com/office/drawing/2014/main" id="{01970BBD-DC96-8629-8547-C91E8BAA362A}"/>
              </a:ext>
            </a:extLst>
          </p:cNvPr>
          <p:cNvGrpSpPr/>
          <p:nvPr userDrawn="1"/>
        </p:nvGrpSpPr>
        <p:grpSpPr>
          <a:xfrm>
            <a:off x="3047603" y="2824719"/>
            <a:ext cx="6095206" cy="3170121"/>
            <a:chOff x="6096000" y="6858000"/>
            <a:chExt cx="12192000" cy="5131680"/>
          </a:xfrm>
        </p:grpSpPr>
        <p:cxnSp>
          <p:nvCxnSpPr>
            <p:cNvPr id="3" name="Straight Connector 2">
              <a:extLst>
                <a:ext uri="{FF2B5EF4-FFF2-40B4-BE49-F238E27FC236}">
                  <a16:creationId xmlns:a16="http://schemas.microsoft.com/office/drawing/2014/main" id="{879092D4-BF8A-268D-DBA5-27434837ECD3}"/>
                </a:ext>
              </a:extLst>
            </p:cNvPr>
            <p:cNvCxnSpPr>
              <a:cxnSpLocks/>
            </p:cNvCxnSpPr>
            <p:nvPr userDrawn="1"/>
          </p:nvCxnSpPr>
          <p:spPr bwMode="auto">
            <a:xfrm>
              <a:off x="6096000" y="6858000"/>
              <a:ext cx="0" cy="511145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 name="Straight Connector 5">
              <a:extLst>
                <a:ext uri="{FF2B5EF4-FFF2-40B4-BE49-F238E27FC236}">
                  <a16:creationId xmlns:a16="http://schemas.microsoft.com/office/drawing/2014/main" id="{0319ED4A-BFBA-E53C-2BB8-09CE78A79FE7}"/>
                </a:ext>
              </a:extLst>
            </p:cNvPr>
            <p:cNvCxnSpPr>
              <a:cxnSpLocks/>
            </p:cNvCxnSpPr>
            <p:nvPr userDrawn="1"/>
          </p:nvCxnSpPr>
          <p:spPr bwMode="auto">
            <a:xfrm>
              <a:off x="12188952" y="6860654"/>
              <a:ext cx="0" cy="512902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200224B-2BF1-5B5D-5780-D5DB90A12032}"/>
                </a:ext>
              </a:extLst>
            </p:cNvPr>
            <p:cNvCxnSpPr>
              <a:cxnSpLocks/>
            </p:cNvCxnSpPr>
            <p:nvPr userDrawn="1"/>
          </p:nvCxnSpPr>
          <p:spPr bwMode="auto">
            <a:xfrm>
              <a:off x="18288000" y="6858000"/>
              <a:ext cx="0" cy="510960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grpSp>
      <p:sp>
        <p:nvSpPr>
          <p:cNvPr id="4" name="Footer Placeholder 1">
            <a:extLst>
              <a:ext uri="{FF2B5EF4-FFF2-40B4-BE49-F238E27FC236}">
                <a16:creationId xmlns:a16="http://schemas.microsoft.com/office/drawing/2014/main" id="{367972C7-64C8-D5D5-2649-7E5F519CF395}"/>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
        <p:nvSpPr>
          <p:cNvPr id="8" name="TextBox 7">
            <a:extLst>
              <a:ext uri="{FF2B5EF4-FFF2-40B4-BE49-F238E27FC236}">
                <a16:creationId xmlns:a16="http://schemas.microsoft.com/office/drawing/2014/main" id="{30236752-6651-4DC5-14F4-18A0D2DE1F23}"/>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rgbClr val="000000"/>
                </a:solidFill>
                <a:latin typeface="IBM Plex Sans" panose="020B0503050203000203" pitchFamily="34" charset="0"/>
                <a:ea typeface="+mj-ea"/>
                <a:cs typeface="+mj-cs"/>
                <a:sym typeface="IBM Plex Sans Light"/>
              </a:rPr>
              <a:t>#IBMTechXchange</a:t>
            </a:r>
          </a:p>
        </p:txBody>
      </p:sp>
    </p:spTree>
    <p:extLst>
      <p:ext uri="{BB962C8B-B14F-4D97-AF65-F5344CB8AC3E}">
        <p14:creationId xmlns:p14="http://schemas.microsoft.com/office/powerpoint/2010/main" val="3331283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section, 6 items">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91047"/>
            <a:ext cx="2474590" cy="2607323"/>
          </a:xfrm>
        </p:spPr>
        <p:txBody>
          <a:bodyPr/>
          <a:lstStyle>
            <a:lvl1pPr>
              <a:spcBef>
                <a:spcPts val="0"/>
              </a:spcBef>
              <a:spcAft>
                <a:spcPts val="600"/>
              </a:spcAft>
              <a:defRPr sz="1800">
                <a:solidFill>
                  <a:schemeClr val="tx1"/>
                </a:solidFill>
              </a:defRPr>
            </a:lvl1pPr>
            <a:lvl2pPr marL="127990" indent="-127990">
              <a:spcBef>
                <a:spcPts val="0"/>
              </a:spcBef>
              <a:spcAft>
                <a:spcPts val="600"/>
              </a:spcAft>
              <a:defRPr sz="1800">
                <a:solidFill>
                  <a:schemeClr val="tx1"/>
                </a:solidFill>
              </a:defRPr>
            </a:lvl2pPr>
            <a:lvl3pPr marL="255981" indent="-127990">
              <a:spcBef>
                <a:spcPts val="0"/>
              </a:spcBef>
              <a:spcAft>
                <a:spcPts val="600"/>
              </a:spcAft>
              <a:defRPr sz="1800">
                <a:solidFill>
                  <a:schemeClr val="tx1"/>
                </a:solidFill>
              </a:defRPr>
            </a:lvl3pPr>
            <a:lvl4pPr marL="383971" indent="-127990">
              <a:spcBef>
                <a:spcPts val="0"/>
              </a:spcBef>
              <a:spcAft>
                <a:spcPts val="600"/>
              </a:spcAft>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4362" y="3391047"/>
            <a:ext cx="2474590" cy="2607323"/>
          </a:xfrm>
        </p:spPr>
        <p:txBody>
          <a:bodyPr/>
          <a:lstStyle>
            <a:lvl1pPr>
              <a:spcBef>
                <a:spcPts val="0"/>
              </a:spcBef>
              <a:spcAft>
                <a:spcPts val="600"/>
              </a:spcAft>
              <a:defRPr sz="1800">
                <a:solidFill>
                  <a:schemeClr val="tx1"/>
                </a:solidFill>
              </a:defRPr>
            </a:lvl1pPr>
            <a:lvl2pPr marL="127990" indent="-127990">
              <a:spcBef>
                <a:spcPts val="0"/>
              </a:spcBef>
              <a:spcAft>
                <a:spcPts val="600"/>
              </a:spcAft>
              <a:defRPr sz="1800">
                <a:solidFill>
                  <a:schemeClr val="tx1"/>
                </a:solidFill>
              </a:defRPr>
            </a:lvl2pPr>
            <a:lvl3pPr marL="255981" indent="-127990">
              <a:spcBef>
                <a:spcPts val="0"/>
              </a:spcBef>
              <a:spcAft>
                <a:spcPts val="600"/>
              </a:spcAft>
              <a:defRPr sz="1800">
                <a:solidFill>
                  <a:schemeClr val="tx1"/>
                </a:solidFill>
              </a:defRPr>
            </a:lvl3pPr>
            <a:lvl4pPr marL="383971" indent="-127990">
              <a:spcBef>
                <a:spcPts val="0"/>
              </a:spcBef>
              <a:spcAft>
                <a:spcPts val="600"/>
              </a:spcAft>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49" y="3391047"/>
            <a:ext cx="2474590" cy="2607323"/>
          </a:xfrm>
        </p:spPr>
        <p:txBody>
          <a:bodyPr/>
          <a:lstStyle>
            <a:lvl1pPr>
              <a:spcBef>
                <a:spcPts val="0"/>
              </a:spcBef>
              <a:spcAft>
                <a:spcPts val="600"/>
              </a:spcAft>
              <a:defRPr sz="1800">
                <a:solidFill>
                  <a:schemeClr val="tx1"/>
                </a:solidFill>
              </a:defRPr>
            </a:lvl1pPr>
            <a:lvl2pPr marL="127990" indent="-127990">
              <a:spcBef>
                <a:spcPts val="0"/>
              </a:spcBef>
              <a:spcAft>
                <a:spcPts val="600"/>
              </a:spcAft>
              <a:defRPr sz="1800">
                <a:solidFill>
                  <a:schemeClr val="tx1"/>
                </a:solidFill>
              </a:defRPr>
            </a:lvl2pPr>
            <a:lvl3pPr marL="255981" indent="-127990">
              <a:spcBef>
                <a:spcPts val="0"/>
              </a:spcBef>
              <a:spcAft>
                <a:spcPts val="600"/>
              </a:spcAft>
              <a:defRPr sz="1800">
                <a:solidFill>
                  <a:schemeClr val="tx1"/>
                </a:solidFill>
              </a:defRPr>
            </a:lvl3pPr>
            <a:lvl4pPr marL="383971" indent="-127990">
              <a:spcBef>
                <a:spcPts val="0"/>
              </a:spcBef>
              <a:spcAft>
                <a:spcPts val="600"/>
              </a:spcAft>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91047"/>
            <a:ext cx="2474590" cy="2607323"/>
          </a:xfrm>
        </p:spPr>
        <p:txBody>
          <a:bodyPr/>
          <a:lstStyle>
            <a:lvl1pPr>
              <a:spcBef>
                <a:spcPts val="0"/>
              </a:spcBef>
              <a:spcAft>
                <a:spcPts val="600"/>
              </a:spcAft>
              <a:defRPr sz="1800">
                <a:solidFill>
                  <a:schemeClr val="tx1"/>
                </a:solidFill>
              </a:defRPr>
            </a:lvl1pPr>
            <a:lvl2pPr marL="127990" indent="-127990">
              <a:spcBef>
                <a:spcPts val="0"/>
              </a:spcBef>
              <a:spcAft>
                <a:spcPts val="600"/>
              </a:spcAft>
              <a:defRPr sz="1800">
                <a:solidFill>
                  <a:schemeClr val="tx1"/>
                </a:solidFill>
              </a:defRPr>
            </a:lvl2pPr>
            <a:lvl3pPr marL="255981" indent="-127990">
              <a:spcBef>
                <a:spcPts val="0"/>
              </a:spcBef>
              <a:spcAft>
                <a:spcPts val="600"/>
              </a:spcAft>
              <a:defRPr sz="1800">
                <a:solidFill>
                  <a:schemeClr val="tx1"/>
                </a:solidFill>
              </a:defRPr>
            </a:lvl3pPr>
            <a:lvl4pPr marL="383971" indent="-127990">
              <a:spcBef>
                <a:spcPts val="0"/>
              </a:spcBef>
              <a:spcAft>
                <a:spcPts val="600"/>
              </a:spcAft>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cxnSp>
        <p:nvCxnSpPr>
          <p:cNvPr id="9" name="Straight Connector 8">
            <a:extLst>
              <a:ext uri="{FF2B5EF4-FFF2-40B4-BE49-F238E27FC236}">
                <a16:creationId xmlns:a16="http://schemas.microsoft.com/office/drawing/2014/main" id="{14A48675-4C09-40F6-B2AC-B92E0A737613}"/>
              </a:ext>
            </a:extLst>
          </p:cNvPr>
          <p:cNvCxnSpPr>
            <a:cxnSpLocks/>
          </p:cNvCxnSpPr>
          <p:nvPr userDrawn="1"/>
        </p:nvCxnSpPr>
        <p:spPr bwMode="auto">
          <a:xfrm>
            <a:off x="6380919" y="3129611"/>
            <a:ext cx="552378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C8C29595-FFB1-A770-4E44-FBA6B0124636}"/>
              </a:ext>
            </a:extLst>
          </p:cNvPr>
          <p:cNvCxnSpPr>
            <a:cxnSpLocks/>
          </p:cNvCxnSpPr>
          <p:nvPr userDrawn="1"/>
        </p:nvCxnSpPr>
        <p:spPr bwMode="auto">
          <a:xfrm>
            <a:off x="9142810" y="288925"/>
            <a:ext cx="0" cy="56813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10">
            <a:extLst>
              <a:ext uri="{FF2B5EF4-FFF2-40B4-BE49-F238E27FC236}">
                <a16:creationId xmlns:a16="http://schemas.microsoft.com/office/drawing/2014/main" id="{8222ABE6-8E24-BB5A-724A-A3BF328EA66B}"/>
              </a:ext>
            </a:extLst>
          </p:cNvPr>
          <p:cNvSpPr>
            <a:spLocks noGrp="1"/>
          </p:cNvSpPr>
          <p:nvPr>
            <p:ph type="body" sz="quarter" idx="16"/>
          </p:nvPr>
        </p:nvSpPr>
        <p:spPr>
          <a:xfrm>
            <a:off x="6383049" y="245102"/>
            <a:ext cx="2474590" cy="2607323"/>
          </a:xfrm>
        </p:spPr>
        <p:txBody>
          <a:bodyPr/>
          <a:lstStyle>
            <a:lvl1pPr>
              <a:spcBef>
                <a:spcPts val="0"/>
              </a:spcBef>
              <a:spcAft>
                <a:spcPts val="600"/>
              </a:spcAft>
              <a:defRPr sz="1800">
                <a:solidFill>
                  <a:schemeClr val="tx1"/>
                </a:solidFill>
              </a:defRPr>
            </a:lvl1pPr>
            <a:lvl2pPr marL="127990" indent="-127990">
              <a:spcBef>
                <a:spcPts val="0"/>
              </a:spcBef>
              <a:spcAft>
                <a:spcPts val="600"/>
              </a:spcAft>
              <a:defRPr sz="1800">
                <a:solidFill>
                  <a:schemeClr val="tx1"/>
                </a:solidFill>
              </a:defRPr>
            </a:lvl2pPr>
            <a:lvl3pPr marL="255981" indent="-127990">
              <a:spcBef>
                <a:spcPts val="0"/>
              </a:spcBef>
              <a:spcAft>
                <a:spcPts val="600"/>
              </a:spcAft>
              <a:defRPr sz="1800">
                <a:solidFill>
                  <a:schemeClr val="tx1"/>
                </a:solidFill>
              </a:defRPr>
            </a:lvl3pPr>
            <a:lvl4pPr marL="383971" indent="-127990">
              <a:spcBef>
                <a:spcPts val="0"/>
              </a:spcBef>
              <a:spcAft>
                <a:spcPts val="600"/>
              </a:spcAft>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10">
            <a:extLst>
              <a:ext uri="{FF2B5EF4-FFF2-40B4-BE49-F238E27FC236}">
                <a16:creationId xmlns:a16="http://schemas.microsoft.com/office/drawing/2014/main" id="{49562605-98F6-4E5B-023A-C45650DB486B}"/>
              </a:ext>
            </a:extLst>
          </p:cNvPr>
          <p:cNvSpPr>
            <a:spLocks noGrp="1"/>
          </p:cNvSpPr>
          <p:nvPr>
            <p:ph type="body" sz="quarter" idx="17"/>
          </p:nvPr>
        </p:nvSpPr>
        <p:spPr>
          <a:xfrm>
            <a:off x="9428523" y="245102"/>
            <a:ext cx="2474590" cy="2607323"/>
          </a:xfrm>
        </p:spPr>
        <p:txBody>
          <a:bodyPr/>
          <a:lstStyle>
            <a:lvl1pPr>
              <a:spcBef>
                <a:spcPts val="0"/>
              </a:spcBef>
              <a:spcAft>
                <a:spcPts val="600"/>
              </a:spcAft>
              <a:defRPr sz="1800">
                <a:solidFill>
                  <a:schemeClr val="tx1"/>
                </a:solidFill>
              </a:defRPr>
            </a:lvl1pPr>
            <a:lvl2pPr marL="127990" indent="-127990">
              <a:spcBef>
                <a:spcPts val="0"/>
              </a:spcBef>
              <a:spcAft>
                <a:spcPts val="600"/>
              </a:spcAft>
              <a:defRPr sz="1800">
                <a:solidFill>
                  <a:schemeClr val="tx1"/>
                </a:solidFill>
              </a:defRPr>
            </a:lvl2pPr>
            <a:lvl3pPr marL="255981" indent="-127990">
              <a:spcBef>
                <a:spcPts val="0"/>
              </a:spcBef>
              <a:spcAft>
                <a:spcPts val="600"/>
              </a:spcAft>
              <a:defRPr sz="1800">
                <a:solidFill>
                  <a:schemeClr val="tx1"/>
                </a:solidFill>
              </a:defRPr>
            </a:lvl3pPr>
            <a:lvl4pPr marL="383971" indent="-127990">
              <a:spcBef>
                <a:spcPts val="0"/>
              </a:spcBef>
              <a:spcAft>
                <a:spcPts val="600"/>
              </a:spcAft>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itle 1">
            <a:extLst>
              <a:ext uri="{FF2B5EF4-FFF2-40B4-BE49-F238E27FC236}">
                <a16:creationId xmlns:a16="http://schemas.microsoft.com/office/drawing/2014/main" id="{5C433850-C77D-7722-6C93-E8FC8E47DCA9}"/>
              </a:ext>
            </a:extLst>
          </p:cNvPr>
          <p:cNvSpPr>
            <a:spLocks noGrp="1"/>
          </p:cNvSpPr>
          <p:nvPr>
            <p:ph type="title"/>
          </p:nvPr>
        </p:nvSpPr>
        <p:spPr>
          <a:xfrm>
            <a:off x="268951" y="198288"/>
            <a:ext cx="5524575" cy="1516213"/>
          </a:xfrm>
        </p:spPr>
        <p:txBody>
          <a:bodyPr rIns="457200"/>
          <a:lstStyle>
            <a:lvl1pPr>
              <a:lnSpc>
                <a:spcPct val="100000"/>
              </a:lnSpc>
              <a:defRPr>
                <a:solidFill>
                  <a:schemeClr val="tx2"/>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087E0954-094A-3A56-F3D8-8FCE37CDB6FF}"/>
              </a:ext>
            </a:extLst>
          </p:cNvPr>
          <p:cNvCxnSpPr>
            <a:cxnSpLocks/>
          </p:cNvCxnSpPr>
          <p:nvPr userDrawn="1"/>
        </p:nvCxnSpPr>
        <p:spPr bwMode="auto">
          <a:xfrm>
            <a:off x="3047603" y="3429000"/>
            <a:ext cx="0" cy="255572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 name="Straight Connector 3">
            <a:extLst>
              <a:ext uri="{FF2B5EF4-FFF2-40B4-BE49-F238E27FC236}">
                <a16:creationId xmlns:a16="http://schemas.microsoft.com/office/drawing/2014/main" id="{889A4873-4533-129F-BFE4-942DBAD403C6}"/>
              </a:ext>
            </a:extLst>
          </p:cNvPr>
          <p:cNvCxnSpPr>
            <a:cxnSpLocks/>
          </p:cNvCxnSpPr>
          <p:nvPr userDrawn="1"/>
        </p:nvCxnSpPr>
        <p:spPr bwMode="auto">
          <a:xfrm>
            <a:off x="6093683" y="3430327"/>
            <a:ext cx="0" cy="256451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 name="Straight Connector 5">
            <a:extLst>
              <a:ext uri="{FF2B5EF4-FFF2-40B4-BE49-F238E27FC236}">
                <a16:creationId xmlns:a16="http://schemas.microsoft.com/office/drawing/2014/main" id="{958FBD17-65B3-D61E-4BFF-911D4D8DED82}"/>
              </a:ext>
            </a:extLst>
          </p:cNvPr>
          <p:cNvCxnSpPr>
            <a:cxnSpLocks/>
          </p:cNvCxnSpPr>
          <p:nvPr userDrawn="1"/>
        </p:nvCxnSpPr>
        <p:spPr bwMode="auto">
          <a:xfrm>
            <a:off x="9142810" y="3429000"/>
            <a:ext cx="0" cy="255480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Footer Placeholder 1">
            <a:extLst>
              <a:ext uri="{FF2B5EF4-FFF2-40B4-BE49-F238E27FC236}">
                <a16:creationId xmlns:a16="http://schemas.microsoft.com/office/drawing/2014/main" id="{62A38210-751E-ABDD-BE11-802CF10EBD58}"/>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
        <p:nvSpPr>
          <p:cNvPr id="2" name="TextBox 1">
            <a:extLst>
              <a:ext uri="{FF2B5EF4-FFF2-40B4-BE49-F238E27FC236}">
                <a16:creationId xmlns:a16="http://schemas.microsoft.com/office/drawing/2014/main" id="{D94CFB0C-6552-D62B-7C5C-F515EAB0E315}"/>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rgbClr val="000000"/>
                </a:solidFill>
                <a:latin typeface="IBM Plex Sans" panose="020B0503050203000203" pitchFamily="34" charset="0"/>
                <a:ea typeface="+mj-ea"/>
                <a:cs typeface="+mj-cs"/>
                <a:sym typeface="IBM Plex Sans Light"/>
              </a:rPr>
              <a:t>#IBMTechXchange</a:t>
            </a:r>
          </a:p>
        </p:txBody>
      </p:sp>
    </p:spTree>
    <p:extLst>
      <p:ext uri="{BB962C8B-B14F-4D97-AF65-F5344CB8AC3E}">
        <p14:creationId xmlns:p14="http://schemas.microsoft.com/office/powerpoint/2010/main" val="383862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pictograms, 6 items">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05CA50B6-671E-953F-D715-5F31CF9D8E8C}"/>
              </a:ext>
            </a:extLst>
          </p:cNvPr>
          <p:cNvCxnSpPr>
            <a:cxnSpLocks/>
          </p:cNvCxnSpPr>
          <p:nvPr userDrawn="1"/>
        </p:nvCxnSpPr>
        <p:spPr bwMode="auto">
          <a:xfrm>
            <a:off x="284126" y="3143358"/>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7E71A181-117D-E38D-D96B-5F09AE6C2D8A}"/>
              </a:ext>
            </a:extLst>
          </p:cNvPr>
          <p:cNvCxnSpPr>
            <a:cxnSpLocks/>
          </p:cNvCxnSpPr>
          <p:nvPr userDrawn="1"/>
        </p:nvCxnSpPr>
        <p:spPr bwMode="auto">
          <a:xfrm>
            <a:off x="3047603" y="3143358"/>
            <a:ext cx="0" cy="283986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7D7569E8-33F0-2927-457E-FFB6E90A4978}"/>
              </a:ext>
            </a:extLst>
          </p:cNvPr>
          <p:cNvCxnSpPr>
            <a:cxnSpLocks/>
          </p:cNvCxnSpPr>
          <p:nvPr userDrawn="1"/>
        </p:nvCxnSpPr>
        <p:spPr bwMode="auto">
          <a:xfrm>
            <a:off x="6093683" y="291876"/>
            <a:ext cx="0" cy="570296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308D2F3D-0843-CCA0-431C-15C29EDEB951}"/>
              </a:ext>
            </a:extLst>
          </p:cNvPr>
          <p:cNvCxnSpPr>
            <a:cxnSpLocks/>
          </p:cNvCxnSpPr>
          <p:nvPr userDrawn="1"/>
        </p:nvCxnSpPr>
        <p:spPr bwMode="auto">
          <a:xfrm>
            <a:off x="9142810" y="288925"/>
            <a:ext cx="0" cy="5681372"/>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17" name="Title 1">
            <a:extLst>
              <a:ext uri="{FF2B5EF4-FFF2-40B4-BE49-F238E27FC236}">
                <a16:creationId xmlns:a16="http://schemas.microsoft.com/office/drawing/2014/main" id="{5C433850-C77D-7722-6C93-E8FC8E47DCA9}"/>
              </a:ext>
            </a:extLst>
          </p:cNvPr>
          <p:cNvSpPr>
            <a:spLocks noGrp="1"/>
          </p:cNvSpPr>
          <p:nvPr>
            <p:ph type="title"/>
          </p:nvPr>
        </p:nvSpPr>
        <p:spPr>
          <a:xfrm>
            <a:off x="268951" y="198288"/>
            <a:ext cx="5524575" cy="1516213"/>
          </a:xfrm>
        </p:spPr>
        <p:txBody>
          <a:bodyPr rIns="457200"/>
          <a:lstStyle>
            <a:lvl1pPr>
              <a:lnSpc>
                <a:spcPct val="100000"/>
              </a:lnSpc>
              <a:defRPr>
                <a:solidFill>
                  <a:schemeClr val="tx2"/>
                </a:solidFill>
              </a:defRPr>
            </a:lvl1pPr>
          </a:lstStyle>
          <a:p>
            <a:r>
              <a:rPr lang="en-US"/>
              <a:t>Click to edit Master title style</a:t>
            </a:r>
          </a:p>
        </p:txBody>
      </p:sp>
      <p:sp>
        <p:nvSpPr>
          <p:cNvPr id="10" name="Text Placeholder 4">
            <a:extLst>
              <a:ext uri="{FF2B5EF4-FFF2-40B4-BE49-F238E27FC236}">
                <a16:creationId xmlns:a16="http://schemas.microsoft.com/office/drawing/2014/main" id="{6988CA66-514D-2E7F-1BD4-92DF3C0CAC62}"/>
              </a:ext>
            </a:extLst>
          </p:cNvPr>
          <p:cNvSpPr>
            <a:spLocks noGrp="1"/>
          </p:cNvSpPr>
          <p:nvPr>
            <p:ph type="body" sz="quarter" idx="11"/>
          </p:nvPr>
        </p:nvSpPr>
        <p:spPr>
          <a:xfrm>
            <a:off x="6368127" y="1239012"/>
            <a:ext cx="2476177" cy="1626373"/>
          </a:xfrm>
        </p:spPr>
        <p:txBody>
          <a:bodyPr/>
          <a:lstStyle>
            <a:lvl1pPr>
              <a:lnSpc>
                <a:spcPct val="110000"/>
              </a:lnSpc>
              <a:spcBef>
                <a:spcPts val="0"/>
              </a:spcBef>
              <a:defRPr sz="1800">
                <a:solidFill>
                  <a:schemeClr val="tx1"/>
                </a:solidFill>
              </a:defRPr>
            </a:lvl1pPr>
            <a:lvl2pPr marL="201128" indent="-201128">
              <a:lnSpc>
                <a:spcPct val="110000"/>
              </a:lnSpc>
              <a:spcBef>
                <a:spcPts val="0"/>
              </a:spcBef>
              <a:defRPr sz="1800">
                <a:solidFill>
                  <a:schemeClr val="tx1"/>
                </a:solidFill>
              </a:defRPr>
            </a:lvl2pPr>
            <a:lvl3pPr marL="402256" indent="-201128">
              <a:lnSpc>
                <a:spcPct val="110000"/>
              </a:lnSpc>
              <a:spcBef>
                <a:spcPts val="0"/>
              </a:spcBef>
              <a:defRPr sz="1800">
                <a:solidFill>
                  <a:schemeClr val="tx1"/>
                </a:solidFill>
              </a:defRPr>
            </a:lvl3pPr>
            <a:lvl4pPr marL="557672" indent="-201128">
              <a:lnSpc>
                <a:spcPct val="110000"/>
              </a:lnSpc>
              <a:spcBef>
                <a:spcPts val="0"/>
              </a:spcBef>
              <a:defRPr sz="18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Picture Placeholder 12">
            <a:extLst>
              <a:ext uri="{FF2B5EF4-FFF2-40B4-BE49-F238E27FC236}">
                <a16:creationId xmlns:a16="http://schemas.microsoft.com/office/drawing/2014/main" id="{E70D622C-89B3-2863-7C99-3085C9A592A4}"/>
              </a:ext>
            </a:extLst>
          </p:cNvPr>
          <p:cNvSpPr>
            <a:spLocks noGrp="1"/>
          </p:cNvSpPr>
          <p:nvPr>
            <p:ph type="pic" sz="quarter" idx="15" hasCustomPrompt="1"/>
          </p:nvPr>
        </p:nvSpPr>
        <p:spPr>
          <a:xfrm>
            <a:off x="6368126" y="288036"/>
            <a:ext cx="607997" cy="608076"/>
          </a:xfrm>
        </p:spPr>
        <p:txBody>
          <a:bodyPr anchor="ctr"/>
          <a:lstStyle>
            <a:lvl1pPr algn="ctr">
              <a:defRPr sz="800"/>
            </a:lvl1pPr>
          </a:lstStyle>
          <a:p>
            <a:r>
              <a:rPr lang="en-US"/>
              <a:t>Pictogram</a:t>
            </a:r>
          </a:p>
        </p:txBody>
      </p:sp>
      <p:sp>
        <p:nvSpPr>
          <p:cNvPr id="18" name="Text Placeholder 4">
            <a:extLst>
              <a:ext uri="{FF2B5EF4-FFF2-40B4-BE49-F238E27FC236}">
                <a16:creationId xmlns:a16="http://schemas.microsoft.com/office/drawing/2014/main" id="{4AEA1519-7C3A-C0B5-EC85-1F164DCBB1EE}"/>
              </a:ext>
            </a:extLst>
          </p:cNvPr>
          <p:cNvSpPr>
            <a:spLocks noGrp="1"/>
          </p:cNvSpPr>
          <p:nvPr>
            <p:ph type="body" sz="quarter" idx="22"/>
          </p:nvPr>
        </p:nvSpPr>
        <p:spPr>
          <a:xfrm>
            <a:off x="9424555" y="1239012"/>
            <a:ext cx="2476177" cy="1626373"/>
          </a:xfrm>
        </p:spPr>
        <p:txBody>
          <a:bodyPr/>
          <a:lstStyle>
            <a:lvl1pPr>
              <a:lnSpc>
                <a:spcPct val="110000"/>
              </a:lnSpc>
              <a:spcBef>
                <a:spcPts val="0"/>
              </a:spcBef>
              <a:defRPr sz="1800">
                <a:solidFill>
                  <a:schemeClr val="tx1"/>
                </a:solidFill>
              </a:defRPr>
            </a:lvl1pPr>
            <a:lvl2pPr marL="201128" indent="-201128">
              <a:lnSpc>
                <a:spcPct val="110000"/>
              </a:lnSpc>
              <a:spcBef>
                <a:spcPts val="0"/>
              </a:spcBef>
              <a:defRPr sz="1800">
                <a:solidFill>
                  <a:schemeClr val="tx1"/>
                </a:solidFill>
              </a:defRPr>
            </a:lvl2pPr>
            <a:lvl3pPr marL="402256" indent="-201128">
              <a:lnSpc>
                <a:spcPct val="110000"/>
              </a:lnSpc>
              <a:spcBef>
                <a:spcPts val="0"/>
              </a:spcBef>
              <a:defRPr sz="1800">
                <a:solidFill>
                  <a:schemeClr val="tx1"/>
                </a:solidFill>
              </a:defRPr>
            </a:lvl3pPr>
            <a:lvl4pPr marL="557672" indent="-201128">
              <a:lnSpc>
                <a:spcPct val="110000"/>
              </a:lnSpc>
              <a:spcBef>
                <a:spcPts val="0"/>
              </a:spcBef>
              <a:defRPr sz="18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12">
            <a:extLst>
              <a:ext uri="{FF2B5EF4-FFF2-40B4-BE49-F238E27FC236}">
                <a16:creationId xmlns:a16="http://schemas.microsoft.com/office/drawing/2014/main" id="{FD1B8CC3-58FD-8DCD-BDD6-E62A5D5DBC23}"/>
              </a:ext>
            </a:extLst>
          </p:cNvPr>
          <p:cNvSpPr>
            <a:spLocks noGrp="1"/>
          </p:cNvSpPr>
          <p:nvPr>
            <p:ph type="pic" sz="quarter" idx="23" hasCustomPrompt="1"/>
          </p:nvPr>
        </p:nvSpPr>
        <p:spPr>
          <a:xfrm>
            <a:off x="9424555" y="288036"/>
            <a:ext cx="607997" cy="608076"/>
          </a:xfrm>
        </p:spPr>
        <p:txBody>
          <a:bodyPr anchor="ctr"/>
          <a:lstStyle>
            <a:lvl1pPr algn="ctr">
              <a:defRPr sz="800"/>
            </a:lvl1pPr>
          </a:lstStyle>
          <a:p>
            <a:r>
              <a:rPr lang="en-US"/>
              <a:t>Pictogram</a:t>
            </a:r>
          </a:p>
        </p:txBody>
      </p:sp>
      <p:sp>
        <p:nvSpPr>
          <p:cNvPr id="20" name="Text Placeholder 4">
            <a:extLst>
              <a:ext uri="{FF2B5EF4-FFF2-40B4-BE49-F238E27FC236}">
                <a16:creationId xmlns:a16="http://schemas.microsoft.com/office/drawing/2014/main" id="{9BE2A62D-EE41-8456-8F8E-593D0972F7DA}"/>
              </a:ext>
            </a:extLst>
          </p:cNvPr>
          <p:cNvSpPr>
            <a:spLocks noGrp="1"/>
          </p:cNvSpPr>
          <p:nvPr>
            <p:ph type="body" sz="quarter" idx="24"/>
          </p:nvPr>
        </p:nvSpPr>
        <p:spPr>
          <a:xfrm>
            <a:off x="6368127" y="4343930"/>
            <a:ext cx="2476177" cy="1626373"/>
          </a:xfrm>
        </p:spPr>
        <p:txBody>
          <a:bodyPr/>
          <a:lstStyle>
            <a:lvl1pPr>
              <a:lnSpc>
                <a:spcPct val="110000"/>
              </a:lnSpc>
              <a:spcBef>
                <a:spcPts val="0"/>
              </a:spcBef>
              <a:defRPr sz="1800">
                <a:solidFill>
                  <a:schemeClr val="tx1"/>
                </a:solidFill>
              </a:defRPr>
            </a:lvl1pPr>
            <a:lvl2pPr marL="201128" indent="-201128">
              <a:lnSpc>
                <a:spcPct val="110000"/>
              </a:lnSpc>
              <a:spcBef>
                <a:spcPts val="0"/>
              </a:spcBef>
              <a:defRPr sz="1800">
                <a:solidFill>
                  <a:schemeClr val="tx1"/>
                </a:solidFill>
              </a:defRPr>
            </a:lvl2pPr>
            <a:lvl3pPr marL="402256" indent="-201128">
              <a:lnSpc>
                <a:spcPct val="110000"/>
              </a:lnSpc>
              <a:spcBef>
                <a:spcPts val="0"/>
              </a:spcBef>
              <a:defRPr sz="1800">
                <a:solidFill>
                  <a:schemeClr val="tx1"/>
                </a:solidFill>
              </a:defRPr>
            </a:lvl3pPr>
            <a:lvl4pPr marL="557672" indent="-201128">
              <a:lnSpc>
                <a:spcPct val="110000"/>
              </a:lnSpc>
              <a:spcBef>
                <a:spcPts val="0"/>
              </a:spcBef>
              <a:defRPr sz="18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12">
            <a:extLst>
              <a:ext uri="{FF2B5EF4-FFF2-40B4-BE49-F238E27FC236}">
                <a16:creationId xmlns:a16="http://schemas.microsoft.com/office/drawing/2014/main" id="{7D430C99-4D84-A798-4D9F-8E20E26817D9}"/>
              </a:ext>
            </a:extLst>
          </p:cNvPr>
          <p:cNvSpPr>
            <a:spLocks noGrp="1"/>
          </p:cNvSpPr>
          <p:nvPr>
            <p:ph type="pic" sz="quarter" idx="25" hasCustomPrompt="1"/>
          </p:nvPr>
        </p:nvSpPr>
        <p:spPr>
          <a:xfrm>
            <a:off x="6368126" y="3392954"/>
            <a:ext cx="607997" cy="608076"/>
          </a:xfrm>
        </p:spPr>
        <p:txBody>
          <a:bodyPr anchor="ctr"/>
          <a:lstStyle>
            <a:lvl1pPr algn="ctr">
              <a:defRPr sz="800"/>
            </a:lvl1pPr>
          </a:lstStyle>
          <a:p>
            <a:r>
              <a:rPr lang="en-US"/>
              <a:t>Pictogram</a:t>
            </a:r>
          </a:p>
        </p:txBody>
      </p:sp>
      <p:sp>
        <p:nvSpPr>
          <p:cNvPr id="22" name="Text Placeholder 4">
            <a:extLst>
              <a:ext uri="{FF2B5EF4-FFF2-40B4-BE49-F238E27FC236}">
                <a16:creationId xmlns:a16="http://schemas.microsoft.com/office/drawing/2014/main" id="{3E91CAE2-40F2-60D7-69AC-2C6398FA4110}"/>
              </a:ext>
            </a:extLst>
          </p:cNvPr>
          <p:cNvSpPr>
            <a:spLocks noGrp="1"/>
          </p:cNvSpPr>
          <p:nvPr>
            <p:ph type="body" sz="quarter" idx="26"/>
          </p:nvPr>
        </p:nvSpPr>
        <p:spPr>
          <a:xfrm>
            <a:off x="9424555" y="4343930"/>
            <a:ext cx="2476177" cy="1626373"/>
          </a:xfrm>
        </p:spPr>
        <p:txBody>
          <a:bodyPr/>
          <a:lstStyle>
            <a:lvl1pPr>
              <a:lnSpc>
                <a:spcPct val="110000"/>
              </a:lnSpc>
              <a:spcBef>
                <a:spcPts val="0"/>
              </a:spcBef>
              <a:defRPr sz="1800">
                <a:solidFill>
                  <a:schemeClr val="tx1"/>
                </a:solidFill>
              </a:defRPr>
            </a:lvl1pPr>
            <a:lvl2pPr marL="201128" indent="-201128">
              <a:lnSpc>
                <a:spcPct val="110000"/>
              </a:lnSpc>
              <a:spcBef>
                <a:spcPts val="0"/>
              </a:spcBef>
              <a:defRPr sz="1800">
                <a:solidFill>
                  <a:schemeClr val="tx1"/>
                </a:solidFill>
              </a:defRPr>
            </a:lvl2pPr>
            <a:lvl3pPr marL="402256" indent="-201128">
              <a:lnSpc>
                <a:spcPct val="110000"/>
              </a:lnSpc>
              <a:spcBef>
                <a:spcPts val="0"/>
              </a:spcBef>
              <a:defRPr sz="1800">
                <a:solidFill>
                  <a:schemeClr val="tx1"/>
                </a:solidFill>
              </a:defRPr>
            </a:lvl3pPr>
            <a:lvl4pPr marL="557672" indent="-201128">
              <a:lnSpc>
                <a:spcPct val="110000"/>
              </a:lnSpc>
              <a:spcBef>
                <a:spcPts val="0"/>
              </a:spcBef>
              <a:defRPr sz="18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12">
            <a:extLst>
              <a:ext uri="{FF2B5EF4-FFF2-40B4-BE49-F238E27FC236}">
                <a16:creationId xmlns:a16="http://schemas.microsoft.com/office/drawing/2014/main" id="{E40EAA70-7D31-B59B-88DC-CBFA9E01AE99}"/>
              </a:ext>
            </a:extLst>
          </p:cNvPr>
          <p:cNvSpPr>
            <a:spLocks noGrp="1"/>
          </p:cNvSpPr>
          <p:nvPr>
            <p:ph type="pic" sz="quarter" idx="27" hasCustomPrompt="1"/>
          </p:nvPr>
        </p:nvSpPr>
        <p:spPr>
          <a:xfrm>
            <a:off x="9424555" y="3392954"/>
            <a:ext cx="607997" cy="608076"/>
          </a:xfrm>
        </p:spPr>
        <p:txBody>
          <a:bodyPr anchor="ctr"/>
          <a:lstStyle>
            <a:lvl1pPr algn="ctr">
              <a:defRPr sz="800"/>
            </a:lvl1pPr>
          </a:lstStyle>
          <a:p>
            <a:r>
              <a:rPr lang="en-US"/>
              <a:t>Pictogram</a:t>
            </a:r>
          </a:p>
        </p:txBody>
      </p:sp>
      <p:sp>
        <p:nvSpPr>
          <p:cNvPr id="24" name="Text Placeholder 10">
            <a:extLst>
              <a:ext uri="{FF2B5EF4-FFF2-40B4-BE49-F238E27FC236}">
                <a16:creationId xmlns:a16="http://schemas.microsoft.com/office/drawing/2014/main" id="{8C07212A-8B97-6593-5714-26AB990D7535}"/>
              </a:ext>
            </a:extLst>
          </p:cNvPr>
          <p:cNvSpPr>
            <a:spLocks noGrp="1"/>
          </p:cNvSpPr>
          <p:nvPr>
            <p:ph type="body" sz="quarter" idx="28"/>
          </p:nvPr>
        </p:nvSpPr>
        <p:spPr>
          <a:xfrm>
            <a:off x="287999" y="4344021"/>
            <a:ext cx="2474590" cy="1626276"/>
          </a:xfrm>
        </p:spPr>
        <p:txBody>
          <a:bodyPr/>
          <a:lstStyle>
            <a:lvl1pPr>
              <a:spcBef>
                <a:spcPts val="0"/>
              </a:spcBef>
              <a:defRPr sz="1800">
                <a:solidFill>
                  <a:schemeClr val="tx1"/>
                </a:solidFill>
              </a:defRPr>
            </a:lvl1pPr>
            <a:lvl2pPr marL="127990" indent="-127990">
              <a:spcBef>
                <a:spcPts val="0"/>
              </a:spcBef>
              <a:defRPr sz="1800">
                <a:solidFill>
                  <a:schemeClr val="tx1"/>
                </a:solidFill>
              </a:defRPr>
            </a:lvl2pPr>
            <a:lvl3pPr marL="255981" indent="-127990">
              <a:spcBef>
                <a:spcPts val="0"/>
              </a:spcBef>
              <a:defRPr sz="1800">
                <a:solidFill>
                  <a:schemeClr val="tx1"/>
                </a:solidFill>
              </a:defRPr>
            </a:lvl3pPr>
            <a:lvl4pPr marL="383971" indent="-127990">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Text Placeholder 10">
            <a:extLst>
              <a:ext uri="{FF2B5EF4-FFF2-40B4-BE49-F238E27FC236}">
                <a16:creationId xmlns:a16="http://schemas.microsoft.com/office/drawing/2014/main" id="{C0BC29DE-57B9-0A75-BFEA-0C952625F4C6}"/>
              </a:ext>
            </a:extLst>
          </p:cNvPr>
          <p:cNvSpPr>
            <a:spLocks noGrp="1"/>
          </p:cNvSpPr>
          <p:nvPr>
            <p:ph type="body" sz="quarter" idx="12"/>
          </p:nvPr>
        </p:nvSpPr>
        <p:spPr>
          <a:xfrm>
            <a:off x="3334362" y="4344021"/>
            <a:ext cx="2474590" cy="1626276"/>
          </a:xfrm>
        </p:spPr>
        <p:txBody>
          <a:bodyPr/>
          <a:lstStyle>
            <a:lvl1pPr>
              <a:spcBef>
                <a:spcPts val="0"/>
              </a:spcBef>
              <a:defRPr sz="1800">
                <a:solidFill>
                  <a:schemeClr val="tx1"/>
                </a:solidFill>
              </a:defRPr>
            </a:lvl1pPr>
            <a:lvl2pPr marL="127990" indent="-127990">
              <a:spcBef>
                <a:spcPts val="0"/>
              </a:spcBef>
              <a:defRPr sz="1800">
                <a:solidFill>
                  <a:schemeClr val="tx1"/>
                </a:solidFill>
              </a:defRPr>
            </a:lvl2pPr>
            <a:lvl3pPr marL="255981" indent="-127990">
              <a:spcBef>
                <a:spcPts val="0"/>
              </a:spcBef>
              <a:defRPr sz="1800">
                <a:solidFill>
                  <a:schemeClr val="tx1"/>
                </a:solidFill>
              </a:defRPr>
            </a:lvl3pPr>
            <a:lvl4pPr marL="383971" indent="-127990">
              <a:spcBef>
                <a:spcPts val="0"/>
              </a:spcBef>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Picture Placeholder 12">
            <a:extLst>
              <a:ext uri="{FF2B5EF4-FFF2-40B4-BE49-F238E27FC236}">
                <a16:creationId xmlns:a16="http://schemas.microsoft.com/office/drawing/2014/main" id="{233F6872-B424-BD61-A41F-831F1D82DA5A}"/>
              </a:ext>
            </a:extLst>
          </p:cNvPr>
          <p:cNvSpPr>
            <a:spLocks noGrp="1"/>
          </p:cNvSpPr>
          <p:nvPr>
            <p:ph type="pic" sz="quarter" idx="17" hasCustomPrompt="1"/>
          </p:nvPr>
        </p:nvSpPr>
        <p:spPr>
          <a:xfrm>
            <a:off x="287998" y="3393045"/>
            <a:ext cx="607997" cy="608076"/>
          </a:xfrm>
        </p:spPr>
        <p:txBody>
          <a:bodyPr anchor="ctr"/>
          <a:lstStyle>
            <a:lvl1pPr algn="ctr">
              <a:defRPr sz="800"/>
            </a:lvl1pPr>
          </a:lstStyle>
          <a:p>
            <a:r>
              <a:rPr lang="en-US"/>
              <a:t>Pictogram</a:t>
            </a:r>
          </a:p>
        </p:txBody>
      </p:sp>
      <p:sp>
        <p:nvSpPr>
          <p:cNvPr id="27" name="Picture Placeholder 12">
            <a:extLst>
              <a:ext uri="{FF2B5EF4-FFF2-40B4-BE49-F238E27FC236}">
                <a16:creationId xmlns:a16="http://schemas.microsoft.com/office/drawing/2014/main" id="{B4230AF7-3A67-D259-C8A5-048B4C99BCBF}"/>
              </a:ext>
            </a:extLst>
          </p:cNvPr>
          <p:cNvSpPr>
            <a:spLocks noGrp="1"/>
          </p:cNvSpPr>
          <p:nvPr>
            <p:ph type="pic" sz="quarter" idx="18" hasCustomPrompt="1"/>
          </p:nvPr>
        </p:nvSpPr>
        <p:spPr>
          <a:xfrm>
            <a:off x="3334361" y="3393045"/>
            <a:ext cx="607997" cy="608076"/>
          </a:xfrm>
        </p:spPr>
        <p:txBody>
          <a:bodyPr anchor="ctr"/>
          <a:lstStyle>
            <a:lvl1pPr algn="ctr">
              <a:defRPr sz="800"/>
            </a:lvl1pPr>
          </a:lstStyle>
          <a:p>
            <a:r>
              <a:rPr lang="en-US"/>
              <a:t>Pictogram</a:t>
            </a:r>
          </a:p>
        </p:txBody>
      </p:sp>
      <p:sp>
        <p:nvSpPr>
          <p:cNvPr id="3" name="Footer Placeholder 1">
            <a:extLst>
              <a:ext uri="{FF2B5EF4-FFF2-40B4-BE49-F238E27FC236}">
                <a16:creationId xmlns:a16="http://schemas.microsoft.com/office/drawing/2014/main" id="{C5E93364-38AF-969E-6B64-185F78D95C11}"/>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
        <p:nvSpPr>
          <p:cNvPr id="2" name="TextBox 1">
            <a:extLst>
              <a:ext uri="{FF2B5EF4-FFF2-40B4-BE49-F238E27FC236}">
                <a16:creationId xmlns:a16="http://schemas.microsoft.com/office/drawing/2014/main" id="{F361C560-920D-6BE5-9476-E0C6AFCC65BC}"/>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rgbClr val="000000"/>
                </a:solidFill>
                <a:latin typeface="IBM Plex Sans" panose="020B0503050203000203" pitchFamily="34" charset="0"/>
                <a:ea typeface="+mj-ea"/>
                <a:cs typeface="+mj-cs"/>
                <a:sym typeface="IBM Plex Sans Light"/>
              </a:rPr>
              <a:t>#IBMTechXchange</a:t>
            </a:r>
          </a:p>
        </p:txBody>
      </p:sp>
    </p:spTree>
    <p:extLst>
      <p:ext uri="{BB962C8B-B14F-4D97-AF65-F5344CB8AC3E}">
        <p14:creationId xmlns:p14="http://schemas.microsoft.com/office/powerpoint/2010/main" val="2314477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ext, half, right side imagery">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75018"/>
            <a:ext cx="5523781" cy="6287294"/>
          </a:xfrm>
          <a:solidFill>
            <a:srgbClr val="E0E0E0"/>
          </a:solidFill>
        </p:spPr>
        <p:txBody>
          <a:bodyPr anchor="ctr"/>
          <a:lstStyle>
            <a:lvl1pPr algn="ctr">
              <a:defRPr>
                <a:solidFill>
                  <a:schemeClr val="tx1"/>
                </a:solidFill>
              </a:defRPr>
            </a:lvl1pPr>
          </a:lstStyle>
          <a:p>
            <a:r>
              <a:rPr lang="en-US"/>
              <a:t>Place imagery here</a:t>
            </a:r>
          </a:p>
        </p:txBody>
      </p:sp>
      <p:sp>
        <p:nvSpPr>
          <p:cNvPr id="4" name="Title 1">
            <a:extLst>
              <a:ext uri="{FF2B5EF4-FFF2-40B4-BE49-F238E27FC236}">
                <a16:creationId xmlns:a16="http://schemas.microsoft.com/office/drawing/2014/main" id="{753D1387-1AEB-51D7-32CA-2489D1480281}"/>
              </a:ext>
            </a:extLst>
          </p:cNvPr>
          <p:cNvSpPr>
            <a:spLocks noGrp="1"/>
          </p:cNvSpPr>
          <p:nvPr>
            <p:ph type="title"/>
          </p:nvPr>
        </p:nvSpPr>
        <p:spPr>
          <a:xfrm>
            <a:off x="268951" y="198287"/>
            <a:ext cx="5524575" cy="5800082"/>
          </a:xfrm>
        </p:spPr>
        <p:txBody>
          <a:bodyPr rIns="457200"/>
          <a:lstStyle>
            <a:lvl1pPr>
              <a:lnSpc>
                <a:spcPct val="100000"/>
              </a:lnSpc>
              <a:defRPr>
                <a:solidFill>
                  <a:schemeClr val="tx2"/>
                </a:solidFill>
              </a:defRPr>
            </a:lvl1pPr>
          </a:lstStyle>
          <a:p>
            <a:r>
              <a:rPr lang="en-US"/>
              <a:t>Click to edit Master title style</a:t>
            </a:r>
          </a:p>
        </p:txBody>
      </p:sp>
      <p:sp>
        <p:nvSpPr>
          <p:cNvPr id="8" name="Footer Placeholder 1">
            <a:extLst>
              <a:ext uri="{FF2B5EF4-FFF2-40B4-BE49-F238E27FC236}">
                <a16:creationId xmlns:a16="http://schemas.microsoft.com/office/drawing/2014/main" id="{28C492E8-5CB5-C92B-6CD6-CCDEF8E48EB8}"/>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Tree>
    <p:extLst>
      <p:ext uri="{BB962C8B-B14F-4D97-AF65-F5344CB8AC3E}">
        <p14:creationId xmlns:p14="http://schemas.microsoft.com/office/powerpoint/2010/main" val="3366053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ext, 2 images">
    <p:spTree>
      <p:nvGrpSpPr>
        <p:cNvPr id="1" name=""/>
        <p:cNvGrpSpPr/>
        <p:nvPr/>
      </p:nvGrpSpPr>
      <p:grpSpPr>
        <a:xfrm>
          <a:off x="0" y="0"/>
          <a:ext cx="0" cy="0"/>
          <a:chOff x="0" y="0"/>
          <a:chExt cx="0" cy="0"/>
        </a:xfrm>
      </p:grpSpPr>
      <p:sp>
        <p:nvSpPr>
          <p:cNvPr id="14" name="Picture Placeholder 6">
            <a:extLst>
              <a:ext uri="{FF2B5EF4-FFF2-40B4-BE49-F238E27FC236}">
                <a16:creationId xmlns:a16="http://schemas.microsoft.com/office/drawing/2014/main" id="{81C1AB2F-C9F7-0751-0A76-85DF06D92937}"/>
              </a:ext>
            </a:extLst>
          </p:cNvPr>
          <p:cNvSpPr>
            <a:spLocks noGrp="1"/>
          </p:cNvSpPr>
          <p:nvPr>
            <p:ph type="pic" sz="quarter" idx="12" hasCustomPrompt="1"/>
          </p:nvPr>
        </p:nvSpPr>
        <p:spPr>
          <a:xfrm>
            <a:off x="6418316" y="266700"/>
            <a:ext cx="2742843" cy="2743200"/>
          </a:xfrm>
          <a:solidFill>
            <a:srgbClr val="E0E0E0"/>
          </a:solidFill>
        </p:spPr>
        <p:txBody>
          <a:bodyPr anchor="ctr"/>
          <a:lstStyle>
            <a:lvl1pPr algn="ctr">
              <a:defRPr>
                <a:solidFill>
                  <a:schemeClr val="tx1"/>
                </a:solidFill>
              </a:defRPr>
            </a:lvl1pPr>
          </a:lstStyle>
          <a:p>
            <a:r>
              <a:rPr lang="en-US"/>
              <a:t>Place imagery here</a:t>
            </a:r>
          </a:p>
        </p:txBody>
      </p:sp>
      <p:sp>
        <p:nvSpPr>
          <p:cNvPr id="16" name="Picture Placeholder 6">
            <a:extLst>
              <a:ext uri="{FF2B5EF4-FFF2-40B4-BE49-F238E27FC236}">
                <a16:creationId xmlns:a16="http://schemas.microsoft.com/office/drawing/2014/main" id="{C30E6080-9E57-84EE-DA6B-A3ABABE24DBA}"/>
              </a:ext>
            </a:extLst>
          </p:cNvPr>
          <p:cNvSpPr>
            <a:spLocks noGrp="1"/>
          </p:cNvSpPr>
          <p:nvPr>
            <p:ph type="pic" sz="quarter" idx="13" hasCustomPrompt="1"/>
          </p:nvPr>
        </p:nvSpPr>
        <p:spPr>
          <a:xfrm>
            <a:off x="9157466" y="3009900"/>
            <a:ext cx="2742843" cy="2743200"/>
          </a:xfrm>
          <a:solidFill>
            <a:srgbClr val="E0E0E0"/>
          </a:solidFill>
        </p:spPr>
        <p:txBody>
          <a:bodyPr anchor="ctr"/>
          <a:lstStyle>
            <a:lvl1pPr algn="ctr">
              <a:defRPr>
                <a:solidFill>
                  <a:schemeClr val="tx1"/>
                </a:solidFill>
              </a:defRPr>
            </a:lvl1pPr>
          </a:lstStyle>
          <a:p>
            <a:r>
              <a:rPr lang="en-US"/>
              <a:t>Place imagery here</a:t>
            </a:r>
          </a:p>
        </p:txBody>
      </p:sp>
      <p:sp>
        <p:nvSpPr>
          <p:cNvPr id="4" name="Title 1">
            <a:extLst>
              <a:ext uri="{FF2B5EF4-FFF2-40B4-BE49-F238E27FC236}">
                <a16:creationId xmlns:a16="http://schemas.microsoft.com/office/drawing/2014/main" id="{753D1387-1AEB-51D7-32CA-2489D1480281}"/>
              </a:ext>
            </a:extLst>
          </p:cNvPr>
          <p:cNvSpPr>
            <a:spLocks noGrp="1"/>
          </p:cNvSpPr>
          <p:nvPr>
            <p:ph type="title"/>
          </p:nvPr>
        </p:nvSpPr>
        <p:spPr>
          <a:xfrm>
            <a:off x="268951" y="198287"/>
            <a:ext cx="5524575" cy="5800082"/>
          </a:xfrm>
        </p:spPr>
        <p:txBody>
          <a:bodyPr rIns="457200"/>
          <a:lstStyle>
            <a:lvl1pPr>
              <a:lnSpc>
                <a:spcPct val="100000"/>
              </a:lnSpc>
              <a:defRPr>
                <a:solidFill>
                  <a:schemeClr val="tx2"/>
                </a:solidFill>
              </a:defRPr>
            </a:lvl1pPr>
          </a:lstStyle>
          <a:p>
            <a:r>
              <a:rPr lang="en-US"/>
              <a:t>Click to edit Master title style</a:t>
            </a:r>
          </a:p>
        </p:txBody>
      </p:sp>
      <p:sp>
        <p:nvSpPr>
          <p:cNvPr id="8" name="Footer Placeholder 1">
            <a:extLst>
              <a:ext uri="{FF2B5EF4-FFF2-40B4-BE49-F238E27FC236}">
                <a16:creationId xmlns:a16="http://schemas.microsoft.com/office/drawing/2014/main" id="{28C492E8-5CB5-C92B-6CD6-CCDEF8E48EB8}"/>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
        <p:nvSpPr>
          <p:cNvPr id="2" name="Slide Number Placeholder 1">
            <a:extLst>
              <a:ext uri="{FF2B5EF4-FFF2-40B4-BE49-F238E27FC236}">
                <a16:creationId xmlns:a16="http://schemas.microsoft.com/office/drawing/2014/main" id="{2A0469CA-AF8F-2468-90C2-EFA3C3F1265E}"/>
              </a:ext>
            </a:extLst>
          </p:cNvPr>
          <p:cNvSpPr>
            <a:spLocks noGrp="1"/>
          </p:cNvSpPr>
          <p:nvPr>
            <p:ph type="sldNum" sz="quarter" idx="10"/>
          </p:nvPr>
        </p:nvSpPr>
        <p:spPr/>
        <p:txBody>
          <a:bodyPr/>
          <a:lstStyle/>
          <a:p>
            <a:fld id="{86CB4B4D-7CA3-9044-876B-883B54F8677D}" type="slidenum">
              <a:rPr lang="en-US" smtClean="0"/>
              <a:pPr/>
              <a:t>‹#›</a:t>
            </a:fld>
            <a:endParaRPr lang="en-US"/>
          </a:p>
        </p:txBody>
      </p:sp>
      <p:sp>
        <p:nvSpPr>
          <p:cNvPr id="5" name="Freeform: Shape 4">
            <a:extLst>
              <a:ext uri="{FF2B5EF4-FFF2-40B4-BE49-F238E27FC236}">
                <a16:creationId xmlns:a16="http://schemas.microsoft.com/office/drawing/2014/main" id="{0725C273-910E-ABAB-7039-29CA650C34E8}"/>
              </a:ext>
            </a:extLst>
          </p:cNvPr>
          <p:cNvSpPr>
            <a:spLocks noChangeAspect="1"/>
          </p:cNvSpPr>
          <p:nvPr userDrawn="1"/>
        </p:nvSpPr>
        <p:spPr>
          <a:xfrm rot="16200000" flipH="1">
            <a:off x="10532711" y="955545"/>
            <a:ext cx="685449" cy="685711"/>
          </a:xfrm>
          <a:custGeom>
            <a:avLst/>
            <a:gdLst>
              <a:gd name="connsiteX0" fmla="*/ 716288 w 1432576"/>
              <a:gd name="connsiteY0" fmla="*/ 717023 h 1433311"/>
              <a:gd name="connsiteX1" fmla="*/ 210111 w 1432576"/>
              <a:gd name="connsiteY1" fmla="*/ 927134 h 1433311"/>
              <a:gd name="connsiteX2" fmla="*/ 0 w 1432576"/>
              <a:gd name="connsiteY2" fmla="*/ 1433311 h 1433311"/>
              <a:gd name="connsiteX3" fmla="*/ 716288 w 1432576"/>
              <a:gd name="connsiteY3" fmla="*/ 1433311 h 1433311"/>
              <a:gd name="connsiteX4" fmla="*/ 1432576 w 1432576"/>
              <a:gd name="connsiteY4" fmla="*/ 1433311 h 1433311"/>
              <a:gd name="connsiteX5" fmla="*/ 1222465 w 1432576"/>
              <a:gd name="connsiteY5" fmla="*/ 927134 h 1433311"/>
              <a:gd name="connsiteX6" fmla="*/ 716288 w 1432576"/>
              <a:gd name="connsiteY6" fmla="*/ 717023 h 1433311"/>
              <a:gd name="connsiteX7" fmla="*/ 1222465 w 1432576"/>
              <a:gd name="connsiteY7" fmla="*/ 210111 h 1433311"/>
              <a:gd name="connsiteX8" fmla="*/ 1432576 w 1432576"/>
              <a:gd name="connsiteY8" fmla="*/ 716288 h 1433311"/>
              <a:gd name="connsiteX9" fmla="*/ 716288 w 1432576"/>
              <a:gd name="connsiteY9" fmla="*/ 716288 h 1433311"/>
              <a:gd name="connsiteX10" fmla="*/ 0 w 1432576"/>
              <a:gd name="connsiteY10" fmla="*/ 716288 h 1433311"/>
              <a:gd name="connsiteX11" fmla="*/ 210111 w 1432576"/>
              <a:gd name="connsiteY11" fmla="*/ 210111 h 1433311"/>
              <a:gd name="connsiteX12" fmla="*/ 716288 w 1432576"/>
              <a:gd name="connsiteY12" fmla="*/ 0 h 1433311"/>
              <a:gd name="connsiteX13" fmla="*/ 1222465 w 1432576"/>
              <a:gd name="connsiteY13" fmla="*/ 210111 h 1433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32576" h="1433311">
                <a:moveTo>
                  <a:pt x="716288" y="717023"/>
                </a:moveTo>
                <a:cubicBezTo>
                  <a:pt x="526013" y="717023"/>
                  <a:pt x="343818" y="792692"/>
                  <a:pt x="210111" y="927134"/>
                </a:cubicBezTo>
                <a:cubicBezTo>
                  <a:pt x="76404" y="1061575"/>
                  <a:pt x="0" y="1243036"/>
                  <a:pt x="0" y="1433311"/>
                </a:cubicBezTo>
                <a:lnTo>
                  <a:pt x="716288" y="1433311"/>
                </a:lnTo>
                <a:lnTo>
                  <a:pt x="1432576" y="1433311"/>
                </a:lnTo>
                <a:cubicBezTo>
                  <a:pt x="1432576" y="1243036"/>
                  <a:pt x="1356907" y="1060841"/>
                  <a:pt x="1222465" y="927134"/>
                </a:cubicBezTo>
                <a:cubicBezTo>
                  <a:pt x="1088023" y="793426"/>
                  <a:pt x="906564" y="717023"/>
                  <a:pt x="716288" y="717023"/>
                </a:cubicBezTo>
                <a:close/>
                <a:moveTo>
                  <a:pt x="1222465" y="210111"/>
                </a:moveTo>
                <a:cubicBezTo>
                  <a:pt x="1356907" y="344553"/>
                  <a:pt x="1432576" y="526747"/>
                  <a:pt x="1432576" y="716288"/>
                </a:cubicBezTo>
                <a:lnTo>
                  <a:pt x="716288" y="716288"/>
                </a:lnTo>
                <a:lnTo>
                  <a:pt x="0" y="716288"/>
                </a:lnTo>
                <a:cubicBezTo>
                  <a:pt x="0" y="526012"/>
                  <a:pt x="75669" y="343818"/>
                  <a:pt x="210111" y="210111"/>
                </a:cubicBezTo>
                <a:cubicBezTo>
                  <a:pt x="344553" y="76404"/>
                  <a:pt x="526747" y="0"/>
                  <a:pt x="716288" y="0"/>
                </a:cubicBezTo>
                <a:cubicBezTo>
                  <a:pt x="905829" y="0"/>
                  <a:pt x="1088758" y="75669"/>
                  <a:pt x="1222465" y="210111"/>
                </a:cubicBezTo>
                <a:close/>
              </a:path>
            </a:pathLst>
          </a:custGeom>
          <a:solidFill>
            <a:schemeClr val="accent6"/>
          </a:solidFill>
          <a:ln w="7342" cap="flat">
            <a:noFill/>
            <a:prstDash val="solid"/>
            <a:miter/>
          </a:ln>
        </p:spPr>
        <p:txBody>
          <a:bodyPr rtlCol="0" anchor="ctr"/>
          <a:lstStyle/>
          <a:p>
            <a:endParaRPr lang="uk-UA" sz="900"/>
          </a:p>
        </p:txBody>
      </p:sp>
      <p:sp>
        <p:nvSpPr>
          <p:cNvPr id="6" name="Freeform: Shape 5">
            <a:extLst>
              <a:ext uri="{FF2B5EF4-FFF2-40B4-BE49-F238E27FC236}">
                <a16:creationId xmlns:a16="http://schemas.microsoft.com/office/drawing/2014/main" id="{41E533EA-8590-DE0F-349C-BE183B060DF8}"/>
              </a:ext>
            </a:extLst>
          </p:cNvPr>
          <p:cNvSpPr>
            <a:spLocks noChangeAspect="1"/>
          </p:cNvSpPr>
          <p:nvPr userDrawn="1"/>
        </p:nvSpPr>
        <p:spPr>
          <a:xfrm flipH="1">
            <a:off x="9161159" y="1638300"/>
            <a:ext cx="1371421" cy="1371600"/>
          </a:xfrm>
          <a:custGeom>
            <a:avLst/>
            <a:gdLst>
              <a:gd name="connsiteX0" fmla="*/ 1432576 w 1432576"/>
              <a:gd name="connsiteY0" fmla="*/ 1432576 h 1432576"/>
              <a:gd name="connsiteX1" fmla="*/ 1432576 w 1432576"/>
              <a:gd name="connsiteY1" fmla="*/ 716288 h 1432576"/>
              <a:gd name="connsiteX2" fmla="*/ 1432576 w 1432576"/>
              <a:gd name="connsiteY2" fmla="*/ 0 h 1432576"/>
              <a:gd name="connsiteX3" fmla="*/ 716288 w 1432576"/>
              <a:gd name="connsiteY3" fmla="*/ 0 h 1432576"/>
              <a:gd name="connsiteX4" fmla="*/ 1432576 w 1432576"/>
              <a:gd name="connsiteY4" fmla="*/ 716288 h 1432576"/>
              <a:gd name="connsiteX5" fmla="*/ 716288 w 1432576"/>
              <a:gd name="connsiteY5" fmla="*/ 1432576 h 1432576"/>
              <a:gd name="connsiteX6" fmla="*/ 1432576 w 1432576"/>
              <a:gd name="connsiteY6" fmla="*/ 1432576 h 1432576"/>
              <a:gd name="connsiteX7" fmla="*/ 0 w 1432576"/>
              <a:gd name="connsiteY7" fmla="*/ 1432576 h 1432576"/>
              <a:gd name="connsiteX8" fmla="*/ 0 w 1432576"/>
              <a:gd name="connsiteY8" fmla="*/ 716288 h 1432576"/>
              <a:gd name="connsiteX9" fmla="*/ 0 w 1432576"/>
              <a:gd name="connsiteY9" fmla="*/ 0 h 1432576"/>
              <a:gd name="connsiteX10" fmla="*/ 716288 w 1432576"/>
              <a:gd name="connsiteY10" fmla="*/ 716288 h 1432576"/>
              <a:gd name="connsiteX11" fmla="*/ 0 w 1432576"/>
              <a:gd name="connsiteY11" fmla="*/ 1432576 h 143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2576" h="1432576">
                <a:moveTo>
                  <a:pt x="1432576" y="1432576"/>
                </a:moveTo>
                <a:lnTo>
                  <a:pt x="1432576" y="716288"/>
                </a:lnTo>
                <a:lnTo>
                  <a:pt x="1432576" y="0"/>
                </a:lnTo>
                <a:lnTo>
                  <a:pt x="716288" y="0"/>
                </a:lnTo>
                <a:lnTo>
                  <a:pt x="1432576" y="716288"/>
                </a:lnTo>
                <a:lnTo>
                  <a:pt x="716288" y="1432576"/>
                </a:lnTo>
                <a:lnTo>
                  <a:pt x="1432576" y="1432576"/>
                </a:lnTo>
                <a:close/>
                <a:moveTo>
                  <a:pt x="0" y="1432576"/>
                </a:moveTo>
                <a:lnTo>
                  <a:pt x="0" y="716288"/>
                </a:lnTo>
                <a:lnTo>
                  <a:pt x="0" y="0"/>
                </a:lnTo>
                <a:lnTo>
                  <a:pt x="716288" y="716288"/>
                </a:lnTo>
                <a:lnTo>
                  <a:pt x="0" y="1432576"/>
                </a:lnTo>
                <a:close/>
              </a:path>
            </a:pathLst>
          </a:custGeom>
          <a:solidFill>
            <a:schemeClr val="accent2"/>
          </a:solidFill>
          <a:ln w="7342" cap="flat">
            <a:noFill/>
            <a:prstDash val="solid"/>
            <a:miter/>
          </a:ln>
        </p:spPr>
        <p:txBody>
          <a:bodyPr rtlCol="0" anchor="ctr"/>
          <a:lstStyle/>
          <a:p>
            <a:endParaRPr lang="uk-UA" sz="900"/>
          </a:p>
        </p:txBody>
      </p:sp>
      <p:sp>
        <p:nvSpPr>
          <p:cNvPr id="9" name="Freeform: Shape 8">
            <a:extLst>
              <a:ext uri="{FF2B5EF4-FFF2-40B4-BE49-F238E27FC236}">
                <a16:creationId xmlns:a16="http://schemas.microsoft.com/office/drawing/2014/main" id="{88251BCE-F84F-CDB9-5799-A14EFE7267CE}"/>
              </a:ext>
            </a:extLst>
          </p:cNvPr>
          <p:cNvSpPr>
            <a:spLocks noChangeAspect="1"/>
          </p:cNvSpPr>
          <p:nvPr userDrawn="1"/>
        </p:nvSpPr>
        <p:spPr>
          <a:xfrm flipH="1">
            <a:off x="7088947" y="5067300"/>
            <a:ext cx="685711" cy="685800"/>
          </a:xfrm>
          <a:custGeom>
            <a:avLst/>
            <a:gdLst>
              <a:gd name="connsiteX0" fmla="*/ 1432576 w 1432576"/>
              <a:gd name="connsiteY0" fmla="*/ 1432576 h 1432576"/>
              <a:gd name="connsiteX1" fmla="*/ 1432576 w 1432576"/>
              <a:gd name="connsiteY1" fmla="*/ 0 h 1432576"/>
              <a:gd name="connsiteX2" fmla="*/ 716288 w 1432576"/>
              <a:gd name="connsiteY2" fmla="*/ 716288 h 1432576"/>
              <a:gd name="connsiteX3" fmla="*/ 0 w 1432576"/>
              <a:gd name="connsiteY3" fmla="*/ 0 h 1432576"/>
              <a:gd name="connsiteX4" fmla="*/ 0 w 1432576"/>
              <a:gd name="connsiteY4" fmla="*/ 1432576 h 1432576"/>
              <a:gd name="connsiteX5" fmla="*/ 716288 w 1432576"/>
              <a:gd name="connsiteY5" fmla="*/ 716288 h 143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2576" h="1432576">
                <a:moveTo>
                  <a:pt x="1432576" y="1432576"/>
                </a:moveTo>
                <a:lnTo>
                  <a:pt x="1432576" y="0"/>
                </a:lnTo>
                <a:lnTo>
                  <a:pt x="716288" y="716288"/>
                </a:lnTo>
                <a:lnTo>
                  <a:pt x="0" y="0"/>
                </a:lnTo>
                <a:lnTo>
                  <a:pt x="0" y="1432576"/>
                </a:lnTo>
                <a:lnTo>
                  <a:pt x="716288" y="716288"/>
                </a:lnTo>
                <a:close/>
              </a:path>
            </a:pathLst>
          </a:custGeom>
          <a:solidFill>
            <a:srgbClr val="D02670"/>
          </a:solidFill>
          <a:ln w="7342" cap="flat">
            <a:noFill/>
            <a:prstDash val="solid"/>
            <a:miter/>
          </a:ln>
        </p:spPr>
        <p:txBody>
          <a:bodyPr rtlCol="0" anchor="ctr"/>
          <a:lstStyle/>
          <a:p>
            <a:endParaRPr lang="uk-UA" sz="900"/>
          </a:p>
        </p:txBody>
      </p:sp>
      <p:sp>
        <p:nvSpPr>
          <p:cNvPr id="10" name="Freeform: Shape 9">
            <a:extLst>
              <a:ext uri="{FF2B5EF4-FFF2-40B4-BE49-F238E27FC236}">
                <a16:creationId xmlns:a16="http://schemas.microsoft.com/office/drawing/2014/main" id="{BFC866D6-5536-2CD8-01E8-CB96AF8C909A}"/>
              </a:ext>
            </a:extLst>
          </p:cNvPr>
          <p:cNvSpPr>
            <a:spLocks noChangeAspect="1"/>
          </p:cNvSpPr>
          <p:nvPr userDrawn="1"/>
        </p:nvSpPr>
        <p:spPr>
          <a:xfrm flipH="1">
            <a:off x="11218291" y="2404459"/>
            <a:ext cx="685711" cy="605442"/>
          </a:xfrm>
          <a:custGeom>
            <a:avLst/>
            <a:gdLst>
              <a:gd name="connsiteX0" fmla="*/ 1243035 w 2006341"/>
              <a:gd name="connsiteY0" fmla="*/ 124157 h 1771251"/>
              <a:gd name="connsiteX1" fmla="*/ 1284176 w 2006341"/>
              <a:gd name="connsiteY1" fmla="*/ 0 h 1771251"/>
              <a:gd name="connsiteX2" fmla="*/ 2005607 w 2006341"/>
              <a:gd name="connsiteY2" fmla="*/ 0 h 1771251"/>
              <a:gd name="connsiteX3" fmla="*/ 2005607 w 2006341"/>
              <a:gd name="connsiteY3" fmla="*/ 124157 h 1771251"/>
              <a:gd name="connsiteX4" fmla="*/ 1243035 w 2006341"/>
              <a:gd name="connsiteY4" fmla="*/ 124157 h 1771251"/>
              <a:gd name="connsiteX5" fmla="*/ 0 w 2006341"/>
              <a:gd name="connsiteY5" fmla="*/ 124157 h 1771251"/>
              <a:gd name="connsiteX6" fmla="*/ 0 w 2006341"/>
              <a:gd name="connsiteY6" fmla="*/ 0 h 1771251"/>
              <a:gd name="connsiteX7" fmla="*/ 721430 w 2006341"/>
              <a:gd name="connsiteY7" fmla="*/ 0 h 1771251"/>
              <a:gd name="connsiteX8" fmla="*/ 762571 w 2006341"/>
              <a:gd name="connsiteY8" fmla="*/ 124157 h 1771251"/>
              <a:gd name="connsiteX9" fmla="*/ 0 w 2006341"/>
              <a:gd name="connsiteY9" fmla="*/ 124157 h 1771251"/>
              <a:gd name="connsiteX10" fmla="*/ 1881450 w 2006341"/>
              <a:gd name="connsiteY10" fmla="*/ 354104 h 1771251"/>
              <a:gd name="connsiteX11" fmla="*/ 2005607 w 2006341"/>
              <a:gd name="connsiteY11" fmla="*/ 354104 h 1771251"/>
              <a:gd name="connsiteX12" fmla="*/ 2005607 w 2006341"/>
              <a:gd name="connsiteY12" fmla="*/ 229947 h 1771251"/>
              <a:gd name="connsiteX13" fmla="*/ 1207772 w 2006341"/>
              <a:gd name="connsiteY13" fmla="*/ 229947 h 1771251"/>
              <a:gd name="connsiteX14" fmla="*/ 1166631 w 2006341"/>
              <a:gd name="connsiteY14" fmla="*/ 354104 h 1771251"/>
              <a:gd name="connsiteX15" fmla="*/ 1881450 w 2006341"/>
              <a:gd name="connsiteY15" fmla="*/ 354104 h 1771251"/>
              <a:gd name="connsiteX16" fmla="*/ 124891 w 2006341"/>
              <a:gd name="connsiteY16" fmla="*/ 354104 h 1771251"/>
              <a:gd name="connsiteX17" fmla="*/ 734 w 2006341"/>
              <a:gd name="connsiteY17" fmla="*/ 354104 h 1771251"/>
              <a:gd name="connsiteX18" fmla="*/ 734 w 2006341"/>
              <a:gd name="connsiteY18" fmla="*/ 229947 h 1771251"/>
              <a:gd name="connsiteX19" fmla="*/ 798569 w 2006341"/>
              <a:gd name="connsiteY19" fmla="*/ 229947 h 1771251"/>
              <a:gd name="connsiteX20" fmla="*/ 839710 w 2006341"/>
              <a:gd name="connsiteY20" fmla="*/ 354104 h 1771251"/>
              <a:gd name="connsiteX21" fmla="*/ 124891 w 2006341"/>
              <a:gd name="connsiteY21" fmla="*/ 354104 h 1771251"/>
              <a:gd name="connsiteX22" fmla="*/ 1757293 w 2006341"/>
              <a:gd name="connsiteY22" fmla="*/ 584785 h 1771251"/>
              <a:gd name="connsiteX23" fmla="*/ 1757293 w 2006341"/>
              <a:gd name="connsiteY23" fmla="*/ 460628 h 1771251"/>
              <a:gd name="connsiteX24" fmla="*/ 1132103 w 2006341"/>
              <a:gd name="connsiteY24" fmla="*/ 460628 h 1771251"/>
              <a:gd name="connsiteX25" fmla="*/ 1090962 w 2006341"/>
              <a:gd name="connsiteY25" fmla="*/ 584785 h 1771251"/>
              <a:gd name="connsiteX26" fmla="*/ 1757293 w 2006341"/>
              <a:gd name="connsiteY26" fmla="*/ 584785 h 1771251"/>
              <a:gd name="connsiteX27" fmla="*/ 1757293 w 2006341"/>
              <a:gd name="connsiteY27" fmla="*/ 584785 h 1771251"/>
              <a:gd name="connsiteX28" fmla="*/ 249048 w 2006341"/>
              <a:gd name="connsiteY28" fmla="*/ 584785 h 1771251"/>
              <a:gd name="connsiteX29" fmla="*/ 249048 w 2006341"/>
              <a:gd name="connsiteY29" fmla="*/ 460628 h 1771251"/>
              <a:gd name="connsiteX30" fmla="*/ 874239 w 2006341"/>
              <a:gd name="connsiteY30" fmla="*/ 460628 h 1771251"/>
              <a:gd name="connsiteX31" fmla="*/ 915379 w 2006341"/>
              <a:gd name="connsiteY31" fmla="*/ 584785 h 1771251"/>
              <a:gd name="connsiteX32" fmla="*/ 249048 w 2006341"/>
              <a:gd name="connsiteY32" fmla="*/ 584785 h 1771251"/>
              <a:gd name="connsiteX33" fmla="*/ 1346622 w 2006341"/>
              <a:gd name="connsiteY33" fmla="*/ 832364 h 1771251"/>
              <a:gd name="connsiteX34" fmla="*/ 1375273 w 2006341"/>
              <a:gd name="connsiteY34" fmla="*/ 754490 h 1771251"/>
              <a:gd name="connsiteX35" fmla="*/ 1375273 w 2006341"/>
              <a:gd name="connsiteY35" fmla="*/ 832364 h 1771251"/>
              <a:gd name="connsiteX36" fmla="*/ 1757293 w 2006341"/>
              <a:gd name="connsiteY36" fmla="*/ 832364 h 1771251"/>
              <a:gd name="connsiteX37" fmla="*/ 1757293 w 2006341"/>
              <a:gd name="connsiteY37" fmla="*/ 690575 h 1771251"/>
              <a:gd name="connsiteX38" fmla="*/ 1055698 w 2006341"/>
              <a:gd name="connsiteY38" fmla="*/ 690575 h 1771251"/>
              <a:gd name="connsiteX39" fmla="*/ 1008681 w 2006341"/>
              <a:gd name="connsiteY39" fmla="*/ 832364 h 1771251"/>
              <a:gd name="connsiteX40" fmla="*/ 1346622 w 2006341"/>
              <a:gd name="connsiteY40" fmla="*/ 832364 h 1771251"/>
              <a:gd name="connsiteX41" fmla="*/ 1346622 w 2006341"/>
              <a:gd name="connsiteY41" fmla="*/ 832364 h 1771251"/>
              <a:gd name="connsiteX42" fmla="*/ 249048 w 2006341"/>
              <a:gd name="connsiteY42" fmla="*/ 832364 h 1771251"/>
              <a:gd name="connsiteX43" fmla="*/ 249048 w 2006341"/>
              <a:gd name="connsiteY43" fmla="*/ 690575 h 1771251"/>
              <a:gd name="connsiteX44" fmla="*/ 950643 w 2006341"/>
              <a:gd name="connsiteY44" fmla="*/ 690575 h 1771251"/>
              <a:gd name="connsiteX45" fmla="*/ 997661 w 2006341"/>
              <a:gd name="connsiteY45" fmla="*/ 832364 h 1771251"/>
              <a:gd name="connsiteX46" fmla="*/ 658985 w 2006341"/>
              <a:gd name="connsiteY46" fmla="*/ 832364 h 1771251"/>
              <a:gd name="connsiteX47" fmla="*/ 631068 w 2006341"/>
              <a:gd name="connsiteY47" fmla="*/ 754490 h 1771251"/>
              <a:gd name="connsiteX48" fmla="*/ 631068 w 2006341"/>
              <a:gd name="connsiteY48" fmla="*/ 832364 h 1771251"/>
              <a:gd name="connsiteX49" fmla="*/ 249048 w 2006341"/>
              <a:gd name="connsiteY49" fmla="*/ 832364 h 1771251"/>
              <a:gd name="connsiteX50" fmla="*/ 1376008 w 2006341"/>
              <a:gd name="connsiteY50" fmla="*/ 1062310 h 1771251"/>
              <a:gd name="connsiteX51" fmla="*/ 1376008 w 2006341"/>
              <a:gd name="connsiteY51" fmla="*/ 938154 h 1771251"/>
              <a:gd name="connsiteX52" fmla="*/ 1758028 w 2006341"/>
              <a:gd name="connsiteY52" fmla="*/ 938154 h 1771251"/>
              <a:gd name="connsiteX53" fmla="*/ 1758028 w 2006341"/>
              <a:gd name="connsiteY53" fmla="*/ 1062310 h 1771251"/>
              <a:gd name="connsiteX54" fmla="*/ 1376008 w 2006341"/>
              <a:gd name="connsiteY54" fmla="*/ 1062310 h 1771251"/>
              <a:gd name="connsiteX55" fmla="*/ 742001 w 2006341"/>
              <a:gd name="connsiteY55" fmla="*/ 1062310 h 1771251"/>
              <a:gd name="connsiteX56" fmla="*/ 697187 w 2006341"/>
              <a:gd name="connsiteY56" fmla="*/ 938154 h 1771251"/>
              <a:gd name="connsiteX57" fmla="*/ 1307685 w 2006341"/>
              <a:gd name="connsiteY57" fmla="*/ 938154 h 1771251"/>
              <a:gd name="connsiteX58" fmla="*/ 1262136 w 2006341"/>
              <a:gd name="connsiteY58" fmla="*/ 1062310 h 1771251"/>
              <a:gd name="connsiteX59" fmla="*/ 742001 w 2006341"/>
              <a:gd name="connsiteY59" fmla="*/ 1062310 h 1771251"/>
              <a:gd name="connsiteX60" fmla="*/ 742001 w 2006341"/>
              <a:gd name="connsiteY60" fmla="*/ 1062310 h 1771251"/>
              <a:gd name="connsiteX61" fmla="*/ 249048 w 2006341"/>
              <a:gd name="connsiteY61" fmla="*/ 1062310 h 1771251"/>
              <a:gd name="connsiteX62" fmla="*/ 249048 w 2006341"/>
              <a:gd name="connsiteY62" fmla="*/ 938154 h 1771251"/>
              <a:gd name="connsiteX63" fmla="*/ 631068 w 2006341"/>
              <a:gd name="connsiteY63" fmla="*/ 938154 h 1771251"/>
              <a:gd name="connsiteX64" fmla="*/ 631068 w 2006341"/>
              <a:gd name="connsiteY64" fmla="*/ 1062310 h 1771251"/>
              <a:gd name="connsiteX65" fmla="*/ 249048 w 2006341"/>
              <a:gd name="connsiteY65" fmla="*/ 1062310 h 1771251"/>
              <a:gd name="connsiteX66" fmla="*/ 1376008 w 2006341"/>
              <a:gd name="connsiteY66" fmla="*/ 1310624 h 1771251"/>
              <a:gd name="connsiteX67" fmla="*/ 1376008 w 2006341"/>
              <a:gd name="connsiteY67" fmla="*/ 1168835 h 1771251"/>
              <a:gd name="connsiteX68" fmla="*/ 1758028 w 2006341"/>
              <a:gd name="connsiteY68" fmla="*/ 1168835 h 1771251"/>
              <a:gd name="connsiteX69" fmla="*/ 1758028 w 2006341"/>
              <a:gd name="connsiteY69" fmla="*/ 1310624 h 1771251"/>
              <a:gd name="connsiteX70" fmla="*/ 1376008 w 2006341"/>
              <a:gd name="connsiteY70" fmla="*/ 1310624 h 1771251"/>
              <a:gd name="connsiteX71" fmla="*/ 831629 w 2006341"/>
              <a:gd name="connsiteY71" fmla="*/ 1310624 h 1771251"/>
              <a:gd name="connsiteX72" fmla="*/ 780203 w 2006341"/>
              <a:gd name="connsiteY72" fmla="*/ 1168835 h 1771251"/>
              <a:gd name="connsiteX73" fmla="*/ 1222465 w 2006341"/>
              <a:gd name="connsiteY73" fmla="*/ 1168835 h 1771251"/>
              <a:gd name="connsiteX74" fmla="*/ 1170305 w 2006341"/>
              <a:gd name="connsiteY74" fmla="*/ 1310624 h 1771251"/>
              <a:gd name="connsiteX75" fmla="*/ 831629 w 2006341"/>
              <a:gd name="connsiteY75" fmla="*/ 1310624 h 1771251"/>
              <a:gd name="connsiteX76" fmla="*/ 831629 w 2006341"/>
              <a:gd name="connsiteY76" fmla="*/ 1310624 h 1771251"/>
              <a:gd name="connsiteX77" fmla="*/ 249048 w 2006341"/>
              <a:gd name="connsiteY77" fmla="*/ 1310624 h 1771251"/>
              <a:gd name="connsiteX78" fmla="*/ 249048 w 2006341"/>
              <a:gd name="connsiteY78" fmla="*/ 1168835 h 1771251"/>
              <a:gd name="connsiteX79" fmla="*/ 631068 w 2006341"/>
              <a:gd name="connsiteY79" fmla="*/ 1168835 h 1771251"/>
              <a:gd name="connsiteX80" fmla="*/ 631068 w 2006341"/>
              <a:gd name="connsiteY80" fmla="*/ 1310624 h 1771251"/>
              <a:gd name="connsiteX81" fmla="*/ 249048 w 2006341"/>
              <a:gd name="connsiteY81" fmla="*/ 1310624 h 1771251"/>
              <a:gd name="connsiteX82" fmla="*/ 1376008 w 2006341"/>
              <a:gd name="connsiteY82" fmla="*/ 1647095 h 1771251"/>
              <a:gd name="connsiteX83" fmla="*/ 1376008 w 2006341"/>
              <a:gd name="connsiteY83" fmla="*/ 1771252 h 1771251"/>
              <a:gd name="connsiteX84" fmla="*/ 2006341 w 2006341"/>
              <a:gd name="connsiteY84" fmla="*/ 1771252 h 1771251"/>
              <a:gd name="connsiteX85" fmla="*/ 2006341 w 2006341"/>
              <a:gd name="connsiteY85" fmla="*/ 1647095 h 1771251"/>
              <a:gd name="connsiteX86" fmla="*/ 1376008 w 2006341"/>
              <a:gd name="connsiteY86" fmla="*/ 1647095 h 1771251"/>
              <a:gd name="connsiteX87" fmla="*/ 953582 w 2006341"/>
              <a:gd name="connsiteY87" fmla="*/ 1647095 h 1771251"/>
              <a:gd name="connsiteX88" fmla="*/ 998395 w 2006341"/>
              <a:gd name="connsiteY88" fmla="*/ 1770517 h 1771251"/>
              <a:gd name="connsiteX89" fmla="*/ 998395 w 2006341"/>
              <a:gd name="connsiteY89" fmla="*/ 1770517 h 1771251"/>
              <a:gd name="connsiteX90" fmla="*/ 999865 w 2006341"/>
              <a:gd name="connsiteY90" fmla="*/ 1770517 h 1771251"/>
              <a:gd name="connsiteX91" fmla="*/ 1045413 w 2006341"/>
              <a:gd name="connsiteY91" fmla="*/ 1646361 h 1771251"/>
              <a:gd name="connsiteX92" fmla="*/ 953582 w 2006341"/>
              <a:gd name="connsiteY92" fmla="*/ 1646361 h 1771251"/>
              <a:gd name="connsiteX93" fmla="*/ 915379 w 2006341"/>
              <a:gd name="connsiteY93" fmla="*/ 1540571 h 1771251"/>
              <a:gd name="connsiteX94" fmla="*/ 870566 w 2006341"/>
              <a:gd name="connsiteY94" fmla="*/ 1416414 h 1771251"/>
              <a:gd name="connsiteX95" fmla="*/ 1131368 w 2006341"/>
              <a:gd name="connsiteY95" fmla="*/ 1416414 h 1771251"/>
              <a:gd name="connsiteX96" fmla="*/ 1085819 w 2006341"/>
              <a:gd name="connsiteY96" fmla="*/ 1540571 h 1771251"/>
              <a:gd name="connsiteX97" fmla="*/ 915379 w 2006341"/>
              <a:gd name="connsiteY97" fmla="*/ 1540571 h 1771251"/>
              <a:gd name="connsiteX98" fmla="*/ 915379 w 2006341"/>
              <a:gd name="connsiteY98" fmla="*/ 1540571 h 1771251"/>
              <a:gd name="connsiteX99" fmla="*/ 0 w 2006341"/>
              <a:gd name="connsiteY99" fmla="*/ 1647095 h 1771251"/>
              <a:gd name="connsiteX100" fmla="*/ 0 w 2006341"/>
              <a:gd name="connsiteY100" fmla="*/ 1771252 h 1771251"/>
              <a:gd name="connsiteX101" fmla="*/ 630334 w 2006341"/>
              <a:gd name="connsiteY101" fmla="*/ 1771252 h 1771251"/>
              <a:gd name="connsiteX102" fmla="*/ 630334 w 2006341"/>
              <a:gd name="connsiteY102" fmla="*/ 1647095 h 1771251"/>
              <a:gd name="connsiteX103" fmla="*/ 0 w 2006341"/>
              <a:gd name="connsiteY103" fmla="*/ 1647095 h 1771251"/>
              <a:gd name="connsiteX104" fmla="*/ 1704399 w 2006341"/>
              <a:gd name="connsiteY104" fmla="*/ 1416414 h 1771251"/>
              <a:gd name="connsiteX105" fmla="*/ 1376008 w 2006341"/>
              <a:gd name="connsiteY105" fmla="*/ 1416414 h 1771251"/>
              <a:gd name="connsiteX106" fmla="*/ 1376008 w 2006341"/>
              <a:gd name="connsiteY106" fmla="*/ 1540571 h 1771251"/>
              <a:gd name="connsiteX107" fmla="*/ 2006341 w 2006341"/>
              <a:gd name="connsiteY107" fmla="*/ 1540571 h 1771251"/>
              <a:gd name="connsiteX108" fmla="*/ 2006341 w 2006341"/>
              <a:gd name="connsiteY108" fmla="*/ 1416414 h 1771251"/>
              <a:gd name="connsiteX109" fmla="*/ 1704399 w 2006341"/>
              <a:gd name="connsiteY109" fmla="*/ 1416414 h 1771251"/>
              <a:gd name="connsiteX110" fmla="*/ 1704399 w 2006341"/>
              <a:gd name="connsiteY110" fmla="*/ 1416414 h 1771251"/>
              <a:gd name="connsiteX111" fmla="*/ 0 w 2006341"/>
              <a:gd name="connsiteY111" fmla="*/ 1452412 h 1771251"/>
              <a:gd name="connsiteX112" fmla="*/ 0 w 2006341"/>
              <a:gd name="connsiteY112" fmla="*/ 1541305 h 1771251"/>
              <a:gd name="connsiteX113" fmla="*/ 630334 w 2006341"/>
              <a:gd name="connsiteY113" fmla="*/ 1541305 h 1771251"/>
              <a:gd name="connsiteX114" fmla="*/ 630334 w 2006341"/>
              <a:gd name="connsiteY114" fmla="*/ 1417149 h 1771251"/>
              <a:gd name="connsiteX115" fmla="*/ 0 w 2006341"/>
              <a:gd name="connsiteY115" fmla="*/ 1417149 h 1771251"/>
              <a:gd name="connsiteX116" fmla="*/ 0 w 2006341"/>
              <a:gd name="connsiteY116" fmla="*/ 1452412 h 1771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2006341" h="1771251">
                <a:moveTo>
                  <a:pt x="1243035" y="124157"/>
                </a:moveTo>
                <a:lnTo>
                  <a:pt x="1284176" y="0"/>
                </a:lnTo>
                <a:lnTo>
                  <a:pt x="2005607" y="0"/>
                </a:lnTo>
                <a:lnTo>
                  <a:pt x="2005607" y="124157"/>
                </a:lnTo>
                <a:lnTo>
                  <a:pt x="1243035" y="124157"/>
                </a:lnTo>
                <a:close/>
                <a:moveTo>
                  <a:pt x="0" y="124157"/>
                </a:moveTo>
                <a:lnTo>
                  <a:pt x="0" y="0"/>
                </a:lnTo>
                <a:lnTo>
                  <a:pt x="721430" y="0"/>
                </a:lnTo>
                <a:lnTo>
                  <a:pt x="762571" y="124157"/>
                </a:lnTo>
                <a:lnTo>
                  <a:pt x="0" y="124157"/>
                </a:lnTo>
                <a:close/>
                <a:moveTo>
                  <a:pt x="1881450" y="354104"/>
                </a:moveTo>
                <a:lnTo>
                  <a:pt x="2005607" y="354104"/>
                </a:lnTo>
                <a:lnTo>
                  <a:pt x="2005607" y="229947"/>
                </a:lnTo>
                <a:lnTo>
                  <a:pt x="1207772" y="229947"/>
                </a:lnTo>
                <a:lnTo>
                  <a:pt x="1166631" y="354104"/>
                </a:lnTo>
                <a:lnTo>
                  <a:pt x="1881450" y="354104"/>
                </a:lnTo>
                <a:close/>
                <a:moveTo>
                  <a:pt x="124891" y="354104"/>
                </a:moveTo>
                <a:lnTo>
                  <a:pt x="734" y="354104"/>
                </a:lnTo>
                <a:lnTo>
                  <a:pt x="734" y="229947"/>
                </a:lnTo>
                <a:lnTo>
                  <a:pt x="798569" y="229947"/>
                </a:lnTo>
                <a:lnTo>
                  <a:pt x="839710" y="354104"/>
                </a:lnTo>
                <a:lnTo>
                  <a:pt x="124891" y="354104"/>
                </a:lnTo>
                <a:close/>
                <a:moveTo>
                  <a:pt x="1757293" y="584785"/>
                </a:moveTo>
                <a:lnTo>
                  <a:pt x="1757293" y="460628"/>
                </a:lnTo>
                <a:lnTo>
                  <a:pt x="1132103" y="460628"/>
                </a:lnTo>
                <a:lnTo>
                  <a:pt x="1090962" y="584785"/>
                </a:lnTo>
                <a:lnTo>
                  <a:pt x="1757293" y="584785"/>
                </a:lnTo>
                <a:lnTo>
                  <a:pt x="1757293" y="584785"/>
                </a:lnTo>
                <a:close/>
                <a:moveTo>
                  <a:pt x="249048" y="584785"/>
                </a:moveTo>
                <a:lnTo>
                  <a:pt x="249048" y="460628"/>
                </a:lnTo>
                <a:lnTo>
                  <a:pt x="874239" y="460628"/>
                </a:lnTo>
                <a:lnTo>
                  <a:pt x="915379" y="584785"/>
                </a:lnTo>
                <a:lnTo>
                  <a:pt x="249048" y="584785"/>
                </a:lnTo>
                <a:close/>
                <a:moveTo>
                  <a:pt x="1346622" y="832364"/>
                </a:moveTo>
                <a:lnTo>
                  <a:pt x="1375273" y="754490"/>
                </a:lnTo>
                <a:lnTo>
                  <a:pt x="1375273" y="832364"/>
                </a:lnTo>
                <a:lnTo>
                  <a:pt x="1757293" y="832364"/>
                </a:lnTo>
                <a:lnTo>
                  <a:pt x="1757293" y="690575"/>
                </a:lnTo>
                <a:lnTo>
                  <a:pt x="1055698" y="690575"/>
                </a:lnTo>
                <a:lnTo>
                  <a:pt x="1008681" y="832364"/>
                </a:lnTo>
                <a:lnTo>
                  <a:pt x="1346622" y="832364"/>
                </a:lnTo>
                <a:lnTo>
                  <a:pt x="1346622" y="832364"/>
                </a:lnTo>
                <a:close/>
                <a:moveTo>
                  <a:pt x="249048" y="832364"/>
                </a:moveTo>
                <a:lnTo>
                  <a:pt x="249048" y="690575"/>
                </a:lnTo>
                <a:lnTo>
                  <a:pt x="950643" y="690575"/>
                </a:lnTo>
                <a:lnTo>
                  <a:pt x="997661" y="832364"/>
                </a:lnTo>
                <a:lnTo>
                  <a:pt x="658985" y="832364"/>
                </a:lnTo>
                <a:lnTo>
                  <a:pt x="631068" y="754490"/>
                </a:lnTo>
                <a:lnTo>
                  <a:pt x="631068" y="832364"/>
                </a:lnTo>
                <a:lnTo>
                  <a:pt x="249048" y="832364"/>
                </a:lnTo>
                <a:close/>
                <a:moveTo>
                  <a:pt x="1376008" y="1062310"/>
                </a:moveTo>
                <a:lnTo>
                  <a:pt x="1376008" y="938154"/>
                </a:lnTo>
                <a:lnTo>
                  <a:pt x="1758028" y="938154"/>
                </a:lnTo>
                <a:lnTo>
                  <a:pt x="1758028" y="1062310"/>
                </a:lnTo>
                <a:lnTo>
                  <a:pt x="1376008" y="1062310"/>
                </a:lnTo>
                <a:close/>
                <a:moveTo>
                  <a:pt x="742001" y="1062310"/>
                </a:moveTo>
                <a:lnTo>
                  <a:pt x="697187" y="938154"/>
                </a:lnTo>
                <a:lnTo>
                  <a:pt x="1307685" y="938154"/>
                </a:lnTo>
                <a:lnTo>
                  <a:pt x="1262136" y="1062310"/>
                </a:lnTo>
                <a:lnTo>
                  <a:pt x="742001" y="1062310"/>
                </a:lnTo>
                <a:lnTo>
                  <a:pt x="742001" y="1062310"/>
                </a:lnTo>
                <a:close/>
                <a:moveTo>
                  <a:pt x="249048" y="1062310"/>
                </a:moveTo>
                <a:lnTo>
                  <a:pt x="249048" y="938154"/>
                </a:lnTo>
                <a:lnTo>
                  <a:pt x="631068" y="938154"/>
                </a:lnTo>
                <a:lnTo>
                  <a:pt x="631068" y="1062310"/>
                </a:lnTo>
                <a:lnTo>
                  <a:pt x="249048" y="1062310"/>
                </a:lnTo>
                <a:close/>
                <a:moveTo>
                  <a:pt x="1376008" y="1310624"/>
                </a:moveTo>
                <a:lnTo>
                  <a:pt x="1376008" y="1168835"/>
                </a:lnTo>
                <a:lnTo>
                  <a:pt x="1758028" y="1168835"/>
                </a:lnTo>
                <a:lnTo>
                  <a:pt x="1758028" y="1310624"/>
                </a:lnTo>
                <a:lnTo>
                  <a:pt x="1376008" y="1310624"/>
                </a:lnTo>
                <a:close/>
                <a:moveTo>
                  <a:pt x="831629" y="1310624"/>
                </a:moveTo>
                <a:lnTo>
                  <a:pt x="780203" y="1168835"/>
                </a:lnTo>
                <a:lnTo>
                  <a:pt x="1222465" y="1168835"/>
                </a:lnTo>
                <a:lnTo>
                  <a:pt x="1170305" y="1310624"/>
                </a:lnTo>
                <a:lnTo>
                  <a:pt x="831629" y="1310624"/>
                </a:lnTo>
                <a:lnTo>
                  <a:pt x="831629" y="1310624"/>
                </a:lnTo>
                <a:close/>
                <a:moveTo>
                  <a:pt x="249048" y="1310624"/>
                </a:moveTo>
                <a:lnTo>
                  <a:pt x="249048" y="1168835"/>
                </a:lnTo>
                <a:lnTo>
                  <a:pt x="631068" y="1168835"/>
                </a:lnTo>
                <a:lnTo>
                  <a:pt x="631068" y="1310624"/>
                </a:lnTo>
                <a:lnTo>
                  <a:pt x="249048" y="1310624"/>
                </a:lnTo>
                <a:close/>
                <a:moveTo>
                  <a:pt x="1376008" y="1647095"/>
                </a:moveTo>
                <a:lnTo>
                  <a:pt x="1376008" y="1771252"/>
                </a:lnTo>
                <a:lnTo>
                  <a:pt x="2006341" y="1771252"/>
                </a:lnTo>
                <a:lnTo>
                  <a:pt x="2006341" y="1647095"/>
                </a:lnTo>
                <a:lnTo>
                  <a:pt x="1376008" y="1647095"/>
                </a:lnTo>
                <a:close/>
                <a:moveTo>
                  <a:pt x="953582" y="1647095"/>
                </a:moveTo>
                <a:lnTo>
                  <a:pt x="998395" y="1770517"/>
                </a:lnTo>
                <a:lnTo>
                  <a:pt x="998395" y="1770517"/>
                </a:lnTo>
                <a:lnTo>
                  <a:pt x="999865" y="1770517"/>
                </a:lnTo>
                <a:lnTo>
                  <a:pt x="1045413" y="1646361"/>
                </a:lnTo>
                <a:lnTo>
                  <a:pt x="953582" y="1646361"/>
                </a:lnTo>
                <a:close/>
                <a:moveTo>
                  <a:pt x="915379" y="1540571"/>
                </a:moveTo>
                <a:lnTo>
                  <a:pt x="870566" y="1416414"/>
                </a:lnTo>
                <a:lnTo>
                  <a:pt x="1131368" y="1416414"/>
                </a:lnTo>
                <a:lnTo>
                  <a:pt x="1085819" y="1540571"/>
                </a:lnTo>
                <a:lnTo>
                  <a:pt x="915379" y="1540571"/>
                </a:lnTo>
                <a:lnTo>
                  <a:pt x="915379" y="1540571"/>
                </a:lnTo>
                <a:close/>
                <a:moveTo>
                  <a:pt x="0" y="1647095"/>
                </a:moveTo>
                <a:lnTo>
                  <a:pt x="0" y="1771252"/>
                </a:lnTo>
                <a:lnTo>
                  <a:pt x="630334" y="1771252"/>
                </a:lnTo>
                <a:lnTo>
                  <a:pt x="630334" y="1647095"/>
                </a:lnTo>
                <a:lnTo>
                  <a:pt x="0" y="1647095"/>
                </a:lnTo>
                <a:close/>
                <a:moveTo>
                  <a:pt x="1704399" y="1416414"/>
                </a:moveTo>
                <a:lnTo>
                  <a:pt x="1376008" y="1416414"/>
                </a:lnTo>
                <a:lnTo>
                  <a:pt x="1376008" y="1540571"/>
                </a:lnTo>
                <a:lnTo>
                  <a:pt x="2006341" y="1540571"/>
                </a:lnTo>
                <a:lnTo>
                  <a:pt x="2006341" y="1416414"/>
                </a:lnTo>
                <a:lnTo>
                  <a:pt x="1704399" y="1416414"/>
                </a:lnTo>
                <a:lnTo>
                  <a:pt x="1704399" y="1416414"/>
                </a:lnTo>
                <a:close/>
                <a:moveTo>
                  <a:pt x="0" y="1452412"/>
                </a:moveTo>
                <a:lnTo>
                  <a:pt x="0" y="1541305"/>
                </a:lnTo>
                <a:lnTo>
                  <a:pt x="630334" y="1541305"/>
                </a:lnTo>
                <a:lnTo>
                  <a:pt x="630334" y="1417149"/>
                </a:lnTo>
                <a:lnTo>
                  <a:pt x="0" y="1417149"/>
                </a:lnTo>
                <a:lnTo>
                  <a:pt x="0" y="1452412"/>
                </a:lnTo>
                <a:close/>
              </a:path>
            </a:pathLst>
          </a:custGeom>
          <a:solidFill>
            <a:srgbClr val="82CFFF"/>
          </a:solidFill>
          <a:ln w="7342" cap="flat">
            <a:noFill/>
            <a:prstDash val="solid"/>
            <a:miter/>
          </a:ln>
        </p:spPr>
        <p:txBody>
          <a:bodyPr rtlCol="0" anchor="ctr"/>
          <a:lstStyle/>
          <a:p>
            <a:endParaRPr lang="uk-UA" sz="900"/>
          </a:p>
        </p:txBody>
      </p:sp>
      <p:sp>
        <p:nvSpPr>
          <p:cNvPr id="11" name="Freeform: Shape 10">
            <a:extLst>
              <a:ext uri="{FF2B5EF4-FFF2-40B4-BE49-F238E27FC236}">
                <a16:creationId xmlns:a16="http://schemas.microsoft.com/office/drawing/2014/main" id="{DECF12C5-07BF-6CAD-0112-107C14060B23}"/>
              </a:ext>
            </a:extLst>
          </p:cNvPr>
          <p:cNvSpPr>
            <a:spLocks noChangeAspect="1"/>
          </p:cNvSpPr>
          <p:nvPr userDrawn="1"/>
        </p:nvSpPr>
        <p:spPr>
          <a:xfrm flipH="1">
            <a:off x="7779183" y="4377897"/>
            <a:ext cx="1377451" cy="1371600"/>
          </a:xfrm>
          <a:custGeom>
            <a:avLst/>
            <a:gdLst>
              <a:gd name="connsiteX0" fmla="*/ 1002803 w 1998994"/>
              <a:gd name="connsiteY0" fmla="*/ 1581041 h 1990243"/>
              <a:gd name="connsiteX1" fmla="*/ 1247443 w 1998994"/>
              <a:gd name="connsiteY1" fmla="*/ 1338605 h 1990243"/>
              <a:gd name="connsiteX2" fmla="*/ 1002803 w 1998994"/>
              <a:gd name="connsiteY2" fmla="*/ 1096169 h 1990243"/>
              <a:gd name="connsiteX3" fmla="*/ 758163 w 1998994"/>
              <a:gd name="connsiteY3" fmla="*/ 1338605 h 1990243"/>
              <a:gd name="connsiteX4" fmla="*/ 1002803 w 1998994"/>
              <a:gd name="connsiteY4" fmla="*/ 1581041 h 1990243"/>
              <a:gd name="connsiteX5" fmla="*/ 1011619 w 1998994"/>
              <a:gd name="connsiteY5" fmla="*/ 1892534 h 1990243"/>
              <a:gd name="connsiteX6" fmla="*/ 1579507 w 1998994"/>
              <a:gd name="connsiteY6" fmla="*/ 1337870 h 1990243"/>
              <a:gd name="connsiteX7" fmla="*/ 1011619 w 1998994"/>
              <a:gd name="connsiteY7" fmla="*/ 782471 h 1990243"/>
              <a:gd name="connsiteX8" fmla="*/ 443731 w 1998994"/>
              <a:gd name="connsiteY8" fmla="*/ 1337136 h 1990243"/>
              <a:gd name="connsiteX9" fmla="*/ 1011619 w 1998994"/>
              <a:gd name="connsiteY9" fmla="*/ 1892534 h 1990243"/>
              <a:gd name="connsiteX10" fmla="*/ 0 w 1998994"/>
              <a:gd name="connsiteY10" fmla="*/ 1321708 h 1990243"/>
              <a:gd name="connsiteX11" fmla="*/ 999865 w 1998994"/>
              <a:gd name="connsiteY11" fmla="*/ 660519 h 1990243"/>
              <a:gd name="connsiteX12" fmla="*/ 1998260 w 1998994"/>
              <a:gd name="connsiteY12" fmla="*/ 1329055 h 1990243"/>
              <a:gd name="connsiteX13" fmla="*/ 999865 w 1998994"/>
              <a:gd name="connsiteY13" fmla="*/ 1990244 h 1990243"/>
              <a:gd name="connsiteX14" fmla="*/ 0 w 1998994"/>
              <a:gd name="connsiteY14" fmla="*/ 1321708 h 1990243"/>
              <a:gd name="connsiteX15" fmla="*/ 372470 w 1998994"/>
              <a:gd name="connsiteY15" fmla="*/ 197686 h 1990243"/>
              <a:gd name="connsiteX16" fmla="*/ 999865 w 1998994"/>
              <a:gd name="connsiteY16" fmla="*/ 64 h 1990243"/>
              <a:gd name="connsiteX17" fmla="*/ 1627260 w 1998994"/>
              <a:gd name="connsiteY17" fmla="*/ 197686 h 1990243"/>
              <a:gd name="connsiteX18" fmla="*/ 1998995 w 1998994"/>
              <a:gd name="connsiteY18" fmla="*/ 598808 h 1990243"/>
              <a:gd name="connsiteX19" fmla="*/ 1998995 w 1998994"/>
              <a:gd name="connsiteY19" fmla="*/ 796430 h 1990243"/>
              <a:gd name="connsiteX20" fmla="*/ 1550856 w 1998994"/>
              <a:gd name="connsiteY20" fmla="*/ 470978 h 1990243"/>
              <a:gd name="connsiteX21" fmla="*/ 999865 w 1998994"/>
              <a:gd name="connsiteY21" fmla="*/ 346087 h 1990243"/>
              <a:gd name="connsiteX22" fmla="*/ 448874 w 1998994"/>
              <a:gd name="connsiteY22" fmla="*/ 470978 h 1990243"/>
              <a:gd name="connsiteX23" fmla="*/ 734 w 1998994"/>
              <a:gd name="connsiteY23" fmla="*/ 796430 h 1990243"/>
              <a:gd name="connsiteX24" fmla="*/ 734 w 1998994"/>
              <a:gd name="connsiteY24" fmla="*/ 598808 h 1990243"/>
              <a:gd name="connsiteX25" fmla="*/ 372470 w 1998994"/>
              <a:gd name="connsiteY25" fmla="*/ 197686 h 1990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998994" h="1990243">
                <a:moveTo>
                  <a:pt x="1002803" y="1581041"/>
                </a:moveTo>
                <a:cubicBezTo>
                  <a:pt x="1137980" y="1581041"/>
                  <a:pt x="1247443" y="1472312"/>
                  <a:pt x="1247443" y="1338605"/>
                </a:cubicBezTo>
                <a:cubicBezTo>
                  <a:pt x="1247443" y="1204163"/>
                  <a:pt x="1137980" y="1096169"/>
                  <a:pt x="1002803" y="1096169"/>
                </a:cubicBezTo>
                <a:cubicBezTo>
                  <a:pt x="867627" y="1096169"/>
                  <a:pt x="758163" y="1204898"/>
                  <a:pt x="758163" y="1338605"/>
                </a:cubicBezTo>
                <a:cubicBezTo>
                  <a:pt x="757429" y="1472312"/>
                  <a:pt x="867627" y="1581041"/>
                  <a:pt x="1002803" y="1581041"/>
                </a:cubicBezTo>
                <a:close/>
                <a:moveTo>
                  <a:pt x="1011619" y="1892534"/>
                </a:moveTo>
                <a:cubicBezTo>
                  <a:pt x="1325317" y="1892534"/>
                  <a:pt x="1579507" y="1644221"/>
                  <a:pt x="1579507" y="1337870"/>
                </a:cubicBezTo>
                <a:cubicBezTo>
                  <a:pt x="1579507" y="1031520"/>
                  <a:pt x="1325317" y="782471"/>
                  <a:pt x="1011619" y="782471"/>
                </a:cubicBezTo>
                <a:cubicBezTo>
                  <a:pt x="697922" y="782471"/>
                  <a:pt x="443731" y="1030785"/>
                  <a:pt x="443731" y="1337136"/>
                </a:cubicBezTo>
                <a:cubicBezTo>
                  <a:pt x="443731" y="1643487"/>
                  <a:pt x="697187" y="1892534"/>
                  <a:pt x="1011619" y="1892534"/>
                </a:cubicBezTo>
                <a:close/>
                <a:moveTo>
                  <a:pt x="0" y="1321708"/>
                </a:moveTo>
                <a:cubicBezTo>
                  <a:pt x="0" y="1321708"/>
                  <a:pt x="230681" y="660519"/>
                  <a:pt x="999865" y="660519"/>
                </a:cubicBezTo>
                <a:cubicBezTo>
                  <a:pt x="1769048" y="660519"/>
                  <a:pt x="1998260" y="1329055"/>
                  <a:pt x="1998260" y="1329055"/>
                </a:cubicBezTo>
                <a:cubicBezTo>
                  <a:pt x="1998260" y="1329055"/>
                  <a:pt x="1771252" y="1990244"/>
                  <a:pt x="999865" y="1990244"/>
                </a:cubicBezTo>
                <a:cubicBezTo>
                  <a:pt x="228477" y="1990244"/>
                  <a:pt x="0" y="1321708"/>
                  <a:pt x="0" y="1321708"/>
                </a:cubicBezTo>
                <a:close/>
                <a:moveTo>
                  <a:pt x="372470" y="197686"/>
                </a:moveTo>
                <a:cubicBezTo>
                  <a:pt x="634741" y="1534"/>
                  <a:pt x="951378" y="-670"/>
                  <a:pt x="999865" y="64"/>
                </a:cubicBezTo>
                <a:cubicBezTo>
                  <a:pt x="1048352" y="-670"/>
                  <a:pt x="1364988" y="1534"/>
                  <a:pt x="1627260" y="197686"/>
                </a:cubicBezTo>
                <a:cubicBezTo>
                  <a:pt x="1911571" y="410736"/>
                  <a:pt x="1998995" y="598808"/>
                  <a:pt x="1998995" y="598808"/>
                </a:cubicBezTo>
                <a:lnTo>
                  <a:pt x="1998995" y="796430"/>
                </a:lnTo>
                <a:cubicBezTo>
                  <a:pt x="1998995" y="796430"/>
                  <a:pt x="1821208" y="595135"/>
                  <a:pt x="1550856" y="470978"/>
                </a:cubicBezTo>
                <a:cubicBezTo>
                  <a:pt x="1304012" y="357841"/>
                  <a:pt x="1043209" y="346821"/>
                  <a:pt x="999865" y="346087"/>
                </a:cubicBezTo>
                <a:cubicBezTo>
                  <a:pt x="956520" y="346821"/>
                  <a:pt x="695718" y="357841"/>
                  <a:pt x="448874" y="470978"/>
                </a:cubicBezTo>
                <a:cubicBezTo>
                  <a:pt x="178521" y="595135"/>
                  <a:pt x="734" y="796430"/>
                  <a:pt x="734" y="796430"/>
                </a:cubicBezTo>
                <a:lnTo>
                  <a:pt x="734" y="598808"/>
                </a:lnTo>
                <a:cubicBezTo>
                  <a:pt x="0" y="598808"/>
                  <a:pt x="88159" y="410736"/>
                  <a:pt x="372470" y="197686"/>
                </a:cubicBezTo>
                <a:close/>
              </a:path>
            </a:pathLst>
          </a:custGeom>
          <a:solidFill>
            <a:schemeClr val="accent1"/>
          </a:solidFill>
          <a:ln w="7342" cap="flat">
            <a:noFill/>
            <a:prstDash val="solid"/>
            <a:miter/>
          </a:ln>
        </p:spPr>
        <p:txBody>
          <a:bodyPr rtlCol="0" anchor="ctr"/>
          <a:lstStyle/>
          <a:p>
            <a:endParaRPr lang="uk-UA" sz="900"/>
          </a:p>
        </p:txBody>
      </p:sp>
      <p:sp>
        <p:nvSpPr>
          <p:cNvPr id="13" name="Freeform: Shape 12">
            <a:extLst>
              <a:ext uri="{FF2B5EF4-FFF2-40B4-BE49-F238E27FC236}">
                <a16:creationId xmlns:a16="http://schemas.microsoft.com/office/drawing/2014/main" id="{DB4C8427-5422-7078-1FFB-CBA65AEE8935}"/>
              </a:ext>
            </a:extLst>
          </p:cNvPr>
          <p:cNvSpPr>
            <a:spLocks noChangeAspect="1"/>
          </p:cNvSpPr>
          <p:nvPr userDrawn="1"/>
        </p:nvSpPr>
        <p:spPr>
          <a:xfrm>
            <a:off x="6418316" y="3004660"/>
            <a:ext cx="1371421" cy="1371600"/>
          </a:xfrm>
          <a:custGeom>
            <a:avLst/>
            <a:gdLst>
              <a:gd name="connsiteX0" fmla="*/ 188087 w 330187"/>
              <a:gd name="connsiteY0" fmla="*/ 146239 h 330187"/>
              <a:gd name="connsiteX1" fmla="*/ 326049 w 330187"/>
              <a:gd name="connsiteY1" fmla="*/ 146239 h 330187"/>
              <a:gd name="connsiteX2" fmla="*/ 330188 w 330187"/>
              <a:gd name="connsiteY2" fmla="*/ 142100 h 330187"/>
              <a:gd name="connsiteX3" fmla="*/ 330188 w 330187"/>
              <a:gd name="connsiteY3" fmla="*/ 4139 h 330187"/>
              <a:gd name="connsiteX4" fmla="*/ 326049 w 330187"/>
              <a:gd name="connsiteY4" fmla="*/ 0 h 330187"/>
              <a:gd name="connsiteX5" fmla="*/ 188087 w 330187"/>
              <a:gd name="connsiteY5" fmla="*/ 0 h 330187"/>
              <a:gd name="connsiteX6" fmla="*/ 183949 w 330187"/>
              <a:gd name="connsiteY6" fmla="*/ 4139 h 330187"/>
              <a:gd name="connsiteX7" fmla="*/ 183949 w 330187"/>
              <a:gd name="connsiteY7" fmla="*/ 68981 h 330187"/>
              <a:gd name="connsiteX8" fmla="*/ 146239 w 330187"/>
              <a:gd name="connsiteY8" fmla="*/ 68981 h 330187"/>
              <a:gd name="connsiteX9" fmla="*/ 146239 w 330187"/>
              <a:gd name="connsiteY9" fmla="*/ 4139 h 330187"/>
              <a:gd name="connsiteX10" fmla="*/ 142100 w 330187"/>
              <a:gd name="connsiteY10" fmla="*/ 0 h 330187"/>
              <a:gd name="connsiteX11" fmla="*/ 4139 w 330187"/>
              <a:gd name="connsiteY11" fmla="*/ 0 h 330187"/>
              <a:gd name="connsiteX12" fmla="*/ 0 w 330187"/>
              <a:gd name="connsiteY12" fmla="*/ 4139 h 330187"/>
              <a:gd name="connsiteX13" fmla="*/ 0 w 330187"/>
              <a:gd name="connsiteY13" fmla="*/ 142100 h 330187"/>
              <a:gd name="connsiteX14" fmla="*/ 4139 w 330187"/>
              <a:gd name="connsiteY14" fmla="*/ 146239 h 330187"/>
              <a:gd name="connsiteX15" fmla="*/ 68981 w 330187"/>
              <a:gd name="connsiteY15" fmla="*/ 146239 h 330187"/>
              <a:gd name="connsiteX16" fmla="*/ 68981 w 330187"/>
              <a:gd name="connsiteY16" fmla="*/ 183949 h 330187"/>
              <a:gd name="connsiteX17" fmla="*/ 4139 w 330187"/>
              <a:gd name="connsiteY17" fmla="*/ 183949 h 330187"/>
              <a:gd name="connsiteX18" fmla="*/ 0 w 330187"/>
              <a:gd name="connsiteY18" fmla="*/ 188087 h 330187"/>
              <a:gd name="connsiteX19" fmla="*/ 0 w 330187"/>
              <a:gd name="connsiteY19" fmla="*/ 326049 h 330187"/>
              <a:gd name="connsiteX20" fmla="*/ 4139 w 330187"/>
              <a:gd name="connsiteY20" fmla="*/ 330188 h 330187"/>
              <a:gd name="connsiteX21" fmla="*/ 142100 w 330187"/>
              <a:gd name="connsiteY21" fmla="*/ 330188 h 330187"/>
              <a:gd name="connsiteX22" fmla="*/ 146239 w 330187"/>
              <a:gd name="connsiteY22" fmla="*/ 326049 h 330187"/>
              <a:gd name="connsiteX23" fmla="*/ 146239 w 330187"/>
              <a:gd name="connsiteY23" fmla="*/ 261207 h 330187"/>
              <a:gd name="connsiteX24" fmla="*/ 183949 w 330187"/>
              <a:gd name="connsiteY24" fmla="*/ 261207 h 330187"/>
              <a:gd name="connsiteX25" fmla="*/ 183949 w 330187"/>
              <a:gd name="connsiteY25" fmla="*/ 326049 h 330187"/>
              <a:gd name="connsiteX26" fmla="*/ 188087 w 330187"/>
              <a:gd name="connsiteY26" fmla="*/ 330188 h 330187"/>
              <a:gd name="connsiteX27" fmla="*/ 326049 w 330187"/>
              <a:gd name="connsiteY27" fmla="*/ 330188 h 330187"/>
              <a:gd name="connsiteX28" fmla="*/ 330188 w 330187"/>
              <a:gd name="connsiteY28" fmla="*/ 326049 h 330187"/>
              <a:gd name="connsiteX29" fmla="*/ 330188 w 330187"/>
              <a:gd name="connsiteY29" fmla="*/ 188087 h 330187"/>
              <a:gd name="connsiteX30" fmla="*/ 326049 w 330187"/>
              <a:gd name="connsiteY30" fmla="*/ 183949 h 330187"/>
              <a:gd name="connsiteX31" fmla="*/ 188087 w 330187"/>
              <a:gd name="connsiteY31" fmla="*/ 183949 h 330187"/>
              <a:gd name="connsiteX32" fmla="*/ 183949 w 330187"/>
              <a:gd name="connsiteY32" fmla="*/ 188087 h 330187"/>
              <a:gd name="connsiteX33" fmla="*/ 183949 w 330187"/>
              <a:gd name="connsiteY33" fmla="*/ 252929 h 330187"/>
              <a:gd name="connsiteX34" fmla="*/ 146239 w 330187"/>
              <a:gd name="connsiteY34" fmla="*/ 252929 h 330187"/>
              <a:gd name="connsiteX35" fmla="*/ 146239 w 330187"/>
              <a:gd name="connsiteY35" fmla="*/ 188087 h 330187"/>
              <a:gd name="connsiteX36" fmla="*/ 142100 w 330187"/>
              <a:gd name="connsiteY36" fmla="*/ 183949 h 330187"/>
              <a:gd name="connsiteX37" fmla="*/ 77258 w 330187"/>
              <a:gd name="connsiteY37" fmla="*/ 183949 h 330187"/>
              <a:gd name="connsiteX38" fmla="*/ 77258 w 330187"/>
              <a:gd name="connsiteY38" fmla="*/ 146239 h 330187"/>
              <a:gd name="connsiteX39" fmla="*/ 142100 w 330187"/>
              <a:gd name="connsiteY39" fmla="*/ 146239 h 330187"/>
              <a:gd name="connsiteX40" fmla="*/ 146239 w 330187"/>
              <a:gd name="connsiteY40" fmla="*/ 142100 h 330187"/>
              <a:gd name="connsiteX41" fmla="*/ 146239 w 330187"/>
              <a:gd name="connsiteY41" fmla="*/ 77258 h 330187"/>
              <a:gd name="connsiteX42" fmla="*/ 183949 w 330187"/>
              <a:gd name="connsiteY42" fmla="*/ 77258 h 330187"/>
              <a:gd name="connsiteX43" fmla="*/ 183949 w 330187"/>
              <a:gd name="connsiteY43" fmla="*/ 142100 h 330187"/>
              <a:gd name="connsiteX44" fmla="*/ 188087 w 330187"/>
              <a:gd name="connsiteY44" fmla="*/ 146239 h 330187"/>
              <a:gd name="connsiteX45" fmla="*/ 192226 w 330187"/>
              <a:gd name="connsiteY45" fmla="*/ 77258 h 330187"/>
              <a:gd name="connsiteX46" fmla="*/ 258574 w 330187"/>
              <a:gd name="connsiteY46" fmla="*/ 77258 h 330187"/>
              <a:gd name="connsiteX47" fmla="*/ 242640 w 330187"/>
              <a:gd name="connsiteY47" fmla="*/ 93193 h 330187"/>
              <a:gd name="connsiteX48" fmla="*/ 248503 w 330187"/>
              <a:gd name="connsiteY48" fmla="*/ 99045 h 330187"/>
              <a:gd name="connsiteX49" fmla="*/ 274417 w 330187"/>
              <a:gd name="connsiteY49" fmla="*/ 73120 h 330187"/>
              <a:gd name="connsiteX50" fmla="*/ 248503 w 330187"/>
              <a:gd name="connsiteY50" fmla="*/ 47206 h 330187"/>
              <a:gd name="connsiteX51" fmla="*/ 242640 w 330187"/>
              <a:gd name="connsiteY51" fmla="*/ 53058 h 330187"/>
              <a:gd name="connsiteX52" fmla="*/ 258574 w 330187"/>
              <a:gd name="connsiteY52" fmla="*/ 68992 h 330187"/>
              <a:gd name="connsiteX53" fmla="*/ 192226 w 330187"/>
              <a:gd name="connsiteY53" fmla="*/ 68992 h 330187"/>
              <a:gd name="connsiteX54" fmla="*/ 192226 w 330187"/>
              <a:gd name="connsiteY54" fmla="*/ 8278 h 330187"/>
              <a:gd name="connsiteX55" fmla="*/ 321910 w 330187"/>
              <a:gd name="connsiteY55" fmla="*/ 8278 h 330187"/>
              <a:gd name="connsiteX56" fmla="*/ 321910 w 330187"/>
              <a:gd name="connsiteY56" fmla="*/ 137961 h 330187"/>
              <a:gd name="connsiteX57" fmla="*/ 192226 w 330187"/>
              <a:gd name="connsiteY57" fmla="*/ 137961 h 330187"/>
              <a:gd name="connsiteX58" fmla="*/ 192226 w 330187"/>
              <a:gd name="connsiteY58" fmla="*/ 77258 h 330187"/>
              <a:gd name="connsiteX59" fmla="*/ 192226 w 330187"/>
              <a:gd name="connsiteY59" fmla="*/ 261207 h 330187"/>
              <a:gd name="connsiteX60" fmla="*/ 241984 w 330187"/>
              <a:gd name="connsiteY60" fmla="*/ 261207 h 330187"/>
              <a:gd name="connsiteX61" fmla="*/ 257068 w 330187"/>
              <a:gd name="connsiteY61" fmla="*/ 272704 h 330187"/>
              <a:gd name="connsiteX62" fmla="*/ 272704 w 330187"/>
              <a:gd name="connsiteY62" fmla="*/ 257068 h 330187"/>
              <a:gd name="connsiteX63" fmla="*/ 257068 w 330187"/>
              <a:gd name="connsiteY63" fmla="*/ 241432 h 330187"/>
              <a:gd name="connsiteX64" fmla="*/ 241984 w 330187"/>
              <a:gd name="connsiteY64" fmla="*/ 252929 h 330187"/>
              <a:gd name="connsiteX65" fmla="*/ 192226 w 330187"/>
              <a:gd name="connsiteY65" fmla="*/ 252929 h 330187"/>
              <a:gd name="connsiteX66" fmla="*/ 192226 w 330187"/>
              <a:gd name="connsiteY66" fmla="*/ 192226 h 330187"/>
              <a:gd name="connsiteX67" fmla="*/ 321910 w 330187"/>
              <a:gd name="connsiteY67" fmla="*/ 192226 h 330187"/>
              <a:gd name="connsiteX68" fmla="*/ 321910 w 330187"/>
              <a:gd name="connsiteY68" fmla="*/ 321910 h 330187"/>
              <a:gd name="connsiteX69" fmla="*/ 192226 w 330187"/>
              <a:gd name="connsiteY69" fmla="*/ 321910 h 330187"/>
              <a:gd name="connsiteX70" fmla="*/ 192226 w 330187"/>
              <a:gd name="connsiteY70" fmla="*/ 261207 h 330187"/>
              <a:gd name="connsiteX71" fmla="*/ 249710 w 330187"/>
              <a:gd name="connsiteY71" fmla="*/ 257068 h 330187"/>
              <a:gd name="connsiteX72" fmla="*/ 257068 w 330187"/>
              <a:gd name="connsiteY72" fmla="*/ 249710 h 330187"/>
              <a:gd name="connsiteX73" fmla="*/ 264426 w 330187"/>
              <a:gd name="connsiteY73" fmla="*/ 257068 h 330187"/>
              <a:gd name="connsiteX74" fmla="*/ 257068 w 330187"/>
              <a:gd name="connsiteY74" fmla="*/ 264426 h 330187"/>
              <a:gd name="connsiteX75" fmla="*/ 249710 w 330187"/>
              <a:gd name="connsiteY75" fmla="*/ 257068 h 330187"/>
              <a:gd name="connsiteX76" fmla="*/ 73120 w 330187"/>
              <a:gd name="connsiteY76" fmla="*/ 249710 h 330187"/>
              <a:gd name="connsiteX77" fmla="*/ 80477 w 330187"/>
              <a:gd name="connsiteY77" fmla="*/ 257068 h 330187"/>
              <a:gd name="connsiteX78" fmla="*/ 73120 w 330187"/>
              <a:gd name="connsiteY78" fmla="*/ 264426 h 330187"/>
              <a:gd name="connsiteX79" fmla="*/ 65762 w 330187"/>
              <a:gd name="connsiteY79" fmla="*/ 257068 h 330187"/>
              <a:gd name="connsiteX80" fmla="*/ 73120 w 330187"/>
              <a:gd name="connsiteY80" fmla="*/ 249710 h 330187"/>
              <a:gd name="connsiteX81" fmla="*/ 137961 w 330187"/>
              <a:gd name="connsiteY81" fmla="*/ 321910 h 330187"/>
              <a:gd name="connsiteX82" fmla="*/ 8278 w 330187"/>
              <a:gd name="connsiteY82" fmla="*/ 321910 h 330187"/>
              <a:gd name="connsiteX83" fmla="*/ 8278 w 330187"/>
              <a:gd name="connsiteY83" fmla="*/ 192226 h 330187"/>
              <a:gd name="connsiteX84" fmla="*/ 68981 w 330187"/>
              <a:gd name="connsiteY84" fmla="*/ 192226 h 330187"/>
              <a:gd name="connsiteX85" fmla="*/ 68981 w 330187"/>
              <a:gd name="connsiteY85" fmla="*/ 241984 h 330187"/>
              <a:gd name="connsiteX86" fmla="*/ 57484 w 330187"/>
              <a:gd name="connsiteY86" fmla="*/ 257068 h 330187"/>
              <a:gd name="connsiteX87" fmla="*/ 73120 w 330187"/>
              <a:gd name="connsiteY87" fmla="*/ 272704 h 330187"/>
              <a:gd name="connsiteX88" fmla="*/ 88203 w 330187"/>
              <a:gd name="connsiteY88" fmla="*/ 261207 h 330187"/>
              <a:gd name="connsiteX89" fmla="*/ 137973 w 330187"/>
              <a:gd name="connsiteY89" fmla="*/ 261207 h 330187"/>
              <a:gd name="connsiteX90" fmla="*/ 137973 w 330187"/>
              <a:gd name="connsiteY90" fmla="*/ 321910 h 330187"/>
              <a:gd name="connsiteX91" fmla="*/ 137961 w 330187"/>
              <a:gd name="connsiteY91" fmla="*/ 321910 h 330187"/>
              <a:gd name="connsiteX92" fmla="*/ 137961 w 330187"/>
              <a:gd name="connsiteY92" fmla="*/ 192226 h 330187"/>
              <a:gd name="connsiteX93" fmla="*/ 137961 w 330187"/>
              <a:gd name="connsiteY93" fmla="*/ 252918 h 330187"/>
              <a:gd name="connsiteX94" fmla="*/ 88203 w 330187"/>
              <a:gd name="connsiteY94" fmla="*/ 252918 h 330187"/>
              <a:gd name="connsiteX95" fmla="*/ 77258 w 330187"/>
              <a:gd name="connsiteY95" fmla="*/ 241984 h 330187"/>
              <a:gd name="connsiteX96" fmla="*/ 77258 w 330187"/>
              <a:gd name="connsiteY96" fmla="*/ 192226 h 330187"/>
              <a:gd name="connsiteX97" fmla="*/ 137961 w 330187"/>
              <a:gd name="connsiteY97" fmla="*/ 192226 h 330187"/>
              <a:gd name="connsiteX98" fmla="*/ 73120 w 330187"/>
              <a:gd name="connsiteY98" fmla="*/ 80477 h 330187"/>
              <a:gd name="connsiteX99" fmla="*/ 65762 w 330187"/>
              <a:gd name="connsiteY99" fmla="*/ 73120 h 330187"/>
              <a:gd name="connsiteX100" fmla="*/ 73120 w 330187"/>
              <a:gd name="connsiteY100" fmla="*/ 65762 h 330187"/>
              <a:gd name="connsiteX101" fmla="*/ 80477 w 330187"/>
              <a:gd name="connsiteY101" fmla="*/ 73120 h 330187"/>
              <a:gd name="connsiteX102" fmla="*/ 73120 w 330187"/>
              <a:gd name="connsiteY102" fmla="*/ 80477 h 330187"/>
              <a:gd name="connsiteX103" fmla="*/ 137961 w 330187"/>
              <a:gd name="connsiteY103" fmla="*/ 137961 h 330187"/>
              <a:gd name="connsiteX104" fmla="*/ 77258 w 330187"/>
              <a:gd name="connsiteY104" fmla="*/ 137961 h 330187"/>
              <a:gd name="connsiteX105" fmla="*/ 77258 w 330187"/>
              <a:gd name="connsiteY105" fmla="*/ 88203 h 330187"/>
              <a:gd name="connsiteX106" fmla="*/ 88203 w 330187"/>
              <a:gd name="connsiteY106" fmla="*/ 77258 h 330187"/>
              <a:gd name="connsiteX107" fmla="*/ 137973 w 330187"/>
              <a:gd name="connsiteY107" fmla="*/ 77258 h 330187"/>
              <a:gd name="connsiteX108" fmla="*/ 137973 w 330187"/>
              <a:gd name="connsiteY108" fmla="*/ 137961 h 330187"/>
              <a:gd name="connsiteX109" fmla="*/ 137961 w 330187"/>
              <a:gd name="connsiteY109" fmla="*/ 137961 h 330187"/>
              <a:gd name="connsiteX110" fmla="*/ 137961 w 330187"/>
              <a:gd name="connsiteY110" fmla="*/ 68981 h 330187"/>
              <a:gd name="connsiteX111" fmla="*/ 88203 w 330187"/>
              <a:gd name="connsiteY111" fmla="*/ 68981 h 330187"/>
              <a:gd name="connsiteX112" fmla="*/ 73120 w 330187"/>
              <a:gd name="connsiteY112" fmla="*/ 57484 h 330187"/>
              <a:gd name="connsiteX113" fmla="*/ 57484 w 330187"/>
              <a:gd name="connsiteY113" fmla="*/ 73120 h 330187"/>
              <a:gd name="connsiteX114" fmla="*/ 68981 w 330187"/>
              <a:gd name="connsiteY114" fmla="*/ 88203 h 330187"/>
              <a:gd name="connsiteX115" fmla="*/ 68981 w 330187"/>
              <a:gd name="connsiteY115" fmla="*/ 137973 h 330187"/>
              <a:gd name="connsiteX116" fmla="*/ 8278 w 330187"/>
              <a:gd name="connsiteY116" fmla="*/ 137973 h 330187"/>
              <a:gd name="connsiteX117" fmla="*/ 8278 w 330187"/>
              <a:gd name="connsiteY117" fmla="*/ 8278 h 330187"/>
              <a:gd name="connsiteX118" fmla="*/ 137961 w 330187"/>
              <a:gd name="connsiteY118" fmla="*/ 8278 h 330187"/>
              <a:gd name="connsiteX119" fmla="*/ 137961 w 330187"/>
              <a:gd name="connsiteY119" fmla="*/ 68981 h 330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330187" h="330187">
                <a:moveTo>
                  <a:pt x="188087" y="146239"/>
                </a:moveTo>
                <a:lnTo>
                  <a:pt x="326049" y="146239"/>
                </a:lnTo>
                <a:cubicBezTo>
                  <a:pt x="328337" y="146239"/>
                  <a:pt x="330188" y="144388"/>
                  <a:pt x="330188" y="142100"/>
                </a:cubicBezTo>
                <a:lnTo>
                  <a:pt x="330188" y="4139"/>
                </a:lnTo>
                <a:cubicBezTo>
                  <a:pt x="330188" y="1851"/>
                  <a:pt x="328337" y="0"/>
                  <a:pt x="326049" y="0"/>
                </a:cubicBezTo>
                <a:lnTo>
                  <a:pt x="188087" y="0"/>
                </a:lnTo>
                <a:cubicBezTo>
                  <a:pt x="185799" y="0"/>
                  <a:pt x="183949" y="1851"/>
                  <a:pt x="183949" y="4139"/>
                </a:cubicBezTo>
                <a:lnTo>
                  <a:pt x="183949" y="68981"/>
                </a:lnTo>
                <a:lnTo>
                  <a:pt x="146239" y="68981"/>
                </a:lnTo>
                <a:lnTo>
                  <a:pt x="146239" y="4139"/>
                </a:lnTo>
                <a:cubicBezTo>
                  <a:pt x="146239" y="1851"/>
                  <a:pt x="144388" y="0"/>
                  <a:pt x="142100" y="0"/>
                </a:cubicBezTo>
                <a:lnTo>
                  <a:pt x="4139" y="0"/>
                </a:lnTo>
                <a:cubicBezTo>
                  <a:pt x="1851" y="0"/>
                  <a:pt x="0" y="1851"/>
                  <a:pt x="0" y="4139"/>
                </a:cubicBezTo>
                <a:lnTo>
                  <a:pt x="0" y="142100"/>
                </a:lnTo>
                <a:cubicBezTo>
                  <a:pt x="0" y="144388"/>
                  <a:pt x="1851" y="146239"/>
                  <a:pt x="4139" y="146239"/>
                </a:cubicBezTo>
                <a:lnTo>
                  <a:pt x="68981" y="146239"/>
                </a:lnTo>
                <a:lnTo>
                  <a:pt x="68981" y="183949"/>
                </a:lnTo>
                <a:lnTo>
                  <a:pt x="4139" y="183949"/>
                </a:lnTo>
                <a:cubicBezTo>
                  <a:pt x="1851" y="183949"/>
                  <a:pt x="0" y="185799"/>
                  <a:pt x="0" y="188087"/>
                </a:cubicBezTo>
                <a:lnTo>
                  <a:pt x="0" y="326049"/>
                </a:lnTo>
                <a:cubicBezTo>
                  <a:pt x="0" y="328337"/>
                  <a:pt x="1851" y="330188"/>
                  <a:pt x="4139" y="330188"/>
                </a:cubicBezTo>
                <a:lnTo>
                  <a:pt x="142100" y="330188"/>
                </a:lnTo>
                <a:cubicBezTo>
                  <a:pt x="144388" y="330188"/>
                  <a:pt x="146239" y="328337"/>
                  <a:pt x="146239" y="326049"/>
                </a:cubicBezTo>
                <a:lnTo>
                  <a:pt x="146239" y="261207"/>
                </a:lnTo>
                <a:lnTo>
                  <a:pt x="183949" y="261207"/>
                </a:lnTo>
                <a:lnTo>
                  <a:pt x="183949" y="326049"/>
                </a:lnTo>
                <a:cubicBezTo>
                  <a:pt x="183949" y="328337"/>
                  <a:pt x="185799" y="330188"/>
                  <a:pt x="188087" y="330188"/>
                </a:cubicBezTo>
                <a:lnTo>
                  <a:pt x="326049" y="330188"/>
                </a:lnTo>
                <a:cubicBezTo>
                  <a:pt x="328337" y="330188"/>
                  <a:pt x="330188" y="328337"/>
                  <a:pt x="330188" y="326049"/>
                </a:cubicBezTo>
                <a:lnTo>
                  <a:pt x="330188" y="188087"/>
                </a:lnTo>
                <a:cubicBezTo>
                  <a:pt x="330188" y="185799"/>
                  <a:pt x="328337" y="183949"/>
                  <a:pt x="326049" y="183949"/>
                </a:cubicBezTo>
                <a:lnTo>
                  <a:pt x="188087" y="183949"/>
                </a:lnTo>
                <a:cubicBezTo>
                  <a:pt x="185799" y="183949"/>
                  <a:pt x="183949" y="185799"/>
                  <a:pt x="183949" y="188087"/>
                </a:cubicBezTo>
                <a:lnTo>
                  <a:pt x="183949" y="252929"/>
                </a:lnTo>
                <a:lnTo>
                  <a:pt x="146239" y="252929"/>
                </a:lnTo>
                <a:lnTo>
                  <a:pt x="146239" y="188087"/>
                </a:lnTo>
                <a:cubicBezTo>
                  <a:pt x="146239" y="185799"/>
                  <a:pt x="144388" y="183949"/>
                  <a:pt x="142100" y="183949"/>
                </a:cubicBezTo>
                <a:lnTo>
                  <a:pt x="77258" y="183949"/>
                </a:lnTo>
                <a:lnTo>
                  <a:pt x="77258" y="146239"/>
                </a:lnTo>
                <a:lnTo>
                  <a:pt x="142100" y="146239"/>
                </a:lnTo>
                <a:cubicBezTo>
                  <a:pt x="144388" y="146239"/>
                  <a:pt x="146239" y="144388"/>
                  <a:pt x="146239" y="142100"/>
                </a:cubicBezTo>
                <a:lnTo>
                  <a:pt x="146239" y="77258"/>
                </a:lnTo>
                <a:lnTo>
                  <a:pt x="183949" y="77258"/>
                </a:lnTo>
                <a:lnTo>
                  <a:pt x="183949" y="142100"/>
                </a:lnTo>
                <a:cubicBezTo>
                  <a:pt x="183949" y="144388"/>
                  <a:pt x="185799" y="146239"/>
                  <a:pt x="188087" y="146239"/>
                </a:cubicBezTo>
                <a:close/>
                <a:moveTo>
                  <a:pt x="192226" y="77258"/>
                </a:moveTo>
                <a:lnTo>
                  <a:pt x="258574" y="77258"/>
                </a:lnTo>
                <a:lnTo>
                  <a:pt x="242640" y="93193"/>
                </a:lnTo>
                <a:lnTo>
                  <a:pt x="248503" y="99045"/>
                </a:lnTo>
                <a:lnTo>
                  <a:pt x="274417" y="73120"/>
                </a:lnTo>
                <a:lnTo>
                  <a:pt x="248503" y="47206"/>
                </a:lnTo>
                <a:lnTo>
                  <a:pt x="242640" y="53058"/>
                </a:lnTo>
                <a:lnTo>
                  <a:pt x="258574" y="68992"/>
                </a:lnTo>
                <a:lnTo>
                  <a:pt x="192226" y="68992"/>
                </a:lnTo>
                <a:lnTo>
                  <a:pt x="192226" y="8278"/>
                </a:lnTo>
                <a:lnTo>
                  <a:pt x="321910" y="8278"/>
                </a:lnTo>
                <a:lnTo>
                  <a:pt x="321910" y="137961"/>
                </a:lnTo>
                <a:lnTo>
                  <a:pt x="192226" y="137961"/>
                </a:lnTo>
                <a:lnTo>
                  <a:pt x="192226" y="77258"/>
                </a:lnTo>
                <a:close/>
                <a:moveTo>
                  <a:pt x="192226" y="261207"/>
                </a:moveTo>
                <a:lnTo>
                  <a:pt x="241984" y="261207"/>
                </a:lnTo>
                <a:cubicBezTo>
                  <a:pt x="243801" y="267818"/>
                  <a:pt x="249883" y="272704"/>
                  <a:pt x="257068" y="272704"/>
                </a:cubicBezTo>
                <a:cubicBezTo>
                  <a:pt x="265691" y="272704"/>
                  <a:pt x="272704" y="265691"/>
                  <a:pt x="272704" y="257068"/>
                </a:cubicBezTo>
                <a:cubicBezTo>
                  <a:pt x="272704" y="248445"/>
                  <a:pt x="265691" y="241432"/>
                  <a:pt x="257068" y="241432"/>
                </a:cubicBezTo>
                <a:cubicBezTo>
                  <a:pt x="249883" y="241432"/>
                  <a:pt x="243812" y="246319"/>
                  <a:pt x="241984" y="252929"/>
                </a:cubicBezTo>
                <a:lnTo>
                  <a:pt x="192226" y="252929"/>
                </a:lnTo>
                <a:lnTo>
                  <a:pt x="192226" y="192226"/>
                </a:lnTo>
                <a:lnTo>
                  <a:pt x="321910" y="192226"/>
                </a:lnTo>
                <a:lnTo>
                  <a:pt x="321910" y="321910"/>
                </a:lnTo>
                <a:lnTo>
                  <a:pt x="192226" y="321910"/>
                </a:lnTo>
                <a:lnTo>
                  <a:pt x="192226" y="261207"/>
                </a:lnTo>
                <a:close/>
                <a:moveTo>
                  <a:pt x="249710" y="257068"/>
                </a:moveTo>
                <a:cubicBezTo>
                  <a:pt x="249710" y="253010"/>
                  <a:pt x="253010" y="249710"/>
                  <a:pt x="257068" y="249710"/>
                </a:cubicBezTo>
                <a:cubicBezTo>
                  <a:pt x="261126" y="249710"/>
                  <a:pt x="264426" y="253010"/>
                  <a:pt x="264426" y="257068"/>
                </a:cubicBezTo>
                <a:cubicBezTo>
                  <a:pt x="264426" y="261126"/>
                  <a:pt x="261126" y="264426"/>
                  <a:pt x="257068" y="264426"/>
                </a:cubicBezTo>
                <a:cubicBezTo>
                  <a:pt x="253010" y="264426"/>
                  <a:pt x="249710" y="261126"/>
                  <a:pt x="249710" y="257068"/>
                </a:cubicBezTo>
                <a:close/>
                <a:moveTo>
                  <a:pt x="73120" y="249710"/>
                </a:moveTo>
                <a:cubicBezTo>
                  <a:pt x="77178" y="249710"/>
                  <a:pt x="80477" y="253010"/>
                  <a:pt x="80477" y="257068"/>
                </a:cubicBezTo>
                <a:cubicBezTo>
                  <a:pt x="80477" y="261126"/>
                  <a:pt x="77178" y="264426"/>
                  <a:pt x="73120" y="264426"/>
                </a:cubicBezTo>
                <a:cubicBezTo>
                  <a:pt x="69061" y="264426"/>
                  <a:pt x="65762" y="261126"/>
                  <a:pt x="65762" y="257068"/>
                </a:cubicBezTo>
                <a:cubicBezTo>
                  <a:pt x="65762" y="253010"/>
                  <a:pt x="69061" y="249710"/>
                  <a:pt x="73120" y="249710"/>
                </a:cubicBezTo>
                <a:close/>
                <a:moveTo>
                  <a:pt x="137961" y="321910"/>
                </a:moveTo>
                <a:lnTo>
                  <a:pt x="8278" y="321910"/>
                </a:lnTo>
                <a:lnTo>
                  <a:pt x="8278" y="192226"/>
                </a:lnTo>
                <a:lnTo>
                  <a:pt x="68981" y="192226"/>
                </a:lnTo>
                <a:lnTo>
                  <a:pt x="68981" y="241984"/>
                </a:lnTo>
                <a:cubicBezTo>
                  <a:pt x="62359" y="243801"/>
                  <a:pt x="57484" y="249883"/>
                  <a:pt x="57484" y="257068"/>
                </a:cubicBezTo>
                <a:cubicBezTo>
                  <a:pt x="57484" y="265691"/>
                  <a:pt x="64497" y="272704"/>
                  <a:pt x="73120" y="272704"/>
                </a:cubicBezTo>
                <a:cubicBezTo>
                  <a:pt x="80305" y="272704"/>
                  <a:pt x="86375" y="267818"/>
                  <a:pt x="88203" y="261207"/>
                </a:cubicBezTo>
                <a:lnTo>
                  <a:pt x="137973" y="261207"/>
                </a:lnTo>
                <a:lnTo>
                  <a:pt x="137973" y="321910"/>
                </a:lnTo>
                <a:lnTo>
                  <a:pt x="137961" y="321910"/>
                </a:lnTo>
                <a:close/>
                <a:moveTo>
                  <a:pt x="137961" y="192226"/>
                </a:moveTo>
                <a:lnTo>
                  <a:pt x="137961" y="252918"/>
                </a:lnTo>
                <a:lnTo>
                  <a:pt x="88203" y="252918"/>
                </a:lnTo>
                <a:cubicBezTo>
                  <a:pt x="86755" y="247618"/>
                  <a:pt x="82558" y="243444"/>
                  <a:pt x="77258" y="241984"/>
                </a:cubicBezTo>
                <a:lnTo>
                  <a:pt x="77258" y="192226"/>
                </a:lnTo>
                <a:lnTo>
                  <a:pt x="137961" y="192226"/>
                </a:lnTo>
                <a:close/>
                <a:moveTo>
                  <a:pt x="73120" y="80477"/>
                </a:moveTo>
                <a:cubicBezTo>
                  <a:pt x="69061" y="80477"/>
                  <a:pt x="65762" y="77178"/>
                  <a:pt x="65762" y="73120"/>
                </a:cubicBezTo>
                <a:cubicBezTo>
                  <a:pt x="65762" y="69061"/>
                  <a:pt x="69061" y="65762"/>
                  <a:pt x="73120" y="65762"/>
                </a:cubicBezTo>
                <a:cubicBezTo>
                  <a:pt x="77178" y="65762"/>
                  <a:pt x="80477" y="69061"/>
                  <a:pt x="80477" y="73120"/>
                </a:cubicBezTo>
                <a:cubicBezTo>
                  <a:pt x="80477" y="77178"/>
                  <a:pt x="77178" y="80477"/>
                  <a:pt x="73120" y="80477"/>
                </a:cubicBezTo>
                <a:close/>
                <a:moveTo>
                  <a:pt x="137961" y="137961"/>
                </a:moveTo>
                <a:lnTo>
                  <a:pt x="77258" y="137961"/>
                </a:lnTo>
                <a:lnTo>
                  <a:pt x="77258" y="88203"/>
                </a:lnTo>
                <a:cubicBezTo>
                  <a:pt x="82558" y="86743"/>
                  <a:pt x="86743" y="82558"/>
                  <a:pt x="88203" y="77258"/>
                </a:cubicBezTo>
                <a:lnTo>
                  <a:pt x="137973" y="77258"/>
                </a:lnTo>
                <a:lnTo>
                  <a:pt x="137973" y="137961"/>
                </a:lnTo>
                <a:lnTo>
                  <a:pt x="137961" y="137961"/>
                </a:lnTo>
                <a:close/>
                <a:moveTo>
                  <a:pt x="137961" y="68981"/>
                </a:moveTo>
                <a:lnTo>
                  <a:pt x="88203" y="68981"/>
                </a:lnTo>
                <a:cubicBezTo>
                  <a:pt x="86387" y="62359"/>
                  <a:pt x="80317" y="57484"/>
                  <a:pt x="73120" y="57484"/>
                </a:cubicBezTo>
                <a:cubicBezTo>
                  <a:pt x="64497" y="57484"/>
                  <a:pt x="57484" y="64497"/>
                  <a:pt x="57484" y="73120"/>
                </a:cubicBezTo>
                <a:cubicBezTo>
                  <a:pt x="57484" y="80305"/>
                  <a:pt x="62359" y="86375"/>
                  <a:pt x="68981" y="88203"/>
                </a:cubicBezTo>
                <a:lnTo>
                  <a:pt x="68981" y="137973"/>
                </a:lnTo>
                <a:lnTo>
                  <a:pt x="8278" y="137973"/>
                </a:lnTo>
                <a:lnTo>
                  <a:pt x="8278" y="8278"/>
                </a:lnTo>
                <a:lnTo>
                  <a:pt x="137961" y="8278"/>
                </a:lnTo>
                <a:cubicBezTo>
                  <a:pt x="137961" y="8278"/>
                  <a:pt x="137961" y="68981"/>
                  <a:pt x="137961" y="68981"/>
                </a:cubicBezTo>
                <a:close/>
              </a:path>
            </a:pathLst>
          </a:custGeom>
          <a:solidFill>
            <a:srgbClr val="000000"/>
          </a:solidFill>
          <a:ln w="11311" cap="flat">
            <a:noFill/>
            <a:prstDash val="solid"/>
            <a:miter/>
          </a:ln>
        </p:spPr>
        <p:txBody>
          <a:bodyPr rtlCol="0" anchor="ctr"/>
          <a:lstStyle/>
          <a:p>
            <a:endParaRPr lang="en-US" sz="900"/>
          </a:p>
        </p:txBody>
      </p:sp>
      <p:sp>
        <p:nvSpPr>
          <p:cNvPr id="3" name="TextBox 2">
            <a:extLst>
              <a:ext uri="{FF2B5EF4-FFF2-40B4-BE49-F238E27FC236}">
                <a16:creationId xmlns:a16="http://schemas.microsoft.com/office/drawing/2014/main" id="{F77927D4-1DC0-4D25-F1CA-63F1B22265ED}"/>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rgbClr val="000000"/>
                </a:solidFill>
                <a:latin typeface="IBM Plex Sans" panose="020B0503050203000203" pitchFamily="34" charset="0"/>
                <a:ea typeface="+mj-ea"/>
                <a:cs typeface="+mj-cs"/>
                <a:sym typeface="IBM Plex Sans Light"/>
              </a:rPr>
              <a:t>#IBMTechXchange</a:t>
            </a:r>
          </a:p>
        </p:txBody>
      </p:sp>
    </p:spTree>
    <p:extLst>
      <p:ext uri="{BB962C8B-B14F-4D97-AF65-F5344CB8AC3E}">
        <p14:creationId xmlns:p14="http://schemas.microsoft.com/office/powerpoint/2010/main" val="3534432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ext, half, left side imagery">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284125" y="283368"/>
            <a:ext cx="5523781" cy="6287294"/>
          </a:xfrm>
          <a:solidFill>
            <a:srgbClr val="E0E0E0"/>
          </a:solidFill>
        </p:spPr>
        <p:txBody>
          <a:bodyPr anchor="ctr"/>
          <a:lstStyle>
            <a:lvl1pPr algn="ctr">
              <a:defRPr>
                <a:solidFill>
                  <a:schemeClr val="tx1"/>
                </a:solidFill>
              </a:defRPr>
            </a:lvl1pPr>
          </a:lstStyle>
          <a:p>
            <a:r>
              <a:rPr lang="en-US"/>
              <a:t>Place imagery here</a:t>
            </a:r>
          </a:p>
        </p:txBody>
      </p:sp>
      <p:sp>
        <p:nvSpPr>
          <p:cNvPr id="4" name="Slide Number">
            <a:extLst>
              <a:ext uri="{FF2B5EF4-FFF2-40B4-BE49-F238E27FC236}">
                <a16:creationId xmlns:a16="http://schemas.microsoft.com/office/drawing/2014/main" id="{BCFA4843-2EEB-F757-826B-7080CBD95F05}"/>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6" name="Title 1">
            <a:extLst>
              <a:ext uri="{FF2B5EF4-FFF2-40B4-BE49-F238E27FC236}">
                <a16:creationId xmlns:a16="http://schemas.microsoft.com/office/drawing/2014/main" id="{1A4EF684-B51F-B632-828D-3BB5197236DB}"/>
              </a:ext>
            </a:extLst>
          </p:cNvPr>
          <p:cNvSpPr>
            <a:spLocks noGrp="1"/>
          </p:cNvSpPr>
          <p:nvPr>
            <p:ph type="title"/>
          </p:nvPr>
        </p:nvSpPr>
        <p:spPr>
          <a:xfrm>
            <a:off x="6384095" y="198287"/>
            <a:ext cx="5524575" cy="5800082"/>
          </a:xfrm>
        </p:spPr>
        <p:txBody>
          <a:bodyPr rIns="457200"/>
          <a:lstStyle>
            <a:lvl1pPr>
              <a:lnSpc>
                <a:spcPct val="100000"/>
              </a:lnSpc>
              <a:defRPr>
                <a:solidFill>
                  <a:schemeClr val="tx2"/>
                </a:solidFill>
              </a:defRPr>
            </a:lvl1pPr>
          </a:lstStyle>
          <a:p>
            <a:r>
              <a:rPr lang="en-US"/>
              <a:t>Click to edit Master title style</a:t>
            </a:r>
          </a:p>
        </p:txBody>
      </p:sp>
      <p:sp>
        <p:nvSpPr>
          <p:cNvPr id="2" name="TextBox 1">
            <a:extLst>
              <a:ext uri="{FF2B5EF4-FFF2-40B4-BE49-F238E27FC236}">
                <a16:creationId xmlns:a16="http://schemas.microsoft.com/office/drawing/2014/main" id="{8E62C993-EA66-A7A6-52A1-219678B89CD0}"/>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rgbClr val="000000"/>
                </a:solidFill>
                <a:latin typeface="IBM Plex Sans" panose="020B0503050203000203" pitchFamily="34" charset="0"/>
                <a:ea typeface="+mj-ea"/>
                <a:cs typeface="+mj-cs"/>
                <a:sym typeface="IBM Plex Sans Light"/>
              </a:rPr>
              <a:t>#IBMTechXchange</a:t>
            </a:r>
          </a:p>
        </p:txBody>
      </p:sp>
    </p:spTree>
    <p:extLst>
      <p:ext uri="{BB962C8B-B14F-4D97-AF65-F5344CB8AC3E}">
        <p14:creationId xmlns:p14="http://schemas.microsoft.com/office/powerpoint/2010/main" val="1179179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D8A847-1D31-AD80-91FD-F10F5FB98DB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29FD30C-B06B-4C97-2F8C-7DD675C13AC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D34250B-24BE-7C3E-8B34-840179629949}"/>
              </a:ext>
            </a:extLst>
          </p:cNvPr>
          <p:cNvSpPr>
            <a:spLocks noGrp="1"/>
          </p:cNvSpPr>
          <p:nvPr>
            <p:ph type="dt" sz="half" idx="10"/>
          </p:nvPr>
        </p:nvSpPr>
        <p:spPr/>
        <p:txBody>
          <a:bodyPr/>
          <a:lstStyle/>
          <a:p>
            <a:fld id="{C1064F87-A3FE-7D41-BA7F-E073D7C6AC88}" type="datetimeFigureOut">
              <a:rPr lang="en-US" smtClean="0"/>
              <a:t>3/24/2025</a:t>
            </a:fld>
            <a:endParaRPr lang="en-US"/>
          </a:p>
        </p:txBody>
      </p:sp>
      <p:sp>
        <p:nvSpPr>
          <p:cNvPr id="5" name="Footer Placeholder 4">
            <a:extLst>
              <a:ext uri="{FF2B5EF4-FFF2-40B4-BE49-F238E27FC236}">
                <a16:creationId xmlns:a16="http://schemas.microsoft.com/office/drawing/2014/main" id="{AC8DEDDE-3475-8F6C-8D31-6545472C790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E56E3F6-3E30-F604-4301-1F03144E0494}"/>
              </a:ext>
            </a:extLst>
          </p:cNvPr>
          <p:cNvSpPr>
            <a:spLocks noGrp="1"/>
          </p:cNvSpPr>
          <p:nvPr>
            <p:ph type="sldNum" sz="quarter" idx="12"/>
          </p:nvPr>
        </p:nvSpPr>
        <p:spPr/>
        <p:txBody>
          <a:bodyPr/>
          <a:lstStyle/>
          <a:p>
            <a:fld id="{DED3338A-C6D4-DE4D-B610-199F7004D0E1}" type="slidenum">
              <a:rPr lang="en-US" smtClean="0"/>
              <a:t>‹#›</a:t>
            </a:fld>
            <a:endParaRPr lang="en-US"/>
          </a:p>
        </p:txBody>
      </p:sp>
    </p:spTree>
    <p:extLst>
      <p:ext uri="{BB962C8B-B14F-4D97-AF65-F5344CB8AC3E}">
        <p14:creationId xmlns:p14="http://schemas.microsoft.com/office/powerpoint/2010/main" val="403614320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3" name="Footer Placeholder 3">
            <a:extLst>
              <a:ext uri="{FF2B5EF4-FFF2-40B4-BE49-F238E27FC236}">
                <a16:creationId xmlns:a16="http://schemas.microsoft.com/office/drawing/2014/main" id="{949EB6B2-A4A6-F162-D0FE-417694FC70FD}"/>
              </a:ext>
            </a:extLst>
          </p:cNvPr>
          <p:cNvSpPr>
            <a:spLocks noGrp="1"/>
          </p:cNvSpPr>
          <p:nvPr>
            <p:ph type="ftr" sz="quarter" idx="18"/>
          </p:nvPr>
        </p:nvSpPr>
        <p:spPr>
          <a:xfrm>
            <a:off x="287963" y="6408000"/>
            <a:ext cx="2471416" cy="190500"/>
          </a:xfrm>
        </p:spPr>
        <p:txBody>
          <a:bodyPr/>
          <a:lstStyle/>
          <a:p>
            <a:endParaRPr lang="en-US"/>
          </a:p>
        </p:txBody>
      </p:sp>
      <p:sp>
        <p:nvSpPr>
          <p:cNvPr id="6" name="Slide Number">
            <a:extLst>
              <a:ext uri="{FF2B5EF4-FFF2-40B4-BE49-F238E27FC236}">
                <a16:creationId xmlns:a16="http://schemas.microsoft.com/office/drawing/2014/main" id="{4DAC6A96-E5C9-E8BD-2383-926167440939}"/>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9" name="Text Placeholder 8">
            <a:extLst>
              <a:ext uri="{FF2B5EF4-FFF2-40B4-BE49-F238E27FC236}">
                <a16:creationId xmlns:a16="http://schemas.microsoft.com/office/drawing/2014/main" id="{E0CC16BE-B09A-0C84-8A0B-5FE3F85FB19B}"/>
              </a:ext>
            </a:extLst>
          </p:cNvPr>
          <p:cNvSpPr>
            <a:spLocks noGrp="1"/>
          </p:cNvSpPr>
          <p:nvPr>
            <p:ph type="body" sz="quarter" idx="19"/>
          </p:nvPr>
        </p:nvSpPr>
        <p:spPr>
          <a:xfrm>
            <a:off x="287963" y="154800"/>
            <a:ext cx="7323771" cy="5178133"/>
          </a:xfrm>
        </p:spPr>
        <p:txBody>
          <a:bodyPr/>
          <a:lstStyle>
            <a:lvl1pPr>
              <a:lnSpc>
                <a:spcPct val="100000"/>
              </a:lnSpc>
              <a:defRPr sz="4199"/>
            </a:lvl1pPr>
          </a:lstStyle>
          <a:p>
            <a:pPr lvl="0"/>
            <a:r>
              <a:rPr lang="en-US"/>
              <a:t>Click to edit Master text styles</a:t>
            </a:r>
          </a:p>
        </p:txBody>
      </p:sp>
    </p:spTree>
    <p:extLst>
      <p:ext uri="{BB962C8B-B14F-4D97-AF65-F5344CB8AC3E}">
        <p14:creationId xmlns:p14="http://schemas.microsoft.com/office/powerpoint/2010/main" val="3718561843"/>
      </p:ext>
    </p:extLst>
  </p:cSld>
  <p:clrMapOvr>
    <a:masterClrMapping/>
  </p:clrMapOvr>
  <p:transition spd="med"/>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Section, callout,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50545"/>
            <a:ext cx="2474590" cy="762794"/>
          </a:xfrm>
        </p:spPr>
        <p:txBody>
          <a:bodyPr/>
          <a:lstStyle>
            <a:lvl1pPr>
              <a:lnSpc>
                <a:spcPct val="110000"/>
              </a:lnSpc>
              <a:defRPr sz="1400">
                <a:solidFill>
                  <a:schemeClr val="tx2"/>
                </a:solidFill>
              </a:defRPr>
            </a:lvl1pPr>
          </a:lstStyle>
          <a:p>
            <a:r>
              <a:rPr lang="en-US"/>
              <a:t>Click to edit Master title style</a:t>
            </a:r>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6380919" y="284957"/>
            <a:ext cx="5523781" cy="6287294"/>
          </a:xfrm>
          <a:solidFill>
            <a:srgbClr val="E0E0E0"/>
          </a:solidFill>
        </p:spPr>
        <p:txBody>
          <a:bodyPr anchor="ctr"/>
          <a:lstStyle>
            <a:lvl1pPr algn="ctr">
              <a:defRPr>
                <a:solidFill>
                  <a:schemeClr val="accent5"/>
                </a:solidFill>
              </a:defRPr>
            </a:lvl1pPr>
          </a:lstStyle>
          <a:p>
            <a:r>
              <a:rPr lang="en-US"/>
              <a:t>Place imagery here</a:t>
            </a:r>
          </a:p>
        </p:txBody>
      </p:sp>
      <p:sp>
        <p:nvSpPr>
          <p:cNvPr id="3" name="Text Placeholder 10">
            <a:extLst>
              <a:ext uri="{FF2B5EF4-FFF2-40B4-BE49-F238E27FC236}">
                <a16:creationId xmlns:a16="http://schemas.microsoft.com/office/drawing/2014/main" id="{3ECAFCBD-74B8-193E-870C-66ED84B49CD5}"/>
              </a:ext>
            </a:extLst>
          </p:cNvPr>
          <p:cNvSpPr>
            <a:spLocks noGrp="1"/>
          </p:cNvSpPr>
          <p:nvPr>
            <p:ph type="body" sz="quarter" idx="17"/>
          </p:nvPr>
        </p:nvSpPr>
        <p:spPr>
          <a:xfrm>
            <a:off x="291017" y="2049999"/>
            <a:ext cx="5523781" cy="3948370"/>
          </a:xfrm>
        </p:spPr>
        <p:txBody>
          <a:bodyPr/>
          <a:lstStyle>
            <a:lvl1pPr>
              <a:spcBef>
                <a:spcPts val="0"/>
              </a:spcBef>
              <a:spcAft>
                <a:spcPts val="1800"/>
              </a:spcAft>
              <a:defRPr sz="1800">
                <a:solidFill>
                  <a:schemeClr val="tx1"/>
                </a:solidFill>
              </a:defRPr>
            </a:lvl1pPr>
            <a:lvl2pPr marL="127990" indent="-127990">
              <a:spcBef>
                <a:spcPts val="0"/>
              </a:spcBef>
              <a:spcAft>
                <a:spcPts val="1800"/>
              </a:spcAft>
              <a:defRPr sz="1800">
                <a:solidFill>
                  <a:schemeClr val="tx1"/>
                </a:solidFill>
              </a:defRPr>
            </a:lvl2pPr>
            <a:lvl3pPr marL="255981" indent="-127990">
              <a:spcBef>
                <a:spcPts val="0"/>
              </a:spcBef>
              <a:spcAft>
                <a:spcPts val="1800"/>
              </a:spcAft>
              <a:defRPr sz="1800">
                <a:solidFill>
                  <a:schemeClr val="tx1"/>
                </a:solidFill>
              </a:defRPr>
            </a:lvl3pPr>
            <a:lvl4pPr marL="383971" indent="-127990">
              <a:spcBef>
                <a:spcPts val="0"/>
              </a:spcBef>
              <a:spcAft>
                <a:spcPts val="1800"/>
              </a:spcAft>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1">
            <a:extLst>
              <a:ext uri="{FF2B5EF4-FFF2-40B4-BE49-F238E27FC236}">
                <a16:creationId xmlns:a16="http://schemas.microsoft.com/office/drawing/2014/main" id="{3173B9F7-2E22-2E34-07D9-72BDB8C0D3B8}"/>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Tree>
    <p:extLst>
      <p:ext uri="{BB962C8B-B14F-4D97-AF65-F5344CB8AC3E}">
        <p14:creationId xmlns:p14="http://schemas.microsoft.com/office/powerpoint/2010/main" val="1283517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Section, callouts, big image with margi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50545"/>
            <a:ext cx="2474590" cy="762794"/>
          </a:xfrm>
        </p:spPr>
        <p:txBody>
          <a:bodyPr/>
          <a:lstStyle>
            <a:lvl1pPr>
              <a:lnSpc>
                <a:spcPct val="110000"/>
              </a:lnSpc>
              <a:defRPr sz="1400">
                <a:solidFill>
                  <a:schemeClr val="tx2"/>
                </a:solidFill>
              </a:defRPr>
            </a:lvl1pPr>
          </a:lstStyle>
          <a:p>
            <a:r>
              <a:rPr lang="en-US"/>
              <a:t>Click to edit Master title style</a:t>
            </a:r>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3333316" y="282576"/>
            <a:ext cx="8574559" cy="6289675"/>
          </a:xfrm>
          <a:solidFill>
            <a:srgbClr val="E0E0E0"/>
          </a:solidFill>
        </p:spPr>
        <p:txBody>
          <a:bodyPr anchor="ctr"/>
          <a:lstStyle>
            <a:lvl1pPr algn="ctr">
              <a:defRPr>
                <a:solidFill>
                  <a:schemeClr val="accent5"/>
                </a:solidFill>
              </a:defRPr>
            </a:lvl1pPr>
          </a:lstStyle>
          <a:p>
            <a:r>
              <a:rPr lang="en-US"/>
              <a:t>Place imagery here</a:t>
            </a:r>
          </a:p>
        </p:txBody>
      </p:sp>
      <p:sp>
        <p:nvSpPr>
          <p:cNvPr id="5" name="Text Placeholder 5">
            <a:extLst>
              <a:ext uri="{FF2B5EF4-FFF2-40B4-BE49-F238E27FC236}">
                <a16:creationId xmlns:a16="http://schemas.microsoft.com/office/drawing/2014/main" id="{2F1062D6-5670-E376-5181-FACE84388D3D}"/>
              </a:ext>
            </a:extLst>
          </p:cNvPr>
          <p:cNvSpPr>
            <a:spLocks noGrp="1"/>
          </p:cNvSpPr>
          <p:nvPr>
            <p:ph type="body" sz="quarter" idx="15"/>
          </p:nvPr>
        </p:nvSpPr>
        <p:spPr>
          <a:xfrm>
            <a:off x="287999" y="1670659"/>
            <a:ext cx="2477765" cy="4327710"/>
          </a:xfrm>
        </p:spPr>
        <p:txBody>
          <a:bodyPr/>
          <a:lstStyle>
            <a:lvl1pPr>
              <a:lnSpc>
                <a:spcPct val="110000"/>
              </a:lnSpc>
              <a:spcBef>
                <a:spcPts val="0"/>
              </a:spcBef>
              <a:spcAft>
                <a:spcPts val="1800"/>
              </a:spcAft>
              <a:defRPr sz="1800">
                <a:solidFill>
                  <a:schemeClr val="tx1"/>
                </a:solidFill>
              </a:defRPr>
            </a:lvl1pPr>
            <a:lvl2pPr marL="127990" indent="-127990">
              <a:lnSpc>
                <a:spcPct val="110000"/>
              </a:lnSpc>
              <a:spcBef>
                <a:spcPts val="0"/>
              </a:spcBef>
              <a:spcAft>
                <a:spcPts val="1800"/>
              </a:spcAft>
              <a:defRPr sz="1800">
                <a:solidFill>
                  <a:schemeClr val="tx1"/>
                </a:solidFill>
              </a:defRPr>
            </a:lvl2pPr>
            <a:lvl3pPr marL="255981" indent="-127990">
              <a:lnSpc>
                <a:spcPct val="110000"/>
              </a:lnSpc>
              <a:spcBef>
                <a:spcPts val="0"/>
              </a:spcBef>
              <a:spcAft>
                <a:spcPts val="1800"/>
              </a:spcAft>
              <a:defRPr sz="1800">
                <a:solidFill>
                  <a:schemeClr val="tx1"/>
                </a:solidFill>
              </a:defRPr>
            </a:lvl3pPr>
            <a:lvl4pPr marL="383971" indent="-127990">
              <a:lnSpc>
                <a:spcPct val="110000"/>
              </a:lnSpc>
              <a:spcBef>
                <a:spcPts val="0"/>
              </a:spcBef>
              <a:spcAft>
                <a:spcPts val="1800"/>
              </a:spcAft>
              <a:defRPr sz="18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1">
            <a:extLst>
              <a:ext uri="{FF2B5EF4-FFF2-40B4-BE49-F238E27FC236}">
                <a16:creationId xmlns:a16="http://schemas.microsoft.com/office/drawing/2014/main" id="{7A89EF34-F2E4-1534-281A-F12601CCE830}"/>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Tree>
    <p:extLst>
      <p:ext uri="{BB962C8B-B14F-4D97-AF65-F5344CB8AC3E}">
        <p14:creationId xmlns:p14="http://schemas.microsoft.com/office/powerpoint/2010/main" val="3526431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image with margins">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287300" y="1714500"/>
            <a:ext cx="11617400" cy="4857750"/>
          </a:xfrm>
          <a:solidFill>
            <a:srgbClr val="E0E0E0"/>
          </a:solidFill>
        </p:spPr>
        <p:txBody>
          <a:bodyPr anchor="ctr"/>
          <a:lstStyle>
            <a:lvl1pPr algn="ctr">
              <a:defRPr>
                <a:solidFill>
                  <a:schemeClr val="accent5"/>
                </a:solidFill>
              </a:defRPr>
            </a:lvl1pPr>
          </a:lstStyle>
          <a:p>
            <a:r>
              <a:rPr lang="en-US"/>
              <a:t>Place imagery here</a:t>
            </a:r>
          </a:p>
        </p:txBody>
      </p:sp>
      <p:sp>
        <p:nvSpPr>
          <p:cNvPr id="3" name="Title 1">
            <a:extLst>
              <a:ext uri="{FF2B5EF4-FFF2-40B4-BE49-F238E27FC236}">
                <a16:creationId xmlns:a16="http://schemas.microsoft.com/office/drawing/2014/main" id="{63BB8FDD-3412-E9EE-8A7C-A6A76F2B68D8}"/>
              </a:ext>
            </a:extLst>
          </p:cNvPr>
          <p:cNvSpPr>
            <a:spLocks noGrp="1"/>
          </p:cNvSpPr>
          <p:nvPr>
            <p:ph type="title"/>
          </p:nvPr>
        </p:nvSpPr>
        <p:spPr>
          <a:xfrm>
            <a:off x="268951" y="198288"/>
            <a:ext cx="11635749" cy="1237108"/>
          </a:xfrm>
        </p:spPr>
        <p:txBody>
          <a:bodyPr rIns="457200"/>
          <a:lstStyle>
            <a:lvl1pPr>
              <a:lnSpc>
                <a:spcPct val="100000"/>
              </a:lnSpc>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731566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Images grid">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3050116" y="450"/>
            <a:ext cx="6092693" cy="3057987"/>
          </a:xfrm>
          <a:solidFill>
            <a:srgbClr val="E0E0E0"/>
          </a:solidFill>
        </p:spPr>
        <p:txBody>
          <a:bodyPr anchor="ctr"/>
          <a:lstStyle>
            <a:lvl1pPr algn="ctr">
              <a:defRPr>
                <a:solidFill>
                  <a:schemeClr val="accent5"/>
                </a:solidFill>
              </a:defRPr>
            </a:lvl1pPr>
          </a:lstStyle>
          <a:p>
            <a:r>
              <a:rPr lang="en-US"/>
              <a:t>Place imagery here</a:t>
            </a:r>
          </a:p>
        </p:txBody>
      </p:sp>
      <p:sp>
        <p:nvSpPr>
          <p:cNvPr id="11" name="Picture Placeholder 10">
            <a:extLst>
              <a:ext uri="{FF2B5EF4-FFF2-40B4-BE49-F238E27FC236}">
                <a16:creationId xmlns:a16="http://schemas.microsoft.com/office/drawing/2014/main" id="{7B9CB0EE-399D-E7B8-85E6-488055A857C4}"/>
              </a:ext>
            </a:extLst>
          </p:cNvPr>
          <p:cNvSpPr>
            <a:spLocks noGrp="1"/>
          </p:cNvSpPr>
          <p:nvPr>
            <p:ph type="pic" sz="quarter" idx="19" hasCustomPrompt="1"/>
          </p:nvPr>
        </p:nvSpPr>
        <p:spPr>
          <a:xfrm>
            <a:off x="794" y="3058437"/>
            <a:ext cx="3038393" cy="3040298"/>
          </a:xfrm>
          <a:solidFill>
            <a:srgbClr val="E0E0E0"/>
          </a:solidFill>
        </p:spPr>
        <p:txBody>
          <a:bodyPr anchor="ctr"/>
          <a:lstStyle>
            <a:lvl1pPr algn="ctr">
              <a:defRPr>
                <a:solidFill>
                  <a:schemeClr val="accent5"/>
                </a:solidFill>
              </a:defRPr>
            </a:lvl1pPr>
          </a:lstStyle>
          <a:p>
            <a:r>
              <a:rPr lang="en-US"/>
              <a:t>Place imagery here</a:t>
            </a:r>
          </a:p>
        </p:txBody>
      </p:sp>
      <p:sp>
        <p:nvSpPr>
          <p:cNvPr id="12" name="Picture Placeholder 10">
            <a:extLst>
              <a:ext uri="{FF2B5EF4-FFF2-40B4-BE49-F238E27FC236}">
                <a16:creationId xmlns:a16="http://schemas.microsoft.com/office/drawing/2014/main" id="{006E546E-2AFE-C74E-3532-5D6612A3AD87}"/>
              </a:ext>
            </a:extLst>
          </p:cNvPr>
          <p:cNvSpPr>
            <a:spLocks noGrp="1"/>
          </p:cNvSpPr>
          <p:nvPr>
            <p:ph type="pic" sz="quarter" idx="20" hasCustomPrompt="1"/>
          </p:nvPr>
        </p:nvSpPr>
        <p:spPr>
          <a:xfrm>
            <a:off x="6110647" y="3058437"/>
            <a:ext cx="6080559" cy="3040298"/>
          </a:xfrm>
          <a:solidFill>
            <a:srgbClr val="E0E0E0"/>
          </a:solidFill>
        </p:spPr>
        <p:txBody>
          <a:bodyPr anchor="ctr"/>
          <a:lstStyle>
            <a:lvl1pPr algn="ctr">
              <a:defRPr>
                <a:solidFill>
                  <a:schemeClr val="accent5"/>
                </a:solidFill>
              </a:defRPr>
            </a:lvl1pPr>
          </a:lstStyle>
          <a:p>
            <a:r>
              <a:rPr lang="en-US"/>
              <a:t>Place imagery here</a:t>
            </a:r>
          </a:p>
        </p:txBody>
      </p:sp>
      <p:sp>
        <p:nvSpPr>
          <p:cNvPr id="3" name="Title 1">
            <a:extLst>
              <a:ext uri="{FF2B5EF4-FFF2-40B4-BE49-F238E27FC236}">
                <a16:creationId xmlns:a16="http://schemas.microsoft.com/office/drawing/2014/main" id="{63BB8FDD-3412-E9EE-8A7C-A6A76F2B68D8}"/>
              </a:ext>
            </a:extLst>
          </p:cNvPr>
          <p:cNvSpPr>
            <a:spLocks noGrp="1"/>
          </p:cNvSpPr>
          <p:nvPr>
            <p:ph type="title"/>
          </p:nvPr>
        </p:nvSpPr>
        <p:spPr>
          <a:xfrm>
            <a:off x="268952" y="198288"/>
            <a:ext cx="2492939" cy="1516213"/>
          </a:xfrm>
        </p:spPr>
        <p:txBody>
          <a:bodyPr rIns="457200"/>
          <a:lstStyle>
            <a:lvl1pPr>
              <a:lnSpc>
                <a:spcPct val="100000"/>
              </a:lnSpc>
              <a:defRPr>
                <a:solidFill>
                  <a:schemeClr val="tx2"/>
                </a:solidFill>
              </a:defRPr>
            </a:lvl1pPr>
          </a:lstStyle>
          <a:p>
            <a:r>
              <a:rPr lang="en-US"/>
              <a:t>Click to edit Master title style</a:t>
            </a:r>
          </a:p>
        </p:txBody>
      </p:sp>
      <p:sp>
        <p:nvSpPr>
          <p:cNvPr id="6" name="Text Placeholder 10">
            <a:extLst>
              <a:ext uri="{FF2B5EF4-FFF2-40B4-BE49-F238E27FC236}">
                <a16:creationId xmlns:a16="http://schemas.microsoft.com/office/drawing/2014/main" id="{E0DA1707-6C7E-1724-4E62-628D2A33B386}"/>
              </a:ext>
            </a:extLst>
          </p:cNvPr>
          <p:cNvSpPr>
            <a:spLocks noGrp="1"/>
          </p:cNvSpPr>
          <p:nvPr>
            <p:ph type="body" sz="quarter" idx="17"/>
          </p:nvPr>
        </p:nvSpPr>
        <p:spPr>
          <a:xfrm>
            <a:off x="3335036" y="3429000"/>
            <a:ext cx="2479762" cy="2569369"/>
          </a:xfrm>
        </p:spPr>
        <p:txBody>
          <a:bodyPr/>
          <a:lstStyle>
            <a:lvl1pPr>
              <a:spcBef>
                <a:spcPts val="0"/>
              </a:spcBef>
              <a:spcAft>
                <a:spcPts val="1800"/>
              </a:spcAft>
              <a:defRPr sz="1800">
                <a:solidFill>
                  <a:schemeClr val="tx1"/>
                </a:solidFill>
              </a:defRPr>
            </a:lvl1pPr>
            <a:lvl2pPr marL="127990" indent="-127990">
              <a:spcBef>
                <a:spcPts val="0"/>
              </a:spcBef>
              <a:spcAft>
                <a:spcPts val="1800"/>
              </a:spcAft>
              <a:defRPr sz="1800">
                <a:solidFill>
                  <a:schemeClr val="tx1"/>
                </a:solidFill>
              </a:defRPr>
            </a:lvl2pPr>
            <a:lvl3pPr marL="255981" indent="-127990">
              <a:spcBef>
                <a:spcPts val="0"/>
              </a:spcBef>
              <a:spcAft>
                <a:spcPts val="1800"/>
              </a:spcAft>
              <a:defRPr sz="1800">
                <a:solidFill>
                  <a:schemeClr val="tx1"/>
                </a:solidFill>
              </a:defRPr>
            </a:lvl3pPr>
            <a:lvl4pPr marL="383971" indent="-127990">
              <a:spcBef>
                <a:spcPts val="0"/>
              </a:spcBef>
              <a:spcAft>
                <a:spcPts val="1800"/>
              </a:spcAft>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10">
            <a:extLst>
              <a:ext uri="{FF2B5EF4-FFF2-40B4-BE49-F238E27FC236}">
                <a16:creationId xmlns:a16="http://schemas.microsoft.com/office/drawing/2014/main" id="{6678E61A-FAE0-02C2-9E52-B553A1B787BE}"/>
              </a:ext>
            </a:extLst>
          </p:cNvPr>
          <p:cNvSpPr>
            <a:spLocks noGrp="1"/>
          </p:cNvSpPr>
          <p:nvPr>
            <p:ph type="body" sz="quarter" idx="18"/>
          </p:nvPr>
        </p:nvSpPr>
        <p:spPr>
          <a:xfrm>
            <a:off x="9428522" y="247895"/>
            <a:ext cx="2479762" cy="2569369"/>
          </a:xfrm>
        </p:spPr>
        <p:txBody>
          <a:bodyPr/>
          <a:lstStyle>
            <a:lvl1pPr>
              <a:spcBef>
                <a:spcPts val="0"/>
              </a:spcBef>
              <a:spcAft>
                <a:spcPts val="1800"/>
              </a:spcAft>
              <a:defRPr sz="1800">
                <a:solidFill>
                  <a:schemeClr val="tx1"/>
                </a:solidFill>
              </a:defRPr>
            </a:lvl1pPr>
            <a:lvl2pPr marL="127990" indent="-127990">
              <a:spcBef>
                <a:spcPts val="0"/>
              </a:spcBef>
              <a:spcAft>
                <a:spcPts val="1800"/>
              </a:spcAft>
              <a:defRPr sz="1800">
                <a:solidFill>
                  <a:schemeClr val="tx1"/>
                </a:solidFill>
              </a:defRPr>
            </a:lvl2pPr>
            <a:lvl3pPr marL="255981" indent="-127990">
              <a:spcBef>
                <a:spcPts val="0"/>
              </a:spcBef>
              <a:spcAft>
                <a:spcPts val="1800"/>
              </a:spcAft>
              <a:defRPr sz="1800">
                <a:solidFill>
                  <a:schemeClr val="tx1"/>
                </a:solidFill>
              </a:defRPr>
            </a:lvl3pPr>
            <a:lvl4pPr marL="383971" indent="-127990">
              <a:spcBef>
                <a:spcPts val="0"/>
              </a:spcBef>
              <a:spcAft>
                <a:spcPts val="1800"/>
              </a:spcAft>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1">
            <a:extLst>
              <a:ext uri="{FF2B5EF4-FFF2-40B4-BE49-F238E27FC236}">
                <a16:creationId xmlns:a16="http://schemas.microsoft.com/office/drawing/2014/main" id="{D63D1EFE-4D07-775A-BAD0-C2C3361DC918}"/>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
        <p:nvSpPr>
          <p:cNvPr id="2" name="TextBox 1">
            <a:extLst>
              <a:ext uri="{FF2B5EF4-FFF2-40B4-BE49-F238E27FC236}">
                <a16:creationId xmlns:a16="http://schemas.microsoft.com/office/drawing/2014/main" id="{D5CFFD82-9034-6841-A264-E93896860B95}"/>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rgbClr val="000000"/>
                </a:solidFill>
                <a:latin typeface="IBM Plex Sans" panose="020B0503050203000203" pitchFamily="34" charset="0"/>
                <a:ea typeface="+mj-ea"/>
                <a:cs typeface="+mj-cs"/>
                <a:sym typeface="IBM Plex Sans Light"/>
              </a:rPr>
              <a:t>#IBMTechXchange</a:t>
            </a:r>
          </a:p>
        </p:txBody>
      </p:sp>
      <p:sp>
        <p:nvSpPr>
          <p:cNvPr id="7" name="Slide Number">
            <a:extLst>
              <a:ext uri="{FF2B5EF4-FFF2-40B4-BE49-F238E27FC236}">
                <a16:creationId xmlns:a16="http://schemas.microsoft.com/office/drawing/2014/main" id="{2E66751B-C9E7-0914-79D8-7033F4FB7B4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088266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Image with margins">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84126" y="284957"/>
            <a:ext cx="11620574" cy="6290468"/>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563767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Left side text, cyan+whit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DF3BA29-E81F-2784-6F22-55C9D69D735C}"/>
              </a:ext>
            </a:extLst>
          </p:cNvPr>
          <p:cNvSpPr>
            <a:spLocks/>
          </p:cNvSpPr>
          <p:nvPr userDrawn="1"/>
        </p:nvSpPr>
        <p:spPr bwMode="auto">
          <a:xfrm>
            <a:off x="0" y="-1"/>
            <a:ext cx="3047604" cy="6858001"/>
          </a:xfrm>
          <a:prstGeom prst="rect">
            <a:avLst/>
          </a:prstGeom>
          <a:solidFill>
            <a:schemeClr val="bg2"/>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60952" tIns="60952" rIns="60952" bIns="60952" numCol="1" rtlCol="0" anchor="t" anchorCtr="0" compatLnSpc="1">
            <a:prstTxWarp prst="textNoShape">
              <a:avLst/>
            </a:prstTxWarp>
          </a:bodyPr>
          <a:lstStyle/>
          <a:p>
            <a:pPr defTabSz="609463" fontAlgn="base">
              <a:spcBef>
                <a:spcPct val="0"/>
              </a:spcBef>
              <a:spcAft>
                <a:spcPct val="0"/>
              </a:spcAft>
            </a:pPr>
            <a:endParaRPr lang="en-US" sz="933">
              <a:solidFill>
                <a:schemeClr val="bg1"/>
              </a:solidFill>
            </a:endParaRPr>
          </a:p>
        </p:txBody>
      </p:sp>
      <p:sp>
        <p:nvSpPr>
          <p:cNvPr id="3" name="Slide Number Placeholder 2">
            <a:extLst>
              <a:ext uri="{FF2B5EF4-FFF2-40B4-BE49-F238E27FC236}">
                <a16:creationId xmlns:a16="http://schemas.microsoft.com/office/drawing/2014/main" id="{EFF199AD-99F5-8A31-D55D-6EA7FE65BF0B}"/>
              </a:ext>
            </a:extLst>
          </p:cNvPr>
          <p:cNvSpPr>
            <a:spLocks noGrp="1"/>
          </p:cNvSpPr>
          <p:nvPr>
            <p:ph type="sldNum" sz="quarter" idx="10"/>
          </p:nvPr>
        </p:nvSpPr>
        <p:spPr/>
        <p:txBody>
          <a:bodyPr/>
          <a:lstStyle/>
          <a:p>
            <a:fld id="{86CB4B4D-7CA3-9044-876B-883B54F8677D}" type="slidenum">
              <a:rPr lang="en-US" smtClean="0"/>
              <a:pPr/>
              <a:t>‹#›</a:t>
            </a:fld>
            <a:endParaRPr lang="en-US"/>
          </a:p>
        </p:txBody>
      </p:sp>
      <p:sp>
        <p:nvSpPr>
          <p:cNvPr id="7" name="Text Placeholder 4">
            <a:extLst>
              <a:ext uri="{FF2B5EF4-FFF2-40B4-BE49-F238E27FC236}">
                <a16:creationId xmlns:a16="http://schemas.microsoft.com/office/drawing/2014/main" id="{B46CC3A1-4537-FC29-D1E2-9858E5E2B37B}"/>
              </a:ext>
            </a:extLst>
          </p:cNvPr>
          <p:cNvSpPr>
            <a:spLocks noGrp="1"/>
          </p:cNvSpPr>
          <p:nvPr>
            <p:ph type="body" sz="quarter" idx="12"/>
          </p:nvPr>
        </p:nvSpPr>
        <p:spPr>
          <a:xfrm>
            <a:off x="287999" y="1717768"/>
            <a:ext cx="2473891" cy="42862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itle 1">
            <a:extLst>
              <a:ext uri="{FF2B5EF4-FFF2-40B4-BE49-F238E27FC236}">
                <a16:creationId xmlns:a16="http://schemas.microsoft.com/office/drawing/2014/main" id="{D29BAF6E-9877-855F-9A5E-2AFA760A83B3}"/>
              </a:ext>
            </a:extLst>
          </p:cNvPr>
          <p:cNvSpPr>
            <a:spLocks noGrp="1"/>
          </p:cNvSpPr>
          <p:nvPr>
            <p:ph type="title"/>
          </p:nvPr>
        </p:nvSpPr>
        <p:spPr>
          <a:xfrm>
            <a:off x="269212" y="191937"/>
            <a:ext cx="2492678" cy="1429544"/>
          </a:xfrm>
        </p:spPr>
        <p:txBody>
          <a:bodyPr rIns="457200"/>
          <a:lstStyle>
            <a:lvl1pPr>
              <a:lnSpc>
                <a:spcPct val="100000"/>
              </a:lnSpc>
              <a:defRPr sz="3199">
                <a:solidFill>
                  <a:schemeClr val="tx2"/>
                </a:solidFill>
              </a:defRPr>
            </a:lvl1pPr>
          </a:lstStyle>
          <a:p>
            <a:r>
              <a:rPr lang="en-US"/>
              <a:t>Click to edit Master title style</a:t>
            </a:r>
          </a:p>
        </p:txBody>
      </p:sp>
      <p:sp>
        <p:nvSpPr>
          <p:cNvPr id="9" name="Footer Placeholder 1">
            <a:extLst>
              <a:ext uri="{FF2B5EF4-FFF2-40B4-BE49-F238E27FC236}">
                <a16:creationId xmlns:a16="http://schemas.microsoft.com/office/drawing/2014/main" id="{A0039F55-4DA1-0F76-E4F4-FC3FFABD733D}"/>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
        <p:nvSpPr>
          <p:cNvPr id="4" name="TextBox 3">
            <a:extLst>
              <a:ext uri="{FF2B5EF4-FFF2-40B4-BE49-F238E27FC236}">
                <a16:creationId xmlns:a16="http://schemas.microsoft.com/office/drawing/2014/main" id="{EBC6C5C6-36C0-91A7-4494-A1A3707C6051}"/>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rgbClr val="000000"/>
                </a:solidFill>
                <a:latin typeface="IBM Plex Sans" panose="020B0503050203000203" pitchFamily="34" charset="0"/>
                <a:ea typeface="+mj-ea"/>
                <a:cs typeface="+mj-cs"/>
                <a:sym typeface="IBM Plex Sans Light"/>
              </a:rPr>
              <a:t>#IBMTechXchange</a:t>
            </a:r>
          </a:p>
        </p:txBody>
      </p:sp>
    </p:spTree>
    <p:extLst>
      <p:ext uri="{BB962C8B-B14F-4D97-AF65-F5344CB8AC3E}">
        <p14:creationId xmlns:p14="http://schemas.microsoft.com/office/powerpoint/2010/main" val="1065827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Left side text, white+cyan">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FF199AD-99F5-8A31-D55D-6EA7FE65BF0B}"/>
              </a:ext>
            </a:extLst>
          </p:cNvPr>
          <p:cNvSpPr>
            <a:spLocks noGrp="1"/>
          </p:cNvSpPr>
          <p:nvPr>
            <p:ph type="sldNum" sz="quarter" idx="10"/>
          </p:nvPr>
        </p:nvSpPr>
        <p:spPr/>
        <p:txBody>
          <a:bodyPr/>
          <a:lstStyle/>
          <a:p>
            <a:fld id="{86CB4B4D-7CA3-9044-876B-883B54F8677D}" type="slidenum">
              <a:rPr lang="en-US" smtClean="0"/>
              <a:pPr/>
              <a:t>‹#›</a:t>
            </a:fld>
            <a:endParaRPr lang="en-US"/>
          </a:p>
        </p:txBody>
      </p:sp>
      <p:sp>
        <p:nvSpPr>
          <p:cNvPr id="7" name="Text Placeholder 4">
            <a:extLst>
              <a:ext uri="{FF2B5EF4-FFF2-40B4-BE49-F238E27FC236}">
                <a16:creationId xmlns:a16="http://schemas.microsoft.com/office/drawing/2014/main" id="{B46CC3A1-4537-FC29-D1E2-9858E5E2B37B}"/>
              </a:ext>
            </a:extLst>
          </p:cNvPr>
          <p:cNvSpPr>
            <a:spLocks noGrp="1"/>
          </p:cNvSpPr>
          <p:nvPr>
            <p:ph type="body" sz="quarter" idx="12"/>
          </p:nvPr>
        </p:nvSpPr>
        <p:spPr>
          <a:xfrm>
            <a:off x="287999" y="1717768"/>
            <a:ext cx="2473891" cy="42862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itle 1">
            <a:extLst>
              <a:ext uri="{FF2B5EF4-FFF2-40B4-BE49-F238E27FC236}">
                <a16:creationId xmlns:a16="http://schemas.microsoft.com/office/drawing/2014/main" id="{D29BAF6E-9877-855F-9A5E-2AFA760A83B3}"/>
              </a:ext>
            </a:extLst>
          </p:cNvPr>
          <p:cNvSpPr>
            <a:spLocks noGrp="1"/>
          </p:cNvSpPr>
          <p:nvPr>
            <p:ph type="title"/>
          </p:nvPr>
        </p:nvSpPr>
        <p:spPr>
          <a:xfrm>
            <a:off x="269212" y="191937"/>
            <a:ext cx="2492678" cy="1429544"/>
          </a:xfrm>
        </p:spPr>
        <p:txBody>
          <a:bodyPr rIns="457200"/>
          <a:lstStyle>
            <a:lvl1pPr>
              <a:lnSpc>
                <a:spcPct val="100000"/>
              </a:lnSpc>
              <a:defRPr sz="3199">
                <a:solidFill>
                  <a:schemeClr val="tx2"/>
                </a:solidFill>
              </a:defRPr>
            </a:lvl1pPr>
          </a:lstStyle>
          <a:p>
            <a:r>
              <a:rPr lang="en-US"/>
              <a:t>Click to edit Master title style</a:t>
            </a:r>
          </a:p>
        </p:txBody>
      </p:sp>
      <p:sp>
        <p:nvSpPr>
          <p:cNvPr id="9" name="Footer Placeholder 1">
            <a:extLst>
              <a:ext uri="{FF2B5EF4-FFF2-40B4-BE49-F238E27FC236}">
                <a16:creationId xmlns:a16="http://schemas.microsoft.com/office/drawing/2014/main" id="{A0039F55-4DA1-0F76-E4F4-FC3FFABD733D}"/>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
        <p:nvSpPr>
          <p:cNvPr id="2" name="Rectangle 1">
            <a:extLst>
              <a:ext uri="{FF2B5EF4-FFF2-40B4-BE49-F238E27FC236}">
                <a16:creationId xmlns:a16="http://schemas.microsoft.com/office/drawing/2014/main" id="{32BE503C-A69C-5EFC-BA7A-97308B436F87}"/>
              </a:ext>
            </a:extLst>
          </p:cNvPr>
          <p:cNvSpPr/>
          <p:nvPr userDrawn="1"/>
        </p:nvSpPr>
        <p:spPr bwMode="auto">
          <a:xfrm>
            <a:off x="3047603" y="0"/>
            <a:ext cx="9144397" cy="6858001"/>
          </a:xfrm>
          <a:prstGeom prst="rect">
            <a:avLst/>
          </a:prstGeom>
          <a:solidFill>
            <a:schemeClr val="bg2"/>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60952" tIns="60952" rIns="60952" bIns="60952" numCol="1" rtlCol="0" anchor="t" anchorCtr="0" compatLnSpc="1">
            <a:prstTxWarp prst="textNoShape">
              <a:avLst/>
            </a:prstTxWarp>
          </a:bodyPr>
          <a:lstStyle/>
          <a:p>
            <a:pPr defTabSz="609463" fontAlgn="base">
              <a:spcBef>
                <a:spcPct val="0"/>
              </a:spcBef>
              <a:spcAft>
                <a:spcPct val="0"/>
              </a:spcAft>
            </a:pPr>
            <a:endParaRPr lang="en-US" sz="933">
              <a:solidFill>
                <a:schemeClr val="bg1"/>
              </a:solidFill>
            </a:endParaRPr>
          </a:p>
        </p:txBody>
      </p:sp>
      <p:sp>
        <p:nvSpPr>
          <p:cNvPr id="4" name="Slide Number Placeholder 2">
            <a:extLst>
              <a:ext uri="{FF2B5EF4-FFF2-40B4-BE49-F238E27FC236}">
                <a16:creationId xmlns:a16="http://schemas.microsoft.com/office/drawing/2014/main" id="{BDA953EC-0A9D-D7C9-44B5-8EE8D209213E}"/>
              </a:ext>
            </a:extLst>
          </p:cNvPr>
          <p:cNvSpPr txBox="1">
            <a:spLocks/>
          </p:cNvSpPr>
          <p:nvPr userDrawn="1"/>
        </p:nvSpPr>
        <p:spPr>
          <a:xfrm>
            <a:off x="11770048" y="6469507"/>
            <a:ext cx="134652" cy="123111"/>
          </a:xfrm>
          <a:prstGeom prst="rect">
            <a:avLst/>
          </a:prstGeom>
          <a:ln w="12700">
            <a:miter lim="400000"/>
          </a:ln>
        </p:spPr>
        <p:txBody>
          <a:bodyPr wrap="none" lIns="0" tIns="0" rIns="0" bIns="0" anchor="b" anchorCtr="0">
            <a:spAutoFit/>
          </a:bodyPr>
          <a:lstStyle>
            <a:defPPr>
              <a:defRPr lang="en-US"/>
            </a:defPPr>
            <a:lvl1pPr marL="0" algn="r" defTabSz="1829379" rtl="0" eaLnBrk="1" latinLnBrk="0" hangingPunct="1">
              <a:defRPr sz="1600" b="0" i="0" kern="1200">
                <a:solidFill>
                  <a:schemeClr val="tx1"/>
                </a:solidFill>
                <a:latin typeface="IBM Plex Sans" panose="020B0503050203000203" pitchFamily="34" charset="0"/>
                <a:ea typeface="+mn-ea"/>
                <a:cs typeface="+mn-cs"/>
                <a:sym typeface="IBM Plex San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fld id="{86CB4B4D-7CA3-9044-876B-883B54F8677D}" type="slidenum">
              <a:rPr lang="en-US" sz="800" smtClean="0"/>
              <a:pPr/>
              <a:t>‹#›</a:t>
            </a:fld>
            <a:endParaRPr lang="en-US" sz="800"/>
          </a:p>
        </p:txBody>
      </p:sp>
      <p:sp>
        <p:nvSpPr>
          <p:cNvPr id="5" name="TextBox 4">
            <a:extLst>
              <a:ext uri="{FF2B5EF4-FFF2-40B4-BE49-F238E27FC236}">
                <a16:creationId xmlns:a16="http://schemas.microsoft.com/office/drawing/2014/main" id="{601A55EE-A18A-C593-7B5F-86BC1380288B}"/>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rgbClr val="000000"/>
                </a:solidFill>
                <a:latin typeface="IBM Plex Sans" panose="020B0503050203000203" pitchFamily="34" charset="0"/>
                <a:ea typeface="+mj-ea"/>
                <a:cs typeface="+mj-cs"/>
                <a:sym typeface="IBM Plex Sans Light"/>
              </a:rPr>
              <a:t>#IBMTechXchange</a:t>
            </a:r>
          </a:p>
        </p:txBody>
      </p:sp>
    </p:spTree>
    <p:extLst>
      <p:ext uri="{BB962C8B-B14F-4D97-AF65-F5344CB8AC3E}">
        <p14:creationId xmlns:p14="http://schemas.microsoft.com/office/powerpoint/2010/main" val="623151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2 titles, text (split backgroun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9E1F66A6-2402-265D-0101-B6536490AFAC}"/>
              </a:ext>
            </a:extLst>
          </p:cNvPr>
          <p:cNvSpPr>
            <a:spLocks/>
          </p:cNvSpPr>
          <p:nvPr userDrawn="1"/>
        </p:nvSpPr>
        <p:spPr bwMode="auto">
          <a:xfrm>
            <a:off x="6095206" y="0"/>
            <a:ext cx="6096794" cy="6858001"/>
          </a:xfrm>
          <a:prstGeom prst="rect">
            <a:avLst/>
          </a:prstGeom>
          <a:solidFill>
            <a:schemeClr val="bg2"/>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60952" tIns="60952" rIns="60952" bIns="60952" numCol="1" rtlCol="0" anchor="t" anchorCtr="0" compatLnSpc="1">
            <a:prstTxWarp prst="textNoShape">
              <a:avLst/>
            </a:prstTxWarp>
          </a:bodyPr>
          <a:lstStyle/>
          <a:p>
            <a:pPr defTabSz="609463" fontAlgn="base">
              <a:spcBef>
                <a:spcPct val="0"/>
              </a:spcBef>
              <a:spcAft>
                <a:spcPct val="0"/>
              </a:spcAft>
            </a:pPr>
            <a:endParaRPr lang="en-US" sz="933">
              <a:solidFill>
                <a:schemeClr val="bg1"/>
              </a:solidFill>
            </a:endParaRPr>
          </a:p>
        </p:txBody>
      </p:sp>
      <p:sp>
        <p:nvSpPr>
          <p:cNvPr id="3" name="Slide Number Placeholder 2">
            <a:extLst>
              <a:ext uri="{FF2B5EF4-FFF2-40B4-BE49-F238E27FC236}">
                <a16:creationId xmlns:a16="http://schemas.microsoft.com/office/drawing/2014/main" id="{EFF199AD-99F5-8A31-D55D-6EA7FE65BF0B}"/>
              </a:ext>
            </a:extLst>
          </p:cNvPr>
          <p:cNvSpPr>
            <a:spLocks noGrp="1"/>
          </p:cNvSpPr>
          <p:nvPr>
            <p:ph type="sldNum" sz="quarter" idx="10"/>
          </p:nvPr>
        </p:nvSpPr>
        <p:spPr/>
        <p:txBody>
          <a:bodyPr/>
          <a:lstStyle/>
          <a:p>
            <a:fld id="{86CB4B4D-7CA3-9044-876B-883B54F8677D}" type="slidenum">
              <a:rPr lang="en-US" smtClean="0"/>
              <a:pPr/>
              <a:t>‹#›</a:t>
            </a:fld>
            <a:endParaRPr lang="en-US"/>
          </a:p>
        </p:txBody>
      </p:sp>
      <p:sp>
        <p:nvSpPr>
          <p:cNvPr id="6" name="Text Placeholder 5">
            <a:extLst>
              <a:ext uri="{FF2B5EF4-FFF2-40B4-BE49-F238E27FC236}">
                <a16:creationId xmlns:a16="http://schemas.microsoft.com/office/drawing/2014/main" id="{1116610E-CC1C-9D9D-DB96-DEDE65B2F055}"/>
              </a:ext>
            </a:extLst>
          </p:cNvPr>
          <p:cNvSpPr>
            <a:spLocks noGrp="1"/>
          </p:cNvSpPr>
          <p:nvPr>
            <p:ph type="body" sz="quarter" idx="18"/>
          </p:nvPr>
        </p:nvSpPr>
        <p:spPr>
          <a:xfrm>
            <a:off x="287999" y="1212112"/>
            <a:ext cx="5520701" cy="350875"/>
          </a:xfrm>
        </p:spPr>
        <p:txBody>
          <a:bodyPr anchor="t" anchorCtr="0"/>
          <a:lstStyle>
            <a:lvl1pPr>
              <a:lnSpc>
                <a:spcPct val="110000"/>
              </a:lnSpc>
              <a:spcBef>
                <a:spcPts val="0"/>
              </a:spcBef>
              <a:spcAft>
                <a:spcPts val="600"/>
              </a:spcAft>
              <a:defRPr sz="1800">
                <a:solidFill>
                  <a:schemeClr val="tx1"/>
                </a:solidFill>
              </a:defRPr>
            </a:lvl1pPr>
            <a:lvl2pPr marL="127990" indent="-127990">
              <a:lnSpc>
                <a:spcPct val="110000"/>
              </a:lnSpc>
              <a:spcBef>
                <a:spcPts val="0"/>
              </a:spcBef>
              <a:spcAft>
                <a:spcPts val="600"/>
              </a:spcAft>
              <a:defRPr sz="1800">
                <a:solidFill>
                  <a:schemeClr val="tx1"/>
                </a:solidFill>
              </a:defRPr>
            </a:lvl2pPr>
            <a:lvl3pPr marL="255981" indent="-127990">
              <a:lnSpc>
                <a:spcPct val="110000"/>
              </a:lnSpc>
              <a:spcBef>
                <a:spcPts val="0"/>
              </a:spcBef>
              <a:spcAft>
                <a:spcPts val="600"/>
              </a:spcAft>
              <a:defRPr sz="1800">
                <a:solidFill>
                  <a:schemeClr val="tx1"/>
                </a:solidFill>
              </a:defRPr>
            </a:lvl3pPr>
            <a:lvl4pPr marL="383971" indent="-127990">
              <a:lnSpc>
                <a:spcPct val="110000"/>
              </a:lnSpc>
              <a:spcBef>
                <a:spcPts val="0"/>
              </a:spcBef>
              <a:spcAft>
                <a:spcPts val="600"/>
              </a:spcAft>
              <a:defRPr sz="18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39EE314B-511F-9A49-0794-209E594425F3}"/>
              </a:ext>
            </a:extLst>
          </p:cNvPr>
          <p:cNvSpPr>
            <a:spLocks noGrp="1"/>
          </p:cNvSpPr>
          <p:nvPr>
            <p:ph type="body" sz="quarter" idx="19"/>
          </p:nvPr>
        </p:nvSpPr>
        <p:spPr>
          <a:xfrm>
            <a:off x="6380031" y="1212112"/>
            <a:ext cx="5520701" cy="350875"/>
          </a:xfrm>
        </p:spPr>
        <p:txBody>
          <a:bodyPr anchor="t" anchorCtr="0"/>
          <a:lstStyle>
            <a:lvl1pPr>
              <a:lnSpc>
                <a:spcPct val="110000"/>
              </a:lnSpc>
              <a:spcBef>
                <a:spcPts val="0"/>
              </a:spcBef>
              <a:spcAft>
                <a:spcPts val="600"/>
              </a:spcAft>
              <a:defRPr sz="1800">
                <a:solidFill>
                  <a:schemeClr val="tx1"/>
                </a:solidFill>
              </a:defRPr>
            </a:lvl1pPr>
            <a:lvl2pPr marL="127990" indent="-127990">
              <a:lnSpc>
                <a:spcPct val="110000"/>
              </a:lnSpc>
              <a:spcBef>
                <a:spcPts val="0"/>
              </a:spcBef>
              <a:spcAft>
                <a:spcPts val="600"/>
              </a:spcAft>
              <a:defRPr sz="1800">
                <a:solidFill>
                  <a:schemeClr val="tx1"/>
                </a:solidFill>
              </a:defRPr>
            </a:lvl2pPr>
            <a:lvl3pPr marL="255981" indent="-127990">
              <a:lnSpc>
                <a:spcPct val="110000"/>
              </a:lnSpc>
              <a:spcBef>
                <a:spcPts val="0"/>
              </a:spcBef>
              <a:spcAft>
                <a:spcPts val="600"/>
              </a:spcAft>
              <a:defRPr sz="1800">
                <a:solidFill>
                  <a:schemeClr val="tx1"/>
                </a:solidFill>
              </a:defRPr>
            </a:lvl3pPr>
            <a:lvl4pPr marL="383971" indent="-127990">
              <a:lnSpc>
                <a:spcPct val="110000"/>
              </a:lnSpc>
              <a:spcBef>
                <a:spcPts val="0"/>
              </a:spcBef>
              <a:spcAft>
                <a:spcPts val="600"/>
              </a:spcAft>
              <a:defRPr sz="18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itle 1">
            <a:extLst>
              <a:ext uri="{FF2B5EF4-FFF2-40B4-BE49-F238E27FC236}">
                <a16:creationId xmlns:a16="http://schemas.microsoft.com/office/drawing/2014/main" id="{09494A4E-96C8-934A-2BEF-CA4D3BB1814E}"/>
              </a:ext>
            </a:extLst>
          </p:cNvPr>
          <p:cNvSpPr>
            <a:spLocks noGrp="1"/>
          </p:cNvSpPr>
          <p:nvPr>
            <p:ph type="title"/>
          </p:nvPr>
        </p:nvSpPr>
        <p:spPr>
          <a:xfrm>
            <a:off x="269212" y="191938"/>
            <a:ext cx="5542757" cy="984629"/>
          </a:xfrm>
        </p:spPr>
        <p:txBody>
          <a:bodyPr rIns="457200">
            <a:spAutoFit/>
          </a:bodyPr>
          <a:lstStyle>
            <a:lvl1pPr>
              <a:lnSpc>
                <a:spcPct val="100000"/>
              </a:lnSpc>
              <a:defRPr sz="3199">
                <a:solidFill>
                  <a:schemeClr val="tx2"/>
                </a:solidFill>
              </a:defRPr>
            </a:lvl1pPr>
          </a:lstStyle>
          <a:p>
            <a:r>
              <a:rPr lang="en-US"/>
              <a:t>Click to edit Master title style</a:t>
            </a:r>
          </a:p>
        </p:txBody>
      </p:sp>
      <p:sp>
        <p:nvSpPr>
          <p:cNvPr id="16" name="Content Placeholder 15">
            <a:extLst>
              <a:ext uri="{FF2B5EF4-FFF2-40B4-BE49-F238E27FC236}">
                <a16:creationId xmlns:a16="http://schemas.microsoft.com/office/drawing/2014/main" id="{15665D22-4DC3-21E1-0450-1EE2C28B9B4F}"/>
              </a:ext>
            </a:extLst>
          </p:cNvPr>
          <p:cNvSpPr>
            <a:spLocks noGrp="1"/>
          </p:cNvSpPr>
          <p:nvPr>
            <p:ph sz="quarter" idx="20" hasCustomPrompt="1"/>
          </p:nvPr>
        </p:nvSpPr>
        <p:spPr>
          <a:xfrm>
            <a:off x="6380126" y="191938"/>
            <a:ext cx="5542828" cy="492919"/>
          </a:xfrm>
          <a:ln>
            <a:noFill/>
          </a:ln>
        </p:spPr>
        <p:txBody>
          <a:bodyPr/>
          <a:lstStyle>
            <a:lvl1pPr>
              <a:defRPr lang="en-US" sz="3199" b="0" i="0" u="none" strike="noStrike" cap="none" spc="0" baseline="0" dirty="0">
                <a:solidFill>
                  <a:schemeClr val="tx2"/>
                </a:solidFill>
                <a:uFillTx/>
                <a:latin typeface="+mj-lt"/>
                <a:ea typeface="+mj-ea"/>
                <a:cs typeface="+mj-cs"/>
                <a:sym typeface="IBM Plex Sans Light"/>
              </a:defRPr>
            </a:lvl1pPr>
          </a:lstStyle>
          <a:p>
            <a:pPr lvl="0"/>
            <a:r>
              <a:rPr lang="en-US"/>
              <a:t>Click to edit Master title style</a:t>
            </a:r>
          </a:p>
        </p:txBody>
      </p:sp>
      <p:sp>
        <p:nvSpPr>
          <p:cNvPr id="18" name="Footer Placeholder 1">
            <a:extLst>
              <a:ext uri="{FF2B5EF4-FFF2-40B4-BE49-F238E27FC236}">
                <a16:creationId xmlns:a16="http://schemas.microsoft.com/office/drawing/2014/main" id="{AE8B7DB9-996A-C58F-4CBB-E199A8CCE132}"/>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
        <p:nvSpPr>
          <p:cNvPr id="2" name="TextBox 1">
            <a:extLst>
              <a:ext uri="{FF2B5EF4-FFF2-40B4-BE49-F238E27FC236}">
                <a16:creationId xmlns:a16="http://schemas.microsoft.com/office/drawing/2014/main" id="{663C9CDD-45D8-4AF2-F600-C176326C4433}"/>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rgbClr val="000000"/>
                </a:solidFill>
                <a:latin typeface="IBM Plex Sans" panose="020B0503050203000203" pitchFamily="34" charset="0"/>
                <a:ea typeface="+mj-ea"/>
                <a:cs typeface="+mj-cs"/>
                <a:sym typeface="IBM Plex Sans Light"/>
              </a:rPr>
              <a:t>#IBMTechXchange</a:t>
            </a:r>
          </a:p>
        </p:txBody>
      </p:sp>
    </p:spTree>
    <p:extLst>
      <p:ext uri="{BB962C8B-B14F-4D97-AF65-F5344CB8AC3E}">
        <p14:creationId xmlns:p14="http://schemas.microsoft.com/office/powerpoint/2010/main" val="1045913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 data callout">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122014" y="288925"/>
            <a:ext cx="8687464" cy="3088538"/>
          </a:xfrm>
        </p:spPr>
        <p:txBody>
          <a:bodyPr wrap="square" anchor="t">
            <a:spAutoFit/>
          </a:bodyPr>
          <a:lstStyle>
            <a:lvl1pPr marL="0" marR="0" indent="0" algn="l" defTabSz="1218956" rtl="0" eaLnBrk="1" latinLnBrk="0" hangingPunct="1">
              <a:lnSpc>
                <a:spcPct val="90000"/>
              </a:lnSpc>
              <a:spcBef>
                <a:spcPts val="0"/>
              </a:spcBef>
              <a:spcAft>
                <a:spcPts val="0"/>
              </a:spcAft>
              <a:buClrTx/>
              <a:buSzTx/>
              <a:buFontTx/>
              <a:buNone/>
              <a:tabLst/>
              <a:defRPr lang="en-US" sz="22296" b="0" i="0" u="none" strike="noStrike" cap="none" spc="0" baseline="0" dirty="0">
                <a:solidFill>
                  <a:schemeClr val="accent1"/>
                </a:solidFill>
                <a:uFillTx/>
                <a:latin typeface="IBM Plex Sans Light" panose="020B0403050203000203" pitchFamily="34" charset="0"/>
                <a:ea typeface="+mj-ea"/>
                <a:cs typeface="+mj-cs"/>
                <a:sym typeface="IBM Plex Sans Light"/>
              </a:defRPr>
            </a:lvl1pPr>
          </a:lstStyle>
          <a:p>
            <a:r>
              <a:rPr lang="uk-UA"/>
              <a:t>+</a:t>
            </a:r>
            <a:r>
              <a:rPr lang="en-US"/>
              <a:t>00M</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93831" y="3470609"/>
            <a:ext cx="5514869" cy="1354217"/>
          </a:xfrm>
        </p:spPr>
        <p:txBody>
          <a:bodyPr wrap="square">
            <a:spAutoFit/>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2" name="Text Placeholder 4">
            <a:extLst>
              <a:ext uri="{FF2B5EF4-FFF2-40B4-BE49-F238E27FC236}">
                <a16:creationId xmlns:a16="http://schemas.microsoft.com/office/drawing/2014/main" id="{894B6EDC-B303-90FD-527D-B63F2FB20C78}"/>
              </a:ext>
            </a:extLst>
          </p:cNvPr>
          <p:cNvSpPr>
            <a:spLocks noGrp="1"/>
          </p:cNvSpPr>
          <p:nvPr>
            <p:ph type="body" sz="quarter" idx="11"/>
          </p:nvPr>
        </p:nvSpPr>
        <p:spPr>
          <a:xfrm>
            <a:off x="293831" y="5712619"/>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Footer Placeholder 1">
            <a:extLst>
              <a:ext uri="{FF2B5EF4-FFF2-40B4-BE49-F238E27FC236}">
                <a16:creationId xmlns:a16="http://schemas.microsoft.com/office/drawing/2014/main" id="{25850FE5-BCBA-DE93-BED8-F673B3DE7CDB}"/>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
        <p:nvSpPr>
          <p:cNvPr id="3" name="TextBox 2">
            <a:extLst>
              <a:ext uri="{FF2B5EF4-FFF2-40B4-BE49-F238E27FC236}">
                <a16:creationId xmlns:a16="http://schemas.microsoft.com/office/drawing/2014/main" id="{78E95C70-8D78-E4AD-3F22-32BD24C681A6}"/>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rgbClr val="000000"/>
                </a:solidFill>
                <a:latin typeface="IBM Plex Sans" panose="020B0503050203000203" pitchFamily="34" charset="0"/>
                <a:ea typeface="+mj-ea"/>
                <a:cs typeface="+mj-cs"/>
                <a:sym typeface="IBM Plex Sans Light"/>
              </a:rPr>
              <a:t>#IBMTechXchange</a:t>
            </a:r>
          </a:p>
        </p:txBody>
      </p:sp>
    </p:spTree>
    <p:extLst>
      <p:ext uri="{BB962C8B-B14F-4D97-AF65-F5344CB8AC3E}">
        <p14:creationId xmlns:p14="http://schemas.microsoft.com/office/powerpoint/2010/main" val="3750470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2 data callouts">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00328" y="4649724"/>
            <a:ext cx="5524575" cy="1771650"/>
          </a:xfrm>
        </p:spPr>
        <p:txBody>
          <a:bodyPr anchor="b"/>
          <a:lstStyle>
            <a:lvl1pPr>
              <a:lnSpc>
                <a:spcPct val="90000"/>
              </a:lnSpc>
              <a:spcBef>
                <a:spcPts val="0"/>
              </a:spcBef>
              <a:defRPr sz="12897" b="0" i="0">
                <a:solidFill>
                  <a:schemeClr val="accent1"/>
                </a:solidFill>
                <a:latin typeface="IBM Plex Sans Light" panose="020B0403050203000203" pitchFamily="34" charset="0"/>
              </a:defRPr>
            </a:lvl1pPr>
          </a:lstStyle>
          <a:p>
            <a:r>
              <a:rPr lang="en-US"/>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6293248" y="4648200"/>
            <a:ext cx="5523781" cy="1771650"/>
          </a:xfrm>
        </p:spPr>
        <p:txBody>
          <a:bodyPr anchor="b"/>
          <a:lstStyle>
            <a:lvl1pPr>
              <a:lnSpc>
                <a:spcPct val="90000"/>
              </a:lnSpc>
              <a:spcBef>
                <a:spcPts val="0"/>
              </a:spcBef>
              <a:defRPr sz="12897" b="0" i="0">
                <a:solidFill>
                  <a:schemeClr val="accent1"/>
                </a:solidFill>
                <a:latin typeface="IBM Plex Sans Light" panose="020B0403050203000203" pitchFamily="34" charset="0"/>
              </a:defRPr>
            </a:lvl1pPr>
          </a:lstStyle>
          <a:p>
            <a:r>
              <a:rPr lang="en-US"/>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6380919" y="231669"/>
            <a:ext cx="3809504" cy="3144044"/>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87999" y="231669"/>
            <a:ext cx="3811091" cy="3144044"/>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609600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1">
            <a:extLst>
              <a:ext uri="{FF2B5EF4-FFF2-40B4-BE49-F238E27FC236}">
                <a16:creationId xmlns:a16="http://schemas.microsoft.com/office/drawing/2014/main" id="{4174D841-F2E5-EFB2-5B7C-4BF603920FBF}"/>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
        <p:nvSpPr>
          <p:cNvPr id="2" name="TextBox 1">
            <a:extLst>
              <a:ext uri="{FF2B5EF4-FFF2-40B4-BE49-F238E27FC236}">
                <a16:creationId xmlns:a16="http://schemas.microsoft.com/office/drawing/2014/main" id="{4F647688-828F-3931-CA2D-F0E73F9D0409}"/>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rgbClr val="000000"/>
                </a:solidFill>
                <a:latin typeface="IBM Plex Sans" panose="020B0503050203000203" pitchFamily="34" charset="0"/>
                <a:ea typeface="+mj-ea"/>
                <a:cs typeface="+mj-cs"/>
                <a:sym typeface="IBM Plex Sans Light"/>
              </a:rPr>
              <a:t>#IBMTechXchange</a:t>
            </a:r>
          </a:p>
        </p:txBody>
      </p:sp>
    </p:spTree>
    <p:extLst>
      <p:ext uri="{BB962C8B-B14F-4D97-AF65-F5344CB8AC3E}">
        <p14:creationId xmlns:p14="http://schemas.microsoft.com/office/powerpoint/2010/main" val="2917430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87963" y="288036"/>
            <a:ext cx="3811091" cy="3521964"/>
          </a:xfrm>
        </p:spPr>
        <p:txBody>
          <a:bodyPr/>
          <a:lstStyle>
            <a:lvl1pPr>
              <a:lnSpc>
                <a:spcPct val="100000"/>
              </a:lnSpc>
              <a:spcBef>
                <a:spcPts val="0"/>
              </a:spcBef>
              <a:defRPr sz="2100">
                <a:solidFill>
                  <a:schemeClr val="tx1"/>
                </a:solidFill>
              </a:defRPr>
            </a:lvl1pPr>
            <a:lvl2pPr marL="201128" indent="-201128">
              <a:lnSpc>
                <a:spcPct val="100000"/>
              </a:lnSpc>
              <a:spcBef>
                <a:spcPts val="0"/>
              </a:spcBef>
              <a:defRPr sz="2100">
                <a:solidFill>
                  <a:schemeClr val="tx1"/>
                </a:solidFill>
              </a:defRPr>
            </a:lvl2pPr>
            <a:lvl3pPr marL="402256" indent="-201128">
              <a:lnSpc>
                <a:spcPct val="100000"/>
              </a:lnSpc>
              <a:spcBef>
                <a:spcPts val="0"/>
              </a:spcBef>
              <a:defRPr sz="2100">
                <a:solidFill>
                  <a:schemeClr val="tx1"/>
                </a:solidFill>
              </a:defRPr>
            </a:lvl3pPr>
            <a:lvl4pPr marL="557672" indent="-201128">
              <a:lnSpc>
                <a:spcPct val="100000"/>
              </a:lnSpc>
              <a:spcBef>
                <a:spcPts val="0"/>
              </a:spcBef>
              <a:defRPr sz="21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87962" y="4814111"/>
            <a:ext cx="5524575" cy="1676533"/>
          </a:xfrm>
        </p:spPr>
        <p:txBody>
          <a:bodyPr anchor="b"/>
          <a:lstStyle>
            <a:lvl1pPr>
              <a:lnSpc>
                <a:spcPct val="90000"/>
              </a:lnSpc>
              <a:spcBef>
                <a:spcPts val="0"/>
              </a:spcBef>
              <a:defRPr sz="12597" b="0" i="0">
                <a:solidFill>
                  <a:schemeClr val="accent1"/>
                </a:solidFill>
                <a:latin typeface="IBM Plex Sans ExtLt" panose="020B0303050203000203" pitchFamily="34" charset="0"/>
              </a:defRPr>
            </a:lvl1pPr>
          </a:lstStyle>
          <a:p>
            <a:r>
              <a:rPr lang="en-US"/>
              <a:t>↗︎00M</a:t>
            </a:r>
          </a:p>
        </p:txBody>
      </p:sp>
      <p:cxnSp>
        <p:nvCxnSpPr>
          <p:cNvPr id="9" name="Straight Connector 8" descr="Vertical column divider">
            <a:extLst>
              <a:ext uri="{FF2B5EF4-FFF2-40B4-BE49-F238E27FC236}">
                <a16:creationId xmlns:a16="http://schemas.microsoft.com/office/drawing/2014/main" id="{1C44518A-7FBB-67DA-E35B-8BC0AAFC6062}"/>
              </a:ext>
            </a:extLst>
          </p:cNvPr>
          <p:cNvCxnSpPr>
            <a:cxnSpLocks/>
          </p:cNvCxnSpPr>
          <p:nvPr userDrawn="1"/>
        </p:nvCxnSpPr>
        <p:spPr bwMode="auto">
          <a:xfrm>
            <a:off x="6096000" y="284956"/>
            <a:ext cx="0" cy="581263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6389168" y="288036"/>
            <a:ext cx="3809504" cy="3521964"/>
          </a:xfrm>
        </p:spPr>
        <p:txBody>
          <a:bodyPr/>
          <a:lstStyle>
            <a:lvl1pPr>
              <a:lnSpc>
                <a:spcPct val="100000"/>
              </a:lnSpc>
              <a:spcBef>
                <a:spcPts val="0"/>
              </a:spcBef>
              <a:defRPr sz="2100">
                <a:solidFill>
                  <a:schemeClr val="tx1"/>
                </a:solidFill>
              </a:defRPr>
            </a:lvl1pPr>
            <a:lvl2pPr marL="201128" indent="-201128">
              <a:lnSpc>
                <a:spcPct val="100000"/>
              </a:lnSpc>
              <a:spcBef>
                <a:spcPts val="0"/>
              </a:spcBef>
              <a:defRPr sz="2100">
                <a:solidFill>
                  <a:schemeClr val="tx1"/>
                </a:solidFill>
              </a:defRPr>
            </a:lvl2pPr>
            <a:lvl3pPr marL="402256" indent="-201128">
              <a:lnSpc>
                <a:spcPct val="100000"/>
              </a:lnSpc>
              <a:spcBef>
                <a:spcPts val="0"/>
              </a:spcBef>
              <a:defRPr sz="2100">
                <a:solidFill>
                  <a:schemeClr val="tx1"/>
                </a:solidFill>
              </a:defRPr>
            </a:lvl3pPr>
            <a:lvl4pPr marL="557672" indent="-201128">
              <a:lnSpc>
                <a:spcPct val="100000"/>
              </a:lnSpc>
              <a:spcBef>
                <a:spcPts val="0"/>
              </a:spcBef>
              <a:defRPr sz="21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6389168" y="4814111"/>
            <a:ext cx="5523781" cy="1677147"/>
          </a:xfrm>
        </p:spPr>
        <p:txBody>
          <a:bodyPr anchor="b"/>
          <a:lstStyle>
            <a:lvl1pPr>
              <a:lnSpc>
                <a:spcPct val="90000"/>
              </a:lnSpc>
              <a:spcBef>
                <a:spcPts val="0"/>
              </a:spcBef>
              <a:defRPr sz="12597" b="0" i="0">
                <a:solidFill>
                  <a:schemeClr val="accent1"/>
                </a:solidFill>
                <a:latin typeface="IBM Plex Sans ExtLt" panose="020B0303050203000203" pitchFamily="34" charset="0"/>
              </a:defRPr>
            </a:lvl1pPr>
          </a:lstStyle>
          <a:p>
            <a:r>
              <a:rPr lang="en-US"/>
              <a:t>+00%</a:t>
            </a:r>
          </a:p>
        </p:txBody>
      </p:sp>
      <p:sp>
        <p:nvSpPr>
          <p:cNvPr id="2" name="Footer Placeholder 3">
            <a:extLst>
              <a:ext uri="{FF2B5EF4-FFF2-40B4-BE49-F238E27FC236}">
                <a16:creationId xmlns:a16="http://schemas.microsoft.com/office/drawing/2014/main" id="{21A64AF3-E67B-E80B-A5D3-6B3533C87F91}"/>
              </a:ext>
            </a:extLst>
          </p:cNvPr>
          <p:cNvSpPr>
            <a:spLocks noGrp="1"/>
          </p:cNvSpPr>
          <p:nvPr>
            <p:ph type="ftr" sz="quarter" idx="18"/>
          </p:nvPr>
        </p:nvSpPr>
        <p:spPr>
          <a:xfrm>
            <a:off x="287963" y="6408000"/>
            <a:ext cx="2477765" cy="190500"/>
          </a:xfrm>
        </p:spPr>
        <p:txBody>
          <a:bodyPr/>
          <a:lstStyle/>
          <a:p>
            <a:endParaRPr lang="en-US"/>
          </a:p>
        </p:txBody>
      </p:sp>
      <p:sp>
        <p:nvSpPr>
          <p:cNvPr id="5" name="Slide Number">
            <a:extLst>
              <a:ext uri="{FF2B5EF4-FFF2-40B4-BE49-F238E27FC236}">
                <a16:creationId xmlns:a16="http://schemas.microsoft.com/office/drawing/2014/main" id="{28C4F134-9B5D-407C-F525-B2FC25B7B5CD}"/>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859335713"/>
      </p:ext>
    </p:extLst>
  </p:cSld>
  <p:clrMapOvr>
    <a:masterClrMapping/>
  </p:clrMapOvr>
  <p:transition spd="med"/>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3 data callouts">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332507" y="194452"/>
            <a:ext cx="2474590" cy="953294"/>
          </a:xfrm>
        </p:spPr>
        <p:txBody>
          <a:bodyPr/>
          <a:lstStyle>
            <a:lvl1pPr>
              <a:lnSpc>
                <a:spcPct val="90000"/>
              </a:lnSpc>
              <a:defRPr sz="6499">
                <a:solidFill>
                  <a:schemeClr val="accent1"/>
                </a:solidFill>
              </a:defRPr>
            </a:lvl1pPr>
          </a:lstStyle>
          <a:p>
            <a:pPr lvl="0"/>
            <a:r>
              <a:rPr lang="en-US"/>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9377729" y="196038"/>
            <a:ext cx="2474590" cy="951707"/>
          </a:xfrm>
        </p:spPr>
        <p:txBody>
          <a:bodyPr/>
          <a:lstStyle>
            <a:lvl1pPr>
              <a:lnSpc>
                <a:spcPct val="90000"/>
              </a:lnSpc>
              <a:defRPr sz="6499">
                <a:solidFill>
                  <a:schemeClr val="accent1"/>
                </a:solidFill>
              </a:defRPr>
            </a:lvl1pPr>
          </a:lstStyle>
          <a:p>
            <a:pPr lvl="0"/>
            <a:r>
              <a:rPr lang="en-US"/>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282523" y="196095"/>
            <a:ext cx="2475384" cy="953956"/>
          </a:xfrm>
        </p:spPr>
        <p:txBody>
          <a:bodyPr/>
          <a:lstStyle>
            <a:lvl1pPr>
              <a:lnSpc>
                <a:spcPct val="90000"/>
              </a:lnSpc>
              <a:defRPr sz="6499">
                <a:solidFill>
                  <a:schemeClr val="accent1"/>
                </a:solidFill>
              </a:defRPr>
            </a:lvl1pPr>
            <a:lvl2pPr marL="0" indent="0">
              <a:buNone/>
              <a:defRPr/>
            </a:lvl2pPr>
          </a:lstStyle>
          <a:p>
            <a:pPr lvl="0"/>
            <a:r>
              <a:rPr lang="en-US"/>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31669"/>
            <a:ext cx="2474590" cy="1429544"/>
          </a:xfrm>
        </p:spPr>
        <p:txBody>
          <a:bodyPr/>
          <a:lstStyle>
            <a:lvl1pPr>
              <a:lnSpc>
                <a:spcPct val="110000"/>
              </a:lnSpc>
              <a:defRPr sz="18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3333316" y="1147745"/>
            <a:ext cx="2475384" cy="483652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1148538"/>
            <a:ext cx="2476178"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9428522" y="1147745"/>
            <a:ext cx="2476178"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DCF9F2DE-A139-192A-5995-E5A8DC450FDE}"/>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07208B3-738C-B63B-1AF3-D8CE9D85B8A6}"/>
              </a:ext>
            </a:extLst>
          </p:cNvPr>
          <p:cNvCxnSpPr/>
          <p:nvPr userDrawn="1"/>
        </p:nvCxnSpPr>
        <p:spPr bwMode="auto">
          <a:xfrm>
            <a:off x="9151036"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 name="Footer Placeholder 1">
            <a:extLst>
              <a:ext uri="{FF2B5EF4-FFF2-40B4-BE49-F238E27FC236}">
                <a16:creationId xmlns:a16="http://schemas.microsoft.com/office/drawing/2014/main" id="{9D17A823-2B35-9F67-4977-560B8AF64068}"/>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
        <p:nvSpPr>
          <p:cNvPr id="4" name="TextBox 3">
            <a:extLst>
              <a:ext uri="{FF2B5EF4-FFF2-40B4-BE49-F238E27FC236}">
                <a16:creationId xmlns:a16="http://schemas.microsoft.com/office/drawing/2014/main" id="{5E04F5B9-6747-E084-6221-DECE15120321}"/>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rgbClr val="000000"/>
                </a:solidFill>
                <a:latin typeface="IBM Plex Sans" panose="020B0503050203000203" pitchFamily="34" charset="0"/>
                <a:ea typeface="+mj-ea"/>
                <a:cs typeface="+mj-cs"/>
                <a:sym typeface="IBM Plex Sans Light"/>
              </a:rPr>
              <a:t>#IBMTechXchange</a:t>
            </a:r>
          </a:p>
        </p:txBody>
      </p:sp>
    </p:spTree>
    <p:extLst>
      <p:ext uri="{BB962C8B-B14F-4D97-AF65-F5344CB8AC3E}">
        <p14:creationId xmlns:p14="http://schemas.microsoft.com/office/powerpoint/2010/main" val="1006205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plain">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Title 1">
            <a:extLst>
              <a:ext uri="{FF2B5EF4-FFF2-40B4-BE49-F238E27FC236}">
                <a16:creationId xmlns:a16="http://schemas.microsoft.com/office/drawing/2014/main" id="{6733F7B7-5AD6-1E43-4FD9-3C700AC2CBD0}"/>
              </a:ext>
            </a:extLst>
          </p:cNvPr>
          <p:cNvSpPr>
            <a:spLocks noGrp="1"/>
          </p:cNvSpPr>
          <p:nvPr>
            <p:ph type="title"/>
          </p:nvPr>
        </p:nvSpPr>
        <p:spPr>
          <a:xfrm>
            <a:off x="269212" y="191937"/>
            <a:ext cx="7345034" cy="1429544"/>
          </a:xfrm>
        </p:spPr>
        <p:txBody>
          <a:bodyPr rIns="457200"/>
          <a:lstStyle>
            <a:lvl1pPr>
              <a:lnSpc>
                <a:spcPct val="100000"/>
              </a:lnSpc>
              <a:defRPr sz="3199">
                <a:solidFill>
                  <a:schemeClr val="tx2"/>
                </a:solidFill>
              </a:defRPr>
            </a:lvl1pPr>
          </a:lstStyle>
          <a:p>
            <a:r>
              <a:rPr lang="en-US"/>
              <a:t>Click to edit Master title style</a:t>
            </a:r>
          </a:p>
        </p:txBody>
      </p:sp>
      <p:sp>
        <p:nvSpPr>
          <p:cNvPr id="5" name="Footer Placeholder 1">
            <a:extLst>
              <a:ext uri="{FF2B5EF4-FFF2-40B4-BE49-F238E27FC236}">
                <a16:creationId xmlns:a16="http://schemas.microsoft.com/office/drawing/2014/main" id="{99C054CF-9453-850A-6B65-8421B4607965}"/>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 2024 IBM Corporation</a:t>
            </a:r>
          </a:p>
        </p:txBody>
      </p:sp>
    </p:spTree>
    <p:extLst>
      <p:ext uri="{BB962C8B-B14F-4D97-AF65-F5344CB8AC3E}">
        <p14:creationId xmlns:p14="http://schemas.microsoft.com/office/powerpoint/2010/main" val="3291197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Short title, plain">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Title 1">
            <a:extLst>
              <a:ext uri="{FF2B5EF4-FFF2-40B4-BE49-F238E27FC236}">
                <a16:creationId xmlns:a16="http://schemas.microsoft.com/office/drawing/2014/main" id="{6733F7B7-5AD6-1E43-4FD9-3C700AC2CBD0}"/>
              </a:ext>
            </a:extLst>
          </p:cNvPr>
          <p:cNvSpPr>
            <a:spLocks noGrp="1"/>
          </p:cNvSpPr>
          <p:nvPr>
            <p:ph type="title"/>
          </p:nvPr>
        </p:nvSpPr>
        <p:spPr>
          <a:xfrm>
            <a:off x="269212" y="191937"/>
            <a:ext cx="4299019" cy="1429544"/>
          </a:xfrm>
        </p:spPr>
        <p:txBody>
          <a:bodyPr rIns="457200"/>
          <a:lstStyle>
            <a:lvl1pPr>
              <a:lnSpc>
                <a:spcPct val="100000"/>
              </a:lnSpc>
              <a:defRPr sz="3199">
                <a:solidFill>
                  <a:schemeClr val="tx2"/>
                </a:solidFill>
              </a:defRPr>
            </a:lvl1pPr>
          </a:lstStyle>
          <a:p>
            <a:r>
              <a:rPr lang="en-US"/>
              <a:t>Click to edit Master title style</a:t>
            </a:r>
          </a:p>
        </p:txBody>
      </p:sp>
      <p:sp>
        <p:nvSpPr>
          <p:cNvPr id="5" name="Footer Placeholder 1">
            <a:extLst>
              <a:ext uri="{FF2B5EF4-FFF2-40B4-BE49-F238E27FC236}">
                <a16:creationId xmlns:a16="http://schemas.microsoft.com/office/drawing/2014/main" id="{8FFF437B-D167-4852-CD55-FDFC9AB2E932}"/>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
        <p:nvSpPr>
          <p:cNvPr id="2" name="TextBox 1">
            <a:extLst>
              <a:ext uri="{FF2B5EF4-FFF2-40B4-BE49-F238E27FC236}">
                <a16:creationId xmlns:a16="http://schemas.microsoft.com/office/drawing/2014/main" id="{8D43FEDF-E404-5E7B-71A7-E7E464680031}"/>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rgbClr val="000000"/>
                </a:solidFill>
                <a:latin typeface="IBM Plex Sans" panose="020B0503050203000203" pitchFamily="34" charset="0"/>
                <a:ea typeface="+mj-ea"/>
                <a:cs typeface="+mj-cs"/>
                <a:sym typeface="IBM Plex Sans Light"/>
              </a:rPr>
              <a:t>#IBMTechXchange</a:t>
            </a:r>
          </a:p>
        </p:txBody>
      </p:sp>
    </p:spTree>
    <p:extLst>
      <p:ext uri="{BB962C8B-B14F-4D97-AF65-F5344CB8AC3E}">
        <p14:creationId xmlns:p14="http://schemas.microsoft.com/office/powerpoint/2010/main" val="1833392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50545"/>
            <a:ext cx="2474590" cy="763524"/>
          </a:xfrm>
        </p:spPr>
        <p:txBody>
          <a:bodyPr/>
          <a:lstStyle>
            <a:lvl1pPr>
              <a:lnSpc>
                <a:spcPct val="110000"/>
              </a:lnSpc>
              <a:defRPr sz="1400">
                <a:solidFill>
                  <a:schemeClr val="tx2"/>
                </a:solidFill>
              </a:defRPr>
            </a:lvl1pPr>
          </a:lstStyle>
          <a:p>
            <a:r>
              <a:rPr lang="en-US"/>
              <a:t>Click to edit Master title style</a:t>
            </a:r>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 name="Footer Placeholder 1">
            <a:extLst>
              <a:ext uri="{FF2B5EF4-FFF2-40B4-BE49-F238E27FC236}">
                <a16:creationId xmlns:a16="http://schemas.microsoft.com/office/drawing/2014/main" id="{43A9828E-59C5-8F35-8188-B2E56BD7E973}"/>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
        <p:nvSpPr>
          <p:cNvPr id="3" name="TextBox 2">
            <a:extLst>
              <a:ext uri="{FF2B5EF4-FFF2-40B4-BE49-F238E27FC236}">
                <a16:creationId xmlns:a16="http://schemas.microsoft.com/office/drawing/2014/main" id="{0BE8AB1E-7BE5-87A1-C67B-79770E54EAF3}"/>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rgbClr val="000000"/>
                </a:solidFill>
                <a:latin typeface="IBM Plex Sans" panose="020B0503050203000203" pitchFamily="34" charset="0"/>
                <a:ea typeface="+mj-ea"/>
                <a:cs typeface="+mj-cs"/>
                <a:sym typeface="IBM Plex Sans Light"/>
              </a:rPr>
              <a:t>#IBMTechXchange</a:t>
            </a:r>
          </a:p>
        </p:txBody>
      </p:sp>
    </p:spTree>
    <p:extLst>
      <p:ext uri="{BB962C8B-B14F-4D97-AF65-F5344CB8AC3E}">
        <p14:creationId xmlns:p14="http://schemas.microsoft.com/office/powerpoint/2010/main" val="673784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Contacts, profiles, contributo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50545"/>
            <a:ext cx="2474590" cy="762794"/>
          </a:xfrm>
        </p:spPr>
        <p:txBody>
          <a:bodyPr/>
          <a:lstStyle>
            <a:lvl1pPr>
              <a:lnSpc>
                <a:spcPct val="110000"/>
              </a:lnSpc>
              <a:defRPr sz="1400">
                <a:solidFill>
                  <a:schemeClr val="tx2"/>
                </a:solidFill>
              </a:defRPr>
            </a:lvl1pPr>
          </a:lstStyle>
          <a:p>
            <a:r>
              <a:rPr lang="en-US"/>
              <a:t>Click to edit Master title style</a:t>
            </a:r>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87999" y="30607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714277" y="3023209"/>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87999" y="4762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714277" y="472501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87999" y="1333500"/>
            <a:ext cx="1236501" cy="1238250"/>
          </a:xfrm>
          <a:solidFill>
            <a:srgbClr val="E0E0E0"/>
          </a:solidFill>
        </p:spPr>
        <p:txBody>
          <a:bodyPr anchor="ctr"/>
          <a:lstStyle>
            <a:lvl1pPr algn="ctr">
              <a:defRPr>
                <a:solidFill>
                  <a:schemeClr val="accent5"/>
                </a:solidFill>
              </a:defRPr>
            </a:lvl1pPr>
          </a:lstStyle>
          <a:p>
            <a:r>
              <a:rPr lang="en-US"/>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714277" y="1296009"/>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6377745" y="30607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7807896" y="3023209"/>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6377745" y="4762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7807896" y="472501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6377745" y="1333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7807896" y="1296009"/>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 name="Footer Placeholder 1">
            <a:extLst>
              <a:ext uri="{FF2B5EF4-FFF2-40B4-BE49-F238E27FC236}">
                <a16:creationId xmlns:a16="http://schemas.microsoft.com/office/drawing/2014/main" id="{F111CE7A-DCC6-C6F9-EFAF-A6237664BAF1}"/>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
        <p:nvSpPr>
          <p:cNvPr id="3" name="TextBox 2">
            <a:extLst>
              <a:ext uri="{FF2B5EF4-FFF2-40B4-BE49-F238E27FC236}">
                <a16:creationId xmlns:a16="http://schemas.microsoft.com/office/drawing/2014/main" id="{FC4FB693-6326-4CEF-2C62-DAC9473FB9D4}"/>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rgbClr val="000000"/>
                </a:solidFill>
                <a:latin typeface="IBM Plex Sans" panose="020B0503050203000203" pitchFamily="34" charset="0"/>
                <a:ea typeface="+mj-ea"/>
                <a:cs typeface="+mj-cs"/>
                <a:sym typeface="IBM Plex Sans Light"/>
              </a:rPr>
              <a:t>#IBMTechXchange</a:t>
            </a:r>
          </a:p>
        </p:txBody>
      </p:sp>
    </p:spTree>
    <p:extLst>
      <p:ext uri="{BB962C8B-B14F-4D97-AF65-F5344CB8AC3E}">
        <p14:creationId xmlns:p14="http://schemas.microsoft.com/office/powerpoint/2010/main" val="2618110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Title 1">
            <a:extLst>
              <a:ext uri="{FF2B5EF4-FFF2-40B4-BE49-F238E27FC236}">
                <a16:creationId xmlns:a16="http://schemas.microsoft.com/office/drawing/2014/main" id="{6733F7B7-5AD6-1E43-4FD9-3C700AC2CBD0}"/>
              </a:ext>
            </a:extLst>
          </p:cNvPr>
          <p:cNvSpPr>
            <a:spLocks noGrp="1"/>
          </p:cNvSpPr>
          <p:nvPr>
            <p:ph type="title"/>
          </p:nvPr>
        </p:nvSpPr>
        <p:spPr>
          <a:xfrm>
            <a:off x="269212" y="191937"/>
            <a:ext cx="5539489" cy="1429544"/>
          </a:xfrm>
        </p:spPr>
        <p:txBody>
          <a:bodyPr rIns="457200"/>
          <a:lstStyle>
            <a:lvl1pPr>
              <a:lnSpc>
                <a:spcPct val="100000"/>
              </a:lnSpc>
              <a:defRPr sz="4299">
                <a:solidFill>
                  <a:schemeClr val="tx2"/>
                </a:solidFill>
              </a:defRPr>
            </a:lvl1pPr>
          </a:lstStyle>
          <a:p>
            <a:r>
              <a:rPr lang="en-US"/>
              <a:t>Click to edit Master title style</a:t>
            </a:r>
          </a:p>
        </p:txBody>
      </p:sp>
      <p:sp>
        <p:nvSpPr>
          <p:cNvPr id="5" name="Footer Placeholder 1">
            <a:extLst>
              <a:ext uri="{FF2B5EF4-FFF2-40B4-BE49-F238E27FC236}">
                <a16:creationId xmlns:a16="http://schemas.microsoft.com/office/drawing/2014/main" id="{C378BCC9-F931-23B3-1F50-B47B0061352C}"/>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
        <p:nvSpPr>
          <p:cNvPr id="2" name="Freeform: Shape 1">
            <a:extLst>
              <a:ext uri="{FF2B5EF4-FFF2-40B4-BE49-F238E27FC236}">
                <a16:creationId xmlns:a16="http://schemas.microsoft.com/office/drawing/2014/main" id="{C2871615-2A01-B503-6065-C98326F28A52}"/>
              </a:ext>
            </a:extLst>
          </p:cNvPr>
          <p:cNvSpPr/>
          <p:nvPr userDrawn="1"/>
        </p:nvSpPr>
        <p:spPr>
          <a:xfrm>
            <a:off x="2452540" y="2398530"/>
            <a:ext cx="649371" cy="638298"/>
          </a:xfrm>
          <a:custGeom>
            <a:avLst/>
            <a:gdLst>
              <a:gd name="connsiteX0" fmla="*/ 176617 w 348891"/>
              <a:gd name="connsiteY0" fmla="*/ 342898 h 342897"/>
              <a:gd name="connsiteX1" fmla="*/ 15895 w 348891"/>
              <a:gd name="connsiteY1" fmla="*/ 231255 h 342897"/>
              <a:gd name="connsiteX2" fmla="*/ 0 w 348891"/>
              <a:gd name="connsiteY2" fmla="*/ 216097 h 342897"/>
              <a:gd name="connsiteX3" fmla="*/ 15180 w 348891"/>
              <a:gd name="connsiteY3" fmla="*/ 200917 h 342897"/>
              <a:gd name="connsiteX4" fmla="*/ 30361 w 348891"/>
              <a:gd name="connsiteY4" fmla="*/ 216097 h 342897"/>
              <a:gd name="connsiteX5" fmla="*/ 23541 w 348891"/>
              <a:gd name="connsiteY5" fmla="*/ 228766 h 342897"/>
              <a:gd name="connsiteX6" fmla="*/ 176617 w 348891"/>
              <a:gd name="connsiteY6" fmla="*/ 334861 h 342897"/>
              <a:gd name="connsiteX7" fmla="*/ 330351 w 348891"/>
              <a:gd name="connsiteY7" fmla="*/ 220785 h 342897"/>
              <a:gd name="connsiteX8" fmla="*/ 257073 w 348891"/>
              <a:gd name="connsiteY8" fmla="*/ 259182 h 342897"/>
              <a:gd name="connsiteX9" fmla="*/ 171527 w 348891"/>
              <a:gd name="connsiteY9" fmla="*/ 186350 h 342897"/>
              <a:gd name="connsiteX10" fmla="*/ 159260 w 348891"/>
              <a:gd name="connsiteY10" fmla="*/ 171449 h 342897"/>
              <a:gd name="connsiteX11" fmla="*/ 169172 w 348891"/>
              <a:gd name="connsiteY11" fmla="*/ 157217 h 342897"/>
              <a:gd name="connsiteX12" fmla="*/ 89642 w 348891"/>
              <a:gd name="connsiteY12" fmla="*/ 90669 h 342897"/>
              <a:gd name="connsiteX13" fmla="*/ 11039 w 348891"/>
              <a:gd name="connsiteY13" fmla="*/ 171382 h 342897"/>
              <a:gd name="connsiteX14" fmla="*/ 11039 w 348891"/>
              <a:gd name="connsiteY14" fmla="*/ 171449 h 342897"/>
              <a:gd name="connsiteX15" fmla="*/ 2991 w 348891"/>
              <a:gd name="connsiteY15" fmla="*/ 171449 h 342897"/>
              <a:gd name="connsiteX16" fmla="*/ 2991 w 348891"/>
              <a:gd name="connsiteY16" fmla="*/ 171371 h 342897"/>
              <a:gd name="connsiteX17" fmla="*/ 172264 w 348891"/>
              <a:gd name="connsiteY17" fmla="*/ 0 h 342897"/>
              <a:gd name="connsiteX18" fmla="*/ 332986 w 348891"/>
              <a:gd name="connsiteY18" fmla="*/ 111631 h 342897"/>
              <a:gd name="connsiteX19" fmla="*/ 348892 w 348891"/>
              <a:gd name="connsiteY19" fmla="*/ 126790 h 342897"/>
              <a:gd name="connsiteX20" fmla="*/ 333711 w 348891"/>
              <a:gd name="connsiteY20" fmla="*/ 141970 h 342897"/>
              <a:gd name="connsiteX21" fmla="*/ 318531 w 348891"/>
              <a:gd name="connsiteY21" fmla="*/ 126790 h 342897"/>
              <a:gd name="connsiteX22" fmla="*/ 325351 w 348891"/>
              <a:gd name="connsiteY22" fmla="*/ 114121 h 342897"/>
              <a:gd name="connsiteX23" fmla="*/ 172264 w 348891"/>
              <a:gd name="connsiteY23" fmla="*/ 8037 h 342897"/>
              <a:gd name="connsiteX24" fmla="*/ 19801 w 348891"/>
              <a:gd name="connsiteY24" fmla="*/ 118239 h 342897"/>
              <a:gd name="connsiteX25" fmla="*/ 89631 w 348891"/>
              <a:gd name="connsiteY25" fmla="*/ 82633 h 342897"/>
              <a:gd name="connsiteX26" fmla="*/ 177208 w 348891"/>
              <a:gd name="connsiteY26" fmla="*/ 156525 h 342897"/>
              <a:gd name="connsiteX27" fmla="*/ 189621 w 348891"/>
              <a:gd name="connsiteY27" fmla="*/ 171449 h 342897"/>
              <a:gd name="connsiteX28" fmla="*/ 179564 w 348891"/>
              <a:gd name="connsiteY28" fmla="*/ 185736 h 342897"/>
              <a:gd name="connsiteX29" fmla="*/ 257062 w 348891"/>
              <a:gd name="connsiteY29" fmla="*/ 251135 h 342897"/>
              <a:gd name="connsiteX30" fmla="*/ 337819 w 348891"/>
              <a:gd name="connsiteY30" fmla="*/ 174663 h 342897"/>
              <a:gd name="connsiteX31" fmla="*/ 337841 w 348891"/>
              <a:gd name="connsiteY31" fmla="*/ 171438 h 342897"/>
              <a:gd name="connsiteX32" fmla="*/ 345889 w 348891"/>
              <a:gd name="connsiteY32" fmla="*/ 171438 h 342897"/>
              <a:gd name="connsiteX33" fmla="*/ 345878 w 348891"/>
              <a:gd name="connsiteY33" fmla="*/ 172532 h 342897"/>
              <a:gd name="connsiteX34" fmla="*/ 345889 w 348891"/>
              <a:gd name="connsiteY34" fmla="*/ 172532 h 342897"/>
              <a:gd name="connsiteX35" fmla="*/ 345856 w 348891"/>
              <a:gd name="connsiteY35" fmla="*/ 174842 h 342897"/>
              <a:gd name="connsiteX36" fmla="*/ 176617 w 348891"/>
              <a:gd name="connsiteY36" fmla="*/ 342898 h 342897"/>
              <a:gd name="connsiteX37" fmla="*/ 15180 w 348891"/>
              <a:gd name="connsiteY37" fmla="*/ 208953 h 342897"/>
              <a:gd name="connsiteX38" fmla="*/ 8037 w 348891"/>
              <a:gd name="connsiteY38" fmla="*/ 216097 h 342897"/>
              <a:gd name="connsiteX39" fmla="*/ 15180 w 348891"/>
              <a:gd name="connsiteY39" fmla="*/ 223241 h 342897"/>
              <a:gd name="connsiteX40" fmla="*/ 22324 w 348891"/>
              <a:gd name="connsiteY40" fmla="*/ 216097 h 342897"/>
              <a:gd name="connsiteX41" fmla="*/ 15180 w 348891"/>
              <a:gd name="connsiteY41" fmla="*/ 208953 h 342897"/>
              <a:gd name="connsiteX42" fmla="*/ 174440 w 348891"/>
              <a:gd name="connsiteY42" fmla="*/ 164305 h 342897"/>
              <a:gd name="connsiteX43" fmla="*/ 167297 w 348891"/>
              <a:gd name="connsiteY43" fmla="*/ 171449 h 342897"/>
              <a:gd name="connsiteX44" fmla="*/ 174440 w 348891"/>
              <a:gd name="connsiteY44" fmla="*/ 178593 h 342897"/>
              <a:gd name="connsiteX45" fmla="*/ 181584 w 348891"/>
              <a:gd name="connsiteY45" fmla="*/ 171449 h 342897"/>
              <a:gd name="connsiteX46" fmla="*/ 174440 w 348891"/>
              <a:gd name="connsiteY46" fmla="*/ 164305 h 342897"/>
              <a:gd name="connsiteX47" fmla="*/ 333711 w 348891"/>
              <a:gd name="connsiteY47" fmla="*/ 119657 h 342897"/>
              <a:gd name="connsiteX48" fmla="*/ 326568 w 348891"/>
              <a:gd name="connsiteY48" fmla="*/ 126801 h 342897"/>
              <a:gd name="connsiteX49" fmla="*/ 333711 w 348891"/>
              <a:gd name="connsiteY49" fmla="*/ 133944 h 342897"/>
              <a:gd name="connsiteX50" fmla="*/ 340855 w 348891"/>
              <a:gd name="connsiteY50" fmla="*/ 126801 h 342897"/>
              <a:gd name="connsiteX51" fmla="*/ 333711 w 348891"/>
              <a:gd name="connsiteY51" fmla="*/ 119657 h 34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48891" h="342897">
                <a:moveTo>
                  <a:pt x="176617" y="342898"/>
                </a:moveTo>
                <a:cubicBezTo>
                  <a:pt x="104945" y="342898"/>
                  <a:pt x="40786" y="298171"/>
                  <a:pt x="15895" y="231255"/>
                </a:cubicBezTo>
                <a:cubicBezTo>
                  <a:pt x="7579" y="231813"/>
                  <a:pt x="11" y="224703"/>
                  <a:pt x="0" y="216097"/>
                </a:cubicBezTo>
                <a:cubicBezTo>
                  <a:pt x="0" y="207725"/>
                  <a:pt x="6809" y="200917"/>
                  <a:pt x="15180" y="200917"/>
                </a:cubicBezTo>
                <a:cubicBezTo>
                  <a:pt x="23552" y="200917"/>
                  <a:pt x="30361" y="207725"/>
                  <a:pt x="30361" y="216097"/>
                </a:cubicBezTo>
                <a:cubicBezTo>
                  <a:pt x="30361" y="221388"/>
                  <a:pt x="27648" y="226053"/>
                  <a:pt x="23541" y="228766"/>
                </a:cubicBezTo>
                <a:cubicBezTo>
                  <a:pt x="47349" y="292367"/>
                  <a:pt x="108417" y="334861"/>
                  <a:pt x="176617" y="334861"/>
                </a:cubicBezTo>
                <a:cubicBezTo>
                  <a:pt x="248567" y="334861"/>
                  <a:pt x="309657" y="286853"/>
                  <a:pt x="330351" y="220785"/>
                </a:cubicBezTo>
                <a:cubicBezTo>
                  <a:pt x="314189" y="243779"/>
                  <a:pt x="287076" y="259182"/>
                  <a:pt x="257073" y="259182"/>
                </a:cubicBezTo>
                <a:cubicBezTo>
                  <a:pt x="214411" y="259182"/>
                  <a:pt x="178202" y="228096"/>
                  <a:pt x="171527" y="186350"/>
                </a:cubicBezTo>
                <a:cubicBezTo>
                  <a:pt x="164540" y="184977"/>
                  <a:pt x="159260" y="178827"/>
                  <a:pt x="159260" y="171449"/>
                </a:cubicBezTo>
                <a:cubicBezTo>
                  <a:pt x="159260" y="164930"/>
                  <a:pt x="163390" y="159360"/>
                  <a:pt x="169172" y="157217"/>
                </a:cubicBezTo>
                <a:cubicBezTo>
                  <a:pt x="162385" y="119032"/>
                  <a:pt x="128821" y="90669"/>
                  <a:pt x="89642" y="90669"/>
                </a:cubicBezTo>
                <a:cubicBezTo>
                  <a:pt x="45586" y="90669"/>
                  <a:pt x="11062" y="126120"/>
                  <a:pt x="11039" y="171382"/>
                </a:cubicBezTo>
                <a:cubicBezTo>
                  <a:pt x="11039" y="171404"/>
                  <a:pt x="11039" y="171426"/>
                  <a:pt x="11039" y="171449"/>
                </a:cubicBezTo>
                <a:lnTo>
                  <a:pt x="2991" y="171449"/>
                </a:lnTo>
                <a:cubicBezTo>
                  <a:pt x="2991" y="171426"/>
                  <a:pt x="2991" y="171404"/>
                  <a:pt x="2991" y="171371"/>
                </a:cubicBezTo>
                <a:cubicBezTo>
                  <a:pt x="3036" y="76862"/>
                  <a:pt x="78949" y="0"/>
                  <a:pt x="172264" y="0"/>
                </a:cubicBezTo>
                <a:cubicBezTo>
                  <a:pt x="243924" y="0"/>
                  <a:pt x="308083" y="44715"/>
                  <a:pt x="332986" y="111631"/>
                </a:cubicBezTo>
                <a:cubicBezTo>
                  <a:pt x="341659" y="111252"/>
                  <a:pt x="348892" y="118184"/>
                  <a:pt x="348892" y="126790"/>
                </a:cubicBezTo>
                <a:cubicBezTo>
                  <a:pt x="348892" y="135161"/>
                  <a:pt x="342083" y="141970"/>
                  <a:pt x="333711" y="141970"/>
                </a:cubicBezTo>
                <a:cubicBezTo>
                  <a:pt x="325340" y="141970"/>
                  <a:pt x="318531" y="135161"/>
                  <a:pt x="318531" y="126790"/>
                </a:cubicBezTo>
                <a:cubicBezTo>
                  <a:pt x="318531" y="121510"/>
                  <a:pt x="321243" y="116844"/>
                  <a:pt x="325351" y="114121"/>
                </a:cubicBezTo>
                <a:cubicBezTo>
                  <a:pt x="301542" y="50519"/>
                  <a:pt x="240475" y="8037"/>
                  <a:pt x="172264" y="8037"/>
                </a:cubicBezTo>
                <a:cubicBezTo>
                  <a:pt x="101731" y="8037"/>
                  <a:pt x="41623" y="54181"/>
                  <a:pt x="19801" y="118239"/>
                </a:cubicBezTo>
                <a:cubicBezTo>
                  <a:pt x="35451" y="96485"/>
                  <a:pt x="60677" y="82633"/>
                  <a:pt x="89631" y="82633"/>
                </a:cubicBezTo>
                <a:cubicBezTo>
                  <a:pt x="132951" y="82633"/>
                  <a:pt x="170042" y="114176"/>
                  <a:pt x="177208" y="156525"/>
                </a:cubicBezTo>
                <a:cubicBezTo>
                  <a:pt x="184263" y="157820"/>
                  <a:pt x="189621" y="164026"/>
                  <a:pt x="189621" y="171449"/>
                </a:cubicBezTo>
                <a:cubicBezTo>
                  <a:pt x="189621" y="178023"/>
                  <a:pt x="185424" y="183638"/>
                  <a:pt x="179564" y="185736"/>
                </a:cubicBezTo>
                <a:cubicBezTo>
                  <a:pt x="185892" y="223274"/>
                  <a:pt x="218586" y="251135"/>
                  <a:pt x="257062" y="251135"/>
                </a:cubicBezTo>
                <a:cubicBezTo>
                  <a:pt x="300114" y="251135"/>
                  <a:pt x="336613" y="216331"/>
                  <a:pt x="337819" y="174663"/>
                </a:cubicBezTo>
                <a:cubicBezTo>
                  <a:pt x="337830" y="173592"/>
                  <a:pt x="337841" y="172520"/>
                  <a:pt x="337841" y="171438"/>
                </a:cubicBezTo>
                <a:lnTo>
                  <a:pt x="345889" y="171438"/>
                </a:lnTo>
                <a:cubicBezTo>
                  <a:pt x="345889" y="171806"/>
                  <a:pt x="345889" y="172163"/>
                  <a:pt x="345878" y="172532"/>
                </a:cubicBezTo>
                <a:lnTo>
                  <a:pt x="345889" y="172532"/>
                </a:lnTo>
                <a:cubicBezTo>
                  <a:pt x="345889" y="173302"/>
                  <a:pt x="345878" y="174072"/>
                  <a:pt x="345856" y="174842"/>
                </a:cubicBezTo>
                <a:cubicBezTo>
                  <a:pt x="344058" y="267822"/>
                  <a:pt x="268826" y="342898"/>
                  <a:pt x="176617" y="342898"/>
                </a:cubicBezTo>
                <a:close/>
                <a:moveTo>
                  <a:pt x="15180" y="208953"/>
                </a:moveTo>
                <a:cubicBezTo>
                  <a:pt x="11240" y="208953"/>
                  <a:pt x="8037" y="212157"/>
                  <a:pt x="8037" y="216097"/>
                </a:cubicBezTo>
                <a:cubicBezTo>
                  <a:pt x="8037" y="220037"/>
                  <a:pt x="11240" y="223241"/>
                  <a:pt x="15180" y="223241"/>
                </a:cubicBezTo>
                <a:cubicBezTo>
                  <a:pt x="19121" y="223241"/>
                  <a:pt x="22324" y="220037"/>
                  <a:pt x="22324" y="216097"/>
                </a:cubicBezTo>
                <a:cubicBezTo>
                  <a:pt x="22324" y="212157"/>
                  <a:pt x="19121" y="208953"/>
                  <a:pt x="15180" y="208953"/>
                </a:cubicBezTo>
                <a:close/>
                <a:moveTo>
                  <a:pt x="174440" y="164305"/>
                </a:moveTo>
                <a:cubicBezTo>
                  <a:pt x="170500" y="164305"/>
                  <a:pt x="167297" y="167509"/>
                  <a:pt x="167297" y="171449"/>
                </a:cubicBezTo>
                <a:cubicBezTo>
                  <a:pt x="167297" y="175389"/>
                  <a:pt x="170500" y="178593"/>
                  <a:pt x="174440" y="178593"/>
                </a:cubicBezTo>
                <a:cubicBezTo>
                  <a:pt x="178380" y="178593"/>
                  <a:pt x="181584" y="175389"/>
                  <a:pt x="181584" y="171449"/>
                </a:cubicBezTo>
                <a:cubicBezTo>
                  <a:pt x="181584" y="167509"/>
                  <a:pt x="178380" y="164305"/>
                  <a:pt x="174440" y="164305"/>
                </a:cubicBezTo>
                <a:close/>
                <a:moveTo>
                  <a:pt x="333711" y="119657"/>
                </a:moveTo>
                <a:cubicBezTo>
                  <a:pt x="329771" y="119657"/>
                  <a:pt x="326568" y="122860"/>
                  <a:pt x="326568" y="126801"/>
                </a:cubicBezTo>
                <a:cubicBezTo>
                  <a:pt x="326568" y="130741"/>
                  <a:pt x="329771" y="133944"/>
                  <a:pt x="333711" y="133944"/>
                </a:cubicBezTo>
                <a:cubicBezTo>
                  <a:pt x="337651" y="133944"/>
                  <a:pt x="340855" y="130741"/>
                  <a:pt x="340855" y="126801"/>
                </a:cubicBezTo>
                <a:cubicBezTo>
                  <a:pt x="340855" y="122860"/>
                  <a:pt x="337640" y="119657"/>
                  <a:pt x="333711" y="119657"/>
                </a:cubicBezTo>
                <a:close/>
              </a:path>
            </a:pathLst>
          </a:custGeom>
          <a:solidFill>
            <a:srgbClr val="000000"/>
          </a:solidFill>
          <a:ln w="11013" cap="flat">
            <a:noFill/>
            <a:prstDash val="solid"/>
            <a:miter/>
          </a:ln>
        </p:spPr>
        <p:txBody>
          <a:bodyPr rtlCol="0" anchor="ctr"/>
          <a:lstStyle/>
          <a:p>
            <a:endParaRPr lang="en-US" sz="900"/>
          </a:p>
        </p:txBody>
      </p:sp>
      <p:sp>
        <p:nvSpPr>
          <p:cNvPr id="6" name="Freeform: Shape 5">
            <a:extLst>
              <a:ext uri="{FF2B5EF4-FFF2-40B4-BE49-F238E27FC236}">
                <a16:creationId xmlns:a16="http://schemas.microsoft.com/office/drawing/2014/main" id="{37DF9860-FF2D-0A68-2FDB-4248E911B147}"/>
              </a:ext>
            </a:extLst>
          </p:cNvPr>
          <p:cNvSpPr/>
          <p:nvPr userDrawn="1"/>
        </p:nvSpPr>
        <p:spPr>
          <a:xfrm>
            <a:off x="4701317" y="1978219"/>
            <a:ext cx="644828" cy="638298"/>
          </a:xfrm>
          <a:custGeom>
            <a:avLst/>
            <a:gdLst>
              <a:gd name="connsiteX0" fmla="*/ 716288 w 1432576"/>
              <a:gd name="connsiteY0" fmla="*/ 0 h 1417883"/>
              <a:gd name="connsiteX1" fmla="*/ 716288 w 1432576"/>
              <a:gd name="connsiteY1" fmla="*/ 0 h 1417883"/>
              <a:gd name="connsiteX2" fmla="*/ 0 w 1432576"/>
              <a:gd name="connsiteY2" fmla="*/ 0 h 1417883"/>
              <a:gd name="connsiteX3" fmla="*/ 716288 w 1432576"/>
              <a:gd name="connsiteY3" fmla="*/ 708941 h 1417883"/>
              <a:gd name="connsiteX4" fmla="*/ 0 w 1432576"/>
              <a:gd name="connsiteY4" fmla="*/ 1417883 h 1417883"/>
              <a:gd name="connsiteX5" fmla="*/ 716288 w 1432576"/>
              <a:gd name="connsiteY5" fmla="*/ 1417883 h 1417883"/>
              <a:gd name="connsiteX6" fmla="*/ 716288 w 1432576"/>
              <a:gd name="connsiteY6" fmla="*/ 1417883 h 1417883"/>
              <a:gd name="connsiteX7" fmla="*/ 1432576 w 1432576"/>
              <a:gd name="connsiteY7" fmla="*/ 708941 h 1417883"/>
              <a:gd name="connsiteX8" fmla="*/ 716288 w 1432576"/>
              <a:gd name="connsiteY8" fmla="*/ 708941 h 1417883"/>
              <a:gd name="connsiteX9" fmla="*/ 716288 w 1432576"/>
              <a:gd name="connsiteY9" fmla="*/ 708941 h 1417883"/>
              <a:gd name="connsiteX10" fmla="*/ 1432576 w 1432576"/>
              <a:gd name="connsiteY10" fmla="*/ 708941 h 141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32576" h="1417883">
                <a:moveTo>
                  <a:pt x="716288" y="0"/>
                </a:moveTo>
                <a:lnTo>
                  <a:pt x="716288" y="0"/>
                </a:lnTo>
                <a:lnTo>
                  <a:pt x="0" y="0"/>
                </a:lnTo>
                <a:lnTo>
                  <a:pt x="716288" y="708941"/>
                </a:lnTo>
                <a:lnTo>
                  <a:pt x="0" y="1417883"/>
                </a:lnTo>
                <a:lnTo>
                  <a:pt x="716288" y="1417883"/>
                </a:lnTo>
                <a:lnTo>
                  <a:pt x="716288" y="1417883"/>
                </a:lnTo>
                <a:lnTo>
                  <a:pt x="1432576" y="708941"/>
                </a:lnTo>
                <a:lnTo>
                  <a:pt x="716288" y="708941"/>
                </a:lnTo>
                <a:lnTo>
                  <a:pt x="716288" y="708941"/>
                </a:lnTo>
                <a:lnTo>
                  <a:pt x="1432576" y="708941"/>
                </a:lnTo>
                <a:close/>
              </a:path>
            </a:pathLst>
          </a:custGeom>
          <a:solidFill>
            <a:schemeClr val="accent6"/>
          </a:solidFill>
          <a:ln w="7342" cap="flat">
            <a:noFill/>
            <a:prstDash val="solid"/>
            <a:miter/>
          </a:ln>
        </p:spPr>
        <p:txBody>
          <a:bodyPr rtlCol="0" anchor="ctr"/>
          <a:lstStyle/>
          <a:p>
            <a:endParaRPr lang="uk-UA" sz="900"/>
          </a:p>
        </p:txBody>
      </p:sp>
      <p:sp>
        <p:nvSpPr>
          <p:cNvPr id="10" name="Picture Placeholder 3">
            <a:extLst>
              <a:ext uri="{FF2B5EF4-FFF2-40B4-BE49-F238E27FC236}">
                <a16:creationId xmlns:a16="http://schemas.microsoft.com/office/drawing/2014/main" id="{17504274-0FF6-88F8-BEB9-DA628BA81375}"/>
              </a:ext>
            </a:extLst>
          </p:cNvPr>
          <p:cNvSpPr>
            <a:spLocks noGrp="1"/>
          </p:cNvSpPr>
          <p:nvPr>
            <p:ph type="pic" sz="quarter" idx="11" hasCustomPrompt="1"/>
          </p:nvPr>
        </p:nvSpPr>
        <p:spPr>
          <a:xfrm>
            <a:off x="2916909" y="1965092"/>
            <a:ext cx="2242668" cy="2242960"/>
          </a:xfrm>
          <a:prstGeom prst="ellipse">
            <a:avLst/>
          </a:prstGeom>
          <a:solidFill>
            <a:srgbClr val="E0E0E0"/>
          </a:solidFill>
        </p:spPr>
        <p:txBody>
          <a:bodyPr anchor="ctr"/>
          <a:lstStyle>
            <a:lvl1pPr algn="ctr">
              <a:defRPr>
                <a:solidFill>
                  <a:schemeClr val="accent5"/>
                </a:solidFill>
              </a:defRPr>
            </a:lvl1pPr>
          </a:lstStyle>
          <a:p>
            <a:r>
              <a:rPr lang="en-US"/>
              <a:t>Place imagery here</a:t>
            </a:r>
          </a:p>
        </p:txBody>
      </p:sp>
      <p:sp>
        <p:nvSpPr>
          <p:cNvPr id="11" name="Freeform: Shape 10">
            <a:extLst>
              <a:ext uri="{FF2B5EF4-FFF2-40B4-BE49-F238E27FC236}">
                <a16:creationId xmlns:a16="http://schemas.microsoft.com/office/drawing/2014/main" id="{CD59BB12-14A4-D953-6BDA-A30184BB25AB}"/>
              </a:ext>
            </a:extLst>
          </p:cNvPr>
          <p:cNvSpPr>
            <a:spLocks noChangeAspect="1"/>
          </p:cNvSpPr>
          <p:nvPr userDrawn="1"/>
        </p:nvSpPr>
        <p:spPr>
          <a:xfrm>
            <a:off x="2677196" y="3539951"/>
            <a:ext cx="1106238" cy="1101539"/>
          </a:xfrm>
          <a:custGeom>
            <a:avLst/>
            <a:gdLst>
              <a:gd name="connsiteX0" fmla="*/ 1002803 w 1998994"/>
              <a:gd name="connsiteY0" fmla="*/ 1581041 h 1990243"/>
              <a:gd name="connsiteX1" fmla="*/ 1247443 w 1998994"/>
              <a:gd name="connsiteY1" fmla="*/ 1338605 h 1990243"/>
              <a:gd name="connsiteX2" fmla="*/ 1002803 w 1998994"/>
              <a:gd name="connsiteY2" fmla="*/ 1096169 h 1990243"/>
              <a:gd name="connsiteX3" fmla="*/ 758163 w 1998994"/>
              <a:gd name="connsiteY3" fmla="*/ 1338605 h 1990243"/>
              <a:gd name="connsiteX4" fmla="*/ 1002803 w 1998994"/>
              <a:gd name="connsiteY4" fmla="*/ 1581041 h 1990243"/>
              <a:gd name="connsiteX5" fmla="*/ 1011619 w 1998994"/>
              <a:gd name="connsiteY5" fmla="*/ 1892534 h 1990243"/>
              <a:gd name="connsiteX6" fmla="*/ 1579507 w 1998994"/>
              <a:gd name="connsiteY6" fmla="*/ 1337870 h 1990243"/>
              <a:gd name="connsiteX7" fmla="*/ 1011619 w 1998994"/>
              <a:gd name="connsiteY7" fmla="*/ 782471 h 1990243"/>
              <a:gd name="connsiteX8" fmla="*/ 443731 w 1998994"/>
              <a:gd name="connsiteY8" fmla="*/ 1337136 h 1990243"/>
              <a:gd name="connsiteX9" fmla="*/ 1011619 w 1998994"/>
              <a:gd name="connsiteY9" fmla="*/ 1892534 h 1990243"/>
              <a:gd name="connsiteX10" fmla="*/ 0 w 1998994"/>
              <a:gd name="connsiteY10" fmla="*/ 1321708 h 1990243"/>
              <a:gd name="connsiteX11" fmla="*/ 999865 w 1998994"/>
              <a:gd name="connsiteY11" fmla="*/ 660519 h 1990243"/>
              <a:gd name="connsiteX12" fmla="*/ 1998260 w 1998994"/>
              <a:gd name="connsiteY12" fmla="*/ 1329055 h 1990243"/>
              <a:gd name="connsiteX13" fmla="*/ 999865 w 1998994"/>
              <a:gd name="connsiteY13" fmla="*/ 1990244 h 1990243"/>
              <a:gd name="connsiteX14" fmla="*/ 0 w 1998994"/>
              <a:gd name="connsiteY14" fmla="*/ 1321708 h 1990243"/>
              <a:gd name="connsiteX15" fmla="*/ 372470 w 1998994"/>
              <a:gd name="connsiteY15" fmla="*/ 197686 h 1990243"/>
              <a:gd name="connsiteX16" fmla="*/ 999865 w 1998994"/>
              <a:gd name="connsiteY16" fmla="*/ 64 h 1990243"/>
              <a:gd name="connsiteX17" fmla="*/ 1627260 w 1998994"/>
              <a:gd name="connsiteY17" fmla="*/ 197686 h 1990243"/>
              <a:gd name="connsiteX18" fmla="*/ 1998995 w 1998994"/>
              <a:gd name="connsiteY18" fmla="*/ 598808 h 1990243"/>
              <a:gd name="connsiteX19" fmla="*/ 1998995 w 1998994"/>
              <a:gd name="connsiteY19" fmla="*/ 796430 h 1990243"/>
              <a:gd name="connsiteX20" fmla="*/ 1550856 w 1998994"/>
              <a:gd name="connsiteY20" fmla="*/ 470978 h 1990243"/>
              <a:gd name="connsiteX21" fmla="*/ 999865 w 1998994"/>
              <a:gd name="connsiteY21" fmla="*/ 346087 h 1990243"/>
              <a:gd name="connsiteX22" fmla="*/ 448874 w 1998994"/>
              <a:gd name="connsiteY22" fmla="*/ 470978 h 1990243"/>
              <a:gd name="connsiteX23" fmla="*/ 734 w 1998994"/>
              <a:gd name="connsiteY23" fmla="*/ 796430 h 1990243"/>
              <a:gd name="connsiteX24" fmla="*/ 734 w 1998994"/>
              <a:gd name="connsiteY24" fmla="*/ 598808 h 1990243"/>
              <a:gd name="connsiteX25" fmla="*/ 372470 w 1998994"/>
              <a:gd name="connsiteY25" fmla="*/ 197686 h 1990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998994" h="1990243">
                <a:moveTo>
                  <a:pt x="1002803" y="1581041"/>
                </a:moveTo>
                <a:cubicBezTo>
                  <a:pt x="1137980" y="1581041"/>
                  <a:pt x="1247443" y="1472312"/>
                  <a:pt x="1247443" y="1338605"/>
                </a:cubicBezTo>
                <a:cubicBezTo>
                  <a:pt x="1247443" y="1204163"/>
                  <a:pt x="1137980" y="1096169"/>
                  <a:pt x="1002803" y="1096169"/>
                </a:cubicBezTo>
                <a:cubicBezTo>
                  <a:pt x="867627" y="1096169"/>
                  <a:pt x="758163" y="1204898"/>
                  <a:pt x="758163" y="1338605"/>
                </a:cubicBezTo>
                <a:cubicBezTo>
                  <a:pt x="757429" y="1472312"/>
                  <a:pt x="867627" y="1581041"/>
                  <a:pt x="1002803" y="1581041"/>
                </a:cubicBezTo>
                <a:close/>
                <a:moveTo>
                  <a:pt x="1011619" y="1892534"/>
                </a:moveTo>
                <a:cubicBezTo>
                  <a:pt x="1325317" y="1892534"/>
                  <a:pt x="1579507" y="1644221"/>
                  <a:pt x="1579507" y="1337870"/>
                </a:cubicBezTo>
                <a:cubicBezTo>
                  <a:pt x="1579507" y="1031520"/>
                  <a:pt x="1325317" y="782471"/>
                  <a:pt x="1011619" y="782471"/>
                </a:cubicBezTo>
                <a:cubicBezTo>
                  <a:pt x="697922" y="782471"/>
                  <a:pt x="443731" y="1030785"/>
                  <a:pt x="443731" y="1337136"/>
                </a:cubicBezTo>
                <a:cubicBezTo>
                  <a:pt x="443731" y="1643487"/>
                  <a:pt x="697187" y="1892534"/>
                  <a:pt x="1011619" y="1892534"/>
                </a:cubicBezTo>
                <a:close/>
                <a:moveTo>
                  <a:pt x="0" y="1321708"/>
                </a:moveTo>
                <a:cubicBezTo>
                  <a:pt x="0" y="1321708"/>
                  <a:pt x="230681" y="660519"/>
                  <a:pt x="999865" y="660519"/>
                </a:cubicBezTo>
                <a:cubicBezTo>
                  <a:pt x="1769048" y="660519"/>
                  <a:pt x="1998260" y="1329055"/>
                  <a:pt x="1998260" y="1329055"/>
                </a:cubicBezTo>
                <a:cubicBezTo>
                  <a:pt x="1998260" y="1329055"/>
                  <a:pt x="1771252" y="1990244"/>
                  <a:pt x="999865" y="1990244"/>
                </a:cubicBezTo>
                <a:cubicBezTo>
                  <a:pt x="228477" y="1990244"/>
                  <a:pt x="0" y="1321708"/>
                  <a:pt x="0" y="1321708"/>
                </a:cubicBezTo>
                <a:close/>
                <a:moveTo>
                  <a:pt x="372470" y="197686"/>
                </a:moveTo>
                <a:cubicBezTo>
                  <a:pt x="634741" y="1534"/>
                  <a:pt x="951378" y="-670"/>
                  <a:pt x="999865" y="64"/>
                </a:cubicBezTo>
                <a:cubicBezTo>
                  <a:pt x="1048352" y="-670"/>
                  <a:pt x="1364988" y="1534"/>
                  <a:pt x="1627260" y="197686"/>
                </a:cubicBezTo>
                <a:cubicBezTo>
                  <a:pt x="1911571" y="410736"/>
                  <a:pt x="1998995" y="598808"/>
                  <a:pt x="1998995" y="598808"/>
                </a:cubicBezTo>
                <a:lnTo>
                  <a:pt x="1998995" y="796430"/>
                </a:lnTo>
                <a:cubicBezTo>
                  <a:pt x="1998995" y="796430"/>
                  <a:pt x="1821208" y="595135"/>
                  <a:pt x="1550856" y="470978"/>
                </a:cubicBezTo>
                <a:cubicBezTo>
                  <a:pt x="1304012" y="357841"/>
                  <a:pt x="1043209" y="346821"/>
                  <a:pt x="999865" y="346087"/>
                </a:cubicBezTo>
                <a:cubicBezTo>
                  <a:pt x="956520" y="346821"/>
                  <a:pt x="695718" y="357841"/>
                  <a:pt x="448874" y="470978"/>
                </a:cubicBezTo>
                <a:cubicBezTo>
                  <a:pt x="178521" y="595135"/>
                  <a:pt x="734" y="796430"/>
                  <a:pt x="734" y="796430"/>
                </a:cubicBezTo>
                <a:lnTo>
                  <a:pt x="734" y="598808"/>
                </a:lnTo>
                <a:cubicBezTo>
                  <a:pt x="0" y="598808"/>
                  <a:pt x="88159" y="410736"/>
                  <a:pt x="372470" y="197686"/>
                </a:cubicBezTo>
                <a:close/>
              </a:path>
            </a:pathLst>
          </a:custGeom>
          <a:solidFill>
            <a:srgbClr val="6FDC8C"/>
          </a:solidFill>
          <a:ln w="7342" cap="flat">
            <a:noFill/>
            <a:prstDash val="solid"/>
            <a:miter/>
          </a:ln>
        </p:spPr>
        <p:txBody>
          <a:bodyPr rtlCol="0" anchor="ctr"/>
          <a:lstStyle/>
          <a:p>
            <a:endParaRPr lang="uk-UA" sz="900"/>
          </a:p>
        </p:txBody>
      </p:sp>
      <p:sp>
        <p:nvSpPr>
          <p:cNvPr id="12" name="Freeform: Shape 11">
            <a:extLst>
              <a:ext uri="{FF2B5EF4-FFF2-40B4-BE49-F238E27FC236}">
                <a16:creationId xmlns:a16="http://schemas.microsoft.com/office/drawing/2014/main" id="{4F97D62B-7DAA-1CE4-47AE-F1EFEA179E91}"/>
              </a:ext>
            </a:extLst>
          </p:cNvPr>
          <p:cNvSpPr/>
          <p:nvPr userDrawn="1"/>
        </p:nvSpPr>
        <p:spPr>
          <a:xfrm>
            <a:off x="5252852" y="3054862"/>
            <a:ext cx="535674" cy="535744"/>
          </a:xfrm>
          <a:custGeom>
            <a:avLst/>
            <a:gdLst>
              <a:gd name="connsiteX0" fmla="*/ 716288 w 1432576"/>
              <a:gd name="connsiteY0" fmla="*/ 1432576 h 1432576"/>
              <a:gd name="connsiteX1" fmla="*/ 0 w 1432576"/>
              <a:gd name="connsiteY1" fmla="*/ 716288 h 1432576"/>
              <a:gd name="connsiteX2" fmla="*/ 0 w 1432576"/>
              <a:gd name="connsiteY2" fmla="*/ 1432576 h 1432576"/>
              <a:gd name="connsiteX3" fmla="*/ 716288 w 1432576"/>
              <a:gd name="connsiteY3" fmla="*/ 1432576 h 1432576"/>
              <a:gd name="connsiteX4" fmla="*/ 716288 w 1432576"/>
              <a:gd name="connsiteY4" fmla="*/ 1432576 h 1432576"/>
              <a:gd name="connsiteX5" fmla="*/ 1432576 w 1432576"/>
              <a:gd name="connsiteY5" fmla="*/ 716288 h 1432576"/>
              <a:gd name="connsiteX6" fmla="*/ 1432576 w 1432576"/>
              <a:gd name="connsiteY6" fmla="*/ 1432576 h 1432576"/>
              <a:gd name="connsiteX7" fmla="*/ 716288 w 1432576"/>
              <a:gd name="connsiteY7" fmla="*/ 1432576 h 1432576"/>
              <a:gd name="connsiteX8" fmla="*/ 1432576 w 1432576"/>
              <a:gd name="connsiteY8" fmla="*/ 0 h 1432576"/>
              <a:gd name="connsiteX9" fmla="*/ 1432576 w 1432576"/>
              <a:gd name="connsiteY9" fmla="*/ 716288 h 1432576"/>
              <a:gd name="connsiteX10" fmla="*/ 716288 w 1432576"/>
              <a:gd name="connsiteY10" fmla="*/ 0 h 1432576"/>
              <a:gd name="connsiteX11" fmla="*/ 0 w 1432576"/>
              <a:gd name="connsiteY11" fmla="*/ 716288 h 1432576"/>
              <a:gd name="connsiteX12" fmla="*/ 0 w 1432576"/>
              <a:gd name="connsiteY12" fmla="*/ 0 h 1432576"/>
              <a:gd name="connsiteX13" fmla="*/ 716288 w 1432576"/>
              <a:gd name="connsiteY13" fmla="*/ 0 h 1432576"/>
              <a:gd name="connsiteX14" fmla="*/ 716288 w 1432576"/>
              <a:gd name="connsiteY14" fmla="*/ 0 h 1432576"/>
              <a:gd name="connsiteX15" fmla="*/ 1432576 w 1432576"/>
              <a:gd name="connsiteY15" fmla="*/ 0 h 143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32576" h="1432576">
                <a:moveTo>
                  <a:pt x="716288" y="1432576"/>
                </a:moveTo>
                <a:lnTo>
                  <a:pt x="0" y="716288"/>
                </a:lnTo>
                <a:lnTo>
                  <a:pt x="0" y="1432576"/>
                </a:lnTo>
                <a:lnTo>
                  <a:pt x="716288" y="1432576"/>
                </a:lnTo>
                <a:close/>
                <a:moveTo>
                  <a:pt x="716288" y="1432576"/>
                </a:moveTo>
                <a:lnTo>
                  <a:pt x="1432576" y="716288"/>
                </a:lnTo>
                <a:lnTo>
                  <a:pt x="1432576" y="1432576"/>
                </a:lnTo>
                <a:lnTo>
                  <a:pt x="716288" y="1432576"/>
                </a:lnTo>
                <a:close/>
                <a:moveTo>
                  <a:pt x="1432576" y="0"/>
                </a:moveTo>
                <a:lnTo>
                  <a:pt x="1432576" y="716288"/>
                </a:lnTo>
                <a:lnTo>
                  <a:pt x="716288" y="0"/>
                </a:lnTo>
                <a:lnTo>
                  <a:pt x="0" y="716288"/>
                </a:lnTo>
                <a:lnTo>
                  <a:pt x="0" y="0"/>
                </a:lnTo>
                <a:lnTo>
                  <a:pt x="716288" y="0"/>
                </a:lnTo>
                <a:lnTo>
                  <a:pt x="716288" y="0"/>
                </a:lnTo>
                <a:lnTo>
                  <a:pt x="1432576" y="0"/>
                </a:lnTo>
                <a:close/>
              </a:path>
            </a:pathLst>
          </a:custGeom>
          <a:solidFill>
            <a:srgbClr val="82CFFF"/>
          </a:solidFill>
          <a:ln w="7342" cap="flat">
            <a:noFill/>
            <a:prstDash val="solid"/>
            <a:miter/>
          </a:ln>
        </p:spPr>
        <p:txBody>
          <a:bodyPr rtlCol="0" anchor="ctr"/>
          <a:lstStyle/>
          <a:p>
            <a:endParaRPr lang="uk-UA" sz="900"/>
          </a:p>
        </p:txBody>
      </p:sp>
      <p:sp>
        <p:nvSpPr>
          <p:cNvPr id="13" name="Freeform: Shape 12">
            <a:extLst>
              <a:ext uri="{FF2B5EF4-FFF2-40B4-BE49-F238E27FC236}">
                <a16:creationId xmlns:a16="http://schemas.microsoft.com/office/drawing/2014/main" id="{996B0395-91C2-3087-5470-31A62CA190D2}"/>
              </a:ext>
            </a:extLst>
          </p:cNvPr>
          <p:cNvSpPr/>
          <p:nvPr userDrawn="1"/>
        </p:nvSpPr>
        <p:spPr>
          <a:xfrm rot="10800000">
            <a:off x="3095525" y="1714500"/>
            <a:ext cx="328807" cy="328850"/>
          </a:xfrm>
          <a:custGeom>
            <a:avLst/>
            <a:gdLst>
              <a:gd name="connsiteX0" fmla="*/ 1432576 w 1432576"/>
              <a:gd name="connsiteY0" fmla="*/ 1432576 h 1432576"/>
              <a:gd name="connsiteX1" fmla="*/ 716288 w 1432576"/>
              <a:gd name="connsiteY1" fmla="*/ 1432576 h 1432576"/>
              <a:gd name="connsiteX2" fmla="*/ 716288 w 1432576"/>
              <a:gd name="connsiteY2" fmla="*/ 1432576 h 1432576"/>
              <a:gd name="connsiteX3" fmla="*/ 0 w 1432576"/>
              <a:gd name="connsiteY3" fmla="*/ 1432576 h 1432576"/>
              <a:gd name="connsiteX4" fmla="*/ 716288 w 1432576"/>
              <a:gd name="connsiteY4" fmla="*/ 716288 h 1432576"/>
              <a:gd name="connsiteX5" fmla="*/ 716288 w 1432576"/>
              <a:gd name="connsiteY5" fmla="*/ 1432576 h 1432576"/>
              <a:gd name="connsiteX6" fmla="*/ 1432576 w 1432576"/>
              <a:gd name="connsiteY6" fmla="*/ 716288 h 1432576"/>
              <a:gd name="connsiteX7" fmla="*/ 1432576 w 1432576"/>
              <a:gd name="connsiteY7" fmla="*/ 1432576 h 1432576"/>
              <a:gd name="connsiteX8" fmla="*/ 716288 w 1432576"/>
              <a:gd name="connsiteY8" fmla="*/ 0 h 1432576"/>
              <a:gd name="connsiteX9" fmla="*/ 0 w 1432576"/>
              <a:gd name="connsiteY9" fmla="*/ 0 h 1432576"/>
              <a:gd name="connsiteX10" fmla="*/ 716288 w 1432576"/>
              <a:gd name="connsiteY10" fmla="*/ 716288 h 1432576"/>
              <a:gd name="connsiteX11" fmla="*/ 716288 w 1432576"/>
              <a:gd name="connsiteY11" fmla="*/ 0 h 1432576"/>
              <a:gd name="connsiteX12" fmla="*/ 1432576 w 1432576"/>
              <a:gd name="connsiteY12" fmla="*/ 716288 h 1432576"/>
              <a:gd name="connsiteX13" fmla="*/ 1432576 w 1432576"/>
              <a:gd name="connsiteY13" fmla="*/ 0 h 1432576"/>
              <a:gd name="connsiteX14" fmla="*/ 716288 w 1432576"/>
              <a:gd name="connsiteY14" fmla="*/ 0 h 1432576"/>
              <a:gd name="connsiteX15" fmla="*/ 716288 w 1432576"/>
              <a:gd name="connsiteY15" fmla="*/ 0 h 143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32576" h="1432576">
                <a:moveTo>
                  <a:pt x="1432576" y="1432576"/>
                </a:moveTo>
                <a:lnTo>
                  <a:pt x="716288" y="1432576"/>
                </a:lnTo>
                <a:lnTo>
                  <a:pt x="716288" y="1432576"/>
                </a:lnTo>
                <a:lnTo>
                  <a:pt x="0" y="1432576"/>
                </a:lnTo>
                <a:lnTo>
                  <a:pt x="716288" y="716288"/>
                </a:lnTo>
                <a:lnTo>
                  <a:pt x="716288" y="1432576"/>
                </a:lnTo>
                <a:lnTo>
                  <a:pt x="1432576" y="716288"/>
                </a:lnTo>
                <a:lnTo>
                  <a:pt x="1432576" y="1432576"/>
                </a:lnTo>
                <a:close/>
                <a:moveTo>
                  <a:pt x="716288" y="0"/>
                </a:moveTo>
                <a:lnTo>
                  <a:pt x="0" y="0"/>
                </a:lnTo>
                <a:lnTo>
                  <a:pt x="716288" y="716288"/>
                </a:lnTo>
                <a:lnTo>
                  <a:pt x="716288" y="0"/>
                </a:lnTo>
                <a:lnTo>
                  <a:pt x="1432576" y="716288"/>
                </a:lnTo>
                <a:lnTo>
                  <a:pt x="1432576" y="0"/>
                </a:lnTo>
                <a:lnTo>
                  <a:pt x="716288" y="0"/>
                </a:lnTo>
                <a:lnTo>
                  <a:pt x="716288" y="0"/>
                </a:lnTo>
                <a:close/>
              </a:path>
            </a:pathLst>
          </a:custGeom>
          <a:solidFill>
            <a:schemeClr val="accent2"/>
          </a:solidFill>
          <a:ln w="7342" cap="flat">
            <a:noFill/>
            <a:prstDash val="solid"/>
            <a:miter/>
          </a:ln>
        </p:spPr>
        <p:txBody>
          <a:bodyPr rtlCol="0" anchor="ctr"/>
          <a:lstStyle/>
          <a:p>
            <a:endParaRPr lang="uk-UA" sz="900"/>
          </a:p>
        </p:txBody>
      </p:sp>
      <p:grpSp>
        <p:nvGrpSpPr>
          <p:cNvPr id="14" name="Group 9">
            <a:extLst>
              <a:ext uri="{FF2B5EF4-FFF2-40B4-BE49-F238E27FC236}">
                <a16:creationId xmlns:a16="http://schemas.microsoft.com/office/drawing/2014/main" id="{A7DA5E5C-EDBC-79EB-26A0-9ACF1EBC09FC}"/>
              </a:ext>
            </a:extLst>
          </p:cNvPr>
          <p:cNvGrpSpPr>
            <a:grpSpLocks noChangeAspect="1"/>
          </p:cNvGrpSpPr>
          <p:nvPr userDrawn="1"/>
        </p:nvGrpSpPr>
        <p:grpSpPr bwMode="auto">
          <a:xfrm>
            <a:off x="4865364" y="3760660"/>
            <a:ext cx="634226" cy="559287"/>
            <a:chOff x="42" y="4229"/>
            <a:chExt cx="3881" cy="3422"/>
          </a:xfrm>
          <a:solidFill>
            <a:schemeClr val="tx1"/>
          </a:solidFill>
        </p:grpSpPr>
        <p:sp>
          <p:nvSpPr>
            <p:cNvPr id="15" name="Freeform 235">
              <a:extLst>
                <a:ext uri="{FF2B5EF4-FFF2-40B4-BE49-F238E27FC236}">
                  <a16:creationId xmlns:a16="http://schemas.microsoft.com/office/drawing/2014/main" id="{3EDCEECD-AC86-C1F8-0F0B-815623CDCD45}"/>
                </a:ext>
              </a:extLst>
            </p:cNvPr>
            <p:cNvSpPr>
              <a:spLocks noEditPoints="1"/>
            </p:cNvSpPr>
            <p:nvPr/>
          </p:nvSpPr>
          <p:spPr bwMode="auto">
            <a:xfrm>
              <a:off x="2058" y="4229"/>
              <a:ext cx="1865" cy="3422"/>
            </a:xfrm>
            <a:custGeom>
              <a:avLst/>
              <a:gdLst>
                <a:gd name="T0" fmla="*/ 2842 w 3636"/>
                <a:gd name="T1" fmla="*/ 2120 h 6673"/>
                <a:gd name="T2" fmla="*/ 1918 w 3636"/>
                <a:gd name="T3" fmla="*/ 577 h 6673"/>
                <a:gd name="T4" fmla="*/ 892 w 3636"/>
                <a:gd name="T5" fmla="*/ 0 h 6673"/>
                <a:gd name="T6" fmla="*/ 0 w 3636"/>
                <a:gd name="T7" fmla="*/ 5781 h 6673"/>
                <a:gd name="T8" fmla="*/ 1731 w 3636"/>
                <a:gd name="T9" fmla="*/ 6079 h 6673"/>
                <a:gd name="T10" fmla="*/ 2966 w 3636"/>
                <a:gd name="T11" fmla="*/ 5048 h 6673"/>
                <a:gd name="T12" fmla="*/ 3636 w 3636"/>
                <a:gd name="T13" fmla="*/ 3336 h 6673"/>
                <a:gd name="T14" fmla="*/ 1051 w 3636"/>
                <a:gd name="T15" fmla="*/ 2847 h 6673"/>
                <a:gd name="T16" fmla="*/ 738 w 3636"/>
                <a:gd name="T17" fmla="*/ 2847 h 6673"/>
                <a:gd name="T18" fmla="*/ 2684 w 3636"/>
                <a:gd name="T19" fmla="*/ 4426 h 6673"/>
                <a:gd name="T20" fmla="*/ 2640 w 3636"/>
                <a:gd name="T21" fmla="*/ 4559 h 6673"/>
                <a:gd name="T22" fmla="*/ 2121 w 3636"/>
                <a:gd name="T23" fmla="*/ 4715 h 6673"/>
                <a:gd name="T24" fmla="*/ 1467 w 3636"/>
                <a:gd name="T25" fmla="*/ 4803 h 6673"/>
                <a:gd name="T26" fmla="*/ 2121 w 3636"/>
                <a:gd name="T27" fmla="*/ 4891 h 6673"/>
                <a:gd name="T28" fmla="*/ 2790 w 3636"/>
                <a:gd name="T29" fmla="*/ 5048 h 6673"/>
                <a:gd name="T30" fmla="*/ 1693 w 3636"/>
                <a:gd name="T31" fmla="*/ 5890 h 6673"/>
                <a:gd name="T32" fmla="*/ 1585 w 3636"/>
                <a:gd name="T33" fmla="*/ 5954 h 6673"/>
                <a:gd name="T34" fmla="*/ 176 w 3636"/>
                <a:gd name="T35" fmla="*/ 5781 h 6673"/>
                <a:gd name="T36" fmla="*/ 807 w 3636"/>
                <a:gd name="T37" fmla="*/ 3912 h 6673"/>
                <a:gd name="T38" fmla="*/ 562 w 3636"/>
                <a:gd name="T39" fmla="*/ 5781 h 6673"/>
                <a:gd name="T40" fmla="*/ 1227 w 3636"/>
                <a:gd name="T41" fmla="*/ 5781 h 6673"/>
                <a:gd name="T42" fmla="*/ 983 w 3636"/>
                <a:gd name="T43" fmla="*/ 3912 h 6673"/>
                <a:gd name="T44" fmla="*/ 1881 w 3636"/>
                <a:gd name="T45" fmla="*/ 3424 h 6673"/>
                <a:gd name="T46" fmla="*/ 2778 w 3636"/>
                <a:gd name="T47" fmla="*/ 3669 h 6673"/>
                <a:gd name="T48" fmla="*/ 2778 w 3636"/>
                <a:gd name="T49" fmla="*/ 3004 h 6673"/>
                <a:gd name="T50" fmla="*/ 1888 w 3636"/>
                <a:gd name="T51" fmla="*/ 3248 h 6673"/>
                <a:gd name="T52" fmla="*/ 2132 w 3636"/>
                <a:gd name="T53" fmla="*/ 1380 h 6673"/>
                <a:gd name="T54" fmla="*/ 1467 w 3636"/>
                <a:gd name="T55" fmla="*/ 1380 h 6673"/>
                <a:gd name="T56" fmla="*/ 1712 w 3636"/>
                <a:gd name="T57" fmla="*/ 3338 h 6673"/>
                <a:gd name="T58" fmla="*/ 895 w 3636"/>
                <a:gd name="T59" fmla="*/ 3736 h 6673"/>
                <a:gd name="T60" fmla="*/ 176 w 3636"/>
                <a:gd name="T61" fmla="*/ 891 h 6673"/>
                <a:gd name="T62" fmla="*/ 807 w 3636"/>
                <a:gd name="T63" fmla="*/ 2527 h 6673"/>
                <a:gd name="T64" fmla="*/ 895 w 3636"/>
                <a:gd name="T65" fmla="*/ 3180 h 6673"/>
                <a:gd name="T66" fmla="*/ 983 w 3636"/>
                <a:gd name="T67" fmla="*/ 2527 h 6673"/>
                <a:gd name="T68" fmla="*/ 1585 w 3636"/>
                <a:gd name="T69" fmla="*/ 719 h 6673"/>
                <a:gd name="T70" fmla="*/ 1693 w 3636"/>
                <a:gd name="T71" fmla="*/ 783 h 6673"/>
                <a:gd name="T72" fmla="*/ 2790 w 3636"/>
                <a:gd name="T73" fmla="*/ 1625 h 6673"/>
                <a:gd name="T74" fmla="*/ 2629 w 3636"/>
                <a:gd name="T75" fmla="*/ 2191 h 6673"/>
                <a:gd name="T76" fmla="*/ 3460 w 3636"/>
                <a:gd name="T77" fmla="*/ 3336 h 6673"/>
                <a:gd name="T78" fmla="*/ 1956 w 3636"/>
                <a:gd name="T79" fmla="*/ 4803 h 6673"/>
                <a:gd name="T80" fmla="*/ 1643 w 3636"/>
                <a:gd name="T81" fmla="*/ 4803 h 6673"/>
                <a:gd name="T82" fmla="*/ 1956 w 3636"/>
                <a:gd name="T83" fmla="*/ 4803 h 6673"/>
                <a:gd name="T84" fmla="*/ 1051 w 3636"/>
                <a:gd name="T85" fmla="*/ 5781 h 6673"/>
                <a:gd name="T86" fmla="*/ 738 w 3636"/>
                <a:gd name="T87" fmla="*/ 5781 h 6673"/>
                <a:gd name="T88" fmla="*/ 1800 w 3636"/>
                <a:gd name="T89" fmla="*/ 1537 h 6673"/>
                <a:gd name="T90" fmla="*/ 1800 w 3636"/>
                <a:gd name="T91" fmla="*/ 1224 h 6673"/>
                <a:gd name="T92" fmla="*/ 1800 w 3636"/>
                <a:gd name="T93" fmla="*/ 1537 h 6673"/>
                <a:gd name="T94" fmla="*/ 2778 w 3636"/>
                <a:gd name="T95" fmla="*/ 3180 h 6673"/>
                <a:gd name="T96" fmla="*/ 2778 w 3636"/>
                <a:gd name="T97" fmla="*/ 3493 h 6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36" h="6673">
                  <a:moveTo>
                    <a:pt x="3636" y="3336"/>
                  </a:moveTo>
                  <a:cubicBezTo>
                    <a:pt x="3636" y="2807"/>
                    <a:pt x="3321" y="2331"/>
                    <a:pt x="2842" y="2120"/>
                  </a:cubicBezTo>
                  <a:cubicBezTo>
                    <a:pt x="2924" y="1968"/>
                    <a:pt x="2966" y="1799"/>
                    <a:pt x="2966" y="1625"/>
                  </a:cubicBezTo>
                  <a:cubicBezTo>
                    <a:pt x="2966" y="1047"/>
                    <a:pt x="2496" y="577"/>
                    <a:pt x="1918" y="577"/>
                  </a:cubicBezTo>
                  <a:cubicBezTo>
                    <a:pt x="1856" y="577"/>
                    <a:pt x="1794" y="582"/>
                    <a:pt x="1731" y="594"/>
                  </a:cubicBezTo>
                  <a:cubicBezTo>
                    <a:pt x="1607" y="240"/>
                    <a:pt x="1273" y="0"/>
                    <a:pt x="892" y="0"/>
                  </a:cubicBezTo>
                  <a:cubicBezTo>
                    <a:pt x="400" y="0"/>
                    <a:pt x="0" y="400"/>
                    <a:pt x="0" y="891"/>
                  </a:cubicBezTo>
                  <a:cubicBezTo>
                    <a:pt x="0" y="5781"/>
                    <a:pt x="0" y="5781"/>
                    <a:pt x="0" y="5781"/>
                  </a:cubicBezTo>
                  <a:cubicBezTo>
                    <a:pt x="0" y="6273"/>
                    <a:pt x="400" y="6673"/>
                    <a:pt x="892" y="6673"/>
                  </a:cubicBezTo>
                  <a:cubicBezTo>
                    <a:pt x="1273" y="6673"/>
                    <a:pt x="1607" y="6432"/>
                    <a:pt x="1731" y="6079"/>
                  </a:cubicBezTo>
                  <a:cubicBezTo>
                    <a:pt x="1794" y="6090"/>
                    <a:pt x="1856" y="6096"/>
                    <a:pt x="1918" y="6096"/>
                  </a:cubicBezTo>
                  <a:cubicBezTo>
                    <a:pt x="2496" y="6096"/>
                    <a:pt x="2966" y="5626"/>
                    <a:pt x="2966" y="5048"/>
                  </a:cubicBezTo>
                  <a:cubicBezTo>
                    <a:pt x="2966" y="4874"/>
                    <a:pt x="2924" y="4704"/>
                    <a:pt x="2842" y="4553"/>
                  </a:cubicBezTo>
                  <a:cubicBezTo>
                    <a:pt x="3321" y="4342"/>
                    <a:pt x="3636" y="3866"/>
                    <a:pt x="3636" y="3336"/>
                  </a:cubicBezTo>
                  <a:close/>
                  <a:moveTo>
                    <a:pt x="895" y="2691"/>
                  </a:moveTo>
                  <a:cubicBezTo>
                    <a:pt x="981" y="2691"/>
                    <a:pt x="1051" y="2761"/>
                    <a:pt x="1051" y="2847"/>
                  </a:cubicBezTo>
                  <a:cubicBezTo>
                    <a:pt x="1051" y="2934"/>
                    <a:pt x="981" y="3004"/>
                    <a:pt x="895" y="3004"/>
                  </a:cubicBezTo>
                  <a:cubicBezTo>
                    <a:pt x="808" y="3004"/>
                    <a:pt x="738" y="2934"/>
                    <a:pt x="738" y="2847"/>
                  </a:cubicBezTo>
                  <a:cubicBezTo>
                    <a:pt x="738" y="2761"/>
                    <a:pt x="808" y="2691"/>
                    <a:pt x="895" y="2691"/>
                  </a:cubicBezTo>
                  <a:close/>
                  <a:moveTo>
                    <a:pt x="2684" y="4426"/>
                  </a:moveTo>
                  <a:cubicBezTo>
                    <a:pt x="2658" y="4435"/>
                    <a:pt x="2638" y="4456"/>
                    <a:pt x="2629" y="4481"/>
                  </a:cubicBezTo>
                  <a:cubicBezTo>
                    <a:pt x="2621" y="4507"/>
                    <a:pt x="2625" y="4536"/>
                    <a:pt x="2640" y="4559"/>
                  </a:cubicBezTo>
                  <a:cubicBezTo>
                    <a:pt x="2674" y="4608"/>
                    <a:pt x="2702" y="4661"/>
                    <a:pt x="2725" y="4715"/>
                  </a:cubicBezTo>
                  <a:cubicBezTo>
                    <a:pt x="2121" y="4715"/>
                    <a:pt x="2121" y="4715"/>
                    <a:pt x="2121" y="4715"/>
                  </a:cubicBezTo>
                  <a:cubicBezTo>
                    <a:pt x="2082" y="4575"/>
                    <a:pt x="1953" y="4471"/>
                    <a:pt x="1800" y="4471"/>
                  </a:cubicBezTo>
                  <a:cubicBezTo>
                    <a:pt x="1617" y="4471"/>
                    <a:pt x="1467" y="4620"/>
                    <a:pt x="1467" y="4803"/>
                  </a:cubicBezTo>
                  <a:cubicBezTo>
                    <a:pt x="1467" y="4987"/>
                    <a:pt x="1617" y="5136"/>
                    <a:pt x="1800" y="5136"/>
                  </a:cubicBezTo>
                  <a:cubicBezTo>
                    <a:pt x="1953" y="5136"/>
                    <a:pt x="2082" y="5032"/>
                    <a:pt x="2121" y="4891"/>
                  </a:cubicBezTo>
                  <a:cubicBezTo>
                    <a:pt x="2776" y="4891"/>
                    <a:pt x="2776" y="4891"/>
                    <a:pt x="2776" y="4891"/>
                  </a:cubicBezTo>
                  <a:cubicBezTo>
                    <a:pt x="2785" y="4943"/>
                    <a:pt x="2790" y="4995"/>
                    <a:pt x="2790" y="5048"/>
                  </a:cubicBezTo>
                  <a:cubicBezTo>
                    <a:pt x="2790" y="5529"/>
                    <a:pt x="2399" y="5920"/>
                    <a:pt x="1918" y="5920"/>
                  </a:cubicBezTo>
                  <a:cubicBezTo>
                    <a:pt x="1844" y="5920"/>
                    <a:pt x="1769" y="5910"/>
                    <a:pt x="1693" y="5890"/>
                  </a:cubicBezTo>
                  <a:cubicBezTo>
                    <a:pt x="1670" y="5884"/>
                    <a:pt x="1646" y="5887"/>
                    <a:pt x="1626" y="5899"/>
                  </a:cubicBezTo>
                  <a:cubicBezTo>
                    <a:pt x="1605" y="5911"/>
                    <a:pt x="1591" y="5931"/>
                    <a:pt x="1585" y="5954"/>
                  </a:cubicBezTo>
                  <a:cubicBezTo>
                    <a:pt x="1506" y="6273"/>
                    <a:pt x="1221" y="6497"/>
                    <a:pt x="892" y="6497"/>
                  </a:cubicBezTo>
                  <a:cubicBezTo>
                    <a:pt x="497" y="6497"/>
                    <a:pt x="176" y="6176"/>
                    <a:pt x="176" y="5781"/>
                  </a:cubicBezTo>
                  <a:cubicBezTo>
                    <a:pt x="176" y="3912"/>
                    <a:pt x="176" y="3912"/>
                    <a:pt x="176" y="3912"/>
                  </a:cubicBezTo>
                  <a:cubicBezTo>
                    <a:pt x="807" y="3912"/>
                    <a:pt x="807" y="3912"/>
                    <a:pt x="807" y="3912"/>
                  </a:cubicBezTo>
                  <a:cubicBezTo>
                    <a:pt x="807" y="5461"/>
                    <a:pt x="807" y="5461"/>
                    <a:pt x="807" y="5461"/>
                  </a:cubicBezTo>
                  <a:cubicBezTo>
                    <a:pt x="666" y="5499"/>
                    <a:pt x="562" y="5628"/>
                    <a:pt x="562" y="5781"/>
                  </a:cubicBezTo>
                  <a:cubicBezTo>
                    <a:pt x="562" y="5965"/>
                    <a:pt x="711" y="6114"/>
                    <a:pt x="895" y="6114"/>
                  </a:cubicBezTo>
                  <a:cubicBezTo>
                    <a:pt x="1078" y="6114"/>
                    <a:pt x="1227" y="5965"/>
                    <a:pt x="1227" y="5781"/>
                  </a:cubicBezTo>
                  <a:cubicBezTo>
                    <a:pt x="1227" y="5628"/>
                    <a:pt x="1123" y="5499"/>
                    <a:pt x="983" y="5461"/>
                  </a:cubicBezTo>
                  <a:cubicBezTo>
                    <a:pt x="983" y="3912"/>
                    <a:pt x="983" y="3912"/>
                    <a:pt x="983" y="3912"/>
                  </a:cubicBezTo>
                  <a:cubicBezTo>
                    <a:pt x="1314" y="3912"/>
                    <a:pt x="1314" y="3912"/>
                    <a:pt x="1314" y="3912"/>
                  </a:cubicBezTo>
                  <a:cubicBezTo>
                    <a:pt x="1601" y="3912"/>
                    <a:pt x="1840" y="3700"/>
                    <a:pt x="1881" y="3424"/>
                  </a:cubicBezTo>
                  <a:cubicBezTo>
                    <a:pt x="2457" y="3424"/>
                    <a:pt x="2457" y="3424"/>
                    <a:pt x="2457" y="3424"/>
                  </a:cubicBezTo>
                  <a:cubicBezTo>
                    <a:pt x="2496" y="3565"/>
                    <a:pt x="2625" y="3669"/>
                    <a:pt x="2778" y="3669"/>
                  </a:cubicBezTo>
                  <a:cubicBezTo>
                    <a:pt x="2961" y="3669"/>
                    <a:pt x="3110" y="3520"/>
                    <a:pt x="3110" y="3336"/>
                  </a:cubicBezTo>
                  <a:cubicBezTo>
                    <a:pt x="3110" y="3153"/>
                    <a:pt x="2961" y="3004"/>
                    <a:pt x="2778" y="3004"/>
                  </a:cubicBezTo>
                  <a:cubicBezTo>
                    <a:pt x="2625" y="3004"/>
                    <a:pt x="2496" y="3108"/>
                    <a:pt x="2457" y="3248"/>
                  </a:cubicBezTo>
                  <a:cubicBezTo>
                    <a:pt x="1888" y="3248"/>
                    <a:pt x="1888" y="3248"/>
                    <a:pt x="1888" y="3248"/>
                  </a:cubicBezTo>
                  <a:cubicBezTo>
                    <a:pt x="1888" y="1701"/>
                    <a:pt x="1888" y="1701"/>
                    <a:pt x="1888" y="1701"/>
                  </a:cubicBezTo>
                  <a:cubicBezTo>
                    <a:pt x="2029" y="1662"/>
                    <a:pt x="2132" y="1533"/>
                    <a:pt x="2132" y="1380"/>
                  </a:cubicBezTo>
                  <a:cubicBezTo>
                    <a:pt x="2132" y="1197"/>
                    <a:pt x="1983" y="1048"/>
                    <a:pt x="1800" y="1048"/>
                  </a:cubicBezTo>
                  <a:cubicBezTo>
                    <a:pt x="1617" y="1048"/>
                    <a:pt x="1467" y="1197"/>
                    <a:pt x="1467" y="1380"/>
                  </a:cubicBezTo>
                  <a:cubicBezTo>
                    <a:pt x="1467" y="1533"/>
                    <a:pt x="1571" y="1662"/>
                    <a:pt x="1712" y="1701"/>
                  </a:cubicBezTo>
                  <a:cubicBezTo>
                    <a:pt x="1712" y="3338"/>
                    <a:pt x="1712" y="3338"/>
                    <a:pt x="1712" y="3338"/>
                  </a:cubicBezTo>
                  <a:cubicBezTo>
                    <a:pt x="1712" y="3557"/>
                    <a:pt x="1534" y="3736"/>
                    <a:pt x="1314" y="3736"/>
                  </a:cubicBezTo>
                  <a:cubicBezTo>
                    <a:pt x="895" y="3736"/>
                    <a:pt x="895" y="3736"/>
                    <a:pt x="895" y="3736"/>
                  </a:cubicBezTo>
                  <a:cubicBezTo>
                    <a:pt x="176" y="3736"/>
                    <a:pt x="176" y="3736"/>
                    <a:pt x="176" y="3736"/>
                  </a:cubicBezTo>
                  <a:cubicBezTo>
                    <a:pt x="176" y="891"/>
                    <a:pt x="176" y="891"/>
                    <a:pt x="176" y="891"/>
                  </a:cubicBezTo>
                  <a:cubicBezTo>
                    <a:pt x="176" y="526"/>
                    <a:pt x="452" y="224"/>
                    <a:pt x="807" y="181"/>
                  </a:cubicBezTo>
                  <a:cubicBezTo>
                    <a:pt x="807" y="2527"/>
                    <a:pt x="807" y="2527"/>
                    <a:pt x="807" y="2527"/>
                  </a:cubicBezTo>
                  <a:cubicBezTo>
                    <a:pt x="666" y="2565"/>
                    <a:pt x="562" y="2695"/>
                    <a:pt x="562" y="2847"/>
                  </a:cubicBezTo>
                  <a:cubicBezTo>
                    <a:pt x="562" y="3031"/>
                    <a:pt x="711" y="3180"/>
                    <a:pt x="895" y="3180"/>
                  </a:cubicBezTo>
                  <a:cubicBezTo>
                    <a:pt x="1078" y="3180"/>
                    <a:pt x="1227" y="3031"/>
                    <a:pt x="1227" y="2847"/>
                  </a:cubicBezTo>
                  <a:cubicBezTo>
                    <a:pt x="1227" y="2695"/>
                    <a:pt x="1123" y="2565"/>
                    <a:pt x="983" y="2527"/>
                  </a:cubicBezTo>
                  <a:cubicBezTo>
                    <a:pt x="983" y="182"/>
                    <a:pt x="983" y="182"/>
                    <a:pt x="983" y="182"/>
                  </a:cubicBezTo>
                  <a:cubicBezTo>
                    <a:pt x="1272" y="219"/>
                    <a:pt x="1513" y="429"/>
                    <a:pt x="1585" y="719"/>
                  </a:cubicBezTo>
                  <a:cubicBezTo>
                    <a:pt x="1591" y="742"/>
                    <a:pt x="1605" y="762"/>
                    <a:pt x="1626" y="774"/>
                  </a:cubicBezTo>
                  <a:cubicBezTo>
                    <a:pt x="1646" y="786"/>
                    <a:pt x="1670" y="789"/>
                    <a:pt x="1693" y="783"/>
                  </a:cubicBezTo>
                  <a:cubicBezTo>
                    <a:pt x="1769" y="763"/>
                    <a:pt x="1844" y="753"/>
                    <a:pt x="1918" y="753"/>
                  </a:cubicBezTo>
                  <a:cubicBezTo>
                    <a:pt x="2399" y="753"/>
                    <a:pt x="2790" y="1144"/>
                    <a:pt x="2790" y="1625"/>
                  </a:cubicBezTo>
                  <a:cubicBezTo>
                    <a:pt x="2790" y="1800"/>
                    <a:pt x="2738" y="1970"/>
                    <a:pt x="2640" y="2114"/>
                  </a:cubicBezTo>
                  <a:cubicBezTo>
                    <a:pt x="2625" y="2137"/>
                    <a:pt x="2621" y="2165"/>
                    <a:pt x="2629" y="2191"/>
                  </a:cubicBezTo>
                  <a:cubicBezTo>
                    <a:pt x="2638" y="2217"/>
                    <a:pt x="2658" y="2238"/>
                    <a:pt x="2684" y="2247"/>
                  </a:cubicBezTo>
                  <a:cubicBezTo>
                    <a:pt x="3148" y="2408"/>
                    <a:pt x="3460" y="2846"/>
                    <a:pt x="3460" y="3336"/>
                  </a:cubicBezTo>
                  <a:cubicBezTo>
                    <a:pt x="3460" y="3827"/>
                    <a:pt x="3148" y="4265"/>
                    <a:pt x="2684" y="4426"/>
                  </a:cubicBezTo>
                  <a:close/>
                  <a:moveTo>
                    <a:pt x="1956" y="4803"/>
                  </a:moveTo>
                  <a:cubicBezTo>
                    <a:pt x="1956" y="4890"/>
                    <a:pt x="1886" y="4960"/>
                    <a:pt x="1800" y="4960"/>
                  </a:cubicBezTo>
                  <a:cubicBezTo>
                    <a:pt x="1714" y="4960"/>
                    <a:pt x="1643" y="4890"/>
                    <a:pt x="1643" y="4803"/>
                  </a:cubicBezTo>
                  <a:cubicBezTo>
                    <a:pt x="1643" y="4717"/>
                    <a:pt x="1714" y="4647"/>
                    <a:pt x="1800" y="4647"/>
                  </a:cubicBezTo>
                  <a:cubicBezTo>
                    <a:pt x="1886" y="4647"/>
                    <a:pt x="1956" y="4717"/>
                    <a:pt x="1956" y="4803"/>
                  </a:cubicBezTo>
                  <a:close/>
                  <a:moveTo>
                    <a:pt x="895" y="5625"/>
                  </a:moveTo>
                  <a:cubicBezTo>
                    <a:pt x="981" y="5625"/>
                    <a:pt x="1051" y="5695"/>
                    <a:pt x="1051" y="5781"/>
                  </a:cubicBezTo>
                  <a:cubicBezTo>
                    <a:pt x="1051" y="5868"/>
                    <a:pt x="981" y="5938"/>
                    <a:pt x="895" y="5938"/>
                  </a:cubicBezTo>
                  <a:cubicBezTo>
                    <a:pt x="808" y="5938"/>
                    <a:pt x="738" y="5868"/>
                    <a:pt x="738" y="5781"/>
                  </a:cubicBezTo>
                  <a:cubicBezTo>
                    <a:pt x="738" y="5695"/>
                    <a:pt x="808" y="5625"/>
                    <a:pt x="895" y="5625"/>
                  </a:cubicBezTo>
                  <a:close/>
                  <a:moveTo>
                    <a:pt x="1800" y="1537"/>
                  </a:moveTo>
                  <a:cubicBezTo>
                    <a:pt x="1714" y="1537"/>
                    <a:pt x="1643" y="1467"/>
                    <a:pt x="1643" y="1380"/>
                  </a:cubicBezTo>
                  <a:cubicBezTo>
                    <a:pt x="1643" y="1294"/>
                    <a:pt x="1714" y="1224"/>
                    <a:pt x="1800" y="1224"/>
                  </a:cubicBezTo>
                  <a:cubicBezTo>
                    <a:pt x="1886" y="1224"/>
                    <a:pt x="1956" y="1294"/>
                    <a:pt x="1956" y="1380"/>
                  </a:cubicBezTo>
                  <a:cubicBezTo>
                    <a:pt x="1956" y="1467"/>
                    <a:pt x="1886" y="1537"/>
                    <a:pt x="1800" y="1537"/>
                  </a:cubicBezTo>
                  <a:close/>
                  <a:moveTo>
                    <a:pt x="2621" y="3336"/>
                  </a:moveTo>
                  <a:cubicBezTo>
                    <a:pt x="2621" y="3250"/>
                    <a:pt x="2692" y="3180"/>
                    <a:pt x="2778" y="3180"/>
                  </a:cubicBezTo>
                  <a:cubicBezTo>
                    <a:pt x="2864" y="3180"/>
                    <a:pt x="2934" y="3250"/>
                    <a:pt x="2934" y="3336"/>
                  </a:cubicBezTo>
                  <a:cubicBezTo>
                    <a:pt x="2934" y="3423"/>
                    <a:pt x="2864" y="3493"/>
                    <a:pt x="2778" y="3493"/>
                  </a:cubicBezTo>
                  <a:cubicBezTo>
                    <a:pt x="2692" y="3493"/>
                    <a:pt x="2621" y="3423"/>
                    <a:pt x="2621" y="33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uk-UA" sz="900"/>
            </a:p>
          </p:txBody>
        </p:sp>
        <p:sp>
          <p:nvSpPr>
            <p:cNvPr id="16" name="Freeform 11">
              <a:extLst>
                <a:ext uri="{FF2B5EF4-FFF2-40B4-BE49-F238E27FC236}">
                  <a16:creationId xmlns:a16="http://schemas.microsoft.com/office/drawing/2014/main" id="{1A55C837-0173-67FD-96C3-E425D43B80BF}"/>
                </a:ext>
              </a:extLst>
            </p:cNvPr>
            <p:cNvSpPr>
              <a:spLocks noEditPoints="1"/>
            </p:cNvSpPr>
            <p:nvPr/>
          </p:nvSpPr>
          <p:spPr bwMode="auto">
            <a:xfrm>
              <a:off x="42" y="4229"/>
              <a:ext cx="1865" cy="3422"/>
            </a:xfrm>
            <a:custGeom>
              <a:avLst/>
              <a:gdLst>
                <a:gd name="T0" fmla="*/ 1905 w 3636"/>
                <a:gd name="T1" fmla="*/ 594 h 6673"/>
                <a:gd name="T2" fmla="*/ 670 w 3636"/>
                <a:gd name="T3" fmla="*/ 1625 h 6673"/>
                <a:gd name="T4" fmla="*/ 0 w 3636"/>
                <a:gd name="T5" fmla="*/ 3336 h 6673"/>
                <a:gd name="T6" fmla="*/ 670 w 3636"/>
                <a:gd name="T7" fmla="*/ 5048 h 6673"/>
                <a:gd name="T8" fmla="*/ 1905 w 3636"/>
                <a:gd name="T9" fmla="*/ 6079 h 6673"/>
                <a:gd name="T10" fmla="*/ 3636 w 3636"/>
                <a:gd name="T11" fmla="*/ 5781 h 6673"/>
                <a:gd name="T12" fmla="*/ 2745 w 3636"/>
                <a:gd name="T13" fmla="*/ 0 h 6673"/>
                <a:gd name="T14" fmla="*/ 2585 w 3636"/>
                <a:gd name="T15" fmla="*/ 3825 h 6673"/>
                <a:gd name="T16" fmla="*/ 2898 w 3636"/>
                <a:gd name="T17" fmla="*/ 3825 h 6673"/>
                <a:gd name="T18" fmla="*/ 3460 w 3636"/>
                <a:gd name="T19" fmla="*/ 2761 h 6673"/>
                <a:gd name="T20" fmla="*/ 2830 w 3636"/>
                <a:gd name="T21" fmla="*/ 1212 h 6673"/>
                <a:gd name="T22" fmla="*/ 2742 w 3636"/>
                <a:gd name="T23" fmla="*/ 559 h 6673"/>
                <a:gd name="T24" fmla="*/ 2654 w 3636"/>
                <a:gd name="T25" fmla="*/ 1212 h 6673"/>
                <a:gd name="T26" fmla="*/ 2322 w 3636"/>
                <a:gd name="T27" fmla="*/ 2761 h 6673"/>
                <a:gd name="T28" fmla="*/ 1179 w 3636"/>
                <a:gd name="T29" fmla="*/ 3248 h 6673"/>
                <a:gd name="T30" fmla="*/ 526 w 3636"/>
                <a:gd name="T31" fmla="*/ 3336 h 6673"/>
                <a:gd name="T32" fmla="*/ 1179 w 3636"/>
                <a:gd name="T33" fmla="*/ 3424 h 6673"/>
                <a:gd name="T34" fmla="*/ 1748 w 3636"/>
                <a:gd name="T35" fmla="*/ 4972 h 6673"/>
                <a:gd name="T36" fmla="*/ 1836 w 3636"/>
                <a:gd name="T37" fmla="*/ 5625 h 6673"/>
                <a:gd name="T38" fmla="*/ 1924 w 3636"/>
                <a:gd name="T39" fmla="*/ 4972 h 6673"/>
                <a:gd name="T40" fmla="*/ 2322 w 3636"/>
                <a:gd name="T41" fmla="*/ 2937 h 6673"/>
                <a:gd name="T42" fmla="*/ 3460 w 3636"/>
                <a:gd name="T43" fmla="*/ 2937 h 6673"/>
                <a:gd name="T44" fmla="*/ 2830 w 3636"/>
                <a:gd name="T45" fmla="*/ 6491 h 6673"/>
                <a:gd name="T46" fmla="*/ 3074 w 3636"/>
                <a:gd name="T47" fmla="*/ 3825 h 6673"/>
                <a:gd name="T48" fmla="*/ 2409 w 3636"/>
                <a:gd name="T49" fmla="*/ 3825 h 6673"/>
                <a:gd name="T50" fmla="*/ 2654 w 3636"/>
                <a:gd name="T51" fmla="*/ 6491 h 6673"/>
                <a:gd name="T52" fmla="*/ 2011 w 3636"/>
                <a:gd name="T53" fmla="*/ 5899 h 6673"/>
                <a:gd name="T54" fmla="*/ 1943 w 3636"/>
                <a:gd name="T55" fmla="*/ 5890 h 6673"/>
                <a:gd name="T56" fmla="*/ 846 w 3636"/>
                <a:gd name="T57" fmla="*/ 5048 h 6673"/>
                <a:gd name="T58" fmla="*/ 1007 w 3636"/>
                <a:gd name="T59" fmla="*/ 4481 h 6673"/>
                <a:gd name="T60" fmla="*/ 176 w 3636"/>
                <a:gd name="T61" fmla="*/ 3336 h 6673"/>
                <a:gd name="T62" fmla="*/ 1007 w 3636"/>
                <a:gd name="T63" fmla="*/ 2191 h 6673"/>
                <a:gd name="T64" fmla="*/ 912 w 3636"/>
                <a:gd name="T65" fmla="*/ 1957 h 6673"/>
                <a:gd name="T66" fmla="*/ 1836 w 3636"/>
                <a:gd name="T67" fmla="*/ 2202 h 6673"/>
                <a:gd name="T68" fmla="*/ 1836 w 3636"/>
                <a:gd name="T69" fmla="*/ 1537 h 6673"/>
                <a:gd name="T70" fmla="*/ 860 w 3636"/>
                <a:gd name="T71" fmla="*/ 1781 h 6673"/>
                <a:gd name="T72" fmla="*/ 1718 w 3636"/>
                <a:gd name="T73" fmla="*/ 753 h 6673"/>
                <a:gd name="T74" fmla="*/ 2011 w 3636"/>
                <a:gd name="T75" fmla="*/ 774 h 6673"/>
                <a:gd name="T76" fmla="*/ 2745 w 3636"/>
                <a:gd name="T77" fmla="*/ 176 h 6673"/>
                <a:gd name="T78" fmla="*/ 3460 w 3636"/>
                <a:gd name="T79" fmla="*/ 2761 h 6673"/>
                <a:gd name="T80" fmla="*/ 2585 w 3636"/>
                <a:gd name="T81" fmla="*/ 891 h 6673"/>
                <a:gd name="T82" fmla="*/ 2898 w 3636"/>
                <a:gd name="T83" fmla="*/ 891 h 6673"/>
                <a:gd name="T84" fmla="*/ 1836 w 3636"/>
                <a:gd name="T85" fmla="*/ 5136 h 6673"/>
                <a:gd name="T86" fmla="*/ 1836 w 3636"/>
                <a:gd name="T87" fmla="*/ 5449 h 6673"/>
                <a:gd name="T88" fmla="*/ 1836 w 3636"/>
                <a:gd name="T89" fmla="*/ 5136 h 6673"/>
                <a:gd name="T90" fmla="*/ 858 w 3636"/>
                <a:gd name="T91" fmla="*/ 3493 h 6673"/>
                <a:gd name="T92" fmla="*/ 858 w 3636"/>
                <a:gd name="T93" fmla="*/ 3180 h 6673"/>
                <a:gd name="T94" fmla="*/ 1680 w 3636"/>
                <a:gd name="T95" fmla="*/ 1869 h 6673"/>
                <a:gd name="T96" fmla="*/ 1993 w 3636"/>
                <a:gd name="T97" fmla="*/ 1869 h 6673"/>
                <a:gd name="T98" fmla="*/ 1680 w 3636"/>
                <a:gd name="T99" fmla="*/ 1869 h 6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636" h="6673">
                  <a:moveTo>
                    <a:pt x="2745" y="0"/>
                  </a:moveTo>
                  <a:cubicBezTo>
                    <a:pt x="2363" y="0"/>
                    <a:pt x="2030" y="240"/>
                    <a:pt x="1905" y="594"/>
                  </a:cubicBezTo>
                  <a:cubicBezTo>
                    <a:pt x="1842" y="582"/>
                    <a:pt x="1780" y="577"/>
                    <a:pt x="1718" y="577"/>
                  </a:cubicBezTo>
                  <a:cubicBezTo>
                    <a:pt x="1140" y="577"/>
                    <a:pt x="670" y="1047"/>
                    <a:pt x="670" y="1625"/>
                  </a:cubicBezTo>
                  <a:cubicBezTo>
                    <a:pt x="670" y="1799"/>
                    <a:pt x="713" y="1968"/>
                    <a:pt x="794" y="2120"/>
                  </a:cubicBezTo>
                  <a:cubicBezTo>
                    <a:pt x="315" y="2331"/>
                    <a:pt x="0" y="2807"/>
                    <a:pt x="0" y="3336"/>
                  </a:cubicBezTo>
                  <a:cubicBezTo>
                    <a:pt x="0" y="3866"/>
                    <a:pt x="315" y="4342"/>
                    <a:pt x="794" y="4553"/>
                  </a:cubicBezTo>
                  <a:cubicBezTo>
                    <a:pt x="713" y="4704"/>
                    <a:pt x="670" y="4874"/>
                    <a:pt x="670" y="5048"/>
                  </a:cubicBezTo>
                  <a:cubicBezTo>
                    <a:pt x="670" y="5626"/>
                    <a:pt x="1140" y="6096"/>
                    <a:pt x="1718" y="6096"/>
                  </a:cubicBezTo>
                  <a:cubicBezTo>
                    <a:pt x="1780" y="6096"/>
                    <a:pt x="1842" y="6090"/>
                    <a:pt x="1905" y="6079"/>
                  </a:cubicBezTo>
                  <a:cubicBezTo>
                    <a:pt x="2030" y="6432"/>
                    <a:pt x="2363" y="6673"/>
                    <a:pt x="2745" y="6673"/>
                  </a:cubicBezTo>
                  <a:cubicBezTo>
                    <a:pt x="3236" y="6673"/>
                    <a:pt x="3636" y="6273"/>
                    <a:pt x="3636" y="5781"/>
                  </a:cubicBezTo>
                  <a:cubicBezTo>
                    <a:pt x="3636" y="891"/>
                    <a:pt x="3636" y="891"/>
                    <a:pt x="3636" y="891"/>
                  </a:cubicBezTo>
                  <a:cubicBezTo>
                    <a:pt x="3636" y="400"/>
                    <a:pt x="3236" y="0"/>
                    <a:pt x="2745" y="0"/>
                  </a:cubicBezTo>
                  <a:close/>
                  <a:moveTo>
                    <a:pt x="2742" y="3982"/>
                  </a:moveTo>
                  <a:cubicBezTo>
                    <a:pt x="2655" y="3982"/>
                    <a:pt x="2585" y="3912"/>
                    <a:pt x="2585" y="3825"/>
                  </a:cubicBezTo>
                  <a:cubicBezTo>
                    <a:pt x="2585" y="3739"/>
                    <a:pt x="2655" y="3669"/>
                    <a:pt x="2742" y="3669"/>
                  </a:cubicBezTo>
                  <a:cubicBezTo>
                    <a:pt x="2828" y="3669"/>
                    <a:pt x="2898" y="3739"/>
                    <a:pt x="2898" y="3825"/>
                  </a:cubicBezTo>
                  <a:cubicBezTo>
                    <a:pt x="2898" y="3912"/>
                    <a:pt x="2828" y="3982"/>
                    <a:pt x="2742" y="3982"/>
                  </a:cubicBezTo>
                  <a:close/>
                  <a:moveTo>
                    <a:pt x="3460" y="2761"/>
                  </a:moveTo>
                  <a:cubicBezTo>
                    <a:pt x="2830" y="2761"/>
                    <a:pt x="2830" y="2761"/>
                    <a:pt x="2830" y="2761"/>
                  </a:cubicBezTo>
                  <a:cubicBezTo>
                    <a:pt x="2830" y="1212"/>
                    <a:pt x="2830" y="1212"/>
                    <a:pt x="2830" y="1212"/>
                  </a:cubicBezTo>
                  <a:cubicBezTo>
                    <a:pt x="2970" y="1173"/>
                    <a:pt x="3074" y="1044"/>
                    <a:pt x="3074" y="891"/>
                  </a:cubicBezTo>
                  <a:cubicBezTo>
                    <a:pt x="3074" y="708"/>
                    <a:pt x="2925" y="559"/>
                    <a:pt x="2742" y="559"/>
                  </a:cubicBezTo>
                  <a:cubicBezTo>
                    <a:pt x="2558" y="559"/>
                    <a:pt x="2409" y="708"/>
                    <a:pt x="2409" y="891"/>
                  </a:cubicBezTo>
                  <a:cubicBezTo>
                    <a:pt x="2409" y="1044"/>
                    <a:pt x="2513" y="1173"/>
                    <a:pt x="2654" y="1212"/>
                  </a:cubicBezTo>
                  <a:cubicBezTo>
                    <a:pt x="2654" y="2761"/>
                    <a:pt x="2654" y="2761"/>
                    <a:pt x="2654" y="2761"/>
                  </a:cubicBezTo>
                  <a:cubicBezTo>
                    <a:pt x="2322" y="2761"/>
                    <a:pt x="2322" y="2761"/>
                    <a:pt x="2322" y="2761"/>
                  </a:cubicBezTo>
                  <a:cubicBezTo>
                    <a:pt x="2035" y="2761"/>
                    <a:pt x="1797" y="2973"/>
                    <a:pt x="1755" y="3248"/>
                  </a:cubicBezTo>
                  <a:cubicBezTo>
                    <a:pt x="1179" y="3248"/>
                    <a:pt x="1179" y="3248"/>
                    <a:pt x="1179" y="3248"/>
                  </a:cubicBezTo>
                  <a:cubicBezTo>
                    <a:pt x="1140" y="3108"/>
                    <a:pt x="1011" y="3004"/>
                    <a:pt x="858" y="3004"/>
                  </a:cubicBezTo>
                  <a:cubicBezTo>
                    <a:pt x="675" y="3004"/>
                    <a:pt x="526" y="3153"/>
                    <a:pt x="526" y="3336"/>
                  </a:cubicBezTo>
                  <a:cubicBezTo>
                    <a:pt x="526" y="3520"/>
                    <a:pt x="675" y="3669"/>
                    <a:pt x="858" y="3669"/>
                  </a:cubicBezTo>
                  <a:cubicBezTo>
                    <a:pt x="1011" y="3669"/>
                    <a:pt x="1140" y="3565"/>
                    <a:pt x="1179" y="3424"/>
                  </a:cubicBezTo>
                  <a:cubicBezTo>
                    <a:pt x="1748" y="3424"/>
                    <a:pt x="1748" y="3424"/>
                    <a:pt x="1748" y="3424"/>
                  </a:cubicBezTo>
                  <a:cubicBezTo>
                    <a:pt x="1748" y="4972"/>
                    <a:pt x="1748" y="4972"/>
                    <a:pt x="1748" y="4972"/>
                  </a:cubicBezTo>
                  <a:cubicBezTo>
                    <a:pt x="1608" y="5010"/>
                    <a:pt x="1504" y="5139"/>
                    <a:pt x="1504" y="5292"/>
                  </a:cubicBezTo>
                  <a:cubicBezTo>
                    <a:pt x="1504" y="5476"/>
                    <a:pt x="1653" y="5625"/>
                    <a:pt x="1836" y="5625"/>
                  </a:cubicBezTo>
                  <a:cubicBezTo>
                    <a:pt x="2020" y="5625"/>
                    <a:pt x="2169" y="5476"/>
                    <a:pt x="2169" y="5292"/>
                  </a:cubicBezTo>
                  <a:cubicBezTo>
                    <a:pt x="2169" y="5139"/>
                    <a:pt x="2065" y="5010"/>
                    <a:pt x="1924" y="4972"/>
                  </a:cubicBezTo>
                  <a:cubicBezTo>
                    <a:pt x="1924" y="3335"/>
                    <a:pt x="1924" y="3335"/>
                    <a:pt x="1924" y="3335"/>
                  </a:cubicBezTo>
                  <a:cubicBezTo>
                    <a:pt x="1924" y="3116"/>
                    <a:pt x="2103" y="2937"/>
                    <a:pt x="2322" y="2937"/>
                  </a:cubicBezTo>
                  <a:cubicBezTo>
                    <a:pt x="2742" y="2937"/>
                    <a:pt x="2742" y="2937"/>
                    <a:pt x="2742" y="2937"/>
                  </a:cubicBezTo>
                  <a:cubicBezTo>
                    <a:pt x="3460" y="2937"/>
                    <a:pt x="3460" y="2937"/>
                    <a:pt x="3460" y="2937"/>
                  </a:cubicBezTo>
                  <a:cubicBezTo>
                    <a:pt x="3460" y="5781"/>
                    <a:pt x="3460" y="5781"/>
                    <a:pt x="3460" y="5781"/>
                  </a:cubicBezTo>
                  <a:cubicBezTo>
                    <a:pt x="3460" y="6147"/>
                    <a:pt x="3184" y="6449"/>
                    <a:pt x="2830" y="6491"/>
                  </a:cubicBezTo>
                  <a:cubicBezTo>
                    <a:pt x="2830" y="4146"/>
                    <a:pt x="2830" y="4146"/>
                    <a:pt x="2830" y="4146"/>
                  </a:cubicBezTo>
                  <a:cubicBezTo>
                    <a:pt x="2970" y="4107"/>
                    <a:pt x="3074" y="3978"/>
                    <a:pt x="3074" y="3825"/>
                  </a:cubicBezTo>
                  <a:cubicBezTo>
                    <a:pt x="3074" y="3642"/>
                    <a:pt x="2925" y="3493"/>
                    <a:pt x="2742" y="3493"/>
                  </a:cubicBezTo>
                  <a:cubicBezTo>
                    <a:pt x="2558" y="3493"/>
                    <a:pt x="2409" y="3642"/>
                    <a:pt x="2409" y="3825"/>
                  </a:cubicBezTo>
                  <a:cubicBezTo>
                    <a:pt x="2409" y="3978"/>
                    <a:pt x="2513" y="4107"/>
                    <a:pt x="2654" y="4146"/>
                  </a:cubicBezTo>
                  <a:cubicBezTo>
                    <a:pt x="2654" y="6491"/>
                    <a:pt x="2654" y="6491"/>
                    <a:pt x="2654" y="6491"/>
                  </a:cubicBezTo>
                  <a:cubicBezTo>
                    <a:pt x="2364" y="6454"/>
                    <a:pt x="2123" y="6243"/>
                    <a:pt x="2051" y="5954"/>
                  </a:cubicBezTo>
                  <a:cubicBezTo>
                    <a:pt x="2046" y="5931"/>
                    <a:pt x="2031" y="5911"/>
                    <a:pt x="2011" y="5899"/>
                  </a:cubicBezTo>
                  <a:cubicBezTo>
                    <a:pt x="1997" y="5891"/>
                    <a:pt x="1981" y="5887"/>
                    <a:pt x="1966" y="5887"/>
                  </a:cubicBezTo>
                  <a:cubicBezTo>
                    <a:pt x="1958" y="5887"/>
                    <a:pt x="1951" y="5888"/>
                    <a:pt x="1943" y="5890"/>
                  </a:cubicBezTo>
                  <a:cubicBezTo>
                    <a:pt x="1867" y="5910"/>
                    <a:pt x="1792" y="5920"/>
                    <a:pt x="1718" y="5920"/>
                  </a:cubicBezTo>
                  <a:cubicBezTo>
                    <a:pt x="1237" y="5920"/>
                    <a:pt x="846" y="5529"/>
                    <a:pt x="846" y="5048"/>
                  </a:cubicBezTo>
                  <a:cubicBezTo>
                    <a:pt x="846" y="4872"/>
                    <a:pt x="898" y="4703"/>
                    <a:pt x="996" y="4559"/>
                  </a:cubicBezTo>
                  <a:cubicBezTo>
                    <a:pt x="1012" y="4536"/>
                    <a:pt x="1015" y="4507"/>
                    <a:pt x="1007" y="4481"/>
                  </a:cubicBezTo>
                  <a:cubicBezTo>
                    <a:pt x="998" y="4456"/>
                    <a:pt x="978" y="4435"/>
                    <a:pt x="952" y="4426"/>
                  </a:cubicBezTo>
                  <a:cubicBezTo>
                    <a:pt x="488" y="4265"/>
                    <a:pt x="176" y="3827"/>
                    <a:pt x="176" y="3336"/>
                  </a:cubicBezTo>
                  <a:cubicBezTo>
                    <a:pt x="176" y="2846"/>
                    <a:pt x="488" y="2408"/>
                    <a:pt x="952" y="2247"/>
                  </a:cubicBezTo>
                  <a:cubicBezTo>
                    <a:pt x="978" y="2238"/>
                    <a:pt x="998" y="2217"/>
                    <a:pt x="1007" y="2191"/>
                  </a:cubicBezTo>
                  <a:cubicBezTo>
                    <a:pt x="1015" y="2165"/>
                    <a:pt x="1012" y="2137"/>
                    <a:pt x="996" y="2114"/>
                  </a:cubicBezTo>
                  <a:cubicBezTo>
                    <a:pt x="962" y="2065"/>
                    <a:pt x="934" y="2012"/>
                    <a:pt x="912" y="1957"/>
                  </a:cubicBezTo>
                  <a:cubicBezTo>
                    <a:pt x="1516" y="1957"/>
                    <a:pt x="1516" y="1957"/>
                    <a:pt x="1516" y="1957"/>
                  </a:cubicBezTo>
                  <a:cubicBezTo>
                    <a:pt x="1554" y="2098"/>
                    <a:pt x="1683" y="2202"/>
                    <a:pt x="1836" y="2202"/>
                  </a:cubicBezTo>
                  <a:cubicBezTo>
                    <a:pt x="2020" y="2202"/>
                    <a:pt x="2169" y="2053"/>
                    <a:pt x="2169" y="1869"/>
                  </a:cubicBezTo>
                  <a:cubicBezTo>
                    <a:pt x="2169" y="1686"/>
                    <a:pt x="2020" y="1537"/>
                    <a:pt x="1836" y="1537"/>
                  </a:cubicBezTo>
                  <a:cubicBezTo>
                    <a:pt x="1683" y="1537"/>
                    <a:pt x="1554" y="1641"/>
                    <a:pt x="1516" y="1781"/>
                  </a:cubicBezTo>
                  <a:cubicBezTo>
                    <a:pt x="860" y="1781"/>
                    <a:pt x="860" y="1781"/>
                    <a:pt x="860" y="1781"/>
                  </a:cubicBezTo>
                  <a:cubicBezTo>
                    <a:pt x="851" y="1730"/>
                    <a:pt x="846" y="1678"/>
                    <a:pt x="846" y="1625"/>
                  </a:cubicBezTo>
                  <a:cubicBezTo>
                    <a:pt x="846" y="1144"/>
                    <a:pt x="1237" y="753"/>
                    <a:pt x="1718" y="753"/>
                  </a:cubicBezTo>
                  <a:cubicBezTo>
                    <a:pt x="1792" y="753"/>
                    <a:pt x="1867" y="763"/>
                    <a:pt x="1943" y="783"/>
                  </a:cubicBezTo>
                  <a:cubicBezTo>
                    <a:pt x="1966" y="789"/>
                    <a:pt x="1990" y="786"/>
                    <a:pt x="2011" y="774"/>
                  </a:cubicBezTo>
                  <a:cubicBezTo>
                    <a:pt x="2031" y="762"/>
                    <a:pt x="2046" y="742"/>
                    <a:pt x="2051" y="719"/>
                  </a:cubicBezTo>
                  <a:cubicBezTo>
                    <a:pt x="2130" y="400"/>
                    <a:pt x="2416" y="176"/>
                    <a:pt x="2745" y="176"/>
                  </a:cubicBezTo>
                  <a:cubicBezTo>
                    <a:pt x="3139" y="176"/>
                    <a:pt x="3460" y="497"/>
                    <a:pt x="3460" y="891"/>
                  </a:cubicBezTo>
                  <a:lnTo>
                    <a:pt x="3460" y="2761"/>
                  </a:lnTo>
                  <a:close/>
                  <a:moveTo>
                    <a:pt x="2742" y="1048"/>
                  </a:moveTo>
                  <a:cubicBezTo>
                    <a:pt x="2655" y="1048"/>
                    <a:pt x="2585" y="978"/>
                    <a:pt x="2585" y="891"/>
                  </a:cubicBezTo>
                  <a:cubicBezTo>
                    <a:pt x="2585" y="805"/>
                    <a:pt x="2655" y="735"/>
                    <a:pt x="2742" y="735"/>
                  </a:cubicBezTo>
                  <a:cubicBezTo>
                    <a:pt x="2828" y="735"/>
                    <a:pt x="2898" y="805"/>
                    <a:pt x="2898" y="891"/>
                  </a:cubicBezTo>
                  <a:cubicBezTo>
                    <a:pt x="2898" y="978"/>
                    <a:pt x="2828" y="1048"/>
                    <a:pt x="2742" y="1048"/>
                  </a:cubicBezTo>
                  <a:close/>
                  <a:moveTo>
                    <a:pt x="1836" y="5136"/>
                  </a:moveTo>
                  <a:cubicBezTo>
                    <a:pt x="1923" y="5136"/>
                    <a:pt x="1993" y="5206"/>
                    <a:pt x="1993" y="5292"/>
                  </a:cubicBezTo>
                  <a:cubicBezTo>
                    <a:pt x="1993" y="5379"/>
                    <a:pt x="1923" y="5449"/>
                    <a:pt x="1836" y="5449"/>
                  </a:cubicBezTo>
                  <a:cubicBezTo>
                    <a:pt x="1750" y="5449"/>
                    <a:pt x="1680" y="5379"/>
                    <a:pt x="1680" y="5292"/>
                  </a:cubicBezTo>
                  <a:cubicBezTo>
                    <a:pt x="1680" y="5206"/>
                    <a:pt x="1750" y="5136"/>
                    <a:pt x="1836" y="5136"/>
                  </a:cubicBezTo>
                  <a:close/>
                  <a:moveTo>
                    <a:pt x="1015" y="3336"/>
                  </a:moveTo>
                  <a:cubicBezTo>
                    <a:pt x="1015" y="3423"/>
                    <a:pt x="945" y="3493"/>
                    <a:pt x="858" y="3493"/>
                  </a:cubicBezTo>
                  <a:cubicBezTo>
                    <a:pt x="772" y="3493"/>
                    <a:pt x="702" y="3423"/>
                    <a:pt x="702" y="3336"/>
                  </a:cubicBezTo>
                  <a:cubicBezTo>
                    <a:pt x="702" y="3250"/>
                    <a:pt x="772" y="3180"/>
                    <a:pt x="858" y="3180"/>
                  </a:cubicBezTo>
                  <a:cubicBezTo>
                    <a:pt x="945" y="3180"/>
                    <a:pt x="1015" y="3250"/>
                    <a:pt x="1015" y="3336"/>
                  </a:cubicBezTo>
                  <a:close/>
                  <a:moveTo>
                    <a:pt x="1680" y="1869"/>
                  </a:moveTo>
                  <a:cubicBezTo>
                    <a:pt x="1680" y="1783"/>
                    <a:pt x="1750" y="1713"/>
                    <a:pt x="1836" y="1713"/>
                  </a:cubicBezTo>
                  <a:cubicBezTo>
                    <a:pt x="1923" y="1713"/>
                    <a:pt x="1993" y="1783"/>
                    <a:pt x="1993" y="1869"/>
                  </a:cubicBezTo>
                  <a:cubicBezTo>
                    <a:pt x="1993" y="1956"/>
                    <a:pt x="1923" y="2026"/>
                    <a:pt x="1836" y="2026"/>
                  </a:cubicBezTo>
                  <a:cubicBezTo>
                    <a:pt x="1750" y="2026"/>
                    <a:pt x="1680" y="1956"/>
                    <a:pt x="1680" y="18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uk-UA" sz="900"/>
            </a:p>
          </p:txBody>
        </p:sp>
      </p:grpSp>
      <p:sp>
        <p:nvSpPr>
          <p:cNvPr id="17" name="Text Placeholder 5">
            <a:extLst>
              <a:ext uri="{FF2B5EF4-FFF2-40B4-BE49-F238E27FC236}">
                <a16:creationId xmlns:a16="http://schemas.microsoft.com/office/drawing/2014/main" id="{89B8784A-93E2-6C44-35E0-2AC43977EEB9}"/>
              </a:ext>
            </a:extLst>
          </p:cNvPr>
          <p:cNvSpPr>
            <a:spLocks noGrp="1"/>
          </p:cNvSpPr>
          <p:nvPr>
            <p:ph type="body" sz="quarter" idx="13" hasCustomPrompt="1"/>
          </p:nvPr>
        </p:nvSpPr>
        <p:spPr>
          <a:xfrm>
            <a:off x="6380919" y="2377333"/>
            <a:ext cx="5523781" cy="1830719"/>
          </a:xfrm>
        </p:spPr>
        <p:txBody>
          <a:bodyPr/>
          <a:lstStyle>
            <a:lvl1pPr>
              <a:lnSpc>
                <a:spcPct val="130000"/>
              </a:lnSpc>
              <a:spcAft>
                <a:spcPts val="900"/>
              </a:spcAft>
              <a:defRPr sz="1800"/>
            </a:lvl1pPr>
          </a:lstStyle>
          <a:p>
            <a:r>
              <a:rPr lang="en-US" err="1"/>
              <a:t>Firstname</a:t>
            </a:r>
            <a:r>
              <a:rPr lang="en-US"/>
              <a:t> </a:t>
            </a:r>
            <a:r>
              <a:rPr lang="en-US" err="1"/>
              <a:t>Lastname</a:t>
            </a:r>
            <a:br>
              <a:rPr lang="en-US"/>
            </a:br>
            <a:r>
              <a:rPr lang="en-US"/>
              <a:t>Company, Job Title</a:t>
            </a:r>
            <a:br>
              <a:rPr lang="en-US"/>
            </a:br>
            <a:r>
              <a:rPr lang="en-US"/>
              <a:t>Contact</a:t>
            </a:r>
          </a:p>
        </p:txBody>
      </p:sp>
      <p:sp>
        <p:nvSpPr>
          <p:cNvPr id="7" name="TextBox 6">
            <a:extLst>
              <a:ext uri="{FF2B5EF4-FFF2-40B4-BE49-F238E27FC236}">
                <a16:creationId xmlns:a16="http://schemas.microsoft.com/office/drawing/2014/main" id="{6B77FCB9-0B57-A6F8-DCF6-8221F92B41F8}"/>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rgbClr val="000000"/>
                </a:solidFill>
                <a:latin typeface="IBM Plex Sans" panose="020B0503050203000203" pitchFamily="34" charset="0"/>
                <a:ea typeface="+mj-ea"/>
                <a:cs typeface="+mj-cs"/>
                <a:sym typeface="IBM Plex Sans Light"/>
              </a:rPr>
              <a:t>#IBMTechXchange</a:t>
            </a:r>
          </a:p>
        </p:txBody>
      </p:sp>
    </p:spTree>
    <p:extLst>
      <p:ext uri="{BB962C8B-B14F-4D97-AF65-F5344CB8AC3E}">
        <p14:creationId xmlns:p14="http://schemas.microsoft.com/office/powerpoint/2010/main" val="1526204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Title 1">
            <a:extLst>
              <a:ext uri="{FF2B5EF4-FFF2-40B4-BE49-F238E27FC236}">
                <a16:creationId xmlns:a16="http://schemas.microsoft.com/office/drawing/2014/main" id="{6733F7B7-5AD6-1E43-4FD9-3C700AC2CBD0}"/>
              </a:ext>
            </a:extLst>
          </p:cNvPr>
          <p:cNvSpPr>
            <a:spLocks noGrp="1"/>
          </p:cNvSpPr>
          <p:nvPr>
            <p:ph type="title"/>
          </p:nvPr>
        </p:nvSpPr>
        <p:spPr>
          <a:xfrm>
            <a:off x="269212" y="191938"/>
            <a:ext cx="8768104" cy="646263"/>
          </a:xfrm>
        </p:spPr>
        <p:txBody>
          <a:bodyPr rIns="457200"/>
          <a:lstStyle>
            <a:lvl1pPr>
              <a:lnSpc>
                <a:spcPct val="100000"/>
              </a:lnSpc>
              <a:defRPr sz="4299">
                <a:solidFill>
                  <a:schemeClr val="tx2"/>
                </a:solidFill>
              </a:defRPr>
            </a:lvl1pPr>
          </a:lstStyle>
          <a:p>
            <a:r>
              <a:rPr lang="en-US"/>
              <a:t>Click to edit Master title style</a:t>
            </a:r>
          </a:p>
        </p:txBody>
      </p:sp>
      <p:sp>
        <p:nvSpPr>
          <p:cNvPr id="6" name="Rectangle 5">
            <a:extLst>
              <a:ext uri="{FF2B5EF4-FFF2-40B4-BE49-F238E27FC236}">
                <a16:creationId xmlns:a16="http://schemas.microsoft.com/office/drawing/2014/main" id="{3062CE6B-0DAF-9C00-3396-9CE36E1C1BA0}"/>
              </a:ext>
            </a:extLst>
          </p:cNvPr>
          <p:cNvSpPr/>
          <p:nvPr userDrawn="1"/>
        </p:nvSpPr>
        <p:spPr bwMode="auto">
          <a:xfrm>
            <a:off x="9143603" y="3048000"/>
            <a:ext cx="3047603" cy="3048000"/>
          </a:xfrm>
          <a:prstGeom prst="rect">
            <a:avLst/>
          </a:prstGeom>
          <a:solidFill>
            <a:schemeClr val="bg2"/>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121904" tIns="121904" rIns="121904" bIns="121904" numCol="1" rtlCol="0" anchor="t" anchorCtr="0" compatLnSpc="1">
            <a:prstTxWarp prst="textNoShape">
              <a:avLst/>
            </a:prstTxWarp>
          </a:bodyPr>
          <a:lstStyle/>
          <a:p>
            <a:pPr defTabSz="1218926" fontAlgn="base">
              <a:spcBef>
                <a:spcPct val="0"/>
              </a:spcBef>
              <a:spcAft>
                <a:spcPct val="0"/>
              </a:spcAft>
            </a:pPr>
            <a:endParaRPr lang="en-US" sz="1867">
              <a:solidFill>
                <a:schemeClr val="bg1"/>
              </a:solidFill>
            </a:endParaRPr>
          </a:p>
        </p:txBody>
      </p:sp>
      <p:sp>
        <p:nvSpPr>
          <p:cNvPr id="8" name="Text Placeholder 10">
            <a:extLst>
              <a:ext uri="{FF2B5EF4-FFF2-40B4-BE49-F238E27FC236}">
                <a16:creationId xmlns:a16="http://schemas.microsoft.com/office/drawing/2014/main" id="{5CF6371F-3AE6-2B80-8833-B0E2027EB315}"/>
              </a:ext>
            </a:extLst>
          </p:cNvPr>
          <p:cNvSpPr>
            <a:spLocks noGrp="1"/>
          </p:cNvSpPr>
          <p:nvPr>
            <p:ph type="body" sz="quarter" idx="14"/>
          </p:nvPr>
        </p:nvSpPr>
        <p:spPr>
          <a:xfrm>
            <a:off x="9428523" y="3429001"/>
            <a:ext cx="2474590" cy="2373923"/>
          </a:xfrm>
        </p:spPr>
        <p:txBody>
          <a:bodyPr/>
          <a:lstStyle>
            <a:lvl1pPr>
              <a:spcBef>
                <a:spcPts val="0"/>
              </a:spcBef>
              <a:spcAft>
                <a:spcPts val="1800"/>
              </a:spcAft>
              <a:defRPr sz="1800">
                <a:solidFill>
                  <a:schemeClr val="tx1"/>
                </a:solidFill>
              </a:defRPr>
            </a:lvl1pPr>
            <a:lvl2pPr marL="127990" indent="-127990">
              <a:spcBef>
                <a:spcPts val="0"/>
              </a:spcBef>
              <a:spcAft>
                <a:spcPts val="1800"/>
              </a:spcAft>
              <a:defRPr sz="1800">
                <a:solidFill>
                  <a:schemeClr val="tx1"/>
                </a:solidFill>
              </a:defRPr>
            </a:lvl2pPr>
            <a:lvl3pPr marL="255981" indent="-127990">
              <a:spcBef>
                <a:spcPts val="0"/>
              </a:spcBef>
              <a:spcAft>
                <a:spcPts val="1800"/>
              </a:spcAft>
              <a:defRPr sz="1800">
                <a:solidFill>
                  <a:schemeClr val="tx1"/>
                </a:solidFill>
              </a:defRPr>
            </a:lvl3pPr>
            <a:lvl4pPr marL="383971" indent="-127990">
              <a:spcBef>
                <a:spcPts val="0"/>
              </a:spcBef>
              <a:spcAft>
                <a:spcPts val="1800"/>
              </a:spcAft>
              <a:defRPr sz="18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1">
            <a:extLst>
              <a:ext uri="{FF2B5EF4-FFF2-40B4-BE49-F238E27FC236}">
                <a16:creationId xmlns:a16="http://schemas.microsoft.com/office/drawing/2014/main" id="{F6160B3E-5D79-4A62-FCA2-1B484BEE34FE}"/>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grpSp>
        <p:nvGrpSpPr>
          <p:cNvPr id="16" name="Group 15">
            <a:extLst>
              <a:ext uri="{FF2B5EF4-FFF2-40B4-BE49-F238E27FC236}">
                <a16:creationId xmlns:a16="http://schemas.microsoft.com/office/drawing/2014/main" id="{C57956E6-043C-9154-3AF1-472FFABD7071}"/>
              </a:ext>
            </a:extLst>
          </p:cNvPr>
          <p:cNvGrpSpPr/>
          <p:nvPr userDrawn="1"/>
        </p:nvGrpSpPr>
        <p:grpSpPr>
          <a:xfrm>
            <a:off x="2761890" y="817742"/>
            <a:ext cx="5466433" cy="5278259"/>
            <a:chOff x="6942668" y="1637769"/>
            <a:chExt cx="10515600" cy="10152293"/>
          </a:xfrm>
        </p:grpSpPr>
        <p:sp>
          <p:nvSpPr>
            <p:cNvPr id="10" name="Freeform: Shape 9">
              <a:extLst>
                <a:ext uri="{FF2B5EF4-FFF2-40B4-BE49-F238E27FC236}">
                  <a16:creationId xmlns:a16="http://schemas.microsoft.com/office/drawing/2014/main" id="{042BB4D5-AD73-987F-76B7-38A354A5DCB0}"/>
                </a:ext>
              </a:extLst>
            </p:cNvPr>
            <p:cNvSpPr>
              <a:spLocks noChangeAspect="1"/>
            </p:cNvSpPr>
            <p:nvPr/>
          </p:nvSpPr>
          <p:spPr>
            <a:xfrm>
              <a:off x="6942668" y="6862050"/>
              <a:ext cx="2635137" cy="2635137"/>
            </a:xfrm>
            <a:custGeom>
              <a:avLst/>
              <a:gdLst>
                <a:gd name="connsiteX0" fmla="*/ 210111 w 1432576"/>
                <a:gd name="connsiteY0" fmla="*/ 926399 h 1432576"/>
                <a:gd name="connsiteX1" fmla="*/ 0 w 1432576"/>
                <a:gd name="connsiteY1" fmla="*/ 1432576 h 1432576"/>
                <a:gd name="connsiteX2" fmla="*/ 716288 w 1432576"/>
                <a:gd name="connsiteY2" fmla="*/ 1432576 h 1432576"/>
                <a:gd name="connsiteX3" fmla="*/ 1432576 w 1432576"/>
                <a:gd name="connsiteY3" fmla="*/ 1432576 h 1432576"/>
                <a:gd name="connsiteX4" fmla="*/ 1222465 w 1432576"/>
                <a:gd name="connsiteY4" fmla="*/ 926399 h 1432576"/>
                <a:gd name="connsiteX5" fmla="*/ 716288 w 1432576"/>
                <a:gd name="connsiteY5" fmla="*/ 716288 h 1432576"/>
                <a:gd name="connsiteX6" fmla="*/ 210111 w 1432576"/>
                <a:gd name="connsiteY6" fmla="*/ 926399 h 1432576"/>
                <a:gd name="connsiteX7" fmla="*/ 210111 w 1432576"/>
                <a:gd name="connsiteY7" fmla="*/ 506912 h 1432576"/>
                <a:gd name="connsiteX8" fmla="*/ 0 w 1432576"/>
                <a:gd name="connsiteY8" fmla="*/ 0 h 1432576"/>
                <a:gd name="connsiteX9" fmla="*/ 716288 w 1432576"/>
                <a:gd name="connsiteY9" fmla="*/ 0 h 1432576"/>
                <a:gd name="connsiteX10" fmla="*/ 1432576 w 1432576"/>
                <a:gd name="connsiteY10" fmla="*/ 0 h 1432576"/>
                <a:gd name="connsiteX11" fmla="*/ 1222465 w 1432576"/>
                <a:gd name="connsiteY11" fmla="*/ 506177 h 1432576"/>
                <a:gd name="connsiteX12" fmla="*/ 716288 w 1432576"/>
                <a:gd name="connsiteY12" fmla="*/ 716288 h 1432576"/>
                <a:gd name="connsiteX13" fmla="*/ 210111 w 1432576"/>
                <a:gd name="connsiteY13" fmla="*/ 506912 h 143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32576" h="1432576">
                  <a:moveTo>
                    <a:pt x="210111" y="926399"/>
                  </a:moveTo>
                  <a:cubicBezTo>
                    <a:pt x="75669" y="1060841"/>
                    <a:pt x="0" y="1243035"/>
                    <a:pt x="0" y="1432576"/>
                  </a:cubicBezTo>
                  <a:lnTo>
                    <a:pt x="716288" y="1432576"/>
                  </a:lnTo>
                  <a:lnTo>
                    <a:pt x="1432576" y="1432576"/>
                  </a:lnTo>
                  <a:cubicBezTo>
                    <a:pt x="1432576" y="1242301"/>
                    <a:pt x="1356907" y="1060106"/>
                    <a:pt x="1222465" y="926399"/>
                  </a:cubicBezTo>
                  <a:cubicBezTo>
                    <a:pt x="1088023" y="792692"/>
                    <a:pt x="905829" y="716288"/>
                    <a:pt x="716288" y="716288"/>
                  </a:cubicBezTo>
                  <a:cubicBezTo>
                    <a:pt x="526747" y="716288"/>
                    <a:pt x="343818" y="791957"/>
                    <a:pt x="210111" y="926399"/>
                  </a:cubicBezTo>
                  <a:close/>
                  <a:moveTo>
                    <a:pt x="210111" y="506912"/>
                  </a:moveTo>
                  <a:cubicBezTo>
                    <a:pt x="75669" y="372470"/>
                    <a:pt x="0" y="190276"/>
                    <a:pt x="0" y="0"/>
                  </a:cubicBezTo>
                  <a:lnTo>
                    <a:pt x="716288" y="0"/>
                  </a:lnTo>
                  <a:lnTo>
                    <a:pt x="1432576" y="0"/>
                  </a:lnTo>
                  <a:cubicBezTo>
                    <a:pt x="1432576" y="190276"/>
                    <a:pt x="1356907" y="372470"/>
                    <a:pt x="1222465" y="506177"/>
                  </a:cubicBezTo>
                  <a:cubicBezTo>
                    <a:pt x="1088023" y="639884"/>
                    <a:pt x="905829" y="716288"/>
                    <a:pt x="716288" y="716288"/>
                  </a:cubicBezTo>
                  <a:cubicBezTo>
                    <a:pt x="526747" y="716288"/>
                    <a:pt x="343818" y="641353"/>
                    <a:pt x="210111" y="506912"/>
                  </a:cubicBezTo>
                  <a:close/>
                </a:path>
              </a:pathLst>
            </a:custGeom>
            <a:solidFill>
              <a:srgbClr val="82CFFF"/>
            </a:solidFill>
            <a:ln w="7342" cap="flat">
              <a:noFill/>
              <a:prstDash val="solid"/>
              <a:miter/>
            </a:ln>
          </p:spPr>
          <p:txBody>
            <a:bodyPr rtlCol="0" anchor="ctr"/>
            <a:lstStyle/>
            <a:p>
              <a:endParaRPr lang="uk-UA" sz="900"/>
            </a:p>
          </p:txBody>
        </p:sp>
        <p:sp>
          <p:nvSpPr>
            <p:cNvPr id="11" name="Freeform: Shape 10">
              <a:extLst>
                <a:ext uri="{FF2B5EF4-FFF2-40B4-BE49-F238E27FC236}">
                  <a16:creationId xmlns:a16="http://schemas.microsoft.com/office/drawing/2014/main" id="{F611567E-C8D0-448A-9743-5236E0F534D6}"/>
                </a:ext>
              </a:extLst>
            </p:cNvPr>
            <p:cNvSpPr>
              <a:spLocks noChangeAspect="1"/>
            </p:cNvSpPr>
            <p:nvPr/>
          </p:nvSpPr>
          <p:spPr>
            <a:xfrm>
              <a:off x="9576042" y="6862049"/>
              <a:ext cx="2627365" cy="2627367"/>
            </a:xfrm>
            <a:custGeom>
              <a:avLst/>
              <a:gdLst>
                <a:gd name="connsiteX0" fmla="*/ 716288 w 1432576"/>
                <a:gd name="connsiteY0" fmla="*/ 1432576 h 1432576"/>
                <a:gd name="connsiteX1" fmla="*/ 716288 w 1432576"/>
                <a:gd name="connsiteY1" fmla="*/ 0 h 1432576"/>
                <a:gd name="connsiteX2" fmla="*/ 1432576 w 1432576"/>
                <a:gd name="connsiteY2" fmla="*/ 716288 h 1432576"/>
                <a:gd name="connsiteX3" fmla="*/ 716288 w 1432576"/>
                <a:gd name="connsiteY3" fmla="*/ 1432576 h 1432576"/>
                <a:gd name="connsiteX4" fmla="*/ 0 w 1432576"/>
                <a:gd name="connsiteY4" fmla="*/ 1432576 h 1432576"/>
                <a:gd name="connsiteX5" fmla="*/ 0 w 1432576"/>
                <a:gd name="connsiteY5" fmla="*/ 0 h 1432576"/>
                <a:gd name="connsiteX6" fmla="*/ 716288 w 1432576"/>
                <a:gd name="connsiteY6" fmla="*/ 716288 h 1432576"/>
                <a:gd name="connsiteX7" fmla="*/ 0 w 1432576"/>
                <a:gd name="connsiteY7" fmla="*/ 1432576 h 143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2576" h="1432576">
                  <a:moveTo>
                    <a:pt x="716288" y="1432576"/>
                  </a:moveTo>
                  <a:lnTo>
                    <a:pt x="716288" y="0"/>
                  </a:lnTo>
                  <a:lnTo>
                    <a:pt x="1432576" y="716288"/>
                  </a:lnTo>
                  <a:lnTo>
                    <a:pt x="716288" y="1432576"/>
                  </a:lnTo>
                  <a:close/>
                  <a:moveTo>
                    <a:pt x="0" y="1432576"/>
                  </a:moveTo>
                  <a:lnTo>
                    <a:pt x="0" y="0"/>
                  </a:lnTo>
                  <a:lnTo>
                    <a:pt x="716288" y="716288"/>
                  </a:lnTo>
                  <a:lnTo>
                    <a:pt x="0" y="1432576"/>
                  </a:lnTo>
                  <a:close/>
                </a:path>
              </a:pathLst>
            </a:custGeom>
            <a:solidFill>
              <a:srgbClr val="6FDC8C"/>
            </a:solidFill>
            <a:ln w="7342" cap="flat">
              <a:noFill/>
              <a:prstDash val="solid"/>
              <a:miter/>
            </a:ln>
          </p:spPr>
          <p:txBody>
            <a:bodyPr rtlCol="0" anchor="ctr"/>
            <a:lstStyle/>
            <a:p>
              <a:endParaRPr lang="uk-UA" sz="900"/>
            </a:p>
          </p:txBody>
        </p:sp>
        <p:sp>
          <p:nvSpPr>
            <p:cNvPr id="12" name="Freeform 51">
              <a:extLst>
                <a:ext uri="{FF2B5EF4-FFF2-40B4-BE49-F238E27FC236}">
                  <a16:creationId xmlns:a16="http://schemas.microsoft.com/office/drawing/2014/main" id="{5CF0DB26-C4CF-BD12-69F7-DB229CBF5260}"/>
                </a:ext>
              </a:extLst>
            </p:cNvPr>
            <p:cNvSpPr>
              <a:spLocks noEditPoints="1"/>
            </p:cNvSpPr>
            <p:nvPr/>
          </p:nvSpPr>
          <p:spPr bwMode="auto">
            <a:xfrm>
              <a:off x="6942668" y="9489416"/>
              <a:ext cx="2627365" cy="2300646"/>
            </a:xfrm>
            <a:custGeom>
              <a:avLst/>
              <a:gdLst>
                <a:gd name="T0" fmla="*/ 864 w 1729"/>
                <a:gd name="T1" fmla="*/ 1514 h 1514"/>
                <a:gd name="T2" fmla="*/ 108 w 1729"/>
                <a:gd name="T3" fmla="*/ 805 h 1514"/>
                <a:gd name="T4" fmla="*/ 28 w 1729"/>
                <a:gd name="T5" fmla="*/ 885 h 1514"/>
                <a:gd name="T6" fmla="*/ 0 w 1729"/>
                <a:gd name="T7" fmla="*/ 856 h 1514"/>
                <a:gd name="T8" fmla="*/ 127 w 1729"/>
                <a:gd name="T9" fmla="*/ 728 h 1514"/>
                <a:gd name="T10" fmla="*/ 255 w 1729"/>
                <a:gd name="T11" fmla="*/ 856 h 1514"/>
                <a:gd name="T12" fmla="*/ 226 w 1729"/>
                <a:gd name="T13" fmla="*/ 885 h 1514"/>
                <a:gd name="T14" fmla="*/ 150 w 1729"/>
                <a:gd name="T15" fmla="*/ 808 h 1514"/>
                <a:gd name="T16" fmla="*/ 864 w 1729"/>
                <a:gd name="T17" fmla="*/ 1474 h 1514"/>
                <a:gd name="T18" fmla="*/ 1561 w 1729"/>
                <a:gd name="T19" fmla="*/ 923 h 1514"/>
                <a:gd name="T20" fmla="*/ 1601 w 1729"/>
                <a:gd name="T21" fmla="*/ 932 h 1514"/>
                <a:gd name="T22" fmla="*/ 864 w 1729"/>
                <a:gd name="T23" fmla="*/ 1514 h 1514"/>
                <a:gd name="T24" fmla="*/ 864 w 1729"/>
                <a:gd name="T25" fmla="*/ 1098 h 1514"/>
                <a:gd name="T26" fmla="*/ 541 w 1729"/>
                <a:gd name="T27" fmla="*/ 774 h 1514"/>
                <a:gd name="T28" fmla="*/ 481 w 1729"/>
                <a:gd name="T29" fmla="*/ 631 h 1514"/>
                <a:gd name="T30" fmla="*/ 541 w 1729"/>
                <a:gd name="T31" fmla="*/ 485 h 1514"/>
                <a:gd name="T32" fmla="*/ 685 w 1729"/>
                <a:gd name="T33" fmla="*/ 425 h 1514"/>
                <a:gd name="T34" fmla="*/ 685 w 1729"/>
                <a:gd name="T35" fmla="*/ 425 h 1514"/>
                <a:gd name="T36" fmla="*/ 830 w 1729"/>
                <a:gd name="T37" fmla="*/ 485 h 1514"/>
                <a:gd name="T38" fmla="*/ 864 w 1729"/>
                <a:gd name="T39" fmla="*/ 519 h 1514"/>
                <a:gd name="T40" fmla="*/ 898 w 1729"/>
                <a:gd name="T41" fmla="*/ 485 h 1514"/>
                <a:gd name="T42" fmla="*/ 1043 w 1729"/>
                <a:gd name="T43" fmla="*/ 425 h 1514"/>
                <a:gd name="T44" fmla="*/ 1188 w 1729"/>
                <a:gd name="T45" fmla="*/ 485 h 1514"/>
                <a:gd name="T46" fmla="*/ 1248 w 1729"/>
                <a:gd name="T47" fmla="*/ 633 h 1514"/>
                <a:gd name="T48" fmla="*/ 1188 w 1729"/>
                <a:gd name="T49" fmla="*/ 774 h 1514"/>
                <a:gd name="T50" fmla="*/ 864 w 1729"/>
                <a:gd name="T51" fmla="*/ 1098 h 1514"/>
                <a:gd name="T52" fmla="*/ 685 w 1729"/>
                <a:gd name="T53" fmla="*/ 466 h 1514"/>
                <a:gd name="T54" fmla="*/ 685 w 1729"/>
                <a:gd name="T55" fmla="*/ 466 h 1514"/>
                <a:gd name="T56" fmla="*/ 569 w 1729"/>
                <a:gd name="T57" fmla="*/ 514 h 1514"/>
                <a:gd name="T58" fmla="*/ 521 w 1729"/>
                <a:gd name="T59" fmla="*/ 630 h 1514"/>
                <a:gd name="T60" fmla="*/ 569 w 1729"/>
                <a:gd name="T61" fmla="*/ 746 h 1514"/>
                <a:gd name="T62" fmla="*/ 864 w 1729"/>
                <a:gd name="T63" fmla="*/ 1040 h 1514"/>
                <a:gd name="T64" fmla="*/ 1159 w 1729"/>
                <a:gd name="T65" fmla="*/ 746 h 1514"/>
                <a:gd name="T66" fmla="*/ 1207 w 1729"/>
                <a:gd name="T67" fmla="*/ 633 h 1514"/>
                <a:gd name="T68" fmla="*/ 1159 w 1729"/>
                <a:gd name="T69" fmla="*/ 514 h 1514"/>
                <a:gd name="T70" fmla="*/ 1043 w 1729"/>
                <a:gd name="T71" fmla="*/ 466 h 1514"/>
                <a:gd name="T72" fmla="*/ 927 w 1729"/>
                <a:gd name="T73" fmla="*/ 514 h 1514"/>
                <a:gd name="T74" fmla="*/ 864 w 1729"/>
                <a:gd name="T75" fmla="*/ 576 h 1514"/>
                <a:gd name="T76" fmla="*/ 801 w 1729"/>
                <a:gd name="T77" fmla="*/ 514 h 1514"/>
                <a:gd name="T78" fmla="*/ 685 w 1729"/>
                <a:gd name="T79" fmla="*/ 466 h 1514"/>
                <a:gd name="T80" fmla="*/ 1601 w 1729"/>
                <a:gd name="T81" fmla="*/ 786 h 1514"/>
                <a:gd name="T82" fmla="*/ 1473 w 1729"/>
                <a:gd name="T83" fmla="*/ 658 h 1514"/>
                <a:gd name="T84" fmla="*/ 1502 w 1729"/>
                <a:gd name="T85" fmla="*/ 629 h 1514"/>
                <a:gd name="T86" fmla="*/ 1579 w 1729"/>
                <a:gd name="T87" fmla="*/ 706 h 1514"/>
                <a:gd name="T88" fmla="*/ 864 w 1729"/>
                <a:gd name="T89" fmla="*/ 41 h 1514"/>
                <a:gd name="T90" fmla="*/ 167 w 1729"/>
                <a:gd name="T91" fmla="*/ 592 h 1514"/>
                <a:gd name="T92" fmla="*/ 127 w 1729"/>
                <a:gd name="T93" fmla="*/ 582 h 1514"/>
                <a:gd name="T94" fmla="*/ 864 w 1729"/>
                <a:gd name="T95" fmla="*/ 0 h 1514"/>
                <a:gd name="T96" fmla="*/ 1620 w 1729"/>
                <a:gd name="T97" fmla="*/ 709 h 1514"/>
                <a:gd name="T98" fmla="*/ 1700 w 1729"/>
                <a:gd name="T99" fmla="*/ 629 h 1514"/>
                <a:gd name="T100" fmla="*/ 1729 w 1729"/>
                <a:gd name="T101" fmla="*/ 658 h 1514"/>
                <a:gd name="T102" fmla="*/ 1601 w 1729"/>
                <a:gd name="T103" fmla="*/ 786 h 1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29" h="1514">
                  <a:moveTo>
                    <a:pt x="864" y="1514"/>
                  </a:moveTo>
                  <a:cubicBezTo>
                    <a:pt x="463" y="1514"/>
                    <a:pt x="133" y="1200"/>
                    <a:pt x="108" y="805"/>
                  </a:cubicBezTo>
                  <a:cubicBezTo>
                    <a:pt x="28" y="885"/>
                    <a:pt x="28" y="885"/>
                    <a:pt x="28" y="885"/>
                  </a:cubicBezTo>
                  <a:cubicBezTo>
                    <a:pt x="0" y="856"/>
                    <a:pt x="0" y="856"/>
                    <a:pt x="0" y="856"/>
                  </a:cubicBezTo>
                  <a:cubicBezTo>
                    <a:pt x="127" y="728"/>
                    <a:pt x="127" y="728"/>
                    <a:pt x="127" y="728"/>
                  </a:cubicBezTo>
                  <a:cubicBezTo>
                    <a:pt x="255" y="856"/>
                    <a:pt x="255" y="856"/>
                    <a:pt x="255" y="856"/>
                  </a:cubicBezTo>
                  <a:cubicBezTo>
                    <a:pt x="226" y="885"/>
                    <a:pt x="226" y="885"/>
                    <a:pt x="226" y="885"/>
                  </a:cubicBezTo>
                  <a:cubicBezTo>
                    <a:pt x="150" y="808"/>
                    <a:pt x="150" y="808"/>
                    <a:pt x="150" y="808"/>
                  </a:cubicBezTo>
                  <a:cubicBezTo>
                    <a:pt x="176" y="1180"/>
                    <a:pt x="486" y="1474"/>
                    <a:pt x="864" y="1474"/>
                  </a:cubicBezTo>
                  <a:cubicBezTo>
                    <a:pt x="1198" y="1474"/>
                    <a:pt x="1485" y="1247"/>
                    <a:pt x="1561" y="923"/>
                  </a:cubicBezTo>
                  <a:cubicBezTo>
                    <a:pt x="1601" y="932"/>
                    <a:pt x="1601" y="932"/>
                    <a:pt x="1601" y="932"/>
                  </a:cubicBezTo>
                  <a:cubicBezTo>
                    <a:pt x="1520" y="1275"/>
                    <a:pt x="1217" y="1514"/>
                    <a:pt x="864" y="1514"/>
                  </a:cubicBezTo>
                  <a:close/>
                  <a:moveTo>
                    <a:pt x="864" y="1098"/>
                  </a:moveTo>
                  <a:cubicBezTo>
                    <a:pt x="541" y="774"/>
                    <a:pt x="541" y="774"/>
                    <a:pt x="541" y="774"/>
                  </a:cubicBezTo>
                  <a:cubicBezTo>
                    <a:pt x="502" y="736"/>
                    <a:pt x="481" y="685"/>
                    <a:pt x="481" y="631"/>
                  </a:cubicBezTo>
                  <a:cubicBezTo>
                    <a:pt x="480" y="575"/>
                    <a:pt x="502" y="524"/>
                    <a:pt x="541" y="485"/>
                  </a:cubicBezTo>
                  <a:cubicBezTo>
                    <a:pt x="579" y="446"/>
                    <a:pt x="630" y="425"/>
                    <a:pt x="685" y="425"/>
                  </a:cubicBezTo>
                  <a:cubicBezTo>
                    <a:pt x="685" y="425"/>
                    <a:pt x="685" y="425"/>
                    <a:pt x="685" y="425"/>
                  </a:cubicBezTo>
                  <a:cubicBezTo>
                    <a:pt x="740" y="425"/>
                    <a:pt x="792" y="446"/>
                    <a:pt x="830" y="485"/>
                  </a:cubicBezTo>
                  <a:cubicBezTo>
                    <a:pt x="864" y="519"/>
                    <a:pt x="864" y="519"/>
                    <a:pt x="864" y="519"/>
                  </a:cubicBezTo>
                  <a:cubicBezTo>
                    <a:pt x="898" y="485"/>
                    <a:pt x="898" y="485"/>
                    <a:pt x="898" y="485"/>
                  </a:cubicBezTo>
                  <a:cubicBezTo>
                    <a:pt x="937" y="446"/>
                    <a:pt x="988" y="425"/>
                    <a:pt x="1043" y="425"/>
                  </a:cubicBezTo>
                  <a:cubicBezTo>
                    <a:pt x="1098" y="425"/>
                    <a:pt x="1149" y="446"/>
                    <a:pt x="1188" y="485"/>
                  </a:cubicBezTo>
                  <a:cubicBezTo>
                    <a:pt x="1227" y="524"/>
                    <a:pt x="1249" y="577"/>
                    <a:pt x="1248" y="633"/>
                  </a:cubicBezTo>
                  <a:cubicBezTo>
                    <a:pt x="1247" y="687"/>
                    <a:pt x="1225" y="737"/>
                    <a:pt x="1188" y="774"/>
                  </a:cubicBezTo>
                  <a:lnTo>
                    <a:pt x="864" y="1098"/>
                  </a:lnTo>
                  <a:close/>
                  <a:moveTo>
                    <a:pt x="685" y="466"/>
                  </a:moveTo>
                  <a:cubicBezTo>
                    <a:pt x="685" y="466"/>
                    <a:pt x="685" y="466"/>
                    <a:pt x="685" y="466"/>
                  </a:cubicBezTo>
                  <a:cubicBezTo>
                    <a:pt x="641" y="466"/>
                    <a:pt x="600" y="483"/>
                    <a:pt x="569" y="514"/>
                  </a:cubicBezTo>
                  <a:cubicBezTo>
                    <a:pt x="538" y="545"/>
                    <a:pt x="521" y="586"/>
                    <a:pt x="521" y="630"/>
                  </a:cubicBezTo>
                  <a:cubicBezTo>
                    <a:pt x="522" y="674"/>
                    <a:pt x="539" y="715"/>
                    <a:pt x="569" y="746"/>
                  </a:cubicBezTo>
                  <a:cubicBezTo>
                    <a:pt x="864" y="1040"/>
                    <a:pt x="864" y="1040"/>
                    <a:pt x="864" y="1040"/>
                  </a:cubicBezTo>
                  <a:cubicBezTo>
                    <a:pt x="1159" y="746"/>
                    <a:pt x="1159" y="746"/>
                    <a:pt x="1159" y="746"/>
                  </a:cubicBezTo>
                  <a:cubicBezTo>
                    <a:pt x="1189" y="715"/>
                    <a:pt x="1206" y="675"/>
                    <a:pt x="1207" y="633"/>
                  </a:cubicBezTo>
                  <a:cubicBezTo>
                    <a:pt x="1208" y="588"/>
                    <a:pt x="1191" y="545"/>
                    <a:pt x="1159" y="514"/>
                  </a:cubicBezTo>
                  <a:cubicBezTo>
                    <a:pt x="1128" y="483"/>
                    <a:pt x="1087" y="466"/>
                    <a:pt x="1043" y="466"/>
                  </a:cubicBezTo>
                  <a:cubicBezTo>
                    <a:pt x="999" y="466"/>
                    <a:pt x="958" y="483"/>
                    <a:pt x="927" y="514"/>
                  </a:cubicBezTo>
                  <a:cubicBezTo>
                    <a:pt x="864" y="576"/>
                    <a:pt x="864" y="576"/>
                    <a:pt x="864" y="576"/>
                  </a:cubicBezTo>
                  <a:cubicBezTo>
                    <a:pt x="801" y="514"/>
                    <a:pt x="801" y="514"/>
                    <a:pt x="801" y="514"/>
                  </a:cubicBezTo>
                  <a:cubicBezTo>
                    <a:pt x="770" y="483"/>
                    <a:pt x="729" y="466"/>
                    <a:pt x="685" y="466"/>
                  </a:cubicBezTo>
                  <a:close/>
                  <a:moveTo>
                    <a:pt x="1601" y="786"/>
                  </a:moveTo>
                  <a:cubicBezTo>
                    <a:pt x="1473" y="658"/>
                    <a:pt x="1473" y="658"/>
                    <a:pt x="1473" y="658"/>
                  </a:cubicBezTo>
                  <a:cubicBezTo>
                    <a:pt x="1502" y="629"/>
                    <a:pt x="1502" y="629"/>
                    <a:pt x="1502" y="629"/>
                  </a:cubicBezTo>
                  <a:cubicBezTo>
                    <a:pt x="1579" y="706"/>
                    <a:pt x="1579" y="706"/>
                    <a:pt x="1579" y="706"/>
                  </a:cubicBezTo>
                  <a:cubicBezTo>
                    <a:pt x="1553" y="335"/>
                    <a:pt x="1242" y="41"/>
                    <a:pt x="864" y="41"/>
                  </a:cubicBezTo>
                  <a:cubicBezTo>
                    <a:pt x="530" y="41"/>
                    <a:pt x="244" y="267"/>
                    <a:pt x="167" y="592"/>
                  </a:cubicBezTo>
                  <a:cubicBezTo>
                    <a:pt x="127" y="582"/>
                    <a:pt x="127" y="582"/>
                    <a:pt x="127" y="582"/>
                  </a:cubicBezTo>
                  <a:cubicBezTo>
                    <a:pt x="208" y="239"/>
                    <a:pt x="511" y="0"/>
                    <a:pt x="864" y="0"/>
                  </a:cubicBezTo>
                  <a:cubicBezTo>
                    <a:pt x="1266" y="0"/>
                    <a:pt x="1595" y="314"/>
                    <a:pt x="1620" y="709"/>
                  </a:cubicBezTo>
                  <a:cubicBezTo>
                    <a:pt x="1700" y="629"/>
                    <a:pt x="1700" y="629"/>
                    <a:pt x="1700" y="629"/>
                  </a:cubicBezTo>
                  <a:cubicBezTo>
                    <a:pt x="1729" y="658"/>
                    <a:pt x="1729" y="658"/>
                    <a:pt x="1729" y="658"/>
                  </a:cubicBezTo>
                  <a:lnTo>
                    <a:pt x="1601" y="78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uk-UA" sz="900"/>
            </a:p>
          </p:txBody>
        </p:sp>
        <p:sp>
          <p:nvSpPr>
            <p:cNvPr id="13" name="Freeform: Shape 12">
              <a:extLst>
                <a:ext uri="{FF2B5EF4-FFF2-40B4-BE49-F238E27FC236}">
                  <a16:creationId xmlns:a16="http://schemas.microsoft.com/office/drawing/2014/main" id="{D2972600-4154-B967-EC67-DD52A5BD7094}"/>
                </a:ext>
              </a:extLst>
            </p:cNvPr>
            <p:cNvSpPr>
              <a:spLocks noChangeAspect="1"/>
            </p:cNvSpPr>
            <p:nvPr/>
          </p:nvSpPr>
          <p:spPr>
            <a:xfrm>
              <a:off x="12205170" y="1637769"/>
              <a:ext cx="2627498" cy="2627497"/>
            </a:xfrm>
            <a:custGeom>
              <a:avLst/>
              <a:gdLst>
                <a:gd name="connsiteX0" fmla="*/ 1432576 w 1432576"/>
                <a:gd name="connsiteY0" fmla="*/ 1432576 h 1432576"/>
                <a:gd name="connsiteX1" fmla="*/ 1432576 w 1432576"/>
                <a:gd name="connsiteY1" fmla="*/ 0 h 1432576"/>
                <a:gd name="connsiteX2" fmla="*/ 716288 w 1432576"/>
                <a:gd name="connsiteY2" fmla="*/ 716288 h 1432576"/>
                <a:gd name="connsiteX3" fmla="*/ 0 w 1432576"/>
                <a:gd name="connsiteY3" fmla="*/ 0 h 1432576"/>
                <a:gd name="connsiteX4" fmla="*/ 0 w 1432576"/>
                <a:gd name="connsiteY4" fmla="*/ 1432576 h 1432576"/>
                <a:gd name="connsiteX5" fmla="*/ 716288 w 1432576"/>
                <a:gd name="connsiteY5" fmla="*/ 716288 h 143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2576" h="1432576">
                  <a:moveTo>
                    <a:pt x="1432576" y="1432576"/>
                  </a:moveTo>
                  <a:lnTo>
                    <a:pt x="1432576" y="0"/>
                  </a:lnTo>
                  <a:lnTo>
                    <a:pt x="716288" y="716288"/>
                  </a:lnTo>
                  <a:lnTo>
                    <a:pt x="0" y="0"/>
                  </a:lnTo>
                  <a:lnTo>
                    <a:pt x="0" y="1432576"/>
                  </a:lnTo>
                  <a:lnTo>
                    <a:pt x="716288" y="716288"/>
                  </a:lnTo>
                  <a:close/>
                </a:path>
              </a:pathLst>
            </a:custGeom>
            <a:solidFill>
              <a:srgbClr val="D02670"/>
            </a:solidFill>
            <a:ln w="7342" cap="flat">
              <a:noFill/>
              <a:prstDash val="solid"/>
              <a:miter/>
            </a:ln>
          </p:spPr>
          <p:txBody>
            <a:bodyPr rtlCol="0" anchor="ctr"/>
            <a:lstStyle/>
            <a:p>
              <a:endParaRPr lang="uk-UA" sz="900"/>
            </a:p>
          </p:txBody>
        </p:sp>
        <p:sp>
          <p:nvSpPr>
            <p:cNvPr id="14" name="Freeform: Shape 13">
              <a:extLst>
                <a:ext uri="{FF2B5EF4-FFF2-40B4-BE49-F238E27FC236}">
                  <a16:creationId xmlns:a16="http://schemas.microsoft.com/office/drawing/2014/main" id="{E74DAC60-F4CE-135D-45BD-1E79D0919FAD}"/>
                </a:ext>
              </a:extLst>
            </p:cNvPr>
            <p:cNvSpPr>
              <a:spLocks noChangeAspect="1"/>
            </p:cNvSpPr>
            <p:nvPr/>
          </p:nvSpPr>
          <p:spPr>
            <a:xfrm>
              <a:off x="14830771" y="4265266"/>
              <a:ext cx="2627497" cy="2615995"/>
            </a:xfrm>
            <a:custGeom>
              <a:avLst/>
              <a:gdLst>
                <a:gd name="connsiteX0" fmla="*/ 1002803 w 1998994"/>
                <a:gd name="connsiteY0" fmla="*/ 1581041 h 1990243"/>
                <a:gd name="connsiteX1" fmla="*/ 1247443 w 1998994"/>
                <a:gd name="connsiteY1" fmla="*/ 1338605 h 1990243"/>
                <a:gd name="connsiteX2" fmla="*/ 1002803 w 1998994"/>
                <a:gd name="connsiteY2" fmla="*/ 1096169 h 1990243"/>
                <a:gd name="connsiteX3" fmla="*/ 758163 w 1998994"/>
                <a:gd name="connsiteY3" fmla="*/ 1338605 h 1990243"/>
                <a:gd name="connsiteX4" fmla="*/ 1002803 w 1998994"/>
                <a:gd name="connsiteY4" fmla="*/ 1581041 h 1990243"/>
                <a:gd name="connsiteX5" fmla="*/ 1011619 w 1998994"/>
                <a:gd name="connsiteY5" fmla="*/ 1892534 h 1990243"/>
                <a:gd name="connsiteX6" fmla="*/ 1579507 w 1998994"/>
                <a:gd name="connsiteY6" fmla="*/ 1337870 h 1990243"/>
                <a:gd name="connsiteX7" fmla="*/ 1011619 w 1998994"/>
                <a:gd name="connsiteY7" fmla="*/ 782471 h 1990243"/>
                <a:gd name="connsiteX8" fmla="*/ 443731 w 1998994"/>
                <a:gd name="connsiteY8" fmla="*/ 1337136 h 1990243"/>
                <a:gd name="connsiteX9" fmla="*/ 1011619 w 1998994"/>
                <a:gd name="connsiteY9" fmla="*/ 1892534 h 1990243"/>
                <a:gd name="connsiteX10" fmla="*/ 0 w 1998994"/>
                <a:gd name="connsiteY10" fmla="*/ 1321708 h 1990243"/>
                <a:gd name="connsiteX11" fmla="*/ 999865 w 1998994"/>
                <a:gd name="connsiteY11" fmla="*/ 660519 h 1990243"/>
                <a:gd name="connsiteX12" fmla="*/ 1998260 w 1998994"/>
                <a:gd name="connsiteY12" fmla="*/ 1329055 h 1990243"/>
                <a:gd name="connsiteX13" fmla="*/ 999865 w 1998994"/>
                <a:gd name="connsiteY13" fmla="*/ 1990244 h 1990243"/>
                <a:gd name="connsiteX14" fmla="*/ 0 w 1998994"/>
                <a:gd name="connsiteY14" fmla="*/ 1321708 h 1990243"/>
                <a:gd name="connsiteX15" fmla="*/ 372470 w 1998994"/>
                <a:gd name="connsiteY15" fmla="*/ 197686 h 1990243"/>
                <a:gd name="connsiteX16" fmla="*/ 999865 w 1998994"/>
                <a:gd name="connsiteY16" fmla="*/ 64 h 1990243"/>
                <a:gd name="connsiteX17" fmla="*/ 1627260 w 1998994"/>
                <a:gd name="connsiteY17" fmla="*/ 197686 h 1990243"/>
                <a:gd name="connsiteX18" fmla="*/ 1998995 w 1998994"/>
                <a:gd name="connsiteY18" fmla="*/ 598808 h 1990243"/>
                <a:gd name="connsiteX19" fmla="*/ 1998995 w 1998994"/>
                <a:gd name="connsiteY19" fmla="*/ 796430 h 1990243"/>
                <a:gd name="connsiteX20" fmla="*/ 1550856 w 1998994"/>
                <a:gd name="connsiteY20" fmla="*/ 470978 h 1990243"/>
                <a:gd name="connsiteX21" fmla="*/ 999865 w 1998994"/>
                <a:gd name="connsiteY21" fmla="*/ 346087 h 1990243"/>
                <a:gd name="connsiteX22" fmla="*/ 448874 w 1998994"/>
                <a:gd name="connsiteY22" fmla="*/ 470978 h 1990243"/>
                <a:gd name="connsiteX23" fmla="*/ 734 w 1998994"/>
                <a:gd name="connsiteY23" fmla="*/ 796430 h 1990243"/>
                <a:gd name="connsiteX24" fmla="*/ 734 w 1998994"/>
                <a:gd name="connsiteY24" fmla="*/ 598808 h 1990243"/>
                <a:gd name="connsiteX25" fmla="*/ 372470 w 1998994"/>
                <a:gd name="connsiteY25" fmla="*/ 197686 h 1990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998994" h="1990243">
                  <a:moveTo>
                    <a:pt x="1002803" y="1581041"/>
                  </a:moveTo>
                  <a:cubicBezTo>
                    <a:pt x="1137980" y="1581041"/>
                    <a:pt x="1247443" y="1472312"/>
                    <a:pt x="1247443" y="1338605"/>
                  </a:cubicBezTo>
                  <a:cubicBezTo>
                    <a:pt x="1247443" y="1204163"/>
                    <a:pt x="1137980" y="1096169"/>
                    <a:pt x="1002803" y="1096169"/>
                  </a:cubicBezTo>
                  <a:cubicBezTo>
                    <a:pt x="867627" y="1096169"/>
                    <a:pt x="758163" y="1204898"/>
                    <a:pt x="758163" y="1338605"/>
                  </a:cubicBezTo>
                  <a:cubicBezTo>
                    <a:pt x="757429" y="1472312"/>
                    <a:pt x="867627" y="1581041"/>
                    <a:pt x="1002803" y="1581041"/>
                  </a:cubicBezTo>
                  <a:close/>
                  <a:moveTo>
                    <a:pt x="1011619" y="1892534"/>
                  </a:moveTo>
                  <a:cubicBezTo>
                    <a:pt x="1325317" y="1892534"/>
                    <a:pt x="1579507" y="1644221"/>
                    <a:pt x="1579507" y="1337870"/>
                  </a:cubicBezTo>
                  <a:cubicBezTo>
                    <a:pt x="1579507" y="1031520"/>
                    <a:pt x="1325317" y="782471"/>
                    <a:pt x="1011619" y="782471"/>
                  </a:cubicBezTo>
                  <a:cubicBezTo>
                    <a:pt x="697922" y="782471"/>
                    <a:pt x="443731" y="1030785"/>
                    <a:pt x="443731" y="1337136"/>
                  </a:cubicBezTo>
                  <a:cubicBezTo>
                    <a:pt x="443731" y="1643487"/>
                    <a:pt x="697187" y="1892534"/>
                    <a:pt x="1011619" y="1892534"/>
                  </a:cubicBezTo>
                  <a:close/>
                  <a:moveTo>
                    <a:pt x="0" y="1321708"/>
                  </a:moveTo>
                  <a:cubicBezTo>
                    <a:pt x="0" y="1321708"/>
                    <a:pt x="230681" y="660519"/>
                    <a:pt x="999865" y="660519"/>
                  </a:cubicBezTo>
                  <a:cubicBezTo>
                    <a:pt x="1769048" y="660519"/>
                    <a:pt x="1998260" y="1329055"/>
                    <a:pt x="1998260" y="1329055"/>
                  </a:cubicBezTo>
                  <a:cubicBezTo>
                    <a:pt x="1998260" y="1329055"/>
                    <a:pt x="1771252" y="1990244"/>
                    <a:pt x="999865" y="1990244"/>
                  </a:cubicBezTo>
                  <a:cubicBezTo>
                    <a:pt x="228477" y="1990244"/>
                    <a:pt x="0" y="1321708"/>
                    <a:pt x="0" y="1321708"/>
                  </a:cubicBezTo>
                  <a:close/>
                  <a:moveTo>
                    <a:pt x="372470" y="197686"/>
                  </a:moveTo>
                  <a:cubicBezTo>
                    <a:pt x="634741" y="1534"/>
                    <a:pt x="951378" y="-670"/>
                    <a:pt x="999865" y="64"/>
                  </a:cubicBezTo>
                  <a:cubicBezTo>
                    <a:pt x="1048352" y="-670"/>
                    <a:pt x="1364988" y="1534"/>
                    <a:pt x="1627260" y="197686"/>
                  </a:cubicBezTo>
                  <a:cubicBezTo>
                    <a:pt x="1911571" y="410736"/>
                    <a:pt x="1998995" y="598808"/>
                    <a:pt x="1998995" y="598808"/>
                  </a:cubicBezTo>
                  <a:lnTo>
                    <a:pt x="1998995" y="796430"/>
                  </a:lnTo>
                  <a:cubicBezTo>
                    <a:pt x="1998995" y="796430"/>
                    <a:pt x="1821208" y="595135"/>
                    <a:pt x="1550856" y="470978"/>
                  </a:cubicBezTo>
                  <a:cubicBezTo>
                    <a:pt x="1304012" y="357841"/>
                    <a:pt x="1043209" y="346821"/>
                    <a:pt x="999865" y="346087"/>
                  </a:cubicBezTo>
                  <a:cubicBezTo>
                    <a:pt x="956520" y="346821"/>
                    <a:pt x="695718" y="357841"/>
                    <a:pt x="448874" y="470978"/>
                  </a:cubicBezTo>
                  <a:cubicBezTo>
                    <a:pt x="178521" y="595135"/>
                    <a:pt x="734" y="796430"/>
                    <a:pt x="734" y="796430"/>
                  </a:cubicBezTo>
                  <a:lnTo>
                    <a:pt x="734" y="598808"/>
                  </a:lnTo>
                  <a:cubicBezTo>
                    <a:pt x="0" y="598808"/>
                    <a:pt x="88159" y="410736"/>
                    <a:pt x="372470" y="197686"/>
                  </a:cubicBezTo>
                  <a:close/>
                </a:path>
              </a:pathLst>
            </a:custGeom>
            <a:solidFill>
              <a:schemeClr val="accent1"/>
            </a:solidFill>
            <a:ln w="7342" cap="flat">
              <a:noFill/>
              <a:prstDash val="solid"/>
              <a:miter/>
            </a:ln>
          </p:spPr>
          <p:txBody>
            <a:bodyPr rtlCol="0" anchor="ctr"/>
            <a:lstStyle/>
            <a:p>
              <a:endParaRPr lang="uk-UA" sz="900"/>
            </a:p>
          </p:txBody>
        </p:sp>
        <p:sp>
          <p:nvSpPr>
            <p:cNvPr id="15" name="Freeform: Shape 14">
              <a:extLst>
                <a:ext uri="{FF2B5EF4-FFF2-40B4-BE49-F238E27FC236}">
                  <a16:creationId xmlns:a16="http://schemas.microsoft.com/office/drawing/2014/main" id="{3D3C316D-E8FA-6F5D-66FB-CFAB01662BFA}"/>
                </a:ext>
              </a:extLst>
            </p:cNvPr>
            <p:cNvSpPr/>
            <p:nvPr/>
          </p:nvSpPr>
          <p:spPr>
            <a:xfrm>
              <a:off x="12205170" y="4265266"/>
              <a:ext cx="2627497" cy="2596786"/>
            </a:xfrm>
            <a:custGeom>
              <a:avLst/>
              <a:gdLst>
                <a:gd name="connsiteX0" fmla="*/ 8348 w 356174"/>
                <a:gd name="connsiteY0" fmla="*/ 123807 h 352011"/>
                <a:gd name="connsiteX1" fmla="*/ 8348 w 356174"/>
                <a:gd name="connsiteY1" fmla="*/ 178093 h 352011"/>
                <a:gd name="connsiteX2" fmla="*/ 0 w 356174"/>
                <a:gd name="connsiteY2" fmla="*/ 178093 h 352011"/>
                <a:gd name="connsiteX3" fmla="*/ 0 w 356174"/>
                <a:gd name="connsiteY3" fmla="*/ 123795 h 352011"/>
                <a:gd name="connsiteX4" fmla="*/ 38807 w 356174"/>
                <a:gd name="connsiteY4" fmla="*/ 66182 h 352011"/>
                <a:gd name="connsiteX5" fmla="*/ 24928 w 356174"/>
                <a:gd name="connsiteY5" fmla="*/ 37219 h 352011"/>
                <a:gd name="connsiteX6" fmla="*/ 62147 w 356174"/>
                <a:gd name="connsiteY6" fmla="*/ 0 h 352011"/>
                <a:gd name="connsiteX7" fmla="*/ 99366 w 356174"/>
                <a:gd name="connsiteY7" fmla="*/ 37219 h 352011"/>
                <a:gd name="connsiteX8" fmla="*/ 85487 w 356174"/>
                <a:gd name="connsiteY8" fmla="*/ 66194 h 352011"/>
                <a:gd name="connsiteX9" fmla="*/ 124294 w 356174"/>
                <a:gd name="connsiteY9" fmla="*/ 123807 h 352011"/>
                <a:gd name="connsiteX10" fmla="*/ 124294 w 356174"/>
                <a:gd name="connsiteY10" fmla="*/ 178093 h 352011"/>
                <a:gd name="connsiteX11" fmla="*/ 115946 w 356174"/>
                <a:gd name="connsiteY11" fmla="*/ 178093 h 352011"/>
                <a:gd name="connsiteX12" fmla="*/ 115946 w 356174"/>
                <a:gd name="connsiteY12" fmla="*/ 123795 h 352011"/>
                <a:gd name="connsiteX13" fmla="*/ 74600 w 356174"/>
                <a:gd name="connsiteY13" fmla="*/ 71457 h 352011"/>
                <a:gd name="connsiteX14" fmla="*/ 71411 w 356174"/>
                <a:gd name="connsiteY14" fmla="*/ 67794 h 352011"/>
                <a:gd name="connsiteX15" fmla="*/ 73869 w 356174"/>
                <a:gd name="connsiteY15" fmla="*/ 63585 h 352011"/>
                <a:gd name="connsiteX16" fmla="*/ 91029 w 356174"/>
                <a:gd name="connsiteY16" fmla="*/ 37207 h 352011"/>
                <a:gd name="connsiteX17" fmla="*/ 62159 w 356174"/>
                <a:gd name="connsiteY17" fmla="*/ 8337 h 352011"/>
                <a:gd name="connsiteX18" fmla="*/ 33276 w 356174"/>
                <a:gd name="connsiteY18" fmla="*/ 37219 h 352011"/>
                <a:gd name="connsiteX19" fmla="*/ 50436 w 356174"/>
                <a:gd name="connsiteY19" fmla="*/ 63596 h 352011"/>
                <a:gd name="connsiteX20" fmla="*/ 52895 w 356174"/>
                <a:gd name="connsiteY20" fmla="*/ 67794 h 352011"/>
                <a:gd name="connsiteX21" fmla="*/ 49694 w 356174"/>
                <a:gd name="connsiteY21" fmla="*/ 71469 h 352011"/>
                <a:gd name="connsiteX22" fmla="*/ 8348 w 356174"/>
                <a:gd name="connsiteY22" fmla="*/ 123807 h 352011"/>
                <a:gd name="connsiteX23" fmla="*/ 317390 w 356174"/>
                <a:gd name="connsiteY23" fmla="*/ 240112 h 352011"/>
                <a:gd name="connsiteX24" fmla="*/ 331269 w 356174"/>
                <a:gd name="connsiteY24" fmla="*/ 211138 h 352011"/>
                <a:gd name="connsiteX25" fmla="*/ 294039 w 356174"/>
                <a:gd name="connsiteY25" fmla="*/ 173919 h 352011"/>
                <a:gd name="connsiteX26" fmla="*/ 256809 w 356174"/>
                <a:gd name="connsiteY26" fmla="*/ 211138 h 352011"/>
                <a:gd name="connsiteX27" fmla="*/ 270687 w 356174"/>
                <a:gd name="connsiteY27" fmla="*/ 240112 h 352011"/>
                <a:gd name="connsiteX28" fmla="*/ 231880 w 356174"/>
                <a:gd name="connsiteY28" fmla="*/ 297726 h 352011"/>
                <a:gd name="connsiteX29" fmla="*/ 231880 w 356174"/>
                <a:gd name="connsiteY29" fmla="*/ 352012 h 352011"/>
                <a:gd name="connsiteX30" fmla="*/ 240240 w 356174"/>
                <a:gd name="connsiteY30" fmla="*/ 352012 h 352011"/>
                <a:gd name="connsiteX31" fmla="*/ 240240 w 356174"/>
                <a:gd name="connsiteY31" fmla="*/ 297714 h 352011"/>
                <a:gd name="connsiteX32" fmla="*/ 281575 w 356174"/>
                <a:gd name="connsiteY32" fmla="*/ 245376 h 352011"/>
                <a:gd name="connsiteX33" fmla="*/ 284763 w 356174"/>
                <a:gd name="connsiteY33" fmla="*/ 241701 h 352011"/>
                <a:gd name="connsiteX34" fmla="*/ 282305 w 356174"/>
                <a:gd name="connsiteY34" fmla="*/ 237504 h 352011"/>
                <a:gd name="connsiteX35" fmla="*/ 265157 w 356174"/>
                <a:gd name="connsiteY35" fmla="*/ 211138 h 352011"/>
                <a:gd name="connsiteX36" fmla="*/ 294027 w 356174"/>
                <a:gd name="connsiteY36" fmla="*/ 182267 h 352011"/>
                <a:gd name="connsiteX37" fmla="*/ 322898 w 356174"/>
                <a:gd name="connsiteY37" fmla="*/ 211138 h 352011"/>
                <a:gd name="connsiteX38" fmla="*/ 305749 w 356174"/>
                <a:gd name="connsiteY38" fmla="*/ 237504 h 352011"/>
                <a:gd name="connsiteX39" fmla="*/ 303291 w 356174"/>
                <a:gd name="connsiteY39" fmla="*/ 241701 h 352011"/>
                <a:gd name="connsiteX40" fmla="*/ 306480 w 356174"/>
                <a:gd name="connsiteY40" fmla="*/ 245376 h 352011"/>
                <a:gd name="connsiteX41" fmla="*/ 347815 w 356174"/>
                <a:gd name="connsiteY41" fmla="*/ 297714 h 352011"/>
                <a:gd name="connsiteX42" fmla="*/ 347815 w 356174"/>
                <a:gd name="connsiteY42" fmla="*/ 352012 h 352011"/>
                <a:gd name="connsiteX43" fmla="*/ 356174 w 356174"/>
                <a:gd name="connsiteY43" fmla="*/ 352012 h 352011"/>
                <a:gd name="connsiteX44" fmla="*/ 356174 w 356174"/>
                <a:gd name="connsiteY44" fmla="*/ 297714 h 352011"/>
                <a:gd name="connsiteX45" fmla="*/ 317390 w 356174"/>
                <a:gd name="connsiteY45" fmla="*/ 240112 h 352011"/>
                <a:gd name="connsiteX46" fmla="*/ 66321 w 356174"/>
                <a:gd name="connsiteY46" fmla="*/ 259255 h 352011"/>
                <a:gd name="connsiteX47" fmla="*/ 66321 w 356174"/>
                <a:gd name="connsiteY47" fmla="*/ 199763 h 352011"/>
                <a:gd name="connsiteX48" fmla="*/ 93986 w 356174"/>
                <a:gd name="connsiteY48" fmla="*/ 227428 h 352011"/>
                <a:gd name="connsiteX49" fmla="*/ 99887 w 356174"/>
                <a:gd name="connsiteY49" fmla="*/ 221515 h 352011"/>
                <a:gd name="connsiteX50" fmla="*/ 62147 w 356174"/>
                <a:gd name="connsiteY50" fmla="*/ 183786 h 352011"/>
                <a:gd name="connsiteX51" fmla="*/ 24418 w 356174"/>
                <a:gd name="connsiteY51" fmla="*/ 221515 h 352011"/>
                <a:gd name="connsiteX52" fmla="*/ 30320 w 356174"/>
                <a:gd name="connsiteY52" fmla="*/ 227428 h 352011"/>
                <a:gd name="connsiteX53" fmla="*/ 57985 w 356174"/>
                <a:gd name="connsiteY53" fmla="*/ 199763 h 352011"/>
                <a:gd name="connsiteX54" fmla="*/ 57985 w 356174"/>
                <a:gd name="connsiteY54" fmla="*/ 259255 h 352011"/>
                <a:gd name="connsiteX55" fmla="*/ 108537 w 356174"/>
                <a:gd name="connsiteY55" fmla="*/ 309808 h 352011"/>
                <a:gd name="connsiteX56" fmla="*/ 212888 w 356174"/>
                <a:gd name="connsiteY56" fmla="*/ 309808 h 352011"/>
                <a:gd name="connsiteX57" fmla="*/ 212888 w 356174"/>
                <a:gd name="connsiteY57" fmla="*/ 301459 h 352011"/>
                <a:gd name="connsiteX58" fmla="*/ 108537 w 356174"/>
                <a:gd name="connsiteY58" fmla="*/ 301459 h 352011"/>
                <a:gd name="connsiteX59" fmla="*/ 66321 w 356174"/>
                <a:gd name="connsiteY59" fmla="*/ 259255 h 352011"/>
                <a:gd name="connsiteX60" fmla="*/ 289865 w 356174"/>
                <a:gd name="connsiteY60" fmla="*/ 85336 h 352011"/>
                <a:gd name="connsiteX61" fmla="*/ 289865 w 356174"/>
                <a:gd name="connsiteY61" fmla="*/ 144816 h 352011"/>
                <a:gd name="connsiteX62" fmla="*/ 262212 w 356174"/>
                <a:gd name="connsiteY62" fmla="*/ 117163 h 352011"/>
                <a:gd name="connsiteX63" fmla="*/ 256299 w 356174"/>
                <a:gd name="connsiteY63" fmla="*/ 123065 h 352011"/>
                <a:gd name="connsiteX64" fmla="*/ 294039 w 356174"/>
                <a:gd name="connsiteY64" fmla="*/ 160805 h 352011"/>
                <a:gd name="connsiteX65" fmla="*/ 331779 w 356174"/>
                <a:gd name="connsiteY65" fmla="*/ 123065 h 352011"/>
                <a:gd name="connsiteX66" fmla="*/ 325866 w 356174"/>
                <a:gd name="connsiteY66" fmla="*/ 117163 h 352011"/>
                <a:gd name="connsiteX67" fmla="*/ 298213 w 356174"/>
                <a:gd name="connsiteY67" fmla="*/ 144816 h 352011"/>
                <a:gd name="connsiteX68" fmla="*/ 298213 w 356174"/>
                <a:gd name="connsiteY68" fmla="*/ 85336 h 352011"/>
                <a:gd name="connsiteX69" fmla="*/ 247661 w 356174"/>
                <a:gd name="connsiteY69" fmla="*/ 34784 h 352011"/>
                <a:gd name="connsiteX70" fmla="*/ 120120 w 356174"/>
                <a:gd name="connsiteY70" fmla="*/ 34784 h 352011"/>
                <a:gd name="connsiteX71" fmla="*/ 120120 w 356174"/>
                <a:gd name="connsiteY71" fmla="*/ 43132 h 352011"/>
                <a:gd name="connsiteX72" fmla="*/ 247661 w 356174"/>
                <a:gd name="connsiteY72" fmla="*/ 43132 h 352011"/>
                <a:gd name="connsiteX73" fmla="*/ 289865 w 356174"/>
                <a:gd name="connsiteY73" fmla="*/ 85336 h 352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356174" h="352011">
                  <a:moveTo>
                    <a:pt x="8348" y="123807"/>
                  </a:moveTo>
                  <a:lnTo>
                    <a:pt x="8348" y="178093"/>
                  </a:lnTo>
                  <a:lnTo>
                    <a:pt x="0" y="178093"/>
                  </a:lnTo>
                  <a:lnTo>
                    <a:pt x="0" y="123795"/>
                  </a:lnTo>
                  <a:cubicBezTo>
                    <a:pt x="0" y="98044"/>
                    <a:pt x="15560" y="75527"/>
                    <a:pt x="38807" y="66182"/>
                  </a:cubicBezTo>
                  <a:cubicBezTo>
                    <a:pt x="30169" y="59237"/>
                    <a:pt x="24928" y="48628"/>
                    <a:pt x="24928" y="37219"/>
                  </a:cubicBezTo>
                  <a:cubicBezTo>
                    <a:pt x="24928" y="16696"/>
                    <a:pt x="41625" y="0"/>
                    <a:pt x="62147" y="0"/>
                  </a:cubicBezTo>
                  <a:cubicBezTo>
                    <a:pt x="82669" y="0"/>
                    <a:pt x="99366" y="16696"/>
                    <a:pt x="99366" y="37219"/>
                  </a:cubicBezTo>
                  <a:cubicBezTo>
                    <a:pt x="99366" y="48628"/>
                    <a:pt x="94125" y="59225"/>
                    <a:pt x="85487" y="66194"/>
                  </a:cubicBezTo>
                  <a:cubicBezTo>
                    <a:pt x="108734" y="75539"/>
                    <a:pt x="124294" y="98055"/>
                    <a:pt x="124294" y="123807"/>
                  </a:cubicBezTo>
                  <a:lnTo>
                    <a:pt x="124294" y="178093"/>
                  </a:lnTo>
                  <a:lnTo>
                    <a:pt x="115946" y="178093"/>
                  </a:lnTo>
                  <a:lnTo>
                    <a:pt x="115946" y="123795"/>
                  </a:lnTo>
                  <a:cubicBezTo>
                    <a:pt x="115946" y="98751"/>
                    <a:pt x="98937" y="77232"/>
                    <a:pt x="74600" y="71457"/>
                  </a:cubicBezTo>
                  <a:cubicBezTo>
                    <a:pt x="72860" y="71052"/>
                    <a:pt x="71573" y="69568"/>
                    <a:pt x="71411" y="67794"/>
                  </a:cubicBezTo>
                  <a:cubicBezTo>
                    <a:pt x="71249" y="66008"/>
                    <a:pt x="72234" y="64315"/>
                    <a:pt x="73869" y="63585"/>
                  </a:cubicBezTo>
                  <a:cubicBezTo>
                    <a:pt x="84293" y="58947"/>
                    <a:pt x="91029" y="48593"/>
                    <a:pt x="91029" y="37207"/>
                  </a:cubicBezTo>
                  <a:cubicBezTo>
                    <a:pt x="91029" y="21288"/>
                    <a:pt x="78078" y="8337"/>
                    <a:pt x="62159" y="8337"/>
                  </a:cubicBezTo>
                  <a:cubicBezTo>
                    <a:pt x="46239" y="8337"/>
                    <a:pt x="33276" y="21299"/>
                    <a:pt x="33276" y="37219"/>
                  </a:cubicBezTo>
                  <a:cubicBezTo>
                    <a:pt x="33276" y="48605"/>
                    <a:pt x="40013" y="58959"/>
                    <a:pt x="50436" y="63596"/>
                  </a:cubicBezTo>
                  <a:cubicBezTo>
                    <a:pt x="52071" y="64327"/>
                    <a:pt x="53057" y="66020"/>
                    <a:pt x="52895" y="67794"/>
                  </a:cubicBezTo>
                  <a:cubicBezTo>
                    <a:pt x="52732" y="69579"/>
                    <a:pt x="51445" y="71063"/>
                    <a:pt x="49694" y="71469"/>
                  </a:cubicBezTo>
                  <a:cubicBezTo>
                    <a:pt x="25357" y="77243"/>
                    <a:pt x="8348" y="98763"/>
                    <a:pt x="8348" y="123807"/>
                  </a:cubicBezTo>
                  <a:close/>
                  <a:moveTo>
                    <a:pt x="317390" y="240112"/>
                  </a:moveTo>
                  <a:cubicBezTo>
                    <a:pt x="326028" y="233144"/>
                    <a:pt x="331269" y="222535"/>
                    <a:pt x="331269" y="211138"/>
                  </a:cubicBezTo>
                  <a:cubicBezTo>
                    <a:pt x="331269" y="190604"/>
                    <a:pt x="314573" y="173919"/>
                    <a:pt x="294039" y="173919"/>
                  </a:cubicBezTo>
                  <a:cubicBezTo>
                    <a:pt x="273505" y="173919"/>
                    <a:pt x="256809" y="190604"/>
                    <a:pt x="256809" y="211138"/>
                  </a:cubicBezTo>
                  <a:cubicBezTo>
                    <a:pt x="256809" y="222535"/>
                    <a:pt x="262049" y="233144"/>
                    <a:pt x="270687" y="240112"/>
                  </a:cubicBezTo>
                  <a:cubicBezTo>
                    <a:pt x="247440" y="249458"/>
                    <a:pt x="231880" y="271974"/>
                    <a:pt x="231880" y="297726"/>
                  </a:cubicBezTo>
                  <a:lnTo>
                    <a:pt x="231880" y="352012"/>
                  </a:lnTo>
                  <a:lnTo>
                    <a:pt x="240240" y="352012"/>
                  </a:lnTo>
                  <a:lnTo>
                    <a:pt x="240240" y="297714"/>
                  </a:lnTo>
                  <a:cubicBezTo>
                    <a:pt x="240240" y="272670"/>
                    <a:pt x="257238" y="251151"/>
                    <a:pt x="281575" y="245376"/>
                  </a:cubicBezTo>
                  <a:cubicBezTo>
                    <a:pt x="283314" y="244959"/>
                    <a:pt x="284601" y="243486"/>
                    <a:pt x="284763" y="241701"/>
                  </a:cubicBezTo>
                  <a:cubicBezTo>
                    <a:pt x="284937" y="239927"/>
                    <a:pt x="283940" y="238223"/>
                    <a:pt x="282305" y="237504"/>
                  </a:cubicBezTo>
                  <a:cubicBezTo>
                    <a:pt x="271882" y="232877"/>
                    <a:pt x="265157" y="222523"/>
                    <a:pt x="265157" y="211138"/>
                  </a:cubicBezTo>
                  <a:cubicBezTo>
                    <a:pt x="265157" y="195218"/>
                    <a:pt x="278108" y="182267"/>
                    <a:pt x="294027" y="182267"/>
                  </a:cubicBezTo>
                  <a:cubicBezTo>
                    <a:pt x="309947" y="182267"/>
                    <a:pt x="322898" y="195218"/>
                    <a:pt x="322898" y="211138"/>
                  </a:cubicBezTo>
                  <a:cubicBezTo>
                    <a:pt x="322898" y="222523"/>
                    <a:pt x="316173" y="232877"/>
                    <a:pt x="305749" y="237504"/>
                  </a:cubicBezTo>
                  <a:cubicBezTo>
                    <a:pt x="304115" y="238223"/>
                    <a:pt x="303117" y="239927"/>
                    <a:pt x="303291" y="241701"/>
                  </a:cubicBezTo>
                  <a:cubicBezTo>
                    <a:pt x="303465" y="243486"/>
                    <a:pt x="304741" y="244959"/>
                    <a:pt x="306480" y="245376"/>
                  </a:cubicBezTo>
                  <a:cubicBezTo>
                    <a:pt x="330829" y="251151"/>
                    <a:pt x="347815" y="272670"/>
                    <a:pt x="347815" y="297714"/>
                  </a:cubicBezTo>
                  <a:lnTo>
                    <a:pt x="347815" y="352012"/>
                  </a:lnTo>
                  <a:lnTo>
                    <a:pt x="356174" y="352012"/>
                  </a:lnTo>
                  <a:lnTo>
                    <a:pt x="356174" y="297714"/>
                  </a:lnTo>
                  <a:cubicBezTo>
                    <a:pt x="356186" y="271974"/>
                    <a:pt x="340638" y="249446"/>
                    <a:pt x="317390" y="240112"/>
                  </a:cubicBezTo>
                  <a:close/>
                  <a:moveTo>
                    <a:pt x="66321" y="259255"/>
                  </a:moveTo>
                  <a:lnTo>
                    <a:pt x="66321" y="199763"/>
                  </a:lnTo>
                  <a:lnTo>
                    <a:pt x="93986" y="227428"/>
                  </a:lnTo>
                  <a:lnTo>
                    <a:pt x="99887" y="221515"/>
                  </a:lnTo>
                  <a:lnTo>
                    <a:pt x="62147" y="183786"/>
                  </a:lnTo>
                  <a:lnTo>
                    <a:pt x="24418" y="221515"/>
                  </a:lnTo>
                  <a:lnTo>
                    <a:pt x="30320" y="227428"/>
                  </a:lnTo>
                  <a:lnTo>
                    <a:pt x="57985" y="199763"/>
                  </a:lnTo>
                  <a:lnTo>
                    <a:pt x="57985" y="259255"/>
                  </a:lnTo>
                  <a:cubicBezTo>
                    <a:pt x="57985" y="287129"/>
                    <a:pt x="80664" y="309808"/>
                    <a:pt x="108537" y="309808"/>
                  </a:cubicBezTo>
                  <a:lnTo>
                    <a:pt x="212888" y="309808"/>
                  </a:lnTo>
                  <a:lnTo>
                    <a:pt x="212888" y="301459"/>
                  </a:lnTo>
                  <a:lnTo>
                    <a:pt x="108537" y="301459"/>
                  </a:lnTo>
                  <a:cubicBezTo>
                    <a:pt x="85255" y="301459"/>
                    <a:pt x="66321" y="282525"/>
                    <a:pt x="66321" y="259255"/>
                  </a:cubicBezTo>
                  <a:close/>
                  <a:moveTo>
                    <a:pt x="289865" y="85336"/>
                  </a:moveTo>
                  <a:lnTo>
                    <a:pt x="289865" y="144816"/>
                  </a:lnTo>
                  <a:lnTo>
                    <a:pt x="262212" y="117163"/>
                  </a:lnTo>
                  <a:lnTo>
                    <a:pt x="256299" y="123065"/>
                  </a:lnTo>
                  <a:lnTo>
                    <a:pt x="294039" y="160805"/>
                  </a:lnTo>
                  <a:lnTo>
                    <a:pt x="331779" y="123065"/>
                  </a:lnTo>
                  <a:lnTo>
                    <a:pt x="325866" y="117163"/>
                  </a:lnTo>
                  <a:lnTo>
                    <a:pt x="298213" y="144816"/>
                  </a:lnTo>
                  <a:lnTo>
                    <a:pt x="298213" y="85336"/>
                  </a:lnTo>
                  <a:cubicBezTo>
                    <a:pt x="298213" y="57463"/>
                    <a:pt x="275534" y="34784"/>
                    <a:pt x="247661" y="34784"/>
                  </a:cubicBezTo>
                  <a:lnTo>
                    <a:pt x="120120" y="34784"/>
                  </a:lnTo>
                  <a:lnTo>
                    <a:pt x="120120" y="43132"/>
                  </a:lnTo>
                  <a:lnTo>
                    <a:pt x="247661" y="43132"/>
                  </a:lnTo>
                  <a:cubicBezTo>
                    <a:pt x="270931" y="43132"/>
                    <a:pt x="289865" y="62066"/>
                    <a:pt x="289865" y="85336"/>
                  </a:cubicBezTo>
                  <a:close/>
                </a:path>
              </a:pathLst>
            </a:custGeom>
            <a:solidFill>
              <a:srgbClr val="000000"/>
            </a:solidFill>
            <a:ln w="11311" cap="flat">
              <a:noFill/>
              <a:prstDash val="solid"/>
              <a:miter/>
            </a:ln>
          </p:spPr>
          <p:txBody>
            <a:bodyPr rtlCol="0" anchor="ctr"/>
            <a:lstStyle/>
            <a:p>
              <a:endParaRPr lang="en-US" sz="900"/>
            </a:p>
          </p:txBody>
        </p:sp>
      </p:grpSp>
      <p:sp>
        <p:nvSpPr>
          <p:cNvPr id="2" name="TextBox 1">
            <a:extLst>
              <a:ext uri="{FF2B5EF4-FFF2-40B4-BE49-F238E27FC236}">
                <a16:creationId xmlns:a16="http://schemas.microsoft.com/office/drawing/2014/main" id="{DE677881-1C56-7326-815E-DBD945C147DF}"/>
              </a:ext>
            </a:extLst>
          </p:cNvPr>
          <p:cNvSpPr txBox="1"/>
          <p:nvPr userDrawn="1"/>
        </p:nvSpPr>
        <p:spPr>
          <a:xfrm>
            <a:off x="10659754" y="6469507"/>
            <a:ext cx="921138"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rtlCol="0">
            <a:spAutoFit/>
          </a:bodyPr>
          <a:lstStyle/>
          <a:p>
            <a:pPr algn="r" defTabSz="1218956">
              <a:spcBef>
                <a:spcPts val="1450"/>
              </a:spcBef>
              <a:buSzPct val="100000"/>
            </a:pPr>
            <a:r>
              <a:rPr lang="en-US" sz="800" kern="0">
                <a:solidFill>
                  <a:srgbClr val="000000"/>
                </a:solidFill>
                <a:latin typeface="IBM Plex Sans" panose="020B0503050203000203" pitchFamily="34" charset="0"/>
                <a:ea typeface="+mj-ea"/>
                <a:cs typeface="+mj-cs"/>
                <a:sym typeface="IBM Plex Sans Light"/>
              </a:rPr>
              <a:t>#IBMTechXchange</a:t>
            </a:r>
          </a:p>
        </p:txBody>
      </p:sp>
    </p:spTree>
    <p:extLst>
      <p:ext uri="{BB962C8B-B14F-4D97-AF65-F5344CB8AC3E}">
        <p14:creationId xmlns:p14="http://schemas.microsoft.com/office/powerpoint/2010/main" val="2016315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5232004" y="3084230"/>
            <a:ext cx="1727991" cy="689541"/>
          </a:xfrm>
          <a:prstGeom prst="rect">
            <a:avLst/>
          </a:prstGeom>
        </p:spPr>
      </p:pic>
    </p:spTree>
    <p:extLst>
      <p:ext uri="{BB962C8B-B14F-4D97-AF65-F5344CB8AC3E}">
        <p14:creationId xmlns:p14="http://schemas.microsoft.com/office/powerpoint/2010/main" val="1179689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87999" y="288036"/>
            <a:ext cx="5049180" cy="285750"/>
          </a:xfrm>
        </p:spPr>
        <p:txBody>
          <a:bodyPr/>
          <a:lstStyle>
            <a:lvl1pPr>
              <a:spcBef>
                <a:spcPts val="0"/>
              </a:spcBef>
              <a:defRPr sz="14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763524"/>
            <a:ext cx="5049180" cy="4668838"/>
          </a:xfrm>
        </p:spPr>
        <p:txBody>
          <a:bodyPr/>
          <a:lstStyle>
            <a:lvl1pPr>
              <a:lnSpc>
                <a:spcPct val="100000"/>
              </a:lnSpc>
              <a:defRPr sz="4299">
                <a:solidFill>
                  <a:schemeClr val="tx2"/>
                </a:solidFill>
              </a:defRPr>
            </a:lvl1pPr>
          </a:lstStyle>
          <a:p>
            <a:r>
              <a:rPr lang="en-US"/>
              <a:t>Click to edit Master title style</a:t>
            </a:r>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7"/>
            <a:ext cx="5523781" cy="6287294"/>
          </a:xfrm>
          <a:solidFill>
            <a:srgbClr val="E0E0E0"/>
          </a:solidFill>
        </p:spPr>
        <p:txBody>
          <a:bodyPr anchor="ctr"/>
          <a:lstStyle>
            <a:lvl1pPr algn="ctr">
              <a:defRPr>
                <a:solidFill>
                  <a:schemeClr val="accent5"/>
                </a:solidFill>
              </a:defRPr>
            </a:lvl1pPr>
          </a:lstStyle>
          <a:p>
            <a:r>
              <a:rPr lang="en-US"/>
              <a:t>Place imagery here</a:t>
            </a:r>
          </a:p>
        </p:txBody>
      </p:sp>
      <p:pic>
        <p:nvPicPr>
          <p:cNvPr id="4" name="Picture 3" descr="IBM 8-bar logo">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288888" y="6263482"/>
            <a:ext cx="819043" cy="304800"/>
          </a:xfrm>
          <a:prstGeom prst="rect">
            <a:avLst/>
          </a:prstGeom>
        </p:spPr>
      </p:pic>
    </p:spTree>
    <p:extLst>
      <p:ext uri="{BB962C8B-B14F-4D97-AF65-F5344CB8AC3E}">
        <p14:creationId xmlns:p14="http://schemas.microsoft.com/office/powerpoint/2010/main" val="1373522719"/>
      </p:ext>
    </p:extLst>
  </p:cSld>
  <p:clrMapOvr>
    <a:masterClrMapping/>
  </p:clrMapOvr>
  <p:transition spd="med"/>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descr="Place imagery here">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12192000" cy="6000750"/>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3144044"/>
          </a:xfrm>
        </p:spPr>
        <p:txBody>
          <a:bodyPr/>
          <a:lstStyle>
            <a:lvl1pPr>
              <a:lnSpc>
                <a:spcPct val="100000"/>
              </a:lnSpc>
              <a:defRPr sz="4299">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87999" y="6044184"/>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3335316" y="6042370"/>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descr="IBM 8-bar logo">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3675493972"/>
      </p:ext>
    </p:extLst>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0" cy="1642364"/>
          </a:xfrm>
        </p:spPr>
        <p:txBody>
          <a:bodyPr/>
          <a:lstStyle>
            <a:lvl1pPr>
              <a:lnSpc>
                <a:spcPct val="110000"/>
              </a:lnSpc>
              <a:defRPr sz="1800">
                <a:solidFill>
                  <a:schemeClr val="tx2"/>
                </a:solidFill>
              </a:defRPr>
            </a:lvl1pPr>
          </a:lstStyle>
          <a:p>
            <a:r>
              <a:rPr lang="en-US"/>
              <a:t>Click to edit Master title style</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192600"/>
            <a:ext cx="2475384" cy="953956"/>
          </a:xfrm>
        </p:spPr>
        <p:txBody>
          <a:bodyPr/>
          <a:lstStyle>
            <a:lvl1pPr>
              <a:lnSpc>
                <a:spcPct val="90000"/>
              </a:lnSpc>
              <a:defRPr sz="6599">
                <a:solidFill>
                  <a:schemeClr val="accent1"/>
                </a:solidFill>
              </a:defRPr>
            </a:lvl1pPr>
            <a:lvl2pPr marL="0" indent="0">
              <a:buNone/>
              <a:defRPr/>
            </a:lvl2pPr>
          </a:lstStyle>
          <a:p>
            <a:pPr lvl="0"/>
            <a:r>
              <a:rPr lang="en-US"/>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3333316" y="1166533"/>
            <a:ext cx="2475384" cy="4931054"/>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389168" y="192600"/>
            <a:ext cx="2474590" cy="953294"/>
          </a:xfrm>
        </p:spPr>
        <p:txBody>
          <a:bodyPr/>
          <a:lstStyle>
            <a:lvl1pPr>
              <a:lnSpc>
                <a:spcPct val="90000"/>
              </a:lnSpc>
              <a:defRPr sz="6599">
                <a:solidFill>
                  <a:schemeClr val="accent1"/>
                </a:solidFill>
              </a:defRPr>
            </a:lvl1pPr>
          </a:lstStyle>
          <a:p>
            <a:pPr lvl="0"/>
            <a:r>
              <a:rPr lang="en-US"/>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9168" y="1167327"/>
            <a:ext cx="2476178" cy="4931054"/>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9428523" y="192600"/>
            <a:ext cx="2474590" cy="951707"/>
          </a:xfrm>
        </p:spPr>
        <p:txBody>
          <a:bodyPr/>
          <a:lstStyle>
            <a:lvl1pPr>
              <a:lnSpc>
                <a:spcPct val="90000"/>
              </a:lnSpc>
              <a:defRPr sz="6599">
                <a:solidFill>
                  <a:schemeClr val="accent1"/>
                </a:solidFill>
              </a:defRPr>
            </a:lvl1pPr>
          </a:lstStyle>
          <a:p>
            <a:pPr lvl="0"/>
            <a:r>
              <a:rPr lang="en-US"/>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9428522" y="1166533"/>
            <a:ext cx="2476178" cy="4931054"/>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4904" y="6029325"/>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856FFD0-F317-D3D7-DE9D-AA1F4AB27EEB}"/>
              </a:ext>
            </a:extLst>
          </p:cNvPr>
          <p:cNvSpPr>
            <a:spLocks noGrp="1"/>
          </p:cNvSpPr>
          <p:nvPr>
            <p:ph type="ftr" sz="quarter" idx="18"/>
          </p:nvPr>
        </p:nvSpPr>
        <p:spPr>
          <a:xfrm>
            <a:off x="287963" y="6408000"/>
            <a:ext cx="2477765" cy="190500"/>
          </a:xfrm>
        </p:spPr>
        <p:txBody>
          <a:bodyPr/>
          <a:lstStyle/>
          <a:p>
            <a:endParaRPr lang="en-US"/>
          </a:p>
        </p:txBody>
      </p:sp>
      <p:sp>
        <p:nvSpPr>
          <p:cNvPr id="8" name="Slide Number">
            <a:extLst>
              <a:ext uri="{FF2B5EF4-FFF2-40B4-BE49-F238E27FC236}">
                <a16:creationId xmlns:a16="http://schemas.microsoft.com/office/drawing/2014/main" id="{899D670E-69CE-BB86-FB88-291343BDEE2E}"/>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187683015"/>
      </p:ext>
    </p:extLst>
  </p:cSld>
  <p:clrMapOvr>
    <a:masterClrMapping/>
  </p:clrMapOvr>
  <p:transition spd="med"/>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descr="Blue 10 full slide background ">
            <a:extLst>
              <a:ext uri="{FF2B5EF4-FFF2-40B4-BE49-F238E27FC236}">
                <a16:creationId xmlns:a16="http://schemas.microsoft.com/office/drawing/2014/main" id="{8D23798D-A03E-2BC6-136A-14C1E387E723}"/>
              </a:ext>
            </a:extLst>
          </p:cNvPr>
          <p:cNvSpPr/>
          <p:nvPr userDrawn="1"/>
        </p:nvSpPr>
        <p:spPr bwMode="auto">
          <a:xfrm>
            <a:off x="0" y="0"/>
            <a:ext cx="12192000" cy="600075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indent="0" algn="l" defTabSz="457109" rtl="0" eaLnBrk="1" fontAlgn="base" latinLnBrk="0" hangingPunct="1">
              <a:lnSpc>
                <a:spcPct val="100000"/>
              </a:lnSpc>
              <a:spcBef>
                <a:spcPct val="0"/>
              </a:spcBef>
              <a:spcAft>
                <a:spcPct val="0"/>
              </a:spcAft>
              <a:buClrTx/>
              <a:buSzTx/>
              <a:buFont typeface="IBM Plex Sans Light"/>
              <a:buNone/>
              <a:tabLst/>
            </a:pPr>
            <a:endParaRPr kumimoji="0" lang="en-US" sz="700" b="0" i="0" u="none" strike="noStrike" cap="none" normalizeH="0" baseline="0">
              <a:ln>
                <a:noFill/>
              </a:ln>
              <a:solidFill>
                <a:schemeClr val="bg1"/>
              </a:solidFill>
              <a:effectLst/>
              <a:latin typeface="+mn-lt"/>
            </a:endParaRPr>
          </a:p>
        </p:txBody>
      </p:sp>
      <p:sp>
        <p:nvSpPr>
          <p:cNvPr id="7" name="Title 1">
            <a:extLst>
              <a:ext uri="{FF2B5EF4-FFF2-40B4-BE49-F238E27FC236}">
                <a16:creationId xmlns:a16="http://schemas.microsoft.com/office/drawing/2014/main" id="{184617A5-E44D-86DD-8C8E-5D85DFCA435B}"/>
              </a:ext>
            </a:extLst>
          </p:cNvPr>
          <p:cNvSpPr>
            <a:spLocks noGrp="1"/>
          </p:cNvSpPr>
          <p:nvPr>
            <p:ph type="title"/>
          </p:nvPr>
        </p:nvSpPr>
        <p:spPr>
          <a:xfrm>
            <a:off x="287998" y="192024"/>
            <a:ext cx="5524575" cy="3144044"/>
          </a:xfrm>
        </p:spPr>
        <p:txBody>
          <a:bodyPr/>
          <a:lstStyle>
            <a:lvl1pPr>
              <a:lnSpc>
                <a:spcPct val="100000"/>
              </a:lnSpc>
              <a:defRPr sz="4299">
                <a:solidFill>
                  <a:schemeClr val="tx2"/>
                </a:solidFill>
              </a:defRPr>
            </a:lvl1pPr>
          </a:lstStyle>
          <a:p>
            <a:r>
              <a:rPr lang="en-US"/>
              <a:t>Click to edit Master title style</a:t>
            </a:r>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287999" y="6044184"/>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3335316" y="6042370"/>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descr="IBM 8-bar logo">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166164505"/>
      </p:ext>
    </p:extLst>
  </p:cSld>
  <p:clrMapOvr>
    <a:masterClrMapping/>
  </p:clrMapOvr>
  <p:transition spd="med"/>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CC25B71-827F-9C78-56BA-F30A6070AC9F}"/>
              </a:ext>
            </a:extLst>
          </p:cNvPr>
          <p:cNvSpPr>
            <a:spLocks noGrp="1"/>
          </p:cNvSpPr>
          <p:nvPr>
            <p:ph type="title"/>
          </p:nvPr>
        </p:nvSpPr>
        <p:spPr>
          <a:xfrm>
            <a:off x="287998" y="192024"/>
            <a:ext cx="5524575" cy="3144044"/>
          </a:xfrm>
        </p:spPr>
        <p:txBody>
          <a:bodyPr/>
          <a:lstStyle>
            <a:lvl1pPr>
              <a:lnSpc>
                <a:spcPct val="100000"/>
              </a:lnSpc>
              <a:defRPr sz="4299">
                <a:solidFill>
                  <a:schemeClr val="tx2"/>
                </a:solidFill>
              </a:defRPr>
            </a:lvl1pPr>
          </a:lstStyle>
          <a:p>
            <a:r>
              <a:rPr lang="en-US"/>
              <a:t>Click to edit Master title style</a:t>
            </a:r>
          </a:p>
        </p:txBody>
      </p:sp>
    </p:spTree>
    <p:extLst>
      <p:ext uri="{BB962C8B-B14F-4D97-AF65-F5344CB8AC3E}">
        <p14:creationId xmlns:p14="http://schemas.microsoft.com/office/powerpoint/2010/main" val="1476561179"/>
      </p:ext>
    </p:extLst>
  </p:cSld>
  <p:clrMapOvr>
    <a:masterClrMapping/>
  </p:clrMapOvr>
  <p:transition spd="med"/>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A6AD06EA-1AAE-9258-F68E-D0D307454A33}"/>
              </a:ext>
            </a:extLst>
          </p:cNvPr>
          <p:cNvSpPr>
            <a:spLocks noGrp="1"/>
          </p:cNvSpPr>
          <p:nvPr>
            <p:ph type="title"/>
          </p:nvPr>
        </p:nvSpPr>
        <p:spPr>
          <a:xfrm>
            <a:off x="287998" y="192024"/>
            <a:ext cx="5524575" cy="3144044"/>
          </a:xfrm>
        </p:spPr>
        <p:txBody>
          <a:bodyPr/>
          <a:lstStyle>
            <a:lvl1pPr>
              <a:lnSpc>
                <a:spcPct val="100000"/>
              </a:lnSpc>
              <a:defRPr sz="4299">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87998" y="6231636"/>
            <a:ext cx="5524575" cy="381000"/>
          </a:xfrm>
        </p:spPr>
        <p:txBody>
          <a:bodyPr anchor="b"/>
          <a:lstStyle>
            <a:lvl1pPr>
              <a:lnSpc>
                <a:spcPct val="110000"/>
              </a:lnSpc>
              <a:spcBef>
                <a:spcPts val="0"/>
              </a:spcBef>
              <a:defRPr sz="1400">
                <a:solidFill>
                  <a:schemeClr val="tx1"/>
                </a:solidFill>
              </a:defRPr>
            </a:lvl1pPr>
          </a:lstStyle>
          <a:p>
            <a:pPr lvl="0"/>
            <a:r>
              <a:rPr lang="en-US"/>
              <a:t>Click to edit Master text styles</a:t>
            </a:r>
          </a:p>
        </p:txBody>
      </p:sp>
      <p:pic>
        <p:nvPicPr>
          <p:cNvPr id="3" name="Picture 2" descr="IBM 8-bar logo">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2406768228"/>
      </p:ext>
    </p:extLst>
  </p:cSld>
  <p:clrMapOvr>
    <a:masterClrMapping/>
  </p:clrMapOvr>
  <p:transition spd="med"/>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192024"/>
            <a:ext cx="5049878" cy="5239544"/>
          </a:xfrm>
        </p:spPr>
        <p:txBody>
          <a:bodyPr/>
          <a:lstStyle>
            <a:lvl1pPr>
              <a:lnSpc>
                <a:spcPct val="100000"/>
              </a:lnSpc>
              <a:defRPr sz="4299">
                <a:solidFill>
                  <a:schemeClr val="tx2"/>
                </a:solidFill>
              </a:defRPr>
            </a:lvl1pPr>
          </a:lstStyle>
          <a:p>
            <a:r>
              <a:rPr lang="en-US"/>
              <a:t>Click to edit Master title style</a:t>
            </a:r>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6"/>
            <a:ext cx="5523781" cy="6287294"/>
          </a:xfrm>
          <a:solidFill>
            <a:srgbClr val="E0E0E0"/>
          </a:solidFill>
        </p:spPr>
        <p:txBody>
          <a:bodyPr anchor="ctr"/>
          <a:lstStyle>
            <a:lvl1pPr algn="ctr">
              <a:defRPr>
                <a:solidFill>
                  <a:schemeClr val="accent5"/>
                </a:solidFill>
              </a:defRPr>
            </a:lvl1pPr>
          </a:lstStyle>
          <a:p>
            <a:r>
              <a:rPr lang="en-US"/>
              <a:t>Place imagery here</a:t>
            </a:r>
          </a:p>
        </p:txBody>
      </p:sp>
      <p:pic>
        <p:nvPicPr>
          <p:cNvPr id="9" name="Picture 8" descr="IBM 8-bar logo">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288888" y="6263482"/>
            <a:ext cx="819043" cy="304800"/>
          </a:xfrm>
          <a:prstGeom prst="rect">
            <a:avLst/>
          </a:prstGeom>
        </p:spPr>
      </p:pic>
    </p:spTree>
    <p:extLst>
      <p:ext uri="{BB962C8B-B14F-4D97-AF65-F5344CB8AC3E}">
        <p14:creationId xmlns:p14="http://schemas.microsoft.com/office/powerpoint/2010/main" val="1920620930"/>
      </p:ext>
    </p:extLst>
  </p:cSld>
  <p:clrMapOvr>
    <a:masterClrMapping/>
  </p:clrMapOvr>
  <p:transition spd="med"/>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87999" y="288036"/>
            <a:ext cx="5049180" cy="285750"/>
          </a:xfrm>
        </p:spPr>
        <p:txBody>
          <a:bodyPr/>
          <a:lstStyle>
            <a:lvl1pPr>
              <a:spcBef>
                <a:spcPts val="0"/>
              </a:spcBef>
              <a:defRPr sz="14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763524"/>
            <a:ext cx="5049180" cy="4668838"/>
          </a:xfrm>
        </p:spPr>
        <p:txBody>
          <a:bodyPr/>
          <a:lstStyle>
            <a:lvl1pPr>
              <a:lnSpc>
                <a:spcPct val="100000"/>
              </a:lnSpc>
              <a:defRPr sz="4299">
                <a:solidFill>
                  <a:schemeClr val="tx2"/>
                </a:solidFill>
              </a:defRPr>
            </a:lvl1pPr>
          </a:lstStyle>
          <a:p>
            <a:r>
              <a:rPr lang="en-US"/>
              <a:t>Click to edit Master title style</a:t>
            </a:r>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6"/>
            <a:ext cx="5523781" cy="6287294"/>
          </a:xfrm>
          <a:solidFill>
            <a:srgbClr val="E0E0E0"/>
          </a:solidFill>
        </p:spPr>
        <p:txBody>
          <a:bodyPr anchor="ctr"/>
          <a:lstStyle>
            <a:lvl1pPr algn="ctr">
              <a:defRPr>
                <a:solidFill>
                  <a:schemeClr val="accent5"/>
                </a:solidFill>
              </a:defRPr>
            </a:lvl1pPr>
          </a:lstStyle>
          <a:p>
            <a:r>
              <a:rPr lang="en-US"/>
              <a:t>Place imagery here</a:t>
            </a:r>
          </a:p>
        </p:txBody>
      </p:sp>
      <p:pic>
        <p:nvPicPr>
          <p:cNvPr id="4" name="Picture 3" descr="IBM 8-bar logo">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288888" y="6263482"/>
            <a:ext cx="819043" cy="304800"/>
          </a:xfrm>
          <a:prstGeom prst="rect">
            <a:avLst/>
          </a:prstGeom>
        </p:spPr>
      </p:pic>
    </p:spTree>
    <p:extLst>
      <p:ext uri="{BB962C8B-B14F-4D97-AF65-F5344CB8AC3E}">
        <p14:creationId xmlns:p14="http://schemas.microsoft.com/office/powerpoint/2010/main" val="1015958832"/>
      </p:ext>
    </p:extLst>
  </p:cSld>
  <p:clrMapOvr>
    <a:masterClrMapping/>
  </p:clrMapOvr>
  <p:transition spd="med"/>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2477765" cy="2286794"/>
          </a:xfrm>
        </p:spPr>
        <p:txBody>
          <a:bodyPr/>
          <a:lstStyle>
            <a:lvl1pPr>
              <a:lnSpc>
                <a:spcPct val="100000"/>
              </a:lnSpc>
              <a:defRPr sz="3199">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6380919" y="284957"/>
            <a:ext cx="2476178" cy="5715794"/>
          </a:xfrm>
        </p:spPr>
        <p:txBody>
          <a:bodyPr/>
          <a:lstStyle>
            <a:lvl1pPr defTabSz="580528">
              <a:spcBef>
                <a:spcPts val="0"/>
              </a:spcBef>
              <a:defRPr>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9430110" y="284957"/>
            <a:ext cx="2474590" cy="5715794"/>
          </a:xfrm>
        </p:spPr>
        <p:txBody>
          <a:bodyPr/>
          <a:lstStyle>
            <a:lvl1pPr defTabSz="580528">
              <a:spcBef>
                <a:spcPts val="0"/>
              </a:spcBef>
              <a:defRPr>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84125" y="6402118"/>
            <a:ext cx="2477765" cy="190500"/>
          </a:xfrm>
        </p:spPr>
        <p:txBody>
          <a:bodyPr/>
          <a:lstStyle/>
          <a:p>
            <a:endParaRPr lang="en-US"/>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685662333"/>
      </p:ext>
    </p:extLst>
  </p:cSld>
  <p:clrMapOvr>
    <a:masterClrMapping/>
  </p:clrMapOvr>
  <p:transition spd="med"/>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1429544"/>
          </a:xfrm>
        </p:spPr>
        <p:txBody>
          <a:bodyPr rIns="457200"/>
          <a:lstStyle>
            <a:lvl1pPr>
              <a:lnSpc>
                <a:spcPct val="100000"/>
              </a:lnSpc>
              <a:defRPr sz="3199">
                <a:solidFill>
                  <a:schemeClr val="tx2"/>
                </a:solidFill>
              </a:defRPr>
            </a:lvl1pPr>
          </a:lstStyle>
          <a:p>
            <a:r>
              <a:rPr lang="en-US"/>
              <a:t>Click to edit Master title style</a:t>
            </a:r>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84125" y="6402118"/>
            <a:ext cx="2477765" cy="190500"/>
          </a:xfrm>
        </p:spPr>
        <p:txBody>
          <a:bodyPr/>
          <a:lstStyle/>
          <a:p>
            <a:endParaRPr lang="en-US"/>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606414264"/>
      </p:ext>
    </p:extLst>
  </p:cSld>
  <p:clrMapOvr>
    <a:masterClrMapping/>
  </p:clrMapOvr>
  <p:transition spd="med"/>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87300" y="210312"/>
            <a:ext cx="8569797" cy="4095750"/>
          </a:xfrm>
        </p:spPr>
        <p:txBody>
          <a:bodyPr/>
          <a:lstStyle>
            <a:lvl1pPr>
              <a:defRPr sz="8598" b="0" i="0">
                <a:solidFill>
                  <a:schemeClr val="tx2"/>
                </a:solidFill>
                <a:latin typeface="IBM Plex Sans ExtLt" panose="020B0303050203000203" pitchFamily="34" charset="0"/>
              </a:defRPr>
            </a:lvl1pPr>
          </a:lstStyle>
          <a:p>
            <a:r>
              <a:rPr lang="en-US"/>
              <a:t>Click to edit Master title style</a:t>
            </a:r>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84125" y="6402118"/>
            <a:ext cx="2477765" cy="190500"/>
          </a:xfrm>
        </p:spPr>
        <p:txBody>
          <a:bodyPr/>
          <a:lstStyle/>
          <a:p>
            <a:endParaRPr lang="en-US"/>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999451266"/>
      </p:ext>
    </p:extLst>
  </p:cSld>
  <p:clrMapOvr>
    <a:masterClrMapping/>
  </p:clrMapOvr>
  <p:transition spd="med"/>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4953942" cy="1429544"/>
          </a:xfrm>
        </p:spPr>
        <p:txBody>
          <a:bodyPr/>
          <a:lstStyle>
            <a:lvl1pPr>
              <a:lnSpc>
                <a:spcPct val="100000"/>
              </a:lnSpc>
              <a:defRPr sz="3199">
                <a:solidFill>
                  <a:schemeClr val="tx2"/>
                </a:solidFill>
              </a:defRPr>
            </a:lvl1pPr>
          </a:lstStyle>
          <a:p>
            <a:r>
              <a:rPr lang="en-US"/>
              <a:t>Click to edit Master title style</a:t>
            </a:r>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6382795" y="224028"/>
            <a:ext cx="5520318" cy="4287044"/>
          </a:xfrm>
        </p:spPr>
        <p:txBody>
          <a:bodyPr/>
          <a:lstStyle>
            <a:lvl1pPr>
              <a:lnSpc>
                <a:spcPct val="100000"/>
              </a:lnSpc>
              <a:spcBef>
                <a:spcPts val="0"/>
              </a:spcBef>
              <a:defRPr sz="3199">
                <a:solidFill>
                  <a:schemeClr val="tx2"/>
                </a:solidFill>
              </a:defRPr>
            </a:lvl1pPr>
            <a:lvl2pPr marL="292549" indent="-292549">
              <a:lnSpc>
                <a:spcPct val="100000"/>
              </a:lnSpc>
              <a:spcBef>
                <a:spcPts val="0"/>
              </a:spcBef>
              <a:defRPr sz="3199">
                <a:solidFill>
                  <a:schemeClr val="tx2"/>
                </a:solidFill>
              </a:defRPr>
            </a:lvl2pPr>
            <a:lvl3pPr marL="548530" indent="-292549">
              <a:lnSpc>
                <a:spcPct val="100000"/>
              </a:lnSpc>
              <a:spcBef>
                <a:spcPts val="0"/>
              </a:spcBef>
              <a:defRPr sz="3199">
                <a:solidFill>
                  <a:schemeClr val="tx2"/>
                </a:solidFill>
              </a:defRPr>
            </a:lvl3pPr>
            <a:lvl4pPr marL="877648">
              <a:lnSpc>
                <a:spcPct val="100000"/>
              </a:lnSpc>
              <a:spcBef>
                <a:spcPts val="0"/>
              </a:spcBef>
              <a:defRPr sz="3199">
                <a:solidFill>
                  <a:schemeClr val="tx2"/>
                </a:solidFill>
              </a:defRPr>
            </a:lvl4pPr>
            <a:lvl5pPr>
              <a:lnSpc>
                <a:spcPct val="100000"/>
              </a:lnSpc>
              <a:spcBef>
                <a:spcPts val="0"/>
              </a:spcBef>
              <a:defRPr sz="3199"/>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84125" y="6402118"/>
            <a:ext cx="2477765" cy="190500"/>
          </a:xfrm>
        </p:spPr>
        <p:txBody>
          <a:bodyPr/>
          <a:lstStyle/>
          <a:p>
            <a:endParaRPr lang="en-US"/>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549026142"/>
      </p:ext>
    </p:extLst>
  </p:cSld>
  <p:clrMapOvr>
    <a:masterClrMapping/>
  </p:clrMapOvr>
  <p:transition spd="med"/>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210312"/>
            <a:ext cx="7330121" cy="4858544"/>
          </a:xfrm>
        </p:spPr>
        <p:txBody>
          <a:bodyPr/>
          <a:lstStyle>
            <a:lvl1pPr>
              <a:lnSpc>
                <a:spcPct val="100000"/>
              </a:lnSpc>
              <a:defRPr sz="4299">
                <a:solidFill>
                  <a:schemeClr val="tx2"/>
                </a:solidFill>
              </a:defRPr>
            </a:lvl1pPr>
          </a:lstStyle>
          <a:p>
            <a:r>
              <a:rPr lang="en-US"/>
              <a:t>Click to edit Master title style</a:t>
            </a:r>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84125" y="6402118"/>
            <a:ext cx="2477765" cy="190500"/>
          </a:xfrm>
        </p:spPr>
        <p:txBody>
          <a:bodyPr/>
          <a:lstStyle/>
          <a:p>
            <a:endParaRPr lang="en-US"/>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604318002"/>
      </p:ext>
    </p:extLst>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3333316" y="3297238"/>
            <a:ext cx="5522257" cy="2670048"/>
          </a:xfrm>
        </p:spPr>
        <p:txBody>
          <a:bodyPr/>
          <a:lstStyle>
            <a:lvl1pPr>
              <a:lnSpc>
                <a:spcPct val="100000"/>
              </a:lnSpc>
              <a:spcBef>
                <a:spcPts val="0"/>
              </a:spcBef>
              <a:defRPr sz="4199">
                <a:solidFill>
                  <a:schemeClr val="tx1"/>
                </a:solidFill>
              </a:defRPr>
            </a:lvl1pPr>
            <a:lvl2pPr marL="393113" indent="-393113">
              <a:lnSpc>
                <a:spcPct val="100000"/>
              </a:lnSpc>
              <a:spcBef>
                <a:spcPts val="0"/>
              </a:spcBef>
              <a:defRPr sz="4199">
                <a:solidFill>
                  <a:schemeClr val="tx1"/>
                </a:solidFill>
              </a:defRPr>
            </a:lvl2pPr>
            <a:lvl3pPr marL="749658" indent="-393113">
              <a:lnSpc>
                <a:spcPct val="100000"/>
              </a:lnSpc>
              <a:spcBef>
                <a:spcPts val="0"/>
              </a:spcBef>
              <a:defRPr sz="4199">
                <a:solidFill>
                  <a:schemeClr val="tx1"/>
                </a:solidFill>
              </a:defRPr>
            </a:lvl3pPr>
            <a:lvl4pPr marL="1142771" indent="-393113">
              <a:lnSpc>
                <a:spcPct val="100000"/>
              </a:lnSpc>
              <a:spcBef>
                <a:spcPts val="0"/>
              </a:spcBef>
              <a:defRPr sz="4199">
                <a:solidFill>
                  <a:schemeClr val="tx1"/>
                </a:solidFill>
              </a:defRPr>
            </a:lvl4pPr>
            <a:lvl5pPr>
              <a:lnSpc>
                <a:spcPct val="100000"/>
              </a:lnSpc>
              <a:spcBef>
                <a:spcPts val="0"/>
              </a:spcBef>
              <a:defRPr sz="4299">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87963" y="154800"/>
            <a:ext cx="2474590" cy="2667793"/>
          </a:xfrm>
        </p:spPr>
        <p:txBody>
          <a:bodyPr/>
          <a:lstStyle>
            <a:lvl1pPr>
              <a:lnSpc>
                <a:spcPct val="100000"/>
              </a:lnSpc>
              <a:defRPr sz="4199">
                <a:solidFill>
                  <a:schemeClr val="accent1"/>
                </a:solidFill>
              </a:defRPr>
            </a:lvl1pPr>
          </a:lstStyle>
          <a:p>
            <a:r>
              <a:rPr lang="en-US"/>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3333316" y="154800"/>
            <a:ext cx="5523781" cy="2667794"/>
          </a:xfrm>
        </p:spPr>
        <p:txBody>
          <a:bodyPr/>
          <a:lstStyle>
            <a:lvl1pPr>
              <a:lnSpc>
                <a:spcPct val="100000"/>
              </a:lnSpc>
              <a:spcBef>
                <a:spcPts val="0"/>
              </a:spcBef>
              <a:defRPr sz="4199">
                <a:solidFill>
                  <a:schemeClr val="tx1"/>
                </a:solidFill>
              </a:defRPr>
            </a:lvl1pPr>
            <a:lvl2pPr marL="393113" indent="-393113">
              <a:lnSpc>
                <a:spcPct val="100000"/>
              </a:lnSpc>
              <a:spcBef>
                <a:spcPts val="0"/>
              </a:spcBef>
              <a:defRPr sz="4199">
                <a:solidFill>
                  <a:schemeClr val="tx1"/>
                </a:solidFill>
              </a:defRPr>
            </a:lvl2pPr>
            <a:lvl3pPr marL="749658" indent="-393113">
              <a:lnSpc>
                <a:spcPct val="100000"/>
              </a:lnSpc>
              <a:spcBef>
                <a:spcPts val="0"/>
              </a:spcBef>
              <a:defRPr sz="4199">
                <a:solidFill>
                  <a:schemeClr val="tx1"/>
                </a:solidFill>
              </a:defRPr>
            </a:lvl3pPr>
            <a:lvl4pPr marL="1142771" indent="-393113">
              <a:lnSpc>
                <a:spcPct val="100000"/>
              </a:lnSpc>
              <a:spcBef>
                <a:spcPts val="0"/>
              </a:spcBef>
              <a:defRPr sz="4199">
                <a:solidFill>
                  <a:schemeClr val="tx1"/>
                </a:solidFill>
              </a:defRPr>
            </a:lvl4pPr>
            <a:lvl5pPr>
              <a:lnSpc>
                <a:spcPct val="100000"/>
              </a:lnSpc>
              <a:spcBef>
                <a:spcPts val="0"/>
              </a:spcBef>
              <a:defRPr sz="4299">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0" name="Straight Connector 9" descr="Horizontal row divider">
            <a:extLst>
              <a:ext uri="{FF2B5EF4-FFF2-40B4-BE49-F238E27FC236}">
                <a16:creationId xmlns:a16="http://schemas.microsoft.com/office/drawing/2014/main" id="{3D81813D-DA09-FCA0-D570-1E2D428C59E9}"/>
              </a:ext>
            </a:extLst>
          </p:cNvPr>
          <p:cNvCxnSpPr>
            <a:cxnSpLocks/>
          </p:cNvCxnSpPr>
          <p:nvPr userDrawn="1"/>
        </p:nvCxnSpPr>
        <p:spPr bwMode="auto">
          <a:xfrm>
            <a:off x="288887" y="3048866"/>
            <a:ext cx="1161581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87962" y="3297238"/>
            <a:ext cx="2473130" cy="2670048"/>
          </a:xfrm>
        </p:spPr>
        <p:txBody>
          <a:bodyPr/>
          <a:lstStyle>
            <a:lvl1pPr>
              <a:lnSpc>
                <a:spcPct val="100000"/>
              </a:lnSpc>
              <a:defRPr sz="4199">
                <a:solidFill>
                  <a:schemeClr val="accent1"/>
                </a:solidFill>
              </a:defRPr>
            </a:lvl1pPr>
            <a:lvl2pPr>
              <a:lnSpc>
                <a:spcPct val="100000"/>
              </a:lnSpc>
              <a:defRPr sz="4299">
                <a:solidFill>
                  <a:schemeClr val="accent1"/>
                </a:solidFill>
              </a:defRPr>
            </a:lvl2pPr>
            <a:lvl3pPr>
              <a:lnSpc>
                <a:spcPct val="100000"/>
              </a:lnSpc>
              <a:defRPr sz="4299">
                <a:solidFill>
                  <a:schemeClr val="accent1"/>
                </a:solidFill>
              </a:defRPr>
            </a:lvl3pPr>
            <a:lvl4pPr>
              <a:lnSpc>
                <a:spcPct val="100000"/>
              </a:lnSpc>
              <a:defRPr sz="4299">
                <a:solidFill>
                  <a:schemeClr val="accent1"/>
                </a:solidFill>
              </a:defRPr>
            </a:lvl4pPr>
            <a:lvl5pPr>
              <a:lnSpc>
                <a:spcPct val="100000"/>
              </a:lnSpc>
              <a:defRPr sz="4299">
                <a:solidFill>
                  <a:schemeClr val="accent1"/>
                </a:solidFill>
              </a:defRPr>
            </a:lvl5pPr>
          </a:lstStyle>
          <a:p>
            <a:pPr lvl="0"/>
            <a:r>
              <a:rPr lang="en-US"/>
              <a:t>+000M</a:t>
            </a:r>
          </a:p>
        </p:txBody>
      </p:sp>
      <p:sp>
        <p:nvSpPr>
          <p:cNvPr id="4" name="Footer Placeholder 3">
            <a:extLst>
              <a:ext uri="{FF2B5EF4-FFF2-40B4-BE49-F238E27FC236}">
                <a16:creationId xmlns:a16="http://schemas.microsoft.com/office/drawing/2014/main" id="{7B9ABB71-218D-3F6E-E3F7-5348FD395D22}"/>
              </a:ext>
            </a:extLst>
          </p:cNvPr>
          <p:cNvSpPr>
            <a:spLocks noGrp="1"/>
          </p:cNvSpPr>
          <p:nvPr>
            <p:ph type="ftr" sz="quarter" idx="18"/>
          </p:nvPr>
        </p:nvSpPr>
        <p:spPr>
          <a:xfrm>
            <a:off x="287963" y="6408000"/>
            <a:ext cx="2477765" cy="190500"/>
          </a:xfrm>
        </p:spPr>
        <p:txBody>
          <a:bodyPr/>
          <a:lstStyle/>
          <a:p>
            <a:endParaRPr lang="en-US"/>
          </a:p>
        </p:txBody>
      </p:sp>
      <p:sp>
        <p:nvSpPr>
          <p:cNvPr id="7" name="Slide Number">
            <a:extLst>
              <a:ext uri="{FF2B5EF4-FFF2-40B4-BE49-F238E27FC236}">
                <a16:creationId xmlns:a16="http://schemas.microsoft.com/office/drawing/2014/main" id="{B77BD92D-3A6C-2396-61D4-51D7CC5B1C0A}"/>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831750382"/>
      </p:ext>
    </p:extLst>
  </p:cSld>
  <p:clrMapOvr>
    <a:masterClrMapping/>
  </p:clrMapOvr>
  <p:transition spd="med"/>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87999" y="288036"/>
            <a:ext cx="3811091" cy="3144044"/>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87998" y="4649724"/>
            <a:ext cx="5524575" cy="1771650"/>
          </a:xfrm>
        </p:spPr>
        <p:txBody>
          <a:bodyPr anchor="b"/>
          <a:lstStyle>
            <a:lvl1pPr>
              <a:lnSpc>
                <a:spcPct val="90000"/>
              </a:lnSpc>
              <a:spcBef>
                <a:spcPts val="0"/>
              </a:spcBef>
              <a:defRPr sz="12897" b="0" i="0">
                <a:solidFill>
                  <a:schemeClr val="accent1"/>
                </a:solidFill>
                <a:latin typeface="IBM Plex Sans ExtLt" panose="020B0303050203000203" pitchFamily="34" charset="0"/>
              </a:defRPr>
            </a:lvl1pPr>
          </a:lstStyle>
          <a:p>
            <a:r>
              <a:rPr lang="en-US"/>
              <a:t>↗︎00M</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6380919" y="288036"/>
            <a:ext cx="3809504" cy="3144044"/>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6380919" y="4648200"/>
            <a:ext cx="5523781" cy="1771650"/>
          </a:xfrm>
        </p:spPr>
        <p:txBody>
          <a:bodyPr anchor="b"/>
          <a:lstStyle>
            <a:lvl1pPr>
              <a:lnSpc>
                <a:spcPct val="90000"/>
              </a:lnSpc>
              <a:spcBef>
                <a:spcPts val="0"/>
              </a:spcBef>
              <a:defRPr sz="12897" b="0" i="0">
                <a:solidFill>
                  <a:schemeClr val="accent1"/>
                </a:solidFill>
                <a:latin typeface="IBM Plex Sans ExtLt" panose="020B0303050203000203" pitchFamily="34" charset="0"/>
              </a:defRPr>
            </a:lvl1pPr>
          </a:lstStyle>
          <a:p>
            <a:r>
              <a:rPr lang="en-US"/>
              <a:t>+00%</a:t>
            </a:r>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84125" y="6402118"/>
            <a:ext cx="2477765" cy="190500"/>
          </a:xfrm>
        </p:spPr>
        <p:txBody>
          <a:bodyPr/>
          <a:lstStyle/>
          <a:p>
            <a:endParaRPr lang="en-US"/>
          </a:p>
        </p:txBody>
      </p: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187820171"/>
      </p:ext>
    </p:extLst>
  </p:cSld>
  <p:clrMapOvr>
    <a:masterClrMapping/>
  </p:clrMapOvr>
  <p:transition spd="med"/>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0" cy="1429544"/>
          </a:xfrm>
        </p:spPr>
        <p:txBody>
          <a:bodyPr/>
          <a:lstStyle>
            <a:lvl1pPr>
              <a:lnSpc>
                <a:spcPct val="110000"/>
              </a:lnSpc>
              <a:defRPr sz="1800">
                <a:solidFill>
                  <a:schemeClr val="tx2"/>
                </a:solidFill>
              </a:defRPr>
            </a:lvl1pPr>
          </a:lstStyle>
          <a:p>
            <a:r>
              <a:rPr lang="en-US"/>
              <a:t>Click to edit Master title style</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14884"/>
            <a:ext cx="2475384" cy="953956"/>
          </a:xfrm>
        </p:spPr>
        <p:txBody>
          <a:bodyPr/>
          <a:lstStyle>
            <a:lvl1pPr>
              <a:lnSpc>
                <a:spcPct val="90000"/>
              </a:lnSpc>
              <a:defRPr sz="6499">
                <a:solidFill>
                  <a:schemeClr val="accent1"/>
                </a:solidFill>
              </a:defRPr>
            </a:lvl1pPr>
            <a:lvl2pPr marL="0" indent="0">
              <a:buNone/>
              <a:defRPr/>
            </a:lvl2pPr>
          </a:lstStyle>
          <a:p>
            <a:pPr lvl="0"/>
            <a:r>
              <a:rPr lang="en-US"/>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3333316" y="1166534"/>
            <a:ext cx="2475384" cy="483652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383301" y="213241"/>
            <a:ext cx="2474590" cy="953294"/>
          </a:xfrm>
        </p:spPr>
        <p:txBody>
          <a:bodyPr/>
          <a:lstStyle>
            <a:lvl1pPr>
              <a:lnSpc>
                <a:spcPct val="90000"/>
              </a:lnSpc>
              <a:defRPr sz="6499">
                <a:solidFill>
                  <a:schemeClr val="accent1"/>
                </a:solidFill>
              </a:defRPr>
            </a:lvl1pPr>
          </a:lstStyle>
          <a:p>
            <a:pPr lvl="0"/>
            <a:r>
              <a:rPr lang="en-US"/>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1167327"/>
            <a:ext cx="2476178"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9428523" y="214827"/>
            <a:ext cx="2474590" cy="951707"/>
          </a:xfrm>
        </p:spPr>
        <p:txBody>
          <a:bodyPr/>
          <a:lstStyle>
            <a:lvl1pPr>
              <a:lnSpc>
                <a:spcPct val="90000"/>
              </a:lnSpc>
              <a:defRPr sz="6499">
                <a:solidFill>
                  <a:schemeClr val="accent1"/>
                </a:solidFill>
              </a:defRPr>
            </a:lvl1pPr>
          </a:lstStyle>
          <a:p>
            <a:pPr lvl="0"/>
            <a:r>
              <a:rPr lang="en-US"/>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9428522" y="1166533"/>
            <a:ext cx="2476178"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84125" y="6402118"/>
            <a:ext cx="2477765" cy="190500"/>
          </a:xfrm>
        </p:spPr>
        <p:txBody>
          <a:bodyPr/>
          <a:lstStyle/>
          <a:p>
            <a:endParaRPr lang="en-US"/>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207242135"/>
      </p:ext>
    </p:extLst>
  </p:cSld>
  <p:clrMapOvr>
    <a:masterClrMapping/>
  </p:clrMapOvr>
  <p:transition spd="med"/>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87300" y="201168"/>
            <a:ext cx="2474590" cy="2667794"/>
          </a:xfrm>
        </p:spPr>
        <p:txBody>
          <a:bodyPr/>
          <a:lstStyle>
            <a:lvl1pPr>
              <a:lnSpc>
                <a:spcPct val="100000"/>
              </a:lnSpc>
              <a:defRPr sz="4299">
                <a:solidFill>
                  <a:schemeClr val="accent1"/>
                </a:solidFill>
              </a:defRPr>
            </a:lvl1pPr>
          </a:lstStyle>
          <a:p>
            <a:r>
              <a:rPr lang="en-US"/>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3333316" y="201168"/>
            <a:ext cx="5523781" cy="2667794"/>
          </a:xfrm>
        </p:spPr>
        <p:txBody>
          <a:bodyPr/>
          <a:lstStyle>
            <a:lvl1pPr>
              <a:lnSpc>
                <a:spcPct val="100000"/>
              </a:lnSpc>
              <a:spcBef>
                <a:spcPts val="0"/>
              </a:spcBef>
              <a:defRPr sz="4299">
                <a:solidFill>
                  <a:schemeClr val="tx1"/>
                </a:solidFill>
              </a:defRPr>
            </a:lvl1pPr>
            <a:lvl2pPr marL="393113" indent="-393113">
              <a:lnSpc>
                <a:spcPct val="100000"/>
              </a:lnSpc>
              <a:spcBef>
                <a:spcPts val="0"/>
              </a:spcBef>
              <a:defRPr sz="4299">
                <a:solidFill>
                  <a:schemeClr val="tx1"/>
                </a:solidFill>
              </a:defRPr>
            </a:lvl2pPr>
            <a:lvl3pPr marL="749658" indent="-393113">
              <a:lnSpc>
                <a:spcPct val="100000"/>
              </a:lnSpc>
              <a:spcBef>
                <a:spcPts val="0"/>
              </a:spcBef>
              <a:defRPr sz="4299">
                <a:solidFill>
                  <a:schemeClr val="tx1"/>
                </a:solidFill>
              </a:defRPr>
            </a:lvl3pPr>
            <a:lvl4pPr marL="1142771" indent="-393113">
              <a:lnSpc>
                <a:spcPct val="100000"/>
              </a:lnSpc>
              <a:spcBef>
                <a:spcPts val="0"/>
              </a:spcBef>
              <a:defRPr sz="4299">
                <a:solidFill>
                  <a:schemeClr val="tx1"/>
                </a:solidFill>
              </a:defRPr>
            </a:lvl4pPr>
            <a:lvl5pPr>
              <a:lnSpc>
                <a:spcPct val="100000"/>
              </a:lnSpc>
              <a:spcBef>
                <a:spcPts val="0"/>
              </a:spcBef>
              <a:defRPr sz="4299">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0" name="Straight Connector 9" descr="Horizontal row divider">
            <a:extLst>
              <a:ext uri="{FF2B5EF4-FFF2-40B4-BE49-F238E27FC236}">
                <a16:creationId xmlns:a16="http://schemas.microsoft.com/office/drawing/2014/main" id="{3D81813D-DA09-FCA0-D570-1E2D428C59E9}"/>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87300" y="3238500"/>
            <a:ext cx="2474590" cy="2667000"/>
          </a:xfrm>
        </p:spPr>
        <p:txBody>
          <a:bodyPr/>
          <a:lstStyle>
            <a:lvl1pPr>
              <a:lnSpc>
                <a:spcPct val="100000"/>
              </a:lnSpc>
              <a:defRPr sz="4299">
                <a:solidFill>
                  <a:schemeClr val="accent1"/>
                </a:solidFill>
              </a:defRPr>
            </a:lvl1pPr>
            <a:lvl2pPr>
              <a:lnSpc>
                <a:spcPct val="100000"/>
              </a:lnSpc>
              <a:defRPr sz="4299">
                <a:solidFill>
                  <a:schemeClr val="accent1"/>
                </a:solidFill>
              </a:defRPr>
            </a:lvl2pPr>
            <a:lvl3pPr>
              <a:lnSpc>
                <a:spcPct val="100000"/>
              </a:lnSpc>
              <a:defRPr sz="4299">
                <a:solidFill>
                  <a:schemeClr val="accent1"/>
                </a:solidFill>
              </a:defRPr>
            </a:lvl3pPr>
            <a:lvl4pPr>
              <a:lnSpc>
                <a:spcPct val="100000"/>
              </a:lnSpc>
              <a:defRPr sz="4299">
                <a:solidFill>
                  <a:schemeClr val="accent1"/>
                </a:solidFill>
              </a:defRPr>
            </a:lvl4pPr>
            <a:lvl5pPr>
              <a:lnSpc>
                <a:spcPct val="100000"/>
              </a:lnSpc>
              <a:defRPr sz="4299">
                <a:solidFill>
                  <a:schemeClr val="accent1"/>
                </a:solidFill>
              </a:defRPr>
            </a:lvl5pPr>
          </a:lstStyle>
          <a:p>
            <a:pPr lvl="0"/>
            <a:r>
              <a:rPr lang="en-US"/>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3333316" y="3238500"/>
            <a:ext cx="5523781" cy="2667000"/>
          </a:xfrm>
        </p:spPr>
        <p:txBody>
          <a:bodyPr/>
          <a:lstStyle>
            <a:lvl1pPr>
              <a:lnSpc>
                <a:spcPct val="100000"/>
              </a:lnSpc>
              <a:spcBef>
                <a:spcPts val="0"/>
              </a:spcBef>
              <a:defRPr sz="4299">
                <a:solidFill>
                  <a:schemeClr val="tx1"/>
                </a:solidFill>
              </a:defRPr>
            </a:lvl1pPr>
            <a:lvl2pPr marL="393113" indent="-393113">
              <a:lnSpc>
                <a:spcPct val="100000"/>
              </a:lnSpc>
              <a:spcBef>
                <a:spcPts val="0"/>
              </a:spcBef>
              <a:defRPr sz="4299">
                <a:solidFill>
                  <a:schemeClr val="tx1"/>
                </a:solidFill>
              </a:defRPr>
            </a:lvl2pPr>
            <a:lvl3pPr marL="749658" indent="-393113">
              <a:lnSpc>
                <a:spcPct val="100000"/>
              </a:lnSpc>
              <a:spcBef>
                <a:spcPts val="0"/>
              </a:spcBef>
              <a:defRPr sz="4299">
                <a:solidFill>
                  <a:schemeClr val="tx1"/>
                </a:solidFill>
              </a:defRPr>
            </a:lvl3pPr>
            <a:lvl4pPr marL="1142771" indent="-393113">
              <a:lnSpc>
                <a:spcPct val="100000"/>
              </a:lnSpc>
              <a:spcBef>
                <a:spcPts val="0"/>
              </a:spcBef>
              <a:defRPr sz="4299">
                <a:solidFill>
                  <a:schemeClr val="tx1"/>
                </a:solidFill>
              </a:defRPr>
            </a:lvl4pPr>
            <a:lvl5pPr>
              <a:lnSpc>
                <a:spcPct val="100000"/>
              </a:lnSpc>
              <a:spcBef>
                <a:spcPts val="0"/>
              </a:spcBef>
              <a:defRPr sz="4299">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84125" y="6402118"/>
            <a:ext cx="2477765" cy="190500"/>
          </a:xfrm>
        </p:spPr>
        <p:txBody>
          <a:bodyPr/>
          <a:lstStyle/>
          <a:p>
            <a:endParaRPr lang="en-US"/>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517267487"/>
      </p:ext>
    </p:extLst>
  </p:cSld>
  <p:clrMapOvr>
    <a:masterClrMapping/>
  </p:clrMapOvr>
  <p:transition spd="med"/>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0" cy="1429544"/>
          </a:xfrm>
        </p:spPr>
        <p:txBody>
          <a:bodyPr/>
          <a:lstStyle>
            <a:lvl1pPr>
              <a:lnSpc>
                <a:spcPct val="110000"/>
              </a:lnSpc>
              <a:defRPr sz="1800">
                <a:solidFill>
                  <a:schemeClr val="tx2"/>
                </a:solidFill>
              </a:defRPr>
            </a:lvl1pPr>
          </a:lstStyle>
          <a:p>
            <a:r>
              <a:rPr lang="en-US"/>
              <a:t>Click to edit Master title style</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05740"/>
            <a:ext cx="2475384" cy="1429544"/>
          </a:xfrm>
        </p:spPr>
        <p:txBody>
          <a:bodyPr/>
          <a:lstStyle>
            <a:lvl1pPr>
              <a:lnSpc>
                <a:spcPct val="90000"/>
              </a:lnSpc>
              <a:defRPr sz="6499">
                <a:solidFill>
                  <a:schemeClr val="accent1"/>
                </a:solidFill>
              </a:defRPr>
            </a:lvl1pPr>
            <a:lvl2pPr marL="0" indent="0">
              <a:buNone/>
              <a:defRPr/>
            </a:lvl2pPr>
          </a:lstStyle>
          <a:p>
            <a:r>
              <a:rPr lang="en-US"/>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380919" y="288036"/>
            <a:ext cx="3809504" cy="1429544"/>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7" name="Straight Connector 16" descr="Horizontal row divider">
            <a:extLst>
              <a:ext uri="{FF2B5EF4-FFF2-40B4-BE49-F238E27FC236}">
                <a16:creationId xmlns:a16="http://schemas.microsoft.com/office/drawing/2014/main" id="{1103109C-6DA9-8F27-B4B1-EE276442E489}"/>
              </a:ext>
            </a:extLst>
          </p:cNvPr>
          <p:cNvCxnSpPr/>
          <p:nvPr userDrawn="1"/>
        </p:nvCxnSpPr>
        <p:spPr bwMode="auto">
          <a:xfrm>
            <a:off x="3333316" y="20002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3333316" y="2093976"/>
            <a:ext cx="2475384" cy="1428753"/>
          </a:xfrm>
        </p:spPr>
        <p:txBody>
          <a:bodyPr/>
          <a:lstStyle>
            <a:lvl1pPr>
              <a:lnSpc>
                <a:spcPct val="90000"/>
              </a:lnSpc>
              <a:defRPr sz="6499">
                <a:solidFill>
                  <a:schemeClr val="accent1"/>
                </a:solidFill>
              </a:defRPr>
            </a:lvl1pPr>
          </a:lstStyle>
          <a:p>
            <a:r>
              <a:rPr lang="en-US"/>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2190750"/>
            <a:ext cx="3809504" cy="14287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5" name="Straight Connector 14" descr="Horizontal row divider">
            <a:extLst>
              <a:ext uri="{FF2B5EF4-FFF2-40B4-BE49-F238E27FC236}">
                <a16:creationId xmlns:a16="http://schemas.microsoft.com/office/drawing/2014/main" id="{687931BB-B3EF-829C-B354-B048514D5138}"/>
              </a:ext>
            </a:extLst>
          </p:cNvPr>
          <p:cNvCxnSpPr/>
          <p:nvPr userDrawn="1"/>
        </p:nvCxnSpPr>
        <p:spPr bwMode="auto">
          <a:xfrm>
            <a:off x="3333316" y="40957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3333317" y="4201668"/>
            <a:ext cx="2475383" cy="1428753"/>
          </a:xfrm>
        </p:spPr>
        <p:txBody>
          <a:bodyPr/>
          <a:lstStyle>
            <a:lvl1pPr>
              <a:lnSpc>
                <a:spcPct val="90000"/>
              </a:lnSpc>
              <a:defRPr sz="6499">
                <a:solidFill>
                  <a:schemeClr val="accent1"/>
                </a:solidFill>
              </a:defRPr>
            </a:lvl1pPr>
          </a:lstStyle>
          <a:p>
            <a:r>
              <a:rPr lang="en-US"/>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6380919" y="4286250"/>
            <a:ext cx="3809504" cy="14287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a:lnSpc>
                <a:spcPct val="120000"/>
              </a:lnSpc>
              <a:spcBef>
                <a:spcPts val="0"/>
              </a:spcBef>
              <a:defRPr sz="800" b="0" i="0">
                <a:solidFill>
                  <a:schemeClr val="tx1"/>
                </a:solidFill>
                <a:latin typeface="IBM Plex Sans" panose="020B0503050203000203" pitchFamily="34" charset="0"/>
              </a:defRPr>
            </a:lvl2pPr>
            <a:lvl3pPr>
              <a:lnSpc>
                <a:spcPct val="120000"/>
              </a:lnSpc>
              <a:spcBef>
                <a:spcPts val="0"/>
              </a:spcBef>
              <a:defRPr sz="800" b="0" i="0">
                <a:solidFill>
                  <a:schemeClr val="tx1"/>
                </a:solidFill>
                <a:latin typeface="IBM Plex Sans" panose="020B0503050203000203" pitchFamily="34" charset="0"/>
              </a:defRPr>
            </a:lvl3pPr>
            <a:lvl4pPr>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84125" y="6402118"/>
            <a:ext cx="2477765" cy="190500"/>
          </a:xfrm>
        </p:spPr>
        <p:txBody>
          <a:bodyPr/>
          <a:lstStyle/>
          <a:p>
            <a:endParaRPr lang="en-US"/>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819102632"/>
      </p:ext>
    </p:extLst>
  </p:cSld>
  <p:clrMapOvr>
    <a:masterClrMapping/>
  </p:clrMapOvr>
  <p:transition spd="med"/>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87999" y="1714500"/>
            <a:ext cx="2477765"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84125" y="6402118"/>
            <a:ext cx="2477765" cy="190500"/>
          </a:xfrm>
        </p:spPr>
        <p:txBody>
          <a:bodyPr/>
          <a:lstStyle/>
          <a:p>
            <a:endParaRPr lang="en-US"/>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319730902"/>
      </p:ext>
    </p:extLst>
  </p:cSld>
  <p:clrMapOvr>
    <a:masterClrMapping/>
  </p:clrMapOvr>
  <p:transition spd="med"/>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762794"/>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289681" y="1714500"/>
            <a:ext cx="2475384"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descr="Vertical column divider">
            <a:extLst>
              <a:ext uri="{FF2B5EF4-FFF2-40B4-BE49-F238E27FC236}">
                <a16:creationId xmlns:a16="http://schemas.microsoft.com/office/drawing/2014/main" id="{ABAB2974-AD95-0BF2-C41A-265AEF03B4F7}"/>
              </a:ext>
            </a:extLst>
          </p:cNvPr>
          <p:cNvCxnSpPr>
            <a:cxnSpLocks/>
          </p:cNvCxnSpPr>
          <p:nvPr userDrawn="1"/>
        </p:nvCxnSpPr>
        <p:spPr bwMode="auto">
          <a:xfrm>
            <a:off x="3047603" y="1714500"/>
            <a:ext cx="0" cy="42862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1" name="Straight Connector 20" descr="Vertical column divider ">
            <a:extLst>
              <a:ext uri="{FF2B5EF4-FFF2-40B4-BE49-F238E27FC236}">
                <a16:creationId xmlns:a16="http://schemas.microsoft.com/office/drawing/2014/main" id="{CDB8CB8D-C4DB-E357-4948-59CD6A18A9DC}"/>
              </a:ext>
            </a:extLst>
          </p:cNvPr>
          <p:cNvCxnSpPr/>
          <p:nvPr userDrawn="1"/>
        </p:nvCxnSpPr>
        <p:spPr bwMode="auto">
          <a:xfrm>
            <a:off x="6093683"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2" name="Straight Connector 21" descr="Vertical column divider ">
            <a:extLst>
              <a:ext uri="{FF2B5EF4-FFF2-40B4-BE49-F238E27FC236}">
                <a16:creationId xmlns:a16="http://schemas.microsoft.com/office/drawing/2014/main" id="{8B5887E5-28C4-AA99-EBD5-E34B88F46F25}"/>
              </a:ext>
            </a:extLst>
          </p:cNvPr>
          <p:cNvCxnSpPr/>
          <p:nvPr userDrawn="1"/>
        </p:nvCxnSpPr>
        <p:spPr bwMode="auto">
          <a:xfrm>
            <a:off x="9142810"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84125" y="6402118"/>
            <a:ext cx="2477765" cy="190500"/>
          </a:xfrm>
        </p:spPr>
        <p:txBody>
          <a:bodyPr/>
          <a:lstStyle/>
          <a:p>
            <a:endParaRPr lang="en-US"/>
          </a:p>
        </p:txBody>
      </p: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187729647"/>
      </p:ext>
    </p:extLst>
  </p:cSld>
  <p:clrMapOvr>
    <a:masterClrMapping/>
  </p:clrMapOvr>
  <p:transition spd="med"/>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p>
        </p:txBody>
      </p:sp>
      <p:cxnSp>
        <p:nvCxnSpPr>
          <p:cNvPr id="14" name="Straight Connector 13" descr="Vertical column divider">
            <a:extLst>
              <a:ext uri="{FF2B5EF4-FFF2-40B4-BE49-F238E27FC236}">
                <a16:creationId xmlns:a16="http://schemas.microsoft.com/office/drawing/2014/main" id="{C6EB28FF-C21F-A83D-2D19-2242B76C6B09}"/>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3D7A0E74-695D-C6F5-07CD-01209D58A70A}"/>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19E1AC9A-B000-435B-E4BC-54B09FB795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84125" y="6402118"/>
            <a:ext cx="2477765" cy="190500"/>
          </a:xfrm>
        </p:spPr>
        <p:txBody>
          <a:bodyPr/>
          <a:lstStyle/>
          <a:p>
            <a:endParaRPr lang="en-US"/>
          </a:p>
        </p:txBody>
      </p: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713923604"/>
      </p:ext>
    </p:extLst>
  </p:cSld>
  <p:clrMapOvr>
    <a:masterClrMapping/>
  </p:clrMapOvr>
  <p:transition spd="med"/>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87999" y="288036"/>
            <a:ext cx="2474590" cy="1048544"/>
          </a:xfrm>
        </p:spPr>
        <p:txBody>
          <a:bodyPr/>
          <a:lstStyle>
            <a:lvl1pPr>
              <a:lnSpc>
                <a:spcPct val="110000"/>
              </a:lnSpc>
              <a:defRPr sz="12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87999" y="1714500"/>
            <a:ext cx="2477765" cy="2000250"/>
          </a:xfrm>
        </p:spPr>
        <p:txBody>
          <a:bodyPr/>
          <a:lstStyle>
            <a:lvl1pPr>
              <a:lnSpc>
                <a:spcPct val="100000"/>
              </a:lnSpc>
              <a:spcBef>
                <a:spcPts val="0"/>
              </a:spcBef>
              <a:defRPr sz="1800">
                <a:solidFill>
                  <a:schemeClr val="tx1"/>
                </a:solidFill>
              </a:defRPr>
            </a:lvl1pPr>
          </a:lstStyle>
          <a:p>
            <a:pPr lvl="0"/>
            <a:r>
              <a:rPr lang="en-US"/>
              <a:t>Click to edit Master text styles</a:t>
            </a:r>
          </a:p>
        </p:txBody>
      </p:sp>
      <p:cxnSp>
        <p:nvCxnSpPr>
          <p:cNvPr id="17" name="Straight Connector 16" descr="Vertical column divider">
            <a:extLst>
              <a:ext uri="{FF2B5EF4-FFF2-40B4-BE49-F238E27FC236}">
                <a16:creationId xmlns:a16="http://schemas.microsoft.com/office/drawing/2014/main" id="{4D695107-5427-4D2D-F88F-89BA74127CB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 name="Picture Placeholder 13" descr="Place pictogram here">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3333316" y="288036"/>
            <a:ext cx="607997" cy="608076"/>
          </a:xfrm>
        </p:spPr>
        <p:txBody>
          <a:bodyPr anchor="ctr"/>
          <a:lstStyle>
            <a:lvl1pPr algn="ctr">
              <a:defRPr sz="800">
                <a:solidFill>
                  <a:schemeClr val="tx1"/>
                </a:solidFill>
              </a:defRPr>
            </a:lvl1pPr>
          </a:lstStyle>
          <a:p>
            <a:r>
              <a:rPr lang="en-US"/>
              <a:t>Pictogram</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3333316" y="1714500"/>
            <a:ext cx="2475384"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43B07B4A-5DB5-8126-EA79-502787053E82}"/>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3" descr="Place pictogram here">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6387345" y="288036"/>
            <a:ext cx="607997" cy="608076"/>
          </a:xfrm>
        </p:spPr>
        <p:txBody>
          <a:bodyPr anchor="ctr"/>
          <a:lstStyle>
            <a:lvl1pPr algn="ctr">
              <a:defRPr sz="800">
                <a:solidFill>
                  <a:schemeClr val="tx1"/>
                </a:solidFill>
              </a:defRPr>
            </a:lvl1pPr>
          </a:lstStyle>
          <a:p>
            <a:r>
              <a:rPr lang="en-US"/>
              <a:t>Pictogram</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6383185" y="1714500"/>
            <a:ext cx="2470738"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3" descr="Place pictogram here">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9428522" y="288036"/>
            <a:ext cx="607997" cy="608076"/>
          </a:xfrm>
        </p:spPr>
        <p:txBody>
          <a:bodyPr anchor="ctr"/>
          <a:lstStyle>
            <a:lvl1pPr algn="ctr">
              <a:defRPr sz="800">
                <a:solidFill>
                  <a:schemeClr val="tx1"/>
                </a:solidFill>
              </a:defRPr>
            </a:lvl1pPr>
          </a:lstStyle>
          <a:p>
            <a:r>
              <a:rPr lang="en-US"/>
              <a:t>Pictogram</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9428523" y="1714500"/>
            <a:ext cx="2476177"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a:p>
        </p:txBody>
      </p: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82570104"/>
      </p:ext>
    </p:extLst>
  </p:cSld>
  <p:clrMapOvr>
    <a:masterClrMapping/>
  </p:clrMapOvr>
  <p:transition spd="med"/>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6"/>
          </a:xfrm>
        </p:spPr>
        <p:txBody>
          <a:bodyPr/>
          <a:lstStyle>
            <a:lvl1pPr>
              <a:lnSpc>
                <a:spcPct val="100000"/>
              </a:lnSpc>
              <a:defRPr sz="3199">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2554" y="192024"/>
            <a:ext cx="2477765" cy="570706"/>
          </a:xfrm>
        </p:spPr>
        <p:txBody>
          <a:bodyPr/>
          <a:lstStyle>
            <a:lvl1pPr>
              <a:lnSpc>
                <a:spcPct val="100000"/>
              </a:lnSpc>
              <a:spcBef>
                <a:spcPts val="0"/>
              </a:spcBef>
              <a:defRPr sz="3199">
                <a:solidFill>
                  <a:schemeClr val="tx2"/>
                </a:solidFill>
              </a:defRPr>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5047593"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59421585"/>
      </p:ext>
    </p:extLst>
  </p:cSld>
  <p:clrMapOvr>
    <a:masterClrMapping/>
  </p:clrMapOvr>
  <p:transition spd="med"/>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87999" y="288036"/>
            <a:ext cx="3711980" cy="953294"/>
          </a:xfrm>
        </p:spPr>
        <p:txBody>
          <a:bodyPr/>
          <a:lstStyle>
            <a:lvl1pPr>
              <a:lnSpc>
                <a:spcPct val="110000"/>
              </a:lnSpc>
              <a:defRPr sz="18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87999" y="1714500"/>
            <a:ext cx="5049180" cy="42862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6380919" y="1714500"/>
            <a:ext cx="5047593" cy="42862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236947228"/>
      </p:ext>
    </p:extLst>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0" cy="1642364"/>
          </a:xfrm>
        </p:spPr>
        <p:txBody>
          <a:bodyPr/>
          <a:lstStyle>
            <a:lvl1pPr>
              <a:lnSpc>
                <a:spcPct val="110000"/>
              </a:lnSpc>
              <a:defRPr sz="1800">
                <a:solidFill>
                  <a:schemeClr val="tx2"/>
                </a:solidFill>
              </a:defRPr>
            </a:lvl1pPr>
          </a:lstStyle>
          <a:p>
            <a:r>
              <a:rPr lang="en-US"/>
              <a:t>Click to edit Master title style</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192024"/>
            <a:ext cx="2475384" cy="1429544"/>
          </a:xfrm>
        </p:spPr>
        <p:txBody>
          <a:bodyPr/>
          <a:lstStyle>
            <a:lvl1pPr>
              <a:lnSpc>
                <a:spcPct val="90000"/>
              </a:lnSpc>
              <a:defRPr sz="6599">
                <a:solidFill>
                  <a:schemeClr val="accent1"/>
                </a:solidFill>
              </a:defRPr>
            </a:lvl1pPr>
            <a:lvl2pPr marL="0" indent="0">
              <a:buNone/>
              <a:defRPr/>
            </a:lvl2pPr>
          </a:lstStyle>
          <a:p>
            <a:r>
              <a:rPr lang="en-US"/>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380919" y="286449"/>
            <a:ext cx="3809504" cy="1429544"/>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7" name="Straight Connector 16" descr="Horizontal row divider">
            <a:extLst>
              <a:ext uri="{FF2B5EF4-FFF2-40B4-BE49-F238E27FC236}">
                <a16:creationId xmlns:a16="http://schemas.microsoft.com/office/drawing/2014/main" id="{1103109C-6DA9-8F27-B4B1-EE276442E489}"/>
              </a:ext>
            </a:extLst>
          </p:cNvPr>
          <p:cNvCxnSpPr/>
          <p:nvPr userDrawn="1"/>
        </p:nvCxnSpPr>
        <p:spPr bwMode="auto">
          <a:xfrm>
            <a:off x="3333316" y="2287588"/>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3333316" y="2478911"/>
            <a:ext cx="2475384" cy="1428753"/>
          </a:xfrm>
        </p:spPr>
        <p:txBody>
          <a:bodyPr/>
          <a:lstStyle>
            <a:lvl1pPr>
              <a:lnSpc>
                <a:spcPct val="90000"/>
              </a:lnSpc>
              <a:defRPr sz="6599">
                <a:solidFill>
                  <a:schemeClr val="accent1"/>
                </a:solidFill>
              </a:defRPr>
            </a:lvl1pPr>
          </a:lstStyle>
          <a:p>
            <a:r>
              <a:rPr lang="en-US"/>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2562985"/>
            <a:ext cx="3809504" cy="14287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5" name="Straight Connector 14" descr="Horizontal row divider">
            <a:extLst>
              <a:ext uri="{FF2B5EF4-FFF2-40B4-BE49-F238E27FC236}">
                <a16:creationId xmlns:a16="http://schemas.microsoft.com/office/drawing/2014/main" id="{687931BB-B3EF-829C-B354-B048514D5138}"/>
              </a:ext>
            </a:extLst>
          </p:cNvPr>
          <p:cNvCxnSpPr/>
          <p:nvPr userDrawn="1"/>
        </p:nvCxnSpPr>
        <p:spPr bwMode="auto">
          <a:xfrm>
            <a:off x="3333316" y="4570413"/>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3333317" y="4763323"/>
            <a:ext cx="2475383" cy="1334265"/>
          </a:xfrm>
        </p:spPr>
        <p:txBody>
          <a:bodyPr/>
          <a:lstStyle>
            <a:lvl1pPr>
              <a:lnSpc>
                <a:spcPct val="90000"/>
              </a:lnSpc>
              <a:defRPr sz="6599">
                <a:solidFill>
                  <a:schemeClr val="accent1"/>
                </a:solidFill>
              </a:defRPr>
            </a:lvl1pPr>
          </a:lstStyle>
          <a:p>
            <a:r>
              <a:rPr lang="en-US"/>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6380919" y="4835205"/>
            <a:ext cx="3809504" cy="126238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9325"/>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a:lnSpc>
                <a:spcPct val="120000"/>
              </a:lnSpc>
              <a:spcBef>
                <a:spcPts val="0"/>
              </a:spcBef>
              <a:defRPr sz="800" b="0" i="0">
                <a:solidFill>
                  <a:schemeClr val="tx1"/>
                </a:solidFill>
                <a:latin typeface="IBM Plex Sans" panose="020B0503050203000203" pitchFamily="34" charset="0"/>
              </a:defRPr>
            </a:lvl2pPr>
            <a:lvl3pPr>
              <a:lnSpc>
                <a:spcPct val="120000"/>
              </a:lnSpc>
              <a:spcBef>
                <a:spcPts val="0"/>
              </a:spcBef>
              <a:defRPr sz="800" b="0" i="0">
                <a:solidFill>
                  <a:schemeClr val="tx1"/>
                </a:solidFill>
                <a:latin typeface="IBM Plex Sans" panose="020B0503050203000203" pitchFamily="34" charset="0"/>
              </a:defRPr>
            </a:lvl3pPr>
            <a:lvl4pPr>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495C3AC-E4B9-F837-204B-FF01953D40BE}"/>
              </a:ext>
            </a:extLst>
          </p:cNvPr>
          <p:cNvSpPr>
            <a:spLocks noGrp="1"/>
          </p:cNvSpPr>
          <p:nvPr>
            <p:ph type="ftr" sz="quarter" idx="18"/>
          </p:nvPr>
        </p:nvSpPr>
        <p:spPr>
          <a:xfrm>
            <a:off x="287963" y="6408000"/>
            <a:ext cx="2477765" cy="190500"/>
          </a:xfrm>
        </p:spPr>
        <p:txBody>
          <a:bodyPr/>
          <a:lstStyle/>
          <a:p>
            <a:endParaRPr lang="en-US"/>
          </a:p>
        </p:txBody>
      </p:sp>
      <p:sp>
        <p:nvSpPr>
          <p:cNvPr id="8" name="Slide Number">
            <a:extLst>
              <a:ext uri="{FF2B5EF4-FFF2-40B4-BE49-F238E27FC236}">
                <a16:creationId xmlns:a16="http://schemas.microsoft.com/office/drawing/2014/main" id="{22119C11-B0BD-168C-0C07-D70B259D3906}"/>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418096924"/>
      </p:ext>
    </p:extLst>
  </p:cSld>
  <p:clrMapOvr>
    <a:masterClrMapping/>
  </p:clrMapOvr>
  <p:transition spd="med"/>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9" y="192024"/>
            <a:ext cx="5522193" cy="2286794"/>
          </a:xfrm>
        </p:spPr>
        <p:txBody>
          <a:bodyPr rIns="457200"/>
          <a:lstStyle>
            <a:lvl1pPr>
              <a:lnSpc>
                <a:spcPct val="100000"/>
              </a:lnSpc>
              <a:defRPr>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19" y="288036"/>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2" y="288036"/>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871487671"/>
      </p:ext>
    </p:extLst>
  </p:cSld>
  <p:clrMapOvr>
    <a:masterClrMapping/>
  </p:clrMapOvr>
  <p:transition spd="med"/>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8" y="288036"/>
            <a:ext cx="2476178" cy="2286794"/>
          </a:xfrm>
        </p:spPr>
        <p:txBody>
          <a:bodyPr/>
          <a:lstStyle>
            <a:lvl1pPr>
              <a:lnSpc>
                <a:spcPct val="100000"/>
              </a:lnSpc>
              <a:defRPr sz="18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19" y="284957"/>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2" y="284957"/>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510859413"/>
      </p:ext>
    </p:extLst>
  </p:cSld>
  <p:clrMapOvr>
    <a:masterClrMapping/>
  </p:clrMapOvr>
  <p:transition spd="med"/>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9" y="192024"/>
            <a:ext cx="5519019" cy="2286794"/>
          </a:xfrm>
        </p:spPr>
        <p:txBody>
          <a:bodyPr rIns="457200"/>
          <a:lstStyle>
            <a:lvl1pPr>
              <a:lnSpc>
                <a:spcPct val="100000"/>
              </a:lnSpc>
              <a:defRPr>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010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036010623"/>
      </p:ext>
    </p:extLst>
  </p:cSld>
  <p:clrMapOvr>
    <a:masterClrMapping/>
  </p:clrMapOvr>
  <p:transition spd="med"/>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8" y="288036"/>
            <a:ext cx="2474591" cy="2286000"/>
          </a:xfrm>
        </p:spPr>
        <p:txBody>
          <a:bodyPr rIns="0"/>
          <a:lstStyle>
            <a:lvl1pPr>
              <a:lnSpc>
                <a:spcPct val="100000"/>
              </a:lnSpc>
              <a:defRPr sz="1400">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1697"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655393274"/>
      </p:ext>
    </p:extLst>
  </p:cSld>
  <p:clrMapOvr>
    <a:masterClrMapping/>
  </p:clrMapOvr>
  <p:transition spd="med"/>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7"/>
          </a:xfrm>
        </p:spPr>
        <p:txBody>
          <a:bodyPr/>
          <a:lstStyle>
            <a:lvl1pPr>
              <a:lnSpc>
                <a:spcPct val="100000"/>
              </a:lnSpc>
              <a:defRPr sz="3199">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4142" y="192024"/>
            <a:ext cx="2477765" cy="570706"/>
          </a:xfrm>
        </p:spPr>
        <p:txBody>
          <a:bodyPr/>
          <a:lstStyle>
            <a:lvl1pPr>
              <a:lnSpc>
                <a:spcPct val="100000"/>
              </a:lnSpc>
              <a:spcBef>
                <a:spcPts val="0"/>
              </a:spcBef>
              <a:defRPr sz="3199">
                <a:solidFill>
                  <a:schemeClr val="tx2"/>
                </a:solidFill>
              </a:defRPr>
            </a:lvl1pPr>
            <a:lvl2pPr>
              <a:lnSpc>
                <a:spcPct val="90000"/>
              </a:lnSpc>
              <a:spcBef>
                <a:spcPts val="0"/>
              </a:spcBef>
              <a:defRPr sz="1400"/>
            </a:lvl2pPr>
            <a:lvl3pPr>
              <a:lnSpc>
                <a:spcPct val="90000"/>
              </a:lnSpc>
              <a:spcBef>
                <a:spcPts val="0"/>
              </a:spcBef>
              <a:defRPr sz="1400"/>
            </a:lvl3pPr>
            <a:lvl4pPr>
              <a:lnSpc>
                <a:spcPct val="90000"/>
              </a:lnSpc>
              <a:spcBef>
                <a:spcPts val="0"/>
              </a:spcBef>
              <a:defRPr sz="1400"/>
            </a:lvl4pPr>
            <a:lvl5pPr>
              <a:lnSpc>
                <a:spcPct val="90000"/>
              </a:lnSpc>
              <a:spcBef>
                <a:spcPts val="0"/>
              </a:spcBef>
              <a:defRPr sz="140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3" name="Straight Connector 12" descr="Vertical column divider">
            <a:extLst>
              <a:ext uri="{FF2B5EF4-FFF2-40B4-BE49-F238E27FC236}">
                <a16:creationId xmlns:a16="http://schemas.microsoft.com/office/drawing/2014/main" id="{202744BD-C7A4-D538-2E19-AA279C025A21}"/>
              </a:ext>
            </a:extLst>
          </p:cNvPr>
          <p:cNvCxnSpPr/>
          <p:nvPr userDrawn="1"/>
        </p:nvCxnSpPr>
        <p:spPr bwMode="auto">
          <a:xfrm>
            <a:off x="609368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Picture Placeholder 4" descr="Place pictogram here">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6380919" y="288036"/>
            <a:ext cx="457776" cy="457200"/>
          </a:xfrm>
        </p:spPr>
        <p:txBody>
          <a:bodyPr anchor="ctr"/>
          <a:lstStyle>
            <a:lvl1pPr algn="ctr">
              <a:defRPr sz="800">
                <a:solidFill>
                  <a:schemeClr val="tx1"/>
                </a:solidFill>
              </a:defRPr>
            </a:lvl1pPr>
          </a:lstStyle>
          <a:p>
            <a:r>
              <a:rPr lang="en-US"/>
              <a:t>Pictogram</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2988"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ADCE883F-3781-7F7E-8236-8BB5CEBAD7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Picture Placeholder 11" descr="Place pictogram here">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9428523" y="288036"/>
            <a:ext cx="457776" cy="457200"/>
          </a:xfrm>
        </p:spPr>
        <p:txBody>
          <a:bodyPr anchor="ctr"/>
          <a:lstStyle>
            <a:lvl1pPr algn="ctr">
              <a:defRPr sz="800">
                <a:solidFill>
                  <a:schemeClr val="tx1"/>
                </a:solidFill>
              </a:defRPr>
            </a:lvl1pPr>
          </a:lstStyle>
          <a:p>
            <a:r>
              <a:rPr lang="en-US"/>
              <a:t>Pictogram</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30591"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a:p>
        </p:txBody>
      </p: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93927063"/>
      </p:ext>
    </p:extLst>
  </p:cSld>
  <p:clrMapOvr>
    <a:masterClrMapping/>
  </p:clrMapOvr>
  <p:transition spd="med"/>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13" name="Picture Placeholder 12" descr="Place pictogram here">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87998" y="288036"/>
            <a:ext cx="607997" cy="608076"/>
          </a:xfrm>
        </p:spPr>
        <p:txBody>
          <a:bodyPr anchor="ctr"/>
          <a:lstStyle>
            <a:lvl1pPr algn="ctr">
              <a:defRPr sz="800"/>
            </a:lvl1pPr>
          </a:lstStyle>
          <a:p>
            <a:r>
              <a:rPr lang="en-US"/>
              <a:t>Pictogram</a:t>
            </a:r>
          </a:p>
        </p:txBody>
      </p:sp>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87999" y="1239012"/>
            <a:ext cx="3334903"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
            <a:extLst>
              <a:ext uri="{FF2B5EF4-FFF2-40B4-BE49-F238E27FC236}">
                <a16:creationId xmlns:a16="http://schemas.microsoft.com/office/drawing/2014/main" id="{00A530A6-2F26-DA70-D0D9-6DD90453CEC1}"/>
              </a:ext>
            </a:extLst>
          </p:cNvPr>
          <p:cNvCxnSpPr/>
          <p:nvPr userDrawn="1"/>
        </p:nvCxnSpPr>
        <p:spPr bwMode="auto">
          <a:xfrm>
            <a:off x="6095206"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4" descr="Place pictogram here">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6380919" y="288036"/>
            <a:ext cx="607997" cy="608076"/>
          </a:xfrm>
        </p:spPr>
        <p:txBody>
          <a:bodyPr anchor="ctr"/>
          <a:lstStyle>
            <a:lvl1pPr algn="ctr">
              <a:defRPr sz="800"/>
            </a:lvl1pPr>
          </a:lstStyle>
          <a:p>
            <a:r>
              <a:rPr lang="en-US"/>
              <a:t>Pictogram</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6380919" y="1238250"/>
            <a:ext cx="3333316"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9C5483A0-0E31-72CE-21C3-6248FAEBC09A}"/>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6" descr="Place pictogram here">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87998" y="3236976"/>
            <a:ext cx="607997" cy="608076"/>
          </a:xfrm>
        </p:spPr>
        <p:txBody>
          <a:bodyPr anchor="ctr"/>
          <a:lstStyle>
            <a:lvl1pPr algn="ctr">
              <a:defRPr sz="800"/>
            </a:lvl1pPr>
          </a:lstStyle>
          <a:p>
            <a:r>
              <a:rPr lang="en-US"/>
              <a:t>Pictogram</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87998" y="4192524"/>
            <a:ext cx="3334904"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18" descr="Place pictogram here">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6380919" y="3238500"/>
            <a:ext cx="607997" cy="608076"/>
          </a:xfrm>
        </p:spPr>
        <p:txBody>
          <a:bodyPr anchor="ctr"/>
          <a:lstStyle>
            <a:lvl1pPr algn="ctr">
              <a:defRPr sz="800"/>
            </a:lvl1pPr>
          </a:lstStyle>
          <a:p>
            <a:r>
              <a:rPr lang="en-US"/>
              <a:t>Pictogram</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6380920" y="4191000"/>
            <a:ext cx="3333316"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a:p>
        </p:txBody>
      </p: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611472052"/>
      </p:ext>
    </p:extLst>
  </p:cSld>
  <p:clrMapOvr>
    <a:masterClrMapping/>
  </p:clrMapOvr>
  <p:transition spd="med"/>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288036"/>
            <a:ext cx="2477765" cy="570706"/>
          </a:xfrm>
        </p:spPr>
        <p:txBody>
          <a:bodyPr/>
          <a:lstStyle>
            <a:lvl1pPr>
              <a:defRPr sz="140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8" y="841248"/>
            <a:ext cx="2857128" cy="1138428"/>
          </a:xfrm>
        </p:spPr>
        <p:txBody>
          <a:bodyPr/>
          <a:lstStyle>
            <a:lvl1pPr>
              <a:lnSpc>
                <a:spcPct val="110000"/>
              </a:lnSpc>
              <a:defRPr sz="1800">
                <a:solidFill>
                  <a:schemeClr val="tx2"/>
                </a:solidFill>
              </a:defRPr>
            </a:lvl1pPr>
          </a:lstStyle>
          <a:p>
            <a:r>
              <a:rPr lang="en-US"/>
              <a:t>Click to edit Master title style</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1681"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782845137"/>
      </p:ext>
    </p:extLst>
  </p:cSld>
  <p:clrMapOvr>
    <a:masterClrMapping/>
  </p:clrMapOvr>
  <p:transition spd="med"/>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288036"/>
            <a:ext cx="2477765" cy="224028"/>
          </a:xfrm>
        </p:spPr>
        <p:txBody>
          <a:bodyPr/>
          <a:lstStyle>
            <a:lvl1pPr>
              <a:defRPr sz="140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763524"/>
            <a:ext cx="5521401" cy="1138428"/>
          </a:xfrm>
        </p:spPr>
        <p:txBody>
          <a:bodyPr rIns="457200"/>
          <a:lstStyle>
            <a:lvl1pPr>
              <a:lnSpc>
                <a:spcPct val="110000"/>
              </a:lnSpc>
              <a:defRPr sz="3199">
                <a:solidFill>
                  <a:schemeClr val="tx2"/>
                </a:solidFill>
              </a:defRPr>
            </a:lvl1pPr>
          </a:lstStyle>
          <a:p>
            <a:r>
              <a:rPr lang="en-US"/>
              <a:t>Click to edit Master title style</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4957"/>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4957"/>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169296866"/>
      </p:ext>
    </p:extLst>
  </p:cSld>
  <p:clrMapOvr>
    <a:masterClrMapping/>
  </p:clrMapOvr>
  <p:transition spd="med"/>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288036"/>
            <a:ext cx="2477765" cy="2286794"/>
          </a:xfrm>
        </p:spPr>
        <p:txBody>
          <a:bodyPr/>
          <a:lstStyle>
            <a:lvl1pPr>
              <a:lnSpc>
                <a:spcPct val="100000"/>
              </a:lnSpc>
              <a:defRPr sz="1400">
                <a:solidFill>
                  <a:schemeClr val="tx2"/>
                </a:solidFill>
              </a:defRPr>
            </a:lvl1pPr>
          </a:lstStyle>
          <a:p>
            <a:r>
              <a:rPr lang="en-US"/>
              <a:t>Click to edit Master title style</a:t>
            </a:r>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28416"/>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1187"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49"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406678690"/>
      </p:ext>
    </p:extLst>
  </p:cSld>
  <p:clrMapOvr>
    <a:masterClrMapping/>
  </p:clrMapOvr>
  <p:transition spd="med"/>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192024"/>
            <a:ext cx="5524575" cy="2286794"/>
          </a:xfrm>
        </p:spPr>
        <p:txBody>
          <a:bodyPr rIns="457200"/>
          <a:lstStyle>
            <a:lvl1pPr>
              <a:lnSpc>
                <a:spcPct val="100000"/>
              </a:lnSpc>
              <a:defRPr>
                <a:solidFill>
                  <a:schemeClr val="tx2"/>
                </a:solidFill>
              </a:defRPr>
            </a:lvl1pPr>
          </a:lstStyle>
          <a:p>
            <a:r>
              <a:rPr lang="en-US"/>
              <a:t>Click to edit Master title style</a:t>
            </a:r>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28416"/>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4362"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49"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09532074"/>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63" y="288036"/>
            <a:ext cx="2470717" cy="762794"/>
          </a:xfrm>
        </p:spPr>
        <p:txBody>
          <a:bodyPr/>
          <a:lstStyle>
            <a:lvl1pPr>
              <a:lnSpc>
                <a:spcPct val="110000"/>
              </a:lnSpc>
              <a:defRPr sz="14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87963" y="1524000"/>
            <a:ext cx="2477765" cy="4576763"/>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4904" y="1524000"/>
            <a:ext cx="2475384" cy="4576763"/>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9168" y="1524000"/>
            <a:ext cx="2476178" cy="4576763"/>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30110" y="1524000"/>
            <a:ext cx="2479352" cy="4576763"/>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2D830AE7-F6A6-A339-0B24-876A9554C9E3}"/>
              </a:ext>
            </a:extLst>
          </p:cNvPr>
          <p:cNvSpPr>
            <a:spLocks noGrp="1"/>
          </p:cNvSpPr>
          <p:nvPr>
            <p:ph type="ftr" sz="quarter" idx="18"/>
          </p:nvPr>
        </p:nvSpPr>
        <p:spPr>
          <a:xfrm>
            <a:off x="287963" y="6408000"/>
            <a:ext cx="2477765" cy="190500"/>
          </a:xfrm>
        </p:spPr>
        <p:txBody>
          <a:bodyPr/>
          <a:lstStyle/>
          <a:p>
            <a:endParaRPr lang="en-US"/>
          </a:p>
        </p:txBody>
      </p:sp>
      <p:sp>
        <p:nvSpPr>
          <p:cNvPr id="8" name="Slide Number">
            <a:extLst>
              <a:ext uri="{FF2B5EF4-FFF2-40B4-BE49-F238E27FC236}">
                <a16:creationId xmlns:a16="http://schemas.microsoft.com/office/drawing/2014/main" id="{31A616C3-34A8-1D7A-67C9-8B76F2D30BD0}"/>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68036322"/>
      </p:ext>
    </p:extLst>
  </p:cSld>
  <p:clrMapOvr>
    <a:masterClrMapping/>
  </p:clrMapOvr>
  <p:transition spd="med"/>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2286794"/>
          </a:xfrm>
        </p:spPr>
        <p:txBody>
          <a:bodyPr/>
          <a:lstStyle>
            <a:lvl1pPr>
              <a:lnSpc>
                <a:spcPct val="110000"/>
              </a:lnSpc>
              <a:defRPr sz="1400">
                <a:solidFill>
                  <a:schemeClr val="tx2"/>
                </a:solidFill>
              </a:defRPr>
            </a:lvl1pPr>
          </a:lstStyle>
          <a:p>
            <a:r>
              <a:rPr lang="en-US"/>
              <a:t>Click to edit Master title style</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3332554"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7" name="Straight Connector 6" descr="Vertical column divider ">
            <a:extLst>
              <a:ext uri="{FF2B5EF4-FFF2-40B4-BE49-F238E27FC236}">
                <a16:creationId xmlns:a16="http://schemas.microsoft.com/office/drawing/2014/main" id="{1F6D0C9D-C937-48E3-BE84-3DA0D1BC274C}"/>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8" name="Straight Connector 7" descr="Vertical column divider ">
            <a:extLst>
              <a:ext uri="{FF2B5EF4-FFF2-40B4-BE49-F238E27FC236}">
                <a16:creationId xmlns:a16="http://schemas.microsoft.com/office/drawing/2014/main" id="{0B31714F-DB23-BEBB-75A7-6BFF47AECDDF}"/>
              </a:ext>
            </a:extLst>
          </p:cNvPr>
          <p:cNvCxnSpPr/>
          <p:nvPr userDrawn="1"/>
        </p:nvCxnSpPr>
        <p:spPr bwMode="auto">
          <a:xfrm>
            <a:off x="9146201"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3" name="Straight Connector 2" descr="Horizontal row divider">
            <a:extLst>
              <a:ext uri="{FF2B5EF4-FFF2-40B4-BE49-F238E27FC236}">
                <a16:creationId xmlns:a16="http://schemas.microsoft.com/office/drawing/2014/main" id="{3D492FDB-9D55-98D5-E9DE-229473DD5942}"/>
              </a:ext>
            </a:extLst>
          </p:cNvPr>
          <p:cNvCxnSpPr>
            <a:cxnSpLocks/>
          </p:cNvCxnSpPr>
          <p:nvPr userDrawn="1"/>
        </p:nvCxnSpPr>
        <p:spPr bwMode="auto">
          <a:xfrm>
            <a:off x="3047603" y="3048000"/>
            <a:ext cx="886027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3334141"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56161670"/>
      </p:ext>
    </p:extLst>
  </p:cSld>
  <p:clrMapOvr>
    <a:masterClrMapping/>
  </p:clrMapOvr>
  <p:transition spd="med"/>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87999" y="288036"/>
            <a:ext cx="2474590" cy="1429544"/>
          </a:xfrm>
        </p:spPr>
        <p:txBody>
          <a:bodyPr/>
          <a:lstStyle>
            <a:lvl1pPr>
              <a:lnSpc>
                <a:spcPct val="110000"/>
              </a:lnSpc>
              <a:defRPr sz="1400">
                <a:solidFill>
                  <a:schemeClr val="tx2"/>
                </a:solidFill>
              </a:defRPr>
            </a:lvl1pPr>
          </a:lstStyle>
          <a:p>
            <a:r>
              <a:rPr lang="en-US"/>
              <a:t>Click to edit Master title style</a:t>
            </a:r>
          </a:p>
        </p:txBody>
      </p:sp>
      <p:cxnSp>
        <p:nvCxnSpPr>
          <p:cNvPr id="24" name="Straight Connector 23" descr="Vertical column divider">
            <a:extLst>
              <a:ext uri="{FF2B5EF4-FFF2-40B4-BE49-F238E27FC236}">
                <a16:creationId xmlns:a16="http://schemas.microsoft.com/office/drawing/2014/main" id="{B5CBE6E3-0E18-8A57-578D-D314948AF14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5" descr="Place icon here">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3333316" y="288036"/>
            <a:ext cx="201142" cy="201613"/>
          </a:xfrm>
        </p:spPr>
        <p:txBody>
          <a:bodyPr/>
          <a:lstStyle>
            <a:lvl1pPr>
              <a:defRPr sz="700">
                <a:solidFill>
                  <a:schemeClr val="tx1"/>
                </a:solidFill>
              </a:defRPr>
            </a:lvl1pPr>
          </a:lstStyle>
          <a:p>
            <a:r>
              <a:rPr lang="en-US"/>
              <a:t>Icon</a:t>
            </a:r>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3333316" y="666750"/>
            <a:ext cx="2475384"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8" name="Straight Connector 27" descr="Vertical column divider">
            <a:extLst>
              <a:ext uri="{FF2B5EF4-FFF2-40B4-BE49-F238E27FC236}">
                <a16:creationId xmlns:a16="http://schemas.microsoft.com/office/drawing/2014/main" id="{52FF3B59-8BBA-8C99-9D4D-743723E434FC}"/>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5" descr="Place icon here">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6380920" y="288036"/>
            <a:ext cx="201142" cy="201613"/>
          </a:xfrm>
        </p:spPr>
        <p:txBody>
          <a:bodyPr/>
          <a:lstStyle>
            <a:lvl1pPr>
              <a:defRPr sz="700">
                <a:solidFill>
                  <a:schemeClr val="tx1"/>
                </a:solidFill>
              </a:defRPr>
            </a:lvl1pPr>
          </a:lstStyle>
          <a:p>
            <a:r>
              <a:rPr lang="en-US"/>
              <a:t>Icon</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6380919" y="666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7" name="Straight Connector 26" descr="Vertical column divider">
            <a:extLst>
              <a:ext uri="{FF2B5EF4-FFF2-40B4-BE49-F238E27FC236}">
                <a16:creationId xmlns:a16="http://schemas.microsoft.com/office/drawing/2014/main" id="{47200B05-7E36-4E03-3739-0BA983764616}"/>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9428523" y="666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Picture Placeholder 15" descr="Place icon here">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9428523" y="288036"/>
            <a:ext cx="201142" cy="201613"/>
          </a:xfrm>
        </p:spPr>
        <p:txBody>
          <a:bodyPr/>
          <a:lstStyle>
            <a:lvl1pPr>
              <a:defRPr sz="700">
                <a:solidFill>
                  <a:schemeClr val="tx1"/>
                </a:solidFill>
              </a:defRPr>
            </a:lvl1pPr>
          </a:lstStyle>
          <a:p>
            <a:r>
              <a:rPr lang="en-US"/>
              <a:t>Icon</a:t>
            </a:r>
          </a:p>
        </p:txBody>
      </p:sp>
      <p:cxnSp>
        <p:nvCxnSpPr>
          <p:cNvPr id="23" name="Straight Connector 22" descr="Horizontal row divider">
            <a:extLst>
              <a:ext uri="{FF2B5EF4-FFF2-40B4-BE49-F238E27FC236}">
                <a16:creationId xmlns:a16="http://schemas.microsoft.com/office/drawing/2014/main" id="{252CDB94-BA57-B58F-95F0-D406FE34BB40}"/>
              </a:ext>
            </a:extLst>
          </p:cNvPr>
          <p:cNvCxnSpPr>
            <a:cxnSpLocks/>
          </p:cNvCxnSpPr>
          <p:nvPr userDrawn="1"/>
        </p:nvCxnSpPr>
        <p:spPr bwMode="auto">
          <a:xfrm>
            <a:off x="3047603" y="3048000"/>
            <a:ext cx="886027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Picture Placeholder 15" descr="Place icon here">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3333316" y="3347315"/>
            <a:ext cx="201142" cy="201613"/>
          </a:xfrm>
        </p:spPr>
        <p:txBody>
          <a:bodyPr/>
          <a:lstStyle>
            <a:lvl1pPr>
              <a:defRPr sz="700">
                <a:solidFill>
                  <a:schemeClr val="tx1"/>
                </a:solidFill>
              </a:defRPr>
            </a:lvl1pPr>
          </a:lstStyle>
          <a:p>
            <a:r>
              <a:rPr lang="en-US"/>
              <a:t>Icon</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3333316" y="3714750"/>
            <a:ext cx="2475384"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Picture Placeholder 15" descr="Place icon here">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6380920" y="3347315"/>
            <a:ext cx="201142" cy="201613"/>
          </a:xfrm>
        </p:spPr>
        <p:txBody>
          <a:bodyPr/>
          <a:lstStyle>
            <a:lvl1pPr>
              <a:defRPr sz="700">
                <a:solidFill>
                  <a:schemeClr val="tx1"/>
                </a:solidFill>
              </a:defRPr>
            </a:lvl1pPr>
          </a:lstStyle>
          <a:p>
            <a:r>
              <a:rPr lang="en-US"/>
              <a:t>Icon</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6380920" y="3714750"/>
            <a:ext cx="2475384" cy="1896341"/>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15" descr="Place icon here">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9428523" y="3347315"/>
            <a:ext cx="201142" cy="201613"/>
          </a:xfrm>
        </p:spPr>
        <p:txBody>
          <a:bodyPr/>
          <a:lstStyle>
            <a:lvl1pPr>
              <a:defRPr sz="700">
                <a:solidFill>
                  <a:schemeClr val="tx1"/>
                </a:solidFill>
              </a:defRPr>
            </a:lvl1pPr>
          </a:lstStyle>
          <a:p>
            <a:r>
              <a:rPr lang="en-US"/>
              <a:t>Icon</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9428523" y="3714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a:p>
        </p:txBody>
      </p: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947944497"/>
      </p:ext>
    </p:extLst>
  </p:cSld>
  <p:clrMapOvr>
    <a:masterClrMapping/>
  </p:clrMapOvr>
  <p:transition spd="med"/>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192024"/>
            <a:ext cx="5519019" cy="1706563"/>
          </a:xfrm>
        </p:spPr>
        <p:txBody>
          <a:bodyPr rIns="457200"/>
          <a:lstStyle>
            <a:lvl1pPr>
              <a:lnSpc>
                <a:spcPct val="100000"/>
              </a:lnSpc>
              <a:defRPr sz="3199">
                <a:solidFill>
                  <a:schemeClr val="tx2"/>
                </a:solidFill>
              </a:defRPr>
            </a:lvl1pPr>
          </a:lstStyle>
          <a:p>
            <a:r>
              <a:rPr lang="en-US"/>
              <a:t>Click to edit Master title style</a:t>
            </a:r>
          </a:p>
        </p:txBody>
      </p:sp>
      <p:cxnSp>
        <p:nvCxnSpPr>
          <p:cNvPr id="20" name="Straight Connector 19" descr="Vertical column divider">
            <a:extLst>
              <a:ext uri="{FF2B5EF4-FFF2-40B4-BE49-F238E27FC236}">
                <a16:creationId xmlns:a16="http://schemas.microsoft.com/office/drawing/2014/main" id="{F764036E-86AB-0893-B72B-200B84A6BCFD}"/>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1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0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87998" y="3332988"/>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6"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1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010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a:p>
        </p:txBody>
      </p: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769935498"/>
      </p:ext>
    </p:extLst>
  </p:cSld>
  <p:clrMapOvr>
    <a:masterClrMapping/>
  </p:clrMapOvr>
  <p:transition spd="med"/>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288036"/>
            <a:ext cx="2474590" cy="1706563"/>
          </a:xfrm>
        </p:spPr>
        <p:txBody>
          <a:bodyPr rIns="0"/>
          <a:lstStyle>
            <a:lvl1pPr>
              <a:lnSpc>
                <a:spcPct val="110000"/>
              </a:lnSpc>
              <a:defRPr sz="1800">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1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0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1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010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90042"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6"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a:p>
        </p:txBody>
      </p:sp>
      <p:cxnSp>
        <p:nvCxnSpPr>
          <p:cNvPr id="16" name="Straight Connector 15" descr="Horizontal row divider">
            <a:extLst>
              <a:ext uri="{FF2B5EF4-FFF2-40B4-BE49-F238E27FC236}">
                <a16:creationId xmlns:a16="http://schemas.microsoft.com/office/drawing/2014/main" id="{4F455E69-0B51-1D31-E569-651079398D33}"/>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descr="Vertical column divider">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descr="Vertical column divider">
            <a:extLst>
              <a:ext uri="{FF2B5EF4-FFF2-40B4-BE49-F238E27FC236}">
                <a16:creationId xmlns:a16="http://schemas.microsoft.com/office/drawing/2014/main" id="{B87B78A1-A315-98D3-1692-18AAAF4C6002}"/>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descr="Vertical column divider">
            <a:extLst>
              <a:ext uri="{FF2B5EF4-FFF2-40B4-BE49-F238E27FC236}">
                <a16:creationId xmlns:a16="http://schemas.microsoft.com/office/drawing/2014/main" id="{F764036E-86AB-0893-B72B-200B84A6BCFD}"/>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056965625"/>
      </p:ext>
    </p:extLst>
  </p:cSld>
  <p:clrMapOvr>
    <a:masterClrMapping/>
  </p:clrMapOvr>
  <p:transition spd="med"/>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3333316" y="1714500"/>
            <a:ext cx="2475384"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10" descr="Place imagery here">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6380919" y="284956"/>
            <a:ext cx="5523781" cy="6287294"/>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a:p>
        </p:txBody>
      </p:sp>
    </p:spTree>
    <p:extLst>
      <p:ext uri="{BB962C8B-B14F-4D97-AF65-F5344CB8AC3E}">
        <p14:creationId xmlns:p14="http://schemas.microsoft.com/office/powerpoint/2010/main" val="1829479346"/>
      </p:ext>
    </p:extLst>
  </p:cSld>
  <p:clrMapOvr>
    <a:masterClrMapping/>
  </p:clrMapOvr>
  <p:transition spd="med"/>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descr="Place imagery here">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3047603" y="0"/>
            <a:ext cx="9144397" cy="6858000"/>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70048" y="6452314"/>
            <a:ext cx="134652" cy="123111"/>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4190502096"/>
      </p:ext>
    </p:extLst>
  </p:cSld>
  <p:clrMapOvr>
    <a:masterClrMapping/>
  </p:clrMapOvr>
  <p:transition spd="med"/>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Picture Placeholder 6" descr="Place imagery here">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3333316" y="282575"/>
            <a:ext cx="8574559" cy="6289675"/>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a:p>
        </p:txBody>
      </p:sp>
    </p:spTree>
    <p:extLst>
      <p:ext uri="{BB962C8B-B14F-4D97-AF65-F5344CB8AC3E}">
        <p14:creationId xmlns:p14="http://schemas.microsoft.com/office/powerpoint/2010/main" val="1164158153"/>
      </p:ext>
    </p:extLst>
  </p:cSld>
  <p:clrMapOvr>
    <a:masterClrMapping/>
  </p:clrMapOvr>
  <p:transition spd="med"/>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12192000" cy="6858000"/>
          </a:xfrm>
          <a:solidFill>
            <a:srgbClr val="E0E0E0"/>
          </a:solidFill>
        </p:spPr>
        <p:txBody>
          <a:bodyPr anchor="ctr"/>
          <a:lstStyle>
            <a:lvl1pPr algn="ctr">
              <a:defRPr>
                <a:solidFill>
                  <a:schemeClr val="accent5"/>
                </a:solidFill>
              </a:defRPr>
            </a:lvl1pPr>
          </a:lstStyle>
          <a:p>
            <a:r>
              <a:rPr lang="en-US"/>
              <a:t>Place imagery here</a:t>
            </a:r>
          </a:p>
        </p:txBody>
      </p:sp>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70048" y="6452314"/>
            <a:ext cx="134652" cy="123111"/>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1011480152"/>
      </p:ext>
    </p:extLst>
  </p:cSld>
  <p:clrMapOvr>
    <a:masterClrMapping/>
  </p:clrMapOvr>
  <p:transition spd="med"/>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84126" y="284957"/>
            <a:ext cx="11620574" cy="6290468"/>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3256085221"/>
      </p:ext>
    </p:extLst>
  </p:cSld>
  <p:clrMapOvr>
    <a:masterClrMapping/>
  </p:clrMapOvr>
  <p:transition spd="med"/>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p>
        </p:txBody>
      </p:sp>
      <p:sp>
        <p:nvSpPr>
          <p:cNvPr id="17" name="Picture Placeholder 7" descr="Place bio portrait here">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87999" y="1333500"/>
            <a:ext cx="1236501" cy="1238250"/>
          </a:xfrm>
          <a:solidFill>
            <a:srgbClr val="E0E0E0"/>
          </a:solidFill>
        </p:spPr>
        <p:txBody>
          <a:bodyPr anchor="ctr"/>
          <a:lstStyle>
            <a:lvl1pPr algn="ctr">
              <a:defRPr>
                <a:solidFill>
                  <a:schemeClr val="accent5"/>
                </a:solidFill>
              </a:defRPr>
            </a:lvl1pPr>
          </a:lstStyle>
          <a:p>
            <a:r>
              <a:rPr lang="en-US"/>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714277" y="13335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Picture Placeholder 7" descr="Place bio portrait here">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87999" y="30607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714277" y="30607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descr="Place bio portrait here">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87999" y="4762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714277" y="4762501"/>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descr="Place bio portrait here">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6377745" y="1333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7807896" y="13335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descr="Place bio portrait here">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6377745" y="30607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7807896" y="30607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descr="Place bio portrait here">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6377745" y="4762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7807896" y="4762501"/>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305233575"/>
      </p:ext>
    </p:extLst>
  </p:cSld>
  <p:clrMapOvr>
    <a:masterClrMapping/>
  </p:clrMapOvr>
  <p:transition spd="med"/>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63" y="288036"/>
            <a:ext cx="2474590" cy="762794"/>
          </a:xfrm>
        </p:spPr>
        <p:txBody>
          <a:bodyPr/>
          <a:lstStyle>
            <a:lvl1pPr>
              <a:lnSpc>
                <a:spcPct val="110000"/>
              </a:lnSpc>
              <a:defRPr sz="140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4903" y="288036"/>
            <a:ext cx="2477765" cy="762794"/>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descr="Vertical column divider">
            <a:extLst>
              <a:ext uri="{FF2B5EF4-FFF2-40B4-BE49-F238E27FC236}">
                <a16:creationId xmlns:a16="http://schemas.microsoft.com/office/drawing/2014/main" id="{ABAB2974-AD95-0BF2-C41A-265AEF03B4F7}"/>
              </a:ext>
            </a:extLst>
          </p:cNvPr>
          <p:cNvCxnSpPr>
            <a:cxnSpLocks/>
          </p:cNvCxnSpPr>
          <p:nvPr userDrawn="1"/>
        </p:nvCxnSpPr>
        <p:spPr bwMode="auto">
          <a:xfrm>
            <a:off x="3047603" y="1522413"/>
            <a:ext cx="0" cy="45727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descr="Vertical column divider">
            <a:extLst>
              <a:ext uri="{FF2B5EF4-FFF2-40B4-BE49-F238E27FC236}">
                <a16:creationId xmlns:a16="http://schemas.microsoft.com/office/drawing/2014/main" id="{CDB8CB8D-C4DB-E357-4948-59CD6A18A9DC}"/>
              </a:ext>
            </a:extLst>
          </p:cNvPr>
          <p:cNvCxnSpPr/>
          <p:nvPr userDrawn="1"/>
        </p:nvCxnSpPr>
        <p:spPr bwMode="auto">
          <a:xfrm>
            <a:off x="6093683" y="1522413"/>
            <a:ext cx="0" cy="457517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descr="Vertical column divider">
            <a:extLst>
              <a:ext uri="{FF2B5EF4-FFF2-40B4-BE49-F238E27FC236}">
                <a16:creationId xmlns:a16="http://schemas.microsoft.com/office/drawing/2014/main" id="{8B5887E5-28C4-AA99-EBD5-E34B88F46F25}"/>
              </a:ext>
            </a:extLst>
          </p:cNvPr>
          <p:cNvCxnSpPr/>
          <p:nvPr userDrawn="1"/>
        </p:nvCxnSpPr>
        <p:spPr bwMode="auto">
          <a:xfrm>
            <a:off x="9142810" y="1522413"/>
            <a:ext cx="0" cy="457517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Footer Placeholder 3">
            <a:extLst>
              <a:ext uri="{FF2B5EF4-FFF2-40B4-BE49-F238E27FC236}">
                <a16:creationId xmlns:a16="http://schemas.microsoft.com/office/drawing/2014/main" id="{9A5E154F-497D-F356-4526-C17B1B098AC9}"/>
              </a:ext>
            </a:extLst>
          </p:cNvPr>
          <p:cNvSpPr>
            <a:spLocks noGrp="1"/>
          </p:cNvSpPr>
          <p:nvPr userDrawn="1">
            <p:ph type="ftr" sz="quarter" idx="18"/>
          </p:nvPr>
        </p:nvSpPr>
        <p:spPr>
          <a:xfrm>
            <a:off x="287963" y="6408000"/>
            <a:ext cx="2477765" cy="190500"/>
          </a:xfrm>
        </p:spPr>
        <p:txBody>
          <a:bodyPr/>
          <a:lstStyle/>
          <a:p>
            <a:endParaRPr lang="en-US"/>
          </a:p>
        </p:txBody>
      </p:sp>
      <p:sp>
        <p:nvSpPr>
          <p:cNvPr id="8" name="Slide Number">
            <a:extLst>
              <a:ext uri="{FF2B5EF4-FFF2-40B4-BE49-F238E27FC236}">
                <a16:creationId xmlns:a16="http://schemas.microsoft.com/office/drawing/2014/main" id="{A3714515-3CA1-0F75-0503-3208A09DFA76}"/>
              </a:ext>
            </a:extLst>
          </p:cNvPr>
          <p:cNvSpPr txBox="1">
            <a:spLocks noGrp="1"/>
          </p:cNvSpPr>
          <p:nvPr userDrawn="1">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10" name="Text Placeholder 4">
            <a:extLst>
              <a:ext uri="{FF2B5EF4-FFF2-40B4-BE49-F238E27FC236}">
                <a16:creationId xmlns:a16="http://schemas.microsoft.com/office/drawing/2014/main" id="{4B531E36-2064-83A6-3D5A-E40E324F8495}"/>
              </a:ext>
            </a:extLst>
          </p:cNvPr>
          <p:cNvSpPr>
            <a:spLocks noGrp="1"/>
          </p:cNvSpPr>
          <p:nvPr userDrawn="1">
            <p:ph type="body" sz="quarter" idx="11"/>
          </p:nvPr>
        </p:nvSpPr>
        <p:spPr>
          <a:xfrm>
            <a:off x="291173" y="1524000"/>
            <a:ext cx="2477765" cy="4576763"/>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70587680-FBD6-A326-93E3-B3437A4124A3}"/>
              </a:ext>
            </a:extLst>
          </p:cNvPr>
          <p:cNvSpPr>
            <a:spLocks noGrp="1"/>
          </p:cNvSpPr>
          <p:nvPr userDrawn="1">
            <p:ph type="body" sz="quarter" idx="12"/>
          </p:nvPr>
        </p:nvSpPr>
        <p:spPr>
          <a:xfrm>
            <a:off x="3334904" y="1524000"/>
            <a:ext cx="2475384" cy="4576763"/>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8">
            <a:extLst>
              <a:ext uri="{FF2B5EF4-FFF2-40B4-BE49-F238E27FC236}">
                <a16:creationId xmlns:a16="http://schemas.microsoft.com/office/drawing/2014/main" id="{CAE80882-A798-33A6-BF3F-DF9C75646C23}"/>
              </a:ext>
            </a:extLst>
          </p:cNvPr>
          <p:cNvSpPr>
            <a:spLocks noGrp="1"/>
          </p:cNvSpPr>
          <p:nvPr userDrawn="1">
            <p:ph type="body" sz="quarter" idx="13"/>
          </p:nvPr>
        </p:nvSpPr>
        <p:spPr>
          <a:xfrm>
            <a:off x="6389168" y="1524000"/>
            <a:ext cx="2476178" cy="4576763"/>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10">
            <a:extLst>
              <a:ext uri="{FF2B5EF4-FFF2-40B4-BE49-F238E27FC236}">
                <a16:creationId xmlns:a16="http://schemas.microsoft.com/office/drawing/2014/main" id="{1809E051-5EDC-532B-0D86-AA9349AAA053}"/>
              </a:ext>
            </a:extLst>
          </p:cNvPr>
          <p:cNvSpPr>
            <a:spLocks noGrp="1"/>
          </p:cNvSpPr>
          <p:nvPr userDrawn="1">
            <p:ph type="body" sz="quarter" idx="14"/>
          </p:nvPr>
        </p:nvSpPr>
        <p:spPr>
          <a:xfrm>
            <a:off x="9430110" y="1524000"/>
            <a:ext cx="2479352" cy="4576763"/>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474570046"/>
      </p:ext>
    </p:extLst>
  </p:cSld>
  <p:clrMapOvr>
    <a:masterClrMapping/>
  </p:clrMapOvr>
  <p:transition spd="med"/>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2286794"/>
          </a:xfrm>
        </p:spPr>
        <p:txBody>
          <a:bodyPr/>
          <a:lstStyle>
            <a:lvl1pPr>
              <a:lnSpc>
                <a:spcPct val="110000"/>
              </a:lnSpc>
              <a:defRPr sz="1400">
                <a:solidFill>
                  <a:schemeClr val="tx2"/>
                </a:solidFill>
              </a:defRPr>
            </a:lvl1pPr>
          </a:lstStyle>
          <a:p>
            <a:r>
              <a:rPr lang="en-US"/>
              <a:t>Click to edit Master title style</a:t>
            </a:r>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3333316" y="284957"/>
            <a:ext cx="8571384" cy="5715794"/>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113755301"/>
      </p:ext>
    </p:extLst>
  </p:cSld>
  <p:clrMapOvr>
    <a:masterClrMapping/>
  </p:clrMapOvr>
  <p:transition spd="med"/>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024"/>
            <a:ext cx="2477765" cy="1429544"/>
          </a:xfrm>
        </p:spPr>
        <p:txBody>
          <a:bodyPr/>
          <a:lstStyle>
            <a:lvl1pPr>
              <a:lnSpc>
                <a:spcPct val="90000"/>
              </a:lnSpc>
              <a:spcBef>
                <a:spcPts val="0"/>
              </a:spcBef>
              <a:defRPr sz="3199">
                <a:solidFill>
                  <a:schemeClr val="tx2"/>
                </a:solidFill>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63420235"/>
      </p:ext>
    </p:extLst>
  </p:cSld>
  <p:clrMapOvr>
    <a:masterClrMapping/>
  </p:clrMapOvr>
  <p:transition spd="med"/>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99506622"/>
      </p:ext>
    </p:extLst>
  </p:cSld>
  <p:clrMapOvr>
    <a:masterClrMapping/>
  </p:clrMapOvr>
  <p:transition spd="med"/>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024"/>
            <a:ext cx="2477765" cy="1429544"/>
          </a:xfrm>
        </p:spPr>
        <p:txBody>
          <a:bodyPr/>
          <a:lstStyle>
            <a:lvl1pPr>
              <a:lnSpc>
                <a:spcPct val="90000"/>
              </a:lnSpc>
              <a:spcBef>
                <a:spcPts val="0"/>
              </a:spcBef>
              <a:defRPr sz="3199">
                <a:solidFill>
                  <a:schemeClr val="tx2"/>
                </a:solidFill>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a:t>Click to edit Master text styles</a:t>
            </a:r>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6380919"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90474" y="6402388"/>
            <a:ext cx="2477765" cy="190500"/>
          </a:xfrm>
        </p:spPr>
        <p:txBody>
          <a:bodyPr/>
          <a:lstStyle/>
          <a:p>
            <a:endParaRPr lang="en-US"/>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147129798"/>
      </p:ext>
    </p:extLst>
  </p:cSld>
  <p:clrMapOvr>
    <a:masterClrMapping/>
  </p:clrMapOvr>
  <p:transition spd="med"/>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descr="IBM 8-bar logo">
            <a:extLst>
              <a:ext uri="{FF2B5EF4-FFF2-40B4-BE49-F238E27FC236}">
                <a16:creationId xmlns:a16="http://schemas.microsoft.com/office/drawing/2014/main" id="{F7060FE5-C047-4041-AB41-F553D2847ED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32004" y="3084230"/>
            <a:ext cx="1727991" cy="689541"/>
          </a:xfrm>
          <a:prstGeom prst="rect">
            <a:avLst/>
          </a:prstGeom>
        </p:spPr>
      </p:pic>
    </p:spTree>
    <p:extLst>
      <p:ext uri="{BB962C8B-B14F-4D97-AF65-F5344CB8AC3E}">
        <p14:creationId xmlns:p14="http://schemas.microsoft.com/office/powerpoint/2010/main" val="708020151"/>
      </p:ext>
    </p:extLst>
  </p:cSld>
  <p:clrMapOvr>
    <a:masterClrMapping/>
  </p:clrMapOvr>
  <p:transition spd="med"/>
</p:sldLayout>
</file>

<file path=ppt/slideLayouts/slideLayout365.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794010029"/>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Eyebrow and Large Titl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288036"/>
            <a:ext cx="4905438" cy="224028"/>
          </a:xfrm>
          <a:prstGeom prst="rect">
            <a:avLst/>
          </a:prstGeom>
        </p:spPr>
        <p:txBody>
          <a:bodyPr/>
          <a:lstStyle>
            <a:lvl1pPr>
              <a:defRPr sz="1400" b="0">
                <a:solidFill>
                  <a:schemeClr val="tx2"/>
                </a:solidFill>
              </a:defRPr>
            </a:lvl1pPr>
          </a:lstStyle>
          <a:p>
            <a:pPr lvl="0"/>
            <a:r>
              <a:rPr lang="en-US"/>
              <a:t>Click to edit Master text styles</a:t>
            </a:r>
          </a:p>
        </p:txBody>
      </p:sp>
      <p:sp>
        <p:nvSpPr>
          <p:cNvPr id="3" name="Title 1">
            <a:extLst>
              <a:ext uri="{FF2B5EF4-FFF2-40B4-BE49-F238E27FC236}">
                <a16:creationId xmlns:a16="http://schemas.microsoft.com/office/drawing/2014/main" id="{458B4C72-B33D-1614-1FB8-2C4C62411A9E}"/>
              </a:ext>
            </a:extLst>
          </p:cNvPr>
          <p:cNvSpPr>
            <a:spLocks noGrp="1"/>
          </p:cNvSpPr>
          <p:nvPr>
            <p:ph type="title"/>
          </p:nvPr>
        </p:nvSpPr>
        <p:spPr>
          <a:xfrm>
            <a:off x="287999" y="594360"/>
            <a:ext cx="8569098" cy="487426"/>
          </a:xfrm>
        </p:spPr>
        <p:txBody>
          <a:bodyPr rIns="457200"/>
          <a:lstStyle>
            <a:lvl1pPr>
              <a:lnSpc>
                <a:spcPct val="110000"/>
              </a:lnSpc>
              <a:defRPr sz="2400">
                <a:solidFill>
                  <a:schemeClr val="tx2"/>
                </a:solidFill>
              </a:defRPr>
            </a:lvl1pPr>
          </a:lstStyle>
          <a:p>
            <a:r>
              <a:rPr lang="en-US"/>
              <a:t>Click to edit Master title style</a:t>
            </a:r>
          </a:p>
        </p:txBody>
      </p:sp>
    </p:spTree>
    <p:extLst>
      <p:ext uri="{BB962C8B-B14F-4D97-AF65-F5344CB8AC3E}">
        <p14:creationId xmlns:p14="http://schemas.microsoft.com/office/powerpoint/2010/main" val="542591816"/>
      </p:ext>
    </p:extLst>
  </p:cSld>
  <p:clrMapOvr>
    <a:masterClrMapping/>
  </p:clrMapOvr>
  <p:transition spd="med"/>
</p:sldLayout>
</file>

<file path=ppt/slideLayouts/slideLayout36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87B59F-7811-E72B-6691-8425E0125D1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DCE7303-A1A7-2B34-96CC-2DAA7E6DA41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CD9717C-FF32-CEB4-5514-F47E7F6E36FC}"/>
              </a:ext>
            </a:extLst>
          </p:cNvPr>
          <p:cNvSpPr>
            <a:spLocks noGrp="1"/>
          </p:cNvSpPr>
          <p:nvPr>
            <p:ph type="dt" sz="half" idx="10"/>
          </p:nvPr>
        </p:nvSpPr>
        <p:spPr/>
        <p:txBody>
          <a:bodyPr/>
          <a:lstStyle/>
          <a:p>
            <a:fld id="{EC0507B0-98FB-4C4E-AE58-914BC834072F}" type="datetime1">
              <a:rPr lang="en-US" smtClean="0"/>
              <a:t>3/24/2025</a:t>
            </a:fld>
            <a:endParaRPr lang="en-US"/>
          </a:p>
        </p:txBody>
      </p:sp>
      <p:sp>
        <p:nvSpPr>
          <p:cNvPr id="5" name="Footer Placeholder 4">
            <a:extLst>
              <a:ext uri="{FF2B5EF4-FFF2-40B4-BE49-F238E27FC236}">
                <a16:creationId xmlns:a16="http://schemas.microsoft.com/office/drawing/2014/main" id="{4A6F8978-C740-7A2A-B85E-21EFFDE3086E}"/>
              </a:ext>
            </a:extLst>
          </p:cNvPr>
          <p:cNvSpPr>
            <a:spLocks noGrp="1"/>
          </p:cNvSpPr>
          <p:nvPr>
            <p:ph type="ftr" sz="quarter" idx="11"/>
          </p:nvPr>
        </p:nvSpPr>
        <p:spPr/>
        <p:txBody>
          <a:bodyPr/>
          <a:lstStyle/>
          <a:p>
            <a:r>
              <a:rPr lang="en-US"/>
              <a:t>IBM Confidential</a:t>
            </a:r>
          </a:p>
        </p:txBody>
      </p:sp>
      <p:sp>
        <p:nvSpPr>
          <p:cNvPr id="6" name="Slide Number Placeholder 5">
            <a:extLst>
              <a:ext uri="{FF2B5EF4-FFF2-40B4-BE49-F238E27FC236}">
                <a16:creationId xmlns:a16="http://schemas.microsoft.com/office/drawing/2014/main" id="{7B824D2C-2A75-6008-3F33-70FEB37E8A69}"/>
              </a:ext>
            </a:extLst>
          </p:cNvPr>
          <p:cNvSpPr>
            <a:spLocks noGrp="1"/>
          </p:cNvSpPr>
          <p:nvPr>
            <p:ph type="sldNum" sz="quarter" idx="12"/>
          </p:nvPr>
        </p:nvSpPr>
        <p:spPr/>
        <p:txBody>
          <a:bodyPr/>
          <a:lstStyle/>
          <a:p>
            <a:fld id="{ED5FD60B-B243-BC4B-A446-3756BF99256C}" type="slidenum">
              <a:rPr lang="en-US" smtClean="0"/>
              <a:t>‹#›</a:t>
            </a:fld>
            <a:endParaRPr lang="en-US"/>
          </a:p>
        </p:txBody>
      </p:sp>
    </p:spTree>
    <p:extLst>
      <p:ext uri="{BB962C8B-B14F-4D97-AF65-F5344CB8AC3E}">
        <p14:creationId xmlns:p14="http://schemas.microsoft.com/office/powerpoint/2010/main" val="3110626487"/>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userDrawn="1">
  <p:cSld name="Large 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9" y="192025"/>
            <a:ext cx="5522193" cy="665226"/>
          </a:xfrm>
        </p:spPr>
        <p:txBody>
          <a:bodyPr rIns="457200"/>
          <a:lstStyle>
            <a:lvl1pPr>
              <a:lnSpc>
                <a:spcPct val="100000"/>
              </a:lnSpc>
              <a:defRPr sz="2400">
                <a:solidFill>
                  <a:schemeClr val="tx2"/>
                </a:solidFill>
              </a:defRPr>
            </a:lvl1pPr>
          </a:lstStyle>
          <a:p>
            <a:r>
              <a:rPr lang="en-US"/>
              <a:t>Click to edit Master title style</a:t>
            </a:r>
          </a:p>
        </p:txBody>
      </p:sp>
    </p:spTree>
    <p:extLst>
      <p:ext uri="{BB962C8B-B14F-4D97-AF65-F5344CB8AC3E}">
        <p14:creationId xmlns:p14="http://schemas.microsoft.com/office/powerpoint/2010/main" val="3271542314"/>
      </p:ext>
    </p:extLst>
  </p:cSld>
  <p:clrMapOvr>
    <a:masterClrMapping/>
  </p:clrMapOvr>
  <p:transition spd="med"/>
</p:sldLayout>
</file>

<file path=ppt/slideLayouts/slideLayout369.xml><?xml version="1.0" encoding="utf-8"?>
<p:sldLayout xmlns:a="http://schemas.openxmlformats.org/drawingml/2006/main" xmlns:r="http://schemas.openxmlformats.org/officeDocument/2006/relationships" xmlns:p="http://schemas.openxmlformats.org/presentationml/2006/main" userDrawn="1">
  <p:cSld name="1_title, blank">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pPr defTabSz="914507">
              <a:defRPr/>
            </a:pPr>
            <a:endParaRPr lang="en-US">
              <a:solidFill>
                <a:srgbClr val="000000"/>
              </a:solidFill>
            </a:endParaRPr>
          </a:p>
        </p:txBody>
      </p:sp>
      <p:sp>
        <p:nvSpPr>
          <p:cNvPr id="4" name="Slide Number Placeholder"/>
          <p:cNvSpPr>
            <a:spLocks noGrp="1"/>
          </p:cNvSpPr>
          <p:nvPr>
            <p:ph type="sldNum" sz="quarter" idx="11"/>
          </p:nvPr>
        </p:nvSpPr>
        <p:spPr/>
        <p:txBody>
          <a:bodyPr/>
          <a:lstStyle>
            <a:lvl1pPr>
              <a:defRPr>
                <a:solidFill>
                  <a:schemeClr val="tx1"/>
                </a:solidFill>
              </a:defRPr>
            </a:lvl1pPr>
          </a:lstStyle>
          <a:p>
            <a:pPr defTabSz="914507">
              <a:defRPr/>
            </a:pPr>
            <a:fld id="{59395FB3-9C97-154F-86B2-7E381B951268}" type="slidenum">
              <a:rPr lang="en-US" smtClean="0">
                <a:solidFill>
                  <a:srgbClr val="000000"/>
                </a:solidFill>
              </a:rPr>
              <a:pPr defTabSz="914507">
                <a:defRPr/>
              </a:pPr>
              <a:t>‹#›</a:t>
            </a:fld>
            <a:endParaRPr lang="en-US">
              <a:solidFill>
                <a:srgbClr val="000000"/>
              </a:solidFill>
            </a:endParaRPr>
          </a:p>
        </p:txBody>
      </p:sp>
    </p:spTree>
    <p:extLst>
      <p:ext uri="{BB962C8B-B14F-4D97-AF65-F5344CB8AC3E}">
        <p14:creationId xmlns:p14="http://schemas.microsoft.com/office/powerpoint/2010/main" val="233053894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63" y="288036"/>
            <a:ext cx="2474590" cy="1234377"/>
          </a:xfrm>
        </p:spPr>
        <p:txBody>
          <a:bodyPr/>
          <a:lstStyle>
            <a:lvl1pPr>
              <a:lnSpc>
                <a:spcPct val="110000"/>
              </a:lnSpc>
              <a:defRPr sz="140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921519"/>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523999"/>
            <a:ext cx="2475384" cy="4578351"/>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9168" y="288036"/>
            <a:ext cx="2476178" cy="921519"/>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9168" y="1524000"/>
            <a:ext cx="2476178" cy="45783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C6EB28FF-C21F-A83D-2D19-2242B76C6B09}"/>
              </a:ext>
            </a:extLst>
          </p:cNvPr>
          <p:cNvCxnSpPr>
            <a:cxnSpLocks/>
          </p:cNvCxnSpPr>
          <p:nvPr userDrawn="1"/>
        </p:nvCxnSpPr>
        <p:spPr bwMode="auto">
          <a:xfrm>
            <a:off x="3047603" y="285051"/>
            <a:ext cx="0" cy="581104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descr="Vertical column divider">
            <a:extLst>
              <a:ext uri="{FF2B5EF4-FFF2-40B4-BE49-F238E27FC236}">
                <a16:creationId xmlns:a16="http://schemas.microsoft.com/office/drawing/2014/main" id="{3D7A0E74-695D-C6F5-07CD-01209D58A70A}"/>
              </a:ext>
            </a:extLst>
          </p:cNvPr>
          <p:cNvCxnSpPr>
            <a:cxnSpLocks/>
          </p:cNvCxnSpPr>
          <p:nvPr userDrawn="1"/>
        </p:nvCxnSpPr>
        <p:spPr bwMode="auto">
          <a:xfrm>
            <a:off x="6093683" y="285051"/>
            <a:ext cx="0" cy="5812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descr="Vertical column divider">
            <a:extLst>
              <a:ext uri="{FF2B5EF4-FFF2-40B4-BE49-F238E27FC236}">
                <a16:creationId xmlns:a16="http://schemas.microsoft.com/office/drawing/2014/main" id="{19E1AC9A-B000-435B-E4BC-54B09FB7957C}"/>
              </a:ext>
            </a:extLst>
          </p:cNvPr>
          <p:cNvCxnSpPr>
            <a:cxnSpLocks/>
          </p:cNvCxnSpPr>
          <p:nvPr userDrawn="1"/>
        </p:nvCxnSpPr>
        <p:spPr bwMode="auto">
          <a:xfrm>
            <a:off x="9142810" y="285051"/>
            <a:ext cx="0" cy="581104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2">
            <a:extLst>
              <a:ext uri="{FF2B5EF4-FFF2-40B4-BE49-F238E27FC236}">
                <a16:creationId xmlns:a16="http://schemas.microsoft.com/office/drawing/2014/main" id="{2A62B128-D226-0D9B-89EC-51AFD07F30CF}"/>
              </a:ext>
            </a:extLst>
          </p:cNvPr>
          <p:cNvSpPr>
            <a:spLocks noGrp="1"/>
          </p:cNvSpPr>
          <p:nvPr userDrawn="1">
            <p:ph type="body" sz="quarter" idx="17"/>
          </p:nvPr>
        </p:nvSpPr>
        <p:spPr>
          <a:xfrm>
            <a:off x="9428522" y="288036"/>
            <a:ext cx="2479352" cy="921519"/>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userDrawn="1">
            <p:ph type="body" sz="quarter" idx="14"/>
          </p:nvPr>
        </p:nvSpPr>
        <p:spPr>
          <a:xfrm>
            <a:off x="9428522" y="1524000"/>
            <a:ext cx="2479352" cy="45783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6C3F2C39-1D80-7B1C-F53D-B11D6327AF07}"/>
              </a:ext>
            </a:extLst>
          </p:cNvPr>
          <p:cNvSpPr>
            <a:spLocks noGrp="1"/>
          </p:cNvSpPr>
          <p:nvPr userDrawn="1">
            <p:ph type="ftr" sz="quarter" idx="18"/>
          </p:nvPr>
        </p:nvSpPr>
        <p:spPr>
          <a:xfrm>
            <a:off x="287963" y="6408000"/>
            <a:ext cx="2477765" cy="190500"/>
          </a:xfrm>
        </p:spPr>
        <p:txBody>
          <a:bodyPr/>
          <a:lstStyle/>
          <a:p>
            <a:endParaRPr lang="en-US"/>
          </a:p>
        </p:txBody>
      </p:sp>
      <p:sp>
        <p:nvSpPr>
          <p:cNvPr id="8" name="Slide Number">
            <a:extLst>
              <a:ext uri="{FF2B5EF4-FFF2-40B4-BE49-F238E27FC236}">
                <a16:creationId xmlns:a16="http://schemas.microsoft.com/office/drawing/2014/main" id="{56961C62-D766-8A68-1FA3-BF6BE095543D}"/>
              </a:ext>
            </a:extLst>
          </p:cNvPr>
          <p:cNvSpPr txBox="1">
            <a:spLocks noGrp="1"/>
          </p:cNvSpPr>
          <p:nvPr userDrawn="1">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773131141"/>
      </p:ext>
    </p:extLst>
  </p:cSld>
  <p:clrMapOvr>
    <a:masterClrMapping/>
  </p:clrMapOvr>
  <p:transition spd="med"/>
</p:sldLayout>
</file>

<file path=ppt/slideLayouts/slideLayout37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87B59F-7811-E72B-6691-8425E0125D1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DCE7303-A1A7-2B34-96CC-2DAA7E6DA41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CD9717C-FF32-CEB4-5514-F47E7F6E36FC}"/>
              </a:ext>
            </a:extLst>
          </p:cNvPr>
          <p:cNvSpPr>
            <a:spLocks noGrp="1"/>
          </p:cNvSpPr>
          <p:nvPr>
            <p:ph type="dt" sz="half" idx="10"/>
          </p:nvPr>
        </p:nvSpPr>
        <p:spPr/>
        <p:txBody>
          <a:bodyPr/>
          <a:lstStyle/>
          <a:p>
            <a:pPr defTabSz="914507">
              <a:defRPr/>
            </a:pPr>
            <a:fld id="{EC0507B0-98FB-4C4E-AE58-914BC834072F}" type="datetime1">
              <a:rPr lang="en-US" smtClean="0">
                <a:solidFill>
                  <a:srgbClr val="000000"/>
                </a:solidFill>
              </a:rPr>
              <a:pPr defTabSz="914507">
                <a:defRPr/>
              </a:pPr>
              <a:t>3/24/2025</a:t>
            </a:fld>
            <a:endParaRPr lang="en-US">
              <a:solidFill>
                <a:srgbClr val="000000"/>
              </a:solidFill>
            </a:endParaRPr>
          </a:p>
        </p:txBody>
      </p:sp>
      <p:sp>
        <p:nvSpPr>
          <p:cNvPr id="5" name="Footer Placeholder 4">
            <a:extLst>
              <a:ext uri="{FF2B5EF4-FFF2-40B4-BE49-F238E27FC236}">
                <a16:creationId xmlns:a16="http://schemas.microsoft.com/office/drawing/2014/main" id="{4A6F8978-C740-7A2A-B85E-21EFFDE3086E}"/>
              </a:ext>
            </a:extLst>
          </p:cNvPr>
          <p:cNvSpPr>
            <a:spLocks noGrp="1"/>
          </p:cNvSpPr>
          <p:nvPr>
            <p:ph type="ftr" sz="quarter" idx="11"/>
          </p:nvPr>
        </p:nvSpPr>
        <p:spPr/>
        <p:txBody>
          <a:bodyPr/>
          <a:lstStyle/>
          <a:p>
            <a:pPr defTabSz="914507">
              <a:defRPr/>
            </a:pPr>
            <a:r>
              <a:rPr lang="en-US">
                <a:solidFill>
                  <a:srgbClr val="000000"/>
                </a:solidFill>
              </a:rPr>
              <a:t>IBM Confidential</a:t>
            </a:r>
          </a:p>
        </p:txBody>
      </p:sp>
      <p:sp>
        <p:nvSpPr>
          <p:cNvPr id="6" name="Slide Number Placeholder 5">
            <a:extLst>
              <a:ext uri="{FF2B5EF4-FFF2-40B4-BE49-F238E27FC236}">
                <a16:creationId xmlns:a16="http://schemas.microsoft.com/office/drawing/2014/main" id="{7B824D2C-2A75-6008-3F33-70FEB37E8A69}"/>
              </a:ext>
            </a:extLst>
          </p:cNvPr>
          <p:cNvSpPr>
            <a:spLocks noGrp="1"/>
          </p:cNvSpPr>
          <p:nvPr>
            <p:ph type="sldNum" sz="quarter" idx="12"/>
          </p:nvPr>
        </p:nvSpPr>
        <p:spPr/>
        <p:txBody>
          <a:bodyPr/>
          <a:lstStyle/>
          <a:p>
            <a:pPr defTabSz="914507">
              <a:defRPr/>
            </a:pPr>
            <a:fld id="{ED5FD60B-B243-BC4B-A446-3756BF99256C}" type="slidenum">
              <a:rPr lang="en-US" smtClean="0">
                <a:solidFill>
                  <a:srgbClr val="000000"/>
                </a:solidFill>
              </a:rPr>
              <a:pPr defTabSz="914507">
                <a:defRPr/>
              </a:pPr>
              <a:t>‹#›</a:t>
            </a:fld>
            <a:endParaRPr lang="en-US">
              <a:solidFill>
                <a:srgbClr val="000000"/>
              </a:solidFill>
            </a:endParaRPr>
          </a:p>
        </p:txBody>
      </p:sp>
    </p:spTree>
    <p:extLst>
      <p:ext uri="{BB962C8B-B14F-4D97-AF65-F5344CB8AC3E}">
        <p14:creationId xmlns:p14="http://schemas.microsoft.com/office/powerpoint/2010/main" val="1190442572"/>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12192000" cy="60007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3144044"/>
          </a:xfrm>
        </p:spPr>
        <p:txBody>
          <a:bodyPr/>
          <a:lstStyle>
            <a:lvl1pPr>
              <a:lnSpc>
                <a:spcPct val="100000"/>
              </a:lnSpc>
              <a:defRPr sz="4299" b="0" i="0">
                <a:solidFill>
                  <a:schemeClr val="tx2"/>
                </a:solidFill>
                <a:latin typeface="IBM Plex Sans Light" panose="020B0403050203000203" pitchFamily="34" charset="0"/>
              </a:defRPr>
            </a:lvl1pPr>
          </a:lstStyle>
          <a:p>
            <a:r>
              <a:rPr lang="en-US"/>
              <a:t>Click to edit Master title style</a:t>
            </a:r>
          </a:p>
        </p:txBody>
      </p:sp>
      <p:sp>
        <p:nvSpPr>
          <p:cNvPr id="3" name="Text Placeholder 6">
            <a:extLst>
              <a:ext uri="{FF2B5EF4-FFF2-40B4-BE49-F238E27FC236}">
                <a16:creationId xmlns:a16="http://schemas.microsoft.com/office/drawing/2014/main" id="{2EC0ABF4-1C51-BF7D-70CF-DD2C38C9DB69}"/>
              </a:ext>
            </a:extLst>
          </p:cNvPr>
          <p:cNvSpPr>
            <a:spLocks noGrp="1"/>
          </p:cNvSpPr>
          <p:nvPr>
            <p:ph type="body" sz="quarter" idx="10"/>
          </p:nvPr>
        </p:nvSpPr>
        <p:spPr>
          <a:xfrm>
            <a:off x="280443" y="6048047"/>
            <a:ext cx="2476178" cy="571500"/>
          </a:xfrm>
          <a:prstGeom prst="rect">
            <a:avLst/>
          </a:prstGeom>
        </p:spPr>
        <p:txBody>
          <a:bodyPr anchor="b"/>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 Placeholder 6">
            <a:extLst>
              <a:ext uri="{FF2B5EF4-FFF2-40B4-BE49-F238E27FC236}">
                <a16:creationId xmlns:a16="http://schemas.microsoft.com/office/drawing/2014/main" id="{6069D4BA-0EE4-89E6-7C3A-71F71400A311}"/>
              </a:ext>
            </a:extLst>
          </p:cNvPr>
          <p:cNvSpPr>
            <a:spLocks noGrp="1"/>
          </p:cNvSpPr>
          <p:nvPr>
            <p:ph type="body" sz="quarter" idx="14"/>
          </p:nvPr>
        </p:nvSpPr>
        <p:spPr>
          <a:xfrm>
            <a:off x="3327760" y="6000751"/>
            <a:ext cx="2476178" cy="618796"/>
          </a:xfrm>
          <a:prstGeom prst="rect">
            <a:avLst/>
          </a:prstGeom>
        </p:spPr>
        <p:txBody>
          <a:bodyPr anchor="b"/>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854939596"/>
      </p:ext>
    </p:extLst>
  </p:cSld>
  <p:clrMapOvr>
    <a:masterClrMapping/>
  </p:clrMapOvr>
  <p:transition spd="med"/>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12192000" cy="600075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indent="0" algn="l" defTabSz="457109" rtl="0" eaLnBrk="1" fontAlgn="base" latinLnBrk="0" hangingPunct="1">
              <a:lnSpc>
                <a:spcPct val="100000"/>
              </a:lnSpc>
              <a:spcBef>
                <a:spcPct val="0"/>
              </a:spcBef>
              <a:spcAft>
                <a:spcPct val="0"/>
              </a:spcAft>
              <a:buClrTx/>
              <a:buSzTx/>
              <a:buFont typeface="IBM Plex Sans Light"/>
              <a:buNone/>
              <a:tabLst/>
            </a:pPr>
            <a:endParaRPr kumimoji="0" lang="en-US" sz="700" b="0" i="0" u="none" strike="noStrike" cap="none" normalizeH="0" baseline="0">
              <a:ln>
                <a:noFill/>
              </a:ln>
              <a:solidFill>
                <a:schemeClr val="bg1"/>
              </a:solidFill>
              <a:effectLst/>
              <a:latin typeface="IBM Plex Sans Light" panose="020B0403050203000203" pitchFamily="34" charset="0"/>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2286794"/>
          </a:xfrm>
        </p:spPr>
        <p:txBody>
          <a:bodyPr/>
          <a:lstStyle>
            <a:lvl1pPr>
              <a:lnSpc>
                <a:spcPct val="100000"/>
              </a:lnSpc>
              <a:defRPr sz="4299" b="0" i="0">
                <a:solidFill>
                  <a:schemeClr val="tx2"/>
                </a:solidFill>
                <a:latin typeface="IBM Plex Sans Light" panose="020B0403050203000203" pitchFamily="34" charset="0"/>
              </a:defRPr>
            </a:lvl1pPr>
          </a:lstStyle>
          <a:p>
            <a:r>
              <a:rPr lang="en-US"/>
              <a:t>Click to edit Master title style</a:t>
            </a:r>
          </a:p>
        </p:txBody>
      </p:sp>
      <p:sp>
        <p:nvSpPr>
          <p:cNvPr id="5" name="Text Placeholder 6">
            <a:extLst>
              <a:ext uri="{FF2B5EF4-FFF2-40B4-BE49-F238E27FC236}">
                <a16:creationId xmlns:a16="http://schemas.microsoft.com/office/drawing/2014/main" id="{5314509F-3705-A705-C5B3-FA435C246A22}"/>
              </a:ext>
            </a:extLst>
          </p:cNvPr>
          <p:cNvSpPr>
            <a:spLocks noGrp="1"/>
          </p:cNvSpPr>
          <p:nvPr>
            <p:ph type="body" sz="quarter" idx="10"/>
          </p:nvPr>
        </p:nvSpPr>
        <p:spPr>
          <a:xfrm>
            <a:off x="280443" y="6048047"/>
            <a:ext cx="2476178" cy="571500"/>
          </a:xfrm>
          <a:prstGeom prst="rect">
            <a:avLst/>
          </a:prstGeom>
        </p:spPr>
        <p:txBody>
          <a:bodyPr anchor="b"/>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6">
            <a:extLst>
              <a:ext uri="{FF2B5EF4-FFF2-40B4-BE49-F238E27FC236}">
                <a16:creationId xmlns:a16="http://schemas.microsoft.com/office/drawing/2014/main" id="{3F264794-39E6-B78D-2E92-D8D02F9188BC}"/>
              </a:ext>
            </a:extLst>
          </p:cNvPr>
          <p:cNvSpPr>
            <a:spLocks noGrp="1"/>
          </p:cNvSpPr>
          <p:nvPr>
            <p:ph type="body" sz="quarter" idx="14"/>
          </p:nvPr>
        </p:nvSpPr>
        <p:spPr>
          <a:xfrm>
            <a:off x="3327760" y="6000751"/>
            <a:ext cx="2476178" cy="618796"/>
          </a:xfrm>
          <a:prstGeom prst="rect">
            <a:avLst/>
          </a:prstGeom>
        </p:spPr>
        <p:txBody>
          <a:bodyPr anchor="b"/>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786967600"/>
      </p:ext>
    </p:extLst>
  </p:cSld>
  <p:clrMapOvr>
    <a:masterClrMapping/>
  </p:clrMapOvr>
  <p:transition spd="med"/>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Cover, plai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2286794"/>
          </a:xfrm>
        </p:spPr>
        <p:txBody>
          <a:bodyPr/>
          <a:lstStyle>
            <a:lvl1pPr>
              <a:lnSpc>
                <a:spcPct val="100000"/>
              </a:lnSpc>
              <a:defRPr sz="4299" b="0" i="0">
                <a:latin typeface="IBM Plex Sans Light" panose="020B0403050203000203" pitchFamily="34" charset="0"/>
              </a:defRPr>
            </a:lvl1pPr>
          </a:lstStyle>
          <a:p>
            <a:r>
              <a:rPr lang="en-US"/>
              <a:t>Click to edit Master title style</a:t>
            </a:r>
          </a:p>
        </p:txBody>
      </p:sp>
    </p:spTree>
    <p:extLst>
      <p:ext uri="{BB962C8B-B14F-4D97-AF65-F5344CB8AC3E}">
        <p14:creationId xmlns:p14="http://schemas.microsoft.com/office/powerpoint/2010/main" val="1916569002"/>
      </p:ext>
    </p:extLst>
  </p:cSld>
  <p:clrMapOvr>
    <a:masterClrMapping/>
  </p:clrMapOvr>
  <p:transition spd="med"/>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Cover, plain, business uni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2286794"/>
          </a:xfrm>
        </p:spPr>
        <p:txBody>
          <a:bodyPr/>
          <a:lstStyle>
            <a:lvl1pPr>
              <a:lnSpc>
                <a:spcPct val="100000"/>
              </a:lnSpc>
              <a:defRPr sz="4299" b="0" i="0">
                <a:solidFill>
                  <a:schemeClr val="tx2"/>
                </a:solidFill>
                <a:latin typeface="IBM Plex Sans Light" panose="020B040305020300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87998" y="6231636"/>
            <a:ext cx="5524575" cy="381000"/>
          </a:xfrm>
          <a:prstGeom prst="rect">
            <a:avLst/>
          </a:prstGeom>
        </p:spPr>
        <p:txBody>
          <a:bodyPr anchor="b"/>
          <a:lstStyle>
            <a:lvl1pPr>
              <a:lnSpc>
                <a:spcPct val="100000"/>
              </a:lnSpc>
              <a:spcBef>
                <a:spcPts val="0"/>
              </a:spcBef>
              <a:defRPr sz="1800" b="0" i="0">
                <a:solidFill>
                  <a:schemeClr val="tx1"/>
                </a:solidFill>
                <a:latin typeface="IBM Plex Sans Light" panose="020B0403050203000203" pitchFamily="34" charset="0"/>
              </a:defRPr>
            </a:lvl1pPr>
          </a:lstStyle>
          <a:p>
            <a:pPr lvl="0"/>
            <a:r>
              <a:rPr lang="en-US"/>
              <a:t>Click to edit Master text styles</a:t>
            </a:r>
          </a:p>
        </p:txBody>
      </p:sp>
    </p:spTree>
    <p:extLst>
      <p:ext uri="{BB962C8B-B14F-4D97-AF65-F5344CB8AC3E}">
        <p14:creationId xmlns:p14="http://schemas.microsoft.com/office/powerpoint/2010/main" val="187981553"/>
      </p:ext>
    </p:extLst>
  </p:cSld>
  <p:clrMapOvr>
    <a:masterClrMapping/>
  </p:clrMapOvr>
  <p:transition spd="med"/>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Cover, imagery, half ">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6"/>
            <a:ext cx="5523781" cy="6287294"/>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192024"/>
            <a:ext cx="5049878" cy="5239544"/>
          </a:xfrm>
        </p:spPr>
        <p:txBody>
          <a:bodyPr/>
          <a:lstStyle>
            <a:lvl1pPr>
              <a:lnSpc>
                <a:spcPct val="100000"/>
              </a:lnSpc>
              <a:defRPr sz="4299" b="0" i="0">
                <a:solidFill>
                  <a:schemeClr val="tx2"/>
                </a:solidFill>
                <a:latin typeface="IBM Plex Sans Light" panose="020B0403050203000203" pitchFamily="34" charset="0"/>
              </a:defRPr>
            </a:lvl1pPr>
          </a:lstStyle>
          <a:p>
            <a:r>
              <a:rPr lang="en-US"/>
              <a:t>Click to edit Master title style</a:t>
            </a:r>
          </a:p>
        </p:txBody>
      </p:sp>
    </p:spTree>
    <p:extLst>
      <p:ext uri="{BB962C8B-B14F-4D97-AF65-F5344CB8AC3E}">
        <p14:creationId xmlns:p14="http://schemas.microsoft.com/office/powerpoint/2010/main" val="2024132605"/>
      </p:ext>
    </p:extLst>
  </p:cSld>
  <p:clrMapOvr>
    <a:masterClrMapping/>
  </p:clrMapOvr>
  <p:transition spd="med"/>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6"/>
            <a:ext cx="5523781" cy="6287294"/>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763524"/>
            <a:ext cx="5049180" cy="4668838"/>
          </a:xfrm>
        </p:spPr>
        <p:txBody>
          <a:bodyPr/>
          <a:lstStyle>
            <a:lvl1pPr>
              <a:lnSpc>
                <a:spcPct val="100000"/>
              </a:lnSpc>
              <a:defRPr sz="4299" b="0" i="0">
                <a:solidFill>
                  <a:schemeClr val="tx2"/>
                </a:solidFill>
                <a:latin typeface="IBM Plex Sans Light" panose="020B040305020300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87999" y="192600"/>
            <a:ext cx="5049180" cy="285750"/>
          </a:xfrm>
          <a:prstGeom prst="rect">
            <a:avLst/>
          </a:prstGeom>
        </p:spPr>
        <p:txBody>
          <a:bodyPr/>
          <a:lstStyle>
            <a:lvl1pPr>
              <a:lnSpc>
                <a:spcPct val="100000"/>
              </a:lnSpc>
              <a:spcBef>
                <a:spcPts val="0"/>
              </a:spcBef>
              <a:defRPr sz="1800" b="0" i="0">
                <a:solidFill>
                  <a:schemeClr val="tx2"/>
                </a:solidFill>
                <a:latin typeface="IBM Plex Sans Light" panose="020B0403050203000203" pitchFamily="34" charset="0"/>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spTree>
    <p:extLst>
      <p:ext uri="{BB962C8B-B14F-4D97-AF65-F5344CB8AC3E}">
        <p14:creationId xmlns:p14="http://schemas.microsoft.com/office/powerpoint/2010/main" val="2248263113"/>
      </p:ext>
    </p:extLst>
  </p:cSld>
  <p:clrMapOvr>
    <a:masterClrMapping/>
  </p:clrMapOvr>
  <p:transition spd="med"/>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2477765" cy="228679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6380919" y="284957"/>
            <a:ext cx="2476178" cy="5715794"/>
          </a:xfrm>
          <a:prstGeom prst="rect">
            <a:avLst/>
          </a:prstGeom>
        </p:spPr>
        <p:txBody>
          <a:bodyPr/>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511098"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
        <p:nvSpPr>
          <p:cNvPr id="3" name="Text Placeholder 6">
            <a:extLst>
              <a:ext uri="{FF2B5EF4-FFF2-40B4-BE49-F238E27FC236}">
                <a16:creationId xmlns:a16="http://schemas.microsoft.com/office/drawing/2014/main" id="{3815CA4A-82C6-E038-8C80-CF4A54B1E6C0}"/>
              </a:ext>
            </a:extLst>
          </p:cNvPr>
          <p:cNvSpPr>
            <a:spLocks noGrp="1"/>
          </p:cNvSpPr>
          <p:nvPr>
            <p:ph type="body" sz="quarter" idx="19"/>
          </p:nvPr>
        </p:nvSpPr>
        <p:spPr>
          <a:xfrm>
            <a:off x="9415794" y="284956"/>
            <a:ext cx="2476178" cy="5715794"/>
          </a:xfrm>
          <a:prstGeom prst="rect">
            <a:avLst/>
          </a:prstGeom>
        </p:spPr>
        <p:txBody>
          <a:bodyPr/>
          <a:lstStyle>
            <a:lvl1pPr defTabSz="580528">
              <a:lnSpc>
                <a:spcPct val="100000"/>
              </a:lnSpc>
              <a:spcBef>
                <a:spcPts val="0"/>
              </a:spcBef>
              <a:defRPr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3pPr>
            <a:lvl4pPr marL="511098" indent="-163767" defTabSz="580528">
              <a:lnSpc>
                <a:spcPct val="100000"/>
              </a:lnSpc>
              <a:spcBef>
                <a:spcPts val="0"/>
              </a:spcBef>
              <a:buFont typeface="Arial" panose="020B0604020202020204" pitchFamily="34" charset="0"/>
              <a:buChar char="•"/>
              <a:defRPr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662812879"/>
      </p:ext>
    </p:extLst>
  </p:cSld>
  <p:clrMapOvr>
    <a:masterClrMapping/>
  </p:clrMapOvr>
  <p:transition spd="med"/>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1429544"/>
          </a:xfrm>
        </p:spPr>
        <p:txBody>
          <a:bodyPr rIns="457200"/>
          <a:lstStyle>
            <a:lvl1pPr>
              <a:lnSpc>
                <a:spcPct val="100000"/>
              </a:lnSpc>
              <a:defRPr sz="4299" b="0" i="0">
                <a:solidFill>
                  <a:schemeClr val="tx2"/>
                </a:solidFill>
                <a:latin typeface="IBM Plex Sans Light" panose="020B0403050203000203" pitchFamily="34" charset="0"/>
              </a:defRPr>
            </a:lvl1pPr>
          </a:lstStyle>
          <a:p>
            <a:r>
              <a:rPr lang="en-US"/>
              <a:t>Click to edit Master title style</a:t>
            </a:r>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1789689135"/>
      </p:ext>
    </p:extLst>
  </p:cSld>
  <p:clrMapOvr>
    <a:masterClrMapping/>
  </p:clrMapOvr>
  <p:transition spd="med"/>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Large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87300" y="192600"/>
            <a:ext cx="8569797" cy="4095750"/>
          </a:xfrm>
        </p:spPr>
        <p:txBody>
          <a:bodyPr/>
          <a:lstStyle>
            <a:lvl1pPr>
              <a:lnSpc>
                <a:spcPct val="100000"/>
              </a:lnSpc>
              <a:defRPr sz="8598" b="0" i="0">
                <a:solidFill>
                  <a:schemeClr val="tx2"/>
                </a:solidFill>
                <a:latin typeface="IBM Plex Sans Light" panose="020B0403050203000203" pitchFamily="34" charset="0"/>
              </a:defRPr>
            </a:lvl1pPr>
          </a:lstStyle>
          <a:p>
            <a:r>
              <a:rPr lang="en-US"/>
              <a:t>Click to edit Master title style</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2412191211"/>
      </p:ext>
    </p:extLst>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87999" y="288036"/>
            <a:ext cx="2474590" cy="1048544"/>
          </a:xfrm>
        </p:spPr>
        <p:txBody>
          <a:bodyPr/>
          <a:lstStyle>
            <a:lvl1pPr>
              <a:lnSpc>
                <a:spcPct val="110000"/>
              </a:lnSpc>
              <a:defRPr sz="12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87963" y="1524000"/>
            <a:ext cx="2470717" cy="2289175"/>
          </a:xfrm>
        </p:spPr>
        <p:txBody>
          <a:bodyPr/>
          <a:lstStyle>
            <a:lvl1pPr>
              <a:lnSpc>
                <a:spcPct val="100000"/>
              </a:lnSpc>
              <a:spcBef>
                <a:spcPts val="0"/>
              </a:spcBef>
              <a:defRPr sz="1800">
                <a:solidFill>
                  <a:schemeClr val="tx1"/>
                </a:solidFill>
              </a:defRPr>
            </a:lvl1pPr>
          </a:lstStyle>
          <a:p>
            <a:pPr lvl="0"/>
            <a:r>
              <a:rPr lang="en-US"/>
              <a:t>Click to edit Master text styles</a:t>
            </a:r>
          </a:p>
        </p:txBody>
      </p:sp>
      <p:sp>
        <p:nvSpPr>
          <p:cNvPr id="14" name="Picture Placeholder 13" descr="Place pictogram here">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3333316" y="288036"/>
            <a:ext cx="607997" cy="608076"/>
          </a:xfrm>
        </p:spPr>
        <p:txBody>
          <a:bodyPr anchor="ctr"/>
          <a:lstStyle>
            <a:lvl1pPr algn="ctr">
              <a:defRPr sz="800">
                <a:solidFill>
                  <a:schemeClr val="tx1"/>
                </a:solidFill>
              </a:defRPr>
            </a:lvl1pPr>
          </a:lstStyle>
          <a:p>
            <a:r>
              <a:rPr lang="en-US"/>
              <a:t>Pictogram</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3334904" y="1524000"/>
            <a:ext cx="2475384" cy="4576763"/>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Picture Placeholder 13" descr="Place pictogram here">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6389168" y="288036"/>
            <a:ext cx="607997" cy="608076"/>
          </a:xfrm>
        </p:spPr>
        <p:txBody>
          <a:bodyPr anchor="ctr"/>
          <a:lstStyle>
            <a:lvl1pPr algn="ctr">
              <a:defRPr sz="800">
                <a:solidFill>
                  <a:schemeClr val="tx1"/>
                </a:solidFill>
              </a:defRPr>
            </a:lvl1pPr>
          </a:lstStyle>
          <a:p>
            <a:r>
              <a:rPr lang="en-US"/>
              <a:t>Pictogram</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6389168" y="1524000"/>
            <a:ext cx="2470738" cy="4576762"/>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3" descr="Place pictogram here">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9428522" y="288036"/>
            <a:ext cx="607997" cy="608076"/>
          </a:xfrm>
        </p:spPr>
        <p:txBody>
          <a:bodyPr anchor="ctr"/>
          <a:lstStyle>
            <a:lvl1pPr algn="ctr">
              <a:defRPr sz="800">
                <a:solidFill>
                  <a:schemeClr val="tx1"/>
                </a:solidFill>
              </a:defRPr>
            </a:lvl1pPr>
          </a:lstStyle>
          <a:p>
            <a:r>
              <a:rPr lang="en-US"/>
              <a:t>Pictogram</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9430111" y="1524000"/>
            <a:ext cx="2470621" cy="4576763"/>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8C59ECBB-8567-F0FF-2B81-7CCA543AC3AF}"/>
              </a:ext>
            </a:extLst>
          </p:cNvPr>
          <p:cNvSpPr>
            <a:spLocks noGrp="1"/>
          </p:cNvSpPr>
          <p:nvPr>
            <p:ph type="ftr" sz="quarter" idx="18"/>
          </p:nvPr>
        </p:nvSpPr>
        <p:spPr>
          <a:xfrm>
            <a:off x="287963" y="6408000"/>
            <a:ext cx="2477765" cy="190500"/>
          </a:xfrm>
        </p:spPr>
        <p:txBody>
          <a:bodyPr/>
          <a:lstStyle/>
          <a:p>
            <a:endParaRPr lang="en-US"/>
          </a:p>
        </p:txBody>
      </p:sp>
      <p:sp>
        <p:nvSpPr>
          <p:cNvPr id="7" name="Slide Number">
            <a:extLst>
              <a:ext uri="{FF2B5EF4-FFF2-40B4-BE49-F238E27FC236}">
                <a16:creationId xmlns:a16="http://schemas.microsoft.com/office/drawing/2014/main" id="{193F0BFF-6925-3869-6436-5F209217E4E7}"/>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cxnSp>
        <p:nvCxnSpPr>
          <p:cNvPr id="4" name="Straight Connector 3" descr="Vertical column divider">
            <a:extLst>
              <a:ext uri="{FF2B5EF4-FFF2-40B4-BE49-F238E27FC236}">
                <a16:creationId xmlns:a16="http://schemas.microsoft.com/office/drawing/2014/main" id="{3EC1ADC5-863A-1C19-32F5-F71459CCBF15}"/>
              </a:ext>
            </a:extLst>
          </p:cNvPr>
          <p:cNvCxnSpPr>
            <a:cxnSpLocks/>
          </p:cNvCxnSpPr>
          <p:nvPr userDrawn="1"/>
        </p:nvCxnSpPr>
        <p:spPr bwMode="auto">
          <a:xfrm>
            <a:off x="3047603" y="285052"/>
            <a:ext cx="0" cy="581571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 name="Straight Connector 5" descr="Vertical column divider">
            <a:extLst>
              <a:ext uri="{FF2B5EF4-FFF2-40B4-BE49-F238E27FC236}">
                <a16:creationId xmlns:a16="http://schemas.microsoft.com/office/drawing/2014/main" id="{72E1DB67-171C-F7FE-B9F6-5778755FF746}"/>
              </a:ext>
            </a:extLst>
          </p:cNvPr>
          <p:cNvCxnSpPr>
            <a:cxnSpLocks/>
          </p:cNvCxnSpPr>
          <p:nvPr userDrawn="1"/>
        </p:nvCxnSpPr>
        <p:spPr bwMode="auto">
          <a:xfrm>
            <a:off x="6095270" y="285051"/>
            <a:ext cx="0" cy="5812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Straight Connector 7" descr="Vertical column divider">
            <a:extLst>
              <a:ext uri="{FF2B5EF4-FFF2-40B4-BE49-F238E27FC236}">
                <a16:creationId xmlns:a16="http://schemas.microsoft.com/office/drawing/2014/main" id="{6EF3DAE3-95FD-80AD-F6F4-79B5745FA451}"/>
              </a:ext>
            </a:extLst>
          </p:cNvPr>
          <p:cNvCxnSpPr>
            <a:cxnSpLocks/>
          </p:cNvCxnSpPr>
          <p:nvPr userDrawn="1"/>
        </p:nvCxnSpPr>
        <p:spPr bwMode="auto">
          <a:xfrm>
            <a:off x="9142810" y="285051"/>
            <a:ext cx="0" cy="581104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672672261"/>
      </p:ext>
    </p:extLst>
  </p:cSld>
  <p:clrMapOvr>
    <a:masterClrMapping/>
  </p:clrMapOvr>
  <p:transition spd="med"/>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Callout,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4953942" cy="142954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
        <p:nvSpPr>
          <p:cNvPr id="8" name="Text Placeholder 6">
            <a:extLst>
              <a:ext uri="{FF2B5EF4-FFF2-40B4-BE49-F238E27FC236}">
                <a16:creationId xmlns:a16="http://schemas.microsoft.com/office/drawing/2014/main" id="{B9D4AF5E-3E60-06F1-E3E3-F00E3ADA90B1}"/>
              </a:ext>
            </a:extLst>
          </p:cNvPr>
          <p:cNvSpPr>
            <a:spLocks noGrp="1"/>
          </p:cNvSpPr>
          <p:nvPr>
            <p:ph type="body" sz="quarter" idx="10"/>
          </p:nvPr>
        </p:nvSpPr>
        <p:spPr>
          <a:xfrm>
            <a:off x="6367030" y="192024"/>
            <a:ext cx="5536971" cy="4287043"/>
          </a:xfrm>
          <a:prstGeom prst="rect">
            <a:avLst/>
          </a:prstGeom>
        </p:spPr>
        <p:txBody>
          <a:bodyPr/>
          <a:lstStyle>
            <a:lvl1pPr defTabSz="580528">
              <a:lnSpc>
                <a:spcPct val="100000"/>
              </a:lnSpc>
              <a:spcBef>
                <a:spcPts val="0"/>
              </a:spcBef>
              <a:defRPr sz="3199" b="0" i="0">
                <a:solidFill>
                  <a:schemeClr val="tx1"/>
                </a:solidFill>
                <a:latin typeface="IBM Plex Sans Light" panose="020B0403050203000203" pitchFamily="34" charset="0"/>
              </a:defRPr>
            </a:lvl1pPr>
            <a:lvl2pPr defTabSz="580528">
              <a:lnSpc>
                <a:spcPct val="100000"/>
              </a:lnSpc>
              <a:spcBef>
                <a:spcPts val="0"/>
              </a:spcBef>
              <a:defRPr sz="3199" b="0" i="0">
                <a:solidFill>
                  <a:schemeClr val="tx1"/>
                </a:solidFill>
                <a:latin typeface="IBM Plex Sans Light" panose="020B0403050203000203" pitchFamily="34" charset="0"/>
              </a:defRPr>
            </a:lvl2pPr>
            <a:lvl3pPr defTabSz="580528">
              <a:lnSpc>
                <a:spcPct val="100000"/>
              </a:lnSpc>
              <a:spcBef>
                <a:spcPts val="0"/>
              </a:spcBef>
              <a:defRPr sz="3199" b="0" i="0">
                <a:solidFill>
                  <a:schemeClr val="tx1"/>
                </a:solidFill>
                <a:latin typeface="IBM Plex Sans Light" panose="020B0403050203000203" pitchFamily="34" charset="0"/>
              </a:defRPr>
            </a:lvl3pPr>
            <a:lvl4pPr defTabSz="580528">
              <a:lnSpc>
                <a:spcPct val="100000"/>
              </a:lnSpc>
              <a:spcBef>
                <a:spcPts val="0"/>
              </a:spcBef>
              <a:defRPr sz="3199"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352872090"/>
      </p:ext>
    </p:extLst>
  </p:cSld>
  <p:clrMapOvr>
    <a:masterClrMapping/>
  </p:clrMapOvr>
  <p:transition spd="med"/>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Callout, stand-alo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600"/>
            <a:ext cx="7330121" cy="4858544"/>
          </a:xfrm>
        </p:spPr>
        <p:txBody>
          <a:bodyPr/>
          <a:lstStyle>
            <a:lvl1pPr>
              <a:lnSpc>
                <a:spcPct val="100000"/>
              </a:lnSpc>
              <a:defRPr sz="4299" b="0" i="0">
                <a:solidFill>
                  <a:schemeClr val="tx2"/>
                </a:solidFill>
                <a:latin typeface="IBM Plex Sans Light" panose="020B0403050203000203" pitchFamily="34" charset="0"/>
              </a:defRPr>
            </a:lvl1pPr>
          </a:lstStyle>
          <a:p>
            <a:r>
              <a:rPr lang="en-US"/>
              <a:t>Click to edit Master title style</a:t>
            </a: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2933233642"/>
      </p:ext>
    </p:extLst>
  </p:cSld>
  <p:clrMapOvr>
    <a:masterClrMapping/>
  </p:clrMapOvr>
  <p:transition spd="med"/>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Data, 2 callouts, vertical">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87962" y="4648200"/>
            <a:ext cx="5524575" cy="1771650"/>
          </a:xfrm>
          <a:prstGeom prst="rect">
            <a:avLst/>
          </a:prstGeom>
        </p:spPr>
        <p:txBody>
          <a:bodyPr anchor="b"/>
          <a:lstStyle>
            <a:lvl1pPr>
              <a:lnSpc>
                <a:spcPct val="100000"/>
              </a:lnSpc>
              <a:spcBef>
                <a:spcPts val="0"/>
              </a:spcBef>
              <a:defRPr sz="12897" b="0" i="0">
                <a:solidFill>
                  <a:schemeClr val="accent1"/>
                </a:solidFill>
                <a:latin typeface="IBM Plex Sans Light" panose="020B0403050203000203" pitchFamily="34" charset="0"/>
              </a:defRPr>
            </a:lvl1pPr>
          </a:lstStyle>
          <a:p>
            <a:r>
              <a:rPr lang="en-US"/>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6379463" y="4648200"/>
            <a:ext cx="5523781" cy="1771650"/>
          </a:xfrm>
          <a:prstGeom prst="rect">
            <a:avLst/>
          </a:prstGeom>
        </p:spPr>
        <p:txBody>
          <a:bodyPr anchor="b"/>
          <a:lstStyle>
            <a:lvl1pPr>
              <a:lnSpc>
                <a:spcPct val="100000"/>
              </a:lnSpc>
              <a:spcBef>
                <a:spcPts val="0"/>
              </a:spcBef>
              <a:defRPr sz="12897" b="0" i="0">
                <a:solidFill>
                  <a:schemeClr val="accent1"/>
                </a:solidFill>
                <a:latin typeface="IBM Plex Sans Light" panose="020B0403050203000203" pitchFamily="34" charset="0"/>
              </a:defRPr>
            </a:lvl1pPr>
          </a:lstStyle>
          <a:p>
            <a:r>
              <a:rPr lang="en-US"/>
              <a:t>+00%</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609600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
        <p:nvSpPr>
          <p:cNvPr id="2" name="Text Placeholder 6">
            <a:extLst>
              <a:ext uri="{FF2B5EF4-FFF2-40B4-BE49-F238E27FC236}">
                <a16:creationId xmlns:a16="http://schemas.microsoft.com/office/drawing/2014/main" id="{001B1D3B-7FD1-5342-AD21-86B27FCC1276}"/>
              </a:ext>
            </a:extLst>
          </p:cNvPr>
          <p:cNvSpPr>
            <a:spLocks noGrp="1"/>
          </p:cNvSpPr>
          <p:nvPr>
            <p:ph type="body" sz="quarter" idx="10"/>
          </p:nvPr>
        </p:nvSpPr>
        <p:spPr>
          <a:xfrm>
            <a:off x="287300" y="192600"/>
            <a:ext cx="3815591" cy="3144044"/>
          </a:xfrm>
          <a:prstGeom prst="rect">
            <a:avLst/>
          </a:prstGeom>
        </p:spPr>
        <p:txBody>
          <a:bodyPr/>
          <a:lstStyle>
            <a:lvl1pPr defTabSz="580528">
              <a:lnSpc>
                <a:spcPct val="100000"/>
              </a:lnSpc>
              <a:spcBef>
                <a:spcPts val="0"/>
              </a:spcBef>
              <a:defRPr sz="3199" b="0" i="0">
                <a:solidFill>
                  <a:schemeClr val="tx1"/>
                </a:solidFill>
                <a:latin typeface="IBM Plex Sans Light" panose="020B0403050203000203" pitchFamily="34" charset="0"/>
              </a:defRPr>
            </a:lvl1pPr>
            <a:lvl2pPr defTabSz="580528">
              <a:lnSpc>
                <a:spcPct val="100000"/>
              </a:lnSpc>
              <a:spcBef>
                <a:spcPts val="0"/>
              </a:spcBef>
              <a:defRPr sz="3199" b="0" i="0">
                <a:solidFill>
                  <a:schemeClr val="tx1"/>
                </a:solidFill>
                <a:latin typeface="IBM Plex Sans Light" panose="020B0403050203000203" pitchFamily="34" charset="0"/>
              </a:defRPr>
            </a:lvl2pPr>
            <a:lvl3pPr defTabSz="580528">
              <a:lnSpc>
                <a:spcPct val="100000"/>
              </a:lnSpc>
              <a:spcBef>
                <a:spcPts val="0"/>
              </a:spcBef>
              <a:defRPr sz="3199" b="0" i="0">
                <a:solidFill>
                  <a:schemeClr val="tx1"/>
                </a:solidFill>
                <a:latin typeface="IBM Plex Sans Light" panose="020B0403050203000203" pitchFamily="34" charset="0"/>
              </a:defRPr>
            </a:lvl3pPr>
            <a:lvl4pPr defTabSz="580528">
              <a:lnSpc>
                <a:spcPct val="100000"/>
              </a:lnSpc>
              <a:spcBef>
                <a:spcPts val="0"/>
              </a:spcBef>
              <a:defRPr sz="3199"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6">
            <a:extLst>
              <a:ext uri="{FF2B5EF4-FFF2-40B4-BE49-F238E27FC236}">
                <a16:creationId xmlns:a16="http://schemas.microsoft.com/office/drawing/2014/main" id="{EE2A6217-C3F0-04CD-0266-C53A5C85FDE3}"/>
              </a:ext>
            </a:extLst>
          </p:cNvPr>
          <p:cNvSpPr>
            <a:spLocks noGrp="1"/>
          </p:cNvSpPr>
          <p:nvPr>
            <p:ph type="body" sz="quarter" idx="19"/>
          </p:nvPr>
        </p:nvSpPr>
        <p:spPr>
          <a:xfrm>
            <a:off x="6379463" y="192600"/>
            <a:ext cx="3815591" cy="3144044"/>
          </a:xfrm>
          <a:prstGeom prst="rect">
            <a:avLst/>
          </a:prstGeom>
        </p:spPr>
        <p:txBody>
          <a:bodyPr/>
          <a:lstStyle>
            <a:lvl1pPr defTabSz="580528">
              <a:lnSpc>
                <a:spcPct val="100000"/>
              </a:lnSpc>
              <a:spcBef>
                <a:spcPts val="0"/>
              </a:spcBef>
              <a:defRPr sz="3199" b="0" i="0">
                <a:solidFill>
                  <a:schemeClr val="tx1"/>
                </a:solidFill>
                <a:latin typeface="IBM Plex Sans Light" panose="020B0403050203000203" pitchFamily="34" charset="0"/>
              </a:defRPr>
            </a:lvl1pPr>
            <a:lvl2pPr defTabSz="580528">
              <a:lnSpc>
                <a:spcPct val="100000"/>
              </a:lnSpc>
              <a:spcBef>
                <a:spcPts val="0"/>
              </a:spcBef>
              <a:defRPr sz="3199" b="0" i="0">
                <a:solidFill>
                  <a:schemeClr val="tx1"/>
                </a:solidFill>
                <a:latin typeface="IBM Plex Sans Light" panose="020B0403050203000203" pitchFamily="34" charset="0"/>
              </a:defRPr>
            </a:lvl2pPr>
            <a:lvl3pPr defTabSz="580528">
              <a:lnSpc>
                <a:spcPct val="100000"/>
              </a:lnSpc>
              <a:spcBef>
                <a:spcPts val="0"/>
              </a:spcBef>
              <a:defRPr sz="3199" b="0" i="0">
                <a:solidFill>
                  <a:schemeClr val="tx1"/>
                </a:solidFill>
                <a:latin typeface="IBM Plex Sans Light" panose="020B0403050203000203" pitchFamily="34" charset="0"/>
              </a:defRPr>
            </a:lvl3pPr>
            <a:lvl4pPr defTabSz="580528">
              <a:lnSpc>
                <a:spcPct val="100000"/>
              </a:lnSpc>
              <a:spcBef>
                <a:spcPts val="0"/>
              </a:spcBef>
              <a:defRPr sz="3199"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725163860"/>
      </p:ext>
    </p:extLst>
  </p:cSld>
  <p:clrMapOvr>
    <a:masterClrMapping/>
  </p:clrMapOvr>
  <p:transition spd="med"/>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Data, 3 callouts, vertical">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383301" y="192600"/>
            <a:ext cx="2474590" cy="953294"/>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stStyle>
          <a:p>
            <a:pPr lvl="0"/>
            <a:r>
              <a:rPr lang="en-US"/>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9428523" y="192600"/>
            <a:ext cx="2474590" cy="951707"/>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stStyle>
          <a:p>
            <a:pPr lvl="0"/>
            <a:r>
              <a:rPr lang="en-US"/>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192600"/>
            <a:ext cx="2475384" cy="953956"/>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vl2pPr marL="0" indent="0">
              <a:buNone/>
              <a:defRPr/>
            </a:lvl2pPr>
          </a:lstStyle>
          <a:p>
            <a:pPr lvl="0"/>
            <a:r>
              <a:rPr lang="en-US"/>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192600"/>
            <a:ext cx="2474590" cy="142954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a:prstGeom prst="rect">
            <a:avLst/>
          </a:prstGeom>
        </p:spPr>
        <p:txBody>
          <a:bodyPr anchor="b"/>
          <a:lstStyle>
            <a:lvl1pPr>
              <a:lnSpc>
                <a:spcPct val="100000"/>
              </a:lnSpc>
              <a:spcBef>
                <a:spcPts val="0"/>
              </a:spcBef>
              <a:defRPr sz="800" b="0" i="0">
                <a:solidFill>
                  <a:schemeClr val="tx1"/>
                </a:solidFill>
                <a:latin typeface="IBM Plex Sans Light" panose="020B0403050203000203" pitchFamily="34" charset="0"/>
              </a:defRPr>
            </a:lvl1pPr>
            <a:lvl2pPr marL="73137" indent="-73137">
              <a:lnSpc>
                <a:spcPct val="100000"/>
              </a:lnSpc>
              <a:spcBef>
                <a:spcPts val="0"/>
              </a:spcBef>
              <a:defRPr sz="800" b="0" i="0">
                <a:solidFill>
                  <a:schemeClr val="tx1"/>
                </a:solidFill>
                <a:latin typeface="IBM Plex Sans Light" panose="020B0403050203000203" pitchFamily="34" charset="0"/>
              </a:defRPr>
            </a:lvl2pPr>
            <a:lvl3pPr marL="146275" indent="-73137">
              <a:lnSpc>
                <a:spcPct val="100000"/>
              </a:lnSpc>
              <a:spcBef>
                <a:spcPts val="0"/>
              </a:spcBef>
              <a:defRPr sz="800" b="0" i="0">
                <a:solidFill>
                  <a:schemeClr val="tx1"/>
                </a:solidFill>
                <a:latin typeface="IBM Plex Sans Light" panose="020B0403050203000203" pitchFamily="34" charset="0"/>
              </a:defRPr>
            </a:lvl3pPr>
            <a:lvl4pPr marL="219412" indent="-73137">
              <a:lnSpc>
                <a:spcPct val="100000"/>
              </a:lnSpc>
              <a:spcBef>
                <a:spcPts val="0"/>
              </a:spcBef>
              <a:defRPr sz="800" b="0" i="0">
                <a:solidFill>
                  <a:schemeClr val="tx1"/>
                </a:solidFill>
                <a:latin typeface="IBM Plex Sans Light" panose="020B04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3333316" y="1166534"/>
            <a:ext cx="2475384" cy="483652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1166533"/>
            <a:ext cx="2476178" cy="4833423"/>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9428522" y="1166533"/>
            <a:ext cx="2476178" cy="4833423"/>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1874847692"/>
      </p:ext>
    </p:extLst>
  </p:cSld>
  <p:clrMapOvr>
    <a:masterClrMapping/>
  </p:clrMapOvr>
  <p:transition spd="med"/>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Data, 2 callouts, horizontal">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87300" y="192600"/>
            <a:ext cx="2474590" cy="2667794"/>
          </a:xfrm>
        </p:spPr>
        <p:txBody>
          <a:bodyPr/>
          <a:lstStyle>
            <a:lvl1pPr>
              <a:lnSpc>
                <a:spcPct val="100000"/>
              </a:lnSpc>
              <a:defRPr sz="4299" b="0" i="0">
                <a:solidFill>
                  <a:schemeClr val="accent1"/>
                </a:solidFill>
                <a:latin typeface="IBM Plex Sans Light" panose="020B0403050203000203" pitchFamily="34" charset="0"/>
              </a:defRPr>
            </a:lvl1pPr>
          </a:lstStyle>
          <a:p>
            <a:r>
              <a:rPr lang="en-US"/>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3333316" y="192600"/>
            <a:ext cx="5523781" cy="2667794"/>
          </a:xfrm>
          <a:prstGeom prst="rect">
            <a:avLst/>
          </a:prstGeom>
        </p:spPr>
        <p:txBody>
          <a:bodyPr/>
          <a:lstStyle>
            <a:lvl1pPr>
              <a:lnSpc>
                <a:spcPct val="100000"/>
              </a:lnSpc>
              <a:spcBef>
                <a:spcPts val="0"/>
              </a:spcBef>
              <a:defRPr sz="4299" b="0" i="0">
                <a:solidFill>
                  <a:schemeClr val="tx1"/>
                </a:solidFill>
                <a:latin typeface="IBM Plex Sans Light" panose="020B0403050203000203" pitchFamily="34" charset="0"/>
              </a:defRPr>
            </a:lvl1pPr>
            <a:lvl2pPr marL="163767" indent="-163767">
              <a:lnSpc>
                <a:spcPct val="100000"/>
              </a:lnSpc>
              <a:spcBef>
                <a:spcPts val="0"/>
              </a:spcBef>
              <a:defRPr sz="4299" b="0" i="0">
                <a:solidFill>
                  <a:schemeClr val="tx1"/>
                </a:solidFill>
                <a:latin typeface="IBM Plex Sans Light" panose="020B0403050203000203" pitchFamily="34" charset="0"/>
              </a:defRPr>
            </a:lvl2pPr>
            <a:lvl3pPr marL="329334" indent="-163767">
              <a:lnSpc>
                <a:spcPct val="100000"/>
              </a:lnSpc>
              <a:spcBef>
                <a:spcPts val="0"/>
              </a:spcBef>
              <a:defRPr sz="4299" b="0" i="0">
                <a:solidFill>
                  <a:schemeClr val="tx1"/>
                </a:solidFill>
                <a:latin typeface="IBM Plex Sans Light" panose="020B0403050203000203" pitchFamily="34" charset="0"/>
              </a:defRPr>
            </a:lvl3pPr>
            <a:lvl4pPr marL="493101" indent="-163767">
              <a:lnSpc>
                <a:spcPct val="100000"/>
              </a:lnSpc>
              <a:spcBef>
                <a:spcPts val="0"/>
              </a:spcBef>
              <a:defRPr sz="4299" b="0" i="0">
                <a:solidFill>
                  <a:schemeClr val="tx1"/>
                </a:solidFill>
                <a:latin typeface="IBM Plex Sans Light" panose="020B0403050203000203" pitchFamily="34" charset="0"/>
              </a:defRPr>
            </a:lvl4pPr>
            <a:lvl5pPr>
              <a:lnSpc>
                <a:spcPct val="100000"/>
              </a:lnSpc>
              <a:spcBef>
                <a:spcPts val="0"/>
              </a:spcBef>
              <a:defRPr sz="4299">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87300" y="3238500"/>
            <a:ext cx="2474590" cy="2667000"/>
          </a:xfrm>
          <a:prstGeom prst="rect">
            <a:avLst/>
          </a:prstGeom>
        </p:spPr>
        <p:txBody>
          <a:bodyPr/>
          <a:lstStyle>
            <a:lvl1pPr>
              <a:lnSpc>
                <a:spcPct val="100000"/>
              </a:lnSpc>
              <a:defRPr sz="4299" b="0" i="0">
                <a:solidFill>
                  <a:schemeClr val="accent1"/>
                </a:solidFill>
                <a:latin typeface="IBM Plex Sans Light" panose="020B0403050203000203" pitchFamily="34" charset="0"/>
              </a:defRPr>
            </a:lvl1pPr>
            <a:lvl2pPr>
              <a:lnSpc>
                <a:spcPct val="100000"/>
              </a:lnSpc>
              <a:defRPr sz="4299">
                <a:solidFill>
                  <a:schemeClr val="accent1"/>
                </a:solidFill>
              </a:defRPr>
            </a:lvl2pPr>
            <a:lvl3pPr>
              <a:lnSpc>
                <a:spcPct val="100000"/>
              </a:lnSpc>
              <a:defRPr sz="4299">
                <a:solidFill>
                  <a:schemeClr val="accent1"/>
                </a:solidFill>
              </a:defRPr>
            </a:lvl3pPr>
            <a:lvl4pPr>
              <a:lnSpc>
                <a:spcPct val="100000"/>
              </a:lnSpc>
              <a:defRPr sz="4299">
                <a:solidFill>
                  <a:schemeClr val="accent1"/>
                </a:solidFill>
              </a:defRPr>
            </a:lvl4pPr>
            <a:lvl5pPr>
              <a:lnSpc>
                <a:spcPct val="100000"/>
              </a:lnSpc>
              <a:defRPr sz="4299">
                <a:solidFill>
                  <a:schemeClr val="accent1"/>
                </a:solidFill>
              </a:defRPr>
            </a:lvl5pPr>
          </a:lstStyle>
          <a:p>
            <a:pPr lvl="0"/>
            <a:r>
              <a:rPr lang="en-US"/>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3333316" y="3238500"/>
            <a:ext cx="5523781" cy="2667000"/>
          </a:xfrm>
          <a:prstGeom prst="rect">
            <a:avLst/>
          </a:prstGeom>
        </p:spPr>
        <p:txBody>
          <a:bodyPr/>
          <a:lstStyle>
            <a:lvl1pPr>
              <a:lnSpc>
                <a:spcPct val="100000"/>
              </a:lnSpc>
              <a:spcBef>
                <a:spcPts val="0"/>
              </a:spcBef>
              <a:defRPr sz="4299" b="0" i="0">
                <a:solidFill>
                  <a:schemeClr val="tx1"/>
                </a:solidFill>
                <a:latin typeface="IBM Plex Sans Light" panose="020B0403050203000203" pitchFamily="34" charset="0"/>
              </a:defRPr>
            </a:lvl1pPr>
            <a:lvl2pPr marL="163767" indent="-163767">
              <a:lnSpc>
                <a:spcPct val="100000"/>
              </a:lnSpc>
              <a:spcBef>
                <a:spcPts val="0"/>
              </a:spcBef>
              <a:defRPr sz="4299" b="0" i="0">
                <a:solidFill>
                  <a:schemeClr val="tx1"/>
                </a:solidFill>
                <a:latin typeface="IBM Plex Sans Light" panose="020B0403050203000203" pitchFamily="34" charset="0"/>
              </a:defRPr>
            </a:lvl2pPr>
            <a:lvl3pPr marL="329334" indent="-163767">
              <a:lnSpc>
                <a:spcPct val="100000"/>
              </a:lnSpc>
              <a:spcBef>
                <a:spcPts val="0"/>
              </a:spcBef>
              <a:defRPr sz="4299" b="0" i="0">
                <a:solidFill>
                  <a:schemeClr val="tx1"/>
                </a:solidFill>
                <a:latin typeface="IBM Plex Sans Light" panose="020B0403050203000203" pitchFamily="34" charset="0"/>
              </a:defRPr>
            </a:lvl3pPr>
            <a:lvl4pPr marL="493101" indent="-163767">
              <a:lnSpc>
                <a:spcPct val="100000"/>
              </a:lnSpc>
              <a:spcBef>
                <a:spcPts val="0"/>
              </a:spcBef>
              <a:defRPr sz="4299" b="0" i="0">
                <a:solidFill>
                  <a:schemeClr val="tx1"/>
                </a:solidFill>
                <a:latin typeface="IBM Plex Sans Light" panose="020B0403050203000203" pitchFamily="34" charset="0"/>
              </a:defRPr>
            </a:lvl4pPr>
            <a:lvl5pPr>
              <a:lnSpc>
                <a:spcPct val="100000"/>
              </a:lnSpc>
              <a:spcBef>
                <a:spcPts val="0"/>
              </a:spcBef>
              <a:defRPr sz="4299">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1292762931"/>
      </p:ext>
    </p:extLst>
  </p:cSld>
  <p:clrMapOvr>
    <a:masterClrMapping/>
  </p:clrMapOvr>
  <p:transition spd="med"/>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Data, 3 callouts, horizontal">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3333316" y="40957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3333316" y="20002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192600"/>
            <a:ext cx="2475384" cy="1429544"/>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vl2pPr marL="0" indent="0">
              <a:buNone/>
              <a:defRPr/>
            </a:lvl2pPr>
          </a:lstStyle>
          <a:p>
            <a:r>
              <a:rPr lang="en-US"/>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192600"/>
            <a:ext cx="2474590" cy="142954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a:prstGeom prst="rect">
            <a:avLst/>
          </a:prstGeom>
        </p:spPr>
        <p:txBody>
          <a:bodyPr anchor="b"/>
          <a:lstStyle>
            <a:lvl1pPr>
              <a:lnSpc>
                <a:spcPct val="100000"/>
              </a:lnSpc>
              <a:spcBef>
                <a:spcPts val="0"/>
              </a:spcBef>
              <a:defRPr sz="800" b="0" i="0">
                <a:solidFill>
                  <a:schemeClr val="tx1"/>
                </a:solidFill>
                <a:latin typeface="IBM Plex Sans Light" panose="020B0403050203000203" pitchFamily="34" charset="0"/>
              </a:defRPr>
            </a:lvl1pPr>
            <a:lvl2pPr>
              <a:lnSpc>
                <a:spcPct val="100000"/>
              </a:lnSpc>
              <a:spcBef>
                <a:spcPts val="0"/>
              </a:spcBef>
              <a:defRPr sz="800" b="0" i="0">
                <a:solidFill>
                  <a:schemeClr val="tx1"/>
                </a:solidFill>
                <a:latin typeface="IBM Plex Sans Light" panose="020B0403050203000203" pitchFamily="34" charset="0"/>
              </a:defRPr>
            </a:lvl2pPr>
            <a:lvl3pPr>
              <a:lnSpc>
                <a:spcPct val="100000"/>
              </a:lnSpc>
              <a:spcBef>
                <a:spcPts val="0"/>
              </a:spcBef>
              <a:defRPr sz="800" b="0" i="0">
                <a:solidFill>
                  <a:schemeClr val="tx1"/>
                </a:solidFill>
                <a:latin typeface="IBM Plex Sans Light" panose="020B0403050203000203" pitchFamily="34" charset="0"/>
              </a:defRPr>
            </a:lvl3pPr>
            <a:lvl4pPr>
              <a:lnSpc>
                <a:spcPct val="100000"/>
              </a:lnSpc>
              <a:spcBef>
                <a:spcPts val="0"/>
              </a:spcBef>
              <a:defRPr sz="800" b="0" i="0">
                <a:solidFill>
                  <a:schemeClr val="tx1"/>
                </a:solidFill>
                <a:latin typeface="IBM Plex Sans Light" panose="020B0403050203000203" pitchFamily="34" charset="0"/>
              </a:defRPr>
            </a:lvl4pPr>
            <a:lvl5pPr>
              <a:lnSpc>
                <a:spcPct val="120000"/>
              </a:lnSpc>
              <a:spcBef>
                <a:spcPts val="0"/>
              </a:spcBef>
              <a:defRPr sz="8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380919" y="192600"/>
            <a:ext cx="3809504" cy="1429544"/>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2093976"/>
            <a:ext cx="3809504" cy="142875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6380919" y="4201668"/>
            <a:ext cx="3809504" cy="1428750"/>
          </a:xfrm>
          <a:prstGeom prst="rect">
            <a:avLst/>
          </a:prstGeom>
        </p:spPr>
        <p:txBody>
          <a:bodyPr/>
          <a:lstStyle>
            <a:lvl1pPr>
              <a:lnSpc>
                <a:spcPct val="100000"/>
              </a:lnSpc>
              <a:spcBef>
                <a:spcPts val="0"/>
              </a:spcBef>
              <a:defRPr b="0" i="0">
                <a:solidFill>
                  <a:schemeClr val="tx1"/>
                </a:solidFill>
                <a:latin typeface="IBM Plex Sans Light" panose="020B0403050203000203" pitchFamily="34" charset="0"/>
              </a:defRPr>
            </a:lvl1pPr>
            <a:lvl2pPr>
              <a:lnSpc>
                <a:spcPct val="100000"/>
              </a:lnSpc>
              <a:spcBef>
                <a:spcPts val="0"/>
              </a:spcBef>
              <a:defRPr b="0" i="0">
                <a:solidFill>
                  <a:schemeClr val="tx1"/>
                </a:solidFill>
                <a:latin typeface="IBM Plex Sans Light" panose="020B0403050203000203" pitchFamily="34" charset="0"/>
              </a:defRPr>
            </a:lvl2pPr>
            <a:lvl3pPr>
              <a:lnSpc>
                <a:spcPct val="100000"/>
              </a:lnSpc>
              <a:spcBef>
                <a:spcPts val="0"/>
              </a:spcBef>
              <a:defRPr b="0" i="0">
                <a:solidFill>
                  <a:schemeClr val="tx1"/>
                </a:solidFill>
                <a:latin typeface="IBM Plex Sans Light" panose="020B0403050203000203" pitchFamily="34" charset="0"/>
              </a:defRPr>
            </a:lvl3pPr>
            <a:lvl4pPr>
              <a:lnSpc>
                <a:spcPct val="100000"/>
              </a:lnSpc>
              <a:spcBef>
                <a:spcPts val="0"/>
              </a:spcBef>
              <a:defRPr b="0" i="0">
                <a:solidFill>
                  <a:schemeClr val="tx1"/>
                </a:solidFill>
                <a:latin typeface="IBM Plex Sans Light" panose="020B0403050203000203" pitchFamily="34" charset="0"/>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3333316" y="2093976"/>
            <a:ext cx="2475384" cy="1428753"/>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stStyle>
          <a:p>
            <a:r>
              <a:rPr lang="en-US"/>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3333317" y="4201668"/>
            <a:ext cx="2475383" cy="1428753"/>
          </a:xfrm>
          <a:prstGeom prst="rect">
            <a:avLst/>
          </a:prstGeom>
        </p:spPr>
        <p:txBody>
          <a:bodyPr/>
          <a:lstStyle>
            <a:lvl1pPr>
              <a:lnSpc>
                <a:spcPct val="100000"/>
              </a:lnSpc>
              <a:defRPr sz="6499" b="0" i="0">
                <a:solidFill>
                  <a:schemeClr val="accent1"/>
                </a:solidFill>
                <a:latin typeface="IBM Plex Sans Light" panose="020B0403050203000203" pitchFamily="34" charset="0"/>
              </a:defRPr>
            </a:lvl1pPr>
          </a:lstStyle>
          <a:p>
            <a:r>
              <a:rPr lang="en-US"/>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55153533"/>
      </p:ext>
    </p:extLst>
  </p:cSld>
  <p:clrMapOvr>
    <a:masterClrMapping/>
  </p:clrMapOvr>
  <p:transition spd="med"/>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ext, 4 columns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
        <p:nvSpPr>
          <p:cNvPr id="4" name="Text Placeholder 6">
            <a:extLst>
              <a:ext uri="{FF2B5EF4-FFF2-40B4-BE49-F238E27FC236}">
                <a16:creationId xmlns:a16="http://schemas.microsoft.com/office/drawing/2014/main" id="{B303799C-055C-81A5-3E36-D78912AA66DA}"/>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297B3A71-6FB0-4C14-4695-68801FBBBEA7}"/>
              </a:ext>
            </a:extLst>
          </p:cNvPr>
          <p:cNvSpPr>
            <a:spLocks noGrp="1"/>
          </p:cNvSpPr>
          <p:nvPr>
            <p:ph type="body" sz="quarter" idx="19"/>
          </p:nvPr>
        </p:nvSpPr>
        <p:spPr>
          <a:xfrm>
            <a:off x="360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5C1273EB-3A3E-B282-A619-1D6FB102B117}"/>
              </a:ext>
            </a:extLst>
          </p:cNvPr>
          <p:cNvSpPr>
            <a:spLocks noGrp="1"/>
          </p:cNvSpPr>
          <p:nvPr>
            <p:ph type="body" sz="quarter" idx="20"/>
          </p:nvPr>
        </p:nvSpPr>
        <p:spPr>
          <a:xfrm>
            <a:off x="6368781"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20367260-BF8E-C847-2296-4EAD779F010E}"/>
              </a:ext>
            </a:extLst>
          </p:cNvPr>
          <p:cNvSpPr>
            <a:spLocks noGrp="1"/>
          </p:cNvSpPr>
          <p:nvPr>
            <p:ph type="body" sz="quarter" idx="21"/>
          </p:nvPr>
        </p:nvSpPr>
        <p:spPr>
          <a:xfrm>
            <a:off x="9428523"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53552571"/>
      </p:ext>
    </p:extLst>
  </p:cSld>
  <p:clrMapOvr>
    <a:masterClrMapping/>
  </p:clrMapOvr>
  <p:transition spd="med"/>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ext, 4 columns, short divid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192600"/>
            <a:ext cx="2477765" cy="762794"/>
          </a:xfrm>
          <a:prstGeom prst="rect">
            <a:avLst/>
          </a:prstGeom>
        </p:spPr>
        <p:txBody>
          <a:bodyPr/>
          <a:lstStyle>
            <a:lvl1pPr>
              <a:lnSpc>
                <a:spcPct val="100000"/>
              </a:lnSpc>
              <a:spcBef>
                <a:spcPts val="0"/>
              </a:spcBef>
              <a:defRPr sz="1000" b="0" i="0">
                <a:solidFill>
                  <a:schemeClr val="tx1"/>
                </a:solidFill>
                <a:latin typeface="IBM Plex Sans Light" panose="020B0403050203000203" pitchFamily="34" charset="0"/>
              </a:defRPr>
            </a:lvl1pPr>
            <a:lvl2pPr marL="91422" indent="-91422">
              <a:lnSpc>
                <a:spcPct val="100000"/>
              </a:lnSpc>
              <a:spcBef>
                <a:spcPts val="0"/>
              </a:spcBef>
              <a:defRPr sz="1000" b="0" i="0">
                <a:solidFill>
                  <a:schemeClr val="tx1"/>
                </a:solidFill>
                <a:latin typeface="IBM Plex Sans Light" panose="020B0403050203000203" pitchFamily="34" charset="0"/>
              </a:defRPr>
            </a:lvl2pPr>
            <a:lvl3pPr marL="182843" indent="-91422">
              <a:lnSpc>
                <a:spcPct val="100000"/>
              </a:lnSpc>
              <a:spcBef>
                <a:spcPts val="0"/>
              </a:spcBef>
              <a:defRPr sz="1000" b="0" i="0">
                <a:solidFill>
                  <a:schemeClr val="tx1"/>
                </a:solidFill>
                <a:latin typeface="IBM Plex Sans Light" panose="020B0403050203000203" pitchFamily="34" charset="0"/>
              </a:defRPr>
            </a:lvl3pPr>
            <a:lvl4pPr marL="274265" indent="-91422">
              <a:lnSpc>
                <a:spcPct val="100000"/>
              </a:lnSpc>
              <a:spcBef>
                <a:spcPts val="0"/>
              </a:spcBef>
              <a:defRPr sz="1000" b="0" i="0">
                <a:solidFill>
                  <a:schemeClr val="tx1"/>
                </a:solidFill>
                <a:latin typeface="IBM Plex Sans Light" panose="020B04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3047603" y="1714500"/>
            <a:ext cx="0" cy="42862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6093683"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9142810"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
        <p:nvSpPr>
          <p:cNvPr id="13" name="Text Placeholder 6">
            <a:extLst>
              <a:ext uri="{FF2B5EF4-FFF2-40B4-BE49-F238E27FC236}">
                <a16:creationId xmlns:a16="http://schemas.microsoft.com/office/drawing/2014/main" id="{4E03333F-C9F4-9C57-BAAE-A49EA523AFB5}"/>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6">
            <a:extLst>
              <a:ext uri="{FF2B5EF4-FFF2-40B4-BE49-F238E27FC236}">
                <a16:creationId xmlns:a16="http://schemas.microsoft.com/office/drawing/2014/main" id="{CF3321C6-7CF8-EF30-4736-48A201B09471}"/>
              </a:ext>
            </a:extLst>
          </p:cNvPr>
          <p:cNvSpPr>
            <a:spLocks noGrp="1"/>
          </p:cNvSpPr>
          <p:nvPr>
            <p:ph type="body" sz="quarter" idx="19"/>
          </p:nvPr>
        </p:nvSpPr>
        <p:spPr>
          <a:xfrm>
            <a:off x="360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Text Placeholder 6">
            <a:extLst>
              <a:ext uri="{FF2B5EF4-FFF2-40B4-BE49-F238E27FC236}">
                <a16:creationId xmlns:a16="http://schemas.microsoft.com/office/drawing/2014/main" id="{AC67FA0E-EA85-0950-FCC7-3F6BF1A74144}"/>
              </a:ext>
            </a:extLst>
          </p:cNvPr>
          <p:cNvSpPr>
            <a:spLocks noGrp="1"/>
          </p:cNvSpPr>
          <p:nvPr>
            <p:ph type="body" sz="quarter" idx="20"/>
          </p:nvPr>
        </p:nvSpPr>
        <p:spPr>
          <a:xfrm>
            <a:off x="6368781"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6">
            <a:extLst>
              <a:ext uri="{FF2B5EF4-FFF2-40B4-BE49-F238E27FC236}">
                <a16:creationId xmlns:a16="http://schemas.microsoft.com/office/drawing/2014/main" id="{0EE67605-D889-6D38-2F1B-DF58E809AC59}"/>
              </a:ext>
            </a:extLst>
          </p:cNvPr>
          <p:cNvSpPr>
            <a:spLocks noGrp="1"/>
          </p:cNvSpPr>
          <p:nvPr>
            <p:ph type="body" sz="quarter" idx="21"/>
          </p:nvPr>
        </p:nvSpPr>
        <p:spPr>
          <a:xfrm>
            <a:off x="9428523"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713415779"/>
      </p:ext>
    </p:extLst>
  </p:cSld>
  <p:clrMapOvr>
    <a:masterClrMapping/>
  </p:clrMapOvr>
  <p:transition spd="med"/>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762794"/>
          </a:xfrm>
          <a:prstGeom prst="rect">
            <a:avLst/>
          </a:prstGeom>
        </p:spPr>
        <p:txBody>
          <a:bodyPr/>
          <a:lstStyle>
            <a:lvl1pPr>
              <a:lnSpc>
                <a:spcPct val="100000"/>
              </a:lnSpc>
              <a:spcBef>
                <a:spcPts val="0"/>
              </a:spcBef>
              <a:defRPr sz="2200" b="0" i="0">
                <a:solidFill>
                  <a:schemeClr val="tx1"/>
                </a:solidFill>
                <a:latin typeface="IBM Plex Sans Light" panose="020B0403050203000203" pitchFamily="34" charset="0"/>
              </a:defRPr>
            </a:lvl1pPr>
            <a:lvl2pPr marL="127990" indent="-127990">
              <a:lnSpc>
                <a:spcPct val="100000"/>
              </a:lnSpc>
              <a:spcBef>
                <a:spcPts val="0"/>
              </a:spcBef>
              <a:defRPr sz="2200" b="0" i="0">
                <a:solidFill>
                  <a:schemeClr val="tx1"/>
                </a:solidFill>
                <a:latin typeface="IBM Plex Sans Light" panose="020B0403050203000203" pitchFamily="34" charset="0"/>
              </a:defRPr>
            </a:lvl2pPr>
            <a:lvl3pPr marL="255981" indent="-127990">
              <a:lnSpc>
                <a:spcPct val="100000"/>
              </a:lnSpc>
              <a:spcBef>
                <a:spcPts val="0"/>
              </a:spcBef>
              <a:defRPr sz="2200" b="0" i="0">
                <a:solidFill>
                  <a:schemeClr val="tx1"/>
                </a:solidFill>
                <a:latin typeface="IBM Plex Sans Light" panose="020B0403050203000203" pitchFamily="34" charset="0"/>
              </a:defRPr>
            </a:lvl3pPr>
            <a:lvl4pPr marL="383971" indent="-127990">
              <a:lnSpc>
                <a:spcPct val="100000"/>
              </a:lnSpc>
              <a:spcBef>
                <a:spcPts val="0"/>
              </a:spcBef>
              <a:defRPr sz="2200" b="0" i="0">
                <a:solidFill>
                  <a:schemeClr val="tx1"/>
                </a:solidFill>
                <a:latin typeface="IBM Plex Sans Light" panose="020B0403050203000203" pitchFamily="34" charset="0"/>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8" cy="762794"/>
          </a:xfrm>
          <a:prstGeom prst="rect">
            <a:avLst/>
          </a:prstGeom>
        </p:spPr>
        <p:txBody>
          <a:bodyPr/>
          <a:lstStyle>
            <a:lvl1pPr>
              <a:lnSpc>
                <a:spcPct val="100000"/>
              </a:lnSpc>
              <a:spcBef>
                <a:spcPts val="0"/>
              </a:spcBef>
              <a:defRPr sz="2200" b="0" i="0">
                <a:solidFill>
                  <a:schemeClr val="tx1"/>
                </a:solidFill>
                <a:latin typeface="IBM Plex Sans Light" panose="020B0403050203000203" pitchFamily="34" charset="0"/>
              </a:defRPr>
            </a:lvl1pPr>
            <a:lvl2pPr marL="127990" indent="-127990">
              <a:lnSpc>
                <a:spcPct val="100000"/>
              </a:lnSpc>
              <a:spcBef>
                <a:spcPts val="0"/>
              </a:spcBef>
              <a:defRPr sz="2200" b="0" i="0">
                <a:solidFill>
                  <a:schemeClr val="tx1"/>
                </a:solidFill>
                <a:latin typeface="IBM Plex Sans Light" panose="020B0403050203000203" pitchFamily="34" charset="0"/>
              </a:defRPr>
            </a:lvl2pPr>
            <a:lvl3pPr marL="255981" indent="-127990">
              <a:lnSpc>
                <a:spcPct val="100000"/>
              </a:lnSpc>
              <a:spcBef>
                <a:spcPts val="0"/>
              </a:spcBef>
              <a:defRPr sz="2200" b="0" i="0">
                <a:solidFill>
                  <a:schemeClr val="tx1"/>
                </a:solidFill>
                <a:latin typeface="IBM Plex Sans Light" panose="020B0403050203000203" pitchFamily="34" charset="0"/>
              </a:defRPr>
            </a:lvl3pPr>
            <a:lvl4pPr marL="383971" indent="-127990">
              <a:lnSpc>
                <a:spcPct val="100000"/>
              </a:lnSpc>
              <a:spcBef>
                <a:spcPts val="0"/>
              </a:spcBef>
              <a:defRPr sz="2200" b="0" i="0">
                <a:solidFill>
                  <a:schemeClr val="tx1"/>
                </a:solidFill>
                <a:latin typeface="IBM Plex Sans Light" panose="020B0403050203000203" pitchFamily="34" charset="0"/>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762794"/>
          </a:xfrm>
          <a:prstGeom prst="rect">
            <a:avLst/>
          </a:prstGeom>
        </p:spPr>
        <p:txBody>
          <a:bodyPr/>
          <a:lstStyle>
            <a:lvl1pPr>
              <a:lnSpc>
                <a:spcPct val="100000"/>
              </a:lnSpc>
              <a:spcBef>
                <a:spcPts val="0"/>
              </a:spcBef>
              <a:defRPr sz="2200" b="0" i="0">
                <a:solidFill>
                  <a:schemeClr val="tx1"/>
                </a:solidFill>
                <a:latin typeface="IBM Plex Sans Light" panose="020B0403050203000203" pitchFamily="34" charset="0"/>
              </a:defRPr>
            </a:lvl1pPr>
            <a:lvl2pPr marL="127990" indent="-127990">
              <a:lnSpc>
                <a:spcPct val="100000"/>
              </a:lnSpc>
              <a:spcBef>
                <a:spcPts val="0"/>
              </a:spcBef>
              <a:defRPr sz="2200" b="0" i="0">
                <a:solidFill>
                  <a:schemeClr val="tx1"/>
                </a:solidFill>
                <a:latin typeface="IBM Plex Sans Light" panose="020B0403050203000203" pitchFamily="34" charset="0"/>
              </a:defRPr>
            </a:lvl2pPr>
            <a:lvl3pPr marL="255981" indent="-127990">
              <a:lnSpc>
                <a:spcPct val="100000"/>
              </a:lnSpc>
              <a:spcBef>
                <a:spcPts val="0"/>
              </a:spcBef>
              <a:defRPr sz="2200" b="0" i="0">
                <a:solidFill>
                  <a:schemeClr val="tx1"/>
                </a:solidFill>
                <a:latin typeface="IBM Plex Sans Light" panose="020B0403050203000203" pitchFamily="34" charset="0"/>
              </a:defRPr>
            </a:lvl3pPr>
            <a:lvl4pPr marL="383971" indent="-127990">
              <a:lnSpc>
                <a:spcPct val="100000"/>
              </a:lnSpc>
              <a:spcBef>
                <a:spcPts val="0"/>
              </a:spcBef>
              <a:defRPr sz="2200" b="0" i="0">
                <a:solidFill>
                  <a:schemeClr val="tx1"/>
                </a:solidFill>
                <a:latin typeface="IBM Plex Sans Light" panose="020B0403050203000203" pitchFamily="34" charset="0"/>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
        <p:nvSpPr>
          <p:cNvPr id="16" name="Text Placeholder 6">
            <a:extLst>
              <a:ext uri="{FF2B5EF4-FFF2-40B4-BE49-F238E27FC236}">
                <a16:creationId xmlns:a16="http://schemas.microsoft.com/office/drawing/2014/main" id="{F4F49B39-EB32-770F-5644-D3D938710775}"/>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6">
            <a:extLst>
              <a:ext uri="{FF2B5EF4-FFF2-40B4-BE49-F238E27FC236}">
                <a16:creationId xmlns:a16="http://schemas.microsoft.com/office/drawing/2014/main" id="{5D25B5E4-5513-DB6F-04BF-4A2A85E85763}"/>
              </a:ext>
            </a:extLst>
          </p:cNvPr>
          <p:cNvSpPr>
            <a:spLocks noGrp="1"/>
          </p:cNvSpPr>
          <p:nvPr>
            <p:ph type="body" sz="quarter" idx="20"/>
          </p:nvPr>
        </p:nvSpPr>
        <p:spPr>
          <a:xfrm>
            <a:off x="6368781"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6">
            <a:extLst>
              <a:ext uri="{FF2B5EF4-FFF2-40B4-BE49-F238E27FC236}">
                <a16:creationId xmlns:a16="http://schemas.microsoft.com/office/drawing/2014/main" id="{EC86775E-92B8-3897-2210-2993F34BA628}"/>
              </a:ext>
            </a:extLst>
          </p:cNvPr>
          <p:cNvSpPr>
            <a:spLocks noGrp="1"/>
          </p:cNvSpPr>
          <p:nvPr>
            <p:ph type="body" sz="quarter" idx="21"/>
          </p:nvPr>
        </p:nvSpPr>
        <p:spPr>
          <a:xfrm>
            <a:off x="9428523"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24349030"/>
      </p:ext>
    </p:extLst>
  </p:cSld>
  <p:clrMapOvr>
    <a:masterClrMapping/>
  </p:clrMapOvr>
  <p:transition spd="med"/>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87999" y="192600"/>
            <a:ext cx="2474590" cy="1048544"/>
          </a:xfrm>
        </p:spPr>
        <p:txBody>
          <a:bodyPr/>
          <a:lstStyle>
            <a:lvl1pPr>
              <a:lnSpc>
                <a:spcPct val="100000"/>
              </a:lnSpc>
              <a:defRPr sz="1400" b="0" i="0">
                <a:solidFill>
                  <a:schemeClr val="tx2"/>
                </a:solidFill>
                <a:latin typeface="IBM Plex Sans Light" panose="020B0403050203000203"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87999" y="1714500"/>
            <a:ext cx="2477765" cy="2000250"/>
          </a:xfrm>
          <a:prstGeom prst="rect">
            <a:avLst/>
          </a:prstGeom>
        </p:spPr>
        <p:txBody>
          <a:bodyPr/>
          <a:lstStyle>
            <a:lvl1pPr>
              <a:lnSpc>
                <a:spcPct val="100000"/>
              </a:lnSpc>
              <a:spcBef>
                <a:spcPts val="0"/>
              </a:spcBef>
              <a:defRPr sz="3199" b="0" i="0">
                <a:solidFill>
                  <a:schemeClr val="tx1"/>
                </a:solidFill>
                <a:latin typeface="IBM Plex Sans Light" panose="020B0403050203000203" pitchFamily="34" charset="0"/>
              </a:defRPr>
            </a:lvl1pPr>
          </a:lstStyle>
          <a:p>
            <a:pPr lvl="0"/>
            <a:r>
              <a:rPr lang="en-US"/>
              <a:t>Click to edit Master text styles</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3333316" y="288036"/>
            <a:ext cx="607997" cy="608076"/>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6387345" y="288036"/>
            <a:ext cx="607997" cy="608076"/>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9428522" y="288036"/>
            <a:ext cx="607997" cy="608076"/>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3" name="Text Placeholder 6">
            <a:extLst>
              <a:ext uri="{FF2B5EF4-FFF2-40B4-BE49-F238E27FC236}">
                <a16:creationId xmlns:a16="http://schemas.microsoft.com/office/drawing/2014/main" id="{DCEA9C7F-1CB2-B0B0-AE4C-171B0AFC6E26}"/>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6">
            <a:extLst>
              <a:ext uri="{FF2B5EF4-FFF2-40B4-BE49-F238E27FC236}">
                <a16:creationId xmlns:a16="http://schemas.microsoft.com/office/drawing/2014/main" id="{2F4D72D8-0638-1E42-6480-21D9CF7A440E}"/>
              </a:ext>
            </a:extLst>
          </p:cNvPr>
          <p:cNvSpPr>
            <a:spLocks noGrp="1"/>
          </p:cNvSpPr>
          <p:nvPr>
            <p:ph type="body" sz="quarter" idx="20"/>
          </p:nvPr>
        </p:nvSpPr>
        <p:spPr>
          <a:xfrm>
            <a:off x="6368781"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6">
            <a:extLst>
              <a:ext uri="{FF2B5EF4-FFF2-40B4-BE49-F238E27FC236}">
                <a16:creationId xmlns:a16="http://schemas.microsoft.com/office/drawing/2014/main" id="{D6DDCC2C-4DA8-F28F-9BBF-ACD120C05B48}"/>
              </a:ext>
            </a:extLst>
          </p:cNvPr>
          <p:cNvSpPr>
            <a:spLocks noGrp="1"/>
          </p:cNvSpPr>
          <p:nvPr>
            <p:ph type="body" sz="quarter" idx="21"/>
          </p:nvPr>
        </p:nvSpPr>
        <p:spPr>
          <a:xfrm>
            <a:off x="9428523"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311521921"/>
      </p:ext>
    </p:extLst>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63" y="192024"/>
            <a:ext cx="2470717" cy="1558989"/>
          </a:xfrm>
        </p:spPr>
        <p:txBody>
          <a:bodyPr/>
          <a:lstStyle>
            <a:lvl1pPr>
              <a:lnSpc>
                <a:spcPct val="100000"/>
              </a:lnSpc>
              <a:defRPr sz="3399">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4142" y="192024"/>
            <a:ext cx="2475385" cy="1100635"/>
          </a:xfrm>
        </p:spPr>
        <p:txBody>
          <a:bodyPr/>
          <a:lstStyle>
            <a:lvl1pPr>
              <a:lnSpc>
                <a:spcPct val="100000"/>
              </a:lnSpc>
              <a:spcBef>
                <a:spcPts val="0"/>
              </a:spcBef>
              <a:defRPr sz="3399">
                <a:solidFill>
                  <a:schemeClr val="tx2"/>
                </a:solidFill>
              </a:defRPr>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4143" y="1524000"/>
            <a:ext cx="2475384" cy="4576763"/>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1745" y="1524000"/>
            <a:ext cx="5047593" cy="4576763"/>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FC93AC5E-9451-FF93-87DD-889A48A00DD1}"/>
              </a:ext>
            </a:extLst>
          </p:cNvPr>
          <p:cNvSpPr>
            <a:spLocks noGrp="1"/>
          </p:cNvSpPr>
          <p:nvPr>
            <p:ph type="ftr" sz="quarter" idx="18"/>
          </p:nvPr>
        </p:nvSpPr>
        <p:spPr>
          <a:xfrm>
            <a:off x="287963" y="6408000"/>
            <a:ext cx="2477765" cy="190500"/>
          </a:xfrm>
        </p:spPr>
        <p:txBody>
          <a:bodyPr/>
          <a:lstStyle/>
          <a:p>
            <a:endParaRPr lang="en-US"/>
          </a:p>
        </p:txBody>
      </p:sp>
      <p:sp>
        <p:nvSpPr>
          <p:cNvPr id="8" name="Slide Number">
            <a:extLst>
              <a:ext uri="{FF2B5EF4-FFF2-40B4-BE49-F238E27FC236}">
                <a16:creationId xmlns:a16="http://schemas.microsoft.com/office/drawing/2014/main" id="{D1F6E83E-BB80-D71A-7819-884C0CD4799E}"/>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841031506"/>
      </p:ext>
    </p:extLst>
  </p:cSld>
  <p:clrMapOvr>
    <a:masterClrMapping/>
  </p:clrMapOvr>
  <p:transition spd="med"/>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ext, 1 wide column,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6"/>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2554" y="192024"/>
            <a:ext cx="2477765" cy="570706"/>
          </a:xfrm>
          <a:prstGeom prst="rect">
            <a:avLst/>
          </a:prstGeom>
        </p:spPr>
        <p:txBody>
          <a:bodyPr/>
          <a:lstStyle>
            <a:lvl1pPr>
              <a:lnSpc>
                <a:spcPct val="100000"/>
              </a:lnSpc>
              <a:spcBef>
                <a:spcPts val="0"/>
              </a:spcBef>
              <a:defRPr sz="3199" b="0" i="0">
                <a:solidFill>
                  <a:schemeClr val="tx2"/>
                </a:solidFill>
                <a:latin typeface="IBM Plex Sans Light" panose="020B0403050203000203" pitchFamily="34" charset="0"/>
              </a:defRPr>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2" name="Text Placeholder 6">
            <a:extLst>
              <a:ext uri="{FF2B5EF4-FFF2-40B4-BE49-F238E27FC236}">
                <a16:creationId xmlns:a16="http://schemas.microsoft.com/office/drawing/2014/main" id="{AD98038E-FA9A-2E7F-DE4F-45D37F116DFD}"/>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ext Placeholder 6">
            <a:extLst>
              <a:ext uri="{FF2B5EF4-FFF2-40B4-BE49-F238E27FC236}">
                <a16:creationId xmlns:a16="http://schemas.microsoft.com/office/drawing/2014/main" id="{2B3FDBEC-0A0D-82A4-F347-00CE8AD711B9}"/>
              </a:ext>
            </a:extLst>
          </p:cNvPr>
          <p:cNvSpPr>
            <a:spLocks noGrp="1"/>
          </p:cNvSpPr>
          <p:nvPr>
            <p:ph type="body" sz="quarter" idx="21"/>
          </p:nvPr>
        </p:nvSpPr>
        <p:spPr>
          <a:xfrm>
            <a:off x="6368781" y="1714500"/>
            <a:ext cx="509125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259609462"/>
      </p:ext>
    </p:extLst>
  </p:cSld>
  <p:clrMapOvr>
    <a:masterClrMapping/>
  </p:clrMapOvr>
  <p:transition spd="med"/>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ext, 2 wid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87999" y="192600"/>
            <a:ext cx="3711980" cy="95329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Text Placeholder 6">
            <a:extLst>
              <a:ext uri="{FF2B5EF4-FFF2-40B4-BE49-F238E27FC236}">
                <a16:creationId xmlns:a16="http://schemas.microsoft.com/office/drawing/2014/main" id="{5377FA90-E771-AC82-090E-6FBBAE2633AB}"/>
              </a:ext>
            </a:extLst>
          </p:cNvPr>
          <p:cNvSpPr>
            <a:spLocks noGrp="1"/>
          </p:cNvSpPr>
          <p:nvPr>
            <p:ph type="body" sz="quarter" idx="20"/>
          </p:nvPr>
        </p:nvSpPr>
        <p:spPr>
          <a:xfrm>
            <a:off x="6368781" y="1714500"/>
            <a:ext cx="509125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6">
            <a:extLst>
              <a:ext uri="{FF2B5EF4-FFF2-40B4-BE49-F238E27FC236}">
                <a16:creationId xmlns:a16="http://schemas.microsoft.com/office/drawing/2014/main" id="{83C39AE1-8603-84DA-CC2F-0C36A1C9D153}"/>
              </a:ext>
            </a:extLst>
          </p:cNvPr>
          <p:cNvSpPr>
            <a:spLocks noGrp="1"/>
          </p:cNvSpPr>
          <p:nvPr>
            <p:ph type="body" sz="quarter" idx="21"/>
          </p:nvPr>
        </p:nvSpPr>
        <p:spPr>
          <a:xfrm>
            <a:off x="287999" y="1714500"/>
            <a:ext cx="509125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867425530"/>
      </p:ext>
    </p:extLst>
  </p:cSld>
  <p:clrMapOvr>
    <a:masterClrMapping/>
  </p:clrMapOvr>
  <p:transition spd="med"/>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ext, 2 columns,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9" y="192024"/>
            <a:ext cx="5522193" cy="2286794"/>
          </a:xfrm>
        </p:spPr>
        <p:txBody>
          <a:bodyPr rIns="457200"/>
          <a:lstStyle>
            <a:lvl1pPr>
              <a:lnSpc>
                <a:spcPct val="100000"/>
              </a:lnSpc>
              <a:defRPr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Text Placeholder 6">
            <a:extLst>
              <a:ext uri="{FF2B5EF4-FFF2-40B4-BE49-F238E27FC236}">
                <a16:creationId xmlns:a16="http://schemas.microsoft.com/office/drawing/2014/main" id="{A3A4153E-E96A-682A-6ADB-86D8329C1B21}"/>
              </a:ext>
            </a:extLst>
          </p:cNvPr>
          <p:cNvSpPr>
            <a:spLocks noGrp="1"/>
          </p:cNvSpPr>
          <p:nvPr>
            <p:ph type="body" sz="quarter" idx="10"/>
          </p:nvPr>
        </p:nvSpPr>
        <p:spPr>
          <a:xfrm>
            <a:off x="6386899" y="192022"/>
            <a:ext cx="2481638" cy="5715794"/>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6">
            <a:extLst>
              <a:ext uri="{FF2B5EF4-FFF2-40B4-BE49-F238E27FC236}">
                <a16:creationId xmlns:a16="http://schemas.microsoft.com/office/drawing/2014/main" id="{8AA778F7-DDE5-2F6E-F5FA-F5B0F120E06A}"/>
              </a:ext>
            </a:extLst>
          </p:cNvPr>
          <p:cNvSpPr>
            <a:spLocks noGrp="1"/>
          </p:cNvSpPr>
          <p:nvPr>
            <p:ph type="body" sz="quarter" idx="20"/>
          </p:nvPr>
        </p:nvSpPr>
        <p:spPr>
          <a:xfrm>
            <a:off x="9422364" y="192023"/>
            <a:ext cx="2481638" cy="571579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790806283"/>
      </p:ext>
    </p:extLst>
  </p:cSld>
  <p:clrMapOvr>
    <a:masterClrMapping/>
  </p:clrMapOvr>
  <p:transition spd="med"/>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ext, 2 columns,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8" y="192600"/>
            <a:ext cx="2476178" cy="2286794"/>
          </a:xfrm>
        </p:spPr>
        <p:txBody>
          <a:bodyPr/>
          <a:lstStyle>
            <a:lvl1pPr>
              <a:lnSpc>
                <a:spcPct val="100000"/>
              </a:lnSpc>
              <a:defRPr sz="2200"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6" name="Text Placeholder 6">
            <a:extLst>
              <a:ext uri="{FF2B5EF4-FFF2-40B4-BE49-F238E27FC236}">
                <a16:creationId xmlns:a16="http://schemas.microsoft.com/office/drawing/2014/main" id="{138C4317-85BF-2C36-29AD-9974CF6DE93C}"/>
              </a:ext>
            </a:extLst>
          </p:cNvPr>
          <p:cNvSpPr>
            <a:spLocks noGrp="1"/>
          </p:cNvSpPr>
          <p:nvPr>
            <p:ph type="body" sz="quarter" idx="10"/>
          </p:nvPr>
        </p:nvSpPr>
        <p:spPr>
          <a:xfrm>
            <a:off x="6386899" y="192022"/>
            <a:ext cx="2481638" cy="5715794"/>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11D0A98E-CDEF-685C-25C7-E4EA3AFDCDFD}"/>
              </a:ext>
            </a:extLst>
          </p:cNvPr>
          <p:cNvSpPr>
            <a:spLocks noGrp="1"/>
          </p:cNvSpPr>
          <p:nvPr>
            <p:ph type="body" sz="quarter" idx="20"/>
          </p:nvPr>
        </p:nvSpPr>
        <p:spPr>
          <a:xfrm>
            <a:off x="9422364" y="192023"/>
            <a:ext cx="2481638" cy="571579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851397667"/>
      </p:ext>
    </p:extLst>
  </p:cSld>
  <p:clrMapOvr>
    <a:masterClrMapping/>
  </p:clrMapOvr>
  <p:transition spd="med"/>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9" y="192024"/>
            <a:ext cx="5519019" cy="2286794"/>
          </a:xfrm>
        </p:spPr>
        <p:txBody>
          <a:bodyPr rIns="457200"/>
          <a:lstStyle>
            <a:lvl1pPr>
              <a:lnSpc>
                <a:spcPct val="100000"/>
              </a:lnSpc>
              <a:defRPr b="0" i="0">
                <a:solidFill>
                  <a:schemeClr val="tx2"/>
                </a:solidFill>
                <a:latin typeface="IBM Plex Sans Light" panose="020B0403050203000203" pitchFamily="34" charset="0"/>
              </a:defRPr>
            </a:lvl1pPr>
          </a:lstStyle>
          <a:p>
            <a:r>
              <a:rPr lang="en-US"/>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1" name="Text Placeholder 6">
            <a:extLst>
              <a:ext uri="{FF2B5EF4-FFF2-40B4-BE49-F238E27FC236}">
                <a16:creationId xmlns:a16="http://schemas.microsoft.com/office/drawing/2014/main" id="{4401EF50-EF95-0C87-38FD-2E0B9FD3E33F}"/>
              </a:ext>
            </a:extLst>
          </p:cNvPr>
          <p:cNvSpPr>
            <a:spLocks noGrp="1"/>
          </p:cNvSpPr>
          <p:nvPr>
            <p:ph type="body" sz="quarter" idx="10"/>
          </p:nvPr>
        </p:nvSpPr>
        <p:spPr>
          <a:xfrm>
            <a:off x="6393058"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A7715D83-2EB0-631E-31DF-DAE49EE10509}"/>
              </a:ext>
            </a:extLst>
          </p:cNvPr>
          <p:cNvSpPr>
            <a:spLocks noGrp="1"/>
          </p:cNvSpPr>
          <p:nvPr>
            <p:ph type="body" sz="quarter" idx="21"/>
          </p:nvPr>
        </p:nvSpPr>
        <p:spPr>
          <a:xfrm>
            <a:off x="9428523" y="1714501"/>
            <a:ext cx="2481638" cy="4286249"/>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6">
            <a:extLst>
              <a:ext uri="{FF2B5EF4-FFF2-40B4-BE49-F238E27FC236}">
                <a16:creationId xmlns:a16="http://schemas.microsoft.com/office/drawing/2014/main" id="{72EE4CB5-8991-123D-EBF8-1ED34CC50FE6}"/>
              </a:ext>
            </a:extLst>
          </p:cNvPr>
          <p:cNvSpPr>
            <a:spLocks noGrp="1"/>
          </p:cNvSpPr>
          <p:nvPr>
            <p:ph type="body" sz="quarter" idx="22"/>
          </p:nvPr>
        </p:nvSpPr>
        <p:spPr>
          <a:xfrm>
            <a:off x="6393058" y="192024"/>
            <a:ext cx="2481638" cy="762794"/>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4ACB30C-F320-75FA-F4BC-8A4103FF2F36}"/>
              </a:ext>
            </a:extLst>
          </p:cNvPr>
          <p:cNvSpPr>
            <a:spLocks noGrp="1"/>
          </p:cNvSpPr>
          <p:nvPr>
            <p:ph type="body" sz="quarter" idx="23"/>
          </p:nvPr>
        </p:nvSpPr>
        <p:spPr>
          <a:xfrm>
            <a:off x="9422364" y="192024"/>
            <a:ext cx="2481638" cy="762794"/>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824139166"/>
      </p:ext>
    </p:extLst>
  </p:cSld>
  <p:clrMapOvr>
    <a:masterClrMapping/>
  </p:clrMapOvr>
  <p:transition spd="med"/>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8" y="192600"/>
            <a:ext cx="2474591" cy="2286794"/>
          </a:xfrm>
        </p:spPr>
        <p:txBody>
          <a:bodyPr rIns="0"/>
          <a:lstStyle>
            <a:lvl1pPr>
              <a:lnSpc>
                <a:spcPct val="100000"/>
              </a:lnSpc>
              <a:defRPr sz="2200" b="0" i="0">
                <a:solidFill>
                  <a:schemeClr val="tx2"/>
                </a:solidFill>
                <a:latin typeface="IBM Plex Sans Light" panose="020B0403050203000203" pitchFamily="34" charset="0"/>
              </a:defRPr>
            </a:lvl1pPr>
          </a:lstStyle>
          <a:p>
            <a:r>
              <a:rPr lang="en-US"/>
              <a:t>Click to edit Master title style</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7" name="Text Placeholder 6">
            <a:extLst>
              <a:ext uri="{FF2B5EF4-FFF2-40B4-BE49-F238E27FC236}">
                <a16:creationId xmlns:a16="http://schemas.microsoft.com/office/drawing/2014/main" id="{C320D13A-B2E3-8109-F9A4-70AB45A14B5D}"/>
              </a:ext>
            </a:extLst>
          </p:cNvPr>
          <p:cNvSpPr>
            <a:spLocks noGrp="1"/>
          </p:cNvSpPr>
          <p:nvPr>
            <p:ph type="body" sz="quarter" idx="10"/>
          </p:nvPr>
        </p:nvSpPr>
        <p:spPr>
          <a:xfrm>
            <a:off x="6393058" y="1714500"/>
            <a:ext cx="2481638" cy="4286250"/>
          </a:xfrm>
          <a:prstGeom prst="rect">
            <a:avLst/>
          </a:prstGeom>
        </p:spPr>
        <p:txBody>
          <a:bodyPr/>
          <a:lstStyle>
            <a:lvl1pPr defTabSz="580528">
              <a:lnSpc>
                <a:spcPct val="100000"/>
              </a:lnSpc>
              <a:spcBef>
                <a:spcPts val="0"/>
              </a:spcBef>
              <a:defRPr sz="1400" b="0" i="0">
                <a:solidFill>
                  <a:schemeClr val="tx1"/>
                </a:solidFill>
                <a:latin typeface="IBM Plex Sans Light" panose="020B0403050203000203" pitchFamily="34" charset="0"/>
              </a:defRPr>
            </a:lvl1pPr>
            <a:lvl2pPr defTabSz="580528">
              <a:lnSpc>
                <a:spcPct val="100000"/>
              </a:lnSpc>
              <a:spcBef>
                <a:spcPts val="0"/>
              </a:spcBef>
              <a:defRPr sz="1400" b="0" i="0">
                <a:solidFill>
                  <a:schemeClr val="tx1"/>
                </a:solidFill>
                <a:latin typeface="IBM Plex Sans Light" panose="020B0403050203000203" pitchFamily="34" charset="0"/>
              </a:defRPr>
            </a:lvl2pPr>
            <a:lvl3pPr defTabSz="580528">
              <a:lnSpc>
                <a:spcPct val="100000"/>
              </a:lnSpc>
              <a:spcBef>
                <a:spcPts val="0"/>
              </a:spcBef>
              <a:defRPr sz="1400" b="0" i="0">
                <a:solidFill>
                  <a:schemeClr val="tx1"/>
                </a:solidFill>
                <a:latin typeface="IBM Plex Sans Light" panose="020B0403050203000203" pitchFamily="34" charset="0"/>
              </a:defRPr>
            </a:lvl3pPr>
            <a:lvl4pPr defTabSz="580528">
              <a:lnSpc>
                <a:spcPct val="100000"/>
              </a:lnSpc>
              <a:spcBef>
                <a:spcPts val="0"/>
              </a:spcBef>
              <a:defRPr sz="14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6">
            <a:extLst>
              <a:ext uri="{FF2B5EF4-FFF2-40B4-BE49-F238E27FC236}">
                <a16:creationId xmlns:a16="http://schemas.microsoft.com/office/drawing/2014/main" id="{974BDB94-1ECF-14DA-1C2A-F289E665E08B}"/>
              </a:ext>
            </a:extLst>
          </p:cNvPr>
          <p:cNvSpPr>
            <a:spLocks noGrp="1"/>
          </p:cNvSpPr>
          <p:nvPr>
            <p:ph type="body" sz="quarter" idx="21"/>
          </p:nvPr>
        </p:nvSpPr>
        <p:spPr>
          <a:xfrm>
            <a:off x="9428523" y="1714501"/>
            <a:ext cx="2481638" cy="4286249"/>
          </a:xfrm>
          <a:prstGeom prst="rect">
            <a:avLst/>
          </a:prstGeom>
        </p:spPr>
        <p:txBody>
          <a:bodyPr/>
          <a:lstStyle>
            <a:lvl1pPr defTabSz="580528">
              <a:lnSpc>
                <a:spcPct val="100000"/>
              </a:lnSpc>
              <a:spcBef>
                <a:spcPts val="0"/>
              </a:spcBef>
              <a:defRPr sz="1400" b="0" i="0">
                <a:solidFill>
                  <a:schemeClr val="tx1"/>
                </a:solidFill>
                <a:latin typeface="IBM Plex Sans Light" panose="020B0403050203000203" pitchFamily="34" charset="0"/>
              </a:defRPr>
            </a:lvl1pPr>
            <a:lvl2pPr defTabSz="580528">
              <a:lnSpc>
                <a:spcPct val="100000"/>
              </a:lnSpc>
              <a:spcBef>
                <a:spcPts val="0"/>
              </a:spcBef>
              <a:defRPr sz="1400" b="0" i="0">
                <a:solidFill>
                  <a:schemeClr val="tx1"/>
                </a:solidFill>
                <a:latin typeface="IBM Plex Sans Light" panose="020B0403050203000203" pitchFamily="34" charset="0"/>
              </a:defRPr>
            </a:lvl2pPr>
            <a:lvl3pPr defTabSz="580528">
              <a:lnSpc>
                <a:spcPct val="100000"/>
              </a:lnSpc>
              <a:spcBef>
                <a:spcPts val="0"/>
              </a:spcBef>
              <a:defRPr sz="1400" b="0" i="0">
                <a:solidFill>
                  <a:schemeClr val="tx1"/>
                </a:solidFill>
                <a:latin typeface="IBM Plex Sans Light" panose="020B0403050203000203" pitchFamily="34" charset="0"/>
              </a:defRPr>
            </a:lvl3pPr>
            <a:lvl4pPr defTabSz="580528">
              <a:lnSpc>
                <a:spcPct val="100000"/>
              </a:lnSpc>
              <a:spcBef>
                <a:spcPts val="0"/>
              </a:spcBef>
              <a:defRPr sz="14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6">
            <a:extLst>
              <a:ext uri="{FF2B5EF4-FFF2-40B4-BE49-F238E27FC236}">
                <a16:creationId xmlns:a16="http://schemas.microsoft.com/office/drawing/2014/main" id="{D6E55AA2-DCD0-9227-A831-24FD27E4CB54}"/>
              </a:ext>
            </a:extLst>
          </p:cNvPr>
          <p:cNvSpPr>
            <a:spLocks noGrp="1"/>
          </p:cNvSpPr>
          <p:nvPr>
            <p:ph type="body" sz="quarter" idx="22"/>
          </p:nvPr>
        </p:nvSpPr>
        <p:spPr>
          <a:xfrm>
            <a:off x="6393058" y="192024"/>
            <a:ext cx="2481638" cy="762794"/>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6">
            <a:extLst>
              <a:ext uri="{FF2B5EF4-FFF2-40B4-BE49-F238E27FC236}">
                <a16:creationId xmlns:a16="http://schemas.microsoft.com/office/drawing/2014/main" id="{08FF2718-83A0-A416-2862-0D7439636230}"/>
              </a:ext>
            </a:extLst>
          </p:cNvPr>
          <p:cNvSpPr>
            <a:spLocks noGrp="1"/>
          </p:cNvSpPr>
          <p:nvPr>
            <p:ph type="body" sz="quarter" idx="23"/>
          </p:nvPr>
        </p:nvSpPr>
        <p:spPr>
          <a:xfrm>
            <a:off x="9422364" y="192024"/>
            <a:ext cx="2481638" cy="762794"/>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695312690"/>
      </p:ext>
    </p:extLst>
  </p:cSld>
  <p:clrMapOvr>
    <a:masterClrMapping/>
  </p:clrMapOvr>
  <p:transition spd="med"/>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7"/>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4142" y="192024"/>
            <a:ext cx="2477765" cy="570706"/>
          </a:xfrm>
          <a:prstGeom prst="rect">
            <a:avLst/>
          </a:prstGeom>
        </p:spPr>
        <p:txBody>
          <a:bodyPr/>
          <a:lstStyle>
            <a:lvl1pPr>
              <a:lnSpc>
                <a:spcPct val="100000"/>
              </a:lnSpc>
              <a:spcBef>
                <a:spcPts val="0"/>
              </a:spcBef>
              <a:defRPr sz="3199" b="0" i="0">
                <a:solidFill>
                  <a:schemeClr val="tx2"/>
                </a:solidFill>
                <a:latin typeface="IBM Plex Sans Light" panose="020B0403050203000203" pitchFamily="34" charset="0"/>
              </a:defRPr>
            </a:lvl1pPr>
            <a:lvl2pPr>
              <a:lnSpc>
                <a:spcPct val="90000"/>
              </a:lnSpc>
              <a:spcBef>
                <a:spcPts val="0"/>
              </a:spcBef>
              <a:defRPr sz="1400"/>
            </a:lvl2pPr>
            <a:lvl3pPr>
              <a:lnSpc>
                <a:spcPct val="90000"/>
              </a:lnSpc>
              <a:spcBef>
                <a:spcPts val="0"/>
              </a:spcBef>
              <a:defRPr sz="1400"/>
            </a:lvl3pPr>
            <a:lvl4pPr>
              <a:lnSpc>
                <a:spcPct val="90000"/>
              </a:lnSpc>
              <a:spcBef>
                <a:spcPts val="0"/>
              </a:spcBef>
              <a:defRPr sz="1400"/>
            </a:lvl4pPr>
            <a:lvl5pPr>
              <a:lnSpc>
                <a:spcPct val="90000"/>
              </a:lnSpc>
              <a:spcBef>
                <a:spcPts val="0"/>
              </a:spcBef>
              <a:defRPr sz="14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6380919" y="288036"/>
            <a:ext cx="607997" cy="607231"/>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9428522" y="288036"/>
            <a:ext cx="608843" cy="608076"/>
          </a:xfrm>
          <a:prstGeom prst="rect">
            <a:avLst/>
          </a:prstGeom>
        </p:spPr>
        <p:txBody>
          <a:bodyPr anchor="ctr"/>
          <a:lstStyle>
            <a:lvl1pPr algn="ctr">
              <a:defRPr sz="800" b="0" i="0">
                <a:solidFill>
                  <a:schemeClr val="tx1"/>
                </a:solidFill>
                <a:latin typeface="IBM Plex Sans Light" panose="020B0403050203000203" pitchFamily="34" charset="0"/>
              </a:defRPr>
            </a:lvl1pPr>
          </a:lstStyle>
          <a:p>
            <a:r>
              <a:rPr lang="en-US"/>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609368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6" name="Text Placeholder 6">
            <a:extLst>
              <a:ext uri="{FF2B5EF4-FFF2-40B4-BE49-F238E27FC236}">
                <a16:creationId xmlns:a16="http://schemas.microsoft.com/office/drawing/2014/main" id="{C6703E2E-EBF0-C866-7278-E844AFCB3A5F}"/>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6">
            <a:extLst>
              <a:ext uri="{FF2B5EF4-FFF2-40B4-BE49-F238E27FC236}">
                <a16:creationId xmlns:a16="http://schemas.microsoft.com/office/drawing/2014/main" id="{BD2030D9-4E2C-5A41-AC60-E9DAA791E354}"/>
              </a:ext>
            </a:extLst>
          </p:cNvPr>
          <p:cNvSpPr>
            <a:spLocks noGrp="1"/>
          </p:cNvSpPr>
          <p:nvPr>
            <p:ph type="body" sz="quarter" idx="20"/>
          </p:nvPr>
        </p:nvSpPr>
        <p:spPr>
          <a:xfrm>
            <a:off x="6368781" y="1714501"/>
            <a:ext cx="2481638" cy="4286250"/>
          </a:xfrm>
          <a:prstGeom prst="rect">
            <a:avLst/>
          </a:prstGeom>
        </p:spPr>
        <p:txBody>
          <a:bodyPr/>
          <a:lstStyle>
            <a:lvl1pPr defTabSz="580528">
              <a:lnSpc>
                <a:spcPct val="100000"/>
              </a:lnSpc>
              <a:spcBef>
                <a:spcPts val="0"/>
              </a:spcBef>
              <a:defRPr sz="1400" b="0" i="0">
                <a:solidFill>
                  <a:schemeClr val="tx1"/>
                </a:solidFill>
                <a:latin typeface="IBM Plex Sans Light" panose="020B0403050203000203" pitchFamily="34" charset="0"/>
              </a:defRPr>
            </a:lvl1pPr>
            <a:lvl2pPr defTabSz="580528">
              <a:lnSpc>
                <a:spcPct val="100000"/>
              </a:lnSpc>
              <a:spcBef>
                <a:spcPts val="0"/>
              </a:spcBef>
              <a:defRPr sz="1400" b="0" i="0">
                <a:solidFill>
                  <a:schemeClr val="tx1"/>
                </a:solidFill>
                <a:latin typeface="IBM Plex Sans Light" panose="020B0403050203000203" pitchFamily="34" charset="0"/>
              </a:defRPr>
            </a:lvl2pPr>
            <a:lvl3pPr defTabSz="580528">
              <a:lnSpc>
                <a:spcPct val="100000"/>
              </a:lnSpc>
              <a:spcBef>
                <a:spcPts val="0"/>
              </a:spcBef>
              <a:defRPr sz="1400" b="0" i="0">
                <a:solidFill>
                  <a:schemeClr val="tx1"/>
                </a:solidFill>
                <a:latin typeface="IBM Plex Sans Light" panose="020B0403050203000203" pitchFamily="34" charset="0"/>
              </a:defRPr>
            </a:lvl3pPr>
            <a:lvl4pPr defTabSz="580528">
              <a:lnSpc>
                <a:spcPct val="100000"/>
              </a:lnSpc>
              <a:spcBef>
                <a:spcPts val="0"/>
              </a:spcBef>
              <a:defRPr sz="14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6">
            <a:extLst>
              <a:ext uri="{FF2B5EF4-FFF2-40B4-BE49-F238E27FC236}">
                <a16:creationId xmlns:a16="http://schemas.microsoft.com/office/drawing/2014/main" id="{2473B493-1BC7-D878-AEAA-C60A2D67B762}"/>
              </a:ext>
            </a:extLst>
          </p:cNvPr>
          <p:cNvSpPr>
            <a:spLocks noGrp="1"/>
          </p:cNvSpPr>
          <p:nvPr>
            <p:ph type="body" sz="quarter" idx="21"/>
          </p:nvPr>
        </p:nvSpPr>
        <p:spPr>
          <a:xfrm>
            <a:off x="9428523" y="1714501"/>
            <a:ext cx="2481638" cy="4286250"/>
          </a:xfrm>
          <a:prstGeom prst="rect">
            <a:avLst/>
          </a:prstGeom>
        </p:spPr>
        <p:txBody>
          <a:bodyPr/>
          <a:lstStyle>
            <a:lvl1pPr defTabSz="580528">
              <a:lnSpc>
                <a:spcPct val="100000"/>
              </a:lnSpc>
              <a:spcBef>
                <a:spcPts val="0"/>
              </a:spcBef>
              <a:defRPr sz="1400" b="0" i="0">
                <a:solidFill>
                  <a:schemeClr val="tx1"/>
                </a:solidFill>
                <a:latin typeface="IBM Plex Sans Light" panose="020B0403050203000203" pitchFamily="34" charset="0"/>
              </a:defRPr>
            </a:lvl1pPr>
            <a:lvl2pPr defTabSz="580528">
              <a:lnSpc>
                <a:spcPct val="100000"/>
              </a:lnSpc>
              <a:spcBef>
                <a:spcPts val="0"/>
              </a:spcBef>
              <a:defRPr sz="1400" b="0" i="0">
                <a:solidFill>
                  <a:schemeClr val="tx1"/>
                </a:solidFill>
                <a:latin typeface="IBM Plex Sans Light" panose="020B0403050203000203" pitchFamily="34" charset="0"/>
              </a:defRPr>
            </a:lvl2pPr>
            <a:lvl3pPr defTabSz="580528">
              <a:lnSpc>
                <a:spcPct val="100000"/>
              </a:lnSpc>
              <a:spcBef>
                <a:spcPts val="0"/>
              </a:spcBef>
              <a:defRPr sz="1400" b="0" i="0">
                <a:solidFill>
                  <a:schemeClr val="tx1"/>
                </a:solidFill>
                <a:latin typeface="IBM Plex Sans Light" panose="020B0403050203000203" pitchFamily="34" charset="0"/>
              </a:defRPr>
            </a:lvl3pPr>
            <a:lvl4pPr defTabSz="580528">
              <a:lnSpc>
                <a:spcPct val="100000"/>
              </a:lnSpc>
              <a:spcBef>
                <a:spcPts val="0"/>
              </a:spcBef>
              <a:defRPr sz="14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123023360"/>
      </p:ext>
    </p:extLst>
  </p:cSld>
  <p:clrMapOvr>
    <a:masterClrMapping/>
  </p:clrMapOvr>
  <p:transition spd="med"/>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87998" y="288036"/>
            <a:ext cx="607997" cy="608076"/>
          </a:xfrm>
          <a:prstGeom prst="rect">
            <a:avLst/>
          </a:prstGeom>
        </p:spPr>
        <p:txBody>
          <a:bodyPr anchor="ctr"/>
          <a:lstStyle>
            <a:lvl1pPr algn="ctr">
              <a:defRPr sz="800" b="0" i="0">
                <a:latin typeface="IBM Plex Sans Light" panose="020B0403050203000203" pitchFamily="34" charset="0"/>
              </a:defRPr>
            </a:lvl1pPr>
          </a:lstStyle>
          <a:p>
            <a:r>
              <a:rPr lang="en-US"/>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6380919" y="288036"/>
            <a:ext cx="607997" cy="608076"/>
          </a:xfrm>
          <a:prstGeom prst="rect">
            <a:avLst/>
          </a:prstGeom>
        </p:spPr>
        <p:txBody>
          <a:bodyPr anchor="ctr"/>
          <a:lstStyle>
            <a:lvl1pPr algn="ctr">
              <a:defRPr sz="800" b="0" i="0">
                <a:latin typeface="IBM Plex Sans Light" panose="020B0403050203000203" pitchFamily="34" charset="0"/>
              </a:defRPr>
            </a:lvl1pPr>
          </a:lstStyle>
          <a:p>
            <a:r>
              <a:rPr lang="en-US"/>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87998" y="3236976"/>
            <a:ext cx="607997" cy="608076"/>
          </a:xfrm>
          <a:prstGeom prst="rect">
            <a:avLst/>
          </a:prstGeom>
        </p:spPr>
        <p:txBody>
          <a:bodyPr anchor="ctr"/>
          <a:lstStyle>
            <a:lvl1pPr algn="ctr">
              <a:defRPr sz="800" b="0" i="0">
                <a:latin typeface="IBM Plex Sans Light" panose="020B0403050203000203" pitchFamily="34" charset="0"/>
              </a:defRPr>
            </a:lvl1pPr>
          </a:lstStyle>
          <a:p>
            <a:r>
              <a:rPr lang="en-US"/>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6380919" y="3238500"/>
            <a:ext cx="607997" cy="608076"/>
          </a:xfrm>
          <a:prstGeom prst="rect">
            <a:avLst/>
          </a:prstGeom>
        </p:spPr>
        <p:txBody>
          <a:bodyPr anchor="ctr"/>
          <a:lstStyle>
            <a:lvl1pPr algn="ctr">
              <a:defRPr sz="800" b="0" i="0">
                <a:latin typeface="IBM Plex Sans Light" panose="020B0403050203000203" pitchFamily="34" charset="0"/>
              </a:defRPr>
            </a:lvl1pPr>
          </a:lstStyle>
          <a:p>
            <a:r>
              <a:rPr lang="en-US"/>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6095206"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0" name="Text Placeholder 6">
            <a:extLst>
              <a:ext uri="{FF2B5EF4-FFF2-40B4-BE49-F238E27FC236}">
                <a16:creationId xmlns:a16="http://schemas.microsoft.com/office/drawing/2014/main" id="{FE4E8AF0-4192-FB86-9702-8592B301CAB8}"/>
              </a:ext>
            </a:extLst>
          </p:cNvPr>
          <p:cNvSpPr>
            <a:spLocks noGrp="1"/>
          </p:cNvSpPr>
          <p:nvPr>
            <p:ph type="body" sz="quarter" idx="22"/>
          </p:nvPr>
        </p:nvSpPr>
        <p:spPr>
          <a:xfrm>
            <a:off x="280252" y="1228296"/>
            <a:ext cx="3334903" cy="1533952"/>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B5744FFC-849B-8FBD-FF73-B21942BA087F}"/>
              </a:ext>
            </a:extLst>
          </p:cNvPr>
          <p:cNvSpPr>
            <a:spLocks noGrp="1"/>
          </p:cNvSpPr>
          <p:nvPr>
            <p:ph type="body" sz="quarter" idx="23"/>
          </p:nvPr>
        </p:nvSpPr>
        <p:spPr>
          <a:xfrm>
            <a:off x="6380920" y="1228296"/>
            <a:ext cx="3334903" cy="1533951"/>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6">
            <a:extLst>
              <a:ext uri="{FF2B5EF4-FFF2-40B4-BE49-F238E27FC236}">
                <a16:creationId xmlns:a16="http://schemas.microsoft.com/office/drawing/2014/main" id="{70A13E8E-060C-6E01-AB11-41A2190116B1}"/>
              </a:ext>
            </a:extLst>
          </p:cNvPr>
          <p:cNvSpPr>
            <a:spLocks noGrp="1"/>
          </p:cNvSpPr>
          <p:nvPr>
            <p:ph type="body" sz="quarter" idx="24"/>
          </p:nvPr>
        </p:nvSpPr>
        <p:spPr>
          <a:xfrm>
            <a:off x="287999" y="4181048"/>
            <a:ext cx="3334903" cy="1533949"/>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6">
            <a:extLst>
              <a:ext uri="{FF2B5EF4-FFF2-40B4-BE49-F238E27FC236}">
                <a16:creationId xmlns:a16="http://schemas.microsoft.com/office/drawing/2014/main" id="{3277838E-5792-202A-65F5-342AF0992EF8}"/>
              </a:ext>
            </a:extLst>
          </p:cNvPr>
          <p:cNvSpPr>
            <a:spLocks noGrp="1"/>
          </p:cNvSpPr>
          <p:nvPr>
            <p:ph type="body" sz="quarter" idx="25"/>
          </p:nvPr>
        </p:nvSpPr>
        <p:spPr>
          <a:xfrm>
            <a:off x="6388667" y="4181048"/>
            <a:ext cx="3334903" cy="1533946"/>
          </a:xfrm>
          <a:prstGeom prst="rect">
            <a:avLst/>
          </a:prstGeom>
        </p:spPr>
        <p:txBody>
          <a:bodyPr/>
          <a:lstStyle>
            <a:lvl1pPr defTabSz="580528">
              <a:lnSpc>
                <a:spcPct val="100000"/>
              </a:lnSpc>
              <a:spcBef>
                <a:spcPts val="0"/>
              </a:spcBef>
              <a:defRPr sz="2200" b="0" i="0">
                <a:solidFill>
                  <a:schemeClr val="tx1"/>
                </a:solidFill>
                <a:latin typeface="IBM Plex Sans Light" panose="020B0403050203000203" pitchFamily="34" charset="0"/>
              </a:defRPr>
            </a:lvl1pPr>
            <a:lvl2pPr defTabSz="580528">
              <a:lnSpc>
                <a:spcPct val="100000"/>
              </a:lnSpc>
              <a:spcBef>
                <a:spcPts val="0"/>
              </a:spcBef>
              <a:defRPr sz="2200" b="0" i="0">
                <a:solidFill>
                  <a:schemeClr val="tx1"/>
                </a:solidFill>
                <a:latin typeface="IBM Plex Sans Light" panose="020B0403050203000203" pitchFamily="34" charset="0"/>
              </a:defRPr>
            </a:lvl2pPr>
            <a:lvl3pPr defTabSz="580528">
              <a:lnSpc>
                <a:spcPct val="100000"/>
              </a:lnSpc>
              <a:spcBef>
                <a:spcPts val="0"/>
              </a:spcBef>
              <a:defRPr sz="2200" b="0" i="0">
                <a:solidFill>
                  <a:schemeClr val="tx1"/>
                </a:solidFill>
                <a:latin typeface="IBM Plex Sans Light" panose="020B0403050203000203" pitchFamily="34" charset="0"/>
              </a:defRPr>
            </a:lvl3pPr>
            <a:lvl4pPr defTabSz="580528">
              <a:lnSpc>
                <a:spcPct val="100000"/>
              </a:lnSpc>
              <a:spcBef>
                <a:spcPts val="0"/>
              </a:spcBef>
              <a:defRPr sz="22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56982112"/>
      </p:ext>
    </p:extLst>
  </p:cSld>
  <p:clrMapOvr>
    <a:masterClrMapping/>
  </p:clrMapOvr>
  <p:transition spd="med"/>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Boxes, 4 stacked,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8" y="841248"/>
            <a:ext cx="2857128" cy="1138428"/>
          </a:xfrm>
        </p:spPr>
        <p:txBody>
          <a:bodyPr/>
          <a:lstStyle>
            <a:lvl1pPr>
              <a:lnSpc>
                <a:spcPct val="100000"/>
              </a:lnSpc>
              <a:defRPr sz="2200"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192600"/>
            <a:ext cx="2477765" cy="570706"/>
          </a:xfrm>
          <a:prstGeom prst="rect">
            <a:avLst/>
          </a:prstGeom>
        </p:spPr>
        <p:txBody>
          <a:bodyPr/>
          <a:lstStyle>
            <a:lvl1pPr>
              <a:defRPr sz="1400" b="0" i="0">
                <a:solidFill>
                  <a:schemeClr val="tx2"/>
                </a:solidFill>
                <a:latin typeface="IBM Plex Sans Light" panose="020B0403050203000203" pitchFamily="34" charset="0"/>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Text Placeholder 6">
            <a:extLst>
              <a:ext uri="{FF2B5EF4-FFF2-40B4-BE49-F238E27FC236}">
                <a16:creationId xmlns:a16="http://schemas.microsoft.com/office/drawing/2014/main" id="{4FBB383F-F59D-AEC8-4D6C-AC28926B09FF}"/>
              </a:ext>
            </a:extLst>
          </p:cNvPr>
          <p:cNvSpPr>
            <a:spLocks noGrp="1"/>
          </p:cNvSpPr>
          <p:nvPr>
            <p:ph type="body" sz="quarter" idx="10"/>
          </p:nvPr>
        </p:nvSpPr>
        <p:spPr>
          <a:xfrm>
            <a:off x="6363186"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6053B001-EDB1-FA28-FFB0-F41FF2D33138}"/>
              </a:ext>
            </a:extLst>
          </p:cNvPr>
          <p:cNvSpPr>
            <a:spLocks noGrp="1"/>
          </p:cNvSpPr>
          <p:nvPr>
            <p:ph type="body" sz="quarter" idx="22"/>
          </p:nvPr>
        </p:nvSpPr>
        <p:spPr>
          <a:xfrm>
            <a:off x="9398651"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CD8F0E9F-03CA-D8CD-75A1-CB650A81E996}"/>
              </a:ext>
            </a:extLst>
          </p:cNvPr>
          <p:cNvSpPr>
            <a:spLocks noGrp="1"/>
          </p:cNvSpPr>
          <p:nvPr>
            <p:ph type="body" sz="quarter" idx="23"/>
          </p:nvPr>
        </p:nvSpPr>
        <p:spPr>
          <a:xfrm>
            <a:off x="6363186"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F16D24DB-6F94-3A9D-70FD-B96C2E9E8DB4}"/>
              </a:ext>
            </a:extLst>
          </p:cNvPr>
          <p:cNvSpPr>
            <a:spLocks noGrp="1"/>
          </p:cNvSpPr>
          <p:nvPr>
            <p:ph type="body" sz="quarter" idx="24"/>
          </p:nvPr>
        </p:nvSpPr>
        <p:spPr>
          <a:xfrm>
            <a:off x="9398651"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354072370"/>
      </p:ext>
    </p:extLst>
  </p:cSld>
  <p:clrMapOvr>
    <a:masterClrMapping/>
  </p:clrMapOvr>
  <p:transition spd="med"/>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Boxes, 4 stacked,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763524"/>
            <a:ext cx="5521401" cy="1138428"/>
          </a:xfrm>
        </p:spPr>
        <p:txBody>
          <a:bodyPr rIns="457200"/>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192600"/>
            <a:ext cx="2477765" cy="224028"/>
          </a:xfrm>
          <a:prstGeom prst="rect">
            <a:avLst/>
          </a:prstGeom>
        </p:spPr>
        <p:txBody>
          <a:bodyPr/>
          <a:lstStyle>
            <a:lvl1pPr>
              <a:lnSpc>
                <a:spcPct val="100000"/>
              </a:lnSpc>
              <a:defRPr sz="1400" b="0" i="0">
                <a:solidFill>
                  <a:schemeClr val="tx2"/>
                </a:solidFill>
                <a:latin typeface="IBM Plex Sans Light" panose="020B0403050203000203" pitchFamily="34" charset="0"/>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6363186"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9398651"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6363186"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9398651"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656248779"/>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7AA93F-CA1E-5126-49DD-E699BC114AE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7D356E0-DA02-9E72-20D8-45C96748CC6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7B04A78-99A1-B179-7EE6-6B29FF96BBE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9D9D925-5EF2-7236-4C0D-9E6F3B470061}"/>
              </a:ext>
            </a:extLst>
          </p:cNvPr>
          <p:cNvSpPr>
            <a:spLocks noGrp="1"/>
          </p:cNvSpPr>
          <p:nvPr>
            <p:ph type="dt" sz="half" idx="10"/>
          </p:nvPr>
        </p:nvSpPr>
        <p:spPr/>
        <p:txBody>
          <a:bodyPr/>
          <a:lstStyle/>
          <a:p>
            <a:fld id="{C1064F87-A3FE-7D41-BA7F-E073D7C6AC88}" type="datetimeFigureOut">
              <a:rPr lang="en-US" smtClean="0"/>
              <a:t>3/24/2025</a:t>
            </a:fld>
            <a:endParaRPr lang="en-US"/>
          </a:p>
        </p:txBody>
      </p:sp>
      <p:sp>
        <p:nvSpPr>
          <p:cNvPr id="6" name="Footer Placeholder 5">
            <a:extLst>
              <a:ext uri="{FF2B5EF4-FFF2-40B4-BE49-F238E27FC236}">
                <a16:creationId xmlns:a16="http://schemas.microsoft.com/office/drawing/2014/main" id="{D2DD66AC-6A00-55E8-D66F-3DEB1BD4C7E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57E30F8-2FA3-D3B9-E42B-8DFB3DDD2006}"/>
              </a:ext>
            </a:extLst>
          </p:cNvPr>
          <p:cNvSpPr>
            <a:spLocks noGrp="1"/>
          </p:cNvSpPr>
          <p:nvPr>
            <p:ph type="sldNum" sz="quarter" idx="12"/>
          </p:nvPr>
        </p:nvSpPr>
        <p:spPr/>
        <p:txBody>
          <a:bodyPr/>
          <a:lstStyle/>
          <a:p>
            <a:fld id="{DED3338A-C6D4-DE4D-B610-199F7004D0E1}" type="slidenum">
              <a:rPr lang="en-US" smtClean="0"/>
              <a:t>‹#›</a:t>
            </a:fld>
            <a:endParaRPr lang="en-US"/>
          </a:p>
        </p:txBody>
      </p:sp>
    </p:spTree>
    <p:extLst>
      <p:ext uri="{BB962C8B-B14F-4D97-AF65-F5344CB8AC3E}">
        <p14:creationId xmlns:p14="http://schemas.microsoft.com/office/powerpoint/2010/main" val="193252997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87963" y="288036"/>
            <a:ext cx="3711980" cy="953294"/>
          </a:xfrm>
        </p:spPr>
        <p:txBody>
          <a:bodyPr/>
          <a:lstStyle>
            <a:lvl1pPr>
              <a:lnSpc>
                <a:spcPct val="110000"/>
              </a:lnSpc>
              <a:defRPr sz="18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87963" y="1524000"/>
            <a:ext cx="5049180" cy="457676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6389168" y="1524000"/>
            <a:ext cx="5047593" cy="457676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C9E836C4-97D9-E198-E7C4-C2E94BADE6BD}"/>
              </a:ext>
            </a:extLst>
          </p:cNvPr>
          <p:cNvSpPr>
            <a:spLocks noGrp="1"/>
          </p:cNvSpPr>
          <p:nvPr>
            <p:ph type="ftr" sz="quarter" idx="18"/>
          </p:nvPr>
        </p:nvSpPr>
        <p:spPr>
          <a:xfrm>
            <a:off x="287963" y="6408000"/>
            <a:ext cx="2477765" cy="190500"/>
          </a:xfrm>
        </p:spPr>
        <p:txBody>
          <a:bodyPr/>
          <a:lstStyle/>
          <a:p>
            <a:endParaRPr lang="en-US"/>
          </a:p>
        </p:txBody>
      </p:sp>
      <p:sp>
        <p:nvSpPr>
          <p:cNvPr id="8" name="Slide Number">
            <a:extLst>
              <a:ext uri="{FF2B5EF4-FFF2-40B4-BE49-F238E27FC236}">
                <a16:creationId xmlns:a16="http://schemas.microsoft.com/office/drawing/2014/main" id="{A861A72C-9D4B-8178-79CE-382DDE87CD24}"/>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91253440"/>
      </p:ext>
    </p:extLst>
  </p:cSld>
  <p:clrMapOvr>
    <a:masterClrMapping/>
  </p:clrMapOvr>
  <p:transition spd="med"/>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Boxes, 4 horizontal,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192600"/>
            <a:ext cx="2477765" cy="2286794"/>
          </a:xfrm>
        </p:spPr>
        <p:txBody>
          <a:bodyPr/>
          <a:lstStyle>
            <a:lvl1pPr>
              <a:lnSpc>
                <a:spcPct val="100000"/>
              </a:lnSpc>
              <a:defRPr sz="2200"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7" name="Text Placeholder 6">
            <a:extLst>
              <a:ext uri="{FF2B5EF4-FFF2-40B4-BE49-F238E27FC236}">
                <a16:creationId xmlns:a16="http://schemas.microsoft.com/office/drawing/2014/main" id="{3E32141B-6D8C-ADDD-8D24-D2B360381383}"/>
              </a:ext>
            </a:extLst>
          </p:cNvPr>
          <p:cNvSpPr>
            <a:spLocks noGrp="1"/>
          </p:cNvSpPr>
          <p:nvPr>
            <p:ph type="body" sz="quarter" idx="23"/>
          </p:nvPr>
        </p:nvSpPr>
        <p:spPr>
          <a:xfrm>
            <a:off x="6363186"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7DBD6A3D-FB96-6A97-1F58-F61F03D37691}"/>
              </a:ext>
            </a:extLst>
          </p:cNvPr>
          <p:cNvSpPr>
            <a:spLocks noGrp="1"/>
          </p:cNvSpPr>
          <p:nvPr>
            <p:ph type="body" sz="quarter" idx="24"/>
          </p:nvPr>
        </p:nvSpPr>
        <p:spPr>
          <a:xfrm>
            <a:off x="9398651"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B54BA88F-5BD8-839D-33E8-DAC02350ACA1}"/>
              </a:ext>
            </a:extLst>
          </p:cNvPr>
          <p:cNvSpPr>
            <a:spLocks noGrp="1"/>
          </p:cNvSpPr>
          <p:nvPr>
            <p:ph type="body" sz="quarter" idx="25"/>
          </p:nvPr>
        </p:nvSpPr>
        <p:spPr>
          <a:xfrm>
            <a:off x="280252"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5BCA7C7E-4E8C-6B73-007A-21635527B083}"/>
              </a:ext>
            </a:extLst>
          </p:cNvPr>
          <p:cNvSpPr>
            <a:spLocks noGrp="1"/>
          </p:cNvSpPr>
          <p:nvPr>
            <p:ph type="body" sz="quarter" idx="26"/>
          </p:nvPr>
        </p:nvSpPr>
        <p:spPr>
          <a:xfrm>
            <a:off x="3315717"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38731149"/>
      </p:ext>
    </p:extLst>
  </p:cSld>
  <p:clrMapOvr>
    <a:masterClrMapping/>
  </p:clrMapOvr>
  <p:transition spd="med"/>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Boxes, 4 horizontal,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192024"/>
            <a:ext cx="5524575" cy="2286794"/>
          </a:xfrm>
        </p:spPr>
        <p:txBody>
          <a:bodyPr rIns="457200"/>
          <a:lstStyle>
            <a:lvl1pPr>
              <a:lnSpc>
                <a:spcPct val="100000"/>
              </a:lnSpc>
              <a:defRPr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lvl1pPr>
              <a:defRPr b="0" i="0">
                <a:latin typeface="IBM Plex Sans Light" panose="020B0403050203000203" pitchFamily="34" charset="0"/>
              </a:defRPr>
            </a:lvl1pPr>
          </a:lstStyle>
          <a:p>
            <a:endParaRPr lang="en-US"/>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Text Placeholder 6">
            <a:extLst>
              <a:ext uri="{FF2B5EF4-FFF2-40B4-BE49-F238E27FC236}">
                <a16:creationId xmlns:a16="http://schemas.microsoft.com/office/drawing/2014/main" id="{34340CDF-396E-8FEA-9F33-A868AEB7DE6A}"/>
              </a:ext>
            </a:extLst>
          </p:cNvPr>
          <p:cNvSpPr>
            <a:spLocks noGrp="1"/>
          </p:cNvSpPr>
          <p:nvPr>
            <p:ph type="body" sz="quarter" idx="23"/>
          </p:nvPr>
        </p:nvSpPr>
        <p:spPr>
          <a:xfrm>
            <a:off x="6363186"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6">
            <a:extLst>
              <a:ext uri="{FF2B5EF4-FFF2-40B4-BE49-F238E27FC236}">
                <a16:creationId xmlns:a16="http://schemas.microsoft.com/office/drawing/2014/main" id="{F04B77E5-DBD6-E6DD-D620-C878361A7BB4}"/>
              </a:ext>
            </a:extLst>
          </p:cNvPr>
          <p:cNvSpPr>
            <a:spLocks noGrp="1"/>
          </p:cNvSpPr>
          <p:nvPr>
            <p:ph type="body" sz="quarter" idx="24"/>
          </p:nvPr>
        </p:nvSpPr>
        <p:spPr>
          <a:xfrm>
            <a:off x="9398651"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AC83D79D-159D-684B-A0A2-E6DD61C3A503}"/>
              </a:ext>
            </a:extLst>
          </p:cNvPr>
          <p:cNvSpPr>
            <a:spLocks noGrp="1"/>
          </p:cNvSpPr>
          <p:nvPr>
            <p:ph type="body" sz="quarter" idx="25"/>
          </p:nvPr>
        </p:nvSpPr>
        <p:spPr>
          <a:xfrm>
            <a:off x="280252"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550B9EEB-A8EA-2744-D650-EC7233DAFF4D}"/>
              </a:ext>
            </a:extLst>
          </p:cNvPr>
          <p:cNvSpPr>
            <a:spLocks noGrp="1"/>
          </p:cNvSpPr>
          <p:nvPr>
            <p:ph type="body" sz="quarter" idx="26"/>
          </p:nvPr>
        </p:nvSpPr>
        <p:spPr>
          <a:xfrm>
            <a:off x="3315717" y="3328416"/>
            <a:ext cx="2481638" cy="266712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96301992"/>
      </p:ext>
    </p:extLst>
  </p:cSld>
  <p:clrMapOvr>
    <a:masterClrMapping/>
  </p:clrMapOvr>
  <p:transition spd="med"/>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Boxes, 6 stack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600"/>
            <a:ext cx="2474590" cy="228679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lvl1pPr>
              <a:defRPr b="0" i="0">
                <a:latin typeface="IBM Plex Sans Light" panose="020B0403050203000203" pitchFamily="34" charset="0"/>
              </a:defRPr>
            </a:lvl1pPr>
          </a:lstStyle>
          <a:p>
            <a:endParaRPr lang="en-US"/>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9" name="Text Placeholder 6">
            <a:extLst>
              <a:ext uri="{FF2B5EF4-FFF2-40B4-BE49-F238E27FC236}">
                <a16:creationId xmlns:a16="http://schemas.microsoft.com/office/drawing/2014/main" id="{B74FE312-96C3-0801-8AFE-48C53A3855EF}"/>
              </a:ext>
            </a:extLst>
          </p:cNvPr>
          <p:cNvSpPr>
            <a:spLocks noGrp="1"/>
          </p:cNvSpPr>
          <p:nvPr>
            <p:ph type="body" sz="quarter" idx="10"/>
          </p:nvPr>
        </p:nvSpPr>
        <p:spPr>
          <a:xfrm>
            <a:off x="6363186"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6">
            <a:extLst>
              <a:ext uri="{FF2B5EF4-FFF2-40B4-BE49-F238E27FC236}">
                <a16:creationId xmlns:a16="http://schemas.microsoft.com/office/drawing/2014/main" id="{BFE072FD-410A-B1CF-4BD5-EFE459133BB6}"/>
              </a:ext>
            </a:extLst>
          </p:cNvPr>
          <p:cNvSpPr>
            <a:spLocks noGrp="1"/>
          </p:cNvSpPr>
          <p:nvPr>
            <p:ph type="body" sz="quarter" idx="23"/>
          </p:nvPr>
        </p:nvSpPr>
        <p:spPr>
          <a:xfrm>
            <a:off x="9398651"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6">
            <a:extLst>
              <a:ext uri="{FF2B5EF4-FFF2-40B4-BE49-F238E27FC236}">
                <a16:creationId xmlns:a16="http://schemas.microsoft.com/office/drawing/2014/main" id="{1C0822F6-B969-1E92-CC74-0CBB1126A9C8}"/>
              </a:ext>
            </a:extLst>
          </p:cNvPr>
          <p:cNvSpPr>
            <a:spLocks noGrp="1"/>
          </p:cNvSpPr>
          <p:nvPr>
            <p:ph type="body" sz="quarter" idx="24"/>
          </p:nvPr>
        </p:nvSpPr>
        <p:spPr>
          <a:xfrm>
            <a:off x="6363186"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6">
            <a:extLst>
              <a:ext uri="{FF2B5EF4-FFF2-40B4-BE49-F238E27FC236}">
                <a16:creationId xmlns:a16="http://schemas.microsoft.com/office/drawing/2014/main" id="{F9AB4B51-7CBC-4B83-F837-82517C33FEBA}"/>
              </a:ext>
            </a:extLst>
          </p:cNvPr>
          <p:cNvSpPr>
            <a:spLocks noGrp="1"/>
          </p:cNvSpPr>
          <p:nvPr>
            <p:ph type="body" sz="quarter" idx="25"/>
          </p:nvPr>
        </p:nvSpPr>
        <p:spPr>
          <a:xfrm>
            <a:off x="9398651"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ext Placeholder 6">
            <a:extLst>
              <a:ext uri="{FF2B5EF4-FFF2-40B4-BE49-F238E27FC236}">
                <a16:creationId xmlns:a16="http://schemas.microsoft.com/office/drawing/2014/main" id="{4AB00072-45AF-510F-C146-BAC3B20406FD}"/>
              </a:ext>
            </a:extLst>
          </p:cNvPr>
          <p:cNvSpPr>
            <a:spLocks noGrp="1"/>
          </p:cNvSpPr>
          <p:nvPr>
            <p:ph type="body" sz="quarter" idx="26"/>
          </p:nvPr>
        </p:nvSpPr>
        <p:spPr>
          <a:xfrm>
            <a:off x="3332555" y="288036"/>
            <a:ext cx="2481638" cy="2572542"/>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Text Placeholder 6">
            <a:extLst>
              <a:ext uri="{FF2B5EF4-FFF2-40B4-BE49-F238E27FC236}">
                <a16:creationId xmlns:a16="http://schemas.microsoft.com/office/drawing/2014/main" id="{C4503F3E-D426-7E9E-BDBD-CDA2B731934A}"/>
              </a:ext>
            </a:extLst>
          </p:cNvPr>
          <p:cNvSpPr>
            <a:spLocks noGrp="1"/>
          </p:cNvSpPr>
          <p:nvPr>
            <p:ph type="body" sz="quarter" idx="27"/>
          </p:nvPr>
        </p:nvSpPr>
        <p:spPr>
          <a:xfrm>
            <a:off x="3332555" y="3333749"/>
            <a:ext cx="2481638" cy="2476499"/>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965786601"/>
      </p:ext>
    </p:extLst>
  </p:cSld>
  <p:clrMapOvr>
    <a:masterClrMapping/>
  </p:clrMapOvr>
  <p:transition spd="med"/>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Boxes, 6 stacked,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87999" y="192600"/>
            <a:ext cx="2474590" cy="142954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3333316" y="288036"/>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6380920" y="288036"/>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9428523" y="288036"/>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3333316" y="3347315"/>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6380920" y="3347315"/>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9428523" y="3347315"/>
            <a:ext cx="201142" cy="201613"/>
          </a:xfrm>
          <a:prstGeom prst="rect">
            <a:avLst/>
          </a:prstGeom>
        </p:spPr>
        <p:txBody>
          <a:bodyPr/>
          <a:lstStyle>
            <a:lvl1pPr>
              <a:defRPr sz="700" b="0" i="0">
                <a:solidFill>
                  <a:schemeClr val="tx1"/>
                </a:solidFill>
                <a:latin typeface="IBM Plex Sans Light" panose="020B0403050203000203" pitchFamily="34" charset="0"/>
              </a:defRPr>
            </a:lvl1pPr>
          </a:lstStyle>
          <a:p>
            <a:r>
              <a:rPr lang="en-US"/>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lvl1pPr>
              <a:defRPr b="0" i="0">
                <a:latin typeface="IBM Plex Sans Light" panose="020B0403050203000203" pitchFamily="34" charset="0"/>
              </a:defRPr>
            </a:lvl1pPr>
          </a:lstStyle>
          <a:p>
            <a:endParaRPr lang="en-US"/>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3047603" y="3048000"/>
            <a:ext cx="886027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Text Placeholder 6">
            <a:extLst>
              <a:ext uri="{FF2B5EF4-FFF2-40B4-BE49-F238E27FC236}">
                <a16:creationId xmlns:a16="http://schemas.microsoft.com/office/drawing/2014/main" id="{0784E564-F094-C65E-4C30-6AD26FD6AE47}"/>
              </a:ext>
            </a:extLst>
          </p:cNvPr>
          <p:cNvSpPr>
            <a:spLocks noGrp="1"/>
          </p:cNvSpPr>
          <p:nvPr>
            <p:ph type="body" sz="quarter" idx="10"/>
          </p:nvPr>
        </p:nvSpPr>
        <p:spPr>
          <a:xfrm>
            <a:off x="6363186" y="713705"/>
            <a:ext cx="2481638" cy="1858041"/>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5B384162-F420-216E-B250-BA49ED23AA36}"/>
              </a:ext>
            </a:extLst>
          </p:cNvPr>
          <p:cNvSpPr>
            <a:spLocks noGrp="1"/>
          </p:cNvSpPr>
          <p:nvPr>
            <p:ph type="body" sz="quarter" idx="24"/>
          </p:nvPr>
        </p:nvSpPr>
        <p:spPr>
          <a:xfrm>
            <a:off x="9398651" y="713705"/>
            <a:ext cx="2481638" cy="1858038"/>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6">
            <a:extLst>
              <a:ext uri="{FF2B5EF4-FFF2-40B4-BE49-F238E27FC236}">
                <a16:creationId xmlns:a16="http://schemas.microsoft.com/office/drawing/2014/main" id="{2D5D50EC-56AE-CB68-AF0D-967D997C2277}"/>
              </a:ext>
            </a:extLst>
          </p:cNvPr>
          <p:cNvSpPr>
            <a:spLocks noGrp="1"/>
          </p:cNvSpPr>
          <p:nvPr>
            <p:ph type="body" sz="quarter" idx="25"/>
          </p:nvPr>
        </p:nvSpPr>
        <p:spPr>
          <a:xfrm>
            <a:off x="6363186" y="3759417"/>
            <a:ext cx="2481638" cy="1860328"/>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95DF0382-EAC2-42E6-8F3C-D78D99701167}"/>
              </a:ext>
            </a:extLst>
          </p:cNvPr>
          <p:cNvSpPr>
            <a:spLocks noGrp="1"/>
          </p:cNvSpPr>
          <p:nvPr>
            <p:ph type="body" sz="quarter" idx="26"/>
          </p:nvPr>
        </p:nvSpPr>
        <p:spPr>
          <a:xfrm>
            <a:off x="9398651" y="3759418"/>
            <a:ext cx="2481638" cy="1860326"/>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6">
            <a:extLst>
              <a:ext uri="{FF2B5EF4-FFF2-40B4-BE49-F238E27FC236}">
                <a16:creationId xmlns:a16="http://schemas.microsoft.com/office/drawing/2014/main" id="{DD63E7DA-FA91-79CE-F137-C4CFF4237814}"/>
              </a:ext>
            </a:extLst>
          </p:cNvPr>
          <p:cNvSpPr>
            <a:spLocks noGrp="1"/>
          </p:cNvSpPr>
          <p:nvPr>
            <p:ph type="body" sz="quarter" idx="27"/>
          </p:nvPr>
        </p:nvSpPr>
        <p:spPr>
          <a:xfrm>
            <a:off x="3332555" y="713704"/>
            <a:ext cx="2481638" cy="1858041"/>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6">
            <a:extLst>
              <a:ext uri="{FF2B5EF4-FFF2-40B4-BE49-F238E27FC236}">
                <a16:creationId xmlns:a16="http://schemas.microsoft.com/office/drawing/2014/main" id="{03E415E0-33AF-4F69-4718-A13AF38331B2}"/>
              </a:ext>
            </a:extLst>
          </p:cNvPr>
          <p:cNvSpPr>
            <a:spLocks noGrp="1"/>
          </p:cNvSpPr>
          <p:nvPr>
            <p:ph type="body" sz="quarter" idx="28"/>
          </p:nvPr>
        </p:nvSpPr>
        <p:spPr>
          <a:xfrm>
            <a:off x="3332555" y="3759417"/>
            <a:ext cx="2481638" cy="1860327"/>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230121374"/>
      </p:ext>
    </p:extLst>
  </p:cSld>
  <p:clrMapOvr>
    <a:masterClrMapping/>
  </p:clrMapOvr>
  <p:transition spd="med"/>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192024"/>
            <a:ext cx="5519019" cy="1706563"/>
          </a:xfrm>
        </p:spPr>
        <p:txBody>
          <a:bodyPr rIns="457200"/>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5" name="Text Placeholder 6">
            <a:extLst>
              <a:ext uri="{FF2B5EF4-FFF2-40B4-BE49-F238E27FC236}">
                <a16:creationId xmlns:a16="http://schemas.microsoft.com/office/drawing/2014/main" id="{22EB5F78-B3F7-EBA1-BE53-B96CA397D9E3}"/>
              </a:ext>
            </a:extLst>
          </p:cNvPr>
          <p:cNvSpPr>
            <a:spLocks noGrp="1"/>
          </p:cNvSpPr>
          <p:nvPr>
            <p:ph type="body" sz="quarter" idx="10"/>
          </p:nvPr>
        </p:nvSpPr>
        <p:spPr>
          <a:xfrm>
            <a:off x="6363186"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6" name="Text Placeholder 6">
            <a:extLst>
              <a:ext uri="{FF2B5EF4-FFF2-40B4-BE49-F238E27FC236}">
                <a16:creationId xmlns:a16="http://schemas.microsoft.com/office/drawing/2014/main" id="{BFFEAD4C-1129-22EA-9ED5-9BE409A0C748}"/>
              </a:ext>
            </a:extLst>
          </p:cNvPr>
          <p:cNvSpPr>
            <a:spLocks noGrp="1"/>
          </p:cNvSpPr>
          <p:nvPr>
            <p:ph type="body" sz="quarter" idx="23"/>
          </p:nvPr>
        </p:nvSpPr>
        <p:spPr>
          <a:xfrm>
            <a:off x="9398651"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7" name="Text Placeholder 6">
            <a:extLst>
              <a:ext uri="{FF2B5EF4-FFF2-40B4-BE49-F238E27FC236}">
                <a16:creationId xmlns:a16="http://schemas.microsoft.com/office/drawing/2014/main" id="{91719EAC-72ED-B4B5-CA48-EB23C5EB8B0A}"/>
              </a:ext>
            </a:extLst>
          </p:cNvPr>
          <p:cNvSpPr>
            <a:spLocks noGrp="1"/>
          </p:cNvSpPr>
          <p:nvPr>
            <p:ph type="body" sz="quarter" idx="24"/>
          </p:nvPr>
        </p:nvSpPr>
        <p:spPr>
          <a:xfrm>
            <a:off x="6363186"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8" name="Text Placeholder 6">
            <a:extLst>
              <a:ext uri="{FF2B5EF4-FFF2-40B4-BE49-F238E27FC236}">
                <a16:creationId xmlns:a16="http://schemas.microsoft.com/office/drawing/2014/main" id="{28C9C88E-05A2-25E3-4571-C794E968D7FC}"/>
              </a:ext>
            </a:extLst>
          </p:cNvPr>
          <p:cNvSpPr>
            <a:spLocks noGrp="1"/>
          </p:cNvSpPr>
          <p:nvPr>
            <p:ph type="body" sz="quarter" idx="25"/>
          </p:nvPr>
        </p:nvSpPr>
        <p:spPr>
          <a:xfrm>
            <a:off x="9398651"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9" name="Text Placeholder 6">
            <a:extLst>
              <a:ext uri="{FF2B5EF4-FFF2-40B4-BE49-F238E27FC236}">
                <a16:creationId xmlns:a16="http://schemas.microsoft.com/office/drawing/2014/main" id="{D76302BE-E896-F153-8F88-B63A433B5C29}"/>
              </a:ext>
            </a:extLst>
          </p:cNvPr>
          <p:cNvSpPr>
            <a:spLocks noGrp="1"/>
          </p:cNvSpPr>
          <p:nvPr>
            <p:ph type="body" sz="quarter" idx="26"/>
          </p:nvPr>
        </p:nvSpPr>
        <p:spPr>
          <a:xfrm>
            <a:off x="287301" y="3332988"/>
            <a:ext cx="2481638" cy="2477257"/>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0" name="Text Placeholder 6">
            <a:extLst>
              <a:ext uri="{FF2B5EF4-FFF2-40B4-BE49-F238E27FC236}">
                <a16:creationId xmlns:a16="http://schemas.microsoft.com/office/drawing/2014/main" id="{FF14BC99-A0C2-45B6-C1F6-84D3EACEDF48}"/>
              </a:ext>
            </a:extLst>
          </p:cNvPr>
          <p:cNvSpPr>
            <a:spLocks noGrp="1"/>
          </p:cNvSpPr>
          <p:nvPr>
            <p:ph type="body" sz="quarter" idx="27"/>
          </p:nvPr>
        </p:nvSpPr>
        <p:spPr>
          <a:xfrm>
            <a:off x="3332555" y="3333749"/>
            <a:ext cx="2481638" cy="2476499"/>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344525973"/>
      </p:ext>
    </p:extLst>
  </p:cSld>
  <p:clrMapOvr>
    <a:masterClrMapping/>
  </p:clrMapOvr>
  <p:transition spd="med"/>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192600"/>
            <a:ext cx="2474590" cy="1706563"/>
          </a:xfrm>
        </p:spPr>
        <p:txBody>
          <a:bodyPr rIns="0"/>
          <a:lstStyle>
            <a:lvl1pPr>
              <a:lnSpc>
                <a:spcPct val="100000"/>
              </a:lnSpc>
              <a:defRPr sz="2200"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lvl1pPr>
              <a:defRPr b="0" i="0">
                <a:latin typeface="IBM Plex Sans Light" panose="020B0403050203000203" pitchFamily="34" charset="0"/>
              </a:defRPr>
            </a:lvl1pPr>
          </a:lstStyle>
          <a:p>
            <a:endParaRPr lang="en-US"/>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Text Placeholder 6">
            <a:extLst>
              <a:ext uri="{FF2B5EF4-FFF2-40B4-BE49-F238E27FC236}">
                <a16:creationId xmlns:a16="http://schemas.microsoft.com/office/drawing/2014/main" id="{FBA90B24-A7AA-EE26-4DF0-B0850F874CC1}"/>
              </a:ext>
            </a:extLst>
          </p:cNvPr>
          <p:cNvSpPr>
            <a:spLocks noGrp="1"/>
          </p:cNvSpPr>
          <p:nvPr>
            <p:ph type="body" sz="quarter" idx="20"/>
          </p:nvPr>
        </p:nvSpPr>
        <p:spPr>
          <a:xfrm>
            <a:off x="275969" y="3332987"/>
            <a:ext cx="2512742" cy="2477258"/>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6">
            <a:extLst>
              <a:ext uri="{FF2B5EF4-FFF2-40B4-BE49-F238E27FC236}">
                <a16:creationId xmlns:a16="http://schemas.microsoft.com/office/drawing/2014/main" id="{B293E5F0-8E0D-8611-485C-03E54EE01CAD}"/>
              </a:ext>
            </a:extLst>
          </p:cNvPr>
          <p:cNvSpPr>
            <a:spLocks noGrp="1"/>
          </p:cNvSpPr>
          <p:nvPr>
            <p:ph type="body" sz="quarter" idx="28"/>
          </p:nvPr>
        </p:nvSpPr>
        <p:spPr>
          <a:xfrm>
            <a:off x="3329263" y="3332988"/>
            <a:ext cx="2512742" cy="2477255"/>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7E5B5649-C746-EAC6-E506-88A5EE6297F2}"/>
              </a:ext>
            </a:extLst>
          </p:cNvPr>
          <p:cNvSpPr>
            <a:spLocks noGrp="1"/>
          </p:cNvSpPr>
          <p:nvPr>
            <p:ph type="body" sz="quarter" idx="29"/>
          </p:nvPr>
        </p:nvSpPr>
        <p:spPr>
          <a:xfrm>
            <a:off x="6361876" y="3350711"/>
            <a:ext cx="2512742" cy="245953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D1C336AE-32DC-6A3D-A0A5-FD3BEEE59FD9}"/>
              </a:ext>
            </a:extLst>
          </p:cNvPr>
          <p:cNvSpPr>
            <a:spLocks noGrp="1"/>
          </p:cNvSpPr>
          <p:nvPr>
            <p:ph type="body" sz="quarter" idx="30"/>
          </p:nvPr>
        </p:nvSpPr>
        <p:spPr>
          <a:xfrm>
            <a:off x="9394676" y="3332988"/>
            <a:ext cx="2489064" cy="2477249"/>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58F4A404-A74C-F889-564A-6677AB4E33D2}"/>
              </a:ext>
            </a:extLst>
          </p:cNvPr>
          <p:cNvSpPr>
            <a:spLocks noGrp="1"/>
          </p:cNvSpPr>
          <p:nvPr>
            <p:ph type="body" sz="quarter" idx="31"/>
          </p:nvPr>
        </p:nvSpPr>
        <p:spPr>
          <a:xfrm>
            <a:off x="9404886" y="288037"/>
            <a:ext cx="2489064"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4D20BC60-A254-2972-5466-846B4E395A1C}"/>
              </a:ext>
            </a:extLst>
          </p:cNvPr>
          <p:cNvSpPr>
            <a:spLocks noGrp="1"/>
          </p:cNvSpPr>
          <p:nvPr>
            <p:ph type="body" sz="quarter" idx="32"/>
          </p:nvPr>
        </p:nvSpPr>
        <p:spPr>
          <a:xfrm>
            <a:off x="6345360" y="288036"/>
            <a:ext cx="2489064" cy="257254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510506801"/>
      </p:ext>
    </p:extLst>
  </p:cSld>
  <p:clrMapOvr>
    <a:masterClrMapping/>
  </p:clrMapOvr>
  <p:transition spd="med"/>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Video or imagery, half,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endParaRPr lang="en-US"/>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6380919" y="284956"/>
            <a:ext cx="5523781" cy="6287294"/>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275969" y="1714500"/>
            <a:ext cx="2485921"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3334110" y="1714500"/>
            <a:ext cx="2485921"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894445765"/>
      </p:ext>
    </p:extLst>
  </p:cSld>
  <p:clrMapOvr>
    <a:masterClrMapping/>
  </p:clrMapOvr>
  <p:transition spd="med"/>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Video or imagery, 3/4, ble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70866" y="6452314"/>
            <a:ext cx="133834" cy="123111"/>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3047603" y="0"/>
            <a:ext cx="9144397" cy="685800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7" name="Text Placeholder 6">
            <a:extLst>
              <a:ext uri="{FF2B5EF4-FFF2-40B4-BE49-F238E27FC236}">
                <a16:creationId xmlns:a16="http://schemas.microsoft.com/office/drawing/2014/main" id="{C7581521-9341-A586-10B8-D3CD3EBBADFC}"/>
              </a:ext>
            </a:extLst>
          </p:cNvPr>
          <p:cNvSpPr>
            <a:spLocks noGrp="1"/>
          </p:cNvSpPr>
          <p:nvPr>
            <p:ph type="body" sz="quarter" idx="20"/>
          </p:nvPr>
        </p:nvSpPr>
        <p:spPr>
          <a:xfrm>
            <a:off x="275969" y="1714500"/>
            <a:ext cx="2485921"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804034770"/>
      </p:ext>
    </p:extLst>
  </p:cSld>
  <p:clrMapOvr>
    <a:masterClrMapping/>
  </p:clrMapOvr>
  <p:transition spd="med"/>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Video or imagery, 3/4,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70866" y="6452314"/>
            <a:ext cx="133834" cy="123111"/>
          </a:xfrm>
          <a:prstGeom prst="rect">
            <a:avLst/>
          </a:prstGeom>
        </p:spPr>
        <p:txBody>
          <a:bodyPr/>
          <a:lstStyle>
            <a:lvl1pPr>
              <a:defRPr b="0" i="0">
                <a:latin typeface="IBM Plex Sans Light" panose="020B0403050203000203" pitchFamily="34" charset="0"/>
              </a:defRPr>
            </a:lvl1pPr>
          </a:lstStyle>
          <a:p>
            <a:fld id="{86CB4B4D-7CA3-9044-876B-883B54F8677D}" type="slidenum">
              <a:rPr lang="en-US" smtClean="0"/>
              <a:pPr/>
              <a:t>‹#›</a:t>
            </a:fld>
            <a:endParaRPr lang="en-US"/>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lvl1pPr>
              <a:defRPr b="0" i="0">
                <a:latin typeface="IBM Plex Sans Light" panose="020B0403050203000203" pitchFamily="34" charset="0"/>
              </a:defRPr>
            </a:lvl1pPr>
          </a:lstStyle>
          <a:p>
            <a:endParaRPr lang="en-US"/>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3333316" y="282575"/>
            <a:ext cx="8574559" cy="6289675"/>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5" name="Text Placeholder 6">
            <a:extLst>
              <a:ext uri="{FF2B5EF4-FFF2-40B4-BE49-F238E27FC236}">
                <a16:creationId xmlns:a16="http://schemas.microsoft.com/office/drawing/2014/main" id="{4D171C2C-D5EE-B66A-FC5F-45245937D132}"/>
              </a:ext>
            </a:extLst>
          </p:cNvPr>
          <p:cNvSpPr>
            <a:spLocks noGrp="1"/>
          </p:cNvSpPr>
          <p:nvPr>
            <p:ph type="body" sz="quarter" idx="19"/>
          </p:nvPr>
        </p:nvSpPr>
        <p:spPr>
          <a:xfrm>
            <a:off x="281498"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370663278"/>
      </p:ext>
    </p:extLst>
  </p:cSld>
  <p:clrMapOvr>
    <a:masterClrMapping/>
  </p:clrMapOvr>
  <p:transition spd="med"/>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Video or imagery, blee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70048" y="6452314"/>
            <a:ext cx="134652" cy="123111"/>
          </a:xfrm>
          <a:prstGeom prst="rect">
            <a:avLst/>
          </a:prstGeom>
        </p:spPr>
        <p:txBody>
          <a:bodyPr/>
          <a:lstStyle/>
          <a:p>
            <a:fld id="{86CB4B4D-7CA3-9044-876B-883B54F8677D}" type="slidenum">
              <a:rPr lang="en-US" smtClean="0"/>
              <a:t>‹#›</a:t>
            </a:fld>
            <a:endParaRPr lang="en-US"/>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12192000" cy="6858000"/>
          </a:xfrm>
          <a:prstGeom prst="rect">
            <a:avLst/>
          </a:prstGeo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503410908"/>
      </p:ext>
    </p:extLst>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63" y="192024"/>
            <a:ext cx="5517527" cy="2105089"/>
          </a:xfrm>
        </p:spPr>
        <p:txBody>
          <a:bodyPr rIns="457200"/>
          <a:lstStyle>
            <a:lvl1pPr>
              <a:lnSpc>
                <a:spcPct val="100000"/>
              </a:lnSpc>
              <a:defRPr sz="3399">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2507" y="288035"/>
            <a:ext cx="2474590" cy="5809552"/>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30110" y="288035"/>
            <a:ext cx="2470622" cy="5809552"/>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A8BE2778-A9AA-3756-3479-C4A6DD4F0F00}"/>
              </a:ext>
            </a:extLst>
          </p:cNvPr>
          <p:cNvSpPr>
            <a:spLocks noGrp="1"/>
          </p:cNvSpPr>
          <p:nvPr>
            <p:ph type="ftr" sz="quarter" idx="18"/>
          </p:nvPr>
        </p:nvSpPr>
        <p:spPr>
          <a:xfrm>
            <a:off x="287963" y="6408000"/>
            <a:ext cx="2477765" cy="190500"/>
          </a:xfrm>
        </p:spPr>
        <p:txBody>
          <a:bodyPr/>
          <a:lstStyle/>
          <a:p>
            <a:endParaRPr lang="en-US"/>
          </a:p>
        </p:txBody>
      </p:sp>
      <p:sp>
        <p:nvSpPr>
          <p:cNvPr id="8" name="Slide Number">
            <a:extLst>
              <a:ext uri="{FF2B5EF4-FFF2-40B4-BE49-F238E27FC236}">
                <a16:creationId xmlns:a16="http://schemas.microsoft.com/office/drawing/2014/main" id="{31D49C41-81F4-5A73-2F6D-EF2D5E383721}"/>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736463144"/>
      </p:ext>
    </p:extLst>
  </p:cSld>
  <p:clrMapOvr>
    <a:masterClrMapping/>
  </p:clrMapOvr>
  <p:transition spd="med"/>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Video or imagery, inse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70048" y="6452314"/>
            <a:ext cx="134652" cy="123111"/>
          </a:xfrm>
          <a:prstGeom prst="rect">
            <a:avLst/>
          </a:prstGeom>
        </p:spPr>
        <p:txBody>
          <a:bodyPr/>
          <a:lstStyle/>
          <a:p>
            <a:fld id="{86CB4B4D-7CA3-9044-876B-883B54F8677D}" type="slidenum">
              <a:rPr lang="en-US" smtClean="0"/>
              <a:t>‹#›</a:t>
            </a:fld>
            <a:endParaRPr lang="en-US"/>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84126" y="284957"/>
            <a:ext cx="11620574" cy="6290468"/>
          </a:xfrm>
          <a:prstGeom prst="rect">
            <a:avLst/>
          </a:prstGeo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858829255"/>
      </p:ext>
    </p:extLst>
  </p:cSld>
  <p:clrMapOvr>
    <a:masterClrMapping/>
  </p:clrMapOvr>
  <p:transition spd="med"/>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Contacts, profiles, contributor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87999" y="3058561"/>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87999" y="4762500"/>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lvl1pPr>
              <a:defRPr b="0" i="0">
                <a:latin typeface="IBM Plex Sans Light" panose="020B0403050203000203" pitchFamily="34" charset="0"/>
              </a:defRPr>
            </a:lvl1pPr>
          </a:lstStyle>
          <a:p>
            <a:endParaRPr lang="en-US"/>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87999" y="1309437"/>
            <a:ext cx="1236501" cy="12382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6377745" y="3060700"/>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6377745" y="4762500"/>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6377745" y="1333500"/>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9" name="Picture Placeholder 7">
            <a:extLst>
              <a:ext uri="{FF2B5EF4-FFF2-40B4-BE49-F238E27FC236}">
                <a16:creationId xmlns:a16="http://schemas.microsoft.com/office/drawing/2014/main" id="{2BD9F85F-FC85-6E91-ADD3-38F0F5BEE2E9}"/>
              </a:ext>
            </a:extLst>
          </p:cNvPr>
          <p:cNvSpPr>
            <a:spLocks noGrp="1"/>
          </p:cNvSpPr>
          <p:nvPr>
            <p:ph type="pic" sz="quarter" idx="31" hasCustomPrompt="1"/>
          </p:nvPr>
        </p:nvSpPr>
        <p:spPr>
          <a:xfrm>
            <a:off x="6381618" y="3058561"/>
            <a:ext cx="1163957"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3" name="Picture Placeholder 7">
            <a:extLst>
              <a:ext uri="{FF2B5EF4-FFF2-40B4-BE49-F238E27FC236}">
                <a16:creationId xmlns:a16="http://schemas.microsoft.com/office/drawing/2014/main" id="{8FF7CC5C-A250-D817-B1E6-EBD584F08B1B}"/>
              </a:ext>
            </a:extLst>
          </p:cNvPr>
          <p:cNvSpPr>
            <a:spLocks noGrp="1"/>
          </p:cNvSpPr>
          <p:nvPr>
            <p:ph type="pic" sz="quarter" idx="32" hasCustomPrompt="1"/>
          </p:nvPr>
        </p:nvSpPr>
        <p:spPr>
          <a:xfrm>
            <a:off x="6381618" y="4762500"/>
            <a:ext cx="1163957"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4" name="Picture Placeholder 7">
            <a:extLst>
              <a:ext uri="{FF2B5EF4-FFF2-40B4-BE49-F238E27FC236}">
                <a16:creationId xmlns:a16="http://schemas.microsoft.com/office/drawing/2014/main" id="{9416EBE0-0E9C-366F-583C-0BE751DA2B30}"/>
              </a:ext>
            </a:extLst>
          </p:cNvPr>
          <p:cNvSpPr>
            <a:spLocks noGrp="1"/>
          </p:cNvSpPr>
          <p:nvPr>
            <p:ph type="pic" sz="quarter" idx="33" hasCustomPrompt="1"/>
          </p:nvPr>
        </p:nvSpPr>
        <p:spPr>
          <a:xfrm>
            <a:off x="6381618" y="1323037"/>
            <a:ext cx="1163957" cy="12382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18" name="Text Placeholder 6">
            <a:extLst>
              <a:ext uri="{FF2B5EF4-FFF2-40B4-BE49-F238E27FC236}">
                <a16:creationId xmlns:a16="http://schemas.microsoft.com/office/drawing/2014/main" id="{64C60C05-9B2E-E5AA-E325-3B56BC1B4589}"/>
              </a:ext>
            </a:extLst>
          </p:cNvPr>
          <p:cNvSpPr>
            <a:spLocks noGrp="1"/>
          </p:cNvSpPr>
          <p:nvPr>
            <p:ph type="body" sz="quarter" idx="37"/>
          </p:nvPr>
        </p:nvSpPr>
        <p:spPr>
          <a:xfrm>
            <a:off x="1674594" y="1309437"/>
            <a:ext cx="2877873" cy="126231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6">
            <a:extLst>
              <a:ext uri="{FF2B5EF4-FFF2-40B4-BE49-F238E27FC236}">
                <a16:creationId xmlns:a16="http://schemas.microsoft.com/office/drawing/2014/main" id="{E5379598-B132-493E-3A4A-13641BF453F4}"/>
              </a:ext>
            </a:extLst>
          </p:cNvPr>
          <p:cNvSpPr>
            <a:spLocks noGrp="1"/>
          </p:cNvSpPr>
          <p:nvPr>
            <p:ph type="body" sz="quarter" idx="38"/>
          </p:nvPr>
        </p:nvSpPr>
        <p:spPr>
          <a:xfrm>
            <a:off x="1674594" y="3058562"/>
            <a:ext cx="2877873" cy="123015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Text Placeholder 6">
            <a:extLst>
              <a:ext uri="{FF2B5EF4-FFF2-40B4-BE49-F238E27FC236}">
                <a16:creationId xmlns:a16="http://schemas.microsoft.com/office/drawing/2014/main" id="{D387A7EC-6D77-1F31-248D-AF22142944DA}"/>
              </a:ext>
            </a:extLst>
          </p:cNvPr>
          <p:cNvSpPr>
            <a:spLocks noGrp="1"/>
          </p:cNvSpPr>
          <p:nvPr>
            <p:ph type="body" sz="quarter" idx="39"/>
          </p:nvPr>
        </p:nvSpPr>
        <p:spPr>
          <a:xfrm>
            <a:off x="1674593" y="4762500"/>
            <a:ext cx="2921430" cy="123015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2" name="Picture Placeholder 7">
            <a:extLst>
              <a:ext uri="{FF2B5EF4-FFF2-40B4-BE49-F238E27FC236}">
                <a16:creationId xmlns:a16="http://schemas.microsoft.com/office/drawing/2014/main" id="{79C6738A-ED82-E7BB-C9BF-8057E77ED4B9}"/>
              </a:ext>
            </a:extLst>
          </p:cNvPr>
          <p:cNvSpPr>
            <a:spLocks noGrp="1"/>
          </p:cNvSpPr>
          <p:nvPr>
            <p:ph type="pic" sz="quarter" idx="40" hasCustomPrompt="1"/>
          </p:nvPr>
        </p:nvSpPr>
        <p:spPr>
          <a:xfrm>
            <a:off x="6377613" y="3072162"/>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33" name="Picture Placeholder 7">
            <a:extLst>
              <a:ext uri="{FF2B5EF4-FFF2-40B4-BE49-F238E27FC236}">
                <a16:creationId xmlns:a16="http://schemas.microsoft.com/office/drawing/2014/main" id="{24967257-4251-A48B-9DE6-F07EC4EC0362}"/>
              </a:ext>
            </a:extLst>
          </p:cNvPr>
          <p:cNvSpPr>
            <a:spLocks noGrp="1"/>
          </p:cNvSpPr>
          <p:nvPr>
            <p:ph type="pic" sz="quarter" idx="41" hasCustomPrompt="1"/>
          </p:nvPr>
        </p:nvSpPr>
        <p:spPr>
          <a:xfrm>
            <a:off x="6377613" y="4776100"/>
            <a:ext cx="1236501"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34" name="Picture Placeholder 7">
            <a:extLst>
              <a:ext uri="{FF2B5EF4-FFF2-40B4-BE49-F238E27FC236}">
                <a16:creationId xmlns:a16="http://schemas.microsoft.com/office/drawing/2014/main" id="{4A6B1635-0D2E-93F5-D353-C9B1B58E7780}"/>
              </a:ext>
            </a:extLst>
          </p:cNvPr>
          <p:cNvSpPr>
            <a:spLocks noGrp="1"/>
          </p:cNvSpPr>
          <p:nvPr>
            <p:ph type="pic" sz="quarter" idx="42" hasCustomPrompt="1"/>
          </p:nvPr>
        </p:nvSpPr>
        <p:spPr>
          <a:xfrm>
            <a:off x="6377613" y="1323037"/>
            <a:ext cx="1236501" cy="12382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44" name="Picture Placeholder 7">
            <a:extLst>
              <a:ext uri="{FF2B5EF4-FFF2-40B4-BE49-F238E27FC236}">
                <a16:creationId xmlns:a16="http://schemas.microsoft.com/office/drawing/2014/main" id="{0541A3D3-1296-6D28-80F6-210E0C86167C}"/>
              </a:ext>
            </a:extLst>
          </p:cNvPr>
          <p:cNvSpPr>
            <a:spLocks noGrp="1"/>
          </p:cNvSpPr>
          <p:nvPr>
            <p:ph type="pic" sz="quarter" idx="46" hasCustomPrompt="1"/>
          </p:nvPr>
        </p:nvSpPr>
        <p:spPr>
          <a:xfrm>
            <a:off x="6377613" y="3082625"/>
            <a:ext cx="1145388"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45" name="Picture Placeholder 7">
            <a:extLst>
              <a:ext uri="{FF2B5EF4-FFF2-40B4-BE49-F238E27FC236}">
                <a16:creationId xmlns:a16="http://schemas.microsoft.com/office/drawing/2014/main" id="{EE31C9DF-6A33-F9E3-7394-0B59091621E3}"/>
              </a:ext>
            </a:extLst>
          </p:cNvPr>
          <p:cNvSpPr>
            <a:spLocks noGrp="1"/>
          </p:cNvSpPr>
          <p:nvPr>
            <p:ph type="pic" sz="quarter" idx="47" hasCustomPrompt="1"/>
          </p:nvPr>
        </p:nvSpPr>
        <p:spPr>
          <a:xfrm>
            <a:off x="6377613" y="4786563"/>
            <a:ext cx="1145388" cy="1238250"/>
          </a:xfrm>
          <a:prstGeom prst="rect">
            <a:avLst/>
          </a:prstGeo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b="0" i="0">
                <a:solidFill>
                  <a:schemeClr val="accent5"/>
                </a:solidFill>
                <a:latin typeface="IBM Plex Sans Light" panose="020B0403050203000203" pitchFamily="34" charset="0"/>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46" name="Picture Placeholder 7">
            <a:extLst>
              <a:ext uri="{FF2B5EF4-FFF2-40B4-BE49-F238E27FC236}">
                <a16:creationId xmlns:a16="http://schemas.microsoft.com/office/drawing/2014/main" id="{2CAAA857-D33B-2769-F70D-96215C29A417}"/>
              </a:ext>
            </a:extLst>
          </p:cNvPr>
          <p:cNvSpPr>
            <a:spLocks noGrp="1"/>
          </p:cNvSpPr>
          <p:nvPr>
            <p:ph type="pic" sz="quarter" idx="48" hasCustomPrompt="1"/>
          </p:nvPr>
        </p:nvSpPr>
        <p:spPr>
          <a:xfrm>
            <a:off x="6377613" y="1333500"/>
            <a:ext cx="1145388" cy="1238250"/>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47" name="Text Placeholder 6">
            <a:extLst>
              <a:ext uri="{FF2B5EF4-FFF2-40B4-BE49-F238E27FC236}">
                <a16:creationId xmlns:a16="http://schemas.microsoft.com/office/drawing/2014/main" id="{3412D36A-B5BE-A294-20DF-30B55A06C5A9}"/>
              </a:ext>
            </a:extLst>
          </p:cNvPr>
          <p:cNvSpPr>
            <a:spLocks noGrp="1"/>
          </p:cNvSpPr>
          <p:nvPr>
            <p:ph type="body" sz="quarter" idx="49"/>
          </p:nvPr>
        </p:nvSpPr>
        <p:spPr>
          <a:xfrm>
            <a:off x="7764207" y="1333500"/>
            <a:ext cx="2921430" cy="126231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8" name="Text Placeholder 6">
            <a:extLst>
              <a:ext uri="{FF2B5EF4-FFF2-40B4-BE49-F238E27FC236}">
                <a16:creationId xmlns:a16="http://schemas.microsoft.com/office/drawing/2014/main" id="{ED900610-36FC-D7DA-7651-CC7E3D3200DB}"/>
              </a:ext>
            </a:extLst>
          </p:cNvPr>
          <p:cNvSpPr>
            <a:spLocks noGrp="1"/>
          </p:cNvSpPr>
          <p:nvPr>
            <p:ph type="body" sz="quarter" idx="50"/>
          </p:nvPr>
        </p:nvSpPr>
        <p:spPr>
          <a:xfrm>
            <a:off x="7764207" y="3082625"/>
            <a:ext cx="2921430" cy="123015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9" name="Text Placeholder 6">
            <a:extLst>
              <a:ext uri="{FF2B5EF4-FFF2-40B4-BE49-F238E27FC236}">
                <a16:creationId xmlns:a16="http://schemas.microsoft.com/office/drawing/2014/main" id="{BFEAE0F0-F94C-F405-C850-B3545368F695}"/>
              </a:ext>
            </a:extLst>
          </p:cNvPr>
          <p:cNvSpPr>
            <a:spLocks noGrp="1"/>
          </p:cNvSpPr>
          <p:nvPr>
            <p:ph type="body" sz="quarter" idx="51"/>
          </p:nvPr>
        </p:nvSpPr>
        <p:spPr>
          <a:xfrm>
            <a:off x="7764207" y="4786563"/>
            <a:ext cx="2921430" cy="123015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marL="163767"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4"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1" indent="-163767" defTabSz="580528">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731511946"/>
      </p:ext>
    </p:extLst>
  </p:cSld>
  <p:clrMapOvr>
    <a:masterClrMapping/>
  </p:clrMapOvr>
  <p:transition spd="med"/>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228679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3333316" y="284957"/>
            <a:ext cx="8571384" cy="5715794"/>
          </a:xfrm>
          <a:prstGeom prst="rect">
            <a:avLst/>
          </a:prstGeom>
        </p:spPr>
        <p:txBody>
          <a:bodyPr anchor="ctr"/>
          <a:lstStyle>
            <a:lvl1pPr algn="ctr">
              <a:defRPr b="0" i="0">
                <a:solidFill>
                  <a:schemeClr val="tx1"/>
                </a:solidFill>
                <a:latin typeface="IBM Plex Sans Light" panose="020B0403050203000203" pitchFamily="34" charset="0"/>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83212685"/>
      </p:ext>
    </p:extLst>
  </p:cSld>
  <p:clrMapOvr>
    <a:masterClrMapping/>
  </p:clrMapOvr>
  <p:transition spd="med"/>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Legal disclaimer, one column">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600"/>
            <a:ext cx="2477765" cy="1429544"/>
          </a:xfrm>
          <a:prstGeom prst="rect">
            <a:avLst/>
          </a:prstGeom>
        </p:spPr>
        <p:txBody>
          <a:bodyPr/>
          <a:lstStyle>
            <a:lvl1pPr>
              <a:lnSpc>
                <a:spcPct val="100000"/>
              </a:lnSpc>
              <a:spcBef>
                <a:spcPts val="0"/>
              </a:spcBef>
              <a:defRPr sz="3199" b="0" i="0">
                <a:solidFill>
                  <a:schemeClr val="tx2"/>
                </a:solidFill>
                <a:latin typeface="IBM Plex Sans Light" panose="020B0403050203000203" pitchFamily="34" charset="0"/>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a:prstGeom prst="rect">
            <a:avLst/>
          </a:prstGeom>
        </p:spPr>
        <p:txBody>
          <a:bodyPr/>
          <a:lstStyle>
            <a:lvl1pPr>
              <a:lnSpc>
                <a:spcPct val="100000"/>
              </a:lnSpc>
              <a:spcBef>
                <a:spcPts val="0"/>
              </a:spcBef>
              <a:defRPr sz="800" b="0" i="0">
                <a:solidFill>
                  <a:schemeClr val="tx1"/>
                </a:solidFill>
                <a:latin typeface="IBM Plex Sans Light" panose="020B04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lvl1pPr>
              <a:defRPr b="0" i="0">
                <a:latin typeface="IBM Plex Sans Light" panose="020B0403050203000203" pitchFamily="34" charset="0"/>
              </a:defRPr>
            </a:lvl1pPr>
          </a:lstStyle>
          <a:p>
            <a:endParaRPr lang="en-US"/>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567858456"/>
      </p:ext>
    </p:extLst>
  </p:cSld>
  <p:clrMapOvr>
    <a:masterClrMapping/>
  </p:clrMapOvr>
  <p:transition spd="med"/>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0" cy="76352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lvl1pPr>
              <a:defRPr b="0" i="0">
                <a:latin typeface="IBM Plex Sans Light" panose="020B0403050203000203" pitchFamily="34" charset="0"/>
              </a:defRPr>
            </a:lvl1pPr>
          </a:lstStyle>
          <a:p>
            <a:endParaRPr lang="en-US"/>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165787357"/>
      </p:ext>
    </p:extLst>
  </p:cSld>
  <p:clrMapOvr>
    <a:masterClrMapping/>
  </p:clrMapOvr>
  <p:transition spd="med"/>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Legal disclaimer, two columns">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600"/>
            <a:ext cx="2477765" cy="1429544"/>
          </a:xfrm>
          <a:prstGeom prst="rect">
            <a:avLst/>
          </a:prstGeom>
        </p:spPr>
        <p:txBody>
          <a:bodyPr/>
          <a:lstStyle>
            <a:lvl1pPr>
              <a:lnSpc>
                <a:spcPct val="100000"/>
              </a:lnSpc>
              <a:spcBef>
                <a:spcPts val="0"/>
              </a:spcBef>
              <a:defRPr sz="3199" b="0" i="0">
                <a:solidFill>
                  <a:schemeClr val="tx2"/>
                </a:solidFill>
                <a:latin typeface="IBM Plex Sans Light" panose="020B0403050203000203" pitchFamily="34" charset="0"/>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a:prstGeom prst="rect">
            <a:avLst/>
          </a:prstGeom>
        </p:spPr>
        <p:txBody>
          <a:bodyPr/>
          <a:lstStyle>
            <a:lvl1pPr>
              <a:lnSpc>
                <a:spcPct val="100000"/>
              </a:lnSpc>
              <a:spcBef>
                <a:spcPts val="0"/>
              </a:spcBef>
              <a:defRPr sz="800" b="0" i="0">
                <a:solidFill>
                  <a:schemeClr val="tx1"/>
                </a:solidFill>
                <a:latin typeface="IBM Plex Sans Light" panose="020B04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90474" y="6402388"/>
            <a:ext cx="2477765" cy="190500"/>
          </a:xfrm>
        </p:spPr>
        <p:txBody>
          <a:bodyPr/>
          <a:lstStyle>
            <a:lvl1pPr>
              <a:defRPr b="0" i="0">
                <a:latin typeface="IBM Plex Sans Light" panose="020B0403050203000203" pitchFamily="34" charset="0"/>
              </a:defRPr>
            </a:lvl1pPr>
          </a:lstStyle>
          <a:p>
            <a:endParaRPr lang="en-US"/>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6380919" y="284957"/>
            <a:ext cx="2476178" cy="5715794"/>
          </a:xfrm>
          <a:prstGeom prst="rect">
            <a:avLst/>
          </a:prstGeom>
        </p:spPr>
        <p:txBody>
          <a:bodyPr/>
          <a:lstStyle>
            <a:lvl1pPr>
              <a:lnSpc>
                <a:spcPct val="100000"/>
              </a:lnSpc>
              <a:spcBef>
                <a:spcPts val="0"/>
              </a:spcBef>
              <a:defRPr sz="800" b="0" i="0">
                <a:solidFill>
                  <a:schemeClr val="tx1"/>
                </a:solidFill>
                <a:latin typeface="IBM Plex Sans Light" panose="020B04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127480106"/>
      </p:ext>
    </p:extLst>
  </p:cSld>
  <p:clrMapOvr>
    <a:masterClrMapping/>
  </p:clrMapOvr>
  <p:transition spd="med"/>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5232004" y="3084230"/>
            <a:ext cx="1727991" cy="689541"/>
          </a:xfrm>
          <a:prstGeom prst="rect">
            <a:avLst/>
          </a:prstGeom>
        </p:spPr>
      </p:pic>
    </p:spTree>
    <p:extLst>
      <p:ext uri="{BB962C8B-B14F-4D97-AF65-F5344CB8AC3E}">
        <p14:creationId xmlns:p14="http://schemas.microsoft.com/office/powerpoint/2010/main" val="1149452285"/>
      </p:ext>
    </p:extLst>
  </p:cSld>
  <p:clrMapOvr>
    <a:masterClrMapping/>
  </p:clrMapOvr>
  <p:transition spd="med"/>
</p:sldLayout>
</file>

<file path=ppt/slideLayouts/slideLayout417.xml><?xml version="1.0" encoding="utf-8"?>
<p:sldLayout xmlns:a="http://schemas.openxmlformats.org/drawingml/2006/main" xmlns:r="http://schemas.openxmlformats.org/officeDocument/2006/relationships" xmlns:p="http://schemas.openxmlformats.org/presentationml/2006/main" type="tx">
  <p:cSld name="1_Boxes, 4 horizontal, small title">
    <p:spTree>
      <p:nvGrpSpPr>
        <p:cNvPr id="1" name=""/>
        <p:cNvGrpSpPr/>
        <p:nvPr/>
      </p:nvGrpSpPr>
      <p:grpSpPr>
        <a:xfrm>
          <a:off x="0" y="0"/>
          <a:ext cx="0" cy="0"/>
          <a:chOff x="0" y="0"/>
          <a:chExt cx="0" cy="0"/>
        </a:xfrm>
      </p:grpSpPr>
      <p:sp>
        <p:nvSpPr>
          <p:cNvPr id="31559" name="Title Text"/>
          <p:cNvSpPr txBox="1">
            <a:spLocks noGrp="1"/>
          </p:cNvSpPr>
          <p:nvPr>
            <p:ph type="title"/>
          </p:nvPr>
        </p:nvSpPr>
        <p:spPr>
          <a:xfrm>
            <a:off x="288038" y="192600"/>
            <a:ext cx="2478088" cy="2286794"/>
          </a:xfrm>
          <a:prstGeom prst="rect">
            <a:avLst/>
          </a:prstGeom>
        </p:spPr>
        <p:txBody>
          <a:bodyPr lIns="45719" tIns="45719" rIns="45719" bIns="45719" anchor="ctr">
            <a:normAutofit/>
          </a:bodyPr>
          <a:lstStyle>
            <a:lvl1pPr defTabSz="914217">
              <a:lnSpc>
                <a:spcPct val="100000"/>
              </a:lnSpc>
              <a:defRPr sz="2200">
                <a:solidFill>
                  <a:srgbClr val="44546A"/>
                </a:solidFill>
              </a:defRPr>
            </a:lvl1pPr>
          </a:lstStyle>
          <a:p>
            <a:r>
              <a:t>Title Text</a:t>
            </a:r>
          </a:p>
        </p:txBody>
      </p:sp>
      <p:sp>
        <p:nvSpPr>
          <p:cNvPr id="31560" name="Body Level One…"/>
          <p:cNvSpPr txBox="1">
            <a:spLocks noGrp="1"/>
          </p:cNvSpPr>
          <p:nvPr>
            <p:ph type="body" sz="quarter" idx="1"/>
          </p:nvPr>
        </p:nvSpPr>
        <p:spPr>
          <a:xfrm>
            <a:off x="6364015" y="3328418"/>
            <a:ext cx="2481961" cy="2667126"/>
          </a:xfrm>
          <a:prstGeom prst="rect">
            <a:avLst/>
          </a:prstGeom>
        </p:spPr>
        <p:txBody>
          <a:bodyPr lIns="45719" tIns="45719" rIns="45719" bIns="45719">
            <a:normAutofit/>
          </a:bodyPr>
          <a:lstStyle>
            <a:lvl1pPr marL="228554" indent="-228554" defTabSz="580296">
              <a:lnSpc>
                <a:spcPct val="100000"/>
              </a:lnSpc>
              <a:buSzPct val="100000"/>
              <a:buFont typeface="Arial"/>
              <a:buChar char="•"/>
            </a:lvl1pPr>
            <a:lvl2pPr marL="685663" indent="-228554" defTabSz="580296">
              <a:lnSpc>
                <a:spcPct val="100000"/>
              </a:lnSpc>
              <a:buFont typeface="Arial"/>
              <a:buChar char="•"/>
            </a:lvl2pPr>
            <a:lvl3pPr marL="1142771" indent="-228554" defTabSz="580296">
              <a:lnSpc>
                <a:spcPct val="100000"/>
              </a:lnSpc>
              <a:buFont typeface="Arial"/>
            </a:lvl3pPr>
            <a:lvl4pPr marL="1599880" indent="-228554" defTabSz="580296">
              <a:lnSpc>
                <a:spcPct val="100000"/>
              </a:lnSpc>
              <a:buFont typeface="Arial"/>
              <a:buChar char="•"/>
            </a:lvl4pPr>
            <a:lvl5pPr marL="2056989" defTabSz="580296">
              <a:lnSpc>
                <a:spcPct val="100000"/>
              </a:lnSpc>
              <a:buFont typeface="Arial"/>
            </a:lvl5pPr>
          </a:lstStyle>
          <a:p>
            <a:r>
              <a:t>Body Level One</a:t>
            </a:r>
          </a:p>
          <a:p>
            <a:pPr lvl="1"/>
            <a:r>
              <a:t>Body Level Two</a:t>
            </a:r>
          </a:p>
          <a:p>
            <a:pPr lvl="2"/>
            <a:r>
              <a:t>Body Level Three</a:t>
            </a:r>
          </a:p>
          <a:p>
            <a:pPr lvl="3"/>
            <a:r>
              <a:t>Body Level Four</a:t>
            </a:r>
          </a:p>
          <a:p>
            <a:pPr lvl="4"/>
            <a:r>
              <a:t>Body Level Five</a:t>
            </a:r>
          </a:p>
        </p:txBody>
      </p:sp>
      <p:sp>
        <p:nvSpPr>
          <p:cNvPr id="31561" name="Text Placeholder 6"/>
          <p:cNvSpPr>
            <a:spLocks noGrp="1"/>
          </p:cNvSpPr>
          <p:nvPr>
            <p:ph type="body" sz="quarter" idx="21"/>
          </p:nvPr>
        </p:nvSpPr>
        <p:spPr>
          <a:xfrm>
            <a:off x="9399875" y="3328418"/>
            <a:ext cx="2481961" cy="2667126"/>
          </a:xfrm>
          <a:prstGeom prst="rect">
            <a:avLst/>
          </a:prstGeom>
        </p:spPr>
        <p:txBody>
          <a:bodyPr lIns="45719" tIns="45719" rIns="45719" bIns="45719">
            <a:normAutofit/>
          </a:bodyPr>
          <a:lstStyle>
            <a:lvl1pPr marL="228554" indent="-228554" defTabSz="580296">
              <a:lnSpc>
                <a:spcPct val="100000"/>
              </a:lnSpc>
              <a:buSzPct val="100000"/>
              <a:buFont typeface="Arial"/>
              <a:buChar char="•"/>
              <a:defRPr/>
            </a:lvl1pPr>
          </a:lstStyle>
          <a:p>
            <a:pPr marL="457200" indent="-457200" defTabSz="1160824">
              <a:lnSpc>
                <a:spcPct val="100000"/>
              </a:lnSpc>
              <a:buSzPct val="100000"/>
              <a:buFont typeface="Arial"/>
              <a:buChar char="•"/>
            </a:pPr>
            <a:endParaRPr/>
          </a:p>
        </p:txBody>
      </p:sp>
      <p:sp>
        <p:nvSpPr>
          <p:cNvPr id="31562" name="Text Placeholder 6"/>
          <p:cNvSpPr>
            <a:spLocks noGrp="1"/>
          </p:cNvSpPr>
          <p:nvPr>
            <p:ph type="body" sz="quarter" idx="22"/>
          </p:nvPr>
        </p:nvSpPr>
        <p:spPr>
          <a:xfrm>
            <a:off x="280288" y="3328418"/>
            <a:ext cx="2481961" cy="2667126"/>
          </a:xfrm>
          <a:prstGeom prst="rect">
            <a:avLst/>
          </a:prstGeom>
        </p:spPr>
        <p:txBody>
          <a:bodyPr lIns="45719" tIns="45719" rIns="45719" bIns="45719">
            <a:normAutofit/>
          </a:bodyPr>
          <a:lstStyle>
            <a:lvl1pPr marL="228554" indent="-228554" defTabSz="580296">
              <a:lnSpc>
                <a:spcPct val="100000"/>
              </a:lnSpc>
              <a:buSzPct val="100000"/>
              <a:buFont typeface="Arial"/>
              <a:buChar char="•"/>
              <a:defRPr/>
            </a:lvl1pPr>
          </a:lstStyle>
          <a:p>
            <a:pPr marL="457200" indent="-457200" defTabSz="1160824">
              <a:lnSpc>
                <a:spcPct val="100000"/>
              </a:lnSpc>
              <a:buSzPct val="100000"/>
              <a:buFont typeface="Arial"/>
              <a:buChar char="•"/>
            </a:pPr>
            <a:endParaRPr/>
          </a:p>
        </p:txBody>
      </p:sp>
      <p:sp>
        <p:nvSpPr>
          <p:cNvPr id="31563" name="Text Placeholder 6"/>
          <p:cNvSpPr>
            <a:spLocks noGrp="1"/>
          </p:cNvSpPr>
          <p:nvPr>
            <p:ph type="body" sz="quarter" idx="23"/>
          </p:nvPr>
        </p:nvSpPr>
        <p:spPr>
          <a:xfrm>
            <a:off x="3316149" y="3328418"/>
            <a:ext cx="2481961" cy="2667126"/>
          </a:xfrm>
          <a:prstGeom prst="rect">
            <a:avLst/>
          </a:prstGeom>
        </p:spPr>
        <p:txBody>
          <a:bodyPr lIns="45719" tIns="45719" rIns="45719" bIns="45719">
            <a:normAutofit/>
          </a:bodyPr>
          <a:lstStyle>
            <a:lvl1pPr marL="228554" indent="-228554" defTabSz="580296">
              <a:lnSpc>
                <a:spcPct val="100000"/>
              </a:lnSpc>
              <a:buSzPct val="100000"/>
              <a:buFont typeface="Arial"/>
              <a:buChar char="•"/>
              <a:defRPr/>
            </a:lvl1pPr>
          </a:lstStyle>
          <a:p>
            <a:pPr marL="457200" indent="-457200" defTabSz="1160824">
              <a:lnSpc>
                <a:spcPct val="100000"/>
              </a:lnSpc>
              <a:buSzPct val="100000"/>
              <a:buFont typeface="Arial"/>
              <a:buChar char="•"/>
            </a:pPr>
            <a:endParaRPr/>
          </a:p>
        </p:txBody>
      </p:sp>
      <p:sp>
        <p:nvSpPr>
          <p:cNvPr id="31564" name="Slide Number"/>
          <p:cNvSpPr txBox="1">
            <a:spLocks noGrp="1"/>
          </p:cNvSpPr>
          <p:nvPr>
            <p:ph type="sldNum" sz="quarter" idx="2"/>
          </p:nvPr>
        </p:nvSpPr>
        <p:spPr>
          <a:xfrm>
            <a:off x="11772416" y="6471366"/>
            <a:ext cx="133834" cy="123111"/>
          </a:xfrm>
          <a:prstGeom prst="rect">
            <a:avLst/>
          </a:prstGeom>
        </p:spPr>
        <p:txBody>
          <a:bodyPr/>
          <a:lstStyle>
            <a:lvl1pPr>
              <a:defRPr>
                <a:latin typeface="+mn-lt"/>
                <a:ea typeface="+mn-ea"/>
                <a:cs typeface="+mn-cs"/>
                <a:sym typeface="IBM Plex Sans Light"/>
              </a:defRPr>
            </a:lvl1pPr>
          </a:lstStyle>
          <a:p>
            <a:fld id="{86CB4B4D-7CA3-9044-876B-883B54F8677D}" type="slidenum">
              <a:t>‹#›</a:t>
            </a:fld>
            <a:endParaRPr/>
          </a:p>
        </p:txBody>
      </p:sp>
    </p:spTree>
    <p:extLst>
      <p:ext uri="{BB962C8B-B14F-4D97-AF65-F5344CB8AC3E}">
        <p14:creationId xmlns:p14="http://schemas.microsoft.com/office/powerpoint/2010/main" val="633773336"/>
      </p:ext>
    </p:extLst>
  </p:cSld>
  <p:clrMapOvr>
    <a:masterClrMapping/>
  </p:clrMapOvr>
  <p:transition spd="med"/>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descr="Place imagery here">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12192000" cy="6097588"/>
          </a:xfrm>
          <a:solidFill>
            <a:srgbClr val="E0E0E0"/>
          </a:solidFill>
        </p:spPr>
        <p:txBody>
          <a:bodyPr anchor="ctr"/>
          <a:lstStyle>
            <a:lvl1pPr algn="ctr">
              <a:defRPr>
                <a:solidFill>
                  <a:schemeClr val="accent5"/>
                </a:solidFill>
              </a:defRPr>
            </a:lvl1pPr>
          </a:lstStyle>
          <a:p>
            <a:r>
              <a:rPr lang="en-US"/>
              <a:t>Place imagery here</a:t>
            </a:r>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87963" y="6083300"/>
            <a:ext cx="2470906" cy="537147"/>
          </a:xfrm>
        </p:spPr>
        <p:txBody>
          <a:bodyPr anchor="b"/>
          <a:lstStyle>
            <a:lvl1pPr>
              <a:lnSpc>
                <a:spcPct val="110000"/>
              </a:lnSpc>
              <a:spcBef>
                <a:spcPts val="0"/>
              </a:spcBef>
              <a:defRPr sz="1200">
                <a:solidFill>
                  <a:schemeClr val="tx1"/>
                </a:solidFill>
              </a:defRPr>
            </a:lvl1pPr>
            <a:lvl2pPr marL="127990" indent="-127990">
              <a:lnSpc>
                <a:spcPct val="110000"/>
              </a:lnSpc>
              <a:spcBef>
                <a:spcPts val="0"/>
              </a:spcBef>
              <a:defRPr sz="1200">
                <a:solidFill>
                  <a:schemeClr val="tx1"/>
                </a:solidFill>
              </a:defRPr>
            </a:lvl2pPr>
            <a:lvl3pPr marL="255981" indent="-127990">
              <a:lnSpc>
                <a:spcPct val="110000"/>
              </a:lnSpc>
              <a:spcBef>
                <a:spcPts val="0"/>
              </a:spcBef>
              <a:defRPr sz="1200">
                <a:solidFill>
                  <a:schemeClr val="tx1"/>
                </a:solidFill>
              </a:defRPr>
            </a:lvl3pPr>
            <a:lvl4pPr marL="383971" indent="-127990">
              <a:lnSpc>
                <a:spcPct val="110000"/>
              </a:lnSpc>
              <a:spcBef>
                <a:spcPts val="0"/>
              </a:spcBef>
              <a:defRPr sz="12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3335316" y="6083300"/>
            <a:ext cx="2473384" cy="538507"/>
          </a:xfrm>
        </p:spPr>
        <p:txBody>
          <a:bodyPr anchor="b"/>
          <a:lstStyle>
            <a:lvl1pPr>
              <a:lnSpc>
                <a:spcPct val="110000"/>
              </a:lnSpc>
              <a:spcBef>
                <a:spcPts val="0"/>
              </a:spcBef>
              <a:defRPr sz="1200">
                <a:solidFill>
                  <a:schemeClr val="tx1"/>
                </a:solidFill>
              </a:defRPr>
            </a:lvl1pPr>
            <a:lvl2pPr marL="127990" indent="-127990">
              <a:lnSpc>
                <a:spcPct val="110000"/>
              </a:lnSpc>
              <a:spcBef>
                <a:spcPts val="0"/>
              </a:spcBef>
              <a:defRPr sz="1200">
                <a:solidFill>
                  <a:schemeClr val="tx1"/>
                </a:solidFill>
              </a:defRPr>
            </a:lvl2pPr>
            <a:lvl3pPr marL="255981" indent="-127990">
              <a:lnSpc>
                <a:spcPct val="110000"/>
              </a:lnSpc>
              <a:spcBef>
                <a:spcPts val="0"/>
              </a:spcBef>
              <a:defRPr sz="1200">
                <a:solidFill>
                  <a:schemeClr val="tx1"/>
                </a:solidFill>
              </a:defRPr>
            </a:lvl3pPr>
            <a:lvl4pPr marL="383971" indent="-127990">
              <a:lnSpc>
                <a:spcPct val="110000"/>
              </a:lnSpc>
              <a:spcBef>
                <a:spcPts val="0"/>
              </a:spcBef>
              <a:defRPr sz="12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descr="IBM 8-bar logo">
            <a:extLst>
              <a:ext uri="{FF2B5EF4-FFF2-40B4-BE49-F238E27FC236}">
                <a16:creationId xmlns:a16="http://schemas.microsoft.com/office/drawing/2014/main" id="{09935B61-CCB4-2F0F-6720-2DE3FDE1A05B}"/>
              </a:ext>
            </a:extLst>
          </p:cNvPr>
          <p:cNvPicPr>
            <a:picLocks noChangeAspect="1"/>
          </p:cNvPicPr>
          <p:nvPr userDrawn="1"/>
        </p:nvPicPr>
        <p:blipFill>
          <a:blip r:embed="rId2"/>
          <a:stretch>
            <a:fillRect/>
          </a:stretch>
        </p:blipFill>
        <p:spPr>
          <a:xfrm>
            <a:off x="11185445" y="6288882"/>
            <a:ext cx="769062" cy="286200"/>
          </a:xfrm>
          <a:prstGeom prst="rect">
            <a:avLst/>
          </a:prstGeom>
        </p:spPr>
      </p:pic>
      <p:sp>
        <p:nvSpPr>
          <p:cNvPr id="10" name="Title 1">
            <a:extLst>
              <a:ext uri="{FF2B5EF4-FFF2-40B4-BE49-F238E27FC236}">
                <a16:creationId xmlns:a16="http://schemas.microsoft.com/office/drawing/2014/main" id="{3F3BE6BB-D7C0-3C9B-44F9-5D564E48D8B6}"/>
              </a:ext>
            </a:extLst>
          </p:cNvPr>
          <p:cNvSpPr>
            <a:spLocks noGrp="1"/>
          </p:cNvSpPr>
          <p:nvPr>
            <p:ph type="title"/>
          </p:nvPr>
        </p:nvSpPr>
        <p:spPr>
          <a:xfrm>
            <a:off x="287963" y="155575"/>
            <a:ext cx="5049878" cy="3654425"/>
          </a:xfrm>
        </p:spPr>
        <p:txBody>
          <a:bodyPr/>
          <a:lstStyle>
            <a:lvl1pPr>
              <a:lnSpc>
                <a:spcPct val="100000"/>
              </a:lnSpc>
              <a:defRPr sz="4199">
                <a:solidFill>
                  <a:schemeClr val="tx2"/>
                </a:solidFill>
              </a:defRPr>
            </a:lvl1pPr>
          </a:lstStyle>
          <a:p>
            <a:r>
              <a:rPr lang="en-US"/>
              <a:t>Click to edit Master title style</a:t>
            </a:r>
          </a:p>
        </p:txBody>
      </p:sp>
    </p:spTree>
    <p:extLst>
      <p:ext uri="{BB962C8B-B14F-4D97-AF65-F5344CB8AC3E}">
        <p14:creationId xmlns:p14="http://schemas.microsoft.com/office/powerpoint/2010/main" val="238423908"/>
      </p:ext>
    </p:extLst>
  </p:cSld>
  <p:clrMapOvr>
    <a:masterClrMapping/>
  </p:clrMapOvr>
  <p:transition spd="med"/>
  <p:extLst>
    <p:ext uri="{DCECCB84-F9BA-43D5-87BE-67443E8EF086}">
      <p15:sldGuideLst xmlns:p15="http://schemas.microsoft.com/office/powerpoint/2012/main"/>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descr="Blue 10 full slide background ">
            <a:extLst>
              <a:ext uri="{FF2B5EF4-FFF2-40B4-BE49-F238E27FC236}">
                <a16:creationId xmlns:a16="http://schemas.microsoft.com/office/drawing/2014/main" id="{8D23798D-A03E-2BC6-136A-14C1E387E723}"/>
              </a:ext>
            </a:extLst>
          </p:cNvPr>
          <p:cNvSpPr/>
          <p:nvPr userDrawn="1"/>
        </p:nvSpPr>
        <p:spPr bwMode="auto">
          <a:xfrm>
            <a:off x="0" y="0"/>
            <a:ext cx="12192000" cy="6097588"/>
          </a:xfrm>
          <a:prstGeom prst="rect">
            <a:avLst/>
          </a:prstGeom>
          <a:solidFill>
            <a:srgbClr val="E5F6FF"/>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indent="0" algn="l" defTabSz="457109" rtl="0" eaLnBrk="1" fontAlgn="base" latinLnBrk="0" hangingPunct="1">
              <a:lnSpc>
                <a:spcPct val="100000"/>
              </a:lnSpc>
              <a:spcBef>
                <a:spcPct val="0"/>
              </a:spcBef>
              <a:spcAft>
                <a:spcPct val="0"/>
              </a:spcAft>
              <a:buClrTx/>
              <a:buSzTx/>
              <a:buFont typeface="IBM Plex Sans Light"/>
              <a:buNone/>
              <a:tabLst/>
            </a:pPr>
            <a:endParaRPr kumimoji="0" lang="en-US" sz="700" b="0" i="0" u="none" strike="noStrike" cap="none" normalizeH="0" baseline="0">
              <a:ln>
                <a:noFill/>
              </a:ln>
              <a:solidFill>
                <a:schemeClr val="bg1"/>
              </a:solidFill>
              <a:effectLst/>
              <a:latin typeface="+mn-lt"/>
            </a:endParaRPr>
          </a:p>
        </p:txBody>
      </p:sp>
      <p:pic>
        <p:nvPicPr>
          <p:cNvPr id="7" name="Picture 6" descr="IBM 8-bar logo">
            <a:extLst>
              <a:ext uri="{FF2B5EF4-FFF2-40B4-BE49-F238E27FC236}">
                <a16:creationId xmlns:a16="http://schemas.microsoft.com/office/drawing/2014/main" id="{B4B109D8-FCAE-74D0-0B39-85BF626C84C5}"/>
              </a:ext>
            </a:extLst>
          </p:cNvPr>
          <p:cNvPicPr>
            <a:picLocks noChangeAspect="1"/>
          </p:cNvPicPr>
          <p:nvPr userDrawn="1"/>
        </p:nvPicPr>
        <p:blipFill>
          <a:blip r:embed="rId2"/>
          <a:stretch>
            <a:fillRect/>
          </a:stretch>
        </p:blipFill>
        <p:spPr>
          <a:xfrm>
            <a:off x="11185445" y="6288882"/>
            <a:ext cx="769062" cy="286200"/>
          </a:xfrm>
          <a:prstGeom prst="rect">
            <a:avLst/>
          </a:prstGeom>
        </p:spPr>
      </p:pic>
      <p:sp>
        <p:nvSpPr>
          <p:cNvPr id="8" name="Text Placeholder 6">
            <a:extLst>
              <a:ext uri="{FF2B5EF4-FFF2-40B4-BE49-F238E27FC236}">
                <a16:creationId xmlns:a16="http://schemas.microsoft.com/office/drawing/2014/main" id="{A9FACBA3-656A-1C9D-A350-7759736DCC4B}"/>
              </a:ext>
            </a:extLst>
          </p:cNvPr>
          <p:cNvSpPr>
            <a:spLocks noGrp="1"/>
          </p:cNvSpPr>
          <p:nvPr>
            <p:ph type="body" sz="quarter" idx="12"/>
          </p:nvPr>
        </p:nvSpPr>
        <p:spPr>
          <a:xfrm>
            <a:off x="287963" y="6083300"/>
            <a:ext cx="2470906" cy="537147"/>
          </a:xfrm>
        </p:spPr>
        <p:txBody>
          <a:bodyPr anchor="b"/>
          <a:lstStyle>
            <a:lvl1pPr>
              <a:lnSpc>
                <a:spcPct val="110000"/>
              </a:lnSpc>
              <a:spcBef>
                <a:spcPts val="0"/>
              </a:spcBef>
              <a:defRPr sz="1200">
                <a:solidFill>
                  <a:schemeClr val="tx1"/>
                </a:solidFill>
              </a:defRPr>
            </a:lvl1pPr>
            <a:lvl2pPr marL="127990" indent="-127990">
              <a:lnSpc>
                <a:spcPct val="110000"/>
              </a:lnSpc>
              <a:spcBef>
                <a:spcPts val="0"/>
              </a:spcBef>
              <a:defRPr sz="1200">
                <a:solidFill>
                  <a:schemeClr val="tx1"/>
                </a:solidFill>
              </a:defRPr>
            </a:lvl2pPr>
            <a:lvl3pPr marL="255981" indent="-127990">
              <a:lnSpc>
                <a:spcPct val="110000"/>
              </a:lnSpc>
              <a:spcBef>
                <a:spcPts val="0"/>
              </a:spcBef>
              <a:defRPr sz="1200">
                <a:solidFill>
                  <a:schemeClr val="tx1"/>
                </a:solidFill>
              </a:defRPr>
            </a:lvl3pPr>
            <a:lvl4pPr marL="383971" indent="-127990">
              <a:lnSpc>
                <a:spcPct val="110000"/>
              </a:lnSpc>
              <a:spcBef>
                <a:spcPts val="0"/>
              </a:spcBef>
              <a:defRPr sz="12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5">
            <a:extLst>
              <a:ext uri="{FF2B5EF4-FFF2-40B4-BE49-F238E27FC236}">
                <a16:creationId xmlns:a16="http://schemas.microsoft.com/office/drawing/2014/main" id="{FA47F09F-F9D8-7B01-E53E-EE9451C6A6EB}"/>
              </a:ext>
            </a:extLst>
          </p:cNvPr>
          <p:cNvSpPr>
            <a:spLocks noGrp="1"/>
          </p:cNvSpPr>
          <p:nvPr>
            <p:ph type="body" sz="quarter" idx="13"/>
          </p:nvPr>
        </p:nvSpPr>
        <p:spPr>
          <a:xfrm>
            <a:off x="3335316" y="6083300"/>
            <a:ext cx="2473384" cy="538507"/>
          </a:xfrm>
        </p:spPr>
        <p:txBody>
          <a:bodyPr anchor="b"/>
          <a:lstStyle>
            <a:lvl1pPr>
              <a:lnSpc>
                <a:spcPct val="110000"/>
              </a:lnSpc>
              <a:spcBef>
                <a:spcPts val="0"/>
              </a:spcBef>
              <a:defRPr sz="1200">
                <a:solidFill>
                  <a:schemeClr val="tx1"/>
                </a:solidFill>
              </a:defRPr>
            </a:lvl1pPr>
            <a:lvl2pPr marL="127990" indent="-127990">
              <a:lnSpc>
                <a:spcPct val="110000"/>
              </a:lnSpc>
              <a:spcBef>
                <a:spcPts val="0"/>
              </a:spcBef>
              <a:defRPr sz="1200">
                <a:solidFill>
                  <a:schemeClr val="tx1"/>
                </a:solidFill>
              </a:defRPr>
            </a:lvl2pPr>
            <a:lvl3pPr marL="255981" indent="-127990">
              <a:lnSpc>
                <a:spcPct val="110000"/>
              </a:lnSpc>
              <a:spcBef>
                <a:spcPts val="0"/>
              </a:spcBef>
              <a:defRPr sz="1200">
                <a:solidFill>
                  <a:schemeClr val="tx1"/>
                </a:solidFill>
              </a:defRPr>
            </a:lvl3pPr>
            <a:lvl4pPr marL="383971" indent="-127990">
              <a:lnSpc>
                <a:spcPct val="110000"/>
              </a:lnSpc>
              <a:spcBef>
                <a:spcPts val="0"/>
              </a:spcBef>
              <a:defRPr sz="12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itle 1">
            <a:extLst>
              <a:ext uri="{FF2B5EF4-FFF2-40B4-BE49-F238E27FC236}">
                <a16:creationId xmlns:a16="http://schemas.microsoft.com/office/drawing/2014/main" id="{B8FFB679-F0FF-1DD1-8243-9D4ADEF3889F}"/>
              </a:ext>
            </a:extLst>
          </p:cNvPr>
          <p:cNvSpPr>
            <a:spLocks noGrp="1"/>
          </p:cNvSpPr>
          <p:nvPr>
            <p:ph type="title"/>
          </p:nvPr>
        </p:nvSpPr>
        <p:spPr>
          <a:xfrm>
            <a:off x="287963" y="155575"/>
            <a:ext cx="5049878" cy="3654425"/>
          </a:xfrm>
        </p:spPr>
        <p:txBody>
          <a:bodyPr/>
          <a:lstStyle>
            <a:lvl1pPr>
              <a:lnSpc>
                <a:spcPct val="100000"/>
              </a:lnSpc>
              <a:defRPr sz="4199">
                <a:solidFill>
                  <a:schemeClr val="tx2"/>
                </a:solidFill>
              </a:defRPr>
            </a:lvl1pPr>
          </a:lstStyle>
          <a:p>
            <a:r>
              <a:rPr lang="en-US"/>
              <a:t>Click to edit Master title style</a:t>
            </a:r>
          </a:p>
        </p:txBody>
      </p:sp>
    </p:spTree>
    <p:extLst>
      <p:ext uri="{BB962C8B-B14F-4D97-AF65-F5344CB8AC3E}">
        <p14:creationId xmlns:p14="http://schemas.microsoft.com/office/powerpoint/2010/main" val="1407162848"/>
      </p:ext>
    </p:extLst>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63" y="288036"/>
            <a:ext cx="2470717" cy="1997964"/>
          </a:xfrm>
        </p:spPr>
        <p:txBody>
          <a:bodyPr/>
          <a:lstStyle>
            <a:lvl1pPr>
              <a:lnSpc>
                <a:spcPct val="110000"/>
              </a:lnSpc>
              <a:defRPr sz="18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9168" y="288000"/>
            <a:ext cx="2476178" cy="581104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30110" y="288000"/>
            <a:ext cx="2470622" cy="581104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CB9B0455-A1CF-B58E-3124-86D0B0DD2BB2}"/>
              </a:ext>
            </a:extLst>
          </p:cNvPr>
          <p:cNvSpPr>
            <a:spLocks noGrp="1"/>
          </p:cNvSpPr>
          <p:nvPr>
            <p:ph type="ftr" sz="quarter" idx="18"/>
          </p:nvPr>
        </p:nvSpPr>
        <p:spPr>
          <a:xfrm>
            <a:off x="287963" y="6408000"/>
            <a:ext cx="2477765" cy="190500"/>
          </a:xfrm>
        </p:spPr>
        <p:txBody>
          <a:bodyPr/>
          <a:lstStyle/>
          <a:p>
            <a:endParaRPr lang="en-US"/>
          </a:p>
        </p:txBody>
      </p:sp>
      <p:sp>
        <p:nvSpPr>
          <p:cNvPr id="8" name="Slide Number">
            <a:extLst>
              <a:ext uri="{FF2B5EF4-FFF2-40B4-BE49-F238E27FC236}">
                <a16:creationId xmlns:a16="http://schemas.microsoft.com/office/drawing/2014/main" id="{964E5562-E403-533D-BEAD-AB50713ED183}"/>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717477268"/>
      </p:ext>
    </p:extLst>
  </p:cSld>
  <p:clrMapOvr>
    <a:masterClrMapping/>
  </p:clrMapOvr>
  <p:transition spd="med"/>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pic>
        <p:nvPicPr>
          <p:cNvPr id="4" name="Picture 3" descr="IBM 8-bar logo">
            <a:extLst>
              <a:ext uri="{FF2B5EF4-FFF2-40B4-BE49-F238E27FC236}">
                <a16:creationId xmlns:a16="http://schemas.microsoft.com/office/drawing/2014/main" id="{E4F73B63-FCC7-DAFC-5E97-E0D29B2DBF2C}"/>
              </a:ext>
            </a:extLst>
          </p:cNvPr>
          <p:cNvPicPr>
            <a:picLocks noChangeAspect="1"/>
          </p:cNvPicPr>
          <p:nvPr userDrawn="1"/>
        </p:nvPicPr>
        <p:blipFill>
          <a:blip r:embed="rId2"/>
          <a:stretch>
            <a:fillRect/>
          </a:stretch>
        </p:blipFill>
        <p:spPr>
          <a:xfrm>
            <a:off x="11185445" y="6288882"/>
            <a:ext cx="769062" cy="286200"/>
          </a:xfrm>
          <a:prstGeom prst="rect">
            <a:avLst/>
          </a:prstGeom>
        </p:spPr>
      </p:pic>
      <p:sp>
        <p:nvSpPr>
          <p:cNvPr id="8" name="Title 1">
            <a:extLst>
              <a:ext uri="{FF2B5EF4-FFF2-40B4-BE49-F238E27FC236}">
                <a16:creationId xmlns:a16="http://schemas.microsoft.com/office/drawing/2014/main" id="{31EEBBCD-6628-78CD-1209-20B2834A647D}"/>
              </a:ext>
            </a:extLst>
          </p:cNvPr>
          <p:cNvSpPr>
            <a:spLocks noGrp="1"/>
          </p:cNvSpPr>
          <p:nvPr>
            <p:ph type="title"/>
          </p:nvPr>
        </p:nvSpPr>
        <p:spPr>
          <a:xfrm>
            <a:off x="287963" y="155575"/>
            <a:ext cx="5049878" cy="5178425"/>
          </a:xfrm>
        </p:spPr>
        <p:txBody>
          <a:bodyPr/>
          <a:lstStyle>
            <a:lvl1pPr>
              <a:lnSpc>
                <a:spcPct val="100000"/>
              </a:lnSpc>
              <a:defRPr sz="4199">
                <a:solidFill>
                  <a:schemeClr val="tx2"/>
                </a:solidFill>
              </a:defRPr>
            </a:lvl1pPr>
          </a:lstStyle>
          <a:p>
            <a:r>
              <a:rPr lang="en-US"/>
              <a:t>Click to edit Master title style</a:t>
            </a:r>
          </a:p>
        </p:txBody>
      </p:sp>
    </p:spTree>
    <p:extLst>
      <p:ext uri="{BB962C8B-B14F-4D97-AF65-F5344CB8AC3E}">
        <p14:creationId xmlns:p14="http://schemas.microsoft.com/office/powerpoint/2010/main" val="2970564243"/>
      </p:ext>
    </p:extLst>
  </p:cSld>
  <p:clrMapOvr>
    <a:masterClrMapping/>
  </p:clrMapOvr>
  <p:transition spd="med"/>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Cover, plain, label">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87963" y="6239574"/>
            <a:ext cx="5518504" cy="381000"/>
          </a:xfrm>
        </p:spPr>
        <p:txBody>
          <a:bodyPr anchor="b"/>
          <a:lstStyle>
            <a:lvl1pPr>
              <a:lnSpc>
                <a:spcPct val="110000"/>
              </a:lnSpc>
              <a:spcBef>
                <a:spcPts val="0"/>
              </a:spcBef>
              <a:defRPr sz="1400">
                <a:solidFill>
                  <a:schemeClr val="tx1"/>
                </a:solidFill>
              </a:defRPr>
            </a:lvl1pPr>
          </a:lstStyle>
          <a:p>
            <a:pPr lvl="0"/>
            <a:r>
              <a:rPr lang="en-US"/>
              <a:t>Click to edit Master text styles</a:t>
            </a:r>
          </a:p>
        </p:txBody>
      </p:sp>
      <p:pic>
        <p:nvPicPr>
          <p:cNvPr id="4" name="Picture 3" descr="IBM 8-bar logo">
            <a:extLst>
              <a:ext uri="{FF2B5EF4-FFF2-40B4-BE49-F238E27FC236}">
                <a16:creationId xmlns:a16="http://schemas.microsoft.com/office/drawing/2014/main" id="{81A5AEF9-6465-6773-9724-1305F8245375}"/>
              </a:ext>
            </a:extLst>
          </p:cNvPr>
          <p:cNvPicPr>
            <a:picLocks noChangeAspect="1"/>
          </p:cNvPicPr>
          <p:nvPr userDrawn="1"/>
        </p:nvPicPr>
        <p:blipFill>
          <a:blip r:embed="rId2"/>
          <a:stretch>
            <a:fillRect/>
          </a:stretch>
        </p:blipFill>
        <p:spPr>
          <a:xfrm>
            <a:off x="11185445" y="6288882"/>
            <a:ext cx="769062" cy="286200"/>
          </a:xfrm>
          <a:prstGeom prst="rect">
            <a:avLst/>
          </a:prstGeom>
        </p:spPr>
      </p:pic>
      <p:sp>
        <p:nvSpPr>
          <p:cNvPr id="10" name="Title 1">
            <a:extLst>
              <a:ext uri="{FF2B5EF4-FFF2-40B4-BE49-F238E27FC236}">
                <a16:creationId xmlns:a16="http://schemas.microsoft.com/office/drawing/2014/main" id="{D0F40089-D6C5-B905-B7FE-24BFF3580F12}"/>
              </a:ext>
            </a:extLst>
          </p:cNvPr>
          <p:cNvSpPr>
            <a:spLocks noGrp="1"/>
          </p:cNvSpPr>
          <p:nvPr>
            <p:ph type="title"/>
          </p:nvPr>
        </p:nvSpPr>
        <p:spPr>
          <a:xfrm>
            <a:off x="287963" y="155575"/>
            <a:ext cx="5049878" cy="5178425"/>
          </a:xfrm>
        </p:spPr>
        <p:txBody>
          <a:bodyPr/>
          <a:lstStyle>
            <a:lvl1pPr>
              <a:lnSpc>
                <a:spcPct val="100000"/>
              </a:lnSpc>
              <a:defRPr sz="4199">
                <a:solidFill>
                  <a:schemeClr val="tx2"/>
                </a:solidFill>
              </a:defRPr>
            </a:lvl1pPr>
          </a:lstStyle>
          <a:p>
            <a:r>
              <a:rPr lang="en-US"/>
              <a:t>Click to edit Master title style</a:t>
            </a:r>
          </a:p>
        </p:txBody>
      </p:sp>
    </p:spTree>
    <p:extLst>
      <p:ext uri="{BB962C8B-B14F-4D97-AF65-F5344CB8AC3E}">
        <p14:creationId xmlns:p14="http://schemas.microsoft.com/office/powerpoint/2010/main" val="847842961"/>
      </p:ext>
    </p:extLst>
  </p:cSld>
  <p:clrMapOvr>
    <a:masterClrMapping/>
  </p:clrMapOvr>
  <p:transition spd="med"/>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5750"/>
            <a:ext cx="5520847" cy="6289332"/>
          </a:xfrm>
          <a:solidFill>
            <a:srgbClr val="E0E0E0"/>
          </a:solidFill>
        </p:spPr>
        <p:txBody>
          <a:bodyPr anchor="ctr"/>
          <a:lstStyle>
            <a:lvl1pPr algn="ctr">
              <a:defRPr>
                <a:solidFill>
                  <a:schemeClr val="accent5"/>
                </a:solidFill>
              </a:defRPr>
            </a:lvl1pPr>
          </a:lstStyle>
          <a:p>
            <a:r>
              <a:rPr lang="en-US"/>
              <a:t>Place imagery here</a:t>
            </a:r>
          </a:p>
        </p:txBody>
      </p:sp>
      <p:pic>
        <p:nvPicPr>
          <p:cNvPr id="3" name="Picture 2" descr="IBM 8-bar logo">
            <a:extLst>
              <a:ext uri="{FF2B5EF4-FFF2-40B4-BE49-F238E27FC236}">
                <a16:creationId xmlns:a16="http://schemas.microsoft.com/office/drawing/2014/main" id="{5C99EA1F-50F2-8D44-9784-4C9D55555354}"/>
              </a:ext>
            </a:extLst>
          </p:cNvPr>
          <p:cNvPicPr>
            <a:picLocks noChangeAspect="1"/>
          </p:cNvPicPr>
          <p:nvPr userDrawn="1"/>
        </p:nvPicPr>
        <p:blipFill>
          <a:blip r:embed="rId2"/>
          <a:stretch>
            <a:fillRect/>
          </a:stretch>
        </p:blipFill>
        <p:spPr>
          <a:xfrm>
            <a:off x="290006" y="6288882"/>
            <a:ext cx="769062" cy="286200"/>
          </a:xfrm>
          <a:prstGeom prst="rect">
            <a:avLst/>
          </a:prstGeom>
        </p:spPr>
      </p:pic>
      <p:sp>
        <p:nvSpPr>
          <p:cNvPr id="6" name="Title 1">
            <a:extLst>
              <a:ext uri="{FF2B5EF4-FFF2-40B4-BE49-F238E27FC236}">
                <a16:creationId xmlns:a16="http://schemas.microsoft.com/office/drawing/2014/main" id="{EC22CE22-4A72-C394-2534-3F9CEE594205}"/>
              </a:ext>
            </a:extLst>
          </p:cNvPr>
          <p:cNvSpPr>
            <a:spLocks noGrp="1"/>
          </p:cNvSpPr>
          <p:nvPr>
            <p:ph type="title"/>
          </p:nvPr>
        </p:nvSpPr>
        <p:spPr>
          <a:xfrm>
            <a:off x="287963" y="155575"/>
            <a:ext cx="5049878" cy="5178425"/>
          </a:xfrm>
        </p:spPr>
        <p:txBody>
          <a:bodyPr/>
          <a:lstStyle>
            <a:lvl1pPr>
              <a:lnSpc>
                <a:spcPct val="100000"/>
              </a:lnSpc>
              <a:defRPr sz="4199">
                <a:solidFill>
                  <a:schemeClr val="tx2"/>
                </a:solidFill>
              </a:defRPr>
            </a:lvl1pPr>
          </a:lstStyle>
          <a:p>
            <a:r>
              <a:rPr lang="en-US"/>
              <a:t>Click to edit Master title style</a:t>
            </a:r>
          </a:p>
        </p:txBody>
      </p:sp>
    </p:spTree>
    <p:extLst>
      <p:ext uri="{BB962C8B-B14F-4D97-AF65-F5344CB8AC3E}">
        <p14:creationId xmlns:p14="http://schemas.microsoft.com/office/powerpoint/2010/main" val="2445104241"/>
      </p:ext>
    </p:extLst>
  </p:cSld>
  <p:clrMapOvr>
    <a:masterClrMapping/>
  </p:clrMapOvr>
  <p:transition spd="med"/>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Cover, imagery, half, label">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87963" y="288036"/>
            <a:ext cx="5049180" cy="285750"/>
          </a:xfrm>
        </p:spPr>
        <p:txBody>
          <a:bodyPr/>
          <a:lstStyle>
            <a:lvl1pPr>
              <a:spcBef>
                <a:spcPts val="0"/>
              </a:spcBef>
              <a:defRPr sz="14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63" y="756000"/>
            <a:ext cx="5049180" cy="4573588"/>
          </a:xfrm>
        </p:spPr>
        <p:txBody>
          <a:bodyPr/>
          <a:lstStyle>
            <a:lvl1pPr>
              <a:lnSpc>
                <a:spcPct val="100000"/>
              </a:lnSpc>
              <a:defRPr sz="4199">
                <a:solidFill>
                  <a:schemeClr val="tx2"/>
                </a:solidFill>
              </a:defRPr>
            </a:lvl1pPr>
          </a:lstStyle>
          <a:p>
            <a:r>
              <a:rPr lang="en-US"/>
              <a:t>Click to edit Master title style</a:t>
            </a:r>
          </a:p>
        </p:txBody>
      </p:sp>
      <p:pic>
        <p:nvPicPr>
          <p:cNvPr id="3" name="Picture 2" descr="IBM 8-bar logo">
            <a:extLst>
              <a:ext uri="{FF2B5EF4-FFF2-40B4-BE49-F238E27FC236}">
                <a16:creationId xmlns:a16="http://schemas.microsoft.com/office/drawing/2014/main" id="{0A3BE97F-BB78-DA67-3A9B-B2FBFA0DFC6D}"/>
              </a:ext>
            </a:extLst>
          </p:cNvPr>
          <p:cNvPicPr>
            <a:picLocks noChangeAspect="1"/>
          </p:cNvPicPr>
          <p:nvPr userDrawn="1"/>
        </p:nvPicPr>
        <p:blipFill>
          <a:blip r:embed="rId2"/>
          <a:stretch>
            <a:fillRect/>
          </a:stretch>
        </p:blipFill>
        <p:spPr>
          <a:xfrm>
            <a:off x="290006" y="6288882"/>
            <a:ext cx="769062" cy="286200"/>
          </a:xfrm>
          <a:prstGeom prst="rect">
            <a:avLst/>
          </a:prstGeom>
        </p:spPr>
      </p:pic>
      <p:sp>
        <p:nvSpPr>
          <p:cNvPr id="6" name="Picture Placeholder 6" descr="Place imagery here">
            <a:extLst>
              <a:ext uri="{FF2B5EF4-FFF2-40B4-BE49-F238E27FC236}">
                <a16:creationId xmlns:a16="http://schemas.microsoft.com/office/drawing/2014/main" id="{54AE768F-E6B1-F789-5E61-E59B3DBA779A}"/>
              </a:ext>
            </a:extLst>
          </p:cNvPr>
          <p:cNvSpPr>
            <a:spLocks noGrp="1"/>
          </p:cNvSpPr>
          <p:nvPr>
            <p:ph type="pic" sz="quarter" idx="12" hasCustomPrompt="1"/>
          </p:nvPr>
        </p:nvSpPr>
        <p:spPr>
          <a:xfrm>
            <a:off x="6380919" y="284957"/>
            <a:ext cx="5520847" cy="6290125"/>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2431588611"/>
      </p:ext>
    </p:extLst>
  </p:cSld>
  <p:clrMapOvr>
    <a:masterClrMapping/>
  </p:clrMapOvr>
  <p:transition spd="med"/>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63" y="192024"/>
            <a:ext cx="2470717" cy="2105025"/>
          </a:xfrm>
        </p:spPr>
        <p:txBody>
          <a:bodyPr/>
          <a:lstStyle>
            <a:lvl1pPr>
              <a:lnSpc>
                <a:spcPct val="100000"/>
              </a:lnSpc>
              <a:defRPr sz="3399">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6382506" y="287338"/>
            <a:ext cx="2476178" cy="5808659"/>
          </a:xfrm>
        </p:spPr>
        <p:txBody>
          <a:bodyPr/>
          <a:lstStyle>
            <a:lvl1pPr defTabSz="580528">
              <a:spcBef>
                <a:spcPts val="0"/>
              </a:spcBef>
              <a:defRPr>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9430110" y="287337"/>
            <a:ext cx="2470622" cy="5810250"/>
          </a:xfrm>
        </p:spPr>
        <p:txBody>
          <a:bodyPr/>
          <a:lstStyle>
            <a:lvl1pPr defTabSz="580528">
              <a:spcBef>
                <a:spcPts val="0"/>
              </a:spcBef>
              <a:defRPr>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87963" y="6408000"/>
            <a:ext cx="2477765" cy="190500"/>
          </a:xfrm>
        </p:spPr>
        <p:txBody>
          <a:bodyPr/>
          <a:lstStyle/>
          <a:p>
            <a:r>
              <a:rPr lang="en-US"/>
              <a:t>IBM Data Intelligence</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219157508"/>
      </p:ext>
    </p:extLst>
  </p:cSld>
  <p:clrMapOvr>
    <a:masterClrMapping/>
  </p:clrMapOvr>
  <p:transition spd="med"/>
  <p:extLst>
    <p:ext uri="{DCECCB84-F9BA-43D5-87BE-67443E8EF086}">
      <p15:sldGuideLst xmlns:p15="http://schemas.microsoft.com/office/powerpoint/2012/main"/>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63" y="192024"/>
            <a:ext cx="5517527" cy="1331913"/>
          </a:xfrm>
        </p:spPr>
        <p:txBody>
          <a:bodyPr rIns="457200"/>
          <a:lstStyle>
            <a:lvl1pPr>
              <a:lnSpc>
                <a:spcPct val="100000"/>
              </a:lnSpc>
              <a:defRPr sz="3399">
                <a:solidFill>
                  <a:schemeClr val="tx2"/>
                </a:solidFill>
              </a:defRPr>
            </a:lvl1pPr>
          </a:lstStyle>
          <a:p>
            <a:r>
              <a:rPr lang="en-US"/>
              <a:t>Click to edit Master title style</a:t>
            </a:r>
          </a:p>
        </p:txBody>
      </p:sp>
      <p:sp>
        <p:nvSpPr>
          <p:cNvPr id="3" name="Footer Placeholder 3">
            <a:extLst>
              <a:ext uri="{FF2B5EF4-FFF2-40B4-BE49-F238E27FC236}">
                <a16:creationId xmlns:a16="http://schemas.microsoft.com/office/drawing/2014/main" id="{42F412B5-726F-373A-86F7-2FBA60F14014}"/>
              </a:ext>
            </a:extLst>
          </p:cNvPr>
          <p:cNvSpPr>
            <a:spLocks noGrp="1"/>
          </p:cNvSpPr>
          <p:nvPr>
            <p:ph type="ftr" sz="quarter" idx="18"/>
          </p:nvPr>
        </p:nvSpPr>
        <p:spPr>
          <a:xfrm>
            <a:off x="287963" y="6408000"/>
            <a:ext cx="2477765" cy="190500"/>
          </a:xfrm>
        </p:spPr>
        <p:txBody>
          <a:bodyPr/>
          <a:lstStyle/>
          <a:p>
            <a:r>
              <a:rPr lang="en-US"/>
              <a:t>IBM Data Intelligence</a:t>
            </a:r>
          </a:p>
        </p:txBody>
      </p:sp>
      <p:sp>
        <p:nvSpPr>
          <p:cNvPr id="6" name="Slide Number">
            <a:extLst>
              <a:ext uri="{FF2B5EF4-FFF2-40B4-BE49-F238E27FC236}">
                <a16:creationId xmlns:a16="http://schemas.microsoft.com/office/drawing/2014/main" id="{6E2B1415-A9D9-645B-4DF0-7D16976DF727}"/>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826688163"/>
      </p:ext>
    </p:extLst>
  </p:cSld>
  <p:clrMapOvr>
    <a:masterClrMapping/>
  </p:clrMapOvr>
  <p:transition spd="med"/>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87963" y="154800"/>
            <a:ext cx="8569797" cy="4416425"/>
          </a:xfrm>
        </p:spPr>
        <p:txBody>
          <a:bodyPr/>
          <a:lstStyle>
            <a:lvl1pPr>
              <a:defRPr sz="8398" b="0" i="0">
                <a:solidFill>
                  <a:schemeClr val="tx2"/>
                </a:solidFill>
                <a:latin typeface="IBM Plex Sans ExtLt" panose="020B0303050203000203" pitchFamily="34" charset="0"/>
              </a:defRPr>
            </a:lvl1pPr>
          </a:lstStyle>
          <a:p>
            <a:r>
              <a:rPr lang="en-US"/>
              <a:t>Click to edit Master title style</a:t>
            </a:r>
          </a:p>
        </p:txBody>
      </p:sp>
      <p:sp>
        <p:nvSpPr>
          <p:cNvPr id="3" name="Footer Placeholder 3">
            <a:extLst>
              <a:ext uri="{FF2B5EF4-FFF2-40B4-BE49-F238E27FC236}">
                <a16:creationId xmlns:a16="http://schemas.microsoft.com/office/drawing/2014/main" id="{B98A3D4B-A3E1-0D38-F80E-1D86FCFA4DAE}"/>
              </a:ext>
            </a:extLst>
          </p:cNvPr>
          <p:cNvSpPr>
            <a:spLocks noGrp="1"/>
          </p:cNvSpPr>
          <p:nvPr>
            <p:ph type="ftr" sz="quarter" idx="18"/>
          </p:nvPr>
        </p:nvSpPr>
        <p:spPr>
          <a:xfrm>
            <a:off x="287963" y="6408000"/>
            <a:ext cx="2477765" cy="190500"/>
          </a:xfrm>
        </p:spPr>
        <p:txBody>
          <a:bodyPr/>
          <a:lstStyle/>
          <a:p>
            <a:r>
              <a:rPr lang="en-US"/>
              <a:t>IBM Data Intelligence</a:t>
            </a:r>
          </a:p>
        </p:txBody>
      </p:sp>
      <p:sp>
        <p:nvSpPr>
          <p:cNvPr id="6" name="Slide Number">
            <a:extLst>
              <a:ext uri="{FF2B5EF4-FFF2-40B4-BE49-F238E27FC236}">
                <a16:creationId xmlns:a16="http://schemas.microsoft.com/office/drawing/2014/main" id="{3CF46425-C9F2-46CE-AAEE-89D8A19E0F2E}"/>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17118757"/>
      </p:ext>
    </p:extLst>
  </p:cSld>
  <p:clrMapOvr>
    <a:masterClrMapping/>
  </p:clrMapOvr>
  <p:transition spd="med"/>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63" y="192024"/>
            <a:ext cx="4953942" cy="2104835"/>
          </a:xfrm>
        </p:spPr>
        <p:txBody>
          <a:bodyPr/>
          <a:lstStyle>
            <a:lvl1pPr>
              <a:lnSpc>
                <a:spcPct val="100000"/>
              </a:lnSpc>
              <a:defRPr sz="3399">
                <a:solidFill>
                  <a:schemeClr val="tx2"/>
                </a:solidFill>
              </a:defRPr>
            </a:lvl1pPr>
          </a:lstStyle>
          <a:p>
            <a:r>
              <a:rPr lang="en-US"/>
              <a:t>Click to edit Master title style</a:t>
            </a:r>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6389168" y="192024"/>
            <a:ext cx="5520318" cy="4389247"/>
          </a:xfrm>
        </p:spPr>
        <p:txBody>
          <a:bodyPr/>
          <a:lstStyle>
            <a:lvl1pPr>
              <a:lnSpc>
                <a:spcPct val="100000"/>
              </a:lnSpc>
              <a:spcBef>
                <a:spcPts val="0"/>
              </a:spcBef>
              <a:defRPr sz="3399">
                <a:solidFill>
                  <a:schemeClr val="tx2"/>
                </a:solidFill>
              </a:defRPr>
            </a:lvl1pPr>
            <a:lvl2pPr marL="292549" indent="-292549">
              <a:lnSpc>
                <a:spcPct val="100000"/>
              </a:lnSpc>
              <a:spcBef>
                <a:spcPts val="0"/>
              </a:spcBef>
              <a:defRPr sz="3399">
                <a:solidFill>
                  <a:schemeClr val="tx2"/>
                </a:solidFill>
              </a:defRPr>
            </a:lvl2pPr>
            <a:lvl3pPr marL="548530" indent="-292549">
              <a:lnSpc>
                <a:spcPct val="100000"/>
              </a:lnSpc>
              <a:spcBef>
                <a:spcPts val="0"/>
              </a:spcBef>
              <a:defRPr sz="3399">
                <a:solidFill>
                  <a:schemeClr val="tx2"/>
                </a:solidFill>
              </a:defRPr>
            </a:lvl3pPr>
            <a:lvl4pPr marL="877648">
              <a:lnSpc>
                <a:spcPct val="100000"/>
              </a:lnSpc>
              <a:spcBef>
                <a:spcPts val="0"/>
              </a:spcBef>
              <a:defRPr sz="3399">
                <a:solidFill>
                  <a:schemeClr val="tx2"/>
                </a:solidFill>
              </a:defRPr>
            </a:lvl4pPr>
            <a:lvl5pPr>
              <a:lnSpc>
                <a:spcPct val="100000"/>
              </a:lnSpc>
              <a:spcBef>
                <a:spcPts val="0"/>
              </a:spcBef>
              <a:defRPr sz="3199"/>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20FC8337-4A61-6950-CEE5-DDB270D10746}"/>
              </a:ext>
            </a:extLst>
          </p:cNvPr>
          <p:cNvSpPr>
            <a:spLocks noGrp="1"/>
          </p:cNvSpPr>
          <p:nvPr>
            <p:ph type="ftr" sz="quarter" idx="18"/>
          </p:nvPr>
        </p:nvSpPr>
        <p:spPr>
          <a:xfrm>
            <a:off x="287963" y="6408000"/>
            <a:ext cx="2477765" cy="190500"/>
          </a:xfrm>
        </p:spPr>
        <p:txBody>
          <a:bodyPr/>
          <a:lstStyle/>
          <a:p>
            <a:r>
              <a:rPr lang="en-US"/>
              <a:t>IBM Data Intelligence</a:t>
            </a:r>
          </a:p>
        </p:txBody>
      </p:sp>
      <p:sp>
        <p:nvSpPr>
          <p:cNvPr id="7" name="Slide Number">
            <a:extLst>
              <a:ext uri="{FF2B5EF4-FFF2-40B4-BE49-F238E27FC236}">
                <a16:creationId xmlns:a16="http://schemas.microsoft.com/office/drawing/2014/main" id="{F8F57643-D39B-662E-5D14-6D9BFA200F39}"/>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874227324"/>
      </p:ext>
    </p:extLst>
  </p:cSld>
  <p:clrMapOvr>
    <a:masterClrMapping/>
  </p:clrMapOvr>
  <p:transition spd="med"/>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3" name="Footer Placeholder 3">
            <a:extLst>
              <a:ext uri="{FF2B5EF4-FFF2-40B4-BE49-F238E27FC236}">
                <a16:creationId xmlns:a16="http://schemas.microsoft.com/office/drawing/2014/main" id="{949EB6B2-A4A6-F162-D0FE-417694FC70FD}"/>
              </a:ext>
            </a:extLst>
          </p:cNvPr>
          <p:cNvSpPr>
            <a:spLocks noGrp="1"/>
          </p:cNvSpPr>
          <p:nvPr>
            <p:ph type="ftr" sz="quarter" idx="18"/>
          </p:nvPr>
        </p:nvSpPr>
        <p:spPr>
          <a:xfrm>
            <a:off x="287963" y="6408000"/>
            <a:ext cx="2471416" cy="190500"/>
          </a:xfrm>
        </p:spPr>
        <p:txBody>
          <a:bodyPr/>
          <a:lstStyle/>
          <a:p>
            <a:r>
              <a:rPr lang="en-US"/>
              <a:t>IBM Data Intelligence</a:t>
            </a:r>
          </a:p>
        </p:txBody>
      </p:sp>
      <p:sp>
        <p:nvSpPr>
          <p:cNvPr id="6" name="Slide Number">
            <a:extLst>
              <a:ext uri="{FF2B5EF4-FFF2-40B4-BE49-F238E27FC236}">
                <a16:creationId xmlns:a16="http://schemas.microsoft.com/office/drawing/2014/main" id="{4DAC6A96-E5C9-E8BD-2383-926167440939}"/>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9" name="Text Placeholder 8">
            <a:extLst>
              <a:ext uri="{FF2B5EF4-FFF2-40B4-BE49-F238E27FC236}">
                <a16:creationId xmlns:a16="http://schemas.microsoft.com/office/drawing/2014/main" id="{E0CC16BE-B09A-0C84-8A0B-5FE3F85FB19B}"/>
              </a:ext>
            </a:extLst>
          </p:cNvPr>
          <p:cNvSpPr>
            <a:spLocks noGrp="1"/>
          </p:cNvSpPr>
          <p:nvPr>
            <p:ph type="body" sz="quarter" idx="19"/>
          </p:nvPr>
        </p:nvSpPr>
        <p:spPr>
          <a:xfrm>
            <a:off x="287963" y="154800"/>
            <a:ext cx="7323771" cy="5178133"/>
          </a:xfrm>
        </p:spPr>
        <p:txBody>
          <a:bodyPr/>
          <a:lstStyle>
            <a:lvl1pPr>
              <a:lnSpc>
                <a:spcPct val="100000"/>
              </a:lnSpc>
              <a:defRPr sz="4199"/>
            </a:lvl1pPr>
          </a:lstStyle>
          <a:p>
            <a:pPr lvl="0"/>
            <a:r>
              <a:rPr lang="en-US"/>
              <a:t>Click to edit Master text styles</a:t>
            </a:r>
          </a:p>
        </p:txBody>
      </p:sp>
    </p:spTree>
    <p:extLst>
      <p:ext uri="{BB962C8B-B14F-4D97-AF65-F5344CB8AC3E}">
        <p14:creationId xmlns:p14="http://schemas.microsoft.com/office/powerpoint/2010/main" val="902540277"/>
      </p:ext>
    </p:extLst>
  </p:cSld>
  <p:clrMapOvr>
    <a:masterClrMapping/>
  </p:clrMapOvr>
  <p:transition spd="med"/>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87963" y="288036"/>
            <a:ext cx="3811091" cy="3521964"/>
          </a:xfrm>
        </p:spPr>
        <p:txBody>
          <a:bodyPr/>
          <a:lstStyle>
            <a:lvl1pPr>
              <a:lnSpc>
                <a:spcPct val="100000"/>
              </a:lnSpc>
              <a:spcBef>
                <a:spcPts val="0"/>
              </a:spcBef>
              <a:defRPr sz="2100">
                <a:solidFill>
                  <a:schemeClr val="tx1"/>
                </a:solidFill>
              </a:defRPr>
            </a:lvl1pPr>
            <a:lvl2pPr marL="201128" indent="-201128">
              <a:lnSpc>
                <a:spcPct val="100000"/>
              </a:lnSpc>
              <a:spcBef>
                <a:spcPts val="0"/>
              </a:spcBef>
              <a:defRPr sz="2100">
                <a:solidFill>
                  <a:schemeClr val="tx1"/>
                </a:solidFill>
              </a:defRPr>
            </a:lvl2pPr>
            <a:lvl3pPr marL="402256" indent="-201128">
              <a:lnSpc>
                <a:spcPct val="100000"/>
              </a:lnSpc>
              <a:spcBef>
                <a:spcPts val="0"/>
              </a:spcBef>
              <a:defRPr sz="2100">
                <a:solidFill>
                  <a:schemeClr val="tx1"/>
                </a:solidFill>
              </a:defRPr>
            </a:lvl3pPr>
            <a:lvl4pPr marL="557672" indent="-201128">
              <a:lnSpc>
                <a:spcPct val="100000"/>
              </a:lnSpc>
              <a:spcBef>
                <a:spcPts val="0"/>
              </a:spcBef>
              <a:defRPr sz="21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87962" y="4814111"/>
            <a:ext cx="5524575" cy="1676533"/>
          </a:xfrm>
        </p:spPr>
        <p:txBody>
          <a:bodyPr anchor="b"/>
          <a:lstStyle>
            <a:lvl1pPr>
              <a:lnSpc>
                <a:spcPct val="90000"/>
              </a:lnSpc>
              <a:spcBef>
                <a:spcPts val="0"/>
              </a:spcBef>
              <a:defRPr sz="12597" b="0" i="0">
                <a:solidFill>
                  <a:schemeClr val="accent1"/>
                </a:solidFill>
                <a:latin typeface="IBM Plex Sans ExtLt" panose="020B0303050203000203" pitchFamily="34" charset="0"/>
              </a:defRPr>
            </a:lvl1pPr>
          </a:lstStyle>
          <a:p>
            <a:r>
              <a:rPr lang="en-US"/>
              <a:t>↗︎00M</a:t>
            </a:r>
          </a:p>
        </p:txBody>
      </p:sp>
      <p:cxnSp>
        <p:nvCxnSpPr>
          <p:cNvPr id="9" name="Straight Connector 8" descr="Vertical column divider">
            <a:extLst>
              <a:ext uri="{FF2B5EF4-FFF2-40B4-BE49-F238E27FC236}">
                <a16:creationId xmlns:a16="http://schemas.microsoft.com/office/drawing/2014/main" id="{1C44518A-7FBB-67DA-E35B-8BC0AAFC6062}"/>
              </a:ext>
            </a:extLst>
          </p:cNvPr>
          <p:cNvCxnSpPr>
            <a:cxnSpLocks/>
          </p:cNvCxnSpPr>
          <p:nvPr userDrawn="1"/>
        </p:nvCxnSpPr>
        <p:spPr bwMode="auto">
          <a:xfrm>
            <a:off x="6096000" y="284956"/>
            <a:ext cx="0" cy="581263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6389168" y="288036"/>
            <a:ext cx="3809504" cy="3521964"/>
          </a:xfrm>
        </p:spPr>
        <p:txBody>
          <a:bodyPr/>
          <a:lstStyle>
            <a:lvl1pPr>
              <a:lnSpc>
                <a:spcPct val="100000"/>
              </a:lnSpc>
              <a:spcBef>
                <a:spcPts val="0"/>
              </a:spcBef>
              <a:defRPr sz="2100">
                <a:solidFill>
                  <a:schemeClr val="tx1"/>
                </a:solidFill>
              </a:defRPr>
            </a:lvl1pPr>
            <a:lvl2pPr marL="201128" indent="-201128">
              <a:lnSpc>
                <a:spcPct val="100000"/>
              </a:lnSpc>
              <a:spcBef>
                <a:spcPts val="0"/>
              </a:spcBef>
              <a:defRPr sz="2100">
                <a:solidFill>
                  <a:schemeClr val="tx1"/>
                </a:solidFill>
              </a:defRPr>
            </a:lvl2pPr>
            <a:lvl3pPr marL="402256" indent="-201128">
              <a:lnSpc>
                <a:spcPct val="100000"/>
              </a:lnSpc>
              <a:spcBef>
                <a:spcPts val="0"/>
              </a:spcBef>
              <a:defRPr sz="2100">
                <a:solidFill>
                  <a:schemeClr val="tx1"/>
                </a:solidFill>
              </a:defRPr>
            </a:lvl3pPr>
            <a:lvl4pPr marL="557672" indent="-201128">
              <a:lnSpc>
                <a:spcPct val="100000"/>
              </a:lnSpc>
              <a:spcBef>
                <a:spcPts val="0"/>
              </a:spcBef>
              <a:defRPr sz="21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6389168" y="4814111"/>
            <a:ext cx="5523781" cy="1677147"/>
          </a:xfrm>
        </p:spPr>
        <p:txBody>
          <a:bodyPr anchor="b"/>
          <a:lstStyle>
            <a:lvl1pPr>
              <a:lnSpc>
                <a:spcPct val="90000"/>
              </a:lnSpc>
              <a:spcBef>
                <a:spcPts val="0"/>
              </a:spcBef>
              <a:defRPr sz="12597" b="0" i="0">
                <a:solidFill>
                  <a:schemeClr val="accent1"/>
                </a:solidFill>
                <a:latin typeface="IBM Plex Sans ExtLt" panose="020B0303050203000203" pitchFamily="34" charset="0"/>
              </a:defRPr>
            </a:lvl1pPr>
          </a:lstStyle>
          <a:p>
            <a:r>
              <a:rPr lang="en-US"/>
              <a:t>+00%</a:t>
            </a:r>
          </a:p>
        </p:txBody>
      </p:sp>
      <p:sp>
        <p:nvSpPr>
          <p:cNvPr id="2" name="Footer Placeholder 3">
            <a:extLst>
              <a:ext uri="{FF2B5EF4-FFF2-40B4-BE49-F238E27FC236}">
                <a16:creationId xmlns:a16="http://schemas.microsoft.com/office/drawing/2014/main" id="{21A64AF3-E67B-E80B-A5D3-6B3533C87F91}"/>
              </a:ext>
            </a:extLst>
          </p:cNvPr>
          <p:cNvSpPr>
            <a:spLocks noGrp="1"/>
          </p:cNvSpPr>
          <p:nvPr>
            <p:ph type="ftr" sz="quarter" idx="18"/>
          </p:nvPr>
        </p:nvSpPr>
        <p:spPr>
          <a:xfrm>
            <a:off x="287963" y="6408000"/>
            <a:ext cx="2477765" cy="190500"/>
          </a:xfrm>
        </p:spPr>
        <p:txBody>
          <a:bodyPr/>
          <a:lstStyle/>
          <a:p>
            <a:r>
              <a:rPr lang="en-US"/>
              <a:t>IBM Data Intelligence</a:t>
            </a:r>
          </a:p>
        </p:txBody>
      </p:sp>
      <p:sp>
        <p:nvSpPr>
          <p:cNvPr id="5" name="Slide Number">
            <a:extLst>
              <a:ext uri="{FF2B5EF4-FFF2-40B4-BE49-F238E27FC236}">
                <a16:creationId xmlns:a16="http://schemas.microsoft.com/office/drawing/2014/main" id="{28C4F134-9B5D-407C-F525-B2FC25B7B5CD}"/>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607066673"/>
      </p:ext>
    </p:extLst>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63" y="192024"/>
            <a:ext cx="5519019" cy="2105088"/>
          </a:xfrm>
        </p:spPr>
        <p:txBody>
          <a:bodyPr rIns="457200"/>
          <a:lstStyle>
            <a:lvl1pPr>
              <a:lnSpc>
                <a:spcPct val="100000"/>
              </a:lnSpc>
              <a:defRPr sz="3399">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9168" y="288036"/>
            <a:ext cx="2476178" cy="938881"/>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9168" y="1524000"/>
            <a:ext cx="2476178" cy="4576763"/>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2" y="288036"/>
            <a:ext cx="2479352" cy="938881"/>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0109" y="1524000"/>
            <a:ext cx="2476178" cy="4576762"/>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C196BE21-C69D-85CB-EE77-49D2E4993A04}"/>
              </a:ext>
            </a:extLst>
          </p:cNvPr>
          <p:cNvSpPr>
            <a:spLocks noGrp="1"/>
          </p:cNvSpPr>
          <p:nvPr>
            <p:ph type="ftr" sz="quarter" idx="20"/>
          </p:nvPr>
        </p:nvSpPr>
        <p:spPr>
          <a:xfrm>
            <a:off x="287963" y="6408000"/>
            <a:ext cx="2477765" cy="190500"/>
          </a:xfrm>
        </p:spPr>
        <p:txBody>
          <a:bodyPr/>
          <a:lstStyle/>
          <a:p>
            <a:endParaRPr lang="en-US"/>
          </a:p>
        </p:txBody>
      </p:sp>
      <p:sp>
        <p:nvSpPr>
          <p:cNvPr id="8" name="Slide Number">
            <a:extLst>
              <a:ext uri="{FF2B5EF4-FFF2-40B4-BE49-F238E27FC236}">
                <a16:creationId xmlns:a16="http://schemas.microsoft.com/office/drawing/2014/main" id="{DBB179B0-7DF8-112C-BC38-B65090C6DD68}"/>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914199347"/>
      </p:ext>
    </p:extLst>
  </p:cSld>
  <p:clrMapOvr>
    <a:masterClrMapping/>
  </p:clrMapOvr>
  <p:transition spd="med"/>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0" cy="1642364"/>
          </a:xfrm>
        </p:spPr>
        <p:txBody>
          <a:bodyPr/>
          <a:lstStyle>
            <a:lvl1pPr>
              <a:lnSpc>
                <a:spcPct val="110000"/>
              </a:lnSpc>
              <a:defRPr sz="1800">
                <a:solidFill>
                  <a:schemeClr val="tx2"/>
                </a:solidFill>
              </a:defRPr>
            </a:lvl1pPr>
          </a:lstStyle>
          <a:p>
            <a:r>
              <a:rPr lang="en-US"/>
              <a:t>Click to edit Master title style</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192600"/>
            <a:ext cx="2475384" cy="953956"/>
          </a:xfrm>
        </p:spPr>
        <p:txBody>
          <a:bodyPr/>
          <a:lstStyle>
            <a:lvl1pPr>
              <a:lnSpc>
                <a:spcPct val="90000"/>
              </a:lnSpc>
              <a:defRPr sz="6599">
                <a:solidFill>
                  <a:schemeClr val="accent1"/>
                </a:solidFill>
              </a:defRPr>
            </a:lvl1pPr>
            <a:lvl2pPr marL="0" indent="0">
              <a:buNone/>
              <a:defRPr/>
            </a:lvl2pPr>
          </a:lstStyle>
          <a:p>
            <a:pPr lvl="0"/>
            <a:r>
              <a:rPr lang="en-US"/>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3333316" y="1166533"/>
            <a:ext cx="2475384" cy="4931054"/>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389168" y="192600"/>
            <a:ext cx="2474590" cy="953294"/>
          </a:xfrm>
        </p:spPr>
        <p:txBody>
          <a:bodyPr/>
          <a:lstStyle>
            <a:lvl1pPr>
              <a:lnSpc>
                <a:spcPct val="90000"/>
              </a:lnSpc>
              <a:defRPr sz="6599">
                <a:solidFill>
                  <a:schemeClr val="accent1"/>
                </a:solidFill>
              </a:defRPr>
            </a:lvl1pPr>
          </a:lstStyle>
          <a:p>
            <a:pPr lvl="0"/>
            <a:r>
              <a:rPr lang="en-US"/>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9168" y="1167327"/>
            <a:ext cx="2476178" cy="4931054"/>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9428523" y="192600"/>
            <a:ext cx="2474590" cy="951707"/>
          </a:xfrm>
        </p:spPr>
        <p:txBody>
          <a:bodyPr/>
          <a:lstStyle>
            <a:lvl1pPr>
              <a:lnSpc>
                <a:spcPct val="90000"/>
              </a:lnSpc>
              <a:defRPr sz="6599">
                <a:solidFill>
                  <a:schemeClr val="accent1"/>
                </a:solidFill>
              </a:defRPr>
            </a:lvl1pPr>
          </a:lstStyle>
          <a:p>
            <a:pPr lvl="0"/>
            <a:r>
              <a:rPr lang="en-US"/>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9428522" y="1166533"/>
            <a:ext cx="2476178" cy="4931054"/>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4904" y="6029325"/>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856FFD0-F317-D3D7-DE9D-AA1F4AB27EEB}"/>
              </a:ext>
            </a:extLst>
          </p:cNvPr>
          <p:cNvSpPr>
            <a:spLocks noGrp="1"/>
          </p:cNvSpPr>
          <p:nvPr>
            <p:ph type="ftr" sz="quarter" idx="18"/>
          </p:nvPr>
        </p:nvSpPr>
        <p:spPr>
          <a:xfrm>
            <a:off x="287963" y="6408000"/>
            <a:ext cx="2477765" cy="190500"/>
          </a:xfrm>
        </p:spPr>
        <p:txBody>
          <a:bodyPr/>
          <a:lstStyle/>
          <a:p>
            <a:r>
              <a:rPr lang="en-US"/>
              <a:t>IBM Data Intelligence</a:t>
            </a:r>
          </a:p>
        </p:txBody>
      </p:sp>
      <p:sp>
        <p:nvSpPr>
          <p:cNvPr id="8" name="Slide Number">
            <a:extLst>
              <a:ext uri="{FF2B5EF4-FFF2-40B4-BE49-F238E27FC236}">
                <a16:creationId xmlns:a16="http://schemas.microsoft.com/office/drawing/2014/main" id="{899D670E-69CE-BB86-FB88-291343BDEE2E}"/>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035771385"/>
      </p:ext>
    </p:extLst>
  </p:cSld>
  <p:clrMapOvr>
    <a:masterClrMapping/>
  </p:clrMapOvr>
  <p:transition spd="med"/>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3333316" y="3297238"/>
            <a:ext cx="5522257" cy="2670048"/>
          </a:xfrm>
        </p:spPr>
        <p:txBody>
          <a:bodyPr/>
          <a:lstStyle>
            <a:lvl1pPr>
              <a:lnSpc>
                <a:spcPct val="100000"/>
              </a:lnSpc>
              <a:spcBef>
                <a:spcPts val="0"/>
              </a:spcBef>
              <a:defRPr sz="4199">
                <a:solidFill>
                  <a:schemeClr val="tx1"/>
                </a:solidFill>
              </a:defRPr>
            </a:lvl1pPr>
            <a:lvl2pPr marL="393113" indent="-393113">
              <a:lnSpc>
                <a:spcPct val="100000"/>
              </a:lnSpc>
              <a:spcBef>
                <a:spcPts val="0"/>
              </a:spcBef>
              <a:defRPr sz="4199">
                <a:solidFill>
                  <a:schemeClr val="tx1"/>
                </a:solidFill>
              </a:defRPr>
            </a:lvl2pPr>
            <a:lvl3pPr marL="749658" indent="-393113">
              <a:lnSpc>
                <a:spcPct val="100000"/>
              </a:lnSpc>
              <a:spcBef>
                <a:spcPts val="0"/>
              </a:spcBef>
              <a:defRPr sz="4199">
                <a:solidFill>
                  <a:schemeClr val="tx1"/>
                </a:solidFill>
              </a:defRPr>
            </a:lvl3pPr>
            <a:lvl4pPr marL="1142771" indent="-393113">
              <a:lnSpc>
                <a:spcPct val="100000"/>
              </a:lnSpc>
              <a:spcBef>
                <a:spcPts val="0"/>
              </a:spcBef>
              <a:defRPr sz="4199">
                <a:solidFill>
                  <a:schemeClr val="tx1"/>
                </a:solidFill>
              </a:defRPr>
            </a:lvl4pPr>
            <a:lvl5pPr>
              <a:lnSpc>
                <a:spcPct val="100000"/>
              </a:lnSpc>
              <a:spcBef>
                <a:spcPts val="0"/>
              </a:spcBef>
              <a:defRPr sz="4299">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87963" y="154800"/>
            <a:ext cx="2474590" cy="2667793"/>
          </a:xfrm>
        </p:spPr>
        <p:txBody>
          <a:bodyPr/>
          <a:lstStyle>
            <a:lvl1pPr>
              <a:lnSpc>
                <a:spcPct val="100000"/>
              </a:lnSpc>
              <a:defRPr sz="4199">
                <a:solidFill>
                  <a:schemeClr val="accent1"/>
                </a:solidFill>
              </a:defRPr>
            </a:lvl1pPr>
          </a:lstStyle>
          <a:p>
            <a:r>
              <a:rPr lang="en-US"/>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3333316" y="154800"/>
            <a:ext cx="5523781" cy="2667794"/>
          </a:xfrm>
        </p:spPr>
        <p:txBody>
          <a:bodyPr/>
          <a:lstStyle>
            <a:lvl1pPr>
              <a:lnSpc>
                <a:spcPct val="100000"/>
              </a:lnSpc>
              <a:spcBef>
                <a:spcPts val="0"/>
              </a:spcBef>
              <a:defRPr sz="4199">
                <a:solidFill>
                  <a:schemeClr val="tx1"/>
                </a:solidFill>
              </a:defRPr>
            </a:lvl1pPr>
            <a:lvl2pPr marL="393113" indent="-393113">
              <a:lnSpc>
                <a:spcPct val="100000"/>
              </a:lnSpc>
              <a:spcBef>
                <a:spcPts val="0"/>
              </a:spcBef>
              <a:defRPr sz="4199">
                <a:solidFill>
                  <a:schemeClr val="tx1"/>
                </a:solidFill>
              </a:defRPr>
            </a:lvl2pPr>
            <a:lvl3pPr marL="749658" indent="-393113">
              <a:lnSpc>
                <a:spcPct val="100000"/>
              </a:lnSpc>
              <a:spcBef>
                <a:spcPts val="0"/>
              </a:spcBef>
              <a:defRPr sz="4199">
                <a:solidFill>
                  <a:schemeClr val="tx1"/>
                </a:solidFill>
              </a:defRPr>
            </a:lvl3pPr>
            <a:lvl4pPr marL="1142771" indent="-393113">
              <a:lnSpc>
                <a:spcPct val="100000"/>
              </a:lnSpc>
              <a:spcBef>
                <a:spcPts val="0"/>
              </a:spcBef>
              <a:defRPr sz="4199">
                <a:solidFill>
                  <a:schemeClr val="tx1"/>
                </a:solidFill>
              </a:defRPr>
            </a:lvl4pPr>
            <a:lvl5pPr>
              <a:lnSpc>
                <a:spcPct val="100000"/>
              </a:lnSpc>
              <a:spcBef>
                <a:spcPts val="0"/>
              </a:spcBef>
              <a:defRPr sz="4299">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0" name="Straight Connector 9" descr="Horizontal row divider">
            <a:extLst>
              <a:ext uri="{FF2B5EF4-FFF2-40B4-BE49-F238E27FC236}">
                <a16:creationId xmlns:a16="http://schemas.microsoft.com/office/drawing/2014/main" id="{3D81813D-DA09-FCA0-D570-1E2D428C59E9}"/>
              </a:ext>
            </a:extLst>
          </p:cNvPr>
          <p:cNvCxnSpPr>
            <a:cxnSpLocks/>
          </p:cNvCxnSpPr>
          <p:nvPr userDrawn="1"/>
        </p:nvCxnSpPr>
        <p:spPr bwMode="auto">
          <a:xfrm>
            <a:off x="288887" y="3048866"/>
            <a:ext cx="1161581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87962" y="3297238"/>
            <a:ext cx="2473130" cy="2670048"/>
          </a:xfrm>
        </p:spPr>
        <p:txBody>
          <a:bodyPr/>
          <a:lstStyle>
            <a:lvl1pPr>
              <a:lnSpc>
                <a:spcPct val="100000"/>
              </a:lnSpc>
              <a:defRPr sz="4199">
                <a:solidFill>
                  <a:schemeClr val="accent1"/>
                </a:solidFill>
              </a:defRPr>
            </a:lvl1pPr>
            <a:lvl2pPr>
              <a:lnSpc>
                <a:spcPct val="100000"/>
              </a:lnSpc>
              <a:defRPr sz="4299">
                <a:solidFill>
                  <a:schemeClr val="accent1"/>
                </a:solidFill>
              </a:defRPr>
            </a:lvl2pPr>
            <a:lvl3pPr>
              <a:lnSpc>
                <a:spcPct val="100000"/>
              </a:lnSpc>
              <a:defRPr sz="4299">
                <a:solidFill>
                  <a:schemeClr val="accent1"/>
                </a:solidFill>
              </a:defRPr>
            </a:lvl3pPr>
            <a:lvl4pPr>
              <a:lnSpc>
                <a:spcPct val="100000"/>
              </a:lnSpc>
              <a:defRPr sz="4299">
                <a:solidFill>
                  <a:schemeClr val="accent1"/>
                </a:solidFill>
              </a:defRPr>
            </a:lvl4pPr>
            <a:lvl5pPr>
              <a:lnSpc>
                <a:spcPct val="100000"/>
              </a:lnSpc>
              <a:defRPr sz="4299">
                <a:solidFill>
                  <a:schemeClr val="accent1"/>
                </a:solidFill>
              </a:defRPr>
            </a:lvl5pPr>
          </a:lstStyle>
          <a:p>
            <a:pPr lvl="0"/>
            <a:r>
              <a:rPr lang="en-US"/>
              <a:t>+000M</a:t>
            </a:r>
          </a:p>
        </p:txBody>
      </p:sp>
      <p:sp>
        <p:nvSpPr>
          <p:cNvPr id="4" name="Footer Placeholder 3">
            <a:extLst>
              <a:ext uri="{FF2B5EF4-FFF2-40B4-BE49-F238E27FC236}">
                <a16:creationId xmlns:a16="http://schemas.microsoft.com/office/drawing/2014/main" id="{7B9ABB71-218D-3F6E-E3F7-5348FD395D22}"/>
              </a:ext>
            </a:extLst>
          </p:cNvPr>
          <p:cNvSpPr>
            <a:spLocks noGrp="1"/>
          </p:cNvSpPr>
          <p:nvPr>
            <p:ph type="ftr" sz="quarter" idx="18"/>
          </p:nvPr>
        </p:nvSpPr>
        <p:spPr>
          <a:xfrm>
            <a:off x="287963" y="6408000"/>
            <a:ext cx="2477765" cy="190500"/>
          </a:xfrm>
        </p:spPr>
        <p:txBody>
          <a:bodyPr/>
          <a:lstStyle/>
          <a:p>
            <a:r>
              <a:rPr lang="en-US"/>
              <a:t>IBM Data Intelligence</a:t>
            </a:r>
          </a:p>
        </p:txBody>
      </p:sp>
      <p:sp>
        <p:nvSpPr>
          <p:cNvPr id="7" name="Slide Number">
            <a:extLst>
              <a:ext uri="{FF2B5EF4-FFF2-40B4-BE49-F238E27FC236}">
                <a16:creationId xmlns:a16="http://schemas.microsoft.com/office/drawing/2014/main" id="{B77BD92D-3A6C-2396-61D4-51D7CC5B1C0A}"/>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96306009"/>
      </p:ext>
    </p:extLst>
  </p:cSld>
  <p:clrMapOvr>
    <a:masterClrMapping/>
  </p:clrMapOvr>
  <p:transition spd="med"/>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0" cy="1642364"/>
          </a:xfrm>
        </p:spPr>
        <p:txBody>
          <a:bodyPr/>
          <a:lstStyle>
            <a:lvl1pPr>
              <a:lnSpc>
                <a:spcPct val="110000"/>
              </a:lnSpc>
              <a:defRPr sz="1800">
                <a:solidFill>
                  <a:schemeClr val="tx2"/>
                </a:solidFill>
              </a:defRPr>
            </a:lvl1pPr>
          </a:lstStyle>
          <a:p>
            <a:r>
              <a:rPr lang="en-US"/>
              <a:t>Click to edit Master title style</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192024"/>
            <a:ext cx="2475384" cy="1429544"/>
          </a:xfrm>
        </p:spPr>
        <p:txBody>
          <a:bodyPr/>
          <a:lstStyle>
            <a:lvl1pPr>
              <a:lnSpc>
                <a:spcPct val="90000"/>
              </a:lnSpc>
              <a:defRPr sz="6599">
                <a:solidFill>
                  <a:schemeClr val="accent1"/>
                </a:solidFill>
              </a:defRPr>
            </a:lvl1pPr>
            <a:lvl2pPr marL="0" indent="0">
              <a:buNone/>
              <a:defRPr/>
            </a:lvl2pPr>
          </a:lstStyle>
          <a:p>
            <a:r>
              <a:rPr lang="en-US"/>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380919" y="286449"/>
            <a:ext cx="3809504" cy="1429544"/>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7" name="Straight Connector 16" descr="Horizontal row divider">
            <a:extLst>
              <a:ext uri="{FF2B5EF4-FFF2-40B4-BE49-F238E27FC236}">
                <a16:creationId xmlns:a16="http://schemas.microsoft.com/office/drawing/2014/main" id="{1103109C-6DA9-8F27-B4B1-EE276442E489}"/>
              </a:ext>
            </a:extLst>
          </p:cNvPr>
          <p:cNvCxnSpPr/>
          <p:nvPr userDrawn="1"/>
        </p:nvCxnSpPr>
        <p:spPr bwMode="auto">
          <a:xfrm>
            <a:off x="3333316" y="2287588"/>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3333316" y="2478911"/>
            <a:ext cx="2475384" cy="1428753"/>
          </a:xfrm>
        </p:spPr>
        <p:txBody>
          <a:bodyPr/>
          <a:lstStyle>
            <a:lvl1pPr>
              <a:lnSpc>
                <a:spcPct val="90000"/>
              </a:lnSpc>
              <a:defRPr sz="6599">
                <a:solidFill>
                  <a:schemeClr val="accent1"/>
                </a:solidFill>
              </a:defRPr>
            </a:lvl1pPr>
          </a:lstStyle>
          <a:p>
            <a:r>
              <a:rPr lang="en-US"/>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2562985"/>
            <a:ext cx="3809504" cy="14287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5" name="Straight Connector 14" descr="Horizontal row divider">
            <a:extLst>
              <a:ext uri="{FF2B5EF4-FFF2-40B4-BE49-F238E27FC236}">
                <a16:creationId xmlns:a16="http://schemas.microsoft.com/office/drawing/2014/main" id="{687931BB-B3EF-829C-B354-B048514D5138}"/>
              </a:ext>
            </a:extLst>
          </p:cNvPr>
          <p:cNvCxnSpPr/>
          <p:nvPr userDrawn="1"/>
        </p:nvCxnSpPr>
        <p:spPr bwMode="auto">
          <a:xfrm>
            <a:off x="3333316" y="4570413"/>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3333317" y="4763323"/>
            <a:ext cx="2475383" cy="1334265"/>
          </a:xfrm>
        </p:spPr>
        <p:txBody>
          <a:bodyPr/>
          <a:lstStyle>
            <a:lvl1pPr>
              <a:lnSpc>
                <a:spcPct val="90000"/>
              </a:lnSpc>
              <a:defRPr sz="6599">
                <a:solidFill>
                  <a:schemeClr val="accent1"/>
                </a:solidFill>
              </a:defRPr>
            </a:lvl1pPr>
          </a:lstStyle>
          <a:p>
            <a:r>
              <a:rPr lang="en-US"/>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6380919" y="4835205"/>
            <a:ext cx="3809504" cy="126238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9325"/>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a:lnSpc>
                <a:spcPct val="120000"/>
              </a:lnSpc>
              <a:spcBef>
                <a:spcPts val="0"/>
              </a:spcBef>
              <a:defRPr sz="800" b="0" i="0">
                <a:solidFill>
                  <a:schemeClr val="tx1"/>
                </a:solidFill>
                <a:latin typeface="IBM Plex Sans" panose="020B0503050203000203" pitchFamily="34" charset="0"/>
              </a:defRPr>
            </a:lvl2pPr>
            <a:lvl3pPr>
              <a:lnSpc>
                <a:spcPct val="120000"/>
              </a:lnSpc>
              <a:spcBef>
                <a:spcPts val="0"/>
              </a:spcBef>
              <a:defRPr sz="800" b="0" i="0">
                <a:solidFill>
                  <a:schemeClr val="tx1"/>
                </a:solidFill>
                <a:latin typeface="IBM Plex Sans" panose="020B0503050203000203" pitchFamily="34" charset="0"/>
              </a:defRPr>
            </a:lvl3pPr>
            <a:lvl4pPr>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495C3AC-E4B9-F837-204B-FF01953D40BE}"/>
              </a:ext>
            </a:extLst>
          </p:cNvPr>
          <p:cNvSpPr>
            <a:spLocks noGrp="1"/>
          </p:cNvSpPr>
          <p:nvPr>
            <p:ph type="ftr" sz="quarter" idx="18"/>
          </p:nvPr>
        </p:nvSpPr>
        <p:spPr>
          <a:xfrm>
            <a:off x="287963" y="6408000"/>
            <a:ext cx="2477765" cy="190500"/>
          </a:xfrm>
        </p:spPr>
        <p:txBody>
          <a:bodyPr/>
          <a:lstStyle/>
          <a:p>
            <a:r>
              <a:rPr lang="en-US"/>
              <a:t>IBM Data Intelligence</a:t>
            </a:r>
          </a:p>
        </p:txBody>
      </p:sp>
      <p:sp>
        <p:nvSpPr>
          <p:cNvPr id="8" name="Slide Number">
            <a:extLst>
              <a:ext uri="{FF2B5EF4-FFF2-40B4-BE49-F238E27FC236}">
                <a16:creationId xmlns:a16="http://schemas.microsoft.com/office/drawing/2014/main" id="{22119C11-B0BD-168C-0C07-D70B259D3906}"/>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383103177"/>
      </p:ext>
    </p:extLst>
  </p:cSld>
  <p:clrMapOvr>
    <a:masterClrMapping/>
  </p:clrMapOvr>
  <p:transition spd="med"/>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63" y="288036"/>
            <a:ext cx="2470717" cy="762794"/>
          </a:xfrm>
        </p:spPr>
        <p:txBody>
          <a:bodyPr/>
          <a:lstStyle>
            <a:lvl1pPr>
              <a:lnSpc>
                <a:spcPct val="110000"/>
              </a:lnSpc>
              <a:defRPr sz="14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87963" y="1524000"/>
            <a:ext cx="2477765" cy="4576763"/>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4904" y="1524000"/>
            <a:ext cx="2475384" cy="4576763"/>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9168" y="1524000"/>
            <a:ext cx="2476178" cy="4576763"/>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30110" y="1524000"/>
            <a:ext cx="2479352" cy="4576763"/>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2D830AE7-F6A6-A339-0B24-876A9554C9E3}"/>
              </a:ext>
            </a:extLst>
          </p:cNvPr>
          <p:cNvSpPr>
            <a:spLocks noGrp="1"/>
          </p:cNvSpPr>
          <p:nvPr>
            <p:ph type="ftr" sz="quarter" idx="18"/>
          </p:nvPr>
        </p:nvSpPr>
        <p:spPr>
          <a:xfrm>
            <a:off x="287963" y="6408000"/>
            <a:ext cx="2477765" cy="190500"/>
          </a:xfrm>
        </p:spPr>
        <p:txBody>
          <a:bodyPr/>
          <a:lstStyle/>
          <a:p>
            <a:r>
              <a:rPr lang="en-US"/>
              <a:t>IBM Data Intelligence</a:t>
            </a:r>
          </a:p>
        </p:txBody>
      </p:sp>
      <p:sp>
        <p:nvSpPr>
          <p:cNvPr id="8" name="Slide Number">
            <a:extLst>
              <a:ext uri="{FF2B5EF4-FFF2-40B4-BE49-F238E27FC236}">
                <a16:creationId xmlns:a16="http://schemas.microsoft.com/office/drawing/2014/main" id="{31A616C3-34A8-1D7A-67C9-8B76F2D30BD0}"/>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75777075"/>
      </p:ext>
    </p:extLst>
  </p:cSld>
  <p:clrMapOvr>
    <a:masterClrMapping/>
  </p:clrMapOvr>
  <p:transition spd="med"/>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63" y="288036"/>
            <a:ext cx="2474590" cy="762794"/>
          </a:xfrm>
        </p:spPr>
        <p:txBody>
          <a:bodyPr/>
          <a:lstStyle>
            <a:lvl1pPr>
              <a:lnSpc>
                <a:spcPct val="110000"/>
              </a:lnSpc>
              <a:defRPr sz="140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4903" y="288036"/>
            <a:ext cx="2477765" cy="762794"/>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descr="Vertical column divider">
            <a:extLst>
              <a:ext uri="{FF2B5EF4-FFF2-40B4-BE49-F238E27FC236}">
                <a16:creationId xmlns:a16="http://schemas.microsoft.com/office/drawing/2014/main" id="{ABAB2974-AD95-0BF2-C41A-265AEF03B4F7}"/>
              </a:ext>
            </a:extLst>
          </p:cNvPr>
          <p:cNvCxnSpPr>
            <a:cxnSpLocks/>
          </p:cNvCxnSpPr>
          <p:nvPr userDrawn="1"/>
        </p:nvCxnSpPr>
        <p:spPr bwMode="auto">
          <a:xfrm>
            <a:off x="3047603" y="1522413"/>
            <a:ext cx="0" cy="45727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descr="Vertical column divider">
            <a:extLst>
              <a:ext uri="{FF2B5EF4-FFF2-40B4-BE49-F238E27FC236}">
                <a16:creationId xmlns:a16="http://schemas.microsoft.com/office/drawing/2014/main" id="{CDB8CB8D-C4DB-E357-4948-59CD6A18A9DC}"/>
              </a:ext>
            </a:extLst>
          </p:cNvPr>
          <p:cNvCxnSpPr/>
          <p:nvPr userDrawn="1"/>
        </p:nvCxnSpPr>
        <p:spPr bwMode="auto">
          <a:xfrm>
            <a:off x="6093683" y="1522413"/>
            <a:ext cx="0" cy="457517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descr="Vertical column divider">
            <a:extLst>
              <a:ext uri="{FF2B5EF4-FFF2-40B4-BE49-F238E27FC236}">
                <a16:creationId xmlns:a16="http://schemas.microsoft.com/office/drawing/2014/main" id="{8B5887E5-28C4-AA99-EBD5-E34B88F46F25}"/>
              </a:ext>
            </a:extLst>
          </p:cNvPr>
          <p:cNvCxnSpPr/>
          <p:nvPr userDrawn="1"/>
        </p:nvCxnSpPr>
        <p:spPr bwMode="auto">
          <a:xfrm>
            <a:off x="9142810" y="1522413"/>
            <a:ext cx="0" cy="457517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Footer Placeholder 3">
            <a:extLst>
              <a:ext uri="{FF2B5EF4-FFF2-40B4-BE49-F238E27FC236}">
                <a16:creationId xmlns:a16="http://schemas.microsoft.com/office/drawing/2014/main" id="{9A5E154F-497D-F356-4526-C17B1B098AC9}"/>
              </a:ext>
            </a:extLst>
          </p:cNvPr>
          <p:cNvSpPr>
            <a:spLocks noGrp="1"/>
          </p:cNvSpPr>
          <p:nvPr userDrawn="1">
            <p:ph type="ftr" sz="quarter" idx="18"/>
          </p:nvPr>
        </p:nvSpPr>
        <p:spPr>
          <a:xfrm>
            <a:off x="287963" y="6408000"/>
            <a:ext cx="2477765" cy="190500"/>
          </a:xfrm>
        </p:spPr>
        <p:txBody>
          <a:bodyPr/>
          <a:lstStyle/>
          <a:p>
            <a:r>
              <a:rPr lang="en-US"/>
              <a:t>IBM Data Intelligence</a:t>
            </a:r>
          </a:p>
        </p:txBody>
      </p:sp>
      <p:sp>
        <p:nvSpPr>
          <p:cNvPr id="8" name="Slide Number">
            <a:extLst>
              <a:ext uri="{FF2B5EF4-FFF2-40B4-BE49-F238E27FC236}">
                <a16:creationId xmlns:a16="http://schemas.microsoft.com/office/drawing/2014/main" id="{A3714515-3CA1-0F75-0503-3208A09DFA76}"/>
              </a:ext>
            </a:extLst>
          </p:cNvPr>
          <p:cNvSpPr txBox="1">
            <a:spLocks noGrp="1"/>
          </p:cNvSpPr>
          <p:nvPr userDrawn="1">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10" name="Text Placeholder 4">
            <a:extLst>
              <a:ext uri="{FF2B5EF4-FFF2-40B4-BE49-F238E27FC236}">
                <a16:creationId xmlns:a16="http://schemas.microsoft.com/office/drawing/2014/main" id="{4B531E36-2064-83A6-3D5A-E40E324F8495}"/>
              </a:ext>
            </a:extLst>
          </p:cNvPr>
          <p:cNvSpPr>
            <a:spLocks noGrp="1"/>
          </p:cNvSpPr>
          <p:nvPr userDrawn="1">
            <p:ph type="body" sz="quarter" idx="11"/>
          </p:nvPr>
        </p:nvSpPr>
        <p:spPr>
          <a:xfrm>
            <a:off x="291173" y="1524000"/>
            <a:ext cx="2477765" cy="4576763"/>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70587680-FBD6-A326-93E3-B3437A4124A3}"/>
              </a:ext>
            </a:extLst>
          </p:cNvPr>
          <p:cNvSpPr>
            <a:spLocks noGrp="1"/>
          </p:cNvSpPr>
          <p:nvPr userDrawn="1">
            <p:ph type="body" sz="quarter" idx="12"/>
          </p:nvPr>
        </p:nvSpPr>
        <p:spPr>
          <a:xfrm>
            <a:off x="3334904" y="1524000"/>
            <a:ext cx="2475384" cy="4576763"/>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8">
            <a:extLst>
              <a:ext uri="{FF2B5EF4-FFF2-40B4-BE49-F238E27FC236}">
                <a16:creationId xmlns:a16="http://schemas.microsoft.com/office/drawing/2014/main" id="{CAE80882-A798-33A6-BF3F-DF9C75646C23}"/>
              </a:ext>
            </a:extLst>
          </p:cNvPr>
          <p:cNvSpPr>
            <a:spLocks noGrp="1"/>
          </p:cNvSpPr>
          <p:nvPr userDrawn="1">
            <p:ph type="body" sz="quarter" idx="13"/>
          </p:nvPr>
        </p:nvSpPr>
        <p:spPr>
          <a:xfrm>
            <a:off x="6389168" y="1524000"/>
            <a:ext cx="2476178" cy="4576763"/>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10">
            <a:extLst>
              <a:ext uri="{FF2B5EF4-FFF2-40B4-BE49-F238E27FC236}">
                <a16:creationId xmlns:a16="http://schemas.microsoft.com/office/drawing/2014/main" id="{1809E051-5EDC-532B-0D86-AA9349AAA053}"/>
              </a:ext>
            </a:extLst>
          </p:cNvPr>
          <p:cNvSpPr>
            <a:spLocks noGrp="1"/>
          </p:cNvSpPr>
          <p:nvPr userDrawn="1">
            <p:ph type="body" sz="quarter" idx="14"/>
          </p:nvPr>
        </p:nvSpPr>
        <p:spPr>
          <a:xfrm>
            <a:off x="9430110" y="1524000"/>
            <a:ext cx="2479352" cy="4576763"/>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782585475"/>
      </p:ext>
    </p:extLst>
  </p:cSld>
  <p:clrMapOvr>
    <a:masterClrMapping/>
  </p:clrMapOvr>
  <p:transition spd="med"/>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63" y="288036"/>
            <a:ext cx="2474590" cy="1234377"/>
          </a:xfrm>
        </p:spPr>
        <p:txBody>
          <a:bodyPr/>
          <a:lstStyle>
            <a:lvl1pPr>
              <a:lnSpc>
                <a:spcPct val="110000"/>
              </a:lnSpc>
              <a:defRPr sz="140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921519"/>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523999"/>
            <a:ext cx="2475384" cy="4578351"/>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9168" y="288036"/>
            <a:ext cx="2476178" cy="921519"/>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9168" y="1524000"/>
            <a:ext cx="2476178" cy="45783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descr="Vertical column divider">
            <a:extLst>
              <a:ext uri="{FF2B5EF4-FFF2-40B4-BE49-F238E27FC236}">
                <a16:creationId xmlns:a16="http://schemas.microsoft.com/office/drawing/2014/main" id="{C6EB28FF-C21F-A83D-2D19-2242B76C6B09}"/>
              </a:ext>
            </a:extLst>
          </p:cNvPr>
          <p:cNvCxnSpPr>
            <a:cxnSpLocks/>
          </p:cNvCxnSpPr>
          <p:nvPr userDrawn="1"/>
        </p:nvCxnSpPr>
        <p:spPr bwMode="auto">
          <a:xfrm>
            <a:off x="3047603" y="285051"/>
            <a:ext cx="0" cy="581104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descr="Vertical column divider">
            <a:extLst>
              <a:ext uri="{FF2B5EF4-FFF2-40B4-BE49-F238E27FC236}">
                <a16:creationId xmlns:a16="http://schemas.microsoft.com/office/drawing/2014/main" id="{3D7A0E74-695D-C6F5-07CD-01209D58A70A}"/>
              </a:ext>
            </a:extLst>
          </p:cNvPr>
          <p:cNvCxnSpPr>
            <a:cxnSpLocks/>
          </p:cNvCxnSpPr>
          <p:nvPr userDrawn="1"/>
        </p:nvCxnSpPr>
        <p:spPr bwMode="auto">
          <a:xfrm>
            <a:off x="6093683" y="285051"/>
            <a:ext cx="0" cy="5812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descr="Vertical column divider">
            <a:extLst>
              <a:ext uri="{FF2B5EF4-FFF2-40B4-BE49-F238E27FC236}">
                <a16:creationId xmlns:a16="http://schemas.microsoft.com/office/drawing/2014/main" id="{19E1AC9A-B000-435B-E4BC-54B09FB7957C}"/>
              </a:ext>
            </a:extLst>
          </p:cNvPr>
          <p:cNvCxnSpPr>
            <a:cxnSpLocks/>
          </p:cNvCxnSpPr>
          <p:nvPr userDrawn="1"/>
        </p:nvCxnSpPr>
        <p:spPr bwMode="auto">
          <a:xfrm>
            <a:off x="9142810" y="285051"/>
            <a:ext cx="0" cy="581104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2">
            <a:extLst>
              <a:ext uri="{FF2B5EF4-FFF2-40B4-BE49-F238E27FC236}">
                <a16:creationId xmlns:a16="http://schemas.microsoft.com/office/drawing/2014/main" id="{2A62B128-D226-0D9B-89EC-51AFD07F30CF}"/>
              </a:ext>
            </a:extLst>
          </p:cNvPr>
          <p:cNvSpPr>
            <a:spLocks noGrp="1"/>
          </p:cNvSpPr>
          <p:nvPr userDrawn="1">
            <p:ph type="body" sz="quarter" idx="17"/>
          </p:nvPr>
        </p:nvSpPr>
        <p:spPr>
          <a:xfrm>
            <a:off x="9428522" y="288036"/>
            <a:ext cx="2479352" cy="921519"/>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userDrawn="1">
            <p:ph type="body" sz="quarter" idx="14"/>
          </p:nvPr>
        </p:nvSpPr>
        <p:spPr>
          <a:xfrm>
            <a:off x="9428522" y="1524000"/>
            <a:ext cx="2479352" cy="45783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6C3F2C39-1D80-7B1C-F53D-B11D6327AF07}"/>
              </a:ext>
            </a:extLst>
          </p:cNvPr>
          <p:cNvSpPr>
            <a:spLocks noGrp="1"/>
          </p:cNvSpPr>
          <p:nvPr userDrawn="1">
            <p:ph type="ftr" sz="quarter" idx="18"/>
          </p:nvPr>
        </p:nvSpPr>
        <p:spPr>
          <a:xfrm>
            <a:off x="287963" y="6408000"/>
            <a:ext cx="2477765" cy="190500"/>
          </a:xfrm>
        </p:spPr>
        <p:txBody>
          <a:bodyPr/>
          <a:lstStyle/>
          <a:p>
            <a:r>
              <a:rPr lang="en-US"/>
              <a:t>IBM Data Intelligence</a:t>
            </a:r>
          </a:p>
        </p:txBody>
      </p:sp>
      <p:sp>
        <p:nvSpPr>
          <p:cNvPr id="8" name="Slide Number">
            <a:extLst>
              <a:ext uri="{FF2B5EF4-FFF2-40B4-BE49-F238E27FC236}">
                <a16:creationId xmlns:a16="http://schemas.microsoft.com/office/drawing/2014/main" id="{56961C62-D766-8A68-1FA3-BF6BE095543D}"/>
              </a:ext>
            </a:extLst>
          </p:cNvPr>
          <p:cNvSpPr txBox="1">
            <a:spLocks noGrp="1"/>
          </p:cNvSpPr>
          <p:nvPr userDrawn="1">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855512220"/>
      </p:ext>
    </p:extLst>
  </p:cSld>
  <p:clrMapOvr>
    <a:masterClrMapping/>
  </p:clrMapOvr>
  <p:transition spd="med"/>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87999" y="288036"/>
            <a:ext cx="2474590" cy="1048544"/>
          </a:xfrm>
        </p:spPr>
        <p:txBody>
          <a:bodyPr/>
          <a:lstStyle>
            <a:lvl1pPr>
              <a:lnSpc>
                <a:spcPct val="110000"/>
              </a:lnSpc>
              <a:defRPr sz="12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87963" y="1524000"/>
            <a:ext cx="2470717" cy="2289175"/>
          </a:xfrm>
        </p:spPr>
        <p:txBody>
          <a:bodyPr/>
          <a:lstStyle>
            <a:lvl1pPr>
              <a:lnSpc>
                <a:spcPct val="100000"/>
              </a:lnSpc>
              <a:spcBef>
                <a:spcPts val="0"/>
              </a:spcBef>
              <a:defRPr sz="1800">
                <a:solidFill>
                  <a:schemeClr val="tx1"/>
                </a:solidFill>
              </a:defRPr>
            </a:lvl1pPr>
          </a:lstStyle>
          <a:p>
            <a:pPr lvl="0"/>
            <a:r>
              <a:rPr lang="en-US"/>
              <a:t>Click to edit Master text styles</a:t>
            </a:r>
          </a:p>
        </p:txBody>
      </p:sp>
      <p:sp>
        <p:nvSpPr>
          <p:cNvPr id="14" name="Picture Placeholder 13" descr="Place pictogram here">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3333316" y="288036"/>
            <a:ext cx="607997" cy="608076"/>
          </a:xfrm>
        </p:spPr>
        <p:txBody>
          <a:bodyPr anchor="ctr"/>
          <a:lstStyle>
            <a:lvl1pPr algn="ctr">
              <a:defRPr sz="800">
                <a:solidFill>
                  <a:schemeClr val="tx1"/>
                </a:solidFill>
              </a:defRPr>
            </a:lvl1pPr>
          </a:lstStyle>
          <a:p>
            <a:r>
              <a:rPr lang="en-US"/>
              <a:t>Pictogram</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3334904" y="1524000"/>
            <a:ext cx="2475384" cy="4576763"/>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Picture Placeholder 13" descr="Place pictogram here">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6389168" y="288036"/>
            <a:ext cx="607997" cy="608076"/>
          </a:xfrm>
        </p:spPr>
        <p:txBody>
          <a:bodyPr anchor="ctr"/>
          <a:lstStyle>
            <a:lvl1pPr algn="ctr">
              <a:defRPr sz="800">
                <a:solidFill>
                  <a:schemeClr val="tx1"/>
                </a:solidFill>
              </a:defRPr>
            </a:lvl1pPr>
          </a:lstStyle>
          <a:p>
            <a:r>
              <a:rPr lang="en-US"/>
              <a:t>Pictogram</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6389168" y="1524000"/>
            <a:ext cx="2470738" cy="4576762"/>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3" descr="Place pictogram here">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9428522" y="288036"/>
            <a:ext cx="607997" cy="608076"/>
          </a:xfrm>
        </p:spPr>
        <p:txBody>
          <a:bodyPr anchor="ctr"/>
          <a:lstStyle>
            <a:lvl1pPr algn="ctr">
              <a:defRPr sz="800">
                <a:solidFill>
                  <a:schemeClr val="tx1"/>
                </a:solidFill>
              </a:defRPr>
            </a:lvl1pPr>
          </a:lstStyle>
          <a:p>
            <a:r>
              <a:rPr lang="en-US"/>
              <a:t>Pictogram</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9430111" y="1524000"/>
            <a:ext cx="2470621" cy="4576763"/>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8C59ECBB-8567-F0FF-2B81-7CCA543AC3AF}"/>
              </a:ext>
            </a:extLst>
          </p:cNvPr>
          <p:cNvSpPr>
            <a:spLocks noGrp="1"/>
          </p:cNvSpPr>
          <p:nvPr>
            <p:ph type="ftr" sz="quarter" idx="18"/>
          </p:nvPr>
        </p:nvSpPr>
        <p:spPr>
          <a:xfrm>
            <a:off x="287963" y="6408000"/>
            <a:ext cx="2477765" cy="190500"/>
          </a:xfrm>
        </p:spPr>
        <p:txBody>
          <a:bodyPr/>
          <a:lstStyle/>
          <a:p>
            <a:r>
              <a:rPr lang="en-US"/>
              <a:t>IBM Data Intelligence</a:t>
            </a:r>
          </a:p>
        </p:txBody>
      </p:sp>
      <p:sp>
        <p:nvSpPr>
          <p:cNvPr id="7" name="Slide Number">
            <a:extLst>
              <a:ext uri="{FF2B5EF4-FFF2-40B4-BE49-F238E27FC236}">
                <a16:creationId xmlns:a16="http://schemas.microsoft.com/office/drawing/2014/main" id="{193F0BFF-6925-3869-6436-5F209217E4E7}"/>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cxnSp>
        <p:nvCxnSpPr>
          <p:cNvPr id="4" name="Straight Connector 3" descr="Vertical column divider">
            <a:extLst>
              <a:ext uri="{FF2B5EF4-FFF2-40B4-BE49-F238E27FC236}">
                <a16:creationId xmlns:a16="http://schemas.microsoft.com/office/drawing/2014/main" id="{3EC1ADC5-863A-1C19-32F5-F71459CCBF15}"/>
              </a:ext>
            </a:extLst>
          </p:cNvPr>
          <p:cNvCxnSpPr>
            <a:cxnSpLocks/>
          </p:cNvCxnSpPr>
          <p:nvPr userDrawn="1"/>
        </p:nvCxnSpPr>
        <p:spPr bwMode="auto">
          <a:xfrm>
            <a:off x="3047603" y="285052"/>
            <a:ext cx="0" cy="581571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 name="Straight Connector 5" descr="Vertical column divider">
            <a:extLst>
              <a:ext uri="{FF2B5EF4-FFF2-40B4-BE49-F238E27FC236}">
                <a16:creationId xmlns:a16="http://schemas.microsoft.com/office/drawing/2014/main" id="{72E1DB67-171C-F7FE-B9F6-5778755FF746}"/>
              </a:ext>
            </a:extLst>
          </p:cNvPr>
          <p:cNvCxnSpPr>
            <a:cxnSpLocks/>
          </p:cNvCxnSpPr>
          <p:nvPr userDrawn="1"/>
        </p:nvCxnSpPr>
        <p:spPr bwMode="auto">
          <a:xfrm>
            <a:off x="6095270" y="285051"/>
            <a:ext cx="0" cy="5812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Straight Connector 7" descr="Vertical column divider">
            <a:extLst>
              <a:ext uri="{FF2B5EF4-FFF2-40B4-BE49-F238E27FC236}">
                <a16:creationId xmlns:a16="http://schemas.microsoft.com/office/drawing/2014/main" id="{6EF3DAE3-95FD-80AD-F6F4-79B5745FA451}"/>
              </a:ext>
            </a:extLst>
          </p:cNvPr>
          <p:cNvCxnSpPr>
            <a:cxnSpLocks/>
          </p:cNvCxnSpPr>
          <p:nvPr userDrawn="1"/>
        </p:nvCxnSpPr>
        <p:spPr bwMode="auto">
          <a:xfrm>
            <a:off x="9142810" y="285051"/>
            <a:ext cx="0" cy="581104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432986454"/>
      </p:ext>
    </p:extLst>
  </p:cSld>
  <p:clrMapOvr>
    <a:masterClrMapping/>
  </p:clrMapOvr>
  <p:transition spd="med"/>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63" y="192024"/>
            <a:ext cx="2470717" cy="1558989"/>
          </a:xfrm>
        </p:spPr>
        <p:txBody>
          <a:bodyPr/>
          <a:lstStyle>
            <a:lvl1pPr>
              <a:lnSpc>
                <a:spcPct val="100000"/>
              </a:lnSpc>
              <a:defRPr sz="3399">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4142" y="192024"/>
            <a:ext cx="2475385" cy="1100635"/>
          </a:xfrm>
        </p:spPr>
        <p:txBody>
          <a:bodyPr/>
          <a:lstStyle>
            <a:lvl1pPr>
              <a:lnSpc>
                <a:spcPct val="100000"/>
              </a:lnSpc>
              <a:spcBef>
                <a:spcPts val="0"/>
              </a:spcBef>
              <a:defRPr sz="3399">
                <a:solidFill>
                  <a:schemeClr val="tx2"/>
                </a:solidFill>
              </a:defRPr>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4143" y="1524000"/>
            <a:ext cx="2475384" cy="4576763"/>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1745" y="1524000"/>
            <a:ext cx="5047593" cy="4576763"/>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FC93AC5E-9451-FF93-87DD-889A48A00DD1}"/>
              </a:ext>
            </a:extLst>
          </p:cNvPr>
          <p:cNvSpPr>
            <a:spLocks noGrp="1"/>
          </p:cNvSpPr>
          <p:nvPr>
            <p:ph type="ftr" sz="quarter" idx="18"/>
          </p:nvPr>
        </p:nvSpPr>
        <p:spPr>
          <a:xfrm>
            <a:off x="287963" y="6408000"/>
            <a:ext cx="2477765" cy="190500"/>
          </a:xfrm>
        </p:spPr>
        <p:txBody>
          <a:bodyPr/>
          <a:lstStyle/>
          <a:p>
            <a:r>
              <a:rPr lang="en-US"/>
              <a:t>IBM Data Intelligence</a:t>
            </a:r>
          </a:p>
        </p:txBody>
      </p:sp>
      <p:sp>
        <p:nvSpPr>
          <p:cNvPr id="8" name="Slide Number">
            <a:extLst>
              <a:ext uri="{FF2B5EF4-FFF2-40B4-BE49-F238E27FC236}">
                <a16:creationId xmlns:a16="http://schemas.microsoft.com/office/drawing/2014/main" id="{D1F6E83E-BB80-D71A-7819-884C0CD4799E}"/>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466019995"/>
      </p:ext>
    </p:extLst>
  </p:cSld>
  <p:clrMapOvr>
    <a:masterClrMapping/>
  </p:clrMapOvr>
  <p:transition spd="med"/>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87963" y="288036"/>
            <a:ext cx="3711980" cy="953294"/>
          </a:xfrm>
        </p:spPr>
        <p:txBody>
          <a:bodyPr/>
          <a:lstStyle>
            <a:lvl1pPr>
              <a:lnSpc>
                <a:spcPct val="110000"/>
              </a:lnSpc>
              <a:defRPr sz="18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87963" y="1524000"/>
            <a:ext cx="5049180" cy="4576762"/>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6389168" y="1524000"/>
            <a:ext cx="5047593" cy="457676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C9E836C4-97D9-E198-E7C4-C2E94BADE6BD}"/>
              </a:ext>
            </a:extLst>
          </p:cNvPr>
          <p:cNvSpPr>
            <a:spLocks noGrp="1"/>
          </p:cNvSpPr>
          <p:nvPr>
            <p:ph type="ftr" sz="quarter" idx="18"/>
          </p:nvPr>
        </p:nvSpPr>
        <p:spPr>
          <a:xfrm>
            <a:off x="287963" y="6408000"/>
            <a:ext cx="2477765" cy="190500"/>
          </a:xfrm>
        </p:spPr>
        <p:txBody>
          <a:bodyPr/>
          <a:lstStyle/>
          <a:p>
            <a:r>
              <a:rPr lang="en-US"/>
              <a:t>IBM Data Intelligence</a:t>
            </a:r>
          </a:p>
        </p:txBody>
      </p:sp>
      <p:sp>
        <p:nvSpPr>
          <p:cNvPr id="8" name="Slide Number">
            <a:extLst>
              <a:ext uri="{FF2B5EF4-FFF2-40B4-BE49-F238E27FC236}">
                <a16:creationId xmlns:a16="http://schemas.microsoft.com/office/drawing/2014/main" id="{A861A72C-9D4B-8178-79CE-382DDE87CD24}"/>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776904602"/>
      </p:ext>
    </p:extLst>
  </p:cSld>
  <p:clrMapOvr>
    <a:masterClrMapping/>
  </p:clrMapOvr>
  <p:transition spd="med"/>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63" y="192024"/>
            <a:ext cx="5517527" cy="2105089"/>
          </a:xfrm>
        </p:spPr>
        <p:txBody>
          <a:bodyPr rIns="457200"/>
          <a:lstStyle>
            <a:lvl1pPr>
              <a:lnSpc>
                <a:spcPct val="100000"/>
              </a:lnSpc>
              <a:defRPr sz="3399">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2507" y="288035"/>
            <a:ext cx="2474590" cy="5809552"/>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30110" y="288035"/>
            <a:ext cx="2470622" cy="5809552"/>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A8BE2778-A9AA-3756-3479-C4A6DD4F0F00}"/>
              </a:ext>
            </a:extLst>
          </p:cNvPr>
          <p:cNvSpPr>
            <a:spLocks noGrp="1"/>
          </p:cNvSpPr>
          <p:nvPr>
            <p:ph type="ftr" sz="quarter" idx="18"/>
          </p:nvPr>
        </p:nvSpPr>
        <p:spPr>
          <a:xfrm>
            <a:off x="287963" y="6408000"/>
            <a:ext cx="2477765" cy="190500"/>
          </a:xfrm>
        </p:spPr>
        <p:txBody>
          <a:bodyPr/>
          <a:lstStyle/>
          <a:p>
            <a:r>
              <a:rPr lang="en-US"/>
              <a:t>IBM Data Intelligence</a:t>
            </a:r>
          </a:p>
        </p:txBody>
      </p:sp>
      <p:sp>
        <p:nvSpPr>
          <p:cNvPr id="8" name="Slide Number">
            <a:extLst>
              <a:ext uri="{FF2B5EF4-FFF2-40B4-BE49-F238E27FC236}">
                <a16:creationId xmlns:a16="http://schemas.microsoft.com/office/drawing/2014/main" id="{31D49C41-81F4-5A73-2F6D-EF2D5E383721}"/>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726805847"/>
      </p:ext>
    </p:extLst>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62" y="288036"/>
            <a:ext cx="2474591" cy="1997964"/>
          </a:xfrm>
        </p:spPr>
        <p:txBody>
          <a:bodyPr rIns="0"/>
          <a:lstStyle>
            <a:lvl1pPr>
              <a:lnSpc>
                <a:spcPct val="110000"/>
              </a:lnSpc>
              <a:defRPr sz="1400">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9168" y="288036"/>
            <a:ext cx="2476178" cy="938881"/>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9168" y="1524000"/>
            <a:ext cx="2476178" cy="4576763"/>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30110" y="288036"/>
            <a:ext cx="2470717" cy="938881"/>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0109" y="1524000"/>
            <a:ext cx="2476178" cy="4576763"/>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12FA1770-E046-DD8F-9F28-19D80D1D67C2}"/>
              </a:ext>
            </a:extLst>
          </p:cNvPr>
          <p:cNvSpPr>
            <a:spLocks noGrp="1"/>
          </p:cNvSpPr>
          <p:nvPr>
            <p:ph type="ftr" sz="quarter" idx="20"/>
          </p:nvPr>
        </p:nvSpPr>
        <p:spPr>
          <a:xfrm>
            <a:off x="287963" y="6408000"/>
            <a:ext cx="2477765" cy="190500"/>
          </a:xfrm>
        </p:spPr>
        <p:txBody>
          <a:bodyPr/>
          <a:lstStyle/>
          <a:p>
            <a:endParaRPr lang="en-US"/>
          </a:p>
        </p:txBody>
      </p:sp>
      <p:sp>
        <p:nvSpPr>
          <p:cNvPr id="8" name="Slide Number">
            <a:extLst>
              <a:ext uri="{FF2B5EF4-FFF2-40B4-BE49-F238E27FC236}">
                <a16:creationId xmlns:a16="http://schemas.microsoft.com/office/drawing/2014/main" id="{91ADA982-549A-4D2D-490A-DE5610A50878}"/>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03887129"/>
      </p:ext>
    </p:extLst>
  </p:cSld>
  <p:clrMapOvr>
    <a:masterClrMapping/>
  </p:clrMapOvr>
  <p:transition spd="med"/>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63" y="288036"/>
            <a:ext cx="2470717" cy="1997964"/>
          </a:xfrm>
        </p:spPr>
        <p:txBody>
          <a:bodyPr/>
          <a:lstStyle>
            <a:lvl1pPr>
              <a:lnSpc>
                <a:spcPct val="110000"/>
              </a:lnSpc>
              <a:defRPr sz="18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9168" y="288000"/>
            <a:ext cx="2476178" cy="581104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30110" y="288000"/>
            <a:ext cx="2470622" cy="581104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CB9B0455-A1CF-B58E-3124-86D0B0DD2BB2}"/>
              </a:ext>
            </a:extLst>
          </p:cNvPr>
          <p:cNvSpPr>
            <a:spLocks noGrp="1"/>
          </p:cNvSpPr>
          <p:nvPr>
            <p:ph type="ftr" sz="quarter" idx="18"/>
          </p:nvPr>
        </p:nvSpPr>
        <p:spPr>
          <a:xfrm>
            <a:off x="287963" y="6408000"/>
            <a:ext cx="2477765" cy="190500"/>
          </a:xfrm>
        </p:spPr>
        <p:txBody>
          <a:bodyPr/>
          <a:lstStyle/>
          <a:p>
            <a:r>
              <a:rPr lang="en-US"/>
              <a:t>IBM Data Intelligence</a:t>
            </a:r>
          </a:p>
        </p:txBody>
      </p:sp>
      <p:sp>
        <p:nvSpPr>
          <p:cNvPr id="8" name="Slide Number">
            <a:extLst>
              <a:ext uri="{FF2B5EF4-FFF2-40B4-BE49-F238E27FC236}">
                <a16:creationId xmlns:a16="http://schemas.microsoft.com/office/drawing/2014/main" id="{964E5562-E403-533D-BEAD-AB50713ED183}"/>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989491905"/>
      </p:ext>
    </p:extLst>
  </p:cSld>
  <p:clrMapOvr>
    <a:masterClrMapping/>
  </p:clrMapOvr>
  <p:transition spd="med"/>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63" y="192024"/>
            <a:ext cx="5519019" cy="2105088"/>
          </a:xfrm>
        </p:spPr>
        <p:txBody>
          <a:bodyPr rIns="457200"/>
          <a:lstStyle>
            <a:lvl1pPr>
              <a:lnSpc>
                <a:spcPct val="100000"/>
              </a:lnSpc>
              <a:defRPr sz="3399">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9168" y="288036"/>
            <a:ext cx="2476178" cy="938881"/>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9168" y="1524000"/>
            <a:ext cx="2476178" cy="4576763"/>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2" y="288036"/>
            <a:ext cx="2479352" cy="938881"/>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0109" y="1524000"/>
            <a:ext cx="2476178" cy="4576762"/>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C196BE21-C69D-85CB-EE77-49D2E4993A04}"/>
              </a:ext>
            </a:extLst>
          </p:cNvPr>
          <p:cNvSpPr>
            <a:spLocks noGrp="1"/>
          </p:cNvSpPr>
          <p:nvPr>
            <p:ph type="ftr" sz="quarter" idx="20"/>
          </p:nvPr>
        </p:nvSpPr>
        <p:spPr>
          <a:xfrm>
            <a:off x="287963" y="6408000"/>
            <a:ext cx="2477765" cy="190500"/>
          </a:xfrm>
        </p:spPr>
        <p:txBody>
          <a:bodyPr/>
          <a:lstStyle/>
          <a:p>
            <a:r>
              <a:rPr lang="en-US"/>
              <a:t>IBM Data Intelligence</a:t>
            </a:r>
          </a:p>
        </p:txBody>
      </p:sp>
      <p:sp>
        <p:nvSpPr>
          <p:cNvPr id="8" name="Slide Number">
            <a:extLst>
              <a:ext uri="{FF2B5EF4-FFF2-40B4-BE49-F238E27FC236}">
                <a16:creationId xmlns:a16="http://schemas.microsoft.com/office/drawing/2014/main" id="{DBB179B0-7DF8-112C-BC38-B65090C6DD68}"/>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141492863"/>
      </p:ext>
    </p:extLst>
  </p:cSld>
  <p:clrMapOvr>
    <a:masterClrMapping/>
  </p:clrMapOvr>
  <p:transition spd="med"/>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62" y="288036"/>
            <a:ext cx="2474591" cy="1997964"/>
          </a:xfrm>
        </p:spPr>
        <p:txBody>
          <a:bodyPr rIns="0"/>
          <a:lstStyle>
            <a:lvl1pPr>
              <a:lnSpc>
                <a:spcPct val="110000"/>
              </a:lnSpc>
              <a:defRPr sz="1400">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9168" y="288036"/>
            <a:ext cx="2476178" cy="938881"/>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9168" y="1524000"/>
            <a:ext cx="2476178" cy="4576763"/>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30110" y="288036"/>
            <a:ext cx="2470717" cy="938881"/>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0109" y="1524000"/>
            <a:ext cx="2476178" cy="4576763"/>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12FA1770-E046-DD8F-9F28-19D80D1D67C2}"/>
              </a:ext>
            </a:extLst>
          </p:cNvPr>
          <p:cNvSpPr>
            <a:spLocks noGrp="1"/>
          </p:cNvSpPr>
          <p:nvPr>
            <p:ph type="ftr" sz="quarter" idx="20"/>
          </p:nvPr>
        </p:nvSpPr>
        <p:spPr>
          <a:xfrm>
            <a:off x="287963" y="6408000"/>
            <a:ext cx="2477765" cy="190500"/>
          </a:xfrm>
        </p:spPr>
        <p:txBody>
          <a:bodyPr/>
          <a:lstStyle/>
          <a:p>
            <a:r>
              <a:rPr lang="en-US"/>
              <a:t>IBM Data Intelligence</a:t>
            </a:r>
          </a:p>
        </p:txBody>
      </p:sp>
      <p:sp>
        <p:nvSpPr>
          <p:cNvPr id="8" name="Slide Number">
            <a:extLst>
              <a:ext uri="{FF2B5EF4-FFF2-40B4-BE49-F238E27FC236}">
                <a16:creationId xmlns:a16="http://schemas.microsoft.com/office/drawing/2014/main" id="{91ADA982-549A-4D2D-490A-DE5610A50878}"/>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407725010"/>
      </p:ext>
    </p:extLst>
  </p:cSld>
  <p:clrMapOvr>
    <a:masterClrMapping/>
  </p:clrMapOvr>
  <p:transition spd="med"/>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63" y="192024"/>
            <a:ext cx="2474590" cy="2105089"/>
          </a:xfrm>
        </p:spPr>
        <p:txBody>
          <a:bodyPr/>
          <a:lstStyle>
            <a:lvl1pPr>
              <a:lnSpc>
                <a:spcPct val="100000"/>
              </a:lnSpc>
              <a:defRPr sz="3399">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4142" y="192024"/>
            <a:ext cx="2477765" cy="1555292"/>
          </a:xfrm>
        </p:spPr>
        <p:txBody>
          <a:bodyPr/>
          <a:lstStyle>
            <a:lvl1pPr>
              <a:lnSpc>
                <a:spcPct val="100000"/>
              </a:lnSpc>
              <a:spcBef>
                <a:spcPts val="0"/>
              </a:spcBef>
              <a:defRPr sz="3399">
                <a:solidFill>
                  <a:schemeClr val="tx2"/>
                </a:solidFill>
              </a:defRPr>
            </a:lvl1pPr>
            <a:lvl2pPr>
              <a:lnSpc>
                <a:spcPct val="90000"/>
              </a:lnSpc>
              <a:spcBef>
                <a:spcPts val="0"/>
              </a:spcBef>
              <a:defRPr sz="1400"/>
            </a:lvl2pPr>
            <a:lvl3pPr>
              <a:lnSpc>
                <a:spcPct val="90000"/>
              </a:lnSpc>
              <a:spcBef>
                <a:spcPts val="0"/>
              </a:spcBef>
              <a:defRPr sz="1400"/>
            </a:lvl3pPr>
            <a:lvl4pPr>
              <a:lnSpc>
                <a:spcPct val="90000"/>
              </a:lnSpc>
              <a:spcBef>
                <a:spcPts val="0"/>
              </a:spcBef>
              <a:defRPr sz="1400"/>
            </a:lvl4pPr>
            <a:lvl5pPr>
              <a:lnSpc>
                <a:spcPct val="90000"/>
              </a:lnSpc>
              <a:spcBef>
                <a:spcPts val="0"/>
              </a:spcBef>
              <a:defRPr sz="140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4904" y="1508395"/>
            <a:ext cx="2475384" cy="4594294"/>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4" descr="Place pictogram here">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6389168" y="288036"/>
            <a:ext cx="607997" cy="607231"/>
          </a:xfrm>
        </p:spPr>
        <p:txBody>
          <a:bodyPr anchor="ctr"/>
          <a:lstStyle>
            <a:lvl1pPr algn="ctr">
              <a:defRPr sz="800">
                <a:solidFill>
                  <a:schemeClr val="tx1"/>
                </a:solidFill>
              </a:defRPr>
            </a:lvl1pPr>
          </a:lstStyle>
          <a:p>
            <a:r>
              <a:rPr lang="en-US"/>
              <a:t>Pictogram</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9168" y="1524000"/>
            <a:ext cx="2476178" cy="4576763"/>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descr="Place pictogram here">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9428522" y="288036"/>
            <a:ext cx="608843" cy="608076"/>
          </a:xfrm>
        </p:spPr>
        <p:txBody>
          <a:bodyPr anchor="ctr"/>
          <a:lstStyle>
            <a:lvl1pPr algn="ctr">
              <a:defRPr sz="800">
                <a:solidFill>
                  <a:schemeClr val="tx1"/>
                </a:solidFill>
              </a:defRPr>
            </a:lvl1pPr>
          </a:lstStyle>
          <a:p>
            <a:r>
              <a:rPr lang="en-US"/>
              <a:t>Pictogram</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524000"/>
            <a:ext cx="2479352" cy="4576763"/>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E7E14D98-D346-214C-0437-7A0B4A7F3F06}"/>
              </a:ext>
            </a:extLst>
          </p:cNvPr>
          <p:cNvSpPr>
            <a:spLocks noGrp="1"/>
          </p:cNvSpPr>
          <p:nvPr>
            <p:ph type="ftr" sz="quarter" idx="18"/>
          </p:nvPr>
        </p:nvSpPr>
        <p:spPr>
          <a:xfrm>
            <a:off x="290474" y="6411643"/>
            <a:ext cx="2477765" cy="190500"/>
          </a:xfrm>
        </p:spPr>
        <p:txBody>
          <a:bodyPr/>
          <a:lstStyle/>
          <a:p>
            <a:r>
              <a:rPr lang="en-US"/>
              <a:t>IBM Data Intelligence</a:t>
            </a:r>
          </a:p>
        </p:txBody>
      </p:sp>
      <p:sp>
        <p:nvSpPr>
          <p:cNvPr id="10" name="Slide Number">
            <a:extLst>
              <a:ext uri="{FF2B5EF4-FFF2-40B4-BE49-F238E27FC236}">
                <a16:creationId xmlns:a16="http://schemas.microsoft.com/office/drawing/2014/main" id="{8CDC5D22-5EFB-A82A-2192-76A569B4B0D5}"/>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cxnSp>
        <p:nvCxnSpPr>
          <p:cNvPr id="8" name="Straight Connector 7" descr="Vertical column divider">
            <a:extLst>
              <a:ext uri="{FF2B5EF4-FFF2-40B4-BE49-F238E27FC236}">
                <a16:creationId xmlns:a16="http://schemas.microsoft.com/office/drawing/2014/main" id="{75E2B956-D8A8-9075-0842-BD0DAFFD4122}"/>
              </a:ext>
            </a:extLst>
          </p:cNvPr>
          <p:cNvCxnSpPr>
            <a:cxnSpLocks/>
          </p:cNvCxnSpPr>
          <p:nvPr userDrawn="1"/>
        </p:nvCxnSpPr>
        <p:spPr bwMode="auto">
          <a:xfrm>
            <a:off x="6095270" y="285051"/>
            <a:ext cx="0" cy="5812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descr="Vertical column divider">
            <a:extLst>
              <a:ext uri="{FF2B5EF4-FFF2-40B4-BE49-F238E27FC236}">
                <a16:creationId xmlns:a16="http://schemas.microsoft.com/office/drawing/2014/main" id="{BE2C4D34-A499-856F-2ED0-C6A511B884A1}"/>
              </a:ext>
            </a:extLst>
          </p:cNvPr>
          <p:cNvCxnSpPr>
            <a:cxnSpLocks/>
          </p:cNvCxnSpPr>
          <p:nvPr userDrawn="1"/>
        </p:nvCxnSpPr>
        <p:spPr bwMode="auto">
          <a:xfrm>
            <a:off x="9142810" y="285051"/>
            <a:ext cx="0" cy="5812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263619006"/>
      </p:ext>
    </p:extLst>
  </p:cSld>
  <p:clrMapOvr>
    <a:masterClrMapping/>
  </p:clrMapOvr>
  <p:transition spd="med"/>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13" name="Picture Placeholder 12" descr="Place pictogram here">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87998" y="288036"/>
            <a:ext cx="607997" cy="608076"/>
          </a:xfrm>
        </p:spPr>
        <p:txBody>
          <a:bodyPr anchor="ctr"/>
          <a:lstStyle>
            <a:lvl1pPr algn="ctr">
              <a:defRPr sz="800"/>
            </a:lvl1pPr>
          </a:lstStyle>
          <a:p>
            <a:r>
              <a:rPr lang="en-US"/>
              <a:t>Pictogram</a:t>
            </a:r>
          </a:p>
        </p:txBody>
      </p:sp>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87999" y="1239012"/>
            <a:ext cx="3334903" cy="1524000"/>
          </a:xfrm>
        </p:spPr>
        <p:txBody>
          <a:bodyPr/>
          <a:lstStyle>
            <a:lvl1pPr>
              <a:lnSpc>
                <a:spcPct val="100000"/>
              </a:lnSpc>
              <a:spcBef>
                <a:spcPts val="0"/>
              </a:spcBef>
              <a:defRPr sz="2100">
                <a:solidFill>
                  <a:schemeClr val="tx1"/>
                </a:solidFill>
              </a:defRPr>
            </a:lvl1pPr>
            <a:lvl2pPr marL="201128" indent="-201128">
              <a:lnSpc>
                <a:spcPct val="100000"/>
              </a:lnSpc>
              <a:spcBef>
                <a:spcPts val="0"/>
              </a:spcBef>
              <a:defRPr sz="2100">
                <a:solidFill>
                  <a:schemeClr val="tx1"/>
                </a:solidFill>
              </a:defRPr>
            </a:lvl2pPr>
            <a:lvl3pPr marL="402256" indent="-201128">
              <a:lnSpc>
                <a:spcPct val="100000"/>
              </a:lnSpc>
              <a:spcBef>
                <a:spcPts val="0"/>
              </a:spcBef>
              <a:defRPr sz="2100">
                <a:solidFill>
                  <a:schemeClr val="tx1"/>
                </a:solidFill>
              </a:defRPr>
            </a:lvl3pPr>
            <a:lvl4pPr marL="557672" indent="-201128">
              <a:lnSpc>
                <a:spcPct val="100000"/>
              </a:lnSpc>
              <a:spcBef>
                <a:spcPts val="0"/>
              </a:spcBef>
              <a:defRPr sz="21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Picture Placeholder 14" descr="Place pictogram here">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6389168" y="288036"/>
            <a:ext cx="607997" cy="608076"/>
          </a:xfrm>
        </p:spPr>
        <p:txBody>
          <a:bodyPr anchor="ctr"/>
          <a:lstStyle>
            <a:lvl1pPr algn="ctr">
              <a:defRPr sz="800"/>
            </a:lvl1pPr>
          </a:lstStyle>
          <a:p>
            <a:r>
              <a:rPr lang="en-US"/>
              <a:t>Pictogram</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6389168" y="1238250"/>
            <a:ext cx="3337125" cy="1524000"/>
          </a:xfrm>
        </p:spPr>
        <p:txBody>
          <a:bodyPr/>
          <a:lstStyle>
            <a:lvl1pPr>
              <a:lnSpc>
                <a:spcPct val="100000"/>
              </a:lnSpc>
              <a:spcBef>
                <a:spcPts val="0"/>
              </a:spcBef>
              <a:defRPr sz="2100">
                <a:solidFill>
                  <a:schemeClr val="tx1"/>
                </a:solidFill>
              </a:defRPr>
            </a:lvl1pPr>
            <a:lvl2pPr marL="201128" indent="-201128">
              <a:lnSpc>
                <a:spcPct val="100000"/>
              </a:lnSpc>
              <a:spcBef>
                <a:spcPts val="0"/>
              </a:spcBef>
              <a:defRPr sz="2100">
                <a:solidFill>
                  <a:schemeClr val="tx1"/>
                </a:solidFill>
              </a:defRPr>
            </a:lvl2pPr>
            <a:lvl3pPr marL="402256" indent="-201128">
              <a:lnSpc>
                <a:spcPct val="100000"/>
              </a:lnSpc>
              <a:spcBef>
                <a:spcPts val="0"/>
              </a:spcBef>
              <a:defRPr sz="2100">
                <a:solidFill>
                  <a:schemeClr val="tx1"/>
                </a:solidFill>
              </a:defRPr>
            </a:lvl3pPr>
            <a:lvl4pPr marL="557672" indent="-201128">
              <a:lnSpc>
                <a:spcPct val="100000"/>
              </a:lnSpc>
              <a:spcBef>
                <a:spcPts val="0"/>
              </a:spcBef>
              <a:defRPr sz="21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9C5483A0-0E31-72CE-21C3-6248FAEBC09A}"/>
              </a:ext>
              <a:ext uri="{C183D7F6-B498-43B3-948B-1728B52AA6E4}">
                <adec:decorative xmlns:adec="http://schemas.microsoft.com/office/drawing/2017/decorative" val="0"/>
              </a:ext>
            </a:extLst>
          </p:cNvPr>
          <p:cNvCxnSpPr>
            <a:cxnSpLocks/>
          </p:cNvCxnSpPr>
          <p:nvPr userDrawn="1"/>
        </p:nvCxnSpPr>
        <p:spPr bwMode="auto">
          <a:xfrm>
            <a:off x="287999" y="3048000"/>
            <a:ext cx="1161670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6" descr="Place pictogram here">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87998" y="3236976"/>
            <a:ext cx="607997" cy="608076"/>
          </a:xfrm>
        </p:spPr>
        <p:txBody>
          <a:bodyPr anchor="ctr"/>
          <a:lstStyle>
            <a:lvl1pPr algn="ctr">
              <a:defRPr sz="800"/>
            </a:lvl1pPr>
          </a:lstStyle>
          <a:p>
            <a:r>
              <a:rPr lang="en-US"/>
              <a:t>Pictogram</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87998" y="4192524"/>
            <a:ext cx="3334904" cy="1524000"/>
          </a:xfrm>
        </p:spPr>
        <p:txBody>
          <a:bodyPr/>
          <a:lstStyle>
            <a:lvl1pPr>
              <a:lnSpc>
                <a:spcPct val="100000"/>
              </a:lnSpc>
              <a:spcBef>
                <a:spcPts val="0"/>
              </a:spcBef>
              <a:defRPr sz="2100">
                <a:solidFill>
                  <a:schemeClr val="tx1"/>
                </a:solidFill>
              </a:defRPr>
            </a:lvl1pPr>
            <a:lvl2pPr marL="201128" indent="-201128">
              <a:lnSpc>
                <a:spcPct val="100000"/>
              </a:lnSpc>
              <a:spcBef>
                <a:spcPts val="0"/>
              </a:spcBef>
              <a:defRPr sz="2100">
                <a:solidFill>
                  <a:schemeClr val="tx1"/>
                </a:solidFill>
              </a:defRPr>
            </a:lvl2pPr>
            <a:lvl3pPr marL="402256" indent="-201128">
              <a:lnSpc>
                <a:spcPct val="100000"/>
              </a:lnSpc>
              <a:spcBef>
                <a:spcPts val="0"/>
              </a:spcBef>
              <a:defRPr sz="2100">
                <a:solidFill>
                  <a:schemeClr val="tx1"/>
                </a:solidFill>
              </a:defRPr>
            </a:lvl3pPr>
            <a:lvl4pPr marL="557672" indent="-201128">
              <a:lnSpc>
                <a:spcPct val="100000"/>
              </a:lnSpc>
              <a:spcBef>
                <a:spcPts val="0"/>
              </a:spcBef>
              <a:defRPr sz="21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18" descr="Place pictogram here">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6389168" y="3238500"/>
            <a:ext cx="607997" cy="608076"/>
          </a:xfrm>
        </p:spPr>
        <p:txBody>
          <a:bodyPr anchor="ctr"/>
          <a:lstStyle>
            <a:lvl1pPr algn="ctr">
              <a:defRPr sz="800"/>
            </a:lvl1pPr>
          </a:lstStyle>
          <a:p>
            <a:r>
              <a:rPr lang="en-US"/>
              <a:t>Pictogram</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6389168" y="4191000"/>
            <a:ext cx="3337125" cy="1524000"/>
          </a:xfrm>
        </p:spPr>
        <p:txBody>
          <a:bodyPr/>
          <a:lstStyle>
            <a:lvl1pPr>
              <a:lnSpc>
                <a:spcPct val="100000"/>
              </a:lnSpc>
              <a:spcBef>
                <a:spcPts val="0"/>
              </a:spcBef>
              <a:defRPr sz="2100">
                <a:solidFill>
                  <a:schemeClr val="tx1"/>
                </a:solidFill>
              </a:defRPr>
            </a:lvl1pPr>
            <a:lvl2pPr marL="201128" indent="-201128">
              <a:lnSpc>
                <a:spcPct val="100000"/>
              </a:lnSpc>
              <a:spcBef>
                <a:spcPts val="0"/>
              </a:spcBef>
              <a:defRPr sz="2100">
                <a:solidFill>
                  <a:schemeClr val="tx1"/>
                </a:solidFill>
              </a:defRPr>
            </a:lvl2pPr>
            <a:lvl3pPr marL="402256" indent="-201128">
              <a:lnSpc>
                <a:spcPct val="100000"/>
              </a:lnSpc>
              <a:spcBef>
                <a:spcPts val="0"/>
              </a:spcBef>
              <a:defRPr sz="2100">
                <a:solidFill>
                  <a:schemeClr val="tx1"/>
                </a:solidFill>
              </a:defRPr>
            </a:lvl3pPr>
            <a:lvl4pPr marL="557672" indent="-201128">
              <a:lnSpc>
                <a:spcPct val="100000"/>
              </a:lnSpc>
              <a:spcBef>
                <a:spcPts val="0"/>
              </a:spcBef>
              <a:defRPr sz="21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1FC9DA86-6E63-7EF1-DAC1-73040332758F}"/>
              </a:ext>
            </a:extLst>
          </p:cNvPr>
          <p:cNvSpPr>
            <a:spLocks noGrp="1"/>
          </p:cNvSpPr>
          <p:nvPr>
            <p:ph type="ftr" sz="quarter" idx="19"/>
          </p:nvPr>
        </p:nvSpPr>
        <p:spPr>
          <a:xfrm>
            <a:off x="287963" y="6408000"/>
            <a:ext cx="2477765" cy="190500"/>
          </a:xfrm>
        </p:spPr>
        <p:txBody>
          <a:bodyPr/>
          <a:lstStyle/>
          <a:p>
            <a:r>
              <a:rPr lang="en-US"/>
              <a:t>IBM Data Intelligence</a:t>
            </a:r>
          </a:p>
        </p:txBody>
      </p:sp>
      <p:sp>
        <p:nvSpPr>
          <p:cNvPr id="6" name="Slide Number">
            <a:extLst>
              <a:ext uri="{FF2B5EF4-FFF2-40B4-BE49-F238E27FC236}">
                <a16:creationId xmlns:a16="http://schemas.microsoft.com/office/drawing/2014/main" id="{BE7CD285-42F9-CF03-AB5C-1DC86205FBC3}"/>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cxnSp>
        <p:nvCxnSpPr>
          <p:cNvPr id="4" name="Straight Connector 3" descr="Vertical column divider">
            <a:extLst>
              <a:ext uri="{FF2B5EF4-FFF2-40B4-BE49-F238E27FC236}">
                <a16:creationId xmlns:a16="http://schemas.microsoft.com/office/drawing/2014/main" id="{E664AD27-CDB8-1E16-6F0A-1A4FF8BD97F5}"/>
              </a:ext>
            </a:extLst>
          </p:cNvPr>
          <p:cNvCxnSpPr>
            <a:cxnSpLocks/>
          </p:cNvCxnSpPr>
          <p:nvPr userDrawn="1"/>
        </p:nvCxnSpPr>
        <p:spPr bwMode="auto">
          <a:xfrm>
            <a:off x="6095270" y="285051"/>
            <a:ext cx="0" cy="5812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701647409"/>
      </p:ext>
    </p:extLst>
  </p:cSld>
  <p:clrMapOvr>
    <a:masterClrMapping/>
  </p:clrMapOvr>
  <p:transition spd="med"/>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63" y="288036"/>
            <a:ext cx="2480241" cy="231077"/>
          </a:xfrm>
        </p:spPr>
        <p:txBody>
          <a:bodyPr/>
          <a:lstStyle>
            <a:lvl1pPr>
              <a:defRPr sz="140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62" y="762000"/>
            <a:ext cx="2473892" cy="1524000"/>
          </a:xfrm>
        </p:spPr>
        <p:txBody>
          <a:bodyPr/>
          <a:lstStyle>
            <a:lvl1pPr>
              <a:lnSpc>
                <a:spcPct val="110000"/>
              </a:lnSpc>
              <a:defRPr sz="1800">
                <a:solidFill>
                  <a:schemeClr val="tx2"/>
                </a:solidFill>
              </a:defRPr>
            </a:lvl1pPr>
          </a:lstStyle>
          <a:p>
            <a:r>
              <a:rPr lang="en-US"/>
              <a:t>Click to edit Master title style</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9168" y="288036"/>
            <a:ext cx="2476178" cy="247421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30110" y="288036"/>
            <a:ext cx="2479352" cy="247421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9168" y="3335338"/>
            <a:ext cx="2476178" cy="247421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30109" y="3335338"/>
            <a:ext cx="2476178" cy="247421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4D288907-977D-2E2D-D334-59684842A637}"/>
              </a:ext>
            </a:extLst>
          </p:cNvPr>
          <p:cNvSpPr>
            <a:spLocks noGrp="1"/>
          </p:cNvSpPr>
          <p:nvPr>
            <p:ph type="ftr" sz="quarter" idx="22"/>
          </p:nvPr>
        </p:nvSpPr>
        <p:spPr>
          <a:xfrm>
            <a:off x="287963" y="6408000"/>
            <a:ext cx="2477765" cy="190500"/>
          </a:xfrm>
        </p:spPr>
        <p:txBody>
          <a:bodyPr/>
          <a:lstStyle/>
          <a:p>
            <a:r>
              <a:rPr lang="en-US"/>
              <a:t>IBM Data Intelligence</a:t>
            </a:r>
          </a:p>
        </p:txBody>
      </p:sp>
      <p:sp>
        <p:nvSpPr>
          <p:cNvPr id="8" name="Slide Number">
            <a:extLst>
              <a:ext uri="{FF2B5EF4-FFF2-40B4-BE49-F238E27FC236}">
                <a16:creationId xmlns:a16="http://schemas.microsoft.com/office/drawing/2014/main" id="{299C7C32-4361-2D42-DB76-E3E2316F597E}"/>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108557829"/>
      </p:ext>
    </p:extLst>
  </p:cSld>
  <p:clrMapOvr>
    <a:masterClrMapping/>
  </p:clrMapOvr>
  <p:transition spd="med"/>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63" y="288036"/>
            <a:ext cx="2480241" cy="231077"/>
          </a:xfrm>
        </p:spPr>
        <p:txBody>
          <a:bodyPr/>
          <a:lstStyle>
            <a:lvl1pPr>
              <a:defRPr sz="1400">
                <a:solidFill>
                  <a:schemeClr val="tx2"/>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9168" y="288036"/>
            <a:ext cx="2476178" cy="247421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30110" y="288036"/>
            <a:ext cx="2479352" cy="247421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9168" y="3335338"/>
            <a:ext cx="2476178" cy="247421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30109" y="3335338"/>
            <a:ext cx="2476178" cy="247421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4D288907-977D-2E2D-D334-59684842A637}"/>
              </a:ext>
            </a:extLst>
          </p:cNvPr>
          <p:cNvSpPr>
            <a:spLocks noGrp="1"/>
          </p:cNvSpPr>
          <p:nvPr>
            <p:ph type="ftr" sz="quarter" idx="22"/>
          </p:nvPr>
        </p:nvSpPr>
        <p:spPr>
          <a:xfrm>
            <a:off x="287963" y="6408000"/>
            <a:ext cx="2477765" cy="190500"/>
          </a:xfrm>
        </p:spPr>
        <p:txBody>
          <a:bodyPr/>
          <a:lstStyle/>
          <a:p>
            <a:r>
              <a:rPr lang="en-US"/>
              <a:t>IBM Data Intelligence</a:t>
            </a:r>
          </a:p>
        </p:txBody>
      </p:sp>
      <p:sp>
        <p:nvSpPr>
          <p:cNvPr id="8" name="Slide Number">
            <a:extLst>
              <a:ext uri="{FF2B5EF4-FFF2-40B4-BE49-F238E27FC236}">
                <a16:creationId xmlns:a16="http://schemas.microsoft.com/office/drawing/2014/main" id="{299C7C32-4361-2D42-DB76-E3E2316F597E}"/>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 name="Title 1">
            <a:extLst>
              <a:ext uri="{FF2B5EF4-FFF2-40B4-BE49-F238E27FC236}">
                <a16:creationId xmlns:a16="http://schemas.microsoft.com/office/drawing/2014/main" id="{8009016F-5759-0B27-8DB2-77BDD7980942}"/>
              </a:ext>
            </a:extLst>
          </p:cNvPr>
          <p:cNvSpPr>
            <a:spLocks noGrp="1"/>
          </p:cNvSpPr>
          <p:nvPr>
            <p:ph type="title"/>
          </p:nvPr>
        </p:nvSpPr>
        <p:spPr>
          <a:xfrm>
            <a:off x="287963" y="761936"/>
            <a:ext cx="5521401" cy="2286064"/>
          </a:xfrm>
        </p:spPr>
        <p:txBody>
          <a:bodyPr rIns="457200"/>
          <a:lstStyle>
            <a:lvl1pPr>
              <a:lnSpc>
                <a:spcPct val="110000"/>
              </a:lnSpc>
              <a:defRPr sz="3399">
                <a:solidFill>
                  <a:schemeClr val="tx2"/>
                </a:solidFill>
              </a:defRPr>
            </a:lvl1pPr>
          </a:lstStyle>
          <a:p>
            <a:r>
              <a:rPr lang="en-US"/>
              <a:t>Click to edit Master title style</a:t>
            </a:r>
          </a:p>
        </p:txBody>
      </p:sp>
    </p:spTree>
    <p:extLst>
      <p:ext uri="{BB962C8B-B14F-4D97-AF65-F5344CB8AC3E}">
        <p14:creationId xmlns:p14="http://schemas.microsoft.com/office/powerpoint/2010/main" val="3407813562"/>
      </p:ext>
    </p:extLst>
  </p:cSld>
  <p:clrMapOvr>
    <a:masterClrMapping/>
  </p:clrMapOvr>
  <p:transition spd="med"/>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37941"/>
            <a:ext cx="2474590" cy="2759647"/>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1187" y="3336926"/>
            <a:ext cx="2474590" cy="2760662"/>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49" y="3336926"/>
            <a:ext cx="2474590" cy="2760662"/>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6926"/>
            <a:ext cx="2474590" cy="2760662"/>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EB933E98-EDAA-167B-D822-384AE57CFD41}"/>
              </a:ext>
            </a:extLst>
          </p:cNvPr>
          <p:cNvSpPr>
            <a:spLocks noGrp="1"/>
          </p:cNvSpPr>
          <p:nvPr>
            <p:ph type="ftr" sz="quarter" idx="18"/>
          </p:nvPr>
        </p:nvSpPr>
        <p:spPr>
          <a:xfrm>
            <a:off x="287963" y="6408000"/>
            <a:ext cx="2477765" cy="190500"/>
          </a:xfrm>
        </p:spPr>
        <p:txBody>
          <a:bodyPr/>
          <a:lstStyle/>
          <a:p>
            <a:r>
              <a:rPr lang="en-US"/>
              <a:t>IBM Data Intelligence</a:t>
            </a:r>
          </a:p>
        </p:txBody>
      </p:sp>
      <p:sp>
        <p:nvSpPr>
          <p:cNvPr id="6" name="Slide Number">
            <a:extLst>
              <a:ext uri="{FF2B5EF4-FFF2-40B4-BE49-F238E27FC236}">
                <a16:creationId xmlns:a16="http://schemas.microsoft.com/office/drawing/2014/main" id="{9CE74F70-DD3B-B787-1122-8CC2F06AD01A}"/>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17" name="Text Placeholder 6">
            <a:extLst>
              <a:ext uri="{FF2B5EF4-FFF2-40B4-BE49-F238E27FC236}">
                <a16:creationId xmlns:a16="http://schemas.microsoft.com/office/drawing/2014/main" id="{73047254-F916-4821-F269-6EDEB3A3FAD7}"/>
              </a:ext>
            </a:extLst>
          </p:cNvPr>
          <p:cNvSpPr>
            <a:spLocks noGrp="1"/>
          </p:cNvSpPr>
          <p:nvPr>
            <p:ph type="body" sz="quarter" idx="21"/>
          </p:nvPr>
        </p:nvSpPr>
        <p:spPr>
          <a:xfrm>
            <a:off x="287963" y="288036"/>
            <a:ext cx="2470717" cy="1997964"/>
          </a:xfrm>
        </p:spPr>
        <p:txBody>
          <a:bodyPr/>
          <a:lstStyle>
            <a:lvl1pPr>
              <a:defRPr sz="1400">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2957640307"/>
      </p:ext>
    </p:extLst>
  </p:cSld>
  <p:clrMapOvr>
    <a:masterClrMapping/>
  </p:clrMapOvr>
  <p:transition spd="med"/>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62" y="192024"/>
            <a:ext cx="5517779" cy="2105089"/>
          </a:xfrm>
        </p:spPr>
        <p:txBody>
          <a:bodyPr rIns="457200"/>
          <a:lstStyle>
            <a:lvl1pPr>
              <a:lnSpc>
                <a:spcPct val="100000"/>
              </a:lnSpc>
              <a:defRPr sz="3399">
                <a:solidFill>
                  <a:schemeClr val="tx2"/>
                </a:solidFill>
              </a:defRPr>
            </a:lvl1pPr>
          </a:lstStyle>
          <a:p>
            <a:r>
              <a:rPr lang="en-US"/>
              <a:t>Click to edit Master title style</a:t>
            </a:r>
          </a:p>
        </p:txBody>
      </p:sp>
      <p:sp>
        <p:nvSpPr>
          <p:cNvPr id="3" name="Footer Placeholder 3">
            <a:extLst>
              <a:ext uri="{FF2B5EF4-FFF2-40B4-BE49-F238E27FC236}">
                <a16:creationId xmlns:a16="http://schemas.microsoft.com/office/drawing/2014/main" id="{A61589D3-5821-F43C-9924-D7FBDD5E84A5}"/>
              </a:ext>
            </a:extLst>
          </p:cNvPr>
          <p:cNvSpPr>
            <a:spLocks noGrp="1"/>
          </p:cNvSpPr>
          <p:nvPr>
            <p:ph type="ftr" sz="quarter" idx="18"/>
          </p:nvPr>
        </p:nvSpPr>
        <p:spPr>
          <a:xfrm>
            <a:off x="290474" y="6411643"/>
            <a:ext cx="2477765" cy="190500"/>
          </a:xfrm>
        </p:spPr>
        <p:txBody>
          <a:bodyPr/>
          <a:lstStyle/>
          <a:p>
            <a:r>
              <a:rPr lang="en-US"/>
              <a:t>IBM Data Intelligence</a:t>
            </a:r>
          </a:p>
        </p:txBody>
      </p:sp>
      <p:sp>
        <p:nvSpPr>
          <p:cNvPr id="6" name="Slide Number">
            <a:extLst>
              <a:ext uri="{FF2B5EF4-FFF2-40B4-BE49-F238E27FC236}">
                <a16:creationId xmlns:a16="http://schemas.microsoft.com/office/drawing/2014/main" id="{9EA471B4-B30A-F4D7-84E4-C54A4D1ACDB2}"/>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 name="Text Placeholder 10">
            <a:extLst>
              <a:ext uri="{FF2B5EF4-FFF2-40B4-BE49-F238E27FC236}">
                <a16:creationId xmlns:a16="http://schemas.microsoft.com/office/drawing/2014/main" id="{C5CEBFE7-AD2E-DFE8-B046-3B866828612E}"/>
              </a:ext>
            </a:extLst>
          </p:cNvPr>
          <p:cNvSpPr>
            <a:spLocks noGrp="1"/>
          </p:cNvSpPr>
          <p:nvPr>
            <p:ph type="body" sz="quarter" idx="11"/>
          </p:nvPr>
        </p:nvSpPr>
        <p:spPr>
          <a:xfrm>
            <a:off x="287999" y="3337941"/>
            <a:ext cx="2474590" cy="2759647"/>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0">
            <a:extLst>
              <a:ext uri="{FF2B5EF4-FFF2-40B4-BE49-F238E27FC236}">
                <a16:creationId xmlns:a16="http://schemas.microsoft.com/office/drawing/2014/main" id="{42695C8E-740F-09FE-EEF5-F2D3F3F88137}"/>
              </a:ext>
            </a:extLst>
          </p:cNvPr>
          <p:cNvSpPr>
            <a:spLocks noGrp="1"/>
          </p:cNvSpPr>
          <p:nvPr>
            <p:ph type="body" sz="quarter" idx="12"/>
          </p:nvPr>
        </p:nvSpPr>
        <p:spPr>
          <a:xfrm>
            <a:off x="3331187" y="3336926"/>
            <a:ext cx="2474590" cy="2760662"/>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10">
            <a:extLst>
              <a:ext uri="{FF2B5EF4-FFF2-40B4-BE49-F238E27FC236}">
                <a16:creationId xmlns:a16="http://schemas.microsoft.com/office/drawing/2014/main" id="{59937119-9484-C422-CDBB-7ACF8FB463EA}"/>
              </a:ext>
            </a:extLst>
          </p:cNvPr>
          <p:cNvSpPr>
            <a:spLocks noGrp="1"/>
          </p:cNvSpPr>
          <p:nvPr>
            <p:ph type="body" sz="quarter" idx="13"/>
          </p:nvPr>
        </p:nvSpPr>
        <p:spPr>
          <a:xfrm>
            <a:off x="6383049" y="3336926"/>
            <a:ext cx="2474590" cy="2760662"/>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10">
            <a:extLst>
              <a:ext uri="{FF2B5EF4-FFF2-40B4-BE49-F238E27FC236}">
                <a16:creationId xmlns:a16="http://schemas.microsoft.com/office/drawing/2014/main" id="{031FDB97-22F2-B958-137D-E25328D2B01D}"/>
              </a:ext>
            </a:extLst>
          </p:cNvPr>
          <p:cNvSpPr>
            <a:spLocks noGrp="1"/>
          </p:cNvSpPr>
          <p:nvPr>
            <p:ph type="body" sz="quarter" idx="14"/>
          </p:nvPr>
        </p:nvSpPr>
        <p:spPr>
          <a:xfrm>
            <a:off x="9428523" y="3336926"/>
            <a:ext cx="2474590" cy="2760662"/>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399679169"/>
      </p:ext>
    </p:extLst>
  </p:cSld>
  <p:clrMapOvr>
    <a:masterClrMapping/>
  </p:clrMapOvr>
  <p:transition spd="med"/>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63" y="288036"/>
            <a:ext cx="2474590" cy="1997964"/>
          </a:xfrm>
        </p:spPr>
        <p:txBody>
          <a:bodyPr/>
          <a:lstStyle>
            <a:lvl1pPr>
              <a:lnSpc>
                <a:spcPct val="110000"/>
              </a:lnSpc>
              <a:defRPr sz="1400">
                <a:solidFill>
                  <a:schemeClr val="tx2"/>
                </a:solidFill>
              </a:defRPr>
            </a:lvl1pPr>
          </a:lstStyle>
          <a:p>
            <a:r>
              <a:rPr lang="en-US"/>
              <a:t>Click to edit Master title style</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3332774" y="288035"/>
            <a:ext cx="2477701" cy="247802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5"/>
            <a:ext cx="2477701" cy="247802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5"/>
            <a:ext cx="2473130" cy="247802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06DFE032-E717-840D-774E-AC6218CA01A8}"/>
              </a:ext>
            </a:extLst>
          </p:cNvPr>
          <p:cNvSpPr>
            <a:spLocks noGrp="1"/>
          </p:cNvSpPr>
          <p:nvPr>
            <p:ph type="ftr" sz="quarter" idx="22"/>
          </p:nvPr>
        </p:nvSpPr>
        <p:spPr>
          <a:xfrm>
            <a:off x="290474" y="6411643"/>
            <a:ext cx="2477765" cy="190500"/>
          </a:xfrm>
        </p:spPr>
        <p:txBody>
          <a:bodyPr/>
          <a:lstStyle/>
          <a:p>
            <a:r>
              <a:rPr lang="en-US"/>
              <a:t>IBM Data Intelligence</a:t>
            </a:r>
          </a:p>
        </p:txBody>
      </p:sp>
      <p:sp>
        <p:nvSpPr>
          <p:cNvPr id="7" name="Slide Number">
            <a:extLst>
              <a:ext uri="{FF2B5EF4-FFF2-40B4-BE49-F238E27FC236}">
                <a16:creationId xmlns:a16="http://schemas.microsoft.com/office/drawing/2014/main" id="{219EFD5E-874A-DCAB-55D5-D376C79F2C67}"/>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6" name="Text Placeholder 10">
            <a:extLst>
              <a:ext uri="{FF2B5EF4-FFF2-40B4-BE49-F238E27FC236}">
                <a16:creationId xmlns:a16="http://schemas.microsoft.com/office/drawing/2014/main" id="{0813F20A-BEE4-B8A6-B7C6-A452A39FAD7F}"/>
              </a:ext>
            </a:extLst>
          </p:cNvPr>
          <p:cNvSpPr>
            <a:spLocks noGrp="1"/>
          </p:cNvSpPr>
          <p:nvPr>
            <p:ph type="body" sz="quarter" idx="12"/>
          </p:nvPr>
        </p:nvSpPr>
        <p:spPr>
          <a:xfrm>
            <a:off x="3332774" y="3336925"/>
            <a:ext cx="2477701" cy="247802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10">
            <a:extLst>
              <a:ext uri="{FF2B5EF4-FFF2-40B4-BE49-F238E27FC236}">
                <a16:creationId xmlns:a16="http://schemas.microsoft.com/office/drawing/2014/main" id="{150973AC-ED14-F5BF-FFA2-3AA73BE9F47C}"/>
              </a:ext>
            </a:extLst>
          </p:cNvPr>
          <p:cNvSpPr>
            <a:spLocks noGrp="1"/>
          </p:cNvSpPr>
          <p:nvPr>
            <p:ph type="body" sz="quarter" idx="13"/>
          </p:nvPr>
        </p:nvSpPr>
        <p:spPr>
          <a:xfrm>
            <a:off x="6380919" y="3336925"/>
            <a:ext cx="2477701" cy="247802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10">
            <a:extLst>
              <a:ext uri="{FF2B5EF4-FFF2-40B4-BE49-F238E27FC236}">
                <a16:creationId xmlns:a16="http://schemas.microsoft.com/office/drawing/2014/main" id="{BE127C12-10BF-D35C-4112-2B9F89481529}"/>
              </a:ext>
            </a:extLst>
          </p:cNvPr>
          <p:cNvSpPr>
            <a:spLocks noGrp="1"/>
          </p:cNvSpPr>
          <p:nvPr>
            <p:ph type="body" sz="quarter" idx="14"/>
          </p:nvPr>
        </p:nvSpPr>
        <p:spPr>
          <a:xfrm>
            <a:off x="9428522" y="3336925"/>
            <a:ext cx="2473130" cy="247802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286898160"/>
      </p:ext>
    </p:extLst>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63" y="192024"/>
            <a:ext cx="2474590" cy="2105089"/>
          </a:xfrm>
        </p:spPr>
        <p:txBody>
          <a:bodyPr/>
          <a:lstStyle>
            <a:lvl1pPr>
              <a:lnSpc>
                <a:spcPct val="100000"/>
              </a:lnSpc>
              <a:defRPr sz="3399">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4142" y="192024"/>
            <a:ext cx="2477765" cy="1555292"/>
          </a:xfrm>
        </p:spPr>
        <p:txBody>
          <a:bodyPr/>
          <a:lstStyle>
            <a:lvl1pPr>
              <a:lnSpc>
                <a:spcPct val="100000"/>
              </a:lnSpc>
              <a:spcBef>
                <a:spcPts val="0"/>
              </a:spcBef>
              <a:defRPr sz="3399">
                <a:solidFill>
                  <a:schemeClr val="tx2"/>
                </a:solidFill>
              </a:defRPr>
            </a:lvl1pPr>
            <a:lvl2pPr>
              <a:lnSpc>
                <a:spcPct val="90000"/>
              </a:lnSpc>
              <a:spcBef>
                <a:spcPts val="0"/>
              </a:spcBef>
              <a:defRPr sz="1400"/>
            </a:lvl2pPr>
            <a:lvl3pPr>
              <a:lnSpc>
                <a:spcPct val="90000"/>
              </a:lnSpc>
              <a:spcBef>
                <a:spcPts val="0"/>
              </a:spcBef>
              <a:defRPr sz="1400"/>
            </a:lvl3pPr>
            <a:lvl4pPr>
              <a:lnSpc>
                <a:spcPct val="90000"/>
              </a:lnSpc>
              <a:spcBef>
                <a:spcPts val="0"/>
              </a:spcBef>
              <a:defRPr sz="1400"/>
            </a:lvl4pPr>
            <a:lvl5pPr>
              <a:lnSpc>
                <a:spcPct val="90000"/>
              </a:lnSpc>
              <a:spcBef>
                <a:spcPts val="0"/>
              </a:spcBef>
              <a:defRPr sz="1400"/>
            </a:lvl5pPr>
          </a:lstStyle>
          <a:p>
            <a:pPr lvl="0"/>
            <a:r>
              <a:rPr lang="en-US"/>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4904" y="1508395"/>
            <a:ext cx="2475384" cy="4594294"/>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4" descr="Place pictogram here">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6389168" y="288036"/>
            <a:ext cx="607997" cy="607231"/>
          </a:xfrm>
        </p:spPr>
        <p:txBody>
          <a:bodyPr anchor="ctr"/>
          <a:lstStyle>
            <a:lvl1pPr algn="ctr">
              <a:defRPr sz="800">
                <a:solidFill>
                  <a:schemeClr val="tx1"/>
                </a:solidFill>
              </a:defRPr>
            </a:lvl1pPr>
          </a:lstStyle>
          <a:p>
            <a:r>
              <a:rPr lang="en-US"/>
              <a:t>Pictogram</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9168" y="1524000"/>
            <a:ext cx="2476178" cy="4576763"/>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descr="Place pictogram here">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9428522" y="288036"/>
            <a:ext cx="608843" cy="608076"/>
          </a:xfrm>
        </p:spPr>
        <p:txBody>
          <a:bodyPr anchor="ctr"/>
          <a:lstStyle>
            <a:lvl1pPr algn="ctr">
              <a:defRPr sz="800">
                <a:solidFill>
                  <a:schemeClr val="tx1"/>
                </a:solidFill>
              </a:defRPr>
            </a:lvl1pPr>
          </a:lstStyle>
          <a:p>
            <a:r>
              <a:rPr lang="en-US"/>
              <a:t>Pictogram</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524000"/>
            <a:ext cx="2479352" cy="4576763"/>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E7E14D98-D346-214C-0437-7A0B4A7F3F06}"/>
              </a:ext>
            </a:extLst>
          </p:cNvPr>
          <p:cNvSpPr>
            <a:spLocks noGrp="1"/>
          </p:cNvSpPr>
          <p:nvPr>
            <p:ph type="ftr" sz="quarter" idx="18"/>
          </p:nvPr>
        </p:nvSpPr>
        <p:spPr>
          <a:xfrm>
            <a:off x="290474" y="6411643"/>
            <a:ext cx="2477765" cy="190500"/>
          </a:xfrm>
        </p:spPr>
        <p:txBody>
          <a:bodyPr/>
          <a:lstStyle/>
          <a:p>
            <a:endParaRPr lang="en-US"/>
          </a:p>
        </p:txBody>
      </p:sp>
      <p:sp>
        <p:nvSpPr>
          <p:cNvPr id="10" name="Slide Number">
            <a:extLst>
              <a:ext uri="{FF2B5EF4-FFF2-40B4-BE49-F238E27FC236}">
                <a16:creationId xmlns:a16="http://schemas.microsoft.com/office/drawing/2014/main" id="{8CDC5D22-5EFB-A82A-2192-76A569B4B0D5}"/>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cxnSp>
        <p:nvCxnSpPr>
          <p:cNvPr id="8" name="Straight Connector 7" descr="Vertical column divider">
            <a:extLst>
              <a:ext uri="{FF2B5EF4-FFF2-40B4-BE49-F238E27FC236}">
                <a16:creationId xmlns:a16="http://schemas.microsoft.com/office/drawing/2014/main" id="{75E2B956-D8A8-9075-0842-BD0DAFFD4122}"/>
              </a:ext>
            </a:extLst>
          </p:cNvPr>
          <p:cNvCxnSpPr>
            <a:cxnSpLocks/>
          </p:cNvCxnSpPr>
          <p:nvPr userDrawn="1"/>
        </p:nvCxnSpPr>
        <p:spPr bwMode="auto">
          <a:xfrm>
            <a:off x="6095270" y="285051"/>
            <a:ext cx="0" cy="5812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descr="Vertical column divider">
            <a:extLst>
              <a:ext uri="{FF2B5EF4-FFF2-40B4-BE49-F238E27FC236}">
                <a16:creationId xmlns:a16="http://schemas.microsoft.com/office/drawing/2014/main" id="{BE2C4D34-A499-856F-2ED0-C6A511B884A1}"/>
              </a:ext>
            </a:extLst>
          </p:cNvPr>
          <p:cNvCxnSpPr>
            <a:cxnSpLocks/>
          </p:cNvCxnSpPr>
          <p:nvPr userDrawn="1"/>
        </p:nvCxnSpPr>
        <p:spPr bwMode="auto">
          <a:xfrm>
            <a:off x="9142810" y="285051"/>
            <a:ext cx="0" cy="5812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697319110"/>
      </p:ext>
    </p:extLst>
  </p:cSld>
  <p:clrMapOvr>
    <a:masterClrMapping/>
  </p:clrMapOvr>
  <p:transition spd="med"/>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87963" y="288036"/>
            <a:ext cx="2474590" cy="1997964"/>
          </a:xfrm>
        </p:spPr>
        <p:txBody>
          <a:bodyPr/>
          <a:lstStyle>
            <a:lvl1pPr>
              <a:lnSpc>
                <a:spcPct val="110000"/>
              </a:lnSpc>
              <a:defRPr sz="1400">
                <a:solidFill>
                  <a:schemeClr val="tx2"/>
                </a:solidFill>
              </a:defRPr>
            </a:lvl1pPr>
          </a:lstStyle>
          <a:p>
            <a:r>
              <a:rPr lang="en-US"/>
              <a:t>Click to edit Master title style</a:t>
            </a:r>
          </a:p>
        </p:txBody>
      </p:sp>
      <p:sp>
        <p:nvSpPr>
          <p:cNvPr id="16" name="Picture Placeholder 15" descr="Place icon here">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3333316" y="288036"/>
            <a:ext cx="201142" cy="201613"/>
          </a:xfrm>
        </p:spPr>
        <p:txBody>
          <a:bodyPr/>
          <a:lstStyle>
            <a:lvl1pPr>
              <a:defRPr sz="700">
                <a:solidFill>
                  <a:schemeClr val="tx1"/>
                </a:solidFill>
              </a:defRPr>
            </a:lvl1pPr>
          </a:lstStyle>
          <a:p>
            <a:r>
              <a:rPr lang="en-US"/>
              <a:t>Icon</a:t>
            </a:r>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3333316" y="762000"/>
            <a:ext cx="2477701" cy="1999551"/>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Picture Placeholder 15" descr="Place icon here">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6389168" y="288036"/>
            <a:ext cx="201142" cy="201613"/>
          </a:xfrm>
        </p:spPr>
        <p:txBody>
          <a:bodyPr/>
          <a:lstStyle>
            <a:lvl1pPr>
              <a:defRPr sz="700">
                <a:solidFill>
                  <a:schemeClr val="tx1"/>
                </a:solidFill>
              </a:defRPr>
            </a:lvl1pPr>
          </a:lstStyle>
          <a:p>
            <a:r>
              <a:rPr lang="en-US"/>
              <a:t>Icon</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6389168" y="762000"/>
            <a:ext cx="2476178" cy="1999551"/>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Picture Placeholder 15" descr="Place icon here">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9428523" y="288036"/>
            <a:ext cx="201142" cy="201613"/>
          </a:xfrm>
        </p:spPr>
        <p:txBody>
          <a:bodyPr/>
          <a:lstStyle>
            <a:lvl1pPr>
              <a:defRPr sz="700">
                <a:solidFill>
                  <a:schemeClr val="tx1"/>
                </a:solidFill>
              </a:defRPr>
            </a:lvl1pPr>
          </a:lstStyle>
          <a:p>
            <a:r>
              <a:rPr lang="en-US"/>
              <a:t>Icon</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9428523" y="761999"/>
            <a:ext cx="2473130" cy="19995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3" name="Straight Connector 22" descr="Horizontal row divider">
            <a:extLst>
              <a:ext uri="{FF2B5EF4-FFF2-40B4-BE49-F238E27FC236}">
                <a16:creationId xmlns:a16="http://schemas.microsoft.com/office/drawing/2014/main" id="{252CDB94-BA57-B58F-95F0-D406FE34BB40}"/>
              </a:ext>
              <a:ext uri="{C183D7F6-B498-43B3-948B-1728B52AA6E4}">
                <adec:decorative xmlns:adec="http://schemas.microsoft.com/office/drawing/2017/decorative" val="0"/>
              </a:ext>
            </a:extLst>
          </p:cNvPr>
          <p:cNvCxnSpPr>
            <a:cxnSpLocks/>
          </p:cNvCxnSpPr>
          <p:nvPr userDrawn="1"/>
        </p:nvCxnSpPr>
        <p:spPr bwMode="auto">
          <a:xfrm>
            <a:off x="3047603" y="3048000"/>
            <a:ext cx="886027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Picture Placeholder 15" descr="Place icon here">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3333316" y="3347315"/>
            <a:ext cx="201142" cy="201613"/>
          </a:xfrm>
        </p:spPr>
        <p:txBody>
          <a:bodyPr/>
          <a:lstStyle>
            <a:lvl1pPr>
              <a:defRPr sz="700">
                <a:solidFill>
                  <a:schemeClr val="tx1"/>
                </a:solidFill>
              </a:defRPr>
            </a:lvl1pPr>
          </a:lstStyle>
          <a:p>
            <a:r>
              <a:rPr lang="en-US"/>
              <a:t>Icon</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3333316" y="3811797"/>
            <a:ext cx="2477701" cy="1999148"/>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Picture Placeholder 15" descr="Place icon here">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6389168" y="3347315"/>
            <a:ext cx="201142" cy="201613"/>
          </a:xfrm>
        </p:spPr>
        <p:txBody>
          <a:bodyPr/>
          <a:lstStyle>
            <a:lvl1pPr>
              <a:defRPr sz="700">
                <a:solidFill>
                  <a:schemeClr val="tx1"/>
                </a:solidFill>
              </a:defRPr>
            </a:lvl1pPr>
          </a:lstStyle>
          <a:p>
            <a:r>
              <a:rPr lang="en-US"/>
              <a:t>Icon</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6389168" y="3811797"/>
            <a:ext cx="2477701" cy="1999146"/>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15" descr="Place icon here">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9428523" y="3347315"/>
            <a:ext cx="201142" cy="201613"/>
          </a:xfrm>
        </p:spPr>
        <p:txBody>
          <a:bodyPr/>
          <a:lstStyle>
            <a:lvl1pPr>
              <a:defRPr sz="700">
                <a:solidFill>
                  <a:schemeClr val="tx1"/>
                </a:solidFill>
              </a:defRPr>
            </a:lvl1pPr>
          </a:lstStyle>
          <a:p>
            <a:r>
              <a:rPr lang="en-US"/>
              <a:t>Icon</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9428523" y="3811797"/>
            <a:ext cx="2473130" cy="1999144"/>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56C9A7FC-6BA2-EF1D-18D5-F605D8C7C003}"/>
              </a:ext>
            </a:extLst>
          </p:cNvPr>
          <p:cNvSpPr>
            <a:spLocks noGrp="1"/>
          </p:cNvSpPr>
          <p:nvPr>
            <p:ph type="ftr" sz="quarter" idx="23"/>
          </p:nvPr>
        </p:nvSpPr>
        <p:spPr>
          <a:xfrm>
            <a:off x="287963" y="6408000"/>
            <a:ext cx="2477765" cy="190500"/>
          </a:xfrm>
        </p:spPr>
        <p:txBody>
          <a:bodyPr/>
          <a:lstStyle/>
          <a:p>
            <a:r>
              <a:rPr lang="en-US"/>
              <a:t>IBM Data Intelligence</a:t>
            </a:r>
          </a:p>
        </p:txBody>
      </p:sp>
      <p:sp>
        <p:nvSpPr>
          <p:cNvPr id="12" name="Slide Number">
            <a:extLst>
              <a:ext uri="{FF2B5EF4-FFF2-40B4-BE49-F238E27FC236}">
                <a16:creationId xmlns:a16="http://schemas.microsoft.com/office/drawing/2014/main" id="{C0294F07-890E-B2F9-0CAD-1B5AFB7648AB}"/>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cxnSp>
        <p:nvCxnSpPr>
          <p:cNvPr id="4" name="Straight Connector 3" descr="Vertical column divider">
            <a:extLst>
              <a:ext uri="{FF2B5EF4-FFF2-40B4-BE49-F238E27FC236}">
                <a16:creationId xmlns:a16="http://schemas.microsoft.com/office/drawing/2014/main" id="{0E795639-6102-AB6C-5918-29F86236BFD2}"/>
              </a:ext>
            </a:extLst>
          </p:cNvPr>
          <p:cNvCxnSpPr>
            <a:cxnSpLocks/>
          </p:cNvCxnSpPr>
          <p:nvPr userDrawn="1"/>
        </p:nvCxnSpPr>
        <p:spPr bwMode="auto">
          <a:xfrm>
            <a:off x="3047603" y="285051"/>
            <a:ext cx="0" cy="581104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descr="Vertical column divider">
            <a:extLst>
              <a:ext uri="{FF2B5EF4-FFF2-40B4-BE49-F238E27FC236}">
                <a16:creationId xmlns:a16="http://schemas.microsoft.com/office/drawing/2014/main" id="{357E5319-53C7-E291-189E-B5A9A71EC85F}"/>
              </a:ext>
            </a:extLst>
          </p:cNvPr>
          <p:cNvCxnSpPr>
            <a:cxnSpLocks/>
          </p:cNvCxnSpPr>
          <p:nvPr userDrawn="1"/>
        </p:nvCxnSpPr>
        <p:spPr bwMode="auto">
          <a:xfrm>
            <a:off x="6095270" y="285051"/>
            <a:ext cx="0" cy="5812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descr="Vertical column divider">
            <a:extLst>
              <a:ext uri="{FF2B5EF4-FFF2-40B4-BE49-F238E27FC236}">
                <a16:creationId xmlns:a16="http://schemas.microsoft.com/office/drawing/2014/main" id="{C5786CF5-FEFB-F111-90C8-4410630FD7A3}"/>
              </a:ext>
            </a:extLst>
          </p:cNvPr>
          <p:cNvCxnSpPr>
            <a:cxnSpLocks/>
          </p:cNvCxnSpPr>
          <p:nvPr userDrawn="1"/>
        </p:nvCxnSpPr>
        <p:spPr bwMode="auto">
          <a:xfrm>
            <a:off x="9142810" y="285051"/>
            <a:ext cx="0" cy="581104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70746473"/>
      </p:ext>
    </p:extLst>
  </p:cSld>
  <p:clrMapOvr>
    <a:masterClrMapping/>
  </p:clrMapOvr>
  <p:transition spd="med"/>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63" y="192024"/>
            <a:ext cx="5519019" cy="1706563"/>
          </a:xfrm>
        </p:spPr>
        <p:txBody>
          <a:bodyPr rIns="457200"/>
          <a:lstStyle>
            <a:lvl1pPr>
              <a:lnSpc>
                <a:spcPct val="100000"/>
              </a:lnSpc>
              <a:defRPr sz="3399">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9168"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a:cxnSpLocks/>
          </p:cNvCxnSpPr>
          <p:nvPr userDrawn="1"/>
        </p:nvCxnSpPr>
        <p:spPr bwMode="auto">
          <a:xfrm>
            <a:off x="9142810" y="286569"/>
            <a:ext cx="0" cy="581101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userDrawn="1">
            <p:ph type="body" sz="quarter" idx="13"/>
          </p:nvPr>
        </p:nvSpPr>
        <p:spPr>
          <a:xfrm>
            <a:off x="943010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287999" y="3048000"/>
            <a:ext cx="1161273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3047603" y="3048000"/>
            <a:ext cx="0" cy="3049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 name="Footer Placeholder 3">
            <a:extLst>
              <a:ext uri="{FF2B5EF4-FFF2-40B4-BE49-F238E27FC236}">
                <a16:creationId xmlns:a16="http://schemas.microsoft.com/office/drawing/2014/main" id="{59A0B1DF-AF8B-38B3-B47C-60722DFBF162}"/>
              </a:ext>
            </a:extLst>
          </p:cNvPr>
          <p:cNvSpPr>
            <a:spLocks noGrp="1"/>
          </p:cNvSpPr>
          <p:nvPr userDrawn="1">
            <p:ph type="ftr" sz="quarter" idx="18"/>
          </p:nvPr>
        </p:nvSpPr>
        <p:spPr>
          <a:xfrm>
            <a:off x="287963" y="6408000"/>
            <a:ext cx="2477765" cy="190500"/>
          </a:xfrm>
        </p:spPr>
        <p:txBody>
          <a:bodyPr/>
          <a:lstStyle/>
          <a:p>
            <a:r>
              <a:rPr lang="en-US"/>
              <a:t>IBM Data Intelligence</a:t>
            </a:r>
          </a:p>
        </p:txBody>
      </p:sp>
      <p:sp>
        <p:nvSpPr>
          <p:cNvPr id="6" name="Slide Number">
            <a:extLst>
              <a:ext uri="{FF2B5EF4-FFF2-40B4-BE49-F238E27FC236}">
                <a16:creationId xmlns:a16="http://schemas.microsoft.com/office/drawing/2014/main" id="{EFD38FC2-A92F-D3A8-74D5-CE6E95D9C133}"/>
              </a:ext>
            </a:extLst>
          </p:cNvPr>
          <p:cNvSpPr txBox="1">
            <a:spLocks noGrp="1"/>
          </p:cNvSpPr>
          <p:nvPr userDrawn="1">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cxnSp>
        <p:nvCxnSpPr>
          <p:cNvPr id="5" name="Straight Connector 4" descr="Vertical column divider">
            <a:extLst>
              <a:ext uri="{FF2B5EF4-FFF2-40B4-BE49-F238E27FC236}">
                <a16:creationId xmlns:a16="http://schemas.microsoft.com/office/drawing/2014/main" id="{A5B6E0FE-2F6F-9D77-9834-2DF9E13E2262}"/>
              </a:ext>
            </a:extLst>
          </p:cNvPr>
          <p:cNvCxnSpPr>
            <a:cxnSpLocks/>
          </p:cNvCxnSpPr>
          <p:nvPr userDrawn="1"/>
        </p:nvCxnSpPr>
        <p:spPr bwMode="auto">
          <a:xfrm>
            <a:off x="6095270" y="285051"/>
            <a:ext cx="0" cy="5812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10">
            <a:extLst>
              <a:ext uri="{FF2B5EF4-FFF2-40B4-BE49-F238E27FC236}">
                <a16:creationId xmlns:a16="http://schemas.microsoft.com/office/drawing/2014/main" id="{022E65FD-CDEF-1AA2-2521-5B200BF4B6BD}"/>
              </a:ext>
            </a:extLst>
          </p:cNvPr>
          <p:cNvSpPr>
            <a:spLocks noGrp="1"/>
          </p:cNvSpPr>
          <p:nvPr>
            <p:ph type="body" sz="quarter" idx="11"/>
          </p:nvPr>
        </p:nvSpPr>
        <p:spPr>
          <a:xfrm>
            <a:off x="287999" y="3337941"/>
            <a:ext cx="2474590" cy="2759647"/>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10">
            <a:extLst>
              <a:ext uri="{FF2B5EF4-FFF2-40B4-BE49-F238E27FC236}">
                <a16:creationId xmlns:a16="http://schemas.microsoft.com/office/drawing/2014/main" id="{83C43A7A-FFA5-D00F-7BEB-AA5C5DA6FB8E}"/>
              </a:ext>
            </a:extLst>
          </p:cNvPr>
          <p:cNvSpPr>
            <a:spLocks noGrp="1"/>
          </p:cNvSpPr>
          <p:nvPr>
            <p:ph type="body" sz="quarter" idx="19"/>
          </p:nvPr>
        </p:nvSpPr>
        <p:spPr>
          <a:xfrm>
            <a:off x="3331187" y="3336926"/>
            <a:ext cx="2474590" cy="2760662"/>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6558C27E-CF79-F761-3827-DA392178DC8E}"/>
              </a:ext>
            </a:extLst>
          </p:cNvPr>
          <p:cNvSpPr>
            <a:spLocks noGrp="1"/>
          </p:cNvSpPr>
          <p:nvPr>
            <p:ph type="body" sz="quarter" idx="20"/>
          </p:nvPr>
        </p:nvSpPr>
        <p:spPr>
          <a:xfrm>
            <a:off x="6389168" y="3336926"/>
            <a:ext cx="2474590" cy="2760662"/>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C0BF9C6F-22AC-2FF0-D8C9-37373CDEB3A5}"/>
              </a:ext>
            </a:extLst>
          </p:cNvPr>
          <p:cNvSpPr>
            <a:spLocks noGrp="1"/>
          </p:cNvSpPr>
          <p:nvPr>
            <p:ph type="body" sz="quarter" idx="14"/>
          </p:nvPr>
        </p:nvSpPr>
        <p:spPr>
          <a:xfrm>
            <a:off x="9428523" y="3336926"/>
            <a:ext cx="2474590" cy="2760662"/>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601972966"/>
      </p:ext>
    </p:extLst>
  </p:cSld>
  <p:clrMapOvr>
    <a:masterClrMapping/>
  </p:clrMapOvr>
  <p:transition spd="med"/>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63" y="288036"/>
            <a:ext cx="2474590" cy="1706563"/>
          </a:xfrm>
        </p:spPr>
        <p:txBody>
          <a:bodyPr rIns="0"/>
          <a:lstStyle>
            <a:lvl1pPr>
              <a:lnSpc>
                <a:spcPct val="110000"/>
              </a:lnSpc>
              <a:defRPr sz="1800">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9168"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0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C192388-DAC3-247F-4457-03A65F8CDF36}"/>
              </a:ext>
            </a:extLst>
          </p:cNvPr>
          <p:cNvSpPr>
            <a:spLocks noGrp="1"/>
          </p:cNvSpPr>
          <p:nvPr>
            <p:ph type="ftr" sz="quarter" idx="18"/>
          </p:nvPr>
        </p:nvSpPr>
        <p:spPr>
          <a:xfrm>
            <a:off x="287963" y="6408000"/>
            <a:ext cx="2477765" cy="190500"/>
          </a:xfrm>
        </p:spPr>
        <p:txBody>
          <a:bodyPr/>
          <a:lstStyle/>
          <a:p>
            <a:r>
              <a:rPr lang="en-US"/>
              <a:t>IBM Data Intelligence</a:t>
            </a:r>
          </a:p>
        </p:txBody>
      </p:sp>
      <p:sp>
        <p:nvSpPr>
          <p:cNvPr id="6" name="Slide Number">
            <a:extLst>
              <a:ext uri="{FF2B5EF4-FFF2-40B4-BE49-F238E27FC236}">
                <a16:creationId xmlns:a16="http://schemas.microsoft.com/office/drawing/2014/main" id="{72D75691-23B7-FADC-4357-CB3662EB3779}"/>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cxnSp>
        <p:nvCxnSpPr>
          <p:cNvPr id="5" name="Straight Connector 4" descr="Vertical column divider">
            <a:extLst>
              <a:ext uri="{FF2B5EF4-FFF2-40B4-BE49-F238E27FC236}">
                <a16:creationId xmlns:a16="http://schemas.microsoft.com/office/drawing/2014/main" id="{CB17488F-3B5A-CD3F-8D89-787477C1F946}"/>
              </a:ext>
              <a:ext uri="{C183D7F6-B498-43B3-948B-1728B52AA6E4}">
                <adec:decorative xmlns:adec="http://schemas.microsoft.com/office/drawing/2017/decorative" val="0"/>
              </a:ext>
            </a:extLst>
          </p:cNvPr>
          <p:cNvCxnSpPr>
            <a:cxnSpLocks/>
          </p:cNvCxnSpPr>
          <p:nvPr userDrawn="1"/>
        </p:nvCxnSpPr>
        <p:spPr bwMode="auto">
          <a:xfrm>
            <a:off x="9142810" y="286569"/>
            <a:ext cx="0" cy="581101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descr="Horizontal row divider">
            <a:extLst>
              <a:ext uri="{FF2B5EF4-FFF2-40B4-BE49-F238E27FC236}">
                <a16:creationId xmlns:a16="http://schemas.microsoft.com/office/drawing/2014/main" id="{7B2108DD-FE3A-F98C-D857-CDFA3DAD9666}"/>
              </a:ext>
              <a:ext uri="{C183D7F6-B498-43B3-948B-1728B52AA6E4}">
                <adec:decorative xmlns:adec="http://schemas.microsoft.com/office/drawing/2017/decorative" val="0"/>
              </a:ext>
            </a:extLst>
          </p:cNvPr>
          <p:cNvCxnSpPr>
            <a:cxnSpLocks/>
          </p:cNvCxnSpPr>
          <p:nvPr userDrawn="1"/>
        </p:nvCxnSpPr>
        <p:spPr bwMode="auto">
          <a:xfrm>
            <a:off x="287999" y="3048000"/>
            <a:ext cx="1161273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descr="Vertical column divider">
            <a:extLst>
              <a:ext uri="{FF2B5EF4-FFF2-40B4-BE49-F238E27FC236}">
                <a16:creationId xmlns:a16="http://schemas.microsoft.com/office/drawing/2014/main" id="{03D0E68D-02AF-474A-3224-FF5108D23382}"/>
              </a:ext>
              <a:ext uri="{C183D7F6-B498-43B3-948B-1728B52AA6E4}">
                <adec:decorative xmlns:adec="http://schemas.microsoft.com/office/drawing/2017/decorative" val="0"/>
              </a:ext>
            </a:extLst>
          </p:cNvPr>
          <p:cNvCxnSpPr>
            <a:cxnSpLocks/>
          </p:cNvCxnSpPr>
          <p:nvPr userDrawn="1"/>
        </p:nvCxnSpPr>
        <p:spPr bwMode="auto">
          <a:xfrm>
            <a:off x="3047603" y="3041650"/>
            <a:ext cx="0" cy="305593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descr="Vertical column divider">
            <a:extLst>
              <a:ext uri="{FF2B5EF4-FFF2-40B4-BE49-F238E27FC236}">
                <a16:creationId xmlns:a16="http://schemas.microsoft.com/office/drawing/2014/main" id="{5600EFDE-928F-B419-8585-5582A68373F2}"/>
              </a:ext>
            </a:extLst>
          </p:cNvPr>
          <p:cNvCxnSpPr>
            <a:cxnSpLocks/>
          </p:cNvCxnSpPr>
          <p:nvPr userDrawn="1"/>
        </p:nvCxnSpPr>
        <p:spPr bwMode="auto">
          <a:xfrm>
            <a:off x="6095270" y="285051"/>
            <a:ext cx="0" cy="5812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0">
            <a:extLst>
              <a:ext uri="{FF2B5EF4-FFF2-40B4-BE49-F238E27FC236}">
                <a16:creationId xmlns:a16="http://schemas.microsoft.com/office/drawing/2014/main" id="{5C1B1885-0510-1907-4EAD-DB9018C133E5}"/>
              </a:ext>
            </a:extLst>
          </p:cNvPr>
          <p:cNvSpPr>
            <a:spLocks noGrp="1"/>
          </p:cNvSpPr>
          <p:nvPr>
            <p:ph type="body" sz="quarter" idx="11"/>
          </p:nvPr>
        </p:nvSpPr>
        <p:spPr>
          <a:xfrm>
            <a:off x="287999" y="3337941"/>
            <a:ext cx="2474590" cy="2759647"/>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10">
            <a:extLst>
              <a:ext uri="{FF2B5EF4-FFF2-40B4-BE49-F238E27FC236}">
                <a16:creationId xmlns:a16="http://schemas.microsoft.com/office/drawing/2014/main" id="{5804D2DB-0651-E704-D761-49FB6352B7C3}"/>
              </a:ext>
            </a:extLst>
          </p:cNvPr>
          <p:cNvSpPr>
            <a:spLocks noGrp="1"/>
          </p:cNvSpPr>
          <p:nvPr>
            <p:ph type="body" sz="quarter" idx="19"/>
          </p:nvPr>
        </p:nvSpPr>
        <p:spPr>
          <a:xfrm>
            <a:off x="3331187" y="3336926"/>
            <a:ext cx="2474590" cy="2760662"/>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0">
            <a:extLst>
              <a:ext uri="{FF2B5EF4-FFF2-40B4-BE49-F238E27FC236}">
                <a16:creationId xmlns:a16="http://schemas.microsoft.com/office/drawing/2014/main" id="{9900EBA3-CCC2-CE83-A620-B68ADAF8371C}"/>
              </a:ext>
            </a:extLst>
          </p:cNvPr>
          <p:cNvSpPr>
            <a:spLocks noGrp="1"/>
          </p:cNvSpPr>
          <p:nvPr>
            <p:ph type="body" sz="quarter" idx="20"/>
          </p:nvPr>
        </p:nvSpPr>
        <p:spPr>
          <a:xfrm>
            <a:off x="6389168" y="3336926"/>
            <a:ext cx="2474590" cy="2760662"/>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10">
            <a:extLst>
              <a:ext uri="{FF2B5EF4-FFF2-40B4-BE49-F238E27FC236}">
                <a16:creationId xmlns:a16="http://schemas.microsoft.com/office/drawing/2014/main" id="{FAB4091C-FF62-7BAF-B996-F22392D5E709}"/>
              </a:ext>
            </a:extLst>
          </p:cNvPr>
          <p:cNvSpPr>
            <a:spLocks noGrp="1"/>
          </p:cNvSpPr>
          <p:nvPr>
            <p:ph type="body" sz="quarter" idx="14"/>
          </p:nvPr>
        </p:nvSpPr>
        <p:spPr>
          <a:xfrm>
            <a:off x="9428523" y="3336926"/>
            <a:ext cx="2474590" cy="2760662"/>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062979306"/>
      </p:ext>
    </p:extLst>
  </p:cSld>
  <p:clrMapOvr>
    <a:masterClrMapping/>
  </p:clrMapOvr>
  <p:transition spd="med"/>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63" y="288036"/>
            <a:ext cx="2474590" cy="762794"/>
          </a:xfrm>
        </p:spPr>
        <p:txBody>
          <a:bodyPr/>
          <a:lstStyle>
            <a:lvl1pPr>
              <a:lnSpc>
                <a:spcPct val="110000"/>
              </a:lnSpc>
              <a:defRPr sz="140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62" y="1520825"/>
            <a:ext cx="2473130" cy="4576763"/>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3334904" y="1520825"/>
            <a:ext cx="2475384" cy="4576763"/>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10" descr="Place imagery here">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6380919" y="288037"/>
            <a:ext cx="5519908" cy="6285801"/>
          </a:xfrm>
          <a:solidFill>
            <a:srgbClr val="E0E0E0"/>
          </a:solidFill>
        </p:spPr>
        <p:txBody>
          <a:bodyPr anchor="ctr"/>
          <a:lstStyle>
            <a:lvl1pPr algn="ctr">
              <a:defRPr>
                <a:solidFill>
                  <a:schemeClr val="accent5"/>
                </a:solidFill>
              </a:defRPr>
            </a:lvl1pPr>
          </a:lstStyle>
          <a:p>
            <a:r>
              <a:rPr lang="en-US"/>
              <a:t>Place imagery here</a:t>
            </a:r>
          </a:p>
        </p:txBody>
      </p:sp>
      <p:sp>
        <p:nvSpPr>
          <p:cNvPr id="3" name="Footer Placeholder 3">
            <a:extLst>
              <a:ext uri="{FF2B5EF4-FFF2-40B4-BE49-F238E27FC236}">
                <a16:creationId xmlns:a16="http://schemas.microsoft.com/office/drawing/2014/main" id="{765F8DDE-78BD-E2B6-1CAB-2A9EF14E9F71}"/>
              </a:ext>
            </a:extLst>
          </p:cNvPr>
          <p:cNvSpPr>
            <a:spLocks noGrp="1"/>
          </p:cNvSpPr>
          <p:nvPr>
            <p:ph type="ftr" sz="quarter" idx="18"/>
          </p:nvPr>
        </p:nvSpPr>
        <p:spPr>
          <a:xfrm>
            <a:off x="287963" y="6408000"/>
            <a:ext cx="2477765" cy="190500"/>
          </a:xfrm>
        </p:spPr>
        <p:txBody>
          <a:bodyPr/>
          <a:lstStyle/>
          <a:p>
            <a:r>
              <a:rPr lang="en-US"/>
              <a:t>IBM Data Intelligence</a:t>
            </a:r>
          </a:p>
        </p:txBody>
      </p:sp>
    </p:spTree>
    <p:extLst>
      <p:ext uri="{BB962C8B-B14F-4D97-AF65-F5344CB8AC3E}">
        <p14:creationId xmlns:p14="http://schemas.microsoft.com/office/powerpoint/2010/main" val="4205613415"/>
      </p:ext>
    </p:extLst>
  </p:cSld>
  <p:clrMapOvr>
    <a:masterClrMapping/>
  </p:clrMapOvr>
  <p:transition spd="med"/>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63" y="288036"/>
            <a:ext cx="2474590" cy="762794"/>
          </a:xfrm>
        </p:spPr>
        <p:txBody>
          <a:bodyPr/>
          <a:lstStyle>
            <a:lvl1pPr>
              <a:lnSpc>
                <a:spcPct val="110000"/>
              </a:lnSpc>
              <a:defRPr sz="140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87963" y="1520825"/>
            <a:ext cx="2477765" cy="4576763"/>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descr="Place imagery here">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3047603" y="0"/>
            <a:ext cx="9144397" cy="6858000"/>
          </a:xfrm>
          <a:solidFill>
            <a:srgbClr val="E0E0E0"/>
          </a:solidFill>
        </p:spPr>
        <p:txBody>
          <a:bodyPr anchor="ctr"/>
          <a:lstStyle>
            <a:lvl1pPr algn="ctr">
              <a:defRPr>
                <a:solidFill>
                  <a:schemeClr val="accent5"/>
                </a:solidFill>
              </a:defRPr>
            </a:lvl1pPr>
          </a:lstStyle>
          <a:p>
            <a:r>
              <a:rPr lang="en-US"/>
              <a:t>Place imagery here</a:t>
            </a:r>
          </a:p>
        </p:txBody>
      </p:sp>
      <p:sp>
        <p:nvSpPr>
          <p:cNvPr id="5" name="Footer Placeholder 3">
            <a:extLst>
              <a:ext uri="{FF2B5EF4-FFF2-40B4-BE49-F238E27FC236}">
                <a16:creationId xmlns:a16="http://schemas.microsoft.com/office/drawing/2014/main" id="{7B09C899-A6D4-3826-EAB8-A75F78607CE3}"/>
              </a:ext>
            </a:extLst>
          </p:cNvPr>
          <p:cNvSpPr>
            <a:spLocks noGrp="1"/>
          </p:cNvSpPr>
          <p:nvPr>
            <p:ph type="ftr" sz="quarter" idx="18"/>
          </p:nvPr>
        </p:nvSpPr>
        <p:spPr>
          <a:xfrm>
            <a:off x="287963" y="6408000"/>
            <a:ext cx="2477765" cy="190500"/>
          </a:xfrm>
        </p:spPr>
        <p:txBody>
          <a:bodyPr/>
          <a:lstStyle/>
          <a:p>
            <a:r>
              <a:rPr lang="en-US"/>
              <a:t>IBM Data Intelligence</a:t>
            </a:r>
          </a:p>
        </p:txBody>
      </p:sp>
      <p:sp>
        <p:nvSpPr>
          <p:cNvPr id="7" name="Slide Number">
            <a:extLst>
              <a:ext uri="{FF2B5EF4-FFF2-40B4-BE49-F238E27FC236}">
                <a16:creationId xmlns:a16="http://schemas.microsoft.com/office/drawing/2014/main" id="{BEB46264-65A0-272C-CC19-DCA9B586608B}"/>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143780766"/>
      </p:ext>
    </p:extLst>
  </p:cSld>
  <p:clrMapOvr>
    <a:masterClrMapping/>
  </p:clrMapOvr>
  <p:transition spd="med"/>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63" y="288036"/>
            <a:ext cx="2474590" cy="762794"/>
          </a:xfrm>
        </p:spPr>
        <p:txBody>
          <a:bodyPr/>
          <a:lstStyle>
            <a:lvl1pPr>
              <a:lnSpc>
                <a:spcPct val="110000"/>
              </a:lnSpc>
              <a:defRPr sz="140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63" y="1520825"/>
            <a:ext cx="2477765" cy="4576763"/>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Picture Placeholder 6" descr="Place imagery here">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3333316" y="285750"/>
            <a:ext cx="8567416" cy="6289675"/>
          </a:xfrm>
          <a:solidFill>
            <a:srgbClr val="E0E0E0"/>
          </a:solidFill>
        </p:spPr>
        <p:txBody>
          <a:bodyPr anchor="ctr"/>
          <a:lstStyle>
            <a:lvl1pPr algn="ctr">
              <a:defRPr>
                <a:solidFill>
                  <a:schemeClr val="accent5"/>
                </a:solidFill>
              </a:defRPr>
            </a:lvl1pPr>
          </a:lstStyle>
          <a:p>
            <a:r>
              <a:rPr lang="en-US"/>
              <a:t>Place imagery here</a:t>
            </a:r>
          </a:p>
        </p:txBody>
      </p:sp>
      <p:sp>
        <p:nvSpPr>
          <p:cNvPr id="3" name="Footer Placeholder 3">
            <a:extLst>
              <a:ext uri="{FF2B5EF4-FFF2-40B4-BE49-F238E27FC236}">
                <a16:creationId xmlns:a16="http://schemas.microsoft.com/office/drawing/2014/main" id="{547D5110-D587-CC11-18F6-FEB7AA2D7851}"/>
              </a:ext>
            </a:extLst>
          </p:cNvPr>
          <p:cNvSpPr>
            <a:spLocks noGrp="1"/>
          </p:cNvSpPr>
          <p:nvPr>
            <p:ph type="ftr" sz="quarter" idx="18"/>
          </p:nvPr>
        </p:nvSpPr>
        <p:spPr>
          <a:xfrm>
            <a:off x="287963" y="6408000"/>
            <a:ext cx="2477765" cy="190500"/>
          </a:xfrm>
        </p:spPr>
        <p:txBody>
          <a:bodyPr/>
          <a:lstStyle/>
          <a:p>
            <a:r>
              <a:rPr lang="en-US"/>
              <a:t>IBM Data Intelligence</a:t>
            </a:r>
          </a:p>
        </p:txBody>
      </p:sp>
    </p:spTree>
    <p:extLst>
      <p:ext uri="{BB962C8B-B14F-4D97-AF65-F5344CB8AC3E}">
        <p14:creationId xmlns:p14="http://schemas.microsoft.com/office/powerpoint/2010/main" val="3543782714"/>
      </p:ext>
    </p:extLst>
  </p:cSld>
  <p:clrMapOvr>
    <a:masterClrMapping/>
  </p:clrMapOvr>
  <p:transition spd="med"/>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12192000" cy="6858000"/>
          </a:xfrm>
          <a:solidFill>
            <a:srgbClr val="E0E0E0"/>
          </a:solidFill>
        </p:spPr>
        <p:txBody>
          <a:bodyPr anchor="ctr"/>
          <a:lstStyle>
            <a:lvl1pPr algn="ctr">
              <a:defRPr>
                <a:solidFill>
                  <a:schemeClr val="accent5"/>
                </a:solidFill>
              </a:defRPr>
            </a:lvl1pPr>
          </a:lstStyle>
          <a:p>
            <a:r>
              <a:rPr lang="en-US"/>
              <a:t>Place imagery here</a:t>
            </a:r>
          </a:p>
        </p:txBody>
      </p:sp>
      <p:sp>
        <p:nvSpPr>
          <p:cNvPr id="2" name="Slide Number">
            <a:extLst>
              <a:ext uri="{FF2B5EF4-FFF2-40B4-BE49-F238E27FC236}">
                <a16:creationId xmlns:a16="http://schemas.microsoft.com/office/drawing/2014/main" id="{8A69D316-0792-83BD-3912-71CDE3BB681F}"/>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65749951"/>
      </p:ext>
    </p:extLst>
  </p:cSld>
  <p:clrMapOvr>
    <a:masterClrMapping/>
  </p:clrMapOvr>
  <p:transition spd="med"/>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88887" y="285750"/>
            <a:ext cx="11611845" cy="6289675"/>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4013173908"/>
      </p:ext>
    </p:extLst>
  </p:cSld>
  <p:clrMapOvr>
    <a:masterClrMapping/>
  </p:clrMapOvr>
  <p:transition spd="med"/>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7" name="Picture Placeholder 7" descr="Place bio portrait here">
            <a:extLst>
              <a:ext uri="{FF2B5EF4-FFF2-40B4-BE49-F238E27FC236}">
                <a16:creationId xmlns:a16="http://schemas.microsoft.com/office/drawing/2014/main" id="{0B1677E6-5066-100D-29D6-CCAD04C21BCE}"/>
              </a:ext>
            </a:extLst>
          </p:cNvPr>
          <p:cNvSpPr>
            <a:spLocks noGrp="1"/>
          </p:cNvSpPr>
          <p:nvPr>
            <p:ph type="pic" sz="quarter" idx="28" hasCustomPrompt="1"/>
          </p:nvPr>
        </p:nvSpPr>
        <p:spPr>
          <a:xfrm>
            <a:off x="287962" y="1522412"/>
            <a:ext cx="1231041" cy="1238250"/>
          </a:xfrm>
          <a:solidFill>
            <a:srgbClr val="E0E0E0"/>
          </a:solidFill>
        </p:spPr>
        <p:txBody>
          <a:bodyPr anchor="ctr"/>
          <a:lstStyle>
            <a:lvl1pPr algn="ctr">
              <a:defRPr>
                <a:solidFill>
                  <a:schemeClr val="accent5"/>
                </a:solidFill>
              </a:defRPr>
            </a:lvl1pPr>
          </a:lstStyle>
          <a:p>
            <a:r>
              <a:rPr lang="en-US"/>
              <a:t>Place imagery here</a:t>
            </a:r>
          </a:p>
        </p:txBody>
      </p:sp>
      <p:sp>
        <p:nvSpPr>
          <p:cNvPr id="13" name="Picture Placeholder 7" descr="Place bio portrait here">
            <a:extLst>
              <a:ext uri="{FF2B5EF4-FFF2-40B4-BE49-F238E27FC236}">
                <a16:creationId xmlns:a16="http://schemas.microsoft.com/office/drawing/2014/main" id="{3DCE12BA-53E1-8B67-A029-029F1E6F9163}"/>
              </a:ext>
            </a:extLst>
          </p:cNvPr>
          <p:cNvSpPr>
            <a:spLocks noGrp="1"/>
          </p:cNvSpPr>
          <p:nvPr>
            <p:ph type="pic" sz="quarter" idx="30" hasCustomPrompt="1"/>
          </p:nvPr>
        </p:nvSpPr>
        <p:spPr>
          <a:xfrm>
            <a:off x="287962" y="3048000"/>
            <a:ext cx="123104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5" name="Picture Placeholder 7" descr="Place bio portrait here">
            <a:extLst>
              <a:ext uri="{FF2B5EF4-FFF2-40B4-BE49-F238E27FC236}">
                <a16:creationId xmlns:a16="http://schemas.microsoft.com/office/drawing/2014/main" id="{05E149CA-A25F-74EE-93DF-1A877CDE924F}"/>
              </a:ext>
            </a:extLst>
          </p:cNvPr>
          <p:cNvSpPr>
            <a:spLocks noGrp="1"/>
          </p:cNvSpPr>
          <p:nvPr>
            <p:ph type="pic" sz="quarter" idx="32" hasCustomPrompt="1"/>
          </p:nvPr>
        </p:nvSpPr>
        <p:spPr>
          <a:xfrm>
            <a:off x="287962" y="4570413"/>
            <a:ext cx="123104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5" name="Picture Placeholder 7" descr="Place bio portrait here">
            <a:extLst>
              <a:ext uri="{FF2B5EF4-FFF2-40B4-BE49-F238E27FC236}">
                <a16:creationId xmlns:a16="http://schemas.microsoft.com/office/drawing/2014/main" id="{AAC7C1AD-0F8C-4D02-0112-981444AFE98D}"/>
              </a:ext>
            </a:extLst>
          </p:cNvPr>
          <p:cNvSpPr>
            <a:spLocks noGrp="1"/>
          </p:cNvSpPr>
          <p:nvPr>
            <p:ph type="pic" sz="quarter" idx="34" hasCustomPrompt="1"/>
          </p:nvPr>
        </p:nvSpPr>
        <p:spPr>
          <a:xfrm>
            <a:off x="6389168" y="1522412"/>
            <a:ext cx="1229708"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7" name="Picture Placeholder 7" descr="Place bio portrait here">
            <a:extLst>
              <a:ext uri="{FF2B5EF4-FFF2-40B4-BE49-F238E27FC236}">
                <a16:creationId xmlns:a16="http://schemas.microsoft.com/office/drawing/2014/main" id="{22271FFB-E2D1-459B-4089-A291A1110AE8}"/>
              </a:ext>
            </a:extLst>
          </p:cNvPr>
          <p:cNvSpPr>
            <a:spLocks noGrp="1"/>
          </p:cNvSpPr>
          <p:nvPr>
            <p:ph type="pic" sz="quarter" idx="36" hasCustomPrompt="1"/>
          </p:nvPr>
        </p:nvSpPr>
        <p:spPr>
          <a:xfrm>
            <a:off x="6389168" y="3048000"/>
            <a:ext cx="1229708"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9" name="Picture Placeholder 7" descr="Place bio portrait here">
            <a:extLst>
              <a:ext uri="{FF2B5EF4-FFF2-40B4-BE49-F238E27FC236}">
                <a16:creationId xmlns:a16="http://schemas.microsoft.com/office/drawing/2014/main" id="{F3C99020-5BF1-8A8C-BDCB-42766A5B9BE5}"/>
              </a:ext>
            </a:extLst>
          </p:cNvPr>
          <p:cNvSpPr>
            <a:spLocks noGrp="1"/>
          </p:cNvSpPr>
          <p:nvPr>
            <p:ph type="pic" sz="quarter" idx="38" hasCustomPrompt="1"/>
          </p:nvPr>
        </p:nvSpPr>
        <p:spPr>
          <a:xfrm>
            <a:off x="6389168" y="4570413"/>
            <a:ext cx="1229708"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63" y="288036"/>
            <a:ext cx="2474590" cy="762794"/>
          </a:xfrm>
        </p:spPr>
        <p:txBody>
          <a:bodyPr/>
          <a:lstStyle>
            <a:lvl1pPr>
              <a:lnSpc>
                <a:spcPct val="110000"/>
              </a:lnSpc>
              <a:defRPr sz="1400">
                <a:solidFill>
                  <a:schemeClr val="tx2"/>
                </a:solidFill>
              </a:defRPr>
            </a:lvl1pPr>
          </a:lstStyle>
          <a:p>
            <a:r>
              <a:rPr lang="en-US"/>
              <a:t>Click to edit Master title styl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714277" y="1522412"/>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714277" y="30480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714277" y="4570413"/>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7807896" y="1522412"/>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7807896" y="30480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7807896" y="4570413"/>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D4D4C25-96EE-FF6D-B301-962CD7A63666}"/>
              </a:ext>
            </a:extLst>
          </p:cNvPr>
          <p:cNvSpPr>
            <a:spLocks noGrp="1"/>
          </p:cNvSpPr>
          <p:nvPr>
            <p:ph type="ftr" sz="quarter" idx="18"/>
          </p:nvPr>
        </p:nvSpPr>
        <p:spPr>
          <a:xfrm>
            <a:off x="287963" y="6408000"/>
            <a:ext cx="2477765" cy="190500"/>
          </a:xfrm>
        </p:spPr>
        <p:txBody>
          <a:bodyPr/>
          <a:lstStyle/>
          <a:p>
            <a:r>
              <a:rPr lang="en-US"/>
              <a:t>IBM Data Intelligence</a:t>
            </a:r>
          </a:p>
        </p:txBody>
      </p:sp>
      <p:sp>
        <p:nvSpPr>
          <p:cNvPr id="6" name="Slide Number">
            <a:extLst>
              <a:ext uri="{FF2B5EF4-FFF2-40B4-BE49-F238E27FC236}">
                <a16:creationId xmlns:a16="http://schemas.microsoft.com/office/drawing/2014/main" id="{DA0E5B0D-36A0-4281-7D57-C2CC4453113C}"/>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176740293"/>
      </p:ext>
    </p:extLst>
  </p:cSld>
  <p:clrMapOvr>
    <a:masterClrMapping/>
  </p:clrMapOvr>
  <p:transition spd="med"/>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63" y="288037"/>
            <a:ext cx="2474590" cy="1997964"/>
          </a:xfrm>
        </p:spPr>
        <p:txBody>
          <a:bodyPr/>
          <a:lstStyle>
            <a:lvl1pPr>
              <a:lnSpc>
                <a:spcPct val="110000"/>
              </a:lnSpc>
              <a:defRPr sz="1400">
                <a:solidFill>
                  <a:schemeClr val="tx2"/>
                </a:solidFill>
              </a:defRPr>
            </a:lvl1pPr>
          </a:lstStyle>
          <a:p>
            <a:r>
              <a:rPr lang="en-US"/>
              <a:t>Click to edit Master title style</a:t>
            </a:r>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3333316" y="288000"/>
            <a:ext cx="8571384" cy="5811838"/>
          </a:xfrm>
        </p:spPr>
        <p:txBody>
          <a:bodyPr anchor="ctr"/>
          <a:lstStyle>
            <a:lvl1pPr algn="ctr">
              <a:defRPr>
                <a:solidFill>
                  <a:schemeClr val="tx1"/>
                </a:solidFill>
              </a:defRPr>
            </a:lvl1pPr>
          </a:lstStyle>
          <a:p>
            <a:r>
              <a:rPr lang="en-US"/>
              <a:t>Click icon to add table</a:t>
            </a:r>
          </a:p>
        </p:txBody>
      </p:sp>
      <p:sp>
        <p:nvSpPr>
          <p:cNvPr id="3" name="Footer Placeholder 3">
            <a:extLst>
              <a:ext uri="{FF2B5EF4-FFF2-40B4-BE49-F238E27FC236}">
                <a16:creationId xmlns:a16="http://schemas.microsoft.com/office/drawing/2014/main" id="{3694FFFD-5196-625E-C3FC-9AB6BB13FC34}"/>
              </a:ext>
            </a:extLst>
          </p:cNvPr>
          <p:cNvSpPr>
            <a:spLocks noGrp="1"/>
          </p:cNvSpPr>
          <p:nvPr>
            <p:ph type="ftr" sz="quarter" idx="18"/>
          </p:nvPr>
        </p:nvSpPr>
        <p:spPr>
          <a:xfrm>
            <a:off x="287963" y="6408000"/>
            <a:ext cx="2477765" cy="190500"/>
          </a:xfrm>
        </p:spPr>
        <p:txBody>
          <a:bodyPr/>
          <a:lstStyle/>
          <a:p>
            <a:r>
              <a:rPr lang="en-US"/>
              <a:t>IBM Data Intelligence</a:t>
            </a:r>
          </a:p>
        </p:txBody>
      </p:sp>
      <p:sp>
        <p:nvSpPr>
          <p:cNvPr id="7" name="Slide Number">
            <a:extLst>
              <a:ext uri="{FF2B5EF4-FFF2-40B4-BE49-F238E27FC236}">
                <a16:creationId xmlns:a16="http://schemas.microsoft.com/office/drawing/2014/main" id="{DD2D25A8-2AEC-F554-8D58-47C112486D41}"/>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224136388"/>
      </p:ext>
    </p:extLst>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13" name="Picture Placeholder 12" descr="Place pictogram here">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87998" y="288036"/>
            <a:ext cx="607997" cy="608076"/>
          </a:xfrm>
        </p:spPr>
        <p:txBody>
          <a:bodyPr anchor="ctr"/>
          <a:lstStyle>
            <a:lvl1pPr algn="ctr">
              <a:defRPr sz="800"/>
            </a:lvl1pPr>
          </a:lstStyle>
          <a:p>
            <a:r>
              <a:rPr lang="en-US"/>
              <a:t>Pictogram</a:t>
            </a:r>
          </a:p>
        </p:txBody>
      </p:sp>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87999" y="1239012"/>
            <a:ext cx="3334903" cy="1524000"/>
          </a:xfrm>
        </p:spPr>
        <p:txBody>
          <a:bodyPr/>
          <a:lstStyle>
            <a:lvl1pPr>
              <a:lnSpc>
                <a:spcPct val="100000"/>
              </a:lnSpc>
              <a:spcBef>
                <a:spcPts val="0"/>
              </a:spcBef>
              <a:defRPr sz="2100">
                <a:solidFill>
                  <a:schemeClr val="tx1"/>
                </a:solidFill>
              </a:defRPr>
            </a:lvl1pPr>
            <a:lvl2pPr marL="201128" indent="-201128">
              <a:lnSpc>
                <a:spcPct val="100000"/>
              </a:lnSpc>
              <a:spcBef>
                <a:spcPts val="0"/>
              </a:spcBef>
              <a:defRPr sz="2100">
                <a:solidFill>
                  <a:schemeClr val="tx1"/>
                </a:solidFill>
              </a:defRPr>
            </a:lvl2pPr>
            <a:lvl3pPr marL="402256" indent="-201128">
              <a:lnSpc>
                <a:spcPct val="100000"/>
              </a:lnSpc>
              <a:spcBef>
                <a:spcPts val="0"/>
              </a:spcBef>
              <a:defRPr sz="2100">
                <a:solidFill>
                  <a:schemeClr val="tx1"/>
                </a:solidFill>
              </a:defRPr>
            </a:lvl3pPr>
            <a:lvl4pPr marL="557672" indent="-201128">
              <a:lnSpc>
                <a:spcPct val="100000"/>
              </a:lnSpc>
              <a:spcBef>
                <a:spcPts val="0"/>
              </a:spcBef>
              <a:defRPr sz="21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Picture Placeholder 14" descr="Place pictogram here">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6389168" y="288036"/>
            <a:ext cx="607997" cy="608076"/>
          </a:xfrm>
        </p:spPr>
        <p:txBody>
          <a:bodyPr anchor="ctr"/>
          <a:lstStyle>
            <a:lvl1pPr algn="ctr">
              <a:defRPr sz="800"/>
            </a:lvl1pPr>
          </a:lstStyle>
          <a:p>
            <a:r>
              <a:rPr lang="en-US"/>
              <a:t>Pictogram</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6389168" y="1238250"/>
            <a:ext cx="3337125" cy="1524000"/>
          </a:xfrm>
        </p:spPr>
        <p:txBody>
          <a:bodyPr/>
          <a:lstStyle>
            <a:lvl1pPr>
              <a:lnSpc>
                <a:spcPct val="100000"/>
              </a:lnSpc>
              <a:spcBef>
                <a:spcPts val="0"/>
              </a:spcBef>
              <a:defRPr sz="2100">
                <a:solidFill>
                  <a:schemeClr val="tx1"/>
                </a:solidFill>
              </a:defRPr>
            </a:lvl1pPr>
            <a:lvl2pPr marL="201128" indent="-201128">
              <a:lnSpc>
                <a:spcPct val="100000"/>
              </a:lnSpc>
              <a:spcBef>
                <a:spcPts val="0"/>
              </a:spcBef>
              <a:defRPr sz="2100">
                <a:solidFill>
                  <a:schemeClr val="tx1"/>
                </a:solidFill>
              </a:defRPr>
            </a:lvl2pPr>
            <a:lvl3pPr marL="402256" indent="-201128">
              <a:lnSpc>
                <a:spcPct val="100000"/>
              </a:lnSpc>
              <a:spcBef>
                <a:spcPts val="0"/>
              </a:spcBef>
              <a:defRPr sz="2100">
                <a:solidFill>
                  <a:schemeClr val="tx1"/>
                </a:solidFill>
              </a:defRPr>
            </a:lvl3pPr>
            <a:lvl4pPr marL="557672" indent="-201128">
              <a:lnSpc>
                <a:spcPct val="100000"/>
              </a:lnSpc>
              <a:spcBef>
                <a:spcPts val="0"/>
              </a:spcBef>
              <a:defRPr sz="21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9C5483A0-0E31-72CE-21C3-6248FAEBC09A}"/>
              </a:ext>
              <a:ext uri="{C183D7F6-B498-43B3-948B-1728B52AA6E4}">
                <adec:decorative xmlns:adec="http://schemas.microsoft.com/office/drawing/2017/decorative" val="0"/>
              </a:ext>
            </a:extLst>
          </p:cNvPr>
          <p:cNvCxnSpPr>
            <a:cxnSpLocks/>
          </p:cNvCxnSpPr>
          <p:nvPr userDrawn="1"/>
        </p:nvCxnSpPr>
        <p:spPr bwMode="auto">
          <a:xfrm>
            <a:off x="287999" y="3048000"/>
            <a:ext cx="1161670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6" descr="Place pictogram here">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87998" y="3236976"/>
            <a:ext cx="607997" cy="608076"/>
          </a:xfrm>
        </p:spPr>
        <p:txBody>
          <a:bodyPr anchor="ctr"/>
          <a:lstStyle>
            <a:lvl1pPr algn="ctr">
              <a:defRPr sz="800"/>
            </a:lvl1pPr>
          </a:lstStyle>
          <a:p>
            <a:r>
              <a:rPr lang="en-US"/>
              <a:t>Pictogram</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87998" y="4192524"/>
            <a:ext cx="3334904" cy="1524000"/>
          </a:xfrm>
        </p:spPr>
        <p:txBody>
          <a:bodyPr/>
          <a:lstStyle>
            <a:lvl1pPr>
              <a:lnSpc>
                <a:spcPct val="100000"/>
              </a:lnSpc>
              <a:spcBef>
                <a:spcPts val="0"/>
              </a:spcBef>
              <a:defRPr sz="2100">
                <a:solidFill>
                  <a:schemeClr val="tx1"/>
                </a:solidFill>
              </a:defRPr>
            </a:lvl1pPr>
            <a:lvl2pPr marL="201128" indent="-201128">
              <a:lnSpc>
                <a:spcPct val="100000"/>
              </a:lnSpc>
              <a:spcBef>
                <a:spcPts val="0"/>
              </a:spcBef>
              <a:defRPr sz="2100">
                <a:solidFill>
                  <a:schemeClr val="tx1"/>
                </a:solidFill>
              </a:defRPr>
            </a:lvl2pPr>
            <a:lvl3pPr marL="402256" indent="-201128">
              <a:lnSpc>
                <a:spcPct val="100000"/>
              </a:lnSpc>
              <a:spcBef>
                <a:spcPts val="0"/>
              </a:spcBef>
              <a:defRPr sz="2100">
                <a:solidFill>
                  <a:schemeClr val="tx1"/>
                </a:solidFill>
              </a:defRPr>
            </a:lvl3pPr>
            <a:lvl4pPr marL="557672" indent="-201128">
              <a:lnSpc>
                <a:spcPct val="100000"/>
              </a:lnSpc>
              <a:spcBef>
                <a:spcPts val="0"/>
              </a:spcBef>
              <a:defRPr sz="21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18" descr="Place pictogram here">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6389168" y="3238500"/>
            <a:ext cx="607997" cy="608076"/>
          </a:xfrm>
        </p:spPr>
        <p:txBody>
          <a:bodyPr anchor="ctr"/>
          <a:lstStyle>
            <a:lvl1pPr algn="ctr">
              <a:defRPr sz="800"/>
            </a:lvl1pPr>
          </a:lstStyle>
          <a:p>
            <a:r>
              <a:rPr lang="en-US"/>
              <a:t>Pictogram</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6389168" y="4191000"/>
            <a:ext cx="3337125" cy="1524000"/>
          </a:xfrm>
        </p:spPr>
        <p:txBody>
          <a:bodyPr/>
          <a:lstStyle>
            <a:lvl1pPr>
              <a:lnSpc>
                <a:spcPct val="100000"/>
              </a:lnSpc>
              <a:spcBef>
                <a:spcPts val="0"/>
              </a:spcBef>
              <a:defRPr sz="2100">
                <a:solidFill>
                  <a:schemeClr val="tx1"/>
                </a:solidFill>
              </a:defRPr>
            </a:lvl1pPr>
            <a:lvl2pPr marL="201128" indent="-201128">
              <a:lnSpc>
                <a:spcPct val="100000"/>
              </a:lnSpc>
              <a:spcBef>
                <a:spcPts val="0"/>
              </a:spcBef>
              <a:defRPr sz="2100">
                <a:solidFill>
                  <a:schemeClr val="tx1"/>
                </a:solidFill>
              </a:defRPr>
            </a:lvl2pPr>
            <a:lvl3pPr marL="402256" indent="-201128">
              <a:lnSpc>
                <a:spcPct val="100000"/>
              </a:lnSpc>
              <a:spcBef>
                <a:spcPts val="0"/>
              </a:spcBef>
              <a:defRPr sz="2100">
                <a:solidFill>
                  <a:schemeClr val="tx1"/>
                </a:solidFill>
              </a:defRPr>
            </a:lvl3pPr>
            <a:lvl4pPr marL="557672" indent="-201128">
              <a:lnSpc>
                <a:spcPct val="100000"/>
              </a:lnSpc>
              <a:spcBef>
                <a:spcPts val="0"/>
              </a:spcBef>
              <a:defRPr sz="21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1FC9DA86-6E63-7EF1-DAC1-73040332758F}"/>
              </a:ext>
            </a:extLst>
          </p:cNvPr>
          <p:cNvSpPr>
            <a:spLocks noGrp="1"/>
          </p:cNvSpPr>
          <p:nvPr>
            <p:ph type="ftr" sz="quarter" idx="19"/>
          </p:nvPr>
        </p:nvSpPr>
        <p:spPr>
          <a:xfrm>
            <a:off x="287963" y="6408000"/>
            <a:ext cx="2477765" cy="190500"/>
          </a:xfrm>
        </p:spPr>
        <p:txBody>
          <a:bodyPr/>
          <a:lstStyle/>
          <a:p>
            <a:endParaRPr lang="en-US"/>
          </a:p>
        </p:txBody>
      </p:sp>
      <p:sp>
        <p:nvSpPr>
          <p:cNvPr id="6" name="Slide Number">
            <a:extLst>
              <a:ext uri="{FF2B5EF4-FFF2-40B4-BE49-F238E27FC236}">
                <a16:creationId xmlns:a16="http://schemas.microsoft.com/office/drawing/2014/main" id="{BE7CD285-42F9-CF03-AB5C-1DC86205FBC3}"/>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cxnSp>
        <p:nvCxnSpPr>
          <p:cNvPr id="4" name="Straight Connector 3" descr="Vertical column divider">
            <a:extLst>
              <a:ext uri="{FF2B5EF4-FFF2-40B4-BE49-F238E27FC236}">
                <a16:creationId xmlns:a16="http://schemas.microsoft.com/office/drawing/2014/main" id="{E664AD27-CDB8-1E16-6F0A-1A4FF8BD97F5}"/>
              </a:ext>
            </a:extLst>
          </p:cNvPr>
          <p:cNvCxnSpPr>
            <a:cxnSpLocks/>
          </p:cNvCxnSpPr>
          <p:nvPr userDrawn="1"/>
        </p:nvCxnSpPr>
        <p:spPr bwMode="auto">
          <a:xfrm>
            <a:off x="6095270" y="285051"/>
            <a:ext cx="0" cy="5812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450012358"/>
      </p:ext>
    </p:extLst>
  </p:cSld>
  <p:clrMapOvr>
    <a:masterClrMapping/>
  </p:clrMapOvr>
  <p:transition spd="med"/>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Char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63" y="288036"/>
            <a:ext cx="2474590" cy="763525"/>
          </a:xfrm>
        </p:spPr>
        <p:txBody>
          <a:bodyPr/>
          <a:lstStyle>
            <a:lvl1pPr>
              <a:lnSpc>
                <a:spcPct val="110000"/>
              </a:lnSpc>
              <a:defRPr sz="1400">
                <a:solidFill>
                  <a:schemeClr val="tx2"/>
                </a:solidFill>
              </a:defRPr>
            </a:lvl1pPr>
          </a:lstStyle>
          <a:p>
            <a:r>
              <a:rPr lang="en-US"/>
              <a:t>Click to edit Master title style</a:t>
            </a:r>
          </a:p>
        </p:txBody>
      </p:sp>
      <p:sp>
        <p:nvSpPr>
          <p:cNvPr id="3" name="Slide Number">
            <a:extLst>
              <a:ext uri="{FF2B5EF4-FFF2-40B4-BE49-F238E27FC236}">
                <a16:creationId xmlns:a16="http://schemas.microsoft.com/office/drawing/2014/main" id="{B0435695-E156-66C6-5CE4-B0F751F125D2}"/>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10" name="Text Placeholder 9">
            <a:extLst>
              <a:ext uri="{FF2B5EF4-FFF2-40B4-BE49-F238E27FC236}">
                <a16:creationId xmlns:a16="http://schemas.microsoft.com/office/drawing/2014/main" id="{BDFFC916-9B64-A7DC-672D-A4AFA1AE968C}"/>
              </a:ext>
            </a:extLst>
          </p:cNvPr>
          <p:cNvSpPr>
            <a:spLocks noGrp="1"/>
          </p:cNvSpPr>
          <p:nvPr>
            <p:ph type="body" sz="quarter" idx="13" hasCustomPrompt="1"/>
          </p:nvPr>
        </p:nvSpPr>
        <p:spPr>
          <a:xfrm>
            <a:off x="3333316" y="6391244"/>
            <a:ext cx="2761890" cy="212725"/>
          </a:xfrm>
        </p:spPr>
        <p:txBody>
          <a:bodyPr anchor="b" anchorCtr="0"/>
          <a:lstStyle>
            <a:lvl1pPr>
              <a:defRPr sz="800">
                <a:latin typeface="IBM Plex Sans" panose="020B0503050203000203" pitchFamily="34" charset="0"/>
              </a:defRPr>
            </a:lvl1pPr>
            <a:lvl2pPr>
              <a:defRPr sz="800"/>
            </a:lvl2pPr>
            <a:lvl3pPr>
              <a:defRPr sz="800"/>
            </a:lvl3pPr>
            <a:lvl4pPr>
              <a:defRPr sz="800"/>
            </a:lvl4pPr>
            <a:lvl5pPr>
              <a:defRPr sz="800"/>
            </a:lvl5pPr>
          </a:lstStyle>
          <a:p>
            <a:pPr lvl="0"/>
            <a:r>
              <a:rPr lang="en-US"/>
              <a:t>Source</a:t>
            </a:r>
          </a:p>
        </p:txBody>
      </p:sp>
      <p:sp>
        <p:nvSpPr>
          <p:cNvPr id="13" name="Text Placeholder 12">
            <a:extLst>
              <a:ext uri="{FF2B5EF4-FFF2-40B4-BE49-F238E27FC236}">
                <a16:creationId xmlns:a16="http://schemas.microsoft.com/office/drawing/2014/main" id="{81A85749-B0F2-6B16-9E7E-1C979593E9E7}"/>
              </a:ext>
            </a:extLst>
          </p:cNvPr>
          <p:cNvSpPr>
            <a:spLocks noGrp="1"/>
          </p:cNvSpPr>
          <p:nvPr>
            <p:ph type="body" sz="quarter" idx="14" hasCustomPrompt="1"/>
          </p:nvPr>
        </p:nvSpPr>
        <p:spPr>
          <a:xfrm>
            <a:off x="287963" y="1522413"/>
            <a:ext cx="2471416" cy="4575175"/>
          </a:xfrm>
        </p:spPr>
        <p:txBody>
          <a:bodyPr/>
          <a:lstStyle>
            <a:lvl1pPr>
              <a:defRPr sz="1400">
                <a:latin typeface="+mj-lt"/>
              </a:defRPr>
            </a:lvl1pPr>
            <a:lvl2pPr>
              <a:defRPr sz="1400">
                <a:latin typeface="+mj-lt"/>
              </a:defRPr>
            </a:lvl2pPr>
            <a:lvl3pPr>
              <a:defRPr sz="1400">
                <a:latin typeface="+mj-lt"/>
              </a:defRPr>
            </a:lvl3pPr>
            <a:lvl4pPr>
              <a:defRPr sz="1400">
                <a:latin typeface="+mj-lt"/>
              </a:defRPr>
            </a:lvl4pPr>
            <a:lvl5pPr>
              <a:defRPr sz="1400">
                <a:latin typeface="+mj-lt"/>
              </a:defRPr>
            </a:lvl5pPr>
          </a:lstStyle>
          <a:p>
            <a:pPr>
              <a:lnSpc>
                <a:spcPct val="110000"/>
              </a:lnSpc>
            </a:pPr>
            <a:r>
              <a:rPr lang="en-US" sz="1400">
                <a:latin typeface="IBM Plex Sans Light" panose="020B0403050203000203" pitchFamily="34" charset="0"/>
              </a:rPr>
              <a:t>Lorem ipsum dolor sit </a:t>
            </a:r>
            <a:r>
              <a:rPr lang="en-US" sz="1400" err="1">
                <a:latin typeface="IBM Plex Sans Light" panose="020B0403050203000203" pitchFamily="34" charset="0"/>
              </a:rPr>
              <a:t>amet</a:t>
            </a:r>
            <a:r>
              <a:rPr lang="en-US" sz="1400">
                <a:latin typeface="IBM Plex Sans Light" panose="020B0403050203000203" pitchFamily="34" charset="0"/>
              </a:rPr>
              <a:t> </a:t>
            </a:r>
            <a:r>
              <a:rPr lang="en-US" sz="1400" err="1">
                <a:latin typeface="IBM Plex Sans Light" panose="020B0403050203000203" pitchFamily="34" charset="0"/>
              </a:rPr>
              <a:t>donec</a:t>
            </a:r>
            <a:r>
              <a:rPr lang="en-US" sz="1400">
                <a:latin typeface="IBM Plex Sans Light" panose="020B0403050203000203" pitchFamily="34" charset="0"/>
              </a:rPr>
              <a:t> </a:t>
            </a:r>
            <a:r>
              <a:rPr lang="en-US" sz="1400" err="1">
                <a:latin typeface="IBM Plex Sans Light" panose="020B0403050203000203" pitchFamily="34" charset="0"/>
              </a:rPr>
              <a:t>quam</a:t>
            </a:r>
            <a:r>
              <a:rPr lang="en-US" sz="1400">
                <a:latin typeface="IBM Plex Sans Light" panose="020B0403050203000203" pitchFamily="34" charset="0"/>
              </a:rPr>
              <a:t> </a:t>
            </a:r>
            <a:r>
              <a:rPr lang="en-US" sz="1400" err="1">
                <a:latin typeface="IBM Plex Sans Light" panose="020B0403050203000203" pitchFamily="34" charset="0"/>
              </a:rPr>
              <a:t>felis</a:t>
            </a:r>
            <a:r>
              <a:rPr lang="en-US" sz="1400">
                <a:latin typeface="IBM Plex Sans Light" panose="020B0403050203000203" pitchFamily="34" charset="0"/>
              </a:rPr>
              <a:t> </a:t>
            </a:r>
            <a:r>
              <a:rPr lang="en-US" sz="1400" err="1">
                <a:latin typeface="IBM Plex Sans Light" panose="020B0403050203000203" pitchFamily="34" charset="0"/>
              </a:rPr>
              <a:t>ultricies</a:t>
            </a:r>
            <a:r>
              <a:rPr lang="en-US" sz="1400">
                <a:latin typeface="IBM Plex Sans Light" panose="020B0403050203000203" pitchFamily="34" charset="0"/>
              </a:rPr>
              <a:t> </a:t>
            </a:r>
            <a:r>
              <a:rPr lang="en-US" sz="1400" err="1">
                <a:latin typeface="IBM Plex Sans Light" panose="020B0403050203000203" pitchFamily="34" charset="0"/>
              </a:rPr>
              <a:t>nec</a:t>
            </a:r>
            <a:r>
              <a:rPr lang="en-US" sz="1400">
                <a:latin typeface="IBM Plex Sans Light" panose="020B0403050203000203" pitchFamily="34" charset="0"/>
              </a:rPr>
              <a:t> </a:t>
            </a:r>
            <a:r>
              <a:rPr lang="en-US" sz="1400" err="1">
                <a:latin typeface="IBM Plex Sans Light" panose="020B0403050203000203" pitchFamily="34" charset="0"/>
              </a:rPr>
              <a:t>pellentesque</a:t>
            </a:r>
            <a:r>
              <a:rPr lang="en-US" sz="1400">
                <a:latin typeface="IBM Plex Sans Light" panose="020B0403050203000203" pitchFamily="34" charset="0"/>
              </a:rPr>
              <a:t> </a:t>
            </a:r>
            <a:r>
              <a:rPr lang="en-US" sz="1400" err="1">
                <a:latin typeface="IBM Plex Sans Light" panose="020B0403050203000203" pitchFamily="34" charset="0"/>
              </a:rPr>
              <a:t>eu</a:t>
            </a:r>
            <a:r>
              <a:rPr lang="en-US" sz="1400">
                <a:latin typeface="IBM Plex Sans Light" panose="020B0403050203000203" pitchFamily="34" charset="0"/>
              </a:rPr>
              <a:t> </a:t>
            </a:r>
            <a:r>
              <a:rPr lang="en-US" sz="1400" err="1">
                <a:latin typeface="IBM Plex Sans Light" panose="020B0403050203000203" pitchFamily="34" charset="0"/>
              </a:rPr>
              <a:t>pretium</a:t>
            </a:r>
            <a:r>
              <a:rPr lang="en-US" sz="1400">
                <a:latin typeface="IBM Plex Sans Light" panose="020B0403050203000203" pitchFamily="34" charset="0"/>
              </a:rPr>
              <a:t> </a:t>
            </a:r>
            <a:r>
              <a:rPr lang="en-US" sz="1400" err="1">
                <a:latin typeface="IBM Plex Sans Light" panose="020B0403050203000203" pitchFamily="34" charset="0"/>
              </a:rPr>
              <a:t>quis</a:t>
            </a:r>
            <a:r>
              <a:rPr lang="en-US" sz="1400">
                <a:latin typeface="IBM Plex Sans Light" panose="020B0403050203000203" pitchFamily="34" charset="0"/>
              </a:rPr>
              <a:t> sem. </a:t>
            </a:r>
            <a:r>
              <a:rPr lang="en-US" sz="1400" err="1">
                <a:latin typeface="IBM Plex Sans Light" panose="020B0403050203000203" pitchFamily="34" charset="0"/>
              </a:rPr>
              <a:t>Nulla</a:t>
            </a:r>
            <a:r>
              <a:rPr lang="en-US" sz="1400">
                <a:latin typeface="IBM Plex Sans Light" panose="020B0403050203000203" pitchFamily="34" charset="0"/>
              </a:rPr>
              <a:t> </a:t>
            </a:r>
            <a:r>
              <a:rPr lang="en-US" sz="1400" err="1">
                <a:latin typeface="IBM Plex Sans Light" panose="020B0403050203000203" pitchFamily="34" charset="0"/>
              </a:rPr>
              <a:t>conset</a:t>
            </a:r>
            <a:r>
              <a:rPr lang="en-US" sz="1400">
                <a:latin typeface="IBM Plex Sans Light" panose="020B0403050203000203" pitchFamily="34" charset="0"/>
              </a:rPr>
              <a:t> </a:t>
            </a:r>
            <a:r>
              <a:rPr lang="en-US" sz="1400" err="1">
                <a:latin typeface="IBM Plex Sans Light" panose="020B0403050203000203" pitchFamily="34" charset="0"/>
              </a:rPr>
              <a:t>massa</a:t>
            </a:r>
            <a:r>
              <a:rPr lang="en-US" sz="1400">
                <a:latin typeface="IBM Plex Sans Light" panose="020B0403050203000203" pitchFamily="34" charset="0"/>
              </a:rPr>
              <a:t> </a:t>
            </a:r>
            <a:r>
              <a:rPr lang="en-US" sz="1400" err="1">
                <a:latin typeface="IBM Plex Sans Light" panose="020B0403050203000203" pitchFamily="34" charset="0"/>
              </a:rPr>
              <a:t>quis</a:t>
            </a:r>
            <a:r>
              <a:rPr lang="en-US" sz="1400">
                <a:latin typeface="IBM Plex Sans Light" panose="020B0403050203000203" pitchFamily="34" charset="0"/>
              </a:rPr>
              <a:t> </a:t>
            </a:r>
            <a:r>
              <a:rPr lang="en-US" sz="1400" err="1">
                <a:latin typeface="IBM Plex Sans Light" panose="020B0403050203000203" pitchFamily="34" charset="0"/>
              </a:rPr>
              <a:t>enim</a:t>
            </a:r>
            <a:r>
              <a:rPr lang="en-US" sz="1400">
                <a:latin typeface="IBM Plex Sans Light" panose="020B0403050203000203" pitchFamily="34" charset="0"/>
              </a:rPr>
              <a:t>.</a:t>
            </a:r>
          </a:p>
        </p:txBody>
      </p:sp>
      <p:sp>
        <p:nvSpPr>
          <p:cNvPr id="4" name="Footer Placeholder 3">
            <a:extLst>
              <a:ext uri="{FF2B5EF4-FFF2-40B4-BE49-F238E27FC236}">
                <a16:creationId xmlns:a16="http://schemas.microsoft.com/office/drawing/2014/main" id="{E71CF978-95F1-0188-4FBB-81AAB884C2C1}"/>
              </a:ext>
            </a:extLst>
          </p:cNvPr>
          <p:cNvSpPr>
            <a:spLocks noGrp="1"/>
          </p:cNvSpPr>
          <p:nvPr>
            <p:ph type="ftr" sz="quarter" idx="18"/>
          </p:nvPr>
        </p:nvSpPr>
        <p:spPr>
          <a:xfrm>
            <a:off x="287963" y="6408000"/>
            <a:ext cx="2477765" cy="190500"/>
          </a:xfrm>
        </p:spPr>
        <p:txBody>
          <a:bodyPr/>
          <a:lstStyle/>
          <a:p>
            <a:r>
              <a:rPr lang="en-US"/>
              <a:t>IBM Data Intelligence</a:t>
            </a:r>
          </a:p>
        </p:txBody>
      </p:sp>
    </p:spTree>
    <p:extLst>
      <p:ext uri="{BB962C8B-B14F-4D97-AF65-F5344CB8AC3E}">
        <p14:creationId xmlns:p14="http://schemas.microsoft.com/office/powerpoint/2010/main" val="657779971"/>
      </p:ext>
    </p:extLst>
  </p:cSld>
  <p:clrMapOvr>
    <a:masterClrMapping/>
  </p:clrMapOvr>
  <p:transition spd="med"/>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63" y="192024"/>
            <a:ext cx="2477765" cy="1429544"/>
          </a:xfrm>
        </p:spPr>
        <p:txBody>
          <a:bodyPr/>
          <a:lstStyle>
            <a:lvl1pPr>
              <a:lnSpc>
                <a:spcPct val="100000"/>
              </a:lnSpc>
              <a:spcBef>
                <a:spcPts val="0"/>
              </a:spcBef>
              <a:defRPr sz="3399">
                <a:solidFill>
                  <a:schemeClr val="tx2"/>
                </a:solidFill>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30109" y="288000"/>
            <a:ext cx="2476178" cy="5812631"/>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87963" y="6408000"/>
            <a:ext cx="2477765" cy="190500"/>
          </a:xfrm>
        </p:spPr>
        <p:txBody>
          <a:bodyPr/>
          <a:lstStyle/>
          <a:p>
            <a:r>
              <a:rPr lang="en-US"/>
              <a:t>IBM Data Intelligence</a:t>
            </a:r>
          </a:p>
        </p:txBody>
      </p:sp>
      <p:sp>
        <p:nvSpPr>
          <p:cNvPr id="3" name="Slide Number">
            <a:extLst>
              <a:ext uri="{FF2B5EF4-FFF2-40B4-BE49-F238E27FC236}">
                <a16:creationId xmlns:a16="http://schemas.microsoft.com/office/drawing/2014/main" id="{0C628C1A-F2DD-6011-5846-A9A3A6D3BD72}"/>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281790395"/>
      </p:ext>
    </p:extLst>
  </p:cSld>
  <p:clrMapOvr>
    <a:masterClrMapping/>
  </p:clrMapOvr>
  <p:transition spd="med"/>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63" y="192024"/>
            <a:ext cx="2477765" cy="1429544"/>
          </a:xfrm>
        </p:spPr>
        <p:txBody>
          <a:bodyPr/>
          <a:lstStyle>
            <a:lvl1pPr>
              <a:lnSpc>
                <a:spcPct val="100000"/>
              </a:lnSpc>
              <a:spcBef>
                <a:spcPts val="0"/>
              </a:spcBef>
              <a:defRPr sz="3399">
                <a:solidFill>
                  <a:schemeClr val="tx2"/>
                </a:solidFill>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a:t>Click to edit Master text styles</a:t>
            </a:r>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6389168" y="288000"/>
            <a:ext cx="2476178" cy="5812631"/>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8000"/>
            <a:ext cx="2476178" cy="5812631"/>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3" name="Footer Placeholder 3">
            <a:extLst>
              <a:ext uri="{FF2B5EF4-FFF2-40B4-BE49-F238E27FC236}">
                <a16:creationId xmlns:a16="http://schemas.microsoft.com/office/drawing/2014/main" id="{F5CA4A6F-2777-D002-EE9E-92C246A4DA85}"/>
              </a:ext>
            </a:extLst>
          </p:cNvPr>
          <p:cNvSpPr>
            <a:spLocks noGrp="1"/>
          </p:cNvSpPr>
          <p:nvPr>
            <p:ph type="ftr" sz="quarter" idx="18"/>
          </p:nvPr>
        </p:nvSpPr>
        <p:spPr>
          <a:xfrm>
            <a:off x="287963" y="6408000"/>
            <a:ext cx="2477765" cy="190500"/>
          </a:xfrm>
        </p:spPr>
        <p:txBody>
          <a:bodyPr/>
          <a:lstStyle/>
          <a:p>
            <a:r>
              <a:rPr lang="en-US"/>
              <a:t>IBM Data Intelligence</a:t>
            </a:r>
          </a:p>
        </p:txBody>
      </p:sp>
      <p:sp>
        <p:nvSpPr>
          <p:cNvPr id="8" name="Slide Number">
            <a:extLst>
              <a:ext uri="{FF2B5EF4-FFF2-40B4-BE49-F238E27FC236}">
                <a16:creationId xmlns:a16="http://schemas.microsoft.com/office/drawing/2014/main" id="{3FBFB86A-A7DC-B54C-4EEC-B69E1897903E}"/>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541052471"/>
      </p:ext>
    </p:extLst>
  </p:cSld>
  <p:clrMapOvr>
    <a:masterClrMapping/>
  </p:clrMapOvr>
  <p:transition spd="med"/>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63" y="288036"/>
            <a:ext cx="2474590" cy="1234377"/>
          </a:xfrm>
        </p:spPr>
        <p:txBody>
          <a:bodyPr/>
          <a:lstStyle>
            <a:lvl1pPr>
              <a:lnSpc>
                <a:spcPct val="110000"/>
              </a:lnSpc>
              <a:defRPr sz="1400">
                <a:solidFill>
                  <a:schemeClr val="tx2"/>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a:xfrm>
            <a:off x="287963" y="6408000"/>
            <a:ext cx="2477765" cy="190500"/>
          </a:xfrm>
        </p:spPr>
        <p:txBody>
          <a:bodyPr/>
          <a:lstStyle/>
          <a:p>
            <a:r>
              <a:rPr lang="en-US"/>
              <a:t>IBM Data Intelligence</a:t>
            </a:r>
          </a:p>
        </p:txBody>
      </p:sp>
      <p:sp>
        <p:nvSpPr>
          <p:cNvPr id="3" name="Slide Number">
            <a:extLst>
              <a:ext uri="{FF2B5EF4-FFF2-40B4-BE49-F238E27FC236}">
                <a16:creationId xmlns:a16="http://schemas.microsoft.com/office/drawing/2014/main" id="{B0435695-E156-66C6-5CE4-B0F751F125D2}"/>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107603900"/>
      </p:ext>
    </p:extLst>
  </p:cSld>
  <p:clrMapOvr>
    <a:masterClrMapping/>
  </p:clrMapOvr>
  <p:transition spd="med"/>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Blank slide, no foot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63" y="288036"/>
            <a:ext cx="2474590" cy="1234377"/>
          </a:xfrm>
        </p:spPr>
        <p:txBody>
          <a:bodyPr/>
          <a:lstStyle>
            <a:lvl1pPr>
              <a:lnSpc>
                <a:spcPct val="110000"/>
              </a:lnSpc>
              <a:defRPr sz="1400">
                <a:solidFill>
                  <a:schemeClr val="tx2"/>
                </a:solidFill>
              </a:defRPr>
            </a:lvl1pPr>
          </a:lstStyle>
          <a:p>
            <a:r>
              <a:rPr lang="en-US"/>
              <a:t>Click to edit Master title style</a:t>
            </a:r>
          </a:p>
        </p:txBody>
      </p:sp>
      <p:sp>
        <p:nvSpPr>
          <p:cNvPr id="3" name="Slide Number">
            <a:extLst>
              <a:ext uri="{FF2B5EF4-FFF2-40B4-BE49-F238E27FC236}">
                <a16:creationId xmlns:a16="http://schemas.microsoft.com/office/drawing/2014/main" id="{B0435695-E156-66C6-5CE4-B0F751F125D2}"/>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523745538"/>
      </p:ext>
    </p:extLst>
  </p:cSld>
  <p:clrMapOvr>
    <a:masterClrMapping/>
  </p:clrMapOvr>
  <p:transition spd="med"/>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descr="IBM 8-bar logo">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5232004" y="3084230"/>
            <a:ext cx="1727991" cy="689541"/>
          </a:xfrm>
          <a:prstGeom prst="rect">
            <a:avLst/>
          </a:prstGeom>
        </p:spPr>
      </p:pic>
    </p:spTree>
    <p:extLst>
      <p:ext uri="{BB962C8B-B14F-4D97-AF65-F5344CB8AC3E}">
        <p14:creationId xmlns:p14="http://schemas.microsoft.com/office/powerpoint/2010/main" val="2890313173"/>
      </p:ext>
    </p:extLst>
  </p:cSld>
  <p:clrMapOvr>
    <a:masterClrMapping/>
  </p:clrMapOvr>
  <p:transition spd="med"/>
</p:sldLayout>
</file>

<file path=ppt/slideLayouts/slideLayout466.xml><?xml version="1.0" encoding="utf-8"?>
<p:sldLayout xmlns:a="http://schemas.openxmlformats.org/drawingml/2006/main" xmlns:r="http://schemas.openxmlformats.org/officeDocument/2006/relationships" xmlns:p="http://schemas.openxmlformats.org/presentationml/2006/main">
  <p:cSld name="DEFAUL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5002289"/>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userDrawn="1">
  <p:cSld name="1_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762794"/>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289681" y="1714500"/>
            <a:ext cx="2475384"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descr="Vertical column divider">
            <a:extLst>
              <a:ext uri="{FF2B5EF4-FFF2-40B4-BE49-F238E27FC236}">
                <a16:creationId xmlns:a16="http://schemas.microsoft.com/office/drawing/2014/main" id="{ABAB2974-AD95-0BF2-C41A-265AEF03B4F7}"/>
              </a:ext>
            </a:extLst>
          </p:cNvPr>
          <p:cNvCxnSpPr>
            <a:cxnSpLocks/>
          </p:cNvCxnSpPr>
          <p:nvPr userDrawn="1"/>
        </p:nvCxnSpPr>
        <p:spPr bwMode="auto">
          <a:xfrm>
            <a:off x="3047603" y="1714500"/>
            <a:ext cx="0" cy="42862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1" name="Straight Connector 20" descr="Vertical column divider">
            <a:extLst>
              <a:ext uri="{FF2B5EF4-FFF2-40B4-BE49-F238E27FC236}">
                <a16:creationId xmlns:a16="http://schemas.microsoft.com/office/drawing/2014/main" id="{CDB8CB8D-C4DB-E357-4948-59CD6A18A9DC}"/>
              </a:ext>
            </a:extLst>
          </p:cNvPr>
          <p:cNvCxnSpPr/>
          <p:nvPr userDrawn="1"/>
        </p:nvCxnSpPr>
        <p:spPr bwMode="auto">
          <a:xfrm>
            <a:off x="6093683"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2" name="Straight Connector 21" descr="Vertical column divider">
            <a:extLst>
              <a:ext uri="{FF2B5EF4-FFF2-40B4-BE49-F238E27FC236}">
                <a16:creationId xmlns:a16="http://schemas.microsoft.com/office/drawing/2014/main" id="{8B5887E5-28C4-AA99-EBD5-E34B88F46F25}"/>
              </a:ext>
            </a:extLst>
          </p:cNvPr>
          <p:cNvCxnSpPr/>
          <p:nvPr userDrawn="1"/>
        </p:nvCxnSpPr>
        <p:spPr bwMode="auto">
          <a:xfrm>
            <a:off x="9142810"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84125" y="6402118"/>
            <a:ext cx="2477765" cy="190500"/>
          </a:xfrm>
        </p:spPr>
        <p:txBody>
          <a:bodyPr/>
          <a:lstStyle/>
          <a:p>
            <a:r>
              <a:rPr lang="en-US"/>
              <a:t>IBM data and AI | © 2023 IBM Corporation</a:t>
            </a:r>
          </a:p>
        </p:txBody>
      </p: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481280335"/>
      </p:ext>
    </p:extLst>
  </p:cSld>
  <p:clrMapOvr>
    <a:masterClrMapping/>
  </p:clrMapOvr>
  <p:transition spd="med"/>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itle, plain">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9264" y="6469420"/>
            <a:ext cx="135436"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Title 1">
            <a:extLst>
              <a:ext uri="{FF2B5EF4-FFF2-40B4-BE49-F238E27FC236}">
                <a16:creationId xmlns:a16="http://schemas.microsoft.com/office/drawing/2014/main" id="{6733F7B7-5AD6-1E43-4FD9-3C700AC2CBD0}"/>
              </a:ext>
            </a:extLst>
          </p:cNvPr>
          <p:cNvSpPr>
            <a:spLocks noGrp="1"/>
          </p:cNvSpPr>
          <p:nvPr>
            <p:ph type="title"/>
          </p:nvPr>
        </p:nvSpPr>
        <p:spPr>
          <a:xfrm>
            <a:off x="269212" y="191937"/>
            <a:ext cx="7345034" cy="1429544"/>
          </a:xfrm>
        </p:spPr>
        <p:txBody>
          <a:bodyPr rIns="457200"/>
          <a:lstStyle>
            <a:lvl1pPr>
              <a:lnSpc>
                <a:spcPct val="100000"/>
              </a:lnSpc>
              <a:defRPr sz="3198">
                <a:solidFill>
                  <a:schemeClr val="tx2"/>
                </a:solidFill>
              </a:defRPr>
            </a:lvl1pPr>
          </a:lstStyle>
          <a:p>
            <a:r>
              <a:rPr lang="en-US"/>
              <a:t>Click to edit Master title style</a:t>
            </a:r>
          </a:p>
        </p:txBody>
      </p:sp>
    </p:spTree>
    <p:extLst>
      <p:ext uri="{BB962C8B-B14F-4D97-AF65-F5344CB8AC3E}">
        <p14:creationId xmlns:p14="http://schemas.microsoft.com/office/powerpoint/2010/main" val="4079966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1_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2"/>
            <a:ext cx="12192000" cy="6000751"/>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8000" y="192026"/>
            <a:ext cx="5524575" cy="3144044"/>
          </a:xfrm>
        </p:spPr>
        <p:txBody>
          <a:bodyPr/>
          <a:lstStyle>
            <a:lvl1pPr>
              <a:lnSpc>
                <a:spcPct val="100000"/>
              </a:lnSpc>
              <a:defRPr sz="4298">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88000" y="6044186"/>
            <a:ext cx="2468623" cy="571500"/>
          </a:xfrm>
        </p:spPr>
        <p:txBody>
          <a:bodyPr anchor="b"/>
          <a:lstStyle>
            <a:lvl1pPr>
              <a:lnSpc>
                <a:spcPct val="110000"/>
              </a:lnSpc>
              <a:spcBef>
                <a:spcPts val="0"/>
              </a:spcBef>
              <a:defRPr sz="1400">
                <a:solidFill>
                  <a:schemeClr val="tx1"/>
                </a:solidFill>
              </a:defRPr>
            </a:lvl1pPr>
            <a:lvl2pPr marL="127968" indent="-127968">
              <a:lnSpc>
                <a:spcPct val="110000"/>
              </a:lnSpc>
              <a:spcBef>
                <a:spcPts val="0"/>
              </a:spcBef>
              <a:defRPr sz="1400">
                <a:solidFill>
                  <a:schemeClr val="tx1"/>
                </a:solidFill>
              </a:defRPr>
            </a:lvl2pPr>
            <a:lvl3pPr marL="255936" indent="-127968">
              <a:lnSpc>
                <a:spcPct val="110000"/>
              </a:lnSpc>
              <a:spcBef>
                <a:spcPts val="0"/>
              </a:spcBef>
              <a:defRPr sz="1400">
                <a:solidFill>
                  <a:schemeClr val="tx1"/>
                </a:solidFill>
              </a:defRPr>
            </a:lvl3pPr>
            <a:lvl4pPr marL="383904" indent="-127968">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3335318" y="6042372"/>
            <a:ext cx="2468623" cy="571500"/>
          </a:xfrm>
        </p:spPr>
        <p:txBody>
          <a:bodyPr anchor="b"/>
          <a:lstStyle>
            <a:lvl1pPr>
              <a:lnSpc>
                <a:spcPct val="110000"/>
              </a:lnSpc>
              <a:spcBef>
                <a:spcPts val="0"/>
              </a:spcBef>
              <a:defRPr sz="1400">
                <a:solidFill>
                  <a:schemeClr val="tx1"/>
                </a:solidFill>
              </a:defRPr>
            </a:lvl1pPr>
            <a:lvl2pPr marL="127968" indent="-127968">
              <a:lnSpc>
                <a:spcPct val="110000"/>
              </a:lnSpc>
              <a:spcBef>
                <a:spcPts val="0"/>
              </a:spcBef>
              <a:defRPr sz="1400">
                <a:solidFill>
                  <a:schemeClr val="tx1"/>
                </a:solidFill>
              </a:defRPr>
            </a:lvl2pPr>
            <a:lvl3pPr marL="255936" indent="-127968">
              <a:lnSpc>
                <a:spcPct val="110000"/>
              </a:lnSpc>
              <a:spcBef>
                <a:spcPts val="0"/>
              </a:spcBef>
              <a:defRPr sz="1400">
                <a:solidFill>
                  <a:schemeClr val="tx1"/>
                </a:solidFill>
              </a:defRPr>
            </a:lvl3pPr>
            <a:lvl4pPr marL="383904" indent="-127968">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11138527" y="6263483"/>
            <a:ext cx="819044" cy="304800"/>
          </a:xfrm>
          <a:prstGeom prst="rect">
            <a:avLst/>
          </a:prstGeom>
        </p:spPr>
      </p:pic>
    </p:spTree>
    <p:extLst>
      <p:ext uri="{BB962C8B-B14F-4D97-AF65-F5344CB8AC3E}">
        <p14:creationId xmlns:p14="http://schemas.microsoft.com/office/powerpoint/2010/main" val="3058634938"/>
      </p:ext>
    </p:extLst>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63" y="288036"/>
            <a:ext cx="2480241" cy="231077"/>
          </a:xfrm>
        </p:spPr>
        <p:txBody>
          <a:bodyPr/>
          <a:lstStyle>
            <a:lvl1pPr>
              <a:defRPr sz="140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62" y="762000"/>
            <a:ext cx="2473892" cy="1524000"/>
          </a:xfrm>
        </p:spPr>
        <p:txBody>
          <a:bodyPr/>
          <a:lstStyle>
            <a:lvl1pPr>
              <a:lnSpc>
                <a:spcPct val="110000"/>
              </a:lnSpc>
              <a:defRPr sz="1800">
                <a:solidFill>
                  <a:schemeClr val="tx2"/>
                </a:solidFill>
              </a:defRPr>
            </a:lvl1pPr>
          </a:lstStyle>
          <a:p>
            <a:r>
              <a:rPr lang="en-US"/>
              <a:t>Click to edit Master title style</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9168" y="288036"/>
            <a:ext cx="2476178" cy="247421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30110" y="288036"/>
            <a:ext cx="2479352" cy="247421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9168" y="3335338"/>
            <a:ext cx="2476178" cy="247421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30109" y="3335338"/>
            <a:ext cx="2476178" cy="247421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4D288907-977D-2E2D-D334-59684842A637}"/>
              </a:ext>
            </a:extLst>
          </p:cNvPr>
          <p:cNvSpPr>
            <a:spLocks noGrp="1"/>
          </p:cNvSpPr>
          <p:nvPr>
            <p:ph type="ftr" sz="quarter" idx="22"/>
          </p:nvPr>
        </p:nvSpPr>
        <p:spPr>
          <a:xfrm>
            <a:off x="287963" y="6408000"/>
            <a:ext cx="2477765" cy="190500"/>
          </a:xfrm>
        </p:spPr>
        <p:txBody>
          <a:bodyPr/>
          <a:lstStyle/>
          <a:p>
            <a:endParaRPr lang="en-US"/>
          </a:p>
        </p:txBody>
      </p:sp>
      <p:sp>
        <p:nvSpPr>
          <p:cNvPr id="8" name="Slide Number">
            <a:extLst>
              <a:ext uri="{FF2B5EF4-FFF2-40B4-BE49-F238E27FC236}">
                <a16:creationId xmlns:a16="http://schemas.microsoft.com/office/drawing/2014/main" id="{299C7C32-4361-2D42-DB76-E3E2316F597E}"/>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925041160"/>
      </p:ext>
    </p:extLst>
  </p:cSld>
  <p:clrMapOvr>
    <a:masterClrMapping/>
  </p:clrMapOvr>
  <p:transition spd="med"/>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1_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2"/>
            <a:ext cx="12192000" cy="6000751"/>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04" tIns="45704" rIns="45704" bIns="45704" numCol="1" rtlCol="0" anchor="t" anchorCtr="0" compatLnSpc="1">
            <a:prstTxWarp prst="textNoShape">
              <a:avLst/>
            </a:prstTxWarp>
          </a:bodyPr>
          <a:lstStyle/>
          <a:p>
            <a:pPr marL="0" marR="0" indent="0" algn="l" defTabSz="457029" rtl="0" eaLnBrk="1" fontAlgn="base" latinLnBrk="0" hangingPunct="1">
              <a:lnSpc>
                <a:spcPct val="100000"/>
              </a:lnSpc>
              <a:spcBef>
                <a:spcPct val="0"/>
              </a:spcBef>
              <a:spcAft>
                <a:spcPct val="0"/>
              </a:spcAft>
              <a:buClrTx/>
              <a:buSzTx/>
              <a:buFont typeface="IBM Plex Sans Light"/>
              <a:buNone/>
              <a:tabLst/>
            </a:pPr>
            <a:endParaRPr kumimoji="0" lang="en-US" sz="700" b="0" i="0" u="none" strike="noStrike" cap="none" normalizeH="0" baseline="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8000" y="192026"/>
            <a:ext cx="5524575" cy="2286795"/>
          </a:xfrm>
        </p:spPr>
        <p:txBody>
          <a:bodyPr/>
          <a:lstStyle>
            <a:lvl1pPr>
              <a:lnSpc>
                <a:spcPct val="100000"/>
              </a:lnSpc>
              <a:defRPr sz="4298">
                <a:solidFill>
                  <a:schemeClr val="tx2"/>
                </a:solidFill>
              </a:defRPr>
            </a:lvl1pPr>
          </a:lstStyle>
          <a:p>
            <a:r>
              <a:rPr lang="en-US"/>
              <a:t>Click to edit Master title style</a:t>
            </a:r>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288000" y="6044186"/>
            <a:ext cx="2468623" cy="571500"/>
          </a:xfrm>
        </p:spPr>
        <p:txBody>
          <a:bodyPr anchor="b"/>
          <a:lstStyle>
            <a:lvl1pPr>
              <a:lnSpc>
                <a:spcPct val="110000"/>
              </a:lnSpc>
              <a:spcBef>
                <a:spcPts val="0"/>
              </a:spcBef>
              <a:defRPr sz="1400">
                <a:solidFill>
                  <a:schemeClr val="tx1"/>
                </a:solidFill>
              </a:defRPr>
            </a:lvl1pPr>
            <a:lvl2pPr marL="127968" indent="-127968">
              <a:lnSpc>
                <a:spcPct val="110000"/>
              </a:lnSpc>
              <a:spcBef>
                <a:spcPts val="0"/>
              </a:spcBef>
              <a:defRPr sz="1400">
                <a:solidFill>
                  <a:schemeClr val="tx1"/>
                </a:solidFill>
              </a:defRPr>
            </a:lvl2pPr>
            <a:lvl3pPr marL="255936" indent="-127968">
              <a:lnSpc>
                <a:spcPct val="110000"/>
              </a:lnSpc>
              <a:spcBef>
                <a:spcPts val="0"/>
              </a:spcBef>
              <a:defRPr sz="1400">
                <a:solidFill>
                  <a:schemeClr val="tx1"/>
                </a:solidFill>
              </a:defRPr>
            </a:lvl3pPr>
            <a:lvl4pPr marL="383904" indent="-127968">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3335318" y="6042372"/>
            <a:ext cx="2468623" cy="571500"/>
          </a:xfrm>
        </p:spPr>
        <p:txBody>
          <a:bodyPr anchor="b"/>
          <a:lstStyle>
            <a:lvl1pPr>
              <a:lnSpc>
                <a:spcPct val="110000"/>
              </a:lnSpc>
              <a:spcBef>
                <a:spcPts val="0"/>
              </a:spcBef>
              <a:defRPr sz="1400">
                <a:solidFill>
                  <a:schemeClr val="tx1"/>
                </a:solidFill>
              </a:defRPr>
            </a:lvl1pPr>
            <a:lvl2pPr marL="127968" indent="-127968">
              <a:lnSpc>
                <a:spcPct val="110000"/>
              </a:lnSpc>
              <a:spcBef>
                <a:spcPts val="0"/>
              </a:spcBef>
              <a:defRPr sz="1400">
                <a:solidFill>
                  <a:schemeClr val="tx1"/>
                </a:solidFill>
              </a:defRPr>
            </a:lvl2pPr>
            <a:lvl3pPr marL="255936" indent="-127968">
              <a:lnSpc>
                <a:spcPct val="110000"/>
              </a:lnSpc>
              <a:spcBef>
                <a:spcPts val="0"/>
              </a:spcBef>
              <a:defRPr sz="1400">
                <a:solidFill>
                  <a:schemeClr val="tx1"/>
                </a:solidFill>
              </a:defRPr>
            </a:lvl3pPr>
            <a:lvl4pPr marL="383904" indent="-127968">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11138527" y="6263483"/>
            <a:ext cx="819044" cy="304800"/>
          </a:xfrm>
          <a:prstGeom prst="rect">
            <a:avLst/>
          </a:prstGeom>
        </p:spPr>
      </p:pic>
    </p:spTree>
    <p:extLst>
      <p:ext uri="{BB962C8B-B14F-4D97-AF65-F5344CB8AC3E}">
        <p14:creationId xmlns:p14="http://schemas.microsoft.com/office/powerpoint/2010/main" val="2554288478"/>
      </p:ext>
    </p:extLst>
  </p:cSld>
  <p:clrMapOvr>
    <a:masterClrMapping/>
  </p:clrMapOvr>
  <p:transition spd="med"/>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1_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8000" y="192026"/>
            <a:ext cx="5524575" cy="2286795"/>
          </a:xfrm>
        </p:spPr>
        <p:txBody>
          <a:bodyPr/>
          <a:lstStyle>
            <a:lvl1pPr>
              <a:lnSpc>
                <a:spcPct val="100000"/>
              </a:lnSpc>
              <a:defRPr sz="4298"/>
            </a:lvl1pPr>
          </a:lstStyle>
          <a:p>
            <a:r>
              <a:rPr lang="en-US"/>
              <a:t>Click to edit Master title style</a:t>
            </a:r>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11138527" y="6263483"/>
            <a:ext cx="819044" cy="304800"/>
          </a:xfrm>
          <a:prstGeom prst="rect">
            <a:avLst/>
          </a:prstGeom>
        </p:spPr>
      </p:pic>
    </p:spTree>
    <p:extLst>
      <p:ext uri="{BB962C8B-B14F-4D97-AF65-F5344CB8AC3E}">
        <p14:creationId xmlns:p14="http://schemas.microsoft.com/office/powerpoint/2010/main" val="3771545739"/>
      </p:ext>
    </p:extLst>
  </p:cSld>
  <p:clrMapOvr>
    <a:masterClrMapping/>
  </p:clrMapOvr>
  <p:transition spd="med"/>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1_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8000" y="192026"/>
            <a:ext cx="5524575" cy="2286795"/>
          </a:xfrm>
        </p:spPr>
        <p:txBody>
          <a:bodyPr/>
          <a:lstStyle>
            <a:lvl1pPr>
              <a:lnSpc>
                <a:spcPct val="100000"/>
              </a:lnSpc>
              <a:defRPr sz="4298">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88000" y="6231636"/>
            <a:ext cx="5524575" cy="381000"/>
          </a:xfrm>
        </p:spPr>
        <p:txBody>
          <a:bodyPr anchor="b"/>
          <a:lstStyle>
            <a:lvl1pPr>
              <a:lnSpc>
                <a:spcPct val="110000"/>
              </a:lnSpc>
              <a:spcBef>
                <a:spcPts val="0"/>
              </a:spcBef>
              <a:defRPr sz="140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11138527" y="6263483"/>
            <a:ext cx="819044" cy="304800"/>
          </a:xfrm>
          <a:prstGeom prst="rect">
            <a:avLst/>
          </a:prstGeom>
        </p:spPr>
      </p:pic>
    </p:spTree>
    <p:extLst>
      <p:ext uri="{BB962C8B-B14F-4D97-AF65-F5344CB8AC3E}">
        <p14:creationId xmlns:p14="http://schemas.microsoft.com/office/powerpoint/2010/main" val="819681107"/>
      </p:ext>
    </p:extLst>
  </p:cSld>
  <p:clrMapOvr>
    <a:masterClrMapping/>
  </p:clrMapOvr>
  <p:transition spd="med"/>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1_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21" y="284958"/>
            <a:ext cx="5523781" cy="6287295"/>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8001" y="192024"/>
            <a:ext cx="5049878" cy="5239544"/>
          </a:xfrm>
        </p:spPr>
        <p:txBody>
          <a:bodyPr/>
          <a:lstStyle>
            <a:lvl1pPr>
              <a:lnSpc>
                <a:spcPct val="100000"/>
              </a:lnSpc>
              <a:defRPr sz="4298">
                <a:solidFill>
                  <a:schemeClr val="tx2"/>
                </a:solidFill>
              </a:defRPr>
            </a:lvl1pPr>
          </a:lstStyle>
          <a:p>
            <a:r>
              <a:rPr lang="en-US"/>
              <a:t>Click to edit Master title style</a:t>
            </a:r>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288889" y="6263483"/>
            <a:ext cx="819044" cy="304800"/>
          </a:xfrm>
          <a:prstGeom prst="rect">
            <a:avLst/>
          </a:prstGeom>
        </p:spPr>
      </p:pic>
    </p:spTree>
    <p:extLst>
      <p:ext uri="{BB962C8B-B14F-4D97-AF65-F5344CB8AC3E}">
        <p14:creationId xmlns:p14="http://schemas.microsoft.com/office/powerpoint/2010/main" val="436657206"/>
      </p:ext>
    </p:extLst>
  </p:cSld>
  <p:clrMapOvr>
    <a:masterClrMapping/>
  </p:clrMapOvr>
  <p:transition spd="med"/>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1_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21" y="284958"/>
            <a:ext cx="5523781" cy="6287295"/>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8001" y="763525"/>
            <a:ext cx="5049180" cy="4668839"/>
          </a:xfrm>
        </p:spPr>
        <p:txBody>
          <a:bodyPr/>
          <a:lstStyle>
            <a:lvl1pPr>
              <a:lnSpc>
                <a:spcPct val="100000"/>
              </a:lnSpc>
              <a:defRPr sz="4298">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88001" y="288036"/>
            <a:ext cx="5049180" cy="285751"/>
          </a:xfrm>
        </p:spPr>
        <p:txBody>
          <a:bodyPr/>
          <a:lstStyle>
            <a:lvl1pPr>
              <a:spcBef>
                <a:spcPts val="0"/>
              </a:spcBef>
              <a:defRPr sz="14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288889" y="6263483"/>
            <a:ext cx="819044" cy="304800"/>
          </a:xfrm>
          <a:prstGeom prst="rect">
            <a:avLst/>
          </a:prstGeom>
        </p:spPr>
      </p:pic>
    </p:spTree>
    <p:extLst>
      <p:ext uri="{BB962C8B-B14F-4D97-AF65-F5344CB8AC3E}">
        <p14:creationId xmlns:p14="http://schemas.microsoft.com/office/powerpoint/2010/main" val="157107224"/>
      </p:ext>
    </p:extLst>
  </p:cSld>
  <p:clrMapOvr>
    <a:masterClrMapping/>
  </p:clrMapOvr>
  <p:transition spd="med"/>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1_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8000" y="192026"/>
            <a:ext cx="2477765" cy="2286795"/>
          </a:xfrm>
        </p:spPr>
        <p:txBody>
          <a:bodyPr/>
          <a:lstStyle>
            <a:lvl1pPr>
              <a:lnSpc>
                <a:spcPct val="100000"/>
              </a:lnSpc>
              <a:defRPr sz="3198">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6380918" y="284958"/>
            <a:ext cx="2476179" cy="5715795"/>
          </a:xfrm>
        </p:spPr>
        <p:txBody>
          <a:bodyPr/>
          <a:lstStyle>
            <a:lvl1pPr defTabSz="580426">
              <a:spcBef>
                <a:spcPts val="0"/>
              </a:spcBef>
              <a:defRPr>
                <a:solidFill>
                  <a:schemeClr val="tx1"/>
                </a:solidFill>
              </a:defRPr>
            </a:lvl1pPr>
            <a:lvl2pPr defTabSz="580426">
              <a:spcBef>
                <a:spcPts val="0"/>
              </a:spcBef>
              <a:defRPr>
                <a:solidFill>
                  <a:schemeClr val="tx1"/>
                </a:solidFill>
              </a:defRPr>
            </a:lvl2pPr>
            <a:lvl3pPr defTabSz="580426">
              <a:spcBef>
                <a:spcPts val="0"/>
              </a:spcBef>
              <a:defRPr>
                <a:solidFill>
                  <a:schemeClr val="tx1"/>
                </a:solidFill>
              </a:defRPr>
            </a:lvl3pPr>
            <a:lvl4pPr defTabSz="580426">
              <a:spcBef>
                <a:spcPts val="0"/>
              </a:spcBef>
              <a:defRPr>
                <a:solidFill>
                  <a:schemeClr val="tx1"/>
                </a:solidFill>
              </a:defRPr>
            </a:lvl4pPr>
            <a:lvl5pPr defTabSz="58042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9430111" y="284958"/>
            <a:ext cx="2474591" cy="5715795"/>
          </a:xfrm>
        </p:spPr>
        <p:txBody>
          <a:bodyPr/>
          <a:lstStyle>
            <a:lvl1pPr defTabSz="580426">
              <a:spcBef>
                <a:spcPts val="0"/>
              </a:spcBef>
              <a:defRPr>
                <a:solidFill>
                  <a:schemeClr val="tx1"/>
                </a:solidFill>
              </a:defRPr>
            </a:lvl1pPr>
            <a:lvl2pPr defTabSz="580426">
              <a:spcBef>
                <a:spcPts val="0"/>
              </a:spcBef>
              <a:defRPr>
                <a:solidFill>
                  <a:schemeClr val="tx1"/>
                </a:solidFill>
              </a:defRPr>
            </a:lvl2pPr>
            <a:lvl3pPr defTabSz="580426">
              <a:spcBef>
                <a:spcPts val="0"/>
              </a:spcBef>
              <a:defRPr>
                <a:solidFill>
                  <a:schemeClr val="tx1"/>
                </a:solidFill>
              </a:defRPr>
            </a:lvl3pPr>
            <a:lvl4pPr defTabSz="580426">
              <a:spcBef>
                <a:spcPts val="0"/>
              </a:spcBef>
              <a:defRPr>
                <a:solidFill>
                  <a:schemeClr val="tx1"/>
                </a:solidFill>
              </a:defRPr>
            </a:lvl4pPr>
            <a:lvl5pPr defTabSz="58042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11767911" y="6469422"/>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84127" y="6402120"/>
            <a:ext cx="2477765" cy="190500"/>
          </a:xfrm>
        </p:spPr>
        <p:txBody>
          <a:bodyPr/>
          <a:lstStyle/>
          <a:p>
            <a:endParaRPr lang="en-US"/>
          </a:p>
        </p:txBody>
      </p:sp>
    </p:spTree>
    <p:extLst>
      <p:ext uri="{BB962C8B-B14F-4D97-AF65-F5344CB8AC3E}">
        <p14:creationId xmlns:p14="http://schemas.microsoft.com/office/powerpoint/2010/main" val="3840928382"/>
      </p:ext>
    </p:extLst>
  </p:cSld>
  <p:clrMapOvr>
    <a:masterClrMapping/>
  </p:clrMapOvr>
  <p:transition spd="med"/>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1_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8000" y="192024"/>
            <a:ext cx="5524575" cy="1429544"/>
          </a:xfrm>
        </p:spPr>
        <p:txBody>
          <a:bodyPr rIns="457200"/>
          <a:lstStyle>
            <a:lvl1pPr>
              <a:lnSpc>
                <a:spcPct val="100000"/>
              </a:lnSpc>
              <a:defRPr sz="3198">
                <a:solidFill>
                  <a:schemeClr val="tx2"/>
                </a:solidFill>
              </a:defRPr>
            </a:lvl1pPr>
          </a:lstStyle>
          <a:p>
            <a:r>
              <a:rPr lang="en-US"/>
              <a:t>Click to edit Master title style</a:t>
            </a:r>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11767911" y="6469422"/>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84127" y="6402120"/>
            <a:ext cx="2477765" cy="190500"/>
          </a:xfrm>
        </p:spPr>
        <p:txBody>
          <a:bodyPr/>
          <a:lstStyle/>
          <a:p>
            <a:endParaRPr lang="en-US"/>
          </a:p>
        </p:txBody>
      </p:sp>
    </p:spTree>
    <p:extLst>
      <p:ext uri="{BB962C8B-B14F-4D97-AF65-F5344CB8AC3E}">
        <p14:creationId xmlns:p14="http://schemas.microsoft.com/office/powerpoint/2010/main" val="3319640168"/>
      </p:ext>
    </p:extLst>
  </p:cSld>
  <p:clrMapOvr>
    <a:masterClrMapping/>
  </p:clrMapOvr>
  <p:transition spd="med"/>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1_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87302" y="210314"/>
            <a:ext cx="8569796" cy="4095751"/>
          </a:xfrm>
        </p:spPr>
        <p:txBody>
          <a:bodyPr/>
          <a:lstStyle>
            <a:lvl1pPr>
              <a:defRPr sz="8597" b="0" i="0">
                <a:solidFill>
                  <a:schemeClr val="tx2"/>
                </a:solidFill>
                <a:latin typeface="IBM Plex Sans ExtLt" panose="020B0303050203000203" pitchFamily="34" charset="0"/>
              </a:defRPr>
            </a:lvl1pPr>
          </a:lstStyle>
          <a:p>
            <a:r>
              <a:rPr lang="en-US"/>
              <a:t>Click to edit Master title style</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11767911" y="6469422"/>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84127" y="6402120"/>
            <a:ext cx="2477765" cy="190500"/>
          </a:xfrm>
        </p:spPr>
        <p:txBody>
          <a:bodyPr/>
          <a:lstStyle/>
          <a:p>
            <a:endParaRPr lang="en-US"/>
          </a:p>
        </p:txBody>
      </p:sp>
    </p:spTree>
    <p:extLst>
      <p:ext uri="{BB962C8B-B14F-4D97-AF65-F5344CB8AC3E}">
        <p14:creationId xmlns:p14="http://schemas.microsoft.com/office/powerpoint/2010/main" val="2868250878"/>
      </p:ext>
    </p:extLst>
  </p:cSld>
  <p:clrMapOvr>
    <a:masterClrMapping/>
  </p:clrMapOvr>
  <p:transition spd="med"/>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1_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8001" y="192024"/>
            <a:ext cx="4953942" cy="1429544"/>
          </a:xfrm>
        </p:spPr>
        <p:txBody>
          <a:bodyPr/>
          <a:lstStyle>
            <a:lvl1pPr>
              <a:lnSpc>
                <a:spcPct val="100000"/>
              </a:lnSpc>
              <a:defRPr sz="3198">
                <a:solidFill>
                  <a:schemeClr val="tx2"/>
                </a:solidFill>
              </a:defRPr>
            </a:lvl1pPr>
          </a:lstStyle>
          <a:p>
            <a:r>
              <a:rPr lang="en-US"/>
              <a:t>Click to edit Master title style</a:t>
            </a:r>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6382796" y="224030"/>
            <a:ext cx="5520317" cy="4287044"/>
          </a:xfrm>
        </p:spPr>
        <p:txBody>
          <a:bodyPr/>
          <a:lstStyle>
            <a:lvl1pPr>
              <a:lnSpc>
                <a:spcPct val="100000"/>
              </a:lnSpc>
              <a:spcBef>
                <a:spcPts val="0"/>
              </a:spcBef>
              <a:defRPr sz="3198">
                <a:solidFill>
                  <a:schemeClr val="tx2"/>
                </a:solidFill>
              </a:defRPr>
            </a:lvl1pPr>
            <a:lvl2pPr marL="292498" indent="-292498">
              <a:lnSpc>
                <a:spcPct val="100000"/>
              </a:lnSpc>
              <a:spcBef>
                <a:spcPts val="0"/>
              </a:spcBef>
              <a:defRPr sz="3198">
                <a:solidFill>
                  <a:schemeClr val="tx2"/>
                </a:solidFill>
              </a:defRPr>
            </a:lvl2pPr>
            <a:lvl3pPr marL="548434" indent="-292498">
              <a:lnSpc>
                <a:spcPct val="100000"/>
              </a:lnSpc>
              <a:spcBef>
                <a:spcPts val="0"/>
              </a:spcBef>
              <a:defRPr sz="3198">
                <a:solidFill>
                  <a:schemeClr val="tx2"/>
                </a:solidFill>
              </a:defRPr>
            </a:lvl3pPr>
            <a:lvl4pPr marL="877494">
              <a:lnSpc>
                <a:spcPct val="100000"/>
              </a:lnSpc>
              <a:spcBef>
                <a:spcPts val="0"/>
              </a:spcBef>
              <a:defRPr sz="3198">
                <a:solidFill>
                  <a:schemeClr val="tx2"/>
                </a:solidFill>
              </a:defRPr>
            </a:lvl4pPr>
            <a:lvl5pPr>
              <a:lnSpc>
                <a:spcPct val="100000"/>
              </a:lnSpc>
              <a:spcBef>
                <a:spcPts val="0"/>
              </a:spcBef>
              <a:defRPr sz="3198"/>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11767911" y="6469422"/>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84127" y="6402120"/>
            <a:ext cx="2477765" cy="190500"/>
          </a:xfrm>
        </p:spPr>
        <p:txBody>
          <a:bodyPr/>
          <a:lstStyle/>
          <a:p>
            <a:endParaRPr lang="en-US"/>
          </a:p>
        </p:txBody>
      </p:sp>
    </p:spTree>
    <p:extLst>
      <p:ext uri="{BB962C8B-B14F-4D97-AF65-F5344CB8AC3E}">
        <p14:creationId xmlns:p14="http://schemas.microsoft.com/office/powerpoint/2010/main" val="3444082575"/>
      </p:ext>
    </p:extLst>
  </p:cSld>
  <p:clrMapOvr>
    <a:masterClrMapping/>
  </p:clrMapOvr>
  <p:transition spd="med"/>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1_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210312"/>
            <a:ext cx="7330120" cy="4858544"/>
          </a:xfrm>
        </p:spPr>
        <p:txBody>
          <a:bodyPr/>
          <a:lstStyle>
            <a:lvl1pPr>
              <a:lnSpc>
                <a:spcPct val="100000"/>
              </a:lnSpc>
              <a:defRPr sz="4298">
                <a:solidFill>
                  <a:schemeClr val="tx2"/>
                </a:solidFill>
              </a:defRPr>
            </a:lvl1pPr>
          </a:lstStyle>
          <a:p>
            <a:r>
              <a:rPr lang="en-US"/>
              <a:t>Click to edit Master title style</a:t>
            </a: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7911" y="6469422"/>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84127" y="6402120"/>
            <a:ext cx="2477765" cy="190500"/>
          </a:xfrm>
        </p:spPr>
        <p:txBody>
          <a:bodyPr/>
          <a:lstStyle/>
          <a:p>
            <a:endParaRPr lang="en-US"/>
          </a:p>
        </p:txBody>
      </p:sp>
    </p:spTree>
    <p:extLst>
      <p:ext uri="{BB962C8B-B14F-4D97-AF65-F5344CB8AC3E}">
        <p14:creationId xmlns:p14="http://schemas.microsoft.com/office/powerpoint/2010/main" val="3758911582"/>
      </p:ext>
    </p:extLst>
  </p:cSld>
  <p:clrMapOvr>
    <a:masterClrMapping/>
  </p:clrMapOvr>
  <p:transition spd="med"/>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63" y="288036"/>
            <a:ext cx="2480241" cy="231077"/>
          </a:xfrm>
        </p:spPr>
        <p:txBody>
          <a:bodyPr/>
          <a:lstStyle>
            <a:lvl1pPr>
              <a:defRPr sz="1400">
                <a:solidFill>
                  <a:schemeClr val="tx2"/>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9168" y="288036"/>
            <a:ext cx="2476178" cy="247421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30110" y="288036"/>
            <a:ext cx="2479352" cy="247421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9168" y="3335338"/>
            <a:ext cx="2476178" cy="247421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30109" y="3335338"/>
            <a:ext cx="2476178" cy="247421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4D288907-977D-2E2D-D334-59684842A637}"/>
              </a:ext>
            </a:extLst>
          </p:cNvPr>
          <p:cNvSpPr>
            <a:spLocks noGrp="1"/>
          </p:cNvSpPr>
          <p:nvPr>
            <p:ph type="ftr" sz="quarter" idx="22"/>
          </p:nvPr>
        </p:nvSpPr>
        <p:spPr>
          <a:xfrm>
            <a:off x="287963" y="6408000"/>
            <a:ext cx="2477765" cy="190500"/>
          </a:xfrm>
        </p:spPr>
        <p:txBody>
          <a:bodyPr/>
          <a:lstStyle/>
          <a:p>
            <a:endParaRPr lang="en-US"/>
          </a:p>
        </p:txBody>
      </p:sp>
      <p:sp>
        <p:nvSpPr>
          <p:cNvPr id="8" name="Slide Number">
            <a:extLst>
              <a:ext uri="{FF2B5EF4-FFF2-40B4-BE49-F238E27FC236}">
                <a16:creationId xmlns:a16="http://schemas.microsoft.com/office/drawing/2014/main" id="{299C7C32-4361-2D42-DB76-E3E2316F597E}"/>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 name="Title 1">
            <a:extLst>
              <a:ext uri="{FF2B5EF4-FFF2-40B4-BE49-F238E27FC236}">
                <a16:creationId xmlns:a16="http://schemas.microsoft.com/office/drawing/2014/main" id="{8009016F-5759-0B27-8DB2-77BDD7980942}"/>
              </a:ext>
            </a:extLst>
          </p:cNvPr>
          <p:cNvSpPr>
            <a:spLocks noGrp="1"/>
          </p:cNvSpPr>
          <p:nvPr>
            <p:ph type="title"/>
          </p:nvPr>
        </p:nvSpPr>
        <p:spPr>
          <a:xfrm>
            <a:off x="287963" y="761936"/>
            <a:ext cx="5521401" cy="2286064"/>
          </a:xfrm>
        </p:spPr>
        <p:txBody>
          <a:bodyPr rIns="457200"/>
          <a:lstStyle>
            <a:lvl1pPr>
              <a:lnSpc>
                <a:spcPct val="110000"/>
              </a:lnSpc>
              <a:defRPr sz="3399">
                <a:solidFill>
                  <a:schemeClr val="tx2"/>
                </a:solidFill>
              </a:defRPr>
            </a:lvl1pPr>
          </a:lstStyle>
          <a:p>
            <a:r>
              <a:rPr lang="en-US"/>
              <a:t>Click to edit Master title style</a:t>
            </a:r>
          </a:p>
        </p:txBody>
      </p:sp>
    </p:spTree>
    <p:extLst>
      <p:ext uri="{BB962C8B-B14F-4D97-AF65-F5344CB8AC3E}">
        <p14:creationId xmlns:p14="http://schemas.microsoft.com/office/powerpoint/2010/main" val="2568618523"/>
      </p:ext>
    </p:extLst>
  </p:cSld>
  <p:clrMapOvr>
    <a:masterClrMapping/>
  </p:clrMapOvr>
  <p:transition spd="med"/>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1_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88000" y="4649726"/>
            <a:ext cx="5524575" cy="1771651"/>
          </a:xfrm>
        </p:spPr>
        <p:txBody>
          <a:bodyPr anchor="b"/>
          <a:lstStyle>
            <a:lvl1pPr>
              <a:lnSpc>
                <a:spcPct val="90000"/>
              </a:lnSpc>
              <a:spcBef>
                <a:spcPts val="0"/>
              </a:spcBef>
              <a:defRPr sz="12895" b="0" i="0">
                <a:solidFill>
                  <a:schemeClr val="accent1"/>
                </a:solidFill>
                <a:latin typeface="IBM Plex Sans ExtLt" panose="020B0303050203000203" pitchFamily="34" charset="0"/>
              </a:defRPr>
            </a:lvl1pPr>
          </a:lstStyle>
          <a:p>
            <a:r>
              <a:rPr lang="en-US"/>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6380921" y="4648202"/>
            <a:ext cx="5523781" cy="1771651"/>
          </a:xfrm>
        </p:spPr>
        <p:txBody>
          <a:bodyPr anchor="b"/>
          <a:lstStyle>
            <a:lvl1pPr>
              <a:lnSpc>
                <a:spcPct val="90000"/>
              </a:lnSpc>
              <a:spcBef>
                <a:spcPts val="0"/>
              </a:spcBef>
              <a:defRPr sz="12895" b="0" i="0">
                <a:solidFill>
                  <a:schemeClr val="accent1"/>
                </a:solidFill>
                <a:latin typeface="IBM Plex Sans ExtLt" panose="020B0303050203000203" pitchFamily="34" charset="0"/>
              </a:defRPr>
            </a:lvl1pPr>
          </a:lstStyle>
          <a:p>
            <a:r>
              <a:rPr lang="en-US"/>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6380919" y="288038"/>
            <a:ext cx="3809504" cy="3144044"/>
          </a:xfrm>
        </p:spPr>
        <p:txBody>
          <a:bodyPr/>
          <a:lstStyle>
            <a:lvl1pPr>
              <a:lnSpc>
                <a:spcPct val="100000"/>
              </a:lnSpc>
              <a:spcBef>
                <a:spcPts val="0"/>
              </a:spcBef>
              <a:defRPr sz="2200">
                <a:solidFill>
                  <a:schemeClr val="tx1"/>
                </a:solidFill>
              </a:defRPr>
            </a:lvl1pPr>
            <a:lvl2pPr marL="201093" indent="-201093">
              <a:lnSpc>
                <a:spcPct val="100000"/>
              </a:lnSpc>
              <a:spcBef>
                <a:spcPts val="0"/>
              </a:spcBef>
              <a:defRPr sz="2200">
                <a:solidFill>
                  <a:schemeClr val="tx1"/>
                </a:solidFill>
              </a:defRPr>
            </a:lvl2pPr>
            <a:lvl3pPr marL="402186" indent="-201093">
              <a:lnSpc>
                <a:spcPct val="100000"/>
              </a:lnSpc>
              <a:spcBef>
                <a:spcPts val="0"/>
              </a:spcBef>
              <a:defRPr sz="2200">
                <a:solidFill>
                  <a:schemeClr val="tx1"/>
                </a:solidFill>
              </a:defRPr>
            </a:lvl3pPr>
            <a:lvl4pPr marL="557574" indent="-201093">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87998" y="288038"/>
            <a:ext cx="3811091" cy="3144044"/>
          </a:xfrm>
        </p:spPr>
        <p:txBody>
          <a:bodyPr/>
          <a:lstStyle>
            <a:lvl1pPr>
              <a:lnSpc>
                <a:spcPct val="100000"/>
              </a:lnSpc>
              <a:spcBef>
                <a:spcPts val="0"/>
              </a:spcBef>
              <a:defRPr sz="2200">
                <a:solidFill>
                  <a:schemeClr val="tx1"/>
                </a:solidFill>
              </a:defRPr>
            </a:lvl1pPr>
            <a:lvl2pPr marL="201093" indent="-201093">
              <a:lnSpc>
                <a:spcPct val="100000"/>
              </a:lnSpc>
              <a:spcBef>
                <a:spcPts val="0"/>
              </a:spcBef>
              <a:defRPr sz="2200">
                <a:solidFill>
                  <a:schemeClr val="tx1"/>
                </a:solidFill>
              </a:defRPr>
            </a:lvl2pPr>
            <a:lvl3pPr marL="402186" indent="-201093">
              <a:lnSpc>
                <a:spcPct val="100000"/>
              </a:lnSpc>
              <a:spcBef>
                <a:spcPts val="0"/>
              </a:spcBef>
              <a:defRPr sz="2200">
                <a:solidFill>
                  <a:schemeClr val="tx1"/>
                </a:solidFill>
              </a:defRPr>
            </a:lvl3pPr>
            <a:lvl4pPr marL="557574" indent="-201093">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6096000" y="284958"/>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11767911" y="6469422"/>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84127" y="6402120"/>
            <a:ext cx="2477765" cy="190500"/>
          </a:xfrm>
        </p:spPr>
        <p:txBody>
          <a:bodyPr/>
          <a:lstStyle/>
          <a:p>
            <a:endParaRPr lang="en-US"/>
          </a:p>
        </p:txBody>
      </p:sp>
    </p:spTree>
    <p:extLst>
      <p:ext uri="{BB962C8B-B14F-4D97-AF65-F5344CB8AC3E}">
        <p14:creationId xmlns:p14="http://schemas.microsoft.com/office/powerpoint/2010/main" val="2665616309"/>
      </p:ext>
    </p:extLst>
  </p:cSld>
  <p:clrMapOvr>
    <a:masterClrMapping/>
  </p:clrMapOvr>
  <p:transition spd="med"/>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1_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383302" y="213242"/>
            <a:ext cx="2474591" cy="953295"/>
          </a:xfrm>
        </p:spPr>
        <p:txBody>
          <a:bodyPr/>
          <a:lstStyle>
            <a:lvl1pPr>
              <a:lnSpc>
                <a:spcPct val="90000"/>
              </a:lnSpc>
              <a:defRPr sz="6497">
                <a:solidFill>
                  <a:schemeClr val="accent1"/>
                </a:solidFill>
              </a:defRPr>
            </a:lvl1pPr>
          </a:lstStyle>
          <a:p>
            <a:pPr lvl="0"/>
            <a:r>
              <a:rPr lang="en-US"/>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9428525" y="214828"/>
            <a:ext cx="2474591" cy="951707"/>
          </a:xfrm>
        </p:spPr>
        <p:txBody>
          <a:bodyPr/>
          <a:lstStyle>
            <a:lvl1pPr>
              <a:lnSpc>
                <a:spcPct val="90000"/>
              </a:lnSpc>
              <a:defRPr sz="6497">
                <a:solidFill>
                  <a:schemeClr val="accent1"/>
                </a:solidFill>
              </a:defRPr>
            </a:lvl1pPr>
          </a:lstStyle>
          <a:p>
            <a:pPr lvl="0"/>
            <a:r>
              <a:rPr lang="en-US"/>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14886"/>
            <a:ext cx="2475384" cy="953956"/>
          </a:xfrm>
        </p:spPr>
        <p:txBody>
          <a:bodyPr/>
          <a:lstStyle>
            <a:lvl1pPr>
              <a:lnSpc>
                <a:spcPct val="90000"/>
              </a:lnSpc>
              <a:defRPr sz="6497">
                <a:solidFill>
                  <a:schemeClr val="accent1"/>
                </a:solidFill>
              </a:defRPr>
            </a:lvl1pPr>
            <a:lvl2pPr marL="0" indent="0">
              <a:buNone/>
              <a:defRPr/>
            </a:lvl2pPr>
          </a:lstStyle>
          <a:p>
            <a:pPr lvl="0"/>
            <a:r>
              <a:rPr lang="en-US"/>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8000" y="288036"/>
            <a:ext cx="2474591" cy="1429544"/>
          </a:xfrm>
        </p:spPr>
        <p:txBody>
          <a:bodyPr/>
          <a:lstStyle>
            <a:lvl1pPr>
              <a:lnSpc>
                <a:spcPct val="110000"/>
              </a:lnSpc>
              <a:defRPr sz="18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90"/>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marL="73125" indent="-73125">
              <a:lnSpc>
                <a:spcPct val="120000"/>
              </a:lnSpc>
              <a:spcBef>
                <a:spcPts val="0"/>
              </a:spcBef>
              <a:defRPr sz="800" b="0" i="0">
                <a:solidFill>
                  <a:schemeClr val="tx1"/>
                </a:solidFill>
                <a:latin typeface="IBM Plex Sans" panose="020B0503050203000203" pitchFamily="34" charset="0"/>
              </a:defRPr>
            </a:lvl2pPr>
            <a:lvl3pPr marL="146250" indent="-73125">
              <a:lnSpc>
                <a:spcPct val="120000"/>
              </a:lnSpc>
              <a:spcBef>
                <a:spcPts val="0"/>
              </a:spcBef>
              <a:defRPr sz="800" b="0" i="0">
                <a:solidFill>
                  <a:schemeClr val="tx1"/>
                </a:solidFill>
                <a:latin typeface="IBM Plex Sans" panose="020B0503050203000203" pitchFamily="34" charset="0"/>
              </a:defRPr>
            </a:lvl3pPr>
            <a:lvl4pPr marL="219374" indent="-73125">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3333316" y="1166535"/>
            <a:ext cx="2475384" cy="483652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8" y="1167330"/>
            <a:ext cx="2476179"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9428523" y="1166535"/>
            <a:ext cx="2476179"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11767911" y="6469422"/>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84127" y="6402120"/>
            <a:ext cx="2477765" cy="190500"/>
          </a:xfrm>
        </p:spPr>
        <p:txBody>
          <a:bodyPr/>
          <a:lstStyle/>
          <a:p>
            <a:endParaRPr lang="en-US"/>
          </a:p>
        </p:txBody>
      </p:sp>
    </p:spTree>
    <p:extLst>
      <p:ext uri="{BB962C8B-B14F-4D97-AF65-F5344CB8AC3E}">
        <p14:creationId xmlns:p14="http://schemas.microsoft.com/office/powerpoint/2010/main" val="3135712075"/>
      </p:ext>
    </p:extLst>
  </p:cSld>
  <p:clrMapOvr>
    <a:masterClrMapping/>
  </p:clrMapOvr>
  <p:transition spd="med"/>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1_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284127" y="3048000"/>
            <a:ext cx="116205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87302" y="201170"/>
            <a:ext cx="2474591" cy="2667795"/>
          </a:xfrm>
        </p:spPr>
        <p:txBody>
          <a:bodyPr/>
          <a:lstStyle>
            <a:lvl1pPr>
              <a:lnSpc>
                <a:spcPct val="100000"/>
              </a:lnSpc>
              <a:defRPr sz="4298">
                <a:solidFill>
                  <a:schemeClr val="accent1"/>
                </a:solidFill>
              </a:defRPr>
            </a:lvl1pPr>
          </a:lstStyle>
          <a:p>
            <a:r>
              <a:rPr lang="en-US"/>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3333316" y="201170"/>
            <a:ext cx="5523781" cy="2667795"/>
          </a:xfrm>
        </p:spPr>
        <p:txBody>
          <a:bodyPr/>
          <a:lstStyle>
            <a:lvl1pPr>
              <a:lnSpc>
                <a:spcPct val="100000"/>
              </a:lnSpc>
              <a:spcBef>
                <a:spcPts val="0"/>
              </a:spcBef>
              <a:defRPr sz="4298">
                <a:solidFill>
                  <a:schemeClr val="tx1"/>
                </a:solidFill>
              </a:defRPr>
            </a:lvl1pPr>
            <a:lvl2pPr marL="393045" indent="-393045">
              <a:lnSpc>
                <a:spcPct val="100000"/>
              </a:lnSpc>
              <a:spcBef>
                <a:spcPts val="0"/>
              </a:spcBef>
              <a:defRPr sz="4298">
                <a:solidFill>
                  <a:schemeClr val="tx1"/>
                </a:solidFill>
              </a:defRPr>
            </a:lvl2pPr>
            <a:lvl3pPr marL="749528" indent="-393045">
              <a:lnSpc>
                <a:spcPct val="100000"/>
              </a:lnSpc>
              <a:spcBef>
                <a:spcPts val="0"/>
              </a:spcBef>
              <a:defRPr sz="4298">
                <a:solidFill>
                  <a:schemeClr val="tx1"/>
                </a:solidFill>
              </a:defRPr>
            </a:lvl3pPr>
            <a:lvl4pPr marL="1142572" indent="-393045">
              <a:lnSpc>
                <a:spcPct val="100000"/>
              </a:lnSpc>
              <a:spcBef>
                <a:spcPts val="0"/>
              </a:spcBef>
              <a:defRPr sz="4298">
                <a:solidFill>
                  <a:schemeClr val="tx1"/>
                </a:solidFill>
              </a:defRPr>
            </a:lvl4pPr>
            <a:lvl5pPr>
              <a:lnSpc>
                <a:spcPct val="100000"/>
              </a:lnSpc>
              <a:spcBef>
                <a:spcPts val="0"/>
              </a:spcBef>
              <a:defRPr sz="42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87302" y="3238500"/>
            <a:ext cx="2474591" cy="2667000"/>
          </a:xfrm>
        </p:spPr>
        <p:txBody>
          <a:bodyPr/>
          <a:lstStyle>
            <a:lvl1pPr>
              <a:lnSpc>
                <a:spcPct val="100000"/>
              </a:lnSpc>
              <a:defRPr sz="4298">
                <a:solidFill>
                  <a:schemeClr val="accent1"/>
                </a:solidFill>
              </a:defRPr>
            </a:lvl1pPr>
            <a:lvl2pPr>
              <a:lnSpc>
                <a:spcPct val="100000"/>
              </a:lnSpc>
              <a:defRPr sz="4298">
                <a:solidFill>
                  <a:schemeClr val="accent1"/>
                </a:solidFill>
              </a:defRPr>
            </a:lvl2pPr>
            <a:lvl3pPr>
              <a:lnSpc>
                <a:spcPct val="100000"/>
              </a:lnSpc>
              <a:defRPr sz="4298">
                <a:solidFill>
                  <a:schemeClr val="accent1"/>
                </a:solidFill>
              </a:defRPr>
            </a:lvl3pPr>
            <a:lvl4pPr>
              <a:lnSpc>
                <a:spcPct val="100000"/>
              </a:lnSpc>
              <a:defRPr sz="4298">
                <a:solidFill>
                  <a:schemeClr val="accent1"/>
                </a:solidFill>
              </a:defRPr>
            </a:lvl4pPr>
            <a:lvl5pPr>
              <a:lnSpc>
                <a:spcPct val="100000"/>
              </a:lnSpc>
              <a:defRPr sz="4298">
                <a:solidFill>
                  <a:schemeClr val="accent1"/>
                </a:solidFill>
              </a:defRPr>
            </a:lvl5pPr>
          </a:lstStyle>
          <a:p>
            <a:pPr lvl="0"/>
            <a:r>
              <a:rPr lang="en-US"/>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3333316" y="3238500"/>
            <a:ext cx="5523781" cy="2667000"/>
          </a:xfrm>
        </p:spPr>
        <p:txBody>
          <a:bodyPr/>
          <a:lstStyle>
            <a:lvl1pPr>
              <a:lnSpc>
                <a:spcPct val="100000"/>
              </a:lnSpc>
              <a:spcBef>
                <a:spcPts val="0"/>
              </a:spcBef>
              <a:defRPr sz="4298">
                <a:solidFill>
                  <a:schemeClr val="tx1"/>
                </a:solidFill>
              </a:defRPr>
            </a:lvl1pPr>
            <a:lvl2pPr marL="393045" indent="-393045">
              <a:lnSpc>
                <a:spcPct val="100000"/>
              </a:lnSpc>
              <a:spcBef>
                <a:spcPts val="0"/>
              </a:spcBef>
              <a:defRPr sz="4298">
                <a:solidFill>
                  <a:schemeClr val="tx1"/>
                </a:solidFill>
              </a:defRPr>
            </a:lvl2pPr>
            <a:lvl3pPr marL="749528" indent="-393045">
              <a:lnSpc>
                <a:spcPct val="100000"/>
              </a:lnSpc>
              <a:spcBef>
                <a:spcPts val="0"/>
              </a:spcBef>
              <a:defRPr sz="4298">
                <a:solidFill>
                  <a:schemeClr val="tx1"/>
                </a:solidFill>
              </a:defRPr>
            </a:lvl3pPr>
            <a:lvl4pPr marL="1142572" indent="-393045">
              <a:lnSpc>
                <a:spcPct val="100000"/>
              </a:lnSpc>
              <a:spcBef>
                <a:spcPts val="0"/>
              </a:spcBef>
              <a:defRPr sz="4298">
                <a:solidFill>
                  <a:schemeClr val="tx1"/>
                </a:solidFill>
              </a:defRPr>
            </a:lvl4pPr>
            <a:lvl5pPr>
              <a:lnSpc>
                <a:spcPct val="100000"/>
              </a:lnSpc>
              <a:spcBef>
                <a:spcPts val="0"/>
              </a:spcBef>
              <a:defRPr sz="42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11767911" y="6469422"/>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84127" y="6402120"/>
            <a:ext cx="2477765" cy="190500"/>
          </a:xfrm>
        </p:spPr>
        <p:txBody>
          <a:bodyPr/>
          <a:lstStyle/>
          <a:p>
            <a:endParaRPr lang="en-US"/>
          </a:p>
        </p:txBody>
      </p:sp>
    </p:spTree>
    <p:extLst>
      <p:ext uri="{BB962C8B-B14F-4D97-AF65-F5344CB8AC3E}">
        <p14:creationId xmlns:p14="http://schemas.microsoft.com/office/powerpoint/2010/main" val="3595835373"/>
      </p:ext>
    </p:extLst>
  </p:cSld>
  <p:clrMapOvr>
    <a:masterClrMapping/>
  </p:clrMapOvr>
  <p:transition spd="med"/>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1_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3333316" y="4095751"/>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3333316" y="2000251"/>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05740"/>
            <a:ext cx="2475384" cy="1429544"/>
          </a:xfrm>
        </p:spPr>
        <p:txBody>
          <a:bodyPr/>
          <a:lstStyle>
            <a:lvl1pPr>
              <a:lnSpc>
                <a:spcPct val="90000"/>
              </a:lnSpc>
              <a:defRPr sz="6497">
                <a:solidFill>
                  <a:schemeClr val="accent1"/>
                </a:solidFill>
              </a:defRPr>
            </a:lvl1pPr>
            <a:lvl2pPr marL="0" indent="0">
              <a:buNone/>
              <a:defRPr/>
            </a:lvl2pPr>
          </a:lstStyle>
          <a:p>
            <a:r>
              <a:rPr lang="en-US"/>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8000" y="288036"/>
            <a:ext cx="2474591" cy="1429544"/>
          </a:xfrm>
        </p:spPr>
        <p:txBody>
          <a:bodyPr/>
          <a:lstStyle>
            <a:lvl1pPr>
              <a:lnSpc>
                <a:spcPct val="110000"/>
              </a:lnSpc>
              <a:defRPr sz="18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90"/>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a:lnSpc>
                <a:spcPct val="120000"/>
              </a:lnSpc>
              <a:spcBef>
                <a:spcPts val="0"/>
              </a:spcBef>
              <a:defRPr sz="800" b="0" i="0">
                <a:solidFill>
                  <a:schemeClr val="tx1"/>
                </a:solidFill>
                <a:latin typeface="IBM Plex Sans" panose="020B0503050203000203" pitchFamily="34" charset="0"/>
              </a:defRPr>
            </a:lvl2pPr>
            <a:lvl3pPr>
              <a:lnSpc>
                <a:spcPct val="120000"/>
              </a:lnSpc>
              <a:spcBef>
                <a:spcPts val="0"/>
              </a:spcBef>
              <a:defRPr sz="800" b="0" i="0">
                <a:solidFill>
                  <a:schemeClr val="tx1"/>
                </a:solidFill>
                <a:latin typeface="IBM Plex Sans" panose="020B0503050203000203" pitchFamily="34" charset="0"/>
              </a:defRPr>
            </a:lvl3pPr>
            <a:lvl4pPr>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380919" y="288036"/>
            <a:ext cx="3809504" cy="1429544"/>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2190752"/>
            <a:ext cx="3809504" cy="142875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6380919" y="4286252"/>
            <a:ext cx="3809504" cy="142875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3333316" y="2093978"/>
            <a:ext cx="2475384" cy="1428755"/>
          </a:xfrm>
        </p:spPr>
        <p:txBody>
          <a:bodyPr/>
          <a:lstStyle>
            <a:lvl1pPr>
              <a:lnSpc>
                <a:spcPct val="90000"/>
              </a:lnSpc>
              <a:defRPr sz="6497">
                <a:solidFill>
                  <a:schemeClr val="accent1"/>
                </a:solidFill>
              </a:defRPr>
            </a:lvl1pPr>
          </a:lstStyle>
          <a:p>
            <a:r>
              <a:rPr lang="en-US"/>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3333319" y="4201670"/>
            <a:ext cx="2475383" cy="1428755"/>
          </a:xfrm>
        </p:spPr>
        <p:txBody>
          <a:bodyPr/>
          <a:lstStyle>
            <a:lvl1pPr>
              <a:lnSpc>
                <a:spcPct val="90000"/>
              </a:lnSpc>
              <a:defRPr sz="6497">
                <a:solidFill>
                  <a:schemeClr val="accent1"/>
                </a:solidFill>
              </a:defRPr>
            </a:lvl1pPr>
          </a:lstStyle>
          <a:p>
            <a:r>
              <a:rPr lang="en-US"/>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11767911" y="6469422"/>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84127" y="6402120"/>
            <a:ext cx="2477765" cy="190500"/>
          </a:xfrm>
        </p:spPr>
        <p:txBody>
          <a:bodyPr/>
          <a:lstStyle/>
          <a:p>
            <a:endParaRPr lang="en-US"/>
          </a:p>
        </p:txBody>
      </p:sp>
    </p:spTree>
    <p:extLst>
      <p:ext uri="{BB962C8B-B14F-4D97-AF65-F5344CB8AC3E}">
        <p14:creationId xmlns:p14="http://schemas.microsoft.com/office/powerpoint/2010/main" val="4142035757"/>
      </p:ext>
    </p:extLst>
  </p:cSld>
  <p:clrMapOvr>
    <a:masterClrMapping/>
  </p:clrMapOvr>
  <p:transition spd="med"/>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1_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8000" y="288038"/>
            <a:ext cx="2474591" cy="762795"/>
          </a:xfrm>
        </p:spPr>
        <p:txBody>
          <a:bodyPr/>
          <a:lstStyle>
            <a:lvl1pPr>
              <a:lnSpc>
                <a:spcPct val="110000"/>
              </a:lnSpc>
              <a:defRPr sz="14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88000" y="1714502"/>
            <a:ext cx="2477765" cy="4286251"/>
          </a:xfrm>
        </p:spPr>
        <p:txBody>
          <a:bodyPr/>
          <a:lstStyle>
            <a:lvl1pPr>
              <a:spcBef>
                <a:spcPts val="0"/>
              </a:spcBef>
              <a:defRPr sz="1000" b="0" i="0">
                <a:solidFill>
                  <a:schemeClr val="tx1"/>
                </a:solidFill>
                <a:latin typeface="IBM Plex Sans" panose="020B0503050203000203" pitchFamily="34" charset="0"/>
              </a:defRPr>
            </a:lvl1pPr>
            <a:lvl2pPr marL="91406" indent="-91406">
              <a:spcBef>
                <a:spcPts val="0"/>
              </a:spcBef>
              <a:defRPr sz="1000" b="0" i="0">
                <a:solidFill>
                  <a:schemeClr val="tx1"/>
                </a:solidFill>
                <a:latin typeface="IBM Plex Sans" panose="020B0503050203000203" pitchFamily="34" charset="0"/>
              </a:defRPr>
            </a:lvl2pPr>
            <a:lvl3pPr marL="182812" indent="-91406">
              <a:spcBef>
                <a:spcPts val="0"/>
              </a:spcBef>
              <a:defRPr sz="1000" b="0" i="0">
                <a:solidFill>
                  <a:schemeClr val="tx1"/>
                </a:solidFill>
                <a:latin typeface="IBM Plex Sans" panose="020B0503050203000203" pitchFamily="34" charset="0"/>
              </a:defRPr>
            </a:lvl3pPr>
            <a:lvl4pPr marL="274218" indent="-91406">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2"/>
            <a:ext cx="2475384" cy="4286251"/>
          </a:xfrm>
        </p:spPr>
        <p:txBody>
          <a:bodyPr/>
          <a:lstStyle>
            <a:lvl1pPr>
              <a:spcBef>
                <a:spcPts val="0"/>
              </a:spcBef>
              <a:defRPr sz="1000" b="0" i="0">
                <a:solidFill>
                  <a:schemeClr val="tx1"/>
                </a:solidFill>
                <a:latin typeface="IBM Plex Sans" panose="020B0503050203000203" pitchFamily="34" charset="0"/>
              </a:defRPr>
            </a:lvl1pPr>
            <a:lvl2pPr marL="91406" indent="-91406">
              <a:spcBef>
                <a:spcPts val="0"/>
              </a:spcBef>
              <a:defRPr sz="1000" b="0" i="0">
                <a:solidFill>
                  <a:schemeClr val="tx1"/>
                </a:solidFill>
                <a:latin typeface="IBM Plex Sans" panose="020B0503050203000203" pitchFamily="34" charset="0"/>
              </a:defRPr>
            </a:lvl2pPr>
            <a:lvl3pPr marL="182812" indent="-91406">
              <a:spcBef>
                <a:spcPts val="0"/>
              </a:spcBef>
              <a:defRPr sz="1000" b="0" i="0">
                <a:solidFill>
                  <a:schemeClr val="tx1"/>
                </a:solidFill>
                <a:latin typeface="IBM Plex Sans" panose="020B0503050203000203" pitchFamily="34" charset="0"/>
              </a:defRPr>
            </a:lvl3pPr>
            <a:lvl4pPr marL="274218" indent="-91406">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8" y="1714502"/>
            <a:ext cx="2476179" cy="4286251"/>
          </a:xfrm>
        </p:spPr>
        <p:txBody>
          <a:bodyPr/>
          <a:lstStyle>
            <a:lvl1pPr>
              <a:spcBef>
                <a:spcPts val="0"/>
              </a:spcBef>
              <a:defRPr sz="1000" b="0" i="0">
                <a:solidFill>
                  <a:schemeClr val="tx1"/>
                </a:solidFill>
                <a:latin typeface="IBM Plex Sans" panose="020B0503050203000203" pitchFamily="34" charset="0"/>
              </a:defRPr>
            </a:lvl1pPr>
            <a:lvl2pPr marL="91406" indent="-91406">
              <a:spcBef>
                <a:spcPts val="0"/>
              </a:spcBef>
              <a:defRPr sz="1000" b="0" i="0">
                <a:solidFill>
                  <a:schemeClr val="tx1"/>
                </a:solidFill>
                <a:latin typeface="IBM Plex Sans" panose="020B0503050203000203" pitchFamily="34" charset="0"/>
              </a:defRPr>
            </a:lvl2pPr>
            <a:lvl3pPr marL="182812" indent="-91406">
              <a:spcBef>
                <a:spcPts val="0"/>
              </a:spcBef>
              <a:defRPr sz="1000" b="0" i="0">
                <a:solidFill>
                  <a:schemeClr val="tx1"/>
                </a:solidFill>
                <a:latin typeface="IBM Plex Sans" panose="020B0503050203000203" pitchFamily="34" charset="0"/>
              </a:defRPr>
            </a:lvl3pPr>
            <a:lvl4pPr marL="274218" indent="-91406">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3" y="1714502"/>
            <a:ext cx="2479352" cy="4286251"/>
          </a:xfrm>
        </p:spPr>
        <p:txBody>
          <a:bodyPr/>
          <a:lstStyle>
            <a:lvl1pPr>
              <a:spcBef>
                <a:spcPts val="0"/>
              </a:spcBef>
              <a:defRPr sz="1000" b="0" i="0">
                <a:solidFill>
                  <a:schemeClr val="tx1"/>
                </a:solidFill>
                <a:latin typeface="IBM Plex Sans" panose="020B0503050203000203" pitchFamily="34" charset="0"/>
              </a:defRPr>
            </a:lvl1pPr>
            <a:lvl2pPr marL="91406" indent="-91406">
              <a:spcBef>
                <a:spcPts val="0"/>
              </a:spcBef>
              <a:defRPr sz="1000" b="0" i="0">
                <a:solidFill>
                  <a:schemeClr val="tx1"/>
                </a:solidFill>
                <a:latin typeface="IBM Plex Sans" panose="020B0503050203000203" pitchFamily="34" charset="0"/>
              </a:defRPr>
            </a:lvl2pPr>
            <a:lvl3pPr marL="182812" indent="-91406">
              <a:spcBef>
                <a:spcPts val="0"/>
              </a:spcBef>
              <a:defRPr sz="1000" b="0" i="0">
                <a:solidFill>
                  <a:schemeClr val="tx1"/>
                </a:solidFill>
                <a:latin typeface="IBM Plex Sans" panose="020B0503050203000203" pitchFamily="34" charset="0"/>
              </a:defRPr>
            </a:lvl3pPr>
            <a:lvl4pPr marL="274218" indent="-91406">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11767911" y="6469422"/>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84127" y="6402120"/>
            <a:ext cx="2477765" cy="190500"/>
          </a:xfrm>
        </p:spPr>
        <p:txBody>
          <a:bodyPr/>
          <a:lstStyle/>
          <a:p>
            <a:endParaRPr lang="en-US"/>
          </a:p>
        </p:txBody>
      </p:sp>
    </p:spTree>
    <p:extLst>
      <p:ext uri="{BB962C8B-B14F-4D97-AF65-F5344CB8AC3E}">
        <p14:creationId xmlns:p14="http://schemas.microsoft.com/office/powerpoint/2010/main" val="2206253743"/>
      </p:ext>
    </p:extLst>
  </p:cSld>
  <p:clrMapOvr>
    <a:masterClrMapping/>
  </p:clrMapOvr>
  <p:transition spd="med"/>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1_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8000" y="288038"/>
            <a:ext cx="2474591" cy="762795"/>
          </a:xfrm>
        </p:spPr>
        <p:txBody>
          <a:bodyPr/>
          <a:lstStyle>
            <a:lvl1pPr>
              <a:lnSpc>
                <a:spcPct val="110000"/>
              </a:lnSpc>
              <a:defRPr sz="1400">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2"/>
            <a:ext cx="2475384"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06" indent="-91406">
              <a:lnSpc>
                <a:spcPct val="110000"/>
              </a:lnSpc>
              <a:spcBef>
                <a:spcPts val="0"/>
              </a:spcBef>
              <a:defRPr sz="1000" b="0" i="0">
                <a:solidFill>
                  <a:schemeClr val="tx1"/>
                </a:solidFill>
                <a:latin typeface="IBM Plex Sans" panose="020B0503050203000203" pitchFamily="34" charset="0"/>
              </a:defRPr>
            </a:lvl2pPr>
            <a:lvl3pPr marL="182812" indent="-91406">
              <a:lnSpc>
                <a:spcPct val="110000"/>
              </a:lnSpc>
              <a:spcBef>
                <a:spcPts val="0"/>
              </a:spcBef>
              <a:defRPr sz="1000" b="0" i="0">
                <a:solidFill>
                  <a:schemeClr val="tx1"/>
                </a:solidFill>
                <a:latin typeface="IBM Plex Sans" panose="020B0503050203000203" pitchFamily="34" charset="0"/>
              </a:defRPr>
            </a:lvl3pPr>
            <a:lvl4pPr marL="274218" indent="-91406">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8" y="1714502"/>
            <a:ext cx="2476179"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06" indent="-91406">
              <a:lnSpc>
                <a:spcPct val="110000"/>
              </a:lnSpc>
              <a:spcBef>
                <a:spcPts val="0"/>
              </a:spcBef>
              <a:defRPr sz="1000" b="0" i="0">
                <a:solidFill>
                  <a:schemeClr val="tx1"/>
                </a:solidFill>
                <a:latin typeface="IBM Plex Sans" panose="020B0503050203000203" pitchFamily="34" charset="0"/>
              </a:defRPr>
            </a:lvl2pPr>
            <a:lvl3pPr marL="182812" indent="-91406">
              <a:lnSpc>
                <a:spcPct val="110000"/>
              </a:lnSpc>
              <a:spcBef>
                <a:spcPts val="0"/>
              </a:spcBef>
              <a:defRPr sz="1000" b="0" i="0">
                <a:solidFill>
                  <a:schemeClr val="tx1"/>
                </a:solidFill>
                <a:latin typeface="IBM Plex Sans" panose="020B0503050203000203" pitchFamily="34" charset="0"/>
              </a:defRPr>
            </a:lvl3pPr>
            <a:lvl4pPr marL="274218" indent="-91406">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3" y="1714502"/>
            <a:ext cx="2479352"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06" indent="-91406">
              <a:lnSpc>
                <a:spcPct val="110000"/>
              </a:lnSpc>
              <a:spcBef>
                <a:spcPts val="0"/>
              </a:spcBef>
              <a:defRPr sz="1000" b="0" i="0">
                <a:solidFill>
                  <a:schemeClr val="tx1"/>
                </a:solidFill>
                <a:latin typeface="IBM Plex Sans" panose="020B0503050203000203" pitchFamily="34" charset="0"/>
              </a:defRPr>
            </a:lvl2pPr>
            <a:lvl3pPr marL="182812" indent="-91406">
              <a:lnSpc>
                <a:spcPct val="110000"/>
              </a:lnSpc>
              <a:spcBef>
                <a:spcPts val="0"/>
              </a:spcBef>
              <a:defRPr sz="1000" b="0" i="0">
                <a:solidFill>
                  <a:schemeClr val="tx1"/>
                </a:solidFill>
                <a:latin typeface="IBM Plex Sans" panose="020B0503050203000203" pitchFamily="34" charset="0"/>
              </a:defRPr>
            </a:lvl3pPr>
            <a:lvl4pPr marL="274218" indent="-91406">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8"/>
            <a:ext cx="2477765" cy="762795"/>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06" indent="-91406">
              <a:lnSpc>
                <a:spcPct val="110000"/>
              </a:lnSpc>
              <a:spcBef>
                <a:spcPts val="0"/>
              </a:spcBef>
              <a:defRPr sz="1000" b="0" i="0">
                <a:solidFill>
                  <a:schemeClr val="tx1"/>
                </a:solidFill>
                <a:latin typeface="IBM Plex Sans" panose="020B0503050203000203" pitchFamily="34" charset="0"/>
              </a:defRPr>
            </a:lvl2pPr>
            <a:lvl3pPr marL="182812" indent="-91406">
              <a:lnSpc>
                <a:spcPct val="110000"/>
              </a:lnSpc>
              <a:spcBef>
                <a:spcPts val="0"/>
              </a:spcBef>
              <a:defRPr sz="1000" b="0" i="0">
                <a:solidFill>
                  <a:schemeClr val="tx1"/>
                </a:solidFill>
                <a:latin typeface="IBM Plex Sans" panose="020B0503050203000203" pitchFamily="34" charset="0"/>
              </a:defRPr>
            </a:lvl3pPr>
            <a:lvl4pPr marL="274218" indent="-91406">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289683" y="1714502"/>
            <a:ext cx="2475384"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06" indent="-91406">
              <a:lnSpc>
                <a:spcPct val="110000"/>
              </a:lnSpc>
              <a:spcBef>
                <a:spcPts val="0"/>
              </a:spcBef>
              <a:defRPr sz="1000" b="0" i="0">
                <a:solidFill>
                  <a:schemeClr val="tx1"/>
                </a:solidFill>
                <a:latin typeface="IBM Plex Sans" panose="020B0503050203000203" pitchFamily="34" charset="0"/>
              </a:defRPr>
            </a:lvl2pPr>
            <a:lvl3pPr marL="182812" indent="-91406">
              <a:lnSpc>
                <a:spcPct val="110000"/>
              </a:lnSpc>
              <a:spcBef>
                <a:spcPts val="0"/>
              </a:spcBef>
              <a:defRPr sz="1000" b="0" i="0">
                <a:solidFill>
                  <a:schemeClr val="tx1"/>
                </a:solidFill>
                <a:latin typeface="IBM Plex Sans" panose="020B0503050203000203" pitchFamily="34" charset="0"/>
              </a:defRPr>
            </a:lvl3pPr>
            <a:lvl4pPr marL="274218" indent="-91406">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3047603" y="1714502"/>
            <a:ext cx="0" cy="428625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6093683"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9142811"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11767911" y="6469422"/>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84127" y="6402120"/>
            <a:ext cx="2477765" cy="190500"/>
          </a:xfrm>
        </p:spPr>
        <p:txBody>
          <a:bodyPr/>
          <a:lstStyle/>
          <a:p>
            <a:endParaRPr lang="en-US"/>
          </a:p>
        </p:txBody>
      </p:sp>
    </p:spTree>
    <p:extLst>
      <p:ext uri="{BB962C8B-B14F-4D97-AF65-F5344CB8AC3E}">
        <p14:creationId xmlns:p14="http://schemas.microsoft.com/office/powerpoint/2010/main" val="1073197096"/>
      </p:ext>
    </p:extLst>
  </p:cSld>
  <p:clrMapOvr>
    <a:masterClrMapping/>
  </p:clrMapOvr>
  <p:transition spd="med"/>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6_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8000" y="288038"/>
            <a:ext cx="2474591" cy="762795"/>
          </a:xfrm>
        </p:spPr>
        <p:txBody>
          <a:bodyPr/>
          <a:lstStyle>
            <a:lvl1pPr>
              <a:lnSpc>
                <a:spcPct val="110000"/>
              </a:lnSpc>
              <a:defRPr sz="1400">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2"/>
            <a:ext cx="2475384" cy="4286251"/>
          </a:xfrm>
        </p:spPr>
        <p:txBody>
          <a:bodyPr/>
          <a:lstStyle>
            <a:lvl1pPr>
              <a:spcBef>
                <a:spcPts val="0"/>
              </a:spcBef>
              <a:defRPr sz="1000" b="0" i="0">
                <a:solidFill>
                  <a:schemeClr val="tx1"/>
                </a:solidFill>
                <a:latin typeface="IBM Plex Sans" panose="020B0503050203000203" pitchFamily="34" charset="0"/>
              </a:defRPr>
            </a:lvl1pPr>
            <a:lvl2pPr marL="91406" indent="-91406">
              <a:spcBef>
                <a:spcPts val="0"/>
              </a:spcBef>
              <a:defRPr sz="1000" b="0" i="0">
                <a:solidFill>
                  <a:schemeClr val="tx1"/>
                </a:solidFill>
                <a:latin typeface="IBM Plex Sans" panose="020B0503050203000203" pitchFamily="34" charset="0"/>
              </a:defRPr>
            </a:lvl2pPr>
            <a:lvl3pPr marL="182812" indent="-91406">
              <a:spcBef>
                <a:spcPts val="0"/>
              </a:spcBef>
              <a:defRPr sz="1000" b="0" i="0">
                <a:solidFill>
                  <a:schemeClr val="tx1"/>
                </a:solidFill>
                <a:latin typeface="IBM Plex Sans" panose="020B0503050203000203" pitchFamily="34" charset="0"/>
              </a:defRPr>
            </a:lvl3pPr>
            <a:lvl4pPr marL="274218" indent="-91406">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8" y="1714502"/>
            <a:ext cx="2476179" cy="4286251"/>
          </a:xfrm>
        </p:spPr>
        <p:txBody>
          <a:bodyPr/>
          <a:lstStyle>
            <a:lvl1pPr>
              <a:spcBef>
                <a:spcPts val="0"/>
              </a:spcBef>
              <a:defRPr sz="1000" b="0" i="0">
                <a:solidFill>
                  <a:schemeClr val="tx1"/>
                </a:solidFill>
                <a:latin typeface="IBM Plex Sans" panose="020B0503050203000203" pitchFamily="34" charset="0"/>
              </a:defRPr>
            </a:lvl1pPr>
            <a:lvl2pPr marL="91406" indent="-91406">
              <a:spcBef>
                <a:spcPts val="0"/>
              </a:spcBef>
              <a:defRPr sz="1000" b="0" i="0">
                <a:solidFill>
                  <a:schemeClr val="tx1"/>
                </a:solidFill>
                <a:latin typeface="IBM Plex Sans" panose="020B0503050203000203" pitchFamily="34" charset="0"/>
              </a:defRPr>
            </a:lvl2pPr>
            <a:lvl3pPr marL="182812" indent="-91406">
              <a:spcBef>
                <a:spcPts val="0"/>
              </a:spcBef>
              <a:defRPr sz="1000" b="0" i="0">
                <a:solidFill>
                  <a:schemeClr val="tx1"/>
                </a:solidFill>
                <a:latin typeface="IBM Plex Sans" panose="020B0503050203000203" pitchFamily="34" charset="0"/>
              </a:defRPr>
            </a:lvl3pPr>
            <a:lvl4pPr marL="274218" indent="-91406">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3" y="1714502"/>
            <a:ext cx="2479352" cy="4286251"/>
          </a:xfrm>
        </p:spPr>
        <p:txBody>
          <a:bodyPr/>
          <a:lstStyle>
            <a:lvl1pPr>
              <a:spcBef>
                <a:spcPts val="0"/>
              </a:spcBef>
              <a:defRPr sz="1000" b="0" i="0">
                <a:solidFill>
                  <a:schemeClr val="tx1"/>
                </a:solidFill>
                <a:latin typeface="IBM Plex Sans" panose="020B0503050203000203" pitchFamily="34" charset="0"/>
              </a:defRPr>
            </a:lvl1pPr>
            <a:lvl2pPr marL="91406" indent="-91406">
              <a:spcBef>
                <a:spcPts val="0"/>
              </a:spcBef>
              <a:defRPr sz="1000" b="0" i="0">
                <a:solidFill>
                  <a:schemeClr val="tx1"/>
                </a:solidFill>
                <a:latin typeface="IBM Plex Sans" panose="020B0503050203000203" pitchFamily="34" charset="0"/>
              </a:defRPr>
            </a:lvl2pPr>
            <a:lvl3pPr marL="182812" indent="-91406">
              <a:spcBef>
                <a:spcPts val="0"/>
              </a:spcBef>
              <a:defRPr sz="1000" b="0" i="0">
                <a:solidFill>
                  <a:schemeClr val="tx1"/>
                </a:solidFill>
                <a:latin typeface="IBM Plex Sans" panose="020B0503050203000203" pitchFamily="34" charset="0"/>
              </a:defRPr>
            </a:lvl3pPr>
            <a:lvl4pPr marL="274218" indent="-91406">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8"/>
            <a:ext cx="2477765" cy="762795"/>
          </a:xfrm>
        </p:spPr>
        <p:txBody>
          <a:bodyPr/>
          <a:lstStyle>
            <a:lvl1pPr>
              <a:lnSpc>
                <a:spcPct val="110000"/>
              </a:lnSpc>
              <a:spcBef>
                <a:spcPts val="0"/>
              </a:spcBef>
              <a:defRPr sz="1400">
                <a:solidFill>
                  <a:schemeClr val="tx1"/>
                </a:solidFill>
              </a:defRPr>
            </a:lvl1pPr>
            <a:lvl2pPr marL="127968" indent="-127968">
              <a:lnSpc>
                <a:spcPct val="110000"/>
              </a:lnSpc>
              <a:spcBef>
                <a:spcPts val="0"/>
              </a:spcBef>
              <a:defRPr sz="1400">
                <a:solidFill>
                  <a:schemeClr val="tx1"/>
                </a:solidFill>
              </a:defRPr>
            </a:lvl2pPr>
            <a:lvl3pPr marL="255936" indent="-127968">
              <a:lnSpc>
                <a:spcPct val="110000"/>
              </a:lnSpc>
              <a:spcBef>
                <a:spcPts val="0"/>
              </a:spcBef>
              <a:defRPr sz="1400">
                <a:solidFill>
                  <a:schemeClr val="tx1"/>
                </a:solidFill>
              </a:defRPr>
            </a:lvl3pPr>
            <a:lvl4pPr marL="383904" indent="-127968">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8" y="288038"/>
            <a:ext cx="2476179" cy="762795"/>
          </a:xfrm>
        </p:spPr>
        <p:txBody>
          <a:bodyPr/>
          <a:lstStyle>
            <a:lvl1pPr>
              <a:lnSpc>
                <a:spcPct val="110000"/>
              </a:lnSpc>
              <a:spcBef>
                <a:spcPts val="0"/>
              </a:spcBef>
              <a:defRPr sz="1400">
                <a:solidFill>
                  <a:schemeClr val="tx1"/>
                </a:solidFill>
              </a:defRPr>
            </a:lvl1pPr>
            <a:lvl2pPr marL="127968" indent="-127968">
              <a:lnSpc>
                <a:spcPct val="110000"/>
              </a:lnSpc>
              <a:spcBef>
                <a:spcPts val="0"/>
              </a:spcBef>
              <a:defRPr sz="1400">
                <a:solidFill>
                  <a:schemeClr val="tx1"/>
                </a:solidFill>
              </a:defRPr>
            </a:lvl2pPr>
            <a:lvl3pPr marL="255936" indent="-127968">
              <a:lnSpc>
                <a:spcPct val="110000"/>
              </a:lnSpc>
              <a:spcBef>
                <a:spcPts val="0"/>
              </a:spcBef>
              <a:defRPr sz="1400">
                <a:solidFill>
                  <a:schemeClr val="tx1"/>
                </a:solidFill>
              </a:defRPr>
            </a:lvl3pPr>
            <a:lvl4pPr marL="383904" indent="-127968">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3" y="288038"/>
            <a:ext cx="2479352" cy="762795"/>
          </a:xfrm>
        </p:spPr>
        <p:txBody>
          <a:bodyPr/>
          <a:lstStyle>
            <a:lvl1pPr>
              <a:lnSpc>
                <a:spcPct val="110000"/>
              </a:lnSpc>
              <a:spcBef>
                <a:spcPts val="0"/>
              </a:spcBef>
              <a:defRPr sz="1400">
                <a:solidFill>
                  <a:schemeClr val="tx1"/>
                </a:solidFill>
              </a:defRPr>
            </a:lvl1pPr>
            <a:lvl2pPr marL="127968" indent="-127968">
              <a:lnSpc>
                <a:spcPct val="110000"/>
              </a:lnSpc>
              <a:spcBef>
                <a:spcPts val="0"/>
              </a:spcBef>
              <a:defRPr sz="1400">
                <a:solidFill>
                  <a:schemeClr val="tx1"/>
                </a:solidFill>
              </a:defRPr>
            </a:lvl2pPr>
            <a:lvl3pPr marL="255936" indent="-127968">
              <a:lnSpc>
                <a:spcPct val="110000"/>
              </a:lnSpc>
              <a:spcBef>
                <a:spcPts val="0"/>
              </a:spcBef>
              <a:defRPr sz="1400">
                <a:solidFill>
                  <a:schemeClr val="tx1"/>
                </a:solidFill>
              </a:defRPr>
            </a:lvl3pPr>
            <a:lvl4pPr marL="383904" indent="-127968">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3047603" y="284958"/>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a:cxnSpLocks/>
          </p:cNvCxnSpPr>
          <p:nvPr userDrawn="1"/>
        </p:nvCxnSpPr>
        <p:spPr bwMode="auto">
          <a:xfrm>
            <a:off x="6093683" y="283466"/>
            <a:ext cx="0" cy="595404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11767911" y="6469422"/>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84127" y="6402120"/>
            <a:ext cx="2477765" cy="190500"/>
          </a:xfrm>
        </p:spPr>
        <p:txBody>
          <a:bodyPr/>
          <a:lstStyle/>
          <a:p>
            <a:endParaRPr lang="en-US"/>
          </a:p>
        </p:txBody>
      </p:sp>
      <p:cxnSp>
        <p:nvCxnSpPr>
          <p:cNvPr id="8" name="Straight Connector 7">
            <a:extLst>
              <a:ext uri="{FF2B5EF4-FFF2-40B4-BE49-F238E27FC236}">
                <a16:creationId xmlns:a16="http://schemas.microsoft.com/office/drawing/2014/main" id="{C2890EE9-F48A-56C3-F9DE-96E593E99997}"/>
              </a:ext>
            </a:extLst>
          </p:cNvPr>
          <p:cNvCxnSpPr>
            <a:cxnSpLocks/>
          </p:cNvCxnSpPr>
          <p:nvPr userDrawn="1"/>
        </p:nvCxnSpPr>
        <p:spPr bwMode="auto">
          <a:xfrm>
            <a:off x="9141682" y="283466"/>
            <a:ext cx="0" cy="595404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394240310"/>
      </p:ext>
    </p:extLst>
  </p:cSld>
  <p:clrMapOvr>
    <a:masterClrMapping/>
  </p:clrMapOvr>
  <p:transition spd="med"/>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1_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88000" y="288036"/>
            <a:ext cx="2474591" cy="1048544"/>
          </a:xfrm>
        </p:spPr>
        <p:txBody>
          <a:bodyPr/>
          <a:lstStyle>
            <a:lvl1pPr>
              <a:lnSpc>
                <a:spcPct val="110000"/>
              </a:lnSpc>
              <a:defRPr sz="12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88000" y="1714502"/>
            <a:ext cx="2477765" cy="2000251"/>
          </a:xfrm>
        </p:spPr>
        <p:txBody>
          <a:bodyPr/>
          <a:lstStyle>
            <a:lvl1pPr>
              <a:lnSpc>
                <a:spcPct val="100000"/>
              </a:lnSpc>
              <a:spcBef>
                <a:spcPts val="0"/>
              </a:spcBef>
              <a:defRPr sz="18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3333316" y="1714502"/>
            <a:ext cx="2475384" cy="4286251"/>
          </a:xfrm>
        </p:spPr>
        <p:txBody>
          <a:bodyPr/>
          <a:lstStyle>
            <a:lvl1pPr>
              <a:lnSpc>
                <a:spcPct val="110000"/>
              </a:lnSpc>
              <a:spcBef>
                <a:spcPts val="0"/>
              </a:spcBef>
              <a:defRPr sz="1200">
                <a:solidFill>
                  <a:schemeClr val="tx1"/>
                </a:solidFill>
              </a:defRPr>
            </a:lvl1pPr>
            <a:lvl2pPr marL="109688" indent="-109688">
              <a:lnSpc>
                <a:spcPct val="110000"/>
              </a:lnSpc>
              <a:spcBef>
                <a:spcPts val="0"/>
              </a:spcBef>
              <a:defRPr sz="1200">
                <a:solidFill>
                  <a:schemeClr val="tx1"/>
                </a:solidFill>
              </a:defRPr>
            </a:lvl2pPr>
            <a:lvl3pPr marL="219374" indent="-109688">
              <a:lnSpc>
                <a:spcPct val="110000"/>
              </a:lnSpc>
              <a:spcBef>
                <a:spcPts val="0"/>
              </a:spcBef>
              <a:defRPr sz="1200">
                <a:solidFill>
                  <a:schemeClr val="tx1"/>
                </a:solidFill>
              </a:defRPr>
            </a:lvl3pPr>
            <a:lvl4pPr marL="329061" indent="-109688">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6383186" y="1714502"/>
            <a:ext cx="2470739" cy="4286251"/>
          </a:xfrm>
        </p:spPr>
        <p:txBody>
          <a:bodyPr/>
          <a:lstStyle>
            <a:lvl1pPr>
              <a:lnSpc>
                <a:spcPct val="110000"/>
              </a:lnSpc>
              <a:spcBef>
                <a:spcPts val="0"/>
              </a:spcBef>
              <a:defRPr sz="1200">
                <a:solidFill>
                  <a:schemeClr val="tx1"/>
                </a:solidFill>
              </a:defRPr>
            </a:lvl1pPr>
            <a:lvl2pPr marL="109688" indent="-109688">
              <a:lnSpc>
                <a:spcPct val="110000"/>
              </a:lnSpc>
              <a:spcBef>
                <a:spcPts val="0"/>
              </a:spcBef>
              <a:defRPr sz="1200">
                <a:solidFill>
                  <a:schemeClr val="tx1"/>
                </a:solidFill>
              </a:defRPr>
            </a:lvl2pPr>
            <a:lvl3pPr marL="219374" indent="-109688">
              <a:lnSpc>
                <a:spcPct val="110000"/>
              </a:lnSpc>
              <a:spcBef>
                <a:spcPts val="0"/>
              </a:spcBef>
              <a:defRPr sz="1200">
                <a:solidFill>
                  <a:schemeClr val="tx1"/>
                </a:solidFill>
              </a:defRPr>
            </a:lvl3pPr>
            <a:lvl4pPr marL="329061" indent="-109688">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9428523" y="1714502"/>
            <a:ext cx="2476179" cy="4286251"/>
          </a:xfrm>
        </p:spPr>
        <p:txBody>
          <a:bodyPr/>
          <a:lstStyle>
            <a:lvl1pPr>
              <a:lnSpc>
                <a:spcPct val="110000"/>
              </a:lnSpc>
              <a:spcBef>
                <a:spcPts val="0"/>
              </a:spcBef>
              <a:defRPr sz="1200">
                <a:solidFill>
                  <a:schemeClr val="tx1"/>
                </a:solidFill>
              </a:defRPr>
            </a:lvl1pPr>
            <a:lvl2pPr marL="109688" indent="-109688">
              <a:lnSpc>
                <a:spcPct val="110000"/>
              </a:lnSpc>
              <a:spcBef>
                <a:spcPts val="0"/>
              </a:spcBef>
              <a:defRPr sz="1200">
                <a:solidFill>
                  <a:schemeClr val="tx1"/>
                </a:solidFill>
              </a:defRPr>
            </a:lvl2pPr>
            <a:lvl3pPr marL="219374" indent="-109688">
              <a:lnSpc>
                <a:spcPct val="110000"/>
              </a:lnSpc>
              <a:spcBef>
                <a:spcPts val="0"/>
              </a:spcBef>
              <a:defRPr sz="1200">
                <a:solidFill>
                  <a:schemeClr val="tx1"/>
                </a:solidFill>
              </a:defRPr>
            </a:lvl3pPr>
            <a:lvl4pPr marL="329061" indent="-109688">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3333316" y="288038"/>
            <a:ext cx="607997" cy="608076"/>
          </a:xfrm>
        </p:spPr>
        <p:txBody>
          <a:bodyPr anchor="ctr"/>
          <a:lstStyle>
            <a:lvl1pPr algn="ctr">
              <a:defRPr sz="800">
                <a:solidFill>
                  <a:schemeClr val="tx1"/>
                </a:solidFill>
              </a:defRPr>
            </a:lvl1pPr>
          </a:lstStyle>
          <a:p>
            <a:r>
              <a:rPr lang="en-US"/>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6387344" y="288038"/>
            <a:ext cx="607997" cy="608076"/>
          </a:xfrm>
        </p:spPr>
        <p:txBody>
          <a:bodyPr anchor="ctr"/>
          <a:lstStyle>
            <a:lvl1pPr algn="ctr">
              <a:defRPr sz="800">
                <a:solidFill>
                  <a:schemeClr val="tx1"/>
                </a:solidFill>
              </a:defRPr>
            </a:lvl1pPr>
          </a:lstStyle>
          <a:p>
            <a:r>
              <a:rPr lang="en-US"/>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9428524" y="288038"/>
            <a:ext cx="607997" cy="608076"/>
          </a:xfrm>
        </p:spPr>
        <p:txBody>
          <a:bodyPr anchor="ctr"/>
          <a:lstStyle>
            <a:lvl1pPr algn="ctr">
              <a:defRPr sz="800">
                <a:solidFill>
                  <a:schemeClr val="tx1"/>
                </a:solidFill>
              </a:defRPr>
            </a:lvl1pPr>
          </a:lstStyle>
          <a:p>
            <a:r>
              <a:rPr lang="en-US"/>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3047603" y="284958"/>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6093683" y="283466"/>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9142811" y="284958"/>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11767911" y="6469422"/>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998627775"/>
      </p:ext>
    </p:extLst>
  </p:cSld>
  <p:clrMapOvr>
    <a:masterClrMapping/>
  </p:clrMapOvr>
  <p:transition spd="med"/>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1_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8000" y="192026"/>
            <a:ext cx="2474591" cy="570707"/>
          </a:xfrm>
        </p:spPr>
        <p:txBody>
          <a:bodyPr/>
          <a:lstStyle>
            <a:lvl1pPr>
              <a:lnSpc>
                <a:spcPct val="100000"/>
              </a:lnSpc>
              <a:defRPr sz="3198">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2"/>
            <a:ext cx="2475384" cy="4286251"/>
          </a:xfrm>
        </p:spPr>
        <p:txBody>
          <a:bodyPr/>
          <a:lstStyle>
            <a:lvl1pPr>
              <a:spcBef>
                <a:spcPts val="0"/>
              </a:spcBef>
              <a:defRPr sz="1400" b="0" i="0">
                <a:solidFill>
                  <a:schemeClr val="tx1"/>
                </a:solidFill>
                <a:latin typeface="IBM Plex Sans Light" panose="020B0403050203000203" pitchFamily="34" charset="0"/>
              </a:defRPr>
            </a:lvl1pPr>
            <a:lvl2pPr marL="127968" indent="-127968">
              <a:spcBef>
                <a:spcPts val="0"/>
              </a:spcBef>
              <a:defRPr sz="1400" b="0" i="0">
                <a:solidFill>
                  <a:schemeClr val="tx1"/>
                </a:solidFill>
                <a:latin typeface="IBM Plex Sans Light" panose="020B0403050203000203" pitchFamily="34" charset="0"/>
              </a:defRPr>
            </a:lvl2pPr>
            <a:lvl3pPr marL="255936" indent="-127968">
              <a:spcBef>
                <a:spcPts val="0"/>
              </a:spcBef>
              <a:defRPr sz="1400" b="0" i="0">
                <a:solidFill>
                  <a:schemeClr val="tx1"/>
                </a:solidFill>
                <a:latin typeface="IBM Plex Sans Light" panose="020B0403050203000203" pitchFamily="34" charset="0"/>
              </a:defRPr>
            </a:lvl3pPr>
            <a:lvl4pPr marL="383904" indent="-127968">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21" y="1714502"/>
            <a:ext cx="5047593" cy="4286251"/>
          </a:xfrm>
        </p:spPr>
        <p:txBody>
          <a:bodyPr/>
          <a:lstStyle>
            <a:lvl1pPr>
              <a:spcBef>
                <a:spcPts val="0"/>
              </a:spcBef>
              <a:defRPr sz="1400" b="0" i="0">
                <a:solidFill>
                  <a:schemeClr val="tx1"/>
                </a:solidFill>
                <a:latin typeface="IBM Plex Sans Light" panose="020B0403050203000203" pitchFamily="34" charset="0"/>
              </a:defRPr>
            </a:lvl1pPr>
            <a:lvl2pPr marL="127968" indent="-127968">
              <a:spcBef>
                <a:spcPts val="0"/>
              </a:spcBef>
              <a:defRPr sz="1400" b="0" i="0">
                <a:solidFill>
                  <a:schemeClr val="tx1"/>
                </a:solidFill>
                <a:latin typeface="IBM Plex Sans Light" panose="020B0403050203000203" pitchFamily="34" charset="0"/>
              </a:defRPr>
            </a:lvl2pPr>
            <a:lvl3pPr marL="255936" indent="-127968">
              <a:spcBef>
                <a:spcPts val="0"/>
              </a:spcBef>
              <a:defRPr sz="1400" b="0" i="0">
                <a:solidFill>
                  <a:schemeClr val="tx1"/>
                </a:solidFill>
                <a:latin typeface="IBM Plex Sans Light" panose="020B0403050203000203" pitchFamily="34" charset="0"/>
              </a:defRPr>
            </a:lvl3pPr>
            <a:lvl4pPr marL="383904" indent="-127968">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2556" y="192026"/>
            <a:ext cx="2477765" cy="570707"/>
          </a:xfrm>
        </p:spPr>
        <p:txBody>
          <a:bodyPr/>
          <a:lstStyle>
            <a:lvl1pPr>
              <a:lnSpc>
                <a:spcPct val="100000"/>
              </a:lnSpc>
              <a:spcBef>
                <a:spcPts val="0"/>
              </a:spcBef>
              <a:defRPr sz="3198">
                <a:solidFill>
                  <a:schemeClr val="tx2"/>
                </a:solidFill>
              </a:defRPr>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11767911" y="6469422"/>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513137541"/>
      </p:ext>
    </p:extLst>
  </p:cSld>
  <p:clrMapOvr>
    <a:masterClrMapping/>
  </p:clrMapOvr>
  <p:transition spd="med"/>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1"/>
            <a:ext cx="12192000" cy="6000751"/>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5"/>
            <a:ext cx="5524575" cy="3144044"/>
          </a:xfrm>
        </p:spPr>
        <p:txBody>
          <a:bodyPr/>
          <a:lstStyle>
            <a:lvl1pPr>
              <a:lnSpc>
                <a:spcPct val="100000"/>
              </a:lnSpc>
              <a:defRPr sz="4299">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87999" y="6044185"/>
            <a:ext cx="2468623" cy="571500"/>
          </a:xfrm>
        </p:spPr>
        <p:txBody>
          <a:bodyPr anchor="b"/>
          <a:lstStyle>
            <a:lvl1pPr>
              <a:lnSpc>
                <a:spcPct val="110000"/>
              </a:lnSpc>
              <a:spcBef>
                <a:spcPts val="0"/>
              </a:spcBef>
              <a:defRPr sz="1400">
                <a:solidFill>
                  <a:schemeClr val="tx1"/>
                </a:solidFill>
              </a:defRPr>
            </a:lvl1pPr>
            <a:lvl2pPr marL="127992" indent="-127992">
              <a:lnSpc>
                <a:spcPct val="110000"/>
              </a:lnSpc>
              <a:spcBef>
                <a:spcPts val="0"/>
              </a:spcBef>
              <a:defRPr sz="1400">
                <a:solidFill>
                  <a:schemeClr val="tx1"/>
                </a:solidFill>
              </a:defRPr>
            </a:lvl2pPr>
            <a:lvl3pPr marL="255984" indent="-127992">
              <a:lnSpc>
                <a:spcPct val="110000"/>
              </a:lnSpc>
              <a:spcBef>
                <a:spcPts val="0"/>
              </a:spcBef>
              <a:defRPr sz="1400">
                <a:solidFill>
                  <a:schemeClr val="tx1"/>
                </a:solidFill>
              </a:defRPr>
            </a:lvl3pPr>
            <a:lvl4pPr marL="383976" indent="-127992">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3335316" y="6042370"/>
            <a:ext cx="2468623" cy="571500"/>
          </a:xfrm>
        </p:spPr>
        <p:txBody>
          <a:bodyPr anchor="b"/>
          <a:lstStyle>
            <a:lvl1pPr>
              <a:lnSpc>
                <a:spcPct val="110000"/>
              </a:lnSpc>
              <a:spcBef>
                <a:spcPts val="0"/>
              </a:spcBef>
              <a:defRPr sz="1400">
                <a:solidFill>
                  <a:schemeClr val="tx1"/>
                </a:solidFill>
              </a:defRPr>
            </a:lvl1pPr>
            <a:lvl2pPr marL="127992" indent="-127992">
              <a:lnSpc>
                <a:spcPct val="110000"/>
              </a:lnSpc>
              <a:spcBef>
                <a:spcPts val="0"/>
              </a:spcBef>
              <a:defRPr sz="1400">
                <a:solidFill>
                  <a:schemeClr val="tx1"/>
                </a:solidFill>
              </a:defRPr>
            </a:lvl2pPr>
            <a:lvl3pPr marL="255984" indent="-127992">
              <a:lnSpc>
                <a:spcPct val="110000"/>
              </a:lnSpc>
              <a:spcBef>
                <a:spcPts val="0"/>
              </a:spcBef>
              <a:defRPr sz="1400">
                <a:solidFill>
                  <a:schemeClr val="tx1"/>
                </a:solidFill>
              </a:defRPr>
            </a:lvl3pPr>
            <a:lvl4pPr marL="383976" indent="-127992">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11138526" y="6263482"/>
            <a:ext cx="819044" cy="304800"/>
          </a:xfrm>
          <a:prstGeom prst="rect">
            <a:avLst/>
          </a:prstGeom>
        </p:spPr>
      </p:pic>
    </p:spTree>
    <p:extLst>
      <p:ext uri="{BB962C8B-B14F-4D97-AF65-F5344CB8AC3E}">
        <p14:creationId xmlns:p14="http://schemas.microsoft.com/office/powerpoint/2010/main" val="631550427"/>
      </p:ext>
    </p:extLst>
  </p:cSld>
  <p:clrMapOvr>
    <a:masterClrMapping/>
  </p:clrMapOvr>
  <p:transition spd="med"/>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37941"/>
            <a:ext cx="2474590" cy="2759647"/>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1187" y="3336926"/>
            <a:ext cx="2474590" cy="2760662"/>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49" y="3336926"/>
            <a:ext cx="2474590" cy="2760662"/>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6926"/>
            <a:ext cx="2474590" cy="2760662"/>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EB933E98-EDAA-167B-D822-384AE57CFD41}"/>
              </a:ext>
            </a:extLst>
          </p:cNvPr>
          <p:cNvSpPr>
            <a:spLocks noGrp="1"/>
          </p:cNvSpPr>
          <p:nvPr>
            <p:ph type="ftr" sz="quarter" idx="18"/>
          </p:nvPr>
        </p:nvSpPr>
        <p:spPr>
          <a:xfrm>
            <a:off x="287963" y="6408000"/>
            <a:ext cx="2477765" cy="190500"/>
          </a:xfrm>
        </p:spPr>
        <p:txBody>
          <a:bodyPr/>
          <a:lstStyle/>
          <a:p>
            <a:endParaRPr lang="en-US"/>
          </a:p>
        </p:txBody>
      </p:sp>
      <p:sp>
        <p:nvSpPr>
          <p:cNvPr id="6" name="Slide Number">
            <a:extLst>
              <a:ext uri="{FF2B5EF4-FFF2-40B4-BE49-F238E27FC236}">
                <a16:creationId xmlns:a16="http://schemas.microsoft.com/office/drawing/2014/main" id="{9CE74F70-DD3B-B787-1122-8CC2F06AD01A}"/>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17" name="Text Placeholder 6">
            <a:extLst>
              <a:ext uri="{FF2B5EF4-FFF2-40B4-BE49-F238E27FC236}">
                <a16:creationId xmlns:a16="http://schemas.microsoft.com/office/drawing/2014/main" id="{73047254-F916-4821-F269-6EDEB3A3FAD7}"/>
              </a:ext>
            </a:extLst>
          </p:cNvPr>
          <p:cNvSpPr>
            <a:spLocks noGrp="1"/>
          </p:cNvSpPr>
          <p:nvPr>
            <p:ph type="body" sz="quarter" idx="21"/>
          </p:nvPr>
        </p:nvSpPr>
        <p:spPr>
          <a:xfrm>
            <a:off x="287963" y="288036"/>
            <a:ext cx="2470717" cy="1997964"/>
          </a:xfrm>
        </p:spPr>
        <p:txBody>
          <a:bodyPr/>
          <a:lstStyle>
            <a:lvl1pPr>
              <a:defRPr sz="1400">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1928201407"/>
      </p:ext>
    </p:extLst>
  </p:cSld>
  <p:clrMapOvr>
    <a:masterClrMapping/>
  </p:clrMapOvr>
  <p:transition spd="med"/>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1"/>
            <a:ext cx="12192000" cy="6000751"/>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09" tIns="45709" rIns="45709" bIns="45709" numCol="1" rtlCol="0" anchor="t" anchorCtr="0" compatLnSpc="1">
            <a:prstTxWarp prst="textNoShape">
              <a:avLst/>
            </a:prstTxWarp>
          </a:bodyPr>
          <a:lstStyle/>
          <a:p>
            <a:pPr marL="0" marR="0" indent="0" algn="l" defTabSz="457114" rtl="0" eaLnBrk="1" fontAlgn="base" latinLnBrk="0" hangingPunct="1">
              <a:lnSpc>
                <a:spcPct val="100000"/>
              </a:lnSpc>
              <a:spcBef>
                <a:spcPct val="0"/>
              </a:spcBef>
              <a:spcAft>
                <a:spcPct val="0"/>
              </a:spcAft>
              <a:buClrTx/>
              <a:buSzTx/>
              <a:buFont typeface="IBM Plex Sans Light"/>
              <a:buNone/>
              <a:tabLst/>
            </a:pPr>
            <a:endParaRPr kumimoji="0" lang="en-US" sz="700" b="0" i="0" u="none" strike="noStrike" cap="none" normalizeH="0" baseline="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5"/>
            <a:ext cx="5524575" cy="2286794"/>
          </a:xfrm>
        </p:spPr>
        <p:txBody>
          <a:bodyPr/>
          <a:lstStyle>
            <a:lvl1pPr>
              <a:lnSpc>
                <a:spcPct val="100000"/>
              </a:lnSpc>
              <a:defRPr sz="4299">
                <a:solidFill>
                  <a:schemeClr val="tx2"/>
                </a:solidFill>
              </a:defRPr>
            </a:lvl1pPr>
          </a:lstStyle>
          <a:p>
            <a:r>
              <a:rPr lang="en-US"/>
              <a:t>Click to edit Master title style</a:t>
            </a:r>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287999" y="6044185"/>
            <a:ext cx="2468623" cy="571500"/>
          </a:xfrm>
        </p:spPr>
        <p:txBody>
          <a:bodyPr anchor="b"/>
          <a:lstStyle>
            <a:lvl1pPr>
              <a:lnSpc>
                <a:spcPct val="110000"/>
              </a:lnSpc>
              <a:spcBef>
                <a:spcPts val="0"/>
              </a:spcBef>
              <a:defRPr sz="1400">
                <a:solidFill>
                  <a:schemeClr val="tx1"/>
                </a:solidFill>
              </a:defRPr>
            </a:lvl1pPr>
            <a:lvl2pPr marL="127992" indent="-127992">
              <a:lnSpc>
                <a:spcPct val="110000"/>
              </a:lnSpc>
              <a:spcBef>
                <a:spcPts val="0"/>
              </a:spcBef>
              <a:defRPr sz="1400">
                <a:solidFill>
                  <a:schemeClr val="tx1"/>
                </a:solidFill>
              </a:defRPr>
            </a:lvl2pPr>
            <a:lvl3pPr marL="255984" indent="-127992">
              <a:lnSpc>
                <a:spcPct val="110000"/>
              </a:lnSpc>
              <a:spcBef>
                <a:spcPts val="0"/>
              </a:spcBef>
              <a:defRPr sz="1400">
                <a:solidFill>
                  <a:schemeClr val="tx1"/>
                </a:solidFill>
              </a:defRPr>
            </a:lvl3pPr>
            <a:lvl4pPr marL="383976" indent="-127992">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3335316" y="6042370"/>
            <a:ext cx="2468623" cy="571500"/>
          </a:xfrm>
        </p:spPr>
        <p:txBody>
          <a:bodyPr anchor="b"/>
          <a:lstStyle>
            <a:lvl1pPr>
              <a:lnSpc>
                <a:spcPct val="110000"/>
              </a:lnSpc>
              <a:spcBef>
                <a:spcPts val="0"/>
              </a:spcBef>
              <a:defRPr sz="1400">
                <a:solidFill>
                  <a:schemeClr val="tx1"/>
                </a:solidFill>
              </a:defRPr>
            </a:lvl1pPr>
            <a:lvl2pPr marL="127992" indent="-127992">
              <a:lnSpc>
                <a:spcPct val="110000"/>
              </a:lnSpc>
              <a:spcBef>
                <a:spcPts val="0"/>
              </a:spcBef>
              <a:defRPr sz="1400">
                <a:solidFill>
                  <a:schemeClr val="tx1"/>
                </a:solidFill>
              </a:defRPr>
            </a:lvl2pPr>
            <a:lvl3pPr marL="255984" indent="-127992">
              <a:lnSpc>
                <a:spcPct val="110000"/>
              </a:lnSpc>
              <a:spcBef>
                <a:spcPts val="0"/>
              </a:spcBef>
              <a:defRPr sz="1400">
                <a:solidFill>
                  <a:schemeClr val="tx1"/>
                </a:solidFill>
              </a:defRPr>
            </a:lvl3pPr>
            <a:lvl4pPr marL="383976" indent="-127992">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11138526" y="6263482"/>
            <a:ext cx="819044" cy="304800"/>
          </a:xfrm>
          <a:prstGeom prst="rect">
            <a:avLst/>
          </a:prstGeom>
        </p:spPr>
      </p:pic>
    </p:spTree>
    <p:extLst>
      <p:ext uri="{BB962C8B-B14F-4D97-AF65-F5344CB8AC3E}">
        <p14:creationId xmlns:p14="http://schemas.microsoft.com/office/powerpoint/2010/main" val="3101791537"/>
      </p:ext>
    </p:extLst>
  </p:cSld>
  <p:clrMapOvr>
    <a:masterClrMapping/>
  </p:clrMapOvr>
  <p:transition spd="med"/>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5"/>
            <a:ext cx="5524575" cy="2286794"/>
          </a:xfrm>
        </p:spPr>
        <p:txBody>
          <a:bodyPr/>
          <a:lstStyle>
            <a:lvl1pPr>
              <a:lnSpc>
                <a:spcPct val="100000"/>
              </a:lnSpc>
              <a:defRPr sz="4299"/>
            </a:lvl1pPr>
          </a:lstStyle>
          <a:p>
            <a:r>
              <a:rPr lang="en-US"/>
              <a:t>Click to edit Master title style</a:t>
            </a:r>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11138526" y="6263482"/>
            <a:ext cx="819044" cy="304800"/>
          </a:xfrm>
          <a:prstGeom prst="rect">
            <a:avLst/>
          </a:prstGeom>
        </p:spPr>
      </p:pic>
    </p:spTree>
    <p:extLst>
      <p:ext uri="{BB962C8B-B14F-4D97-AF65-F5344CB8AC3E}">
        <p14:creationId xmlns:p14="http://schemas.microsoft.com/office/powerpoint/2010/main" val="3644403283"/>
      </p:ext>
    </p:extLst>
  </p:cSld>
  <p:clrMapOvr>
    <a:masterClrMapping/>
  </p:clrMapOvr>
  <p:transition spd="med"/>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5"/>
            <a:ext cx="5524575" cy="2286794"/>
          </a:xfrm>
        </p:spPr>
        <p:txBody>
          <a:bodyPr/>
          <a:lstStyle>
            <a:lvl1pPr>
              <a:lnSpc>
                <a:spcPct val="100000"/>
              </a:lnSpc>
              <a:defRPr sz="4299">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87999" y="6231636"/>
            <a:ext cx="5524575" cy="381000"/>
          </a:xfrm>
        </p:spPr>
        <p:txBody>
          <a:bodyPr anchor="b"/>
          <a:lstStyle>
            <a:lvl1pPr>
              <a:lnSpc>
                <a:spcPct val="110000"/>
              </a:lnSpc>
              <a:spcBef>
                <a:spcPts val="0"/>
              </a:spcBef>
              <a:defRPr sz="140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11138526" y="6263482"/>
            <a:ext cx="819044" cy="304800"/>
          </a:xfrm>
          <a:prstGeom prst="rect">
            <a:avLst/>
          </a:prstGeom>
        </p:spPr>
      </p:pic>
    </p:spTree>
    <p:extLst>
      <p:ext uri="{BB962C8B-B14F-4D97-AF65-F5344CB8AC3E}">
        <p14:creationId xmlns:p14="http://schemas.microsoft.com/office/powerpoint/2010/main" val="3937099116"/>
      </p:ext>
    </p:extLst>
  </p:cSld>
  <p:clrMapOvr>
    <a:masterClrMapping/>
  </p:clrMapOvr>
  <p:transition spd="med"/>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8"/>
            <a:ext cx="5523781" cy="6287294"/>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8000" y="192024"/>
            <a:ext cx="5049878" cy="5239544"/>
          </a:xfrm>
        </p:spPr>
        <p:txBody>
          <a:bodyPr/>
          <a:lstStyle>
            <a:lvl1pPr>
              <a:lnSpc>
                <a:spcPct val="100000"/>
              </a:lnSpc>
              <a:defRPr sz="4299">
                <a:solidFill>
                  <a:schemeClr val="tx2"/>
                </a:solidFill>
              </a:defRPr>
            </a:lvl1pPr>
          </a:lstStyle>
          <a:p>
            <a:r>
              <a:rPr lang="en-US"/>
              <a:t>Click to edit Master title style</a:t>
            </a:r>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288888" y="6263482"/>
            <a:ext cx="819044" cy="304800"/>
          </a:xfrm>
          <a:prstGeom prst="rect">
            <a:avLst/>
          </a:prstGeom>
        </p:spPr>
      </p:pic>
    </p:spTree>
    <p:extLst>
      <p:ext uri="{BB962C8B-B14F-4D97-AF65-F5344CB8AC3E}">
        <p14:creationId xmlns:p14="http://schemas.microsoft.com/office/powerpoint/2010/main" val="658183938"/>
      </p:ext>
    </p:extLst>
  </p:cSld>
  <p:clrMapOvr>
    <a:masterClrMapping/>
  </p:clrMapOvr>
  <p:transition spd="med"/>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8"/>
            <a:ext cx="5523781" cy="6287294"/>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8000" y="763524"/>
            <a:ext cx="5049180" cy="4668838"/>
          </a:xfrm>
        </p:spPr>
        <p:txBody>
          <a:bodyPr/>
          <a:lstStyle>
            <a:lvl1pPr>
              <a:lnSpc>
                <a:spcPct val="100000"/>
              </a:lnSpc>
              <a:defRPr sz="4299">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88000" y="288036"/>
            <a:ext cx="5049180" cy="285751"/>
          </a:xfrm>
        </p:spPr>
        <p:txBody>
          <a:bodyPr/>
          <a:lstStyle>
            <a:lvl1pPr>
              <a:spcBef>
                <a:spcPts val="0"/>
              </a:spcBef>
              <a:defRPr sz="14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288888" y="6263482"/>
            <a:ext cx="819044" cy="304800"/>
          </a:xfrm>
          <a:prstGeom prst="rect">
            <a:avLst/>
          </a:prstGeom>
        </p:spPr>
      </p:pic>
    </p:spTree>
    <p:extLst>
      <p:ext uri="{BB962C8B-B14F-4D97-AF65-F5344CB8AC3E}">
        <p14:creationId xmlns:p14="http://schemas.microsoft.com/office/powerpoint/2010/main" val="3751625284"/>
      </p:ext>
    </p:extLst>
  </p:cSld>
  <p:clrMapOvr>
    <a:masterClrMapping/>
  </p:clrMapOvr>
  <p:transition spd="med"/>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5"/>
            <a:ext cx="2477765" cy="2286794"/>
          </a:xfrm>
        </p:spPr>
        <p:txBody>
          <a:bodyPr/>
          <a:lstStyle>
            <a:lvl1pPr>
              <a:lnSpc>
                <a:spcPct val="100000"/>
              </a:lnSpc>
              <a:defRPr sz="3199">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6380919" y="284958"/>
            <a:ext cx="2476178" cy="5715794"/>
          </a:xfrm>
        </p:spPr>
        <p:txBody>
          <a:bodyPr/>
          <a:lstStyle>
            <a:lvl1pPr defTabSz="580535">
              <a:spcBef>
                <a:spcPts val="0"/>
              </a:spcBef>
              <a:defRPr>
                <a:solidFill>
                  <a:schemeClr val="tx1"/>
                </a:solidFill>
              </a:defRPr>
            </a:lvl1pPr>
            <a:lvl2pPr defTabSz="580535">
              <a:spcBef>
                <a:spcPts val="0"/>
              </a:spcBef>
              <a:defRPr>
                <a:solidFill>
                  <a:schemeClr val="tx1"/>
                </a:solidFill>
              </a:defRPr>
            </a:lvl2pPr>
            <a:lvl3pPr defTabSz="580535">
              <a:spcBef>
                <a:spcPts val="0"/>
              </a:spcBef>
              <a:defRPr>
                <a:solidFill>
                  <a:schemeClr val="tx1"/>
                </a:solidFill>
              </a:defRPr>
            </a:lvl3pPr>
            <a:lvl4pPr defTabSz="580535">
              <a:spcBef>
                <a:spcPts val="0"/>
              </a:spcBef>
              <a:defRPr>
                <a:solidFill>
                  <a:schemeClr val="tx1"/>
                </a:solidFill>
              </a:defRPr>
            </a:lvl4pPr>
            <a:lvl5pPr defTabSz="580535">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9430110" y="284958"/>
            <a:ext cx="2474591" cy="5715794"/>
          </a:xfrm>
        </p:spPr>
        <p:txBody>
          <a:bodyPr/>
          <a:lstStyle>
            <a:lvl1pPr defTabSz="580535">
              <a:spcBef>
                <a:spcPts val="0"/>
              </a:spcBef>
              <a:defRPr>
                <a:solidFill>
                  <a:schemeClr val="tx1"/>
                </a:solidFill>
              </a:defRPr>
            </a:lvl1pPr>
            <a:lvl2pPr defTabSz="580535">
              <a:spcBef>
                <a:spcPts val="0"/>
              </a:spcBef>
              <a:defRPr>
                <a:solidFill>
                  <a:schemeClr val="tx1"/>
                </a:solidFill>
              </a:defRPr>
            </a:lvl2pPr>
            <a:lvl3pPr defTabSz="580535">
              <a:spcBef>
                <a:spcPts val="0"/>
              </a:spcBef>
              <a:defRPr>
                <a:solidFill>
                  <a:schemeClr val="tx1"/>
                </a:solidFill>
              </a:defRPr>
            </a:lvl3pPr>
            <a:lvl4pPr defTabSz="580535">
              <a:spcBef>
                <a:spcPts val="0"/>
              </a:spcBef>
              <a:defRPr>
                <a:solidFill>
                  <a:schemeClr val="tx1"/>
                </a:solidFill>
              </a:defRPr>
            </a:lvl4pPr>
            <a:lvl5pPr defTabSz="580535">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11767910" y="646942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84126" y="6402118"/>
            <a:ext cx="2477765" cy="190500"/>
          </a:xfrm>
        </p:spPr>
        <p:txBody>
          <a:bodyPr/>
          <a:lstStyle/>
          <a:p>
            <a:endParaRPr lang="en-US"/>
          </a:p>
        </p:txBody>
      </p:sp>
    </p:spTree>
    <p:extLst>
      <p:ext uri="{BB962C8B-B14F-4D97-AF65-F5344CB8AC3E}">
        <p14:creationId xmlns:p14="http://schemas.microsoft.com/office/powerpoint/2010/main" val="3107479465"/>
      </p:ext>
    </p:extLst>
  </p:cSld>
  <p:clrMapOvr>
    <a:masterClrMapping/>
  </p:clrMapOvr>
  <p:transition spd="med"/>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1429544"/>
          </a:xfrm>
        </p:spPr>
        <p:txBody>
          <a:bodyPr rIns="457200"/>
          <a:lstStyle>
            <a:lvl1pPr>
              <a:lnSpc>
                <a:spcPct val="100000"/>
              </a:lnSpc>
              <a:defRPr sz="3199">
                <a:solidFill>
                  <a:schemeClr val="tx2"/>
                </a:solidFill>
              </a:defRPr>
            </a:lvl1pPr>
          </a:lstStyle>
          <a:p>
            <a:r>
              <a:rPr lang="en-US"/>
              <a:t>Click to edit Master title style</a:t>
            </a:r>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11767910" y="646942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84126" y="6402118"/>
            <a:ext cx="2477765" cy="190500"/>
          </a:xfrm>
        </p:spPr>
        <p:txBody>
          <a:bodyPr/>
          <a:lstStyle/>
          <a:p>
            <a:endParaRPr lang="en-US"/>
          </a:p>
        </p:txBody>
      </p:sp>
    </p:spTree>
    <p:extLst>
      <p:ext uri="{BB962C8B-B14F-4D97-AF65-F5344CB8AC3E}">
        <p14:creationId xmlns:p14="http://schemas.microsoft.com/office/powerpoint/2010/main" val="415494868"/>
      </p:ext>
    </p:extLst>
  </p:cSld>
  <p:clrMapOvr>
    <a:masterClrMapping/>
  </p:clrMapOvr>
  <p:transition spd="med"/>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87301" y="210313"/>
            <a:ext cx="8569796" cy="4095751"/>
          </a:xfrm>
        </p:spPr>
        <p:txBody>
          <a:bodyPr/>
          <a:lstStyle>
            <a:lvl1pPr>
              <a:defRPr sz="8598" b="0" i="0">
                <a:solidFill>
                  <a:schemeClr val="tx2"/>
                </a:solidFill>
                <a:latin typeface="IBM Plex Sans ExtLt" panose="020B0303050203000203" pitchFamily="34" charset="0"/>
              </a:defRPr>
            </a:lvl1pPr>
          </a:lstStyle>
          <a:p>
            <a:r>
              <a:rPr lang="en-US"/>
              <a:t>Click to edit Master title style</a:t>
            </a:r>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11767910" y="646942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84126" y="6402118"/>
            <a:ext cx="2477765" cy="190500"/>
          </a:xfrm>
        </p:spPr>
        <p:txBody>
          <a:bodyPr/>
          <a:lstStyle/>
          <a:p>
            <a:endParaRPr lang="en-US"/>
          </a:p>
        </p:txBody>
      </p:sp>
    </p:spTree>
    <p:extLst>
      <p:ext uri="{BB962C8B-B14F-4D97-AF65-F5344CB8AC3E}">
        <p14:creationId xmlns:p14="http://schemas.microsoft.com/office/powerpoint/2010/main" val="89910568"/>
      </p:ext>
    </p:extLst>
  </p:cSld>
  <p:clrMapOvr>
    <a:masterClrMapping/>
  </p:clrMapOvr>
  <p:transition spd="med"/>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8000" y="192024"/>
            <a:ext cx="4953942" cy="1429544"/>
          </a:xfrm>
        </p:spPr>
        <p:txBody>
          <a:bodyPr/>
          <a:lstStyle>
            <a:lvl1pPr>
              <a:lnSpc>
                <a:spcPct val="100000"/>
              </a:lnSpc>
              <a:defRPr sz="3199">
                <a:solidFill>
                  <a:schemeClr val="tx2"/>
                </a:solidFill>
              </a:defRPr>
            </a:lvl1pPr>
          </a:lstStyle>
          <a:p>
            <a:r>
              <a:rPr lang="en-US"/>
              <a:t>Click to edit Master title style</a:t>
            </a:r>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6382796" y="224029"/>
            <a:ext cx="5520317" cy="4287044"/>
          </a:xfrm>
        </p:spPr>
        <p:txBody>
          <a:bodyPr/>
          <a:lstStyle>
            <a:lvl1pPr>
              <a:lnSpc>
                <a:spcPct val="100000"/>
              </a:lnSpc>
              <a:spcBef>
                <a:spcPts val="0"/>
              </a:spcBef>
              <a:defRPr sz="3199">
                <a:solidFill>
                  <a:schemeClr val="tx2"/>
                </a:solidFill>
              </a:defRPr>
            </a:lvl1pPr>
            <a:lvl2pPr marL="292553" indent="-292553">
              <a:lnSpc>
                <a:spcPct val="100000"/>
              </a:lnSpc>
              <a:spcBef>
                <a:spcPts val="0"/>
              </a:spcBef>
              <a:defRPr sz="3199">
                <a:solidFill>
                  <a:schemeClr val="tx2"/>
                </a:solidFill>
              </a:defRPr>
            </a:lvl2pPr>
            <a:lvl3pPr marL="548537" indent="-292553">
              <a:lnSpc>
                <a:spcPct val="100000"/>
              </a:lnSpc>
              <a:spcBef>
                <a:spcPts val="0"/>
              </a:spcBef>
              <a:defRPr sz="3199">
                <a:solidFill>
                  <a:schemeClr val="tx2"/>
                </a:solidFill>
              </a:defRPr>
            </a:lvl3pPr>
            <a:lvl4pPr marL="877659">
              <a:lnSpc>
                <a:spcPct val="100000"/>
              </a:lnSpc>
              <a:spcBef>
                <a:spcPts val="0"/>
              </a:spcBef>
              <a:defRPr sz="3199">
                <a:solidFill>
                  <a:schemeClr val="tx2"/>
                </a:solidFill>
              </a:defRPr>
            </a:lvl4pPr>
            <a:lvl5pPr>
              <a:lnSpc>
                <a:spcPct val="100000"/>
              </a:lnSpc>
              <a:spcBef>
                <a:spcPts val="0"/>
              </a:spcBef>
              <a:defRPr sz="3199"/>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11767910" y="646942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84126" y="6402118"/>
            <a:ext cx="2477765" cy="190500"/>
          </a:xfrm>
        </p:spPr>
        <p:txBody>
          <a:bodyPr/>
          <a:lstStyle/>
          <a:p>
            <a:endParaRPr lang="en-US"/>
          </a:p>
        </p:txBody>
      </p:sp>
    </p:spTree>
    <p:extLst>
      <p:ext uri="{BB962C8B-B14F-4D97-AF65-F5344CB8AC3E}">
        <p14:creationId xmlns:p14="http://schemas.microsoft.com/office/powerpoint/2010/main" val="2344623911"/>
      </p:ext>
    </p:extLst>
  </p:cSld>
  <p:clrMapOvr>
    <a:masterClrMapping/>
  </p:clrMapOvr>
  <p:transition spd="med"/>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210312"/>
            <a:ext cx="7330120" cy="4858544"/>
          </a:xfrm>
        </p:spPr>
        <p:txBody>
          <a:bodyPr/>
          <a:lstStyle>
            <a:lvl1pPr>
              <a:lnSpc>
                <a:spcPct val="100000"/>
              </a:lnSpc>
              <a:defRPr sz="4299">
                <a:solidFill>
                  <a:schemeClr val="tx2"/>
                </a:solidFill>
              </a:defRPr>
            </a:lvl1pPr>
          </a:lstStyle>
          <a:p>
            <a:r>
              <a:rPr lang="en-US"/>
              <a:t>Click to edit Master title style</a:t>
            </a:r>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7910" y="646942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84126" y="6402118"/>
            <a:ext cx="2477765" cy="190500"/>
          </a:xfrm>
        </p:spPr>
        <p:txBody>
          <a:bodyPr/>
          <a:lstStyle/>
          <a:p>
            <a:endParaRPr lang="en-US"/>
          </a:p>
        </p:txBody>
      </p:sp>
    </p:spTree>
    <p:extLst>
      <p:ext uri="{BB962C8B-B14F-4D97-AF65-F5344CB8AC3E}">
        <p14:creationId xmlns:p14="http://schemas.microsoft.com/office/powerpoint/2010/main" val="8680817"/>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A40067-F1F4-7DA7-8BB4-496E43DE645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EDEB6F9-23A1-24C4-9235-473518C6B33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C798D27-5931-2F8A-286B-181E38FBE17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462057F-033E-63A0-8DCD-838DD613E84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D3D805D-2E4A-469A-E707-65F1F1305B6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3F3BAFC-289A-38B8-9D4D-EAF31952B0A6}"/>
              </a:ext>
            </a:extLst>
          </p:cNvPr>
          <p:cNvSpPr>
            <a:spLocks noGrp="1"/>
          </p:cNvSpPr>
          <p:nvPr>
            <p:ph type="dt" sz="half" idx="10"/>
          </p:nvPr>
        </p:nvSpPr>
        <p:spPr/>
        <p:txBody>
          <a:bodyPr/>
          <a:lstStyle/>
          <a:p>
            <a:fld id="{C1064F87-A3FE-7D41-BA7F-E073D7C6AC88}" type="datetimeFigureOut">
              <a:rPr lang="en-US" smtClean="0"/>
              <a:t>3/24/2025</a:t>
            </a:fld>
            <a:endParaRPr lang="en-US"/>
          </a:p>
        </p:txBody>
      </p:sp>
      <p:sp>
        <p:nvSpPr>
          <p:cNvPr id="8" name="Footer Placeholder 7">
            <a:extLst>
              <a:ext uri="{FF2B5EF4-FFF2-40B4-BE49-F238E27FC236}">
                <a16:creationId xmlns:a16="http://schemas.microsoft.com/office/drawing/2014/main" id="{35C772B6-6ED7-F14C-9FF4-E94CC718CF2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8CCF17F-6B4A-2231-9E79-BB3DA53FD08E}"/>
              </a:ext>
            </a:extLst>
          </p:cNvPr>
          <p:cNvSpPr>
            <a:spLocks noGrp="1"/>
          </p:cNvSpPr>
          <p:nvPr>
            <p:ph type="sldNum" sz="quarter" idx="12"/>
          </p:nvPr>
        </p:nvSpPr>
        <p:spPr/>
        <p:txBody>
          <a:bodyPr/>
          <a:lstStyle/>
          <a:p>
            <a:fld id="{DED3338A-C6D4-DE4D-B610-199F7004D0E1}" type="slidenum">
              <a:rPr lang="en-US" smtClean="0"/>
              <a:t>‹#›</a:t>
            </a:fld>
            <a:endParaRPr lang="en-US"/>
          </a:p>
        </p:txBody>
      </p:sp>
    </p:spTree>
    <p:extLst>
      <p:ext uri="{BB962C8B-B14F-4D97-AF65-F5344CB8AC3E}">
        <p14:creationId xmlns:p14="http://schemas.microsoft.com/office/powerpoint/2010/main" val="195470903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62" y="192024"/>
            <a:ext cx="5517779" cy="2105089"/>
          </a:xfrm>
        </p:spPr>
        <p:txBody>
          <a:bodyPr rIns="457200"/>
          <a:lstStyle>
            <a:lvl1pPr>
              <a:lnSpc>
                <a:spcPct val="100000"/>
              </a:lnSpc>
              <a:defRPr sz="3399">
                <a:solidFill>
                  <a:schemeClr val="tx2"/>
                </a:solidFill>
              </a:defRPr>
            </a:lvl1pPr>
          </a:lstStyle>
          <a:p>
            <a:r>
              <a:rPr lang="en-US"/>
              <a:t>Click to edit Master title style</a:t>
            </a:r>
          </a:p>
        </p:txBody>
      </p:sp>
      <p:sp>
        <p:nvSpPr>
          <p:cNvPr id="3" name="Footer Placeholder 3">
            <a:extLst>
              <a:ext uri="{FF2B5EF4-FFF2-40B4-BE49-F238E27FC236}">
                <a16:creationId xmlns:a16="http://schemas.microsoft.com/office/drawing/2014/main" id="{A61589D3-5821-F43C-9924-D7FBDD5E84A5}"/>
              </a:ext>
            </a:extLst>
          </p:cNvPr>
          <p:cNvSpPr>
            <a:spLocks noGrp="1"/>
          </p:cNvSpPr>
          <p:nvPr>
            <p:ph type="ftr" sz="quarter" idx="18"/>
          </p:nvPr>
        </p:nvSpPr>
        <p:spPr>
          <a:xfrm>
            <a:off x="290474" y="6411643"/>
            <a:ext cx="2477765" cy="190500"/>
          </a:xfrm>
        </p:spPr>
        <p:txBody>
          <a:bodyPr/>
          <a:lstStyle/>
          <a:p>
            <a:endParaRPr lang="en-US"/>
          </a:p>
        </p:txBody>
      </p:sp>
      <p:sp>
        <p:nvSpPr>
          <p:cNvPr id="6" name="Slide Number">
            <a:extLst>
              <a:ext uri="{FF2B5EF4-FFF2-40B4-BE49-F238E27FC236}">
                <a16:creationId xmlns:a16="http://schemas.microsoft.com/office/drawing/2014/main" id="{9EA471B4-B30A-F4D7-84E4-C54A4D1ACDB2}"/>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 name="Text Placeholder 10">
            <a:extLst>
              <a:ext uri="{FF2B5EF4-FFF2-40B4-BE49-F238E27FC236}">
                <a16:creationId xmlns:a16="http://schemas.microsoft.com/office/drawing/2014/main" id="{C5CEBFE7-AD2E-DFE8-B046-3B866828612E}"/>
              </a:ext>
            </a:extLst>
          </p:cNvPr>
          <p:cNvSpPr>
            <a:spLocks noGrp="1"/>
          </p:cNvSpPr>
          <p:nvPr>
            <p:ph type="body" sz="quarter" idx="11"/>
          </p:nvPr>
        </p:nvSpPr>
        <p:spPr>
          <a:xfrm>
            <a:off x="287999" y="3337941"/>
            <a:ext cx="2474590" cy="2759647"/>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0">
            <a:extLst>
              <a:ext uri="{FF2B5EF4-FFF2-40B4-BE49-F238E27FC236}">
                <a16:creationId xmlns:a16="http://schemas.microsoft.com/office/drawing/2014/main" id="{42695C8E-740F-09FE-EEF5-F2D3F3F88137}"/>
              </a:ext>
            </a:extLst>
          </p:cNvPr>
          <p:cNvSpPr>
            <a:spLocks noGrp="1"/>
          </p:cNvSpPr>
          <p:nvPr>
            <p:ph type="body" sz="quarter" idx="12"/>
          </p:nvPr>
        </p:nvSpPr>
        <p:spPr>
          <a:xfrm>
            <a:off x="3331187" y="3336926"/>
            <a:ext cx="2474590" cy="2760662"/>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10">
            <a:extLst>
              <a:ext uri="{FF2B5EF4-FFF2-40B4-BE49-F238E27FC236}">
                <a16:creationId xmlns:a16="http://schemas.microsoft.com/office/drawing/2014/main" id="{59937119-9484-C422-CDBB-7ACF8FB463EA}"/>
              </a:ext>
            </a:extLst>
          </p:cNvPr>
          <p:cNvSpPr>
            <a:spLocks noGrp="1"/>
          </p:cNvSpPr>
          <p:nvPr>
            <p:ph type="body" sz="quarter" idx="13"/>
          </p:nvPr>
        </p:nvSpPr>
        <p:spPr>
          <a:xfrm>
            <a:off x="6383049" y="3336926"/>
            <a:ext cx="2474590" cy="2760662"/>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10">
            <a:extLst>
              <a:ext uri="{FF2B5EF4-FFF2-40B4-BE49-F238E27FC236}">
                <a16:creationId xmlns:a16="http://schemas.microsoft.com/office/drawing/2014/main" id="{031FDB97-22F2-B958-137D-E25328D2B01D}"/>
              </a:ext>
            </a:extLst>
          </p:cNvPr>
          <p:cNvSpPr>
            <a:spLocks noGrp="1"/>
          </p:cNvSpPr>
          <p:nvPr>
            <p:ph type="body" sz="quarter" idx="14"/>
          </p:nvPr>
        </p:nvSpPr>
        <p:spPr>
          <a:xfrm>
            <a:off x="9428523" y="3336926"/>
            <a:ext cx="2474590" cy="2760662"/>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869760559"/>
      </p:ext>
    </p:extLst>
  </p:cSld>
  <p:clrMapOvr>
    <a:masterClrMapping/>
  </p:clrMapOvr>
  <p:transition spd="med"/>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87999" y="4649724"/>
            <a:ext cx="5524575" cy="1771651"/>
          </a:xfrm>
        </p:spPr>
        <p:txBody>
          <a:bodyPr anchor="b"/>
          <a:lstStyle>
            <a:lvl1pPr>
              <a:lnSpc>
                <a:spcPct val="90000"/>
              </a:lnSpc>
              <a:spcBef>
                <a:spcPts val="0"/>
              </a:spcBef>
              <a:defRPr sz="12897" b="0" i="0">
                <a:solidFill>
                  <a:schemeClr val="accent1"/>
                </a:solidFill>
                <a:latin typeface="IBM Plex Sans ExtLt" panose="020B0303050203000203" pitchFamily="34" charset="0"/>
              </a:defRPr>
            </a:lvl1pPr>
          </a:lstStyle>
          <a:p>
            <a:r>
              <a:rPr lang="en-US"/>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6380919" y="4648200"/>
            <a:ext cx="5523781" cy="1771651"/>
          </a:xfrm>
        </p:spPr>
        <p:txBody>
          <a:bodyPr anchor="b"/>
          <a:lstStyle>
            <a:lvl1pPr>
              <a:lnSpc>
                <a:spcPct val="90000"/>
              </a:lnSpc>
              <a:spcBef>
                <a:spcPts val="0"/>
              </a:spcBef>
              <a:defRPr sz="12897" b="0" i="0">
                <a:solidFill>
                  <a:schemeClr val="accent1"/>
                </a:solidFill>
                <a:latin typeface="IBM Plex Sans ExtLt" panose="020B0303050203000203" pitchFamily="34" charset="0"/>
              </a:defRPr>
            </a:lvl1pPr>
          </a:lstStyle>
          <a:p>
            <a:r>
              <a:rPr lang="en-US"/>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6380919" y="288037"/>
            <a:ext cx="3809504" cy="3144044"/>
          </a:xfrm>
        </p:spPr>
        <p:txBody>
          <a:bodyPr/>
          <a:lstStyle>
            <a:lvl1pPr>
              <a:lnSpc>
                <a:spcPct val="100000"/>
              </a:lnSpc>
              <a:spcBef>
                <a:spcPts val="0"/>
              </a:spcBef>
              <a:defRPr sz="2200">
                <a:solidFill>
                  <a:schemeClr val="tx1"/>
                </a:solidFill>
              </a:defRPr>
            </a:lvl1pPr>
            <a:lvl2pPr marL="201130" indent="-201130">
              <a:lnSpc>
                <a:spcPct val="100000"/>
              </a:lnSpc>
              <a:spcBef>
                <a:spcPts val="0"/>
              </a:spcBef>
              <a:defRPr sz="2200">
                <a:solidFill>
                  <a:schemeClr val="tx1"/>
                </a:solidFill>
              </a:defRPr>
            </a:lvl2pPr>
            <a:lvl3pPr marL="402261" indent="-201130">
              <a:lnSpc>
                <a:spcPct val="100000"/>
              </a:lnSpc>
              <a:spcBef>
                <a:spcPts val="0"/>
              </a:spcBef>
              <a:defRPr sz="2200">
                <a:solidFill>
                  <a:schemeClr val="tx1"/>
                </a:solidFill>
              </a:defRPr>
            </a:lvl3pPr>
            <a:lvl4pPr marL="557679" indent="-201130">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87998" y="288037"/>
            <a:ext cx="3811091" cy="3144044"/>
          </a:xfrm>
        </p:spPr>
        <p:txBody>
          <a:bodyPr/>
          <a:lstStyle>
            <a:lvl1pPr>
              <a:lnSpc>
                <a:spcPct val="100000"/>
              </a:lnSpc>
              <a:spcBef>
                <a:spcPts val="0"/>
              </a:spcBef>
              <a:defRPr sz="2200">
                <a:solidFill>
                  <a:schemeClr val="tx1"/>
                </a:solidFill>
              </a:defRPr>
            </a:lvl1pPr>
            <a:lvl2pPr marL="201130" indent="-201130">
              <a:lnSpc>
                <a:spcPct val="100000"/>
              </a:lnSpc>
              <a:spcBef>
                <a:spcPts val="0"/>
              </a:spcBef>
              <a:defRPr sz="2200">
                <a:solidFill>
                  <a:schemeClr val="tx1"/>
                </a:solidFill>
              </a:defRPr>
            </a:lvl2pPr>
            <a:lvl3pPr marL="402261" indent="-201130">
              <a:lnSpc>
                <a:spcPct val="100000"/>
              </a:lnSpc>
              <a:spcBef>
                <a:spcPts val="0"/>
              </a:spcBef>
              <a:defRPr sz="2200">
                <a:solidFill>
                  <a:schemeClr val="tx1"/>
                </a:solidFill>
              </a:defRPr>
            </a:lvl3pPr>
            <a:lvl4pPr marL="557679" indent="-201130">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6096000" y="284958"/>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11767910" y="646942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84126" y="6402118"/>
            <a:ext cx="2477765" cy="190500"/>
          </a:xfrm>
        </p:spPr>
        <p:txBody>
          <a:bodyPr/>
          <a:lstStyle/>
          <a:p>
            <a:endParaRPr lang="en-US"/>
          </a:p>
        </p:txBody>
      </p:sp>
    </p:spTree>
    <p:extLst>
      <p:ext uri="{BB962C8B-B14F-4D97-AF65-F5344CB8AC3E}">
        <p14:creationId xmlns:p14="http://schemas.microsoft.com/office/powerpoint/2010/main" val="1356416165"/>
      </p:ext>
    </p:extLst>
  </p:cSld>
  <p:clrMapOvr>
    <a:masterClrMapping/>
  </p:clrMapOvr>
  <p:transition spd="med"/>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383301" y="213241"/>
            <a:ext cx="2474591" cy="953295"/>
          </a:xfrm>
        </p:spPr>
        <p:txBody>
          <a:bodyPr/>
          <a:lstStyle>
            <a:lvl1pPr>
              <a:lnSpc>
                <a:spcPct val="90000"/>
              </a:lnSpc>
              <a:defRPr sz="6499">
                <a:solidFill>
                  <a:schemeClr val="accent1"/>
                </a:solidFill>
              </a:defRPr>
            </a:lvl1pPr>
          </a:lstStyle>
          <a:p>
            <a:pPr lvl="0"/>
            <a:r>
              <a:rPr lang="en-US"/>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9428523" y="214827"/>
            <a:ext cx="2474591" cy="951707"/>
          </a:xfrm>
        </p:spPr>
        <p:txBody>
          <a:bodyPr/>
          <a:lstStyle>
            <a:lvl1pPr>
              <a:lnSpc>
                <a:spcPct val="90000"/>
              </a:lnSpc>
              <a:defRPr sz="6499">
                <a:solidFill>
                  <a:schemeClr val="accent1"/>
                </a:solidFill>
              </a:defRPr>
            </a:lvl1pPr>
          </a:lstStyle>
          <a:p>
            <a:pPr lvl="0"/>
            <a:r>
              <a:rPr lang="en-US"/>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14885"/>
            <a:ext cx="2475384" cy="953956"/>
          </a:xfrm>
        </p:spPr>
        <p:txBody>
          <a:bodyPr/>
          <a:lstStyle>
            <a:lvl1pPr>
              <a:lnSpc>
                <a:spcPct val="90000"/>
              </a:lnSpc>
              <a:defRPr sz="6499">
                <a:solidFill>
                  <a:schemeClr val="accent1"/>
                </a:solidFill>
              </a:defRPr>
            </a:lvl1pPr>
            <a:lvl2pPr marL="0" indent="0">
              <a:buNone/>
              <a:defRPr/>
            </a:lvl2pPr>
          </a:lstStyle>
          <a:p>
            <a:pPr lvl="0"/>
            <a:r>
              <a:rPr lang="en-US"/>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1" cy="1429544"/>
          </a:xfrm>
        </p:spPr>
        <p:txBody>
          <a:bodyPr/>
          <a:lstStyle>
            <a:lvl1pPr>
              <a:lnSpc>
                <a:spcPct val="110000"/>
              </a:lnSpc>
              <a:defRPr sz="18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9"/>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marL="73138" indent="-73138">
              <a:lnSpc>
                <a:spcPct val="120000"/>
              </a:lnSpc>
              <a:spcBef>
                <a:spcPts val="0"/>
              </a:spcBef>
              <a:defRPr sz="800" b="0" i="0">
                <a:solidFill>
                  <a:schemeClr val="tx1"/>
                </a:solidFill>
                <a:latin typeface="IBM Plex Sans" panose="020B0503050203000203" pitchFamily="34" charset="0"/>
              </a:defRPr>
            </a:lvl2pPr>
            <a:lvl3pPr marL="146277" indent="-73138">
              <a:lnSpc>
                <a:spcPct val="120000"/>
              </a:lnSpc>
              <a:spcBef>
                <a:spcPts val="0"/>
              </a:spcBef>
              <a:defRPr sz="800" b="0" i="0">
                <a:solidFill>
                  <a:schemeClr val="tx1"/>
                </a:solidFill>
                <a:latin typeface="IBM Plex Sans" panose="020B0503050203000203" pitchFamily="34" charset="0"/>
              </a:defRPr>
            </a:lvl3pPr>
            <a:lvl4pPr marL="219415" indent="-73138">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3333316" y="1166535"/>
            <a:ext cx="2475384" cy="483652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1167328"/>
            <a:ext cx="2476178"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9428523" y="1166534"/>
            <a:ext cx="2476178"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11767910" y="646942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84126" y="6402118"/>
            <a:ext cx="2477765" cy="190500"/>
          </a:xfrm>
        </p:spPr>
        <p:txBody>
          <a:bodyPr/>
          <a:lstStyle/>
          <a:p>
            <a:endParaRPr lang="en-US"/>
          </a:p>
        </p:txBody>
      </p:sp>
    </p:spTree>
    <p:extLst>
      <p:ext uri="{BB962C8B-B14F-4D97-AF65-F5344CB8AC3E}">
        <p14:creationId xmlns:p14="http://schemas.microsoft.com/office/powerpoint/2010/main" val="1408995189"/>
      </p:ext>
    </p:extLst>
  </p:cSld>
  <p:clrMapOvr>
    <a:masterClrMapping/>
  </p:clrMapOvr>
  <p:transition spd="med"/>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284126" y="3048000"/>
            <a:ext cx="116205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87300" y="201168"/>
            <a:ext cx="2474591" cy="2667795"/>
          </a:xfrm>
        </p:spPr>
        <p:txBody>
          <a:bodyPr/>
          <a:lstStyle>
            <a:lvl1pPr>
              <a:lnSpc>
                <a:spcPct val="100000"/>
              </a:lnSpc>
              <a:defRPr sz="4299">
                <a:solidFill>
                  <a:schemeClr val="accent1"/>
                </a:solidFill>
              </a:defRPr>
            </a:lvl1pPr>
          </a:lstStyle>
          <a:p>
            <a:r>
              <a:rPr lang="en-US"/>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3333316" y="201169"/>
            <a:ext cx="5523781" cy="2667794"/>
          </a:xfrm>
        </p:spPr>
        <p:txBody>
          <a:bodyPr/>
          <a:lstStyle>
            <a:lvl1pPr>
              <a:lnSpc>
                <a:spcPct val="100000"/>
              </a:lnSpc>
              <a:spcBef>
                <a:spcPts val="0"/>
              </a:spcBef>
              <a:defRPr sz="4299">
                <a:solidFill>
                  <a:schemeClr val="tx1"/>
                </a:solidFill>
              </a:defRPr>
            </a:lvl1pPr>
            <a:lvl2pPr marL="393118" indent="-393118">
              <a:lnSpc>
                <a:spcPct val="100000"/>
              </a:lnSpc>
              <a:spcBef>
                <a:spcPts val="0"/>
              </a:spcBef>
              <a:defRPr sz="4299">
                <a:solidFill>
                  <a:schemeClr val="tx1"/>
                </a:solidFill>
              </a:defRPr>
            </a:lvl2pPr>
            <a:lvl3pPr marL="749668" indent="-393118">
              <a:lnSpc>
                <a:spcPct val="100000"/>
              </a:lnSpc>
              <a:spcBef>
                <a:spcPts val="0"/>
              </a:spcBef>
              <a:defRPr sz="4299">
                <a:solidFill>
                  <a:schemeClr val="tx1"/>
                </a:solidFill>
              </a:defRPr>
            </a:lvl3pPr>
            <a:lvl4pPr marL="1142786" indent="-393118">
              <a:lnSpc>
                <a:spcPct val="100000"/>
              </a:lnSpc>
              <a:spcBef>
                <a:spcPts val="0"/>
              </a:spcBef>
              <a:defRPr sz="4299">
                <a:solidFill>
                  <a:schemeClr val="tx1"/>
                </a:solidFill>
              </a:defRPr>
            </a:lvl4pPr>
            <a:lvl5pPr>
              <a:lnSpc>
                <a:spcPct val="100000"/>
              </a:lnSpc>
              <a:spcBef>
                <a:spcPts val="0"/>
              </a:spcBef>
              <a:defRPr sz="4299">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87300" y="3238500"/>
            <a:ext cx="2474591" cy="2667000"/>
          </a:xfrm>
        </p:spPr>
        <p:txBody>
          <a:bodyPr/>
          <a:lstStyle>
            <a:lvl1pPr>
              <a:lnSpc>
                <a:spcPct val="100000"/>
              </a:lnSpc>
              <a:defRPr sz="4299">
                <a:solidFill>
                  <a:schemeClr val="accent1"/>
                </a:solidFill>
              </a:defRPr>
            </a:lvl1pPr>
            <a:lvl2pPr>
              <a:lnSpc>
                <a:spcPct val="100000"/>
              </a:lnSpc>
              <a:defRPr sz="4299">
                <a:solidFill>
                  <a:schemeClr val="accent1"/>
                </a:solidFill>
              </a:defRPr>
            </a:lvl2pPr>
            <a:lvl3pPr>
              <a:lnSpc>
                <a:spcPct val="100000"/>
              </a:lnSpc>
              <a:defRPr sz="4299">
                <a:solidFill>
                  <a:schemeClr val="accent1"/>
                </a:solidFill>
              </a:defRPr>
            </a:lvl3pPr>
            <a:lvl4pPr>
              <a:lnSpc>
                <a:spcPct val="100000"/>
              </a:lnSpc>
              <a:defRPr sz="4299">
                <a:solidFill>
                  <a:schemeClr val="accent1"/>
                </a:solidFill>
              </a:defRPr>
            </a:lvl4pPr>
            <a:lvl5pPr>
              <a:lnSpc>
                <a:spcPct val="100000"/>
              </a:lnSpc>
              <a:defRPr sz="4299">
                <a:solidFill>
                  <a:schemeClr val="accent1"/>
                </a:solidFill>
              </a:defRPr>
            </a:lvl5pPr>
          </a:lstStyle>
          <a:p>
            <a:pPr lvl="0"/>
            <a:r>
              <a:rPr lang="en-US"/>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3333316" y="3238500"/>
            <a:ext cx="5523781" cy="2667000"/>
          </a:xfrm>
        </p:spPr>
        <p:txBody>
          <a:bodyPr/>
          <a:lstStyle>
            <a:lvl1pPr>
              <a:lnSpc>
                <a:spcPct val="100000"/>
              </a:lnSpc>
              <a:spcBef>
                <a:spcPts val="0"/>
              </a:spcBef>
              <a:defRPr sz="4299">
                <a:solidFill>
                  <a:schemeClr val="tx1"/>
                </a:solidFill>
              </a:defRPr>
            </a:lvl1pPr>
            <a:lvl2pPr marL="393118" indent="-393118">
              <a:lnSpc>
                <a:spcPct val="100000"/>
              </a:lnSpc>
              <a:spcBef>
                <a:spcPts val="0"/>
              </a:spcBef>
              <a:defRPr sz="4299">
                <a:solidFill>
                  <a:schemeClr val="tx1"/>
                </a:solidFill>
              </a:defRPr>
            </a:lvl2pPr>
            <a:lvl3pPr marL="749668" indent="-393118">
              <a:lnSpc>
                <a:spcPct val="100000"/>
              </a:lnSpc>
              <a:spcBef>
                <a:spcPts val="0"/>
              </a:spcBef>
              <a:defRPr sz="4299">
                <a:solidFill>
                  <a:schemeClr val="tx1"/>
                </a:solidFill>
              </a:defRPr>
            </a:lvl3pPr>
            <a:lvl4pPr marL="1142786" indent="-393118">
              <a:lnSpc>
                <a:spcPct val="100000"/>
              </a:lnSpc>
              <a:spcBef>
                <a:spcPts val="0"/>
              </a:spcBef>
              <a:defRPr sz="4299">
                <a:solidFill>
                  <a:schemeClr val="tx1"/>
                </a:solidFill>
              </a:defRPr>
            </a:lvl4pPr>
            <a:lvl5pPr>
              <a:lnSpc>
                <a:spcPct val="100000"/>
              </a:lnSpc>
              <a:spcBef>
                <a:spcPts val="0"/>
              </a:spcBef>
              <a:defRPr sz="4299">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11767910" y="646942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84126" y="6402118"/>
            <a:ext cx="2477765" cy="190500"/>
          </a:xfrm>
        </p:spPr>
        <p:txBody>
          <a:bodyPr/>
          <a:lstStyle/>
          <a:p>
            <a:endParaRPr lang="en-US"/>
          </a:p>
        </p:txBody>
      </p:sp>
    </p:spTree>
    <p:extLst>
      <p:ext uri="{BB962C8B-B14F-4D97-AF65-F5344CB8AC3E}">
        <p14:creationId xmlns:p14="http://schemas.microsoft.com/office/powerpoint/2010/main" val="48943056"/>
      </p:ext>
    </p:extLst>
  </p:cSld>
  <p:clrMapOvr>
    <a:masterClrMapping/>
  </p:clrMapOvr>
  <p:transition spd="med"/>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3333316" y="4095751"/>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3333316" y="2000251"/>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05740"/>
            <a:ext cx="2475384" cy="1429544"/>
          </a:xfrm>
        </p:spPr>
        <p:txBody>
          <a:bodyPr/>
          <a:lstStyle>
            <a:lvl1pPr>
              <a:lnSpc>
                <a:spcPct val="90000"/>
              </a:lnSpc>
              <a:defRPr sz="6499">
                <a:solidFill>
                  <a:schemeClr val="accent1"/>
                </a:solidFill>
              </a:defRPr>
            </a:lvl1pPr>
            <a:lvl2pPr marL="0" indent="0">
              <a:buNone/>
              <a:defRPr/>
            </a:lvl2pPr>
          </a:lstStyle>
          <a:p>
            <a:r>
              <a:rPr lang="en-US"/>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1" cy="1429544"/>
          </a:xfrm>
        </p:spPr>
        <p:txBody>
          <a:bodyPr/>
          <a:lstStyle>
            <a:lvl1pPr>
              <a:lnSpc>
                <a:spcPct val="110000"/>
              </a:lnSpc>
              <a:defRPr sz="18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9"/>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a:lnSpc>
                <a:spcPct val="120000"/>
              </a:lnSpc>
              <a:spcBef>
                <a:spcPts val="0"/>
              </a:spcBef>
              <a:defRPr sz="800" b="0" i="0">
                <a:solidFill>
                  <a:schemeClr val="tx1"/>
                </a:solidFill>
                <a:latin typeface="IBM Plex Sans" panose="020B0503050203000203" pitchFamily="34" charset="0"/>
              </a:defRPr>
            </a:lvl2pPr>
            <a:lvl3pPr>
              <a:lnSpc>
                <a:spcPct val="120000"/>
              </a:lnSpc>
              <a:spcBef>
                <a:spcPts val="0"/>
              </a:spcBef>
              <a:defRPr sz="800" b="0" i="0">
                <a:solidFill>
                  <a:schemeClr val="tx1"/>
                </a:solidFill>
                <a:latin typeface="IBM Plex Sans" panose="020B0503050203000203" pitchFamily="34" charset="0"/>
              </a:defRPr>
            </a:lvl3pPr>
            <a:lvl4pPr>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380919" y="288036"/>
            <a:ext cx="3809504" cy="1429544"/>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2190750"/>
            <a:ext cx="3809504" cy="142875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6380919" y="4286250"/>
            <a:ext cx="3809504" cy="142875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3333316" y="2093977"/>
            <a:ext cx="2475384" cy="1428754"/>
          </a:xfrm>
        </p:spPr>
        <p:txBody>
          <a:bodyPr/>
          <a:lstStyle>
            <a:lvl1pPr>
              <a:lnSpc>
                <a:spcPct val="90000"/>
              </a:lnSpc>
              <a:defRPr sz="6499">
                <a:solidFill>
                  <a:schemeClr val="accent1"/>
                </a:solidFill>
              </a:defRPr>
            </a:lvl1pPr>
          </a:lstStyle>
          <a:p>
            <a:r>
              <a:rPr lang="en-US"/>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3333318" y="4201669"/>
            <a:ext cx="2475383" cy="1428754"/>
          </a:xfrm>
        </p:spPr>
        <p:txBody>
          <a:bodyPr/>
          <a:lstStyle>
            <a:lvl1pPr>
              <a:lnSpc>
                <a:spcPct val="90000"/>
              </a:lnSpc>
              <a:defRPr sz="6499">
                <a:solidFill>
                  <a:schemeClr val="accent1"/>
                </a:solidFill>
              </a:defRPr>
            </a:lvl1pPr>
          </a:lstStyle>
          <a:p>
            <a:r>
              <a:rPr lang="en-US"/>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11767910" y="646942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84126" y="6402118"/>
            <a:ext cx="2477765" cy="190500"/>
          </a:xfrm>
        </p:spPr>
        <p:txBody>
          <a:bodyPr/>
          <a:lstStyle/>
          <a:p>
            <a:endParaRPr lang="en-US"/>
          </a:p>
        </p:txBody>
      </p:sp>
    </p:spTree>
    <p:extLst>
      <p:ext uri="{BB962C8B-B14F-4D97-AF65-F5344CB8AC3E}">
        <p14:creationId xmlns:p14="http://schemas.microsoft.com/office/powerpoint/2010/main" val="4055126290"/>
      </p:ext>
    </p:extLst>
  </p:cSld>
  <p:clrMapOvr>
    <a:masterClrMapping/>
  </p:clrMapOvr>
  <p:transition spd="med"/>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1" cy="762795"/>
          </a:xfrm>
        </p:spPr>
        <p:txBody>
          <a:bodyPr/>
          <a:lstStyle>
            <a:lvl1pPr>
              <a:lnSpc>
                <a:spcPct val="110000"/>
              </a:lnSpc>
              <a:defRPr sz="14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87999" y="1714500"/>
            <a:ext cx="2477765" cy="4286251"/>
          </a:xfrm>
        </p:spPr>
        <p:txBody>
          <a:bodyPr/>
          <a:lstStyle>
            <a:lvl1pPr>
              <a:spcBef>
                <a:spcPts val="0"/>
              </a:spcBef>
              <a:defRPr sz="1000" b="0" i="0">
                <a:solidFill>
                  <a:schemeClr val="tx1"/>
                </a:solidFill>
                <a:latin typeface="IBM Plex Sans" panose="020B0503050203000203" pitchFamily="34" charset="0"/>
              </a:defRPr>
            </a:lvl1pPr>
            <a:lvl2pPr marL="91423" indent="-91423">
              <a:spcBef>
                <a:spcPts val="0"/>
              </a:spcBef>
              <a:defRPr sz="1000" b="0" i="0">
                <a:solidFill>
                  <a:schemeClr val="tx1"/>
                </a:solidFill>
                <a:latin typeface="IBM Plex Sans" panose="020B0503050203000203" pitchFamily="34" charset="0"/>
              </a:defRPr>
            </a:lvl2pPr>
            <a:lvl3pPr marL="182846" indent="-91423">
              <a:spcBef>
                <a:spcPts val="0"/>
              </a:spcBef>
              <a:defRPr sz="1000" b="0" i="0">
                <a:solidFill>
                  <a:schemeClr val="tx1"/>
                </a:solidFill>
                <a:latin typeface="IBM Plex Sans" panose="020B0503050203000203" pitchFamily="34" charset="0"/>
              </a:defRPr>
            </a:lvl3pPr>
            <a:lvl4pPr marL="274269" indent="-91423">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1"/>
          </a:xfrm>
        </p:spPr>
        <p:txBody>
          <a:bodyPr/>
          <a:lstStyle>
            <a:lvl1pPr>
              <a:spcBef>
                <a:spcPts val="0"/>
              </a:spcBef>
              <a:defRPr sz="1000" b="0" i="0">
                <a:solidFill>
                  <a:schemeClr val="tx1"/>
                </a:solidFill>
                <a:latin typeface="IBM Plex Sans" panose="020B0503050203000203" pitchFamily="34" charset="0"/>
              </a:defRPr>
            </a:lvl1pPr>
            <a:lvl2pPr marL="91423" indent="-91423">
              <a:spcBef>
                <a:spcPts val="0"/>
              </a:spcBef>
              <a:defRPr sz="1000" b="0" i="0">
                <a:solidFill>
                  <a:schemeClr val="tx1"/>
                </a:solidFill>
                <a:latin typeface="IBM Plex Sans" panose="020B0503050203000203" pitchFamily="34" charset="0"/>
              </a:defRPr>
            </a:lvl2pPr>
            <a:lvl3pPr marL="182846" indent="-91423">
              <a:spcBef>
                <a:spcPts val="0"/>
              </a:spcBef>
              <a:defRPr sz="1000" b="0" i="0">
                <a:solidFill>
                  <a:schemeClr val="tx1"/>
                </a:solidFill>
                <a:latin typeface="IBM Plex Sans" panose="020B0503050203000203" pitchFamily="34" charset="0"/>
              </a:defRPr>
            </a:lvl3pPr>
            <a:lvl4pPr marL="274269" indent="-91423">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1"/>
          </a:xfrm>
        </p:spPr>
        <p:txBody>
          <a:bodyPr/>
          <a:lstStyle>
            <a:lvl1pPr>
              <a:spcBef>
                <a:spcPts val="0"/>
              </a:spcBef>
              <a:defRPr sz="1000" b="0" i="0">
                <a:solidFill>
                  <a:schemeClr val="tx1"/>
                </a:solidFill>
                <a:latin typeface="IBM Plex Sans" panose="020B0503050203000203" pitchFamily="34" charset="0"/>
              </a:defRPr>
            </a:lvl1pPr>
            <a:lvl2pPr marL="91423" indent="-91423">
              <a:spcBef>
                <a:spcPts val="0"/>
              </a:spcBef>
              <a:defRPr sz="1000" b="0" i="0">
                <a:solidFill>
                  <a:schemeClr val="tx1"/>
                </a:solidFill>
                <a:latin typeface="IBM Plex Sans" panose="020B0503050203000203" pitchFamily="34" charset="0"/>
              </a:defRPr>
            </a:lvl2pPr>
            <a:lvl3pPr marL="182846" indent="-91423">
              <a:spcBef>
                <a:spcPts val="0"/>
              </a:spcBef>
              <a:defRPr sz="1000" b="0" i="0">
                <a:solidFill>
                  <a:schemeClr val="tx1"/>
                </a:solidFill>
                <a:latin typeface="IBM Plex Sans" panose="020B0503050203000203" pitchFamily="34" charset="0"/>
              </a:defRPr>
            </a:lvl3pPr>
            <a:lvl4pPr marL="274269" indent="-91423">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3" y="1714500"/>
            <a:ext cx="2479352" cy="4286251"/>
          </a:xfrm>
        </p:spPr>
        <p:txBody>
          <a:bodyPr/>
          <a:lstStyle>
            <a:lvl1pPr>
              <a:spcBef>
                <a:spcPts val="0"/>
              </a:spcBef>
              <a:defRPr sz="1000" b="0" i="0">
                <a:solidFill>
                  <a:schemeClr val="tx1"/>
                </a:solidFill>
                <a:latin typeface="IBM Plex Sans" panose="020B0503050203000203" pitchFamily="34" charset="0"/>
              </a:defRPr>
            </a:lvl1pPr>
            <a:lvl2pPr marL="91423" indent="-91423">
              <a:spcBef>
                <a:spcPts val="0"/>
              </a:spcBef>
              <a:defRPr sz="1000" b="0" i="0">
                <a:solidFill>
                  <a:schemeClr val="tx1"/>
                </a:solidFill>
                <a:latin typeface="IBM Plex Sans" panose="020B0503050203000203" pitchFamily="34" charset="0"/>
              </a:defRPr>
            </a:lvl2pPr>
            <a:lvl3pPr marL="182846" indent="-91423">
              <a:spcBef>
                <a:spcPts val="0"/>
              </a:spcBef>
              <a:defRPr sz="1000" b="0" i="0">
                <a:solidFill>
                  <a:schemeClr val="tx1"/>
                </a:solidFill>
                <a:latin typeface="IBM Plex Sans" panose="020B0503050203000203" pitchFamily="34" charset="0"/>
              </a:defRPr>
            </a:lvl3pPr>
            <a:lvl4pPr marL="274269" indent="-91423">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11767910" y="646942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84126" y="6402118"/>
            <a:ext cx="2477765" cy="190500"/>
          </a:xfrm>
        </p:spPr>
        <p:txBody>
          <a:bodyPr/>
          <a:lstStyle/>
          <a:p>
            <a:endParaRPr lang="en-US"/>
          </a:p>
        </p:txBody>
      </p:sp>
    </p:spTree>
    <p:extLst>
      <p:ext uri="{BB962C8B-B14F-4D97-AF65-F5344CB8AC3E}">
        <p14:creationId xmlns:p14="http://schemas.microsoft.com/office/powerpoint/2010/main" val="2336364818"/>
      </p:ext>
    </p:extLst>
  </p:cSld>
  <p:clrMapOvr>
    <a:masterClrMapping/>
  </p:clrMapOvr>
  <p:transition spd="med"/>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1" cy="762795"/>
          </a:xfrm>
        </p:spPr>
        <p:txBody>
          <a:bodyPr/>
          <a:lstStyle>
            <a:lvl1pPr>
              <a:lnSpc>
                <a:spcPct val="110000"/>
              </a:lnSpc>
              <a:defRPr sz="1400">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3" indent="-91423">
              <a:lnSpc>
                <a:spcPct val="110000"/>
              </a:lnSpc>
              <a:spcBef>
                <a:spcPts val="0"/>
              </a:spcBef>
              <a:defRPr sz="1000" b="0" i="0">
                <a:solidFill>
                  <a:schemeClr val="tx1"/>
                </a:solidFill>
                <a:latin typeface="IBM Plex Sans" panose="020B0503050203000203" pitchFamily="34" charset="0"/>
              </a:defRPr>
            </a:lvl2pPr>
            <a:lvl3pPr marL="182846" indent="-91423">
              <a:lnSpc>
                <a:spcPct val="110000"/>
              </a:lnSpc>
              <a:spcBef>
                <a:spcPts val="0"/>
              </a:spcBef>
              <a:defRPr sz="1000" b="0" i="0">
                <a:solidFill>
                  <a:schemeClr val="tx1"/>
                </a:solidFill>
                <a:latin typeface="IBM Plex Sans" panose="020B0503050203000203" pitchFamily="34" charset="0"/>
              </a:defRPr>
            </a:lvl3pPr>
            <a:lvl4pPr marL="274269" indent="-91423">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3" indent="-91423">
              <a:lnSpc>
                <a:spcPct val="110000"/>
              </a:lnSpc>
              <a:spcBef>
                <a:spcPts val="0"/>
              </a:spcBef>
              <a:defRPr sz="1000" b="0" i="0">
                <a:solidFill>
                  <a:schemeClr val="tx1"/>
                </a:solidFill>
                <a:latin typeface="IBM Plex Sans" panose="020B0503050203000203" pitchFamily="34" charset="0"/>
              </a:defRPr>
            </a:lvl2pPr>
            <a:lvl3pPr marL="182846" indent="-91423">
              <a:lnSpc>
                <a:spcPct val="110000"/>
              </a:lnSpc>
              <a:spcBef>
                <a:spcPts val="0"/>
              </a:spcBef>
              <a:defRPr sz="1000" b="0" i="0">
                <a:solidFill>
                  <a:schemeClr val="tx1"/>
                </a:solidFill>
                <a:latin typeface="IBM Plex Sans" panose="020B0503050203000203" pitchFamily="34" charset="0"/>
              </a:defRPr>
            </a:lvl3pPr>
            <a:lvl4pPr marL="274269" indent="-91423">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3" y="1714500"/>
            <a:ext cx="2479352"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3" indent="-91423">
              <a:lnSpc>
                <a:spcPct val="110000"/>
              </a:lnSpc>
              <a:spcBef>
                <a:spcPts val="0"/>
              </a:spcBef>
              <a:defRPr sz="1000" b="0" i="0">
                <a:solidFill>
                  <a:schemeClr val="tx1"/>
                </a:solidFill>
                <a:latin typeface="IBM Plex Sans" panose="020B0503050203000203" pitchFamily="34" charset="0"/>
              </a:defRPr>
            </a:lvl2pPr>
            <a:lvl3pPr marL="182846" indent="-91423">
              <a:lnSpc>
                <a:spcPct val="110000"/>
              </a:lnSpc>
              <a:spcBef>
                <a:spcPts val="0"/>
              </a:spcBef>
              <a:defRPr sz="1000" b="0" i="0">
                <a:solidFill>
                  <a:schemeClr val="tx1"/>
                </a:solidFill>
                <a:latin typeface="IBM Plex Sans" panose="020B0503050203000203" pitchFamily="34" charset="0"/>
              </a:defRPr>
            </a:lvl3pPr>
            <a:lvl4pPr marL="274269" indent="-91423">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7"/>
            <a:ext cx="2477765" cy="762794"/>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3" indent="-91423">
              <a:lnSpc>
                <a:spcPct val="110000"/>
              </a:lnSpc>
              <a:spcBef>
                <a:spcPts val="0"/>
              </a:spcBef>
              <a:defRPr sz="1000" b="0" i="0">
                <a:solidFill>
                  <a:schemeClr val="tx1"/>
                </a:solidFill>
                <a:latin typeface="IBM Plex Sans" panose="020B0503050203000203" pitchFamily="34" charset="0"/>
              </a:defRPr>
            </a:lvl2pPr>
            <a:lvl3pPr marL="182846" indent="-91423">
              <a:lnSpc>
                <a:spcPct val="110000"/>
              </a:lnSpc>
              <a:spcBef>
                <a:spcPts val="0"/>
              </a:spcBef>
              <a:defRPr sz="1000" b="0" i="0">
                <a:solidFill>
                  <a:schemeClr val="tx1"/>
                </a:solidFill>
                <a:latin typeface="IBM Plex Sans" panose="020B0503050203000203" pitchFamily="34" charset="0"/>
              </a:defRPr>
            </a:lvl3pPr>
            <a:lvl4pPr marL="274269" indent="-91423">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289682" y="1714500"/>
            <a:ext cx="2475384"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3" indent="-91423">
              <a:lnSpc>
                <a:spcPct val="110000"/>
              </a:lnSpc>
              <a:spcBef>
                <a:spcPts val="0"/>
              </a:spcBef>
              <a:defRPr sz="1000" b="0" i="0">
                <a:solidFill>
                  <a:schemeClr val="tx1"/>
                </a:solidFill>
                <a:latin typeface="IBM Plex Sans" panose="020B0503050203000203" pitchFamily="34" charset="0"/>
              </a:defRPr>
            </a:lvl2pPr>
            <a:lvl3pPr marL="182846" indent="-91423">
              <a:lnSpc>
                <a:spcPct val="110000"/>
              </a:lnSpc>
              <a:spcBef>
                <a:spcPts val="0"/>
              </a:spcBef>
              <a:defRPr sz="1000" b="0" i="0">
                <a:solidFill>
                  <a:schemeClr val="tx1"/>
                </a:solidFill>
                <a:latin typeface="IBM Plex Sans" panose="020B0503050203000203" pitchFamily="34" charset="0"/>
              </a:defRPr>
            </a:lvl3pPr>
            <a:lvl4pPr marL="274269" indent="-91423">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3047603" y="1714500"/>
            <a:ext cx="0" cy="428625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6093683"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9142810"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11767910" y="646942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84126" y="6402118"/>
            <a:ext cx="2477765" cy="190500"/>
          </a:xfrm>
        </p:spPr>
        <p:txBody>
          <a:bodyPr/>
          <a:lstStyle/>
          <a:p>
            <a:endParaRPr lang="en-US"/>
          </a:p>
        </p:txBody>
      </p:sp>
    </p:spTree>
    <p:extLst>
      <p:ext uri="{BB962C8B-B14F-4D97-AF65-F5344CB8AC3E}">
        <p14:creationId xmlns:p14="http://schemas.microsoft.com/office/powerpoint/2010/main" val="185873085"/>
      </p:ext>
    </p:extLst>
  </p:cSld>
  <p:clrMapOvr>
    <a:masterClrMapping/>
  </p:clrMapOvr>
  <p:transition spd="med"/>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2_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1" cy="762795"/>
          </a:xfrm>
        </p:spPr>
        <p:txBody>
          <a:bodyPr/>
          <a:lstStyle>
            <a:lvl1pPr>
              <a:lnSpc>
                <a:spcPct val="110000"/>
              </a:lnSpc>
              <a:defRPr sz="1400">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1"/>
          </a:xfrm>
        </p:spPr>
        <p:txBody>
          <a:bodyPr/>
          <a:lstStyle>
            <a:lvl1pPr>
              <a:spcBef>
                <a:spcPts val="0"/>
              </a:spcBef>
              <a:defRPr sz="1000" b="0" i="0">
                <a:solidFill>
                  <a:schemeClr val="tx1"/>
                </a:solidFill>
                <a:latin typeface="IBM Plex Sans" panose="020B0503050203000203" pitchFamily="34" charset="0"/>
              </a:defRPr>
            </a:lvl1pPr>
            <a:lvl2pPr marL="91423" indent="-91423">
              <a:spcBef>
                <a:spcPts val="0"/>
              </a:spcBef>
              <a:defRPr sz="1000" b="0" i="0">
                <a:solidFill>
                  <a:schemeClr val="tx1"/>
                </a:solidFill>
                <a:latin typeface="IBM Plex Sans" panose="020B0503050203000203" pitchFamily="34" charset="0"/>
              </a:defRPr>
            </a:lvl2pPr>
            <a:lvl3pPr marL="182846" indent="-91423">
              <a:spcBef>
                <a:spcPts val="0"/>
              </a:spcBef>
              <a:defRPr sz="1000" b="0" i="0">
                <a:solidFill>
                  <a:schemeClr val="tx1"/>
                </a:solidFill>
                <a:latin typeface="IBM Plex Sans" panose="020B0503050203000203" pitchFamily="34" charset="0"/>
              </a:defRPr>
            </a:lvl3pPr>
            <a:lvl4pPr marL="274269" indent="-91423">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1"/>
          </a:xfrm>
        </p:spPr>
        <p:txBody>
          <a:bodyPr/>
          <a:lstStyle>
            <a:lvl1pPr>
              <a:spcBef>
                <a:spcPts val="0"/>
              </a:spcBef>
              <a:defRPr sz="1000" b="0" i="0">
                <a:solidFill>
                  <a:schemeClr val="tx1"/>
                </a:solidFill>
                <a:latin typeface="IBM Plex Sans" panose="020B0503050203000203" pitchFamily="34" charset="0"/>
              </a:defRPr>
            </a:lvl1pPr>
            <a:lvl2pPr marL="91423" indent="-91423">
              <a:spcBef>
                <a:spcPts val="0"/>
              </a:spcBef>
              <a:defRPr sz="1000" b="0" i="0">
                <a:solidFill>
                  <a:schemeClr val="tx1"/>
                </a:solidFill>
                <a:latin typeface="IBM Plex Sans" panose="020B0503050203000203" pitchFamily="34" charset="0"/>
              </a:defRPr>
            </a:lvl2pPr>
            <a:lvl3pPr marL="182846" indent="-91423">
              <a:spcBef>
                <a:spcPts val="0"/>
              </a:spcBef>
              <a:defRPr sz="1000" b="0" i="0">
                <a:solidFill>
                  <a:schemeClr val="tx1"/>
                </a:solidFill>
                <a:latin typeface="IBM Plex Sans" panose="020B0503050203000203" pitchFamily="34" charset="0"/>
              </a:defRPr>
            </a:lvl3pPr>
            <a:lvl4pPr marL="274269" indent="-91423">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3" y="1714500"/>
            <a:ext cx="2479352" cy="4286251"/>
          </a:xfrm>
        </p:spPr>
        <p:txBody>
          <a:bodyPr/>
          <a:lstStyle>
            <a:lvl1pPr>
              <a:spcBef>
                <a:spcPts val="0"/>
              </a:spcBef>
              <a:defRPr sz="1000" b="0" i="0">
                <a:solidFill>
                  <a:schemeClr val="tx1"/>
                </a:solidFill>
                <a:latin typeface="IBM Plex Sans" panose="020B0503050203000203" pitchFamily="34" charset="0"/>
              </a:defRPr>
            </a:lvl1pPr>
            <a:lvl2pPr marL="91423" indent="-91423">
              <a:spcBef>
                <a:spcPts val="0"/>
              </a:spcBef>
              <a:defRPr sz="1000" b="0" i="0">
                <a:solidFill>
                  <a:schemeClr val="tx1"/>
                </a:solidFill>
                <a:latin typeface="IBM Plex Sans" panose="020B0503050203000203" pitchFamily="34" charset="0"/>
              </a:defRPr>
            </a:lvl2pPr>
            <a:lvl3pPr marL="182846" indent="-91423">
              <a:spcBef>
                <a:spcPts val="0"/>
              </a:spcBef>
              <a:defRPr sz="1000" b="0" i="0">
                <a:solidFill>
                  <a:schemeClr val="tx1"/>
                </a:solidFill>
                <a:latin typeface="IBM Plex Sans" panose="020B0503050203000203" pitchFamily="34" charset="0"/>
              </a:defRPr>
            </a:lvl3pPr>
            <a:lvl4pPr marL="274269" indent="-91423">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7"/>
            <a:ext cx="2477765" cy="762794"/>
          </a:xfrm>
        </p:spPr>
        <p:txBody>
          <a:bodyPr/>
          <a:lstStyle>
            <a:lvl1pPr>
              <a:lnSpc>
                <a:spcPct val="110000"/>
              </a:lnSpc>
              <a:spcBef>
                <a:spcPts val="0"/>
              </a:spcBef>
              <a:defRPr sz="1400">
                <a:solidFill>
                  <a:schemeClr val="tx1"/>
                </a:solidFill>
              </a:defRPr>
            </a:lvl1pPr>
            <a:lvl2pPr marL="127992" indent="-127992">
              <a:lnSpc>
                <a:spcPct val="110000"/>
              </a:lnSpc>
              <a:spcBef>
                <a:spcPts val="0"/>
              </a:spcBef>
              <a:defRPr sz="1400">
                <a:solidFill>
                  <a:schemeClr val="tx1"/>
                </a:solidFill>
              </a:defRPr>
            </a:lvl2pPr>
            <a:lvl3pPr marL="255984" indent="-127992">
              <a:lnSpc>
                <a:spcPct val="110000"/>
              </a:lnSpc>
              <a:spcBef>
                <a:spcPts val="0"/>
              </a:spcBef>
              <a:defRPr sz="1400">
                <a:solidFill>
                  <a:schemeClr val="tx1"/>
                </a:solidFill>
              </a:defRPr>
            </a:lvl3pPr>
            <a:lvl4pPr marL="383976" indent="-127992">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7"/>
            <a:ext cx="2476178" cy="762794"/>
          </a:xfrm>
        </p:spPr>
        <p:txBody>
          <a:bodyPr/>
          <a:lstStyle>
            <a:lvl1pPr>
              <a:lnSpc>
                <a:spcPct val="110000"/>
              </a:lnSpc>
              <a:spcBef>
                <a:spcPts val="0"/>
              </a:spcBef>
              <a:defRPr sz="1400">
                <a:solidFill>
                  <a:schemeClr val="tx1"/>
                </a:solidFill>
              </a:defRPr>
            </a:lvl1pPr>
            <a:lvl2pPr marL="127992" indent="-127992">
              <a:lnSpc>
                <a:spcPct val="110000"/>
              </a:lnSpc>
              <a:spcBef>
                <a:spcPts val="0"/>
              </a:spcBef>
              <a:defRPr sz="1400">
                <a:solidFill>
                  <a:schemeClr val="tx1"/>
                </a:solidFill>
              </a:defRPr>
            </a:lvl2pPr>
            <a:lvl3pPr marL="255984" indent="-127992">
              <a:lnSpc>
                <a:spcPct val="110000"/>
              </a:lnSpc>
              <a:spcBef>
                <a:spcPts val="0"/>
              </a:spcBef>
              <a:defRPr sz="1400">
                <a:solidFill>
                  <a:schemeClr val="tx1"/>
                </a:solidFill>
              </a:defRPr>
            </a:lvl3pPr>
            <a:lvl4pPr marL="383976" indent="-127992">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3" y="288037"/>
            <a:ext cx="2479352" cy="762794"/>
          </a:xfrm>
        </p:spPr>
        <p:txBody>
          <a:bodyPr/>
          <a:lstStyle>
            <a:lvl1pPr>
              <a:lnSpc>
                <a:spcPct val="110000"/>
              </a:lnSpc>
              <a:spcBef>
                <a:spcPts val="0"/>
              </a:spcBef>
              <a:defRPr sz="1400">
                <a:solidFill>
                  <a:schemeClr val="tx1"/>
                </a:solidFill>
              </a:defRPr>
            </a:lvl1pPr>
            <a:lvl2pPr marL="127992" indent="-127992">
              <a:lnSpc>
                <a:spcPct val="110000"/>
              </a:lnSpc>
              <a:spcBef>
                <a:spcPts val="0"/>
              </a:spcBef>
              <a:defRPr sz="1400">
                <a:solidFill>
                  <a:schemeClr val="tx1"/>
                </a:solidFill>
              </a:defRPr>
            </a:lvl2pPr>
            <a:lvl3pPr marL="255984" indent="-127992">
              <a:lnSpc>
                <a:spcPct val="110000"/>
              </a:lnSpc>
              <a:spcBef>
                <a:spcPts val="0"/>
              </a:spcBef>
              <a:defRPr sz="1400">
                <a:solidFill>
                  <a:schemeClr val="tx1"/>
                </a:solidFill>
              </a:defRPr>
            </a:lvl3pPr>
            <a:lvl4pPr marL="383976" indent="-127992">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3047603" y="284958"/>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6093683" y="283465"/>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9142810" y="284958"/>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11767910" y="646942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84126" y="6402118"/>
            <a:ext cx="2477765" cy="190500"/>
          </a:xfrm>
        </p:spPr>
        <p:txBody>
          <a:bodyPr/>
          <a:lstStyle/>
          <a:p>
            <a:endParaRPr lang="en-US"/>
          </a:p>
        </p:txBody>
      </p:sp>
    </p:spTree>
    <p:extLst>
      <p:ext uri="{BB962C8B-B14F-4D97-AF65-F5344CB8AC3E}">
        <p14:creationId xmlns:p14="http://schemas.microsoft.com/office/powerpoint/2010/main" val="3348683947"/>
      </p:ext>
    </p:extLst>
  </p:cSld>
  <p:clrMapOvr>
    <a:masterClrMapping/>
  </p:clrMapOvr>
  <p:transition spd="med"/>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87999" y="288036"/>
            <a:ext cx="2474591" cy="1048544"/>
          </a:xfrm>
        </p:spPr>
        <p:txBody>
          <a:bodyPr/>
          <a:lstStyle>
            <a:lvl1pPr>
              <a:lnSpc>
                <a:spcPct val="110000"/>
              </a:lnSpc>
              <a:defRPr sz="12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87999" y="1714500"/>
            <a:ext cx="2477765" cy="2000251"/>
          </a:xfrm>
        </p:spPr>
        <p:txBody>
          <a:bodyPr/>
          <a:lstStyle>
            <a:lvl1pPr>
              <a:lnSpc>
                <a:spcPct val="100000"/>
              </a:lnSpc>
              <a:spcBef>
                <a:spcPts val="0"/>
              </a:spcBef>
              <a:defRPr sz="18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3333316" y="1714500"/>
            <a:ext cx="2475384" cy="4286251"/>
          </a:xfrm>
        </p:spPr>
        <p:txBody>
          <a:bodyPr/>
          <a:lstStyle>
            <a:lvl1pPr>
              <a:lnSpc>
                <a:spcPct val="110000"/>
              </a:lnSpc>
              <a:spcBef>
                <a:spcPts val="0"/>
              </a:spcBef>
              <a:defRPr sz="1200">
                <a:solidFill>
                  <a:schemeClr val="tx1"/>
                </a:solidFill>
              </a:defRPr>
            </a:lvl1pPr>
            <a:lvl2pPr marL="109708" indent="-109708">
              <a:lnSpc>
                <a:spcPct val="110000"/>
              </a:lnSpc>
              <a:spcBef>
                <a:spcPts val="0"/>
              </a:spcBef>
              <a:defRPr sz="1200">
                <a:solidFill>
                  <a:schemeClr val="tx1"/>
                </a:solidFill>
              </a:defRPr>
            </a:lvl2pPr>
            <a:lvl3pPr marL="219415" indent="-109708">
              <a:lnSpc>
                <a:spcPct val="110000"/>
              </a:lnSpc>
              <a:spcBef>
                <a:spcPts val="0"/>
              </a:spcBef>
              <a:defRPr sz="1200">
                <a:solidFill>
                  <a:schemeClr val="tx1"/>
                </a:solidFill>
              </a:defRPr>
            </a:lvl3pPr>
            <a:lvl4pPr marL="329122" indent="-109708">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6383184" y="1714500"/>
            <a:ext cx="2470739" cy="4286251"/>
          </a:xfrm>
        </p:spPr>
        <p:txBody>
          <a:bodyPr/>
          <a:lstStyle>
            <a:lvl1pPr>
              <a:lnSpc>
                <a:spcPct val="110000"/>
              </a:lnSpc>
              <a:spcBef>
                <a:spcPts val="0"/>
              </a:spcBef>
              <a:defRPr sz="1200">
                <a:solidFill>
                  <a:schemeClr val="tx1"/>
                </a:solidFill>
              </a:defRPr>
            </a:lvl1pPr>
            <a:lvl2pPr marL="109708" indent="-109708">
              <a:lnSpc>
                <a:spcPct val="110000"/>
              </a:lnSpc>
              <a:spcBef>
                <a:spcPts val="0"/>
              </a:spcBef>
              <a:defRPr sz="1200">
                <a:solidFill>
                  <a:schemeClr val="tx1"/>
                </a:solidFill>
              </a:defRPr>
            </a:lvl2pPr>
            <a:lvl3pPr marL="219415" indent="-109708">
              <a:lnSpc>
                <a:spcPct val="110000"/>
              </a:lnSpc>
              <a:spcBef>
                <a:spcPts val="0"/>
              </a:spcBef>
              <a:defRPr sz="1200">
                <a:solidFill>
                  <a:schemeClr val="tx1"/>
                </a:solidFill>
              </a:defRPr>
            </a:lvl3pPr>
            <a:lvl4pPr marL="329122" indent="-109708">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9428523" y="1714500"/>
            <a:ext cx="2476178" cy="4286251"/>
          </a:xfrm>
        </p:spPr>
        <p:txBody>
          <a:bodyPr/>
          <a:lstStyle>
            <a:lvl1pPr>
              <a:lnSpc>
                <a:spcPct val="110000"/>
              </a:lnSpc>
              <a:spcBef>
                <a:spcPts val="0"/>
              </a:spcBef>
              <a:defRPr sz="1200">
                <a:solidFill>
                  <a:schemeClr val="tx1"/>
                </a:solidFill>
              </a:defRPr>
            </a:lvl1pPr>
            <a:lvl2pPr marL="109708" indent="-109708">
              <a:lnSpc>
                <a:spcPct val="110000"/>
              </a:lnSpc>
              <a:spcBef>
                <a:spcPts val="0"/>
              </a:spcBef>
              <a:defRPr sz="1200">
                <a:solidFill>
                  <a:schemeClr val="tx1"/>
                </a:solidFill>
              </a:defRPr>
            </a:lvl2pPr>
            <a:lvl3pPr marL="219415" indent="-109708">
              <a:lnSpc>
                <a:spcPct val="110000"/>
              </a:lnSpc>
              <a:spcBef>
                <a:spcPts val="0"/>
              </a:spcBef>
              <a:defRPr sz="1200">
                <a:solidFill>
                  <a:schemeClr val="tx1"/>
                </a:solidFill>
              </a:defRPr>
            </a:lvl3pPr>
            <a:lvl4pPr marL="329122" indent="-109708">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3333316" y="288037"/>
            <a:ext cx="607997" cy="608076"/>
          </a:xfrm>
        </p:spPr>
        <p:txBody>
          <a:bodyPr anchor="ctr"/>
          <a:lstStyle>
            <a:lvl1pPr algn="ctr">
              <a:defRPr sz="800">
                <a:solidFill>
                  <a:schemeClr val="tx1"/>
                </a:solidFill>
              </a:defRPr>
            </a:lvl1pPr>
          </a:lstStyle>
          <a:p>
            <a:r>
              <a:rPr lang="en-US"/>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6387344" y="288037"/>
            <a:ext cx="607997" cy="608076"/>
          </a:xfrm>
        </p:spPr>
        <p:txBody>
          <a:bodyPr anchor="ctr"/>
          <a:lstStyle>
            <a:lvl1pPr algn="ctr">
              <a:defRPr sz="800">
                <a:solidFill>
                  <a:schemeClr val="tx1"/>
                </a:solidFill>
              </a:defRPr>
            </a:lvl1pPr>
          </a:lstStyle>
          <a:p>
            <a:r>
              <a:rPr lang="en-US"/>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9428523" y="288037"/>
            <a:ext cx="607997" cy="608076"/>
          </a:xfrm>
        </p:spPr>
        <p:txBody>
          <a:bodyPr anchor="ctr"/>
          <a:lstStyle>
            <a:lvl1pPr algn="ctr">
              <a:defRPr sz="800">
                <a:solidFill>
                  <a:schemeClr val="tx1"/>
                </a:solidFill>
              </a:defRPr>
            </a:lvl1pPr>
          </a:lstStyle>
          <a:p>
            <a:r>
              <a:rPr lang="en-US"/>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3047603" y="284958"/>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6093683" y="283465"/>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9142810" y="284958"/>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11767910" y="646942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60620248"/>
      </p:ext>
    </p:extLst>
  </p:cSld>
  <p:clrMapOvr>
    <a:masterClrMapping/>
  </p:clrMapOvr>
  <p:transition spd="med"/>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1" cy="570707"/>
          </a:xfrm>
        </p:spPr>
        <p:txBody>
          <a:bodyPr/>
          <a:lstStyle>
            <a:lvl1pPr>
              <a:lnSpc>
                <a:spcPct val="100000"/>
              </a:lnSpc>
              <a:defRPr sz="3199">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1"/>
          </a:xfrm>
        </p:spPr>
        <p:txBody>
          <a:bodyPr/>
          <a:lstStyle>
            <a:lvl1pPr>
              <a:spcBef>
                <a:spcPts val="0"/>
              </a:spcBef>
              <a:defRPr sz="1400" b="0" i="0">
                <a:solidFill>
                  <a:schemeClr val="tx1"/>
                </a:solidFill>
                <a:latin typeface="IBM Plex Sans Light" panose="020B0403050203000203" pitchFamily="34" charset="0"/>
              </a:defRPr>
            </a:lvl1pPr>
            <a:lvl2pPr marL="127992" indent="-127992">
              <a:spcBef>
                <a:spcPts val="0"/>
              </a:spcBef>
              <a:defRPr sz="1400" b="0" i="0">
                <a:solidFill>
                  <a:schemeClr val="tx1"/>
                </a:solidFill>
                <a:latin typeface="IBM Plex Sans Light" panose="020B0403050203000203" pitchFamily="34" charset="0"/>
              </a:defRPr>
            </a:lvl2pPr>
            <a:lvl3pPr marL="255984" indent="-127992">
              <a:spcBef>
                <a:spcPts val="0"/>
              </a:spcBef>
              <a:defRPr sz="1400" b="0" i="0">
                <a:solidFill>
                  <a:schemeClr val="tx1"/>
                </a:solidFill>
                <a:latin typeface="IBM Plex Sans Light" panose="020B0403050203000203" pitchFamily="34" charset="0"/>
              </a:defRPr>
            </a:lvl3pPr>
            <a:lvl4pPr marL="383976" indent="-127992">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20" y="1714500"/>
            <a:ext cx="5047593" cy="4286251"/>
          </a:xfrm>
        </p:spPr>
        <p:txBody>
          <a:bodyPr/>
          <a:lstStyle>
            <a:lvl1pPr>
              <a:spcBef>
                <a:spcPts val="0"/>
              </a:spcBef>
              <a:defRPr sz="1400" b="0" i="0">
                <a:solidFill>
                  <a:schemeClr val="tx1"/>
                </a:solidFill>
                <a:latin typeface="IBM Plex Sans Light" panose="020B0403050203000203" pitchFamily="34" charset="0"/>
              </a:defRPr>
            </a:lvl1pPr>
            <a:lvl2pPr marL="127992" indent="-127992">
              <a:spcBef>
                <a:spcPts val="0"/>
              </a:spcBef>
              <a:defRPr sz="1400" b="0" i="0">
                <a:solidFill>
                  <a:schemeClr val="tx1"/>
                </a:solidFill>
                <a:latin typeface="IBM Plex Sans Light" panose="020B0403050203000203" pitchFamily="34" charset="0"/>
              </a:defRPr>
            </a:lvl2pPr>
            <a:lvl3pPr marL="255984" indent="-127992">
              <a:spcBef>
                <a:spcPts val="0"/>
              </a:spcBef>
              <a:defRPr sz="1400" b="0" i="0">
                <a:solidFill>
                  <a:schemeClr val="tx1"/>
                </a:solidFill>
                <a:latin typeface="IBM Plex Sans Light" panose="020B0403050203000203" pitchFamily="34" charset="0"/>
              </a:defRPr>
            </a:lvl3pPr>
            <a:lvl4pPr marL="383976" indent="-127992">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2555" y="192024"/>
            <a:ext cx="2477765" cy="570707"/>
          </a:xfrm>
        </p:spPr>
        <p:txBody>
          <a:bodyPr/>
          <a:lstStyle>
            <a:lvl1pPr>
              <a:lnSpc>
                <a:spcPct val="100000"/>
              </a:lnSpc>
              <a:spcBef>
                <a:spcPts val="0"/>
              </a:spcBef>
              <a:defRPr sz="3199">
                <a:solidFill>
                  <a:schemeClr val="tx2"/>
                </a:solidFill>
              </a:defRPr>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11767910" y="646942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832909166"/>
      </p:ext>
    </p:extLst>
  </p:cSld>
  <p:clrMapOvr>
    <a:masterClrMapping/>
  </p:clrMapOvr>
  <p:transition spd="med"/>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87999" y="288037"/>
            <a:ext cx="3711980" cy="953295"/>
          </a:xfrm>
        </p:spPr>
        <p:txBody>
          <a:bodyPr/>
          <a:lstStyle>
            <a:lvl1pPr>
              <a:lnSpc>
                <a:spcPct val="110000"/>
              </a:lnSpc>
              <a:defRPr sz="18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88000" y="1714500"/>
            <a:ext cx="5049180" cy="428625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6380920" y="1714500"/>
            <a:ext cx="5047593" cy="4286251"/>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11767910" y="646942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356186902"/>
      </p:ext>
    </p:extLst>
  </p:cSld>
  <p:clrMapOvr>
    <a:masterClrMapping/>
  </p:clrMapOvr>
  <p:transition spd="med"/>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63" y="288036"/>
            <a:ext cx="2474590" cy="1997964"/>
          </a:xfrm>
        </p:spPr>
        <p:txBody>
          <a:bodyPr/>
          <a:lstStyle>
            <a:lvl1pPr>
              <a:lnSpc>
                <a:spcPct val="110000"/>
              </a:lnSpc>
              <a:defRPr sz="1400">
                <a:solidFill>
                  <a:schemeClr val="tx2"/>
                </a:solidFill>
              </a:defRPr>
            </a:lvl1pPr>
          </a:lstStyle>
          <a:p>
            <a:r>
              <a:rPr lang="en-US"/>
              <a:t>Click to edit Master title style</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3332774" y="288035"/>
            <a:ext cx="2477701" cy="247802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5"/>
            <a:ext cx="2477701" cy="247802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5"/>
            <a:ext cx="2473130" cy="247802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06DFE032-E717-840D-774E-AC6218CA01A8}"/>
              </a:ext>
            </a:extLst>
          </p:cNvPr>
          <p:cNvSpPr>
            <a:spLocks noGrp="1"/>
          </p:cNvSpPr>
          <p:nvPr>
            <p:ph type="ftr" sz="quarter" idx="22"/>
          </p:nvPr>
        </p:nvSpPr>
        <p:spPr>
          <a:xfrm>
            <a:off x="290474" y="6411643"/>
            <a:ext cx="2477765" cy="190500"/>
          </a:xfrm>
        </p:spPr>
        <p:txBody>
          <a:bodyPr/>
          <a:lstStyle/>
          <a:p>
            <a:endParaRPr lang="en-US"/>
          </a:p>
        </p:txBody>
      </p:sp>
      <p:sp>
        <p:nvSpPr>
          <p:cNvPr id="7" name="Slide Number">
            <a:extLst>
              <a:ext uri="{FF2B5EF4-FFF2-40B4-BE49-F238E27FC236}">
                <a16:creationId xmlns:a16="http://schemas.microsoft.com/office/drawing/2014/main" id="{219EFD5E-874A-DCAB-55D5-D376C79F2C67}"/>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6" name="Text Placeholder 10">
            <a:extLst>
              <a:ext uri="{FF2B5EF4-FFF2-40B4-BE49-F238E27FC236}">
                <a16:creationId xmlns:a16="http://schemas.microsoft.com/office/drawing/2014/main" id="{0813F20A-BEE4-B8A6-B7C6-A452A39FAD7F}"/>
              </a:ext>
            </a:extLst>
          </p:cNvPr>
          <p:cNvSpPr>
            <a:spLocks noGrp="1"/>
          </p:cNvSpPr>
          <p:nvPr>
            <p:ph type="body" sz="quarter" idx="12"/>
          </p:nvPr>
        </p:nvSpPr>
        <p:spPr>
          <a:xfrm>
            <a:off x="3332774" y="3336925"/>
            <a:ext cx="2477701" cy="247802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10">
            <a:extLst>
              <a:ext uri="{FF2B5EF4-FFF2-40B4-BE49-F238E27FC236}">
                <a16:creationId xmlns:a16="http://schemas.microsoft.com/office/drawing/2014/main" id="{150973AC-ED14-F5BF-FFA2-3AA73BE9F47C}"/>
              </a:ext>
            </a:extLst>
          </p:cNvPr>
          <p:cNvSpPr>
            <a:spLocks noGrp="1"/>
          </p:cNvSpPr>
          <p:nvPr>
            <p:ph type="body" sz="quarter" idx="13"/>
          </p:nvPr>
        </p:nvSpPr>
        <p:spPr>
          <a:xfrm>
            <a:off x="6380919" y="3336925"/>
            <a:ext cx="2477701" cy="247802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10">
            <a:extLst>
              <a:ext uri="{FF2B5EF4-FFF2-40B4-BE49-F238E27FC236}">
                <a16:creationId xmlns:a16="http://schemas.microsoft.com/office/drawing/2014/main" id="{BE127C12-10BF-D35C-4112-2B9F89481529}"/>
              </a:ext>
            </a:extLst>
          </p:cNvPr>
          <p:cNvSpPr>
            <a:spLocks noGrp="1"/>
          </p:cNvSpPr>
          <p:nvPr>
            <p:ph type="body" sz="quarter" idx="14"/>
          </p:nvPr>
        </p:nvSpPr>
        <p:spPr>
          <a:xfrm>
            <a:off x="9428522" y="3336925"/>
            <a:ext cx="2473130" cy="247802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027869108"/>
      </p:ext>
    </p:extLst>
  </p:cSld>
  <p:clrMapOvr>
    <a:masterClrMapping/>
  </p:clrMapOvr>
  <p:transition spd="med"/>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1_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8001" y="192026"/>
            <a:ext cx="5522193" cy="2286795"/>
          </a:xfrm>
        </p:spPr>
        <p:txBody>
          <a:bodyPr rIns="457200"/>
          <a:lstStyle>
            <a:lvl1pPr>
              <a:lnSpc>
                <a:spcPct val="100000"/>
              </a:lnSpc>
              <a:defRPr>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18" y="288038"/>
            <a:ext cx="2476179" cy="5715795"/>
          </a:xfrm>
        </p:spPr>
        <p:txBody>
          <a:bodyPr/>
          <a:lstStyle>
            <a:lvl1pPr>
              <a:spcBef>
                <a:spcPts val="0"/>
              </a:spcBef>
              <a:defRPr sz="1400">
                <a:solidFill>
                  <a:schemeClr val="tx1"/>
                </a:solidFill>
              </a:defRPr>
            </a:lvl1pPr>
            <a:lvl2pPr marL="127968" indent="-127968">
              <a:spcBef>
                <a:spcPts val="0"/>
              </a:spcBef>
              <a:defRPr sz="1400">
                <a:solidFill>
                  <a:schemeClr val="tx1"/>
                </a:solidFill>
              </a:defRPr>
            </a:lvl2pPr>
            <a:lvl3pPr marL="255936" indent="-127968">
              <a:spcBef>
                <a:spcPts val="0"/>
              </a:spcBef>
              <a:defRPr sz="1400">
                <a:solidFill>
                  <a:schemeClr val="tx1"/>
                </a:solidFill>
              </a:defRPr>
            </a:lvl3pPr>
            <a:lvl4pPr marL="383904" indent="-127968">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3" y="288038"/>
            <a:ext cx="2476179" cy="5715795"/>
          </a:xfrm>
        </p:spPr>
        <p:txBody>
          <a:bodyPr/>
          <a:lstStyle>
            <a:lvl1pPr>
              <a:spcBef>
                <a:spcPts val="0"/>
              </a:spcBef>
              <a:defRPr sz="1400">
                <a:solidFill>
                  <a:schemeClr val="tx1"/>
                </a:solidFill>
              </a:defRPr>
            </a:lvl1pPr>
            <a:lvl2pPr marL="127968" indent="-127968">
              <a:spcBef>
                <a:spcPts val="0"/>
              </a:spcBef>
              <a:defRPr sz="1400">
                <a:solidFill>
                  <a:schemeClr val="tx1"/>
                </a:solidFill>
              </a:defRPr>
            </a:lvl2pPr>
            <a:lvl3pPr marL="255936" indent="-127968">
              <a:spcBef>
                <a:spcPts val="0"/>
              </a:spcBef>
              <a:defRPr sz="1400">
                <a:solidFill>
                  <a:schemeClr val="tx1"/>
                </a:solidFill>
              </a:defRPr>
            </a:lvl3pPr>
            <a:lvl4pPr marL="383904" indent="-127968">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11767911" y="6469422"/>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147348569"/>
      </p:ext>
    </p:extLst>
  </p:cSld>
  <p:clrMapOvr>
    <a:masterClrMapping/>
  </p:clrMapOvr>
  <p:transition spd="med"/>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1_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8" y="288038"/>
            <a:ext cx="2476179" cy="2286795"/>
          </a:xfrm>
        </p:spPr>
        <p:txBody>
          <a:bodyPr/>
          <a:lstStyle>
            <a:lvl1pPr>
              <a:lnSpc>
                <a:spcPct val="100000"/>
              </a:lnSpc>
              <a:defRPr sz="18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18" y="284958"/>
            <a:ext cx="2476179" cy="5715795"/>
          </a:xfrm>
        </p:spPr>
        <p:txBody>
          <a:bodyPr/>
          <a:lstStyle>
            <a:lvl1pPr>
              <a:spcBef>
                <a:spcPts val="0"/>
              </a:spcBef>
              <a:defRPr sz="1400">
                <a:solidFill>
                  <a:schemeClr val="tx1"/>
                </a:solidFill>
              </a:defRPr>
            </a:lvl1pPr>
            <a:lvl2pPr marL="127968" indent="-127968">
              <a:spcBef>
                <a:spcPts val="0"/>
              </a:spcBef>
              <a:defRPr sz="1400">
                <a:solidFill>
                  <a:schemeClr val="tx1"/>
                </a:solidFill>
              </a:defRPr>
            </a:lvl2pPr>
            <a:lvl3pPr marL="255936" indent="-127968">
              <a:spcBef>
                <a:spcPts val="0"/>
              </a:spcBef>
              <a:defRPr sz="1400">
                <a:solidFill>
                  <a:schemeClr val="tx1"/>
                </a:solidFill>
              </a:defRPr>
            </a:lvl3pPr>
            <a:lvl4pPr marL="383904" indent="-127968">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3" y="284958"/>
            <a:ext cx="2476179" cy="5715795"/>
          </a:xfrm>
        </p:spPr>
        <p:txBody>
          <a:bodyPr/>
          <a:lstStyle>
            <a:lvl1pPr>
              <a:spcBef>
                <a:spcPts val="0"/>
              </a:spcBef>
              <a:defRPr sz="1400">
                <a:solidFill>
                  <a:schemeClr val="tx1"/>
                </a:solidFill>
              </a:defRPr>
            </a:lvl1pPr>
            <a:lvl2pPr marL="127968" indent="-127968">
              <a:spcBef>
                <a:spcPts val="0"/>
              </a:spcBef>
              <a:defRPr sz="1400">
                <a:solidFill>
                  <a:schemeClr val="tx1"/>
                </a:solidFill>
              </a:defRPr>
            </a:lvl2pPr>
            <a:lvl3pPr marL="255936" indent="-127968">
              <a:spcBef>
                <a:spcPts val="0"/>
              </a:spcBef>
              <a:defRPr sz="1400">
                <a:solidFill>
                  <a:schemeClr val="tx1"/>
                </a:solidFill>
              </a:defRPr>
            </a:lvl3pPr>
            <a:lvl4pPr marL="383904" indent="-127968">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11767911" y="6469422"/>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157464631"/>
      </p:ext>
    </p:extLst>
  </p:cSld>
  <p:clrMapOvr>
    <a:masterClrMapping/>
  </p:clrMapOvr>
  <p:transition spd="med"/>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1_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8001" y="192026"/>
            <a:ext cx="5519020" cy="2286795"/>
          </a:xfrm>
        </p:spPr>
        <p:txBody>
          <a:bodyPr rIns="457200"/>
          <a:lstStyle>
            <a:lvl1pPr>
              <a:lnSpc>
                <a:spcPct val="100000"/>
              </a:lnSpc>
              <a:defRPr>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18" y="288038"/>
            <a:ext cx="2476179" cy="762795"/>
          </a:xfrm>
        </p:spPr>
        <p:txBody>
          <a:bodyPr/>
          <a:lstStyle>
            <a:lvl1pPr>
              <a:lnSpc>
                <a:spcPct val="110000"/>
              </a:lnSpc>
              <a:spcBef>
                <a:spcPts val="0"/>
              </a:spcBef>
              <a:defRPr sz="1400">
                <a:solidFill>
                  <a:schemeClr val="tx1"/>
                </a:solidFill>
              </a:defRPr>
            </a:lvl1pPr>
            <a:lvl2pPr marL="127968" indent="-127968">
              <a:lnSpc>
                <a:spcPct val="110000"/>
              </a:lnSpc>
              <a:spcBef>
                <a:spcPts val="0"/>
              </a:spcBef>
              <a:defRPr sz="1400">
                <a:solidFill>
                  <a:schemeClr val="tx1"/>
                </a:solidFill>
              </a:defRPr>
            </a:lvl2pPr>
            <a:lvl3pPr marL="255936" indent="-127968">
              <a:lnSpc>
                <a:spcPct val="110000"/>
              </a:lnSpc>
              <a:spcBef>
                <a:spcPts val="0"/>
              </a:spcBef>
              <a:defRPr sz="1400">
                <a:solidFill>
                  <a:schemeClr val="tx1"/>
                </a:solidFill>
              </a:defRPr>
            </a:lvl3pPr>
            <a:lvl4pPr marL="383904" indent="-127968">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3" y="288038"/>
            <a:ext cx="2479352" cy="762795"/>
          </a:xfrm>
        </p:spPr>
        <p:txBody>
          <a:bodyPr/>
          <a:lstStyle>
            <a:lvl1pPr>
              <a:lnSpc>
                <a:spcPct val="110000"/>
              </a:lnSpc>
              <a:spcBef>
                <a:spcPts val="0"/>
              </a:spcBef>
              <a:defRPr sz="1400">
                <a:solidFill>
                  <a:schemeClr val="tx1"/>
                </a:solidFill>
              </a:defRPr>
            </a:lvl1pPr>
            <a:lvl2pPr marL="127968" indent="-127968">
              <a:lnSpc>
                <a:spcPct val="110000"/>
              </a:lnSpc>
              <a:spcBef>
                <a:spcPts val="0"/>
              </a:spcBef>
              <a:defRPr sz="1400">
                <a:solidFill>
                  <a:schemeClr val="tx1"/>
                </a:solidFill>
              </a:defRPr>
            </a:lvl2pPr>
            <a:lvl3pPr marL="255936" indent="-127968">
              <a:lnSpc>
                <a:spcPct val="110000"/>
              </a:lnSpc>
              <a:spcBef>
                <a:spcPts val="0"/>
              </a:spcBef>
              <a:defRPr sz="1400">
                <a:solidFill>
                  <a:schemeClr val="tx1"/>
                </a:solidFill>
              </a:defRPr>
            </a:lvl3pPr>
            <a:lvl4pPr marL="383904" indent="-127968">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18" y="1714502"/>
            <a:ext cx="2476179"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06" indent="-91406">
              <a:lnSpc>
                <a:spcPct val="110000"/>
              </a:lnSpc>
              <a:spcBef>
                <a:spcPts val="0"/>
              </a:spcBef>
              <a:defRPr sz="1000" b="0" i="0">
                <a:solidFill>
                  <a:schemeClr val="tx1"/>
                </a:solidFill>
                <a:latin typeface="IBM Plex Sans" panose="020B0503050203000203" pitchFamily="34" charset="0"/>
              </a:defRPr>
            </a:lvl2pPr>
            <a:lvl3pPr marL="182812" indent="-91406">
              <a:lnSpc>
                <a:spcPct val="110000"/>
              </a:lnSpc>
              <a:spcBef>
                <a:spcPts val="0"/>
              </a:spcBef>
              <a:defRPr sz="1000" b="0" i="0">
                <a:solidFill>
                  <a:schemeClr val="tx1"/>
                </a:solidFill>
                <a:latin typeface="IBM Plex Sans" panose="020B0503050203000203" pitchFamily="34" charset="0"/>
              </a:defRPr>
            </a:lvl3pPr>
            <a:lvl4pPr marL="274218" indent="-91406">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0109" y="1714502"/>
            <a:ext cx="2476179"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06" indent="-91406">
              <a:lnSpc>
                <a:spcPct val="110000"/>
              </a:lnSpc>
              <a:spcBef>
                <a:spcPts val="0"/>
              </a:spcBef>
              <a:defRPr sz="1000" b="0" i="0">
                <a:solidFill>
                  <a:schemeClr val="tx1"/>
                </a:solidFill>
                <a:latin typeface="IBM Plex Sans" panose="020B0503050203000203" pitchFamily="34" charset="0"/>
              </a:defRPr>
            </a:lvl2pPr>
            <a:lvl3pPr marL="182812" indent="-91406">
              <a:lnSpc>
                <a:spcPct val="110000"/>
              </a:lnSpc>
              <a:spcBef>
                <a:spcPts val="0"/>
              </a:spcBef>
              <a:defRPr sz="1000" b="0" i="0">
                <a:solidFill>
                  <a:schemeClr val="tx1"/>
                </a:solidFill>
                <a:latin typeface="IBM Plex Sans" panose="020B0503050203000203" pitchFamily="34" charset="0"/>
              </a:defRPr>
            </a:lvl3pPr>
            <a:lvl4pPr marL="274218" indent="-91406">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11767911" y="6469422"/>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746328276"/>
      </p:ext>
    </p:extLst>
  </p:cSld>
  <p:clrMapOvr>
    <a:masterClrMapping/>
  </p:clrMapOvr>
  <p:transition spd="med"/>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1_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8000" y="288038"/>
            <a:ext cx="2474591" cy="2286795"/>
          </a:xfrm>
        </p:spPr>
        <p:txBody>
          <a:bodyPr rIns="0"/>
          <a:lstStyle>
            <a:lvl1pPr>
              <a:lnSpc>
                <a:spcPct val="100000"/>
              </a:lnSpc>
              <a:defRPr sz="1400">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18" y="288038"/>
            <a:ext cx="2476179" cy="762795"/>
          </a:xfrm>
        </p:spPr>
        <p:txBody>
          <a:bodyPr/>
          <a:lstStyle>
            <a:lvl1pPr>
              <a:lnSpc>
                <a:spcPct val="110000"/>
              </a:lnSpc>
              <a:spcBef>
                <a:spcPts val="0"/>
              </a:spcBef>
              <a:defRPr sz="1400">
                <a:solidFill>
                  <a:schemeClr val="tx1"/>
                </a:solidFill>
              </a:defRPr>
            </a:lvl1pPr>
            <a:lvl2pPr marL="127968" indent="-127968">
              <a:lnSpc>
                <a:spcPct val="110000"/>
              </a:lnSpc>
              <a:spcBef>
                <a:spcPts val="0"/>
              </a:spcBef>
              <a:defRPr sz="1400">
                <a:solidFill>
                  <a:schemeClr val="tx1"/>
                </a:solidFill>
              </a:defRPr>
            </a:lvl2pPr>
            <a:lvl3pPr marL="255936" indent="-127968">
              <a:lnSpc>
                <a:spcPct val="110000"/>
              </a:lnSpc>
              <a:spcBef>
                <a:spcPts val="0"/>
              </a:spcBef>
              <a:defRPr sz="1400">
                <a:solidFill>
                  <a:schemeClr val="tx1"/>
                </a:solidFill>
              </a:defRPr>
            </a:lvl3pPr>
            <a:lvl4pPr marL="383904" indent="-127968">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3" y="288038"/>
            <a:ext cx="2479352" cy="762795"/>
          </a:xfrm>
        </p:spPr>
        <p:txBody>
          <a:bodyPr/>
          <a:lstStyle>
            <a:lvl1pPr>
              <a:lnSpc>
                <a:spcPct val="110000"/>
              </a:lnSpc>
              <a:spcBef>
                <a:spcPts val="0"/>
              </a:spcBef>
              <a:defRPr sz="1400">
                <a:solidFill>
                  <a:schemeClr val="tx1"/>
                </a:solidFill>
              </a:defRPr>
            </a:lvl1pPr>
            <a:lvl2pPr marL="127968" indent="-127968">
              <a:lnSpc>
                <a:spcPct val="110000"/>
              </a:lnSpc>
              <a:spcBef>
                <a:spcPts val="0"/>
              </a:spcBef>
              <a:defRPr sz="1400">
                <a:solidFill>
                  <a:schemeClr val="tx1"/>
                </a:solidFill>
              </a:defRPr>
            </a:lvl2pPr>
            <a:lvl3pPr marL="255936" indent="-127968">
              <a:lnSpc>
                <a:spcPct val="110000"/>
              </a:lnSpc>
              <a:spcBef>
                <a:spcPts val="0"/>
              </a:spcBef>
              <a:defRPr sz="1400">
                <a:solidFill>
                  <a:schemeClr val="tx1"/>
                </a:solidFill>
              </a:defRPr>
            </a:lvl3pPr>
            <a:lvl4pPr marL="383904" indent="-127968">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18" y="1714502"/>
            <a:ext cx="2476179"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06" indent="-91406">
              <a:lnSpc>
                <a:spcPct val="110000"/>
              </a:lnSpc>
              <a:spcBef>
                <a:spcPts val="0"/>
              </a:spcBef>
              <a:defRPr sz="1000" b="0" i="0">
                <a:solidFill>
                  <a:schemeClr val="tx1"/>
                </a:solidFill>
                <a:latin typeface="IBM Plex Sans" panose="020B0503050203000203" pitchFamily="34" charset="0"/>
              </a:defRPr>
            </a:lvl2pPr>
            <a:lvl3pPr marL="182812" indent="-91406">
              <a:lnSpc>
                <a:spcPct val="110000"/>
              </a:lnSpc>
              <a:spcBef>
                <a:spcPts val="0"/>
              </a:spcBef>
              <a:defRPr sz="1000" b="0" i="0">
                <a:solidFill>
                  <a:schemeClr val="tx1"/>
                </a:solidFill>
                <a:latin typeface="IBM Plex Sans" panose="020B0503050203000203" pitchFamily="34" charset="0"/>
              </a:defRPr>
            </a:lvl3pPr>
            <a:lvl4pPr marL="274218" indent="-91406">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1697" y="1714502"/>
            <a:ext cx="2476179"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06" indent="-91406">
              <a:lnSpc>
                <a:spcPct val="110000"/>
              </a:lnSpc>
              <a:spcBef>
                <a:spcPts val="0"/>
              </a:spcBef>
              <a:defRPr sz="1000" b="0" i="0">
                <a:solidFill>
                  <a:schemeClr val="tx1"/>
                </a:solidFill>
                <a:latin typeface="IBM Plex Sans" panose="020B0503050203000203" pitchFamily="34" charset="0"/>
              </a:defRPr>
            </a:lvl2pPr>
            <a:lvl3pPr marL="182812" indent="-91406">
              <a:lnSpc>
                <a:spcPct val="110000"/>
              </a:lnSpc>
              <a:spcBef>
                <a:spcPts val="0"/>
              </a:spcBef>
              <a:defRPr sz="1000" b="0" i="0">
                <a:solidFill>
                  <a:schemeClr val="tx1"/>
                </a:solidFill>
                <a:latin typeface="IBM Plex Sans" panose="020B0503050203000203" pitchFamily="34" charset="0"/>
              </a:defRPr>
            </a:lvl3pPr>
            <a:lvl4pPr marL="274218" indent="-91406">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11767911" y="6469422"/>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608891852"/>
      </p:ext>
    </p:extLst>
  </p:cSld>
  <p:clrMapOvr>
    <a:masterClrMapping/>
  </p:clrMapOvr>
  <p:transition spd="med"/>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1_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8000" y="192026"/>
            <a:ext cx="2474591" cy="570707"/>
          </a:xfrm>
        </p:spPr>
        <p:txBody>
          <a:bodyPr/>
          <a:lstStyle>
            <a:lvl1pPr>
              <a:lnSpc>
                <a:spcPct val="100000"/>
              </a:lnSpc>
              <a:defRPr sz="3198">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2"/>
            <a:ext cx="2475384" cy="4286251"/>
          </a:xfrm>
        </p:spPr>
        <p:txBody>
          <a:bodyPr/>
          <a:lstStyle>
            <a:lvl1pPr>
              <a:spcBef>
                <a:spcPts val="0"/>
              </a:spcBef>
              <a:defRPr sz="1400" b="0" i="0">
                <a:solidFill>
                  <a:schemeClr val="tx1"/>
                </a:solidFill>
                <a:latin typeface="IBM Plex Sans Light" panose="020B0403050203000203" pitchFamily="34" charset="0"/>
              </a:defRPr>
            </a:lvl1pPr>
            <a:lvl2pPr marL="127968" indent="-127968">
              <a:spcBef>
                <a:spcPts val="0"/>
              </a:spcBef>
              <a:defRPr sz="1400" b="0" i="0">
                <a:solidFill>
                  <a:schemeClr val="tx1"/>
                </a:solidFill>
                <a:latin typeface="IBM Plex Sans Light" panose="020B0403050203000203" pitchFamily="34" charset="0"/>
              </a:defRPr>
            </a:lvl2pPr>
            <a:lvl3pPr marL="255936" indent="-127968">
              <a:spcBef>
                <a:spcPts val="0"/>
              </a:spcBef>
              <a:defRPr sz="1400" b="0" i="0">
                <a:solidFill>
                  <a:schemeClr val="tx1"/>
                </a:solidFill>
                <a:latin typeface="IBM Plex Sans Light" panose="020B0403050203000203" pitchFamily="34" charset="0"/>
              </a:defRPr>
            </a:lvl3pPr>
            <a:lvl4pPr marL="383904" indent="-127968">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2988" y="1714502"/>
            <a:ext cx="2476179" cy="4286251"/>
          </a:xfrm>
        </p:spPr>
        <p:txBody>
          <a:bodyPr/>
          <a:lstStyle>
            <a:lvl1pPr>
              <a:spcBef>
                <a:spcPts val="0"/>
              </a:spcBef>
              <a:defRPr sz="1000" b="0" i="0">
                <a:solidFill>
                  <a:schemeClr val="tx1"/>
                </a:solidFill>
                <a:latin typeface="IBM Plex Sans" panose="020B0503050203000203" pitchFamily="34" charset="0"/>
              </a:defRPr>
            </a:lvl1pPr>
            <a:lvl2pPr marL="91406" indent="-91406">
              <a:spcBef>
                <a:spcPts val="0"/>
              </a:spcBef>
              <a:defRPr sz="1000" b="0" i="0">
                <a:solidFill>
                  <a:schemeClr val="tx1"/>
                </a:solidFill>
                <a:latin typeface="IBM Plex Sans" panose="020B0503050203000203" pitchFamily="34" charset="0"/>
              </a:defRPr>
            </a:lvl2pPr>
            <a:lvl3pPr marL="182812" indent="-91406">
              <a:spcBef>
                <a:spcPts val="0"/>
              </a:spcBef>
              <a:defRPr sz="1000" b="0" i="0">
                <a:solidFill>
                  <a:schemeClr val="tx1"/>
                </a:solidFill>
                <a:latin typeface="IBM Plex Sans" panose="020B0503050203000203" pitchFamily="34" charset="0"/>
              </a:defRPr>
            </a:lvl3pPr>
            <a:lvl4pPr marL="274218" indent="-91406">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30591" y="1714502"/>
            <a:ext cx="2479352" cy="4286251"/>
          </a:xfrm>
        </p:spPr>
        <p:txBody>
          <a:bodyPr/>
          <a:lstStyle>
            <a:lvl1pPr>
              <a:spcBef>
                <a:spcPts val="0"/>
              </a:spcBef>
              <a:defRPr sz="1000" b="0" i="0">
                <a:solidFill>
                  <a:schemeClr val="tx1"/>
                </a:solidFill>
                <a:latin typeface="IBM Plex Sans" panose="020B0503050203000203" pitchFamily="34" charset="0"/>
              </a:defRPr>
            </a:lvl1pPr>
            <a:lvl2pPr marL="91406" indent="-91406">
              <a:spcBef>
                <a:spcPts val="0"/>
              </a:spcBef>
              <a:defRPr sz="1000" b="0" i="0">
                <a:solidFill>
                  <a:schemeClr val="tx1"/>
                </a:solidFill>
                <a:latin typeface="IBM Plex Sans" panose="020B0503050203000203" pitchFamily="34" charset="0"/>
              </a:defRPr>
            </a:lvl2pPr>
            <a:lvl3pPr marL="182812" indent="-91406">
              <a:spcBef>
                <a:spcPts val="0"/>
              </a:spcBef>
              <a:defRPr sz="1000" b="0" i="0">
                <a:solidFill>
                  <a:schemeClr val="tx1"/>
                </a:solidFill>
                <a:latin typeface="IBM Plex Sans" panose="020B0503050203000203" pitchFamily="34" charset="0"/>
              </a:defRPr>
            </a:lvl3pPr>
            <a:lvl4pPr marL="274218" indent="-91406">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4143" y="192026"/>
            <a:ext cx="2477765" cy="570707"/>
          </a:xfrm>
        </p:spPr>
        <p:txBody>
          <a:bodyPr/>
          <a:lstStyle>
            <a:lvl1pPr>
              <a:lnSpc>
                <a:spcPct val="100000"/>
              </a:lnSpc>
              <a:spcBef>
                <a:spcPts val="0"/>
              </a:spcBef>
              <a:defRPr sz="3198">
                <a:solidFill>
                  <a:schemeClr val="tx2"/>
                </a:solidFill>
              </a:defRPr>
            </a:lvl1pPr>
            <a:lvl2pPr>
              <a:lnSpc>
                <a:spcPct val="90000"/>
              </a:lnSpc>
              <a:spcBef>
                <a:spcPts val="0"/>
              </a:spcBef>
              <a:defRPr sz="1400"/>
            </a:lvl2pPr>
            <a:lvl3pPr>
              <a:lnSpc>
                <a:spcPct val="90000"/>
              </a:lnSpc>
              <a:spcBef>
                <a:spcPts val="0"/>
              </a:spcBef>
              <a:defRPr sz="1400"/>
            </a:lvl3pPr>
            <a:lvl4pPr>
              <a:lnSpc>
                <a:spcPct val="90000"/>
              </a:lnSpc>
              <a:spcBef>
                <a:spcPts val="0"/>
              </a:spcBef>
              <a:defRPr sz="1400"/>
            </a:lvl4pPr>
            <a:lvl5pPr>
              <a:lnSpc>
                <a:spcPct val="90000"/>
              </a:lnSpc>
              <a:spcBef>
                <a:spcPts val="0"/>
              </a:spcBef>
              <a:defRPr sz="14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6380921" y="288038"/>
            <a:ext cx="607997" cy="607231"/>
          </a:xfrm>
        </p:spPr>
        <p:txBody>
          <a:bodyPr anchor="ctr"/>
          <a:lstStyle>
            <a:lvl1pPr algn="ctr">
              <a:defRPr sz="800">
                <a:solidFill>
                  <a:schemeClr val="tx1"/>
                </a:solidFill>
              </a:defRPr>
            </a:lvl1pPr>
          </a:lstStyle>
          <a:p>
            <a:r>
              <a:rPr lang="en-US"/>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9428524" y="288038"/>
            <a:ext cx="608843" cy="608076"/>
          </a:xfrm>
        </p:spPr>
        <p:txBody>
          <a:bodyPr anchor="ctr"/>
          <a:lstStyle>
            <a:lvl1pPr algn="ctr">
              <a:defRPr sz="800">
                <a:solidFill>
                  <a:schemeClr val="tx1"/>
                </a:solidFill>
              </a:defRPr>
            </a:lvl1pPr>
          </a:lstStyle>
          <a:p>
            <a:r>
              <a:rPr lang="en-US"/>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6093683" y="284958"/>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9142811" y="284958"/>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11767911" y="6469422"/>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565584646"/>
      </p:ext>
    </p:extLst>
  </p:cSld>
  <p:clrMapOvr>
    <a:masterClrMapping/>
  </p:clrMapOvr>
  <p:transition spd="med"/>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1_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88000" y="1239012"/>
            <a:ext cx="3334903" cy="1524000"/>
          </a:xfrm>
        </p:spPr>
        <p:txBody>
          <a:bodyPr/>
          <a:lstStyle>
            <a:lvl1pPr>
              <a:lnSpc>
                <a:spcPct val="100000"/>
              </a:lnSpc>
              <a:spcBef>
                <a:spcPts val="0"/>
              </a:spcBef>
              <a:defRPr sz="2200">
                <a:solidFill>
                  <a:schemeClr val="tx1"/>
                </a:solidFill>
              </a:defRPr>
            </a:lvl1pPr>
            <a:lvl2pPr marL="201093" indent="-201093">
              <a:lnSpc>
                <a:spcPct val="100000"/>
              </a:lnSpc>
              <a:spcBef>
                <a:spcPts val="0"/>
              </a:spcBef>
              <a:defRPr sz="2200">
                <a:solidFill>
                  <a:schemeClr val="tx1"/>
                </a:solidFill>
              </a:defRPr>
            </a:lvl2pPr>
            <a:lvl3pPr marL="402186" indent="-201093">
              <a:lnSpc>
                <a:spcPct val="100000"/>
              </a:lnSpc>
              <a:spcBef>
                <a:spcPts val="0"/>
              </a:spcBef>
              <a:defRPr sz="2200">
                <a:solidFill>
                  <a:schemeClr val="tx1"/>
                </a:solidFill>
              </a:defRPr>
            </a:lvl3pPr>
            <a:lvl4pPr marL="557574" indent="-201093">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6380919" y="1238251"/>
            <a:ext cx="3333316" cy="1524000"/>
          </a:xfrm>
        </p:spPr>
        <p:txBody>
          <a:bodyPr/>
          <a:lstStyle>
            <a:lvl1pPr>
              <a:lnSpc>
                <a:spcPct val="100000"/>
              </a:lnSpc>
              <a:spcBef>
                <a:spcPts val="0"/>
              </a:spcBef>
              <a:defRPr sz="2200">
                <a:solidFill>
                  <a:schemeClr val="tx1"/>
                </a:solidFill>
              </a:defRPr>
            </a:lvl1pPr>
            <a:lvl2pPr marL="201093" indent="-201093">
              <a:lnSpc>
                <a:spcPct val="100000"/>
              </a:lnSpc>
              <a:spcBef>
                <a:spcPts val="0"/>
              </a:spcBef>
              <a:defRPr sz="2200">
                <a:solidFill>
                  <a:schemeClr val="tx1"/>
                </a:solidFill>
              </a:defRPr>
            </a:lvl2pPr>
            <a:lvl3pPr marL="402186" indent="-201093">
              <a:lnSpc>
                <a:spcPct val="100000"/>
              </a:lnSpc>
              <a:spcBef>
                <a:spcPts val="0"/>
              </a:spcBef>
              <a:defRPr sz="2200">
                <a:solidFill>
                  <a:schemeClr val="tx1"/>
                </a:solidFill>
              </a:defRPr>
            </a:lvl3pPr>
            <a:lvl4pPr marL="557574" indent="-201093">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87999" y="4192524"/>
            <a:ext cx="3334904" cy="1524000"/>
          </a:xfrm>
        </p:spPr>
        <p:txBody>
          <a:bodyPr/>
          <a:lstStyle>
            <a:lvl1pPr>
              <a:lnSpc>
                <a:spcPct val="100000"/>
              </a:lnSpc>
              <a:spcBef>
                <a:spcPts val="0"/>
              </a:spcBef>
              <a:defRPr sz="2200">
                <a:solidFill>
                  <a:schemeClr val="tx1"/>
                </a:solidFill>
              </a:defRPr>
            </a:lvl1pPr>
            <a:lvl2pPr marL="201093" indent="-201093">
              <a:lnSpc>
                <a:spcPct val="100000"/>
              </a:lnSpc>
              <a:spcBef>
                <a:spcPts val="0"/>
              </a:spcBef>
              <a:defRPr sz="2200">
                <a:solidFill>
                  <a:schemeClr val="tx1"/>
                </a:solidFill>
              </a:defRPr>
            </a:lvl2pPr>
            <a:lvl3pPr marL="402186" indent="-201093">
              <a:lnSpc>
                <a:spcPct val="100000"/>
              </a:lnSpc>
              <a:spcBef>
                <a:spcPts val="0"/>
              </a:spcBef>
              <a:defRPr sz="2200">
                <a:solidFill>
                  <a:schemeClr val="tx1"/>
                </a:solidFill>
              </a:defRPr>
            </a:lvl3pPr>
            <a:lvl4pPr marL="557574" indent="-201093">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6380922" y="4191000"/>
            <a:ext cx="3333316" cy="1524000"/>
          </a:xfrm>
        </p:spPr>
        <p:txBody>
          <a:bodyPr/>
          <a:lstStyle>
            <a:lvl1pPr>
              <a:lnSpc>
                <a:spcPct val="100000"/>
              </a:lnSpc>
              <a:spcBef>
                <a:spcPts val="0"/>
              </a:spcBef>
              <a:defRPr sz="2200">
                <a:solidFill>
                  <a:schemeClr val="tx1"/>
                </a:solidFill>
              </a:defRPr>
            </a:lvl1pPr>
            <a:lvl2pPr marL="201093" indent="-201093">
              <a:lnSpc>
                <a:spcPct val="100000"/>
              </a:lnSpc>
              <a:spcBef>
                <a:spcPts val="0"/>
              </a:spcBef>
              <a:defRPr sz="2200">
                <a:solidFill>
                  <a:schemeClr val="tx1"/>
                </a:solidFill>
              </a:defRPr>
            </a:lvl2pPr>
            <a:lvl3pPr marL="402186" indent="-201093">
              <a:lnSpc>
                <a:spcPct val="100000"/>
              </a:lnSpc>
              <a:spcBef>
                <a:spcPts val="0"/>
              </a:spcBef>
              <a:defRPr sz="2200">
                <a:solidFill>
                  <a:schemeClr val="tx1"/>
                </a:solidFill>
              </a:defRPr>
            </a:lvl3pPr>
            <a:lvl4pPr marL="557574" indent="-201093">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88000" y="288038"/>
            <a:ext cx="607997" cy="608076"/>
          </a:xfrm>
        </p:spPr>
        <p:txBody>
          <a:bodyPr anchor="ctr"/>
          <a:lstStyle>
            <a:lvl1pPr algn="ctr">
              <a:defRPr sz="800"/>
            </a:lvl1pPr>
          </a:lstStyle>
          <a:p>
            <a:r>
              <a:rPr lang="en-US"/>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6380921" y="288038"/>
            <a:ext cx="607997" cy="608076"/>
          </a:xfrm>
        </p:spPr>
        <p:txBody>
          <a:bodyPr anchor="ctr"/>
          <a:lstStyle>
            <a:lvl1pPr algn="ctr">
              <a:defRPr sz="800"/>
            </a:lvl1pPr>
          </a:lstStyle>
          <a:p>
            <a:r>
              <a:rPr lang="en-US"/>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88000" y="3236978"/>
            <a:ext cx="607997" cy="608076"/>
          </a:xfrm>
        </p:spPr>
        <p:txBody>
          <a:bodyPr anchor="ctr"/>
          <a:lstStyle>
            <a:lvl1pPr algn="ctr">
              <a:defRPr sz="800"/>
            </a:lvl1pPr>
          </a:lstStyle>
          <a:p>
            <a:r>
              <a:rPr lang="en-US"/>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6380921" y="3238502"/>
            <a:ext cx="607997" cy="608076"/>
          </a:xfrm>
        </p:spPr>
        <p:txBody>
          <a:bodyPr anchor="ctr"/>
          <a:lstStyle>
            <a:lvl1pPr algn="ctr">
              <a:defRPr sz="800"/>
            </a:lvl1pPr>
          </a:lstStyle>
          <a:p>
            <a:r>
              <a:rPr lang="en-US"/>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6095207" y="284958"/>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284127" y="3048000"/>
            <a:ext cx="116205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11767911" y="6469422"/>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885429199"/>
      </p:ext>
    </p:extLst>
  </p:cSld>
  <p:clrMapOvr>
    <a:masterClrMapping/>
  </p:clrMapOvr>
  <p:transition spd="med"/>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1_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8" y="841250"/>
            <a:ext cx="2857128" cy="1138428"/>
          </a:xfrm>
        </p:spPr>
        <p:txBody>
          <a:bodyPr/>
          <a:lstStyle>
            <a:lvl1pPr>
              <a:lnSpc>
                <a:spcPct val="110000"/>
              </a:lnSpc>
              <a:defRPr sz="1800">
                <a:solidFill>
                  <a:schemeClr val="tx2"/>
                </a:solidFill>
              </a:defRPr>
            </a:lvl1pPr>
          </a:lstStyle>
          <a:p>
            <a:r>
              <a:rPr lang="en-US"/>
              <a:t>Click to edit Master title style</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1681" y="288036"/>
            <a:ext cx="2476179"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68" indent="-127968">
              <a:lnSpc>
                <a:spcPct val="110000"/>
              </a:lnSpc>
              <a:spcBef>
                <a:spcPts val="0"/>
              </a:spcBef>
              <a:defRPr sz="1400" b="0" i="0">
                <a:solidFill>
                  <a:schemeClr val="tx1"/>
                </a:solidFill>
                <a:latin typeface="IBM Plex Sans Light" panose="020B0403050203000203" pitchFamily="34" charset="0"/>
              </a:defRPr>
            </a:lvl2pPr>
            <a:lvl3pPr marL="255936" indent="-127968">
              <a:lnSpc>
                <a:spcPct val="110000"/>
              </a:lnSpc>
              <a:spcBef>
                <a:spcPts val="0"/>
              </a:spcBef>
              <a:defRPr sz="1400" b="0" i="0">
                <a:solidFill>
                  <a:schemeClr val="tx1"/>
                </a:solidFill>
                <a:latin typeface="IBM Plex Sans Light" panose="020B0403050203000203" pitchFamily="34" charset="0"/>
              </a:defRPr>
            </a:lvl3pPr>
            <a:lvl4pPr marL="383904" indent="-127968">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3" y="28803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68" indent="-127968">
              <a:lnSpc>
                <a:spcPct val="110000"/>
              </a:lnSpc>
              <a:spcBef>
                <a:spcPts val="0"/>
              </a:spcBef>
              <a:defRPr sz="1400" b="0" i="0">
                <a:solidFill>
                  <a:schemeClr val="tx1"/>
                </a:solidFill>
                <a:latin typeface="IBM Plex Sans Light" panose="020B0403050203000203" pitchFamily="34" charset="0"/>
              </a:defRPr>
            </a:lvl2pPr>
            <a:lvl3pPr marL="255936" indent="-127968">
              <a:lnSpc>
                <a:spcPct val="110000"/>
              </a:lnSpc>
              <a:spcBef>
                <a:spcPts val="0"/>
              </a:spcBef>
              <a:defRPr sz="1400" b="0" i="0">
                <a:solidFill>
                  <a:schemeClr val="tx1"/>
                </a:solidFill>
                <a:latin typeface="IBM Plex Sans Light" panose="020B0403050203000203" pitchFamily="34" charset="0"/>
              </a:defRPr>
            </a:lvl3pPr>
            <a:lvl4pPr marL="383904" indent="-127968">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8" y="3333753"/>
            <a:ext cx="2476179"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68" indent="-127968">
              <a:lnSpc>
                <a:spcPct val="110000"/>
              </a:lnSpc>
              <a:spcBef>
                <a:spcPts val="0"/>
              </a:spcBef>
              <a:defRPr sz="1400" b="0" i="0">
                <a:solidFill>
                  <a:schemeClr val="tx1"/>
                </a:solidFill>
                <a:latin typeface="IBM Plex Sans Light" panose="020B0403050203000203" pitchFamily="34" charset="0"/>
              </a:defRPr>
            </a:lvl2pPr>
            <a:lvl3pPr marL="255936" indent="-127968">
              <a:lnSpc>
                <a:spcPct val="110000"/>
              </a:lnSpc>
              <a:spcBef>
                <a:spcPts val="0"/>
              </a:spcBef>
              <a:defRPr sz="1400" b="0" i="0">
                <a:solidFill>
                  <a:schemeClr val="tx1"/>
                </a:solidFill>
                <a:latin typeface="IBM Plex Sans Light" panose="020B0403050203000203" pitchFamily="34" charset="0"/>
              </a:defRPr>
            </a:lvl3pPr>
            <a:lvl4pPr marL="383904" indent="-127968">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3" y="3333753"/>
            <a:ext cx="2476179"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68" indent="-127968">
              <a:lnSpc>
                <a:spcPct val="110000"/>
              </a:lnSpc>
              <a:spcBef>
                <a:spcPts val="0"/>
              </a:spcBef>
              <a:defRPr sz="1400" b="0" i="0">
                <a:solidFill>
                  <a:schemeClr val="tx1"/>
                </a:solidFill>
                <a:latin typeface="IBM Plex Sans Light" panose="020B0403050203000203" pitchFamily="34" charset="0"/>
              </a:defRPr>
            </a:lvl2pPr>
            <a:lvl3pPr marL="255936" indent="-127968">
              <a:lnSpc>
                <a:spcPct val="110000"/>
              </a:lnSpc>
              <a:spcBef>
                <a:spcPts val="0"/>
              </a:spcBef>
              <a:defRPr sz="1400" b="0" i="0">
                <a:solidFill>
                  <a:schemeClr val="tx1"/>
                </a:solidFill>
                <a:latin typeface="IBM Plex Sans Light" panose="020B0403050203000203" pitchFamily="34" charset="0"/>
              </a:defRPr>
            </a:lvl3pPr>
            <a:lvl4pPr marL="383904" indent="-127968">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8000" y="288038"/>
            <a:ext cx="2477765" cy="570707"/>
          </a:xfrm>
        </p:spPr>
        <p:txBody>
          <a:bodyPr/>
          <a:lstStyle>
            <a:lvl1pPr>
              <a:defRPr sz="14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11767911" y="6469422"/>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408712356"/>
      </p:ext>
    </p:extLst>
  </p:cSld>
  <p:clrMapOvr>
    <a:masterClrMapping/>
  </p:clrMapOvr>
  <p:transition spd="med"/>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3_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763526"/>
            <a:ext cx="5521400" cy="1138428"/>
          </a:xfrm>
        </p:spPr>
        <p:txBody>
          <a:bodyPr rIns="457200"/>
          <a:lstStyle>
            <a:lvl1pPr>
              <a:lnSpc>
                <a:spcPct val="110000"/>
              </a:lnSpc>
              <a:defRPr sz="3198">
                <a:solidFill>
                  <a:schemeClr val="tx2"/>
                </a:solidFill>
              </a:defRPr>
            </a:lvl1pPr>
          </a:lstStyle>
          <a:p>
            <a:r>
              <a:rPr lang="en-US"/>
              <a:t>Click to edit Master title style</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8" y="284956"/>
            <a:ext cx="2476179"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68" indent="-127968">
              <a:lnSpc>
                <a:spcPct val="110000"/>
              </a:lnSpc>
              <a:spcBef>
                <a:spcPts val="0"/>
              </a:spcBef>
              <a:defRPr sz="1400" b="0" i="0">
                <a:solidFill>
                  <a:schemeClr val="tx1"/>
                </a:solidFill>
                <a:latin typeface="IBM Plex Sans Light" panose="020B0403050203000203" pitchFamily="34" charset="0"/>
              </a:defRPr>
            </a:lvl2pPr>
            <a:lvl3pPr marL="255936" indent="-127968">
              <a:lnSpc>
                <a:spcPct val="110000"/>
              </a:lnSpc>
              <a:spcBef>
                <a:spcPts val="0"/>
              </a:spcBef>
              <a:defRPr sz="1400" b="0" i="0">
                <a:solidFill>
                  <a:schemeClr val="tx1"/>
                </a:solidFill>
                <a:latin typeface="IBM Plex Sans Light" panose="020B0403050203000203" pitchFamily="34" charset="0"/>
              </a:defRPr>
            </a:lvl3pPr>
            <a:lvl4pPr marL="383904" indent="-127968">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3" y="28495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68" indent="-127968">
              <a:lnSpc>
                <a:spcPct val="110000"/>
              </a:lnSpc>
              <a:spcBef>
                <a:spcPts val="0"/>
              </a:spcBef>
              <a:defRPr sz="1400" b="0" i="0">
                <a:solidFill>
                  <a:schemeClr val="tx1"/>
                </a:solidFill>
                <a:latin typeface="IBM Plex Sans Light" panose="020B0403050203000203" pitchFamily="34" charset="0"/>
              </a:defRPr>
            </a:lvl2pPr>
            <a:lvl3pPr marL="255936" indent="-127968">
              <a:lnSpc>
                <a:spcPct val="110000"/>
              </a:lnSpc>
              <a:spcBef>
                <a:spcPts val="0"/>
              </a:spcBef>
              <a:defRPr sz="1400" b="0" i="0">
                <a:solidFill>
                  <a:schemeClr val="tx1"/>
                </a:solidFill>
                <a:latin typeface="IBM Plex Sans Light" panose="020B0403050203000203" pitchFamily="34" charset="0"/>
              </a:defRPr>
            </a:lvl3pPr>
            <a:lvl4pPr marL="383904" indent="-127968">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8" y="3333753"/>
            <a:ext cx="2476179"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68" indent="-127968">
              <a:lnSpc>
                <a:spcPct val="110000"/>
              </a:lnSpc>
              <a:spcBef>
                <a:spcPts val="0"/>
              </a:spcBef>
              <a:defRPr sz="1400" b="0" i="0">
                <a:solidFill>
                  <a:schemeClr val="tx1"/>
                </a:solidFill>
                <a:latin typeface="IBM Plex Sans Light" panose="020B0403050203000203" pitchFamily="34" charset="0"/>
              </a:defRPr>
            </a:lvl2pPr>
            <a:lvl3pPr marL="255936" indent="-127968">
              <a:lnSpc>
                <a:spcPct val="110000"/>
              </a:lnSpc>
              <a:spcBef>
                <a:spcPts val="0"/>
              </a:spcBef>
              <a:defRPr sz="1400" b="0" i="0">
                <a:solidFill>
                  <a:schemeClr val="tx1"/>
                </a:solidFill>
                <a:latin typeface="IBM Plex Sans Light" panose="020B0403050203000203" pitchFamily="34" charset="0"/>
              </a:defRPr>
            </a:lvl3pPr>
            <a:lvl4pPr marL="383904" indent="-127968">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3" y="3333753"/>
            <a:ext cx="2476179"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68" indent="-127968">
              <a:lnSpc>
                <a:spcPct val="110000"/>
              </a:lnSpc>
              <a:spcBef>
                <a:spcPts val="0"/>
              </a:spcBef>
              <a:defRPr sz="1400" b="0" i="0">
                <a:solidFill>
                  <a:schemeClr val="tx1"/>
                </a:solidFill>
                <a:latin typeface="IBM Plex Sans Light" panose="020B0403050203000203" pitchFamily="34" charset="0"/>
              </a:defRPr>
            </a:lvl2pPr>
            <a:lvl3pPr marL="255936" indent="-127968">
              <a:lnSpc>
                <a:spcPct val="110000"/>
              </a:lnSpc>
              <a:spcBef>
                <a:spcPts val="0"/>
              </a:spcBef>
              <a:defRPr sz="1400" b="0" i="0">
                <a:solidFill>
                  <a:schemeClr val="tx1"/>
                </a:solidFill>
                <a:latin typeface="IBM Plex Sans Light" panose="020B0403050203000203" pitchFamily="34" charset="0"/>
              </a:defRPr>
            </a:lvl3pPr>
            <a:lvl4pPr marL="383904" indent="-127968">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8000" y="288038"/>
            <a:ext cx="2477765" cy="224028"/>
          </a:xfrm>
        </p:spPr>
        <p:txBody>
          <a:bodyPr/>
          <a:lstStyle>
            <a:lvl1pPr>
              <a:defRPr sz="14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11767911" y="6469422"/>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003852505"/>
      </p:ext>
    </p:extLst>
  </p:cSld>
  <p:clrMapOvr>
    <a:masterClrMapping/>
  </p:clrMapOvr>
  <p:transition spd="med"/>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5_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8000" y="288038"/>
            <a:ext cx="2477765" cy="2286795"/>
          </a:xfrm>
        </p:spPr>
        <p:txBody>
          <a:bodyPr/>
          <a:lstStyle>
            <a:lvl1pPr>
              <a:lnSpc>
                <a:spcPct val="100000"/>
              </a:lnSpc>
              <a:defRPr sz="1400">
                <a:solidFill>
                  <a:schemeClr val="tx2"/>
                </a:solidFill>
              </a:defRPr>
            </a:lvl1pPr>
          </a:lstStyle>
          <a:p>
            <a:r>
              <a:rPr lang="en-US"/>
              <a:t>Click to edit Master title style</a:t>
            </a:r>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8000" y="3328418"/>
            <a:ext cx="2474591" cy="2672459"/>
          </a:xfrm>
        </p:spPr>
        <p:txBody>
          <a:bodyPr/>
          <a:lstStyle>
            <a:lvl1pPr>
              <a:spcBef>
                <a:spcPts val="0"/>
              </a:spcBef>
              <a:defRPr sz="1400">
                <a:solidFill>
                  <a:schemeClr val="tx1"/>
                </a:solidFill>
              </a:defRPr>
            </a:lvl1pPr>
            <a:lvl2pPr marL="127968" indent="-127968">
              <a:spcBef>
                <a:spcPts val="0"/>
              </a:spcBef>
              <a:defRPr sz="1400">
                <a:solidFill>
                  <a:schemeClr val="tx1"/>
                </a:solidFill>
              </a:defRPr>
            </a:lvl2pPr>
            <a:lvl3pPr marL="255936" indent="-127968">
              <a:spcBef>
                <a:spcPts val="0"/>
              </a:spcBef>
              <a:defRPr sz="1400">
                <a:solidFill>
                  <a:schemeClr val="tx1"/>
                </a:solidFill>
              </a:defRPr>
            </a:lvl3pPr>
            <a:lvl4pPr marL="383904" indent="-127968">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1189" y="3333752"/>
            <a:ext cx="2474591" cy="2672459"/>
          </a:xfrm>
        </p:spPr>
        <p:txBody>
          <a:bodyPr/>
          <a:lstStyle>
            <a:lvl1pPr>
              <a:spcBef>
                <a:spcPts val="0"/>
              </a:spcBef>
              <a:defRPr sz="1400">
                <a:solidFill>
                  <a:schemeClr val="tx1"/>
                </a:solidFill>
              </a:defRPr>
            </a:lvl1pPr>
            <a:lvl2pPr marL="127968" indent="-127968">
              <a:spcBef>
                <a:spcPts val="0"/>
              </a:spcBef>
              <a:defRPr sz="1400">
                <a:solidFill>
                  <a:schemeClr val="tx1"/>
                </a:solidFill>
              </a:defRPr>
            </a:lvl2pPr>
            <a:lvl3pPr marL="255936" indent="-127968">
              <a:spcBef>
                <a:spcPts val="0"/>
              </a:spcBef>
              <a:defRPr sz="1400">
                <a:solidFill>
                  <a:schemeClr val="tx1"/>
                </a:solidFill>
              </a:defRPr>
            </a:lvl3pPr>
            <a:lvl4pPr marL="383904" indent="-127968">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51" y="3333752"/>
            <a:ext cx="2474591" cy="2672459"/>
          </a:xfrm>
        </p:spPr>
        <p:txBody>
          <a:bodyPr/>
          <a:lstStyle>
            <a:lvl1pPr>
              <a:spcBef>
                <a:spcPts val="0"/>
              </a:spcBef>
              <a:defRPr sz="1400">
                <a:solidFill>
                  <a:schemeClr val="tx1"/>
                </a:solidFill>
              </a:defRPr>
            </a:lvl1pPr>
            <a:lvl2pPr marL="127968" indent="-127968">
              <a:spcBef>
                <a:spcPts val="0"/>
              </a:spcBef>
              <a:defRPr sz="1400">
                <a:solidFill>
                  <a:schemeClr val="tx1"/>
                </a:solidFill>
              </a:defRPr>
            </a:lvl2pPr>
            <a:lvl3pPr marL="255936" indent="-127968">
              <a:spcBef>
                <a:spcPts val="0"/>
              </a:spcBef>
              <a:defRPr sz="1400">
                <a:solidFill>
                  <a:schemeClr val="tx1"/>
                </a:solidFill>
              </a:defRPr>
            </a:lvl3pPr>
            <a:lvl4pPr marL="383904" indent="-127968">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5" y="3333752"/>
            <a:ext cx="2474591" cy="2672459"/>
          </a:xfrm>
        </p:spPr>
        <p:txBody>
          <a:bodyPr/>
          <a:lstStyle>
            <a:lvl1pPr>
              <a:spcBef>
                <a:spcPts val="0"/>
              </a:spcBef>
              <a:defRPr sz="1400">
                <a:solidFill>
                  <a:schemeClr val="tx1"/>
                </a:solidFill>
              </a:defRPr>
            </a:lvl1pPr>
            <a:lvl2pPr marL="127968" indent="-127968">
              <a:spcBef>
                <a:spcPts val="0"/>
              </a:spcBef>
              <a:defRPr sz="1400">
                <a:solidFill>
                  <a:schemeClr val="tx1"/>
                </a:solidFill>
              </a:defRPr>
            </a:lvl2pPr>
            <a:lvl3pPr marL="255936" indent="-127968">
              <a:spcBef>
                <a:spcPts val="0"/>
              </a:spcBef>
              <a:defRPr sz="1400">
                <a:solidFill>
                  <a:schemeClr val="tx1"/>
                </a:solidFill>
              </a:defRPr>
            </a:lvl3pPr>
            <a:lvl4pPr marL="383904" indent="-127968">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11767911" y="6469422"/>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445927517"/>
      </p:ext>
    </p:extLst>
  </p:cSld>
  <p:clrMapOvr>
    <a:masterClrMapping/>
  </p:clrMapOvr>
  <p:transition spd="med"/>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1_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8000" y="192026"/>
            <a:ext cx="5524575" cy="2286795"/>
          </a:xfrm>
        </p:spPr>
        <p:txBody>
          <a:bodyPr rIns="457200"/>
          <a:lstStyle>
            <a:lvl1pPr>
              <a:lnSpc>
                <a:spcPct val="100000"/>
              </a:lnSpc>
              <a:defRPr>
                <a:solidFill>
                  <a:schemeClr val="tx2"/>
                </a:solidFill>
              </a:defRPr>
            </a:lvl1pPr>
          </a:lstStyle>
          <a:p>
            <a:r>
              <a:rPr lang="en-US"/>
              <a:t>Click to edit Master title style</a:t>
            </a:r>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8000" y="3328418"/>
            <a:ext cx="2474591" cy="2672459"/>
          </a:xfrm>
        </p:spPr>
        <p:txBody>
          <a:bodyPr/>
          <a:lstStyle>
            <a:lvl1pPr>
              <a:spcBef>
                <a:spcPts val="0"/>
              </a:spcBef>
              <a:defRPr sz="1400">
                <a:solidFill>
                  <a:schemeClr val="tx1"/>
                </a:solidFill>
              </a:defRPr>
            </a:lvl1pPr>
            <a:lvl2pPr marL="127968" indent="-127968">
              <a:spcBef>
                <a:spcPts val="0"/>
              </a:spcBef>
              <a:defRPr sz="1400">
                <a:solidFill>
                  <a:schemeClr val="tx1"/>
                </a:solidFill>
              </a:defRPr>
            </a:lvl2pPr>
            <a:lvl3pPr marL="255936" indent="-127968">
              <a:spcBef>
                <a:spcPts val="0"/>
              </a:spcBef>
              <a:defRPr sz="1400">
                <a:solidFill>
                  <a:schemeClr val="tx1"/>
                </a:solidFill>
              </a:defRPr>
            </a:lvl3pPr>
            <a:lvl4pPr marL="383904" indent="-127968">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4363" y="3333752"/>
            <a:ext cx="2474591" cy="2672459"/>
          </a:xfrm>
        </p:spPr>
        <p:txBody>
          <a:bodyPr/>
          <a:lstStyle>
            <a:lvl1pPr>
              <a:spcBef>
                <a:spcPts val="0"/>
              </a:spcBef>
              <a:defRPr sz="1400">
                <a:solidFill>
                  <a:schemeClr val="tx1"/>
                </a:solidFill>
              </a:defRPr>
            </a:lvl1pPr>
            <a:lvl2pPr marL="127968" indent="-127968">
              <a:spcBef>
                <a:spcPts val="0"/>
              </a:spcBef>
              <a:defRPr sz="1400">
                <a:solidFill>
                  <a:schemeClr val="tx1"/>
                </a:solidFill>
              </a:defRPr>
            </a:lvl2pPr>
            <a:lvl3pPr marL="255936" indent="-127968">
              <a:spcBef>
                <a:spcPts val="0"/>
              </a:spcBef>
              <a:defRPr sz="1400">
                <a:solidFill>
                  <a:schemeClr val="tx1"/>
                </a:solidFill>
              </a:defRPr>
            </a:lvl3pPr>
            <a:lvl4pPr marL="383904" indent="-127968">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51" y="3333752"/>
            <a:ext cx="2474591" cy="2672459"/>
          </a:xfrm>
        </p:spPr>
        <p:txBody>
          <a:bodyPr/>
          <a:lstStyle>
            <a:lvl1pPr>
              <a:spcBef>
                <a:spcPts val="0"/>
              </a:spcBef>
              <a:defRPr sz="1400">
                <a:solidFill>
                  <a:schemeClr val="tx1"/>
                </a:solidFill>
              </a:defRPr>
            </a:lvl1pPr>
            <a:lvl2pPr marL="127968" indent="-127968">
              <a:spcBef>
                <a:spcPts val="0"/>
              </a:spcBef>
              <a:defRPr sz="1400">
                <a:solidFill>
                  <a:schemeClr val="tx1"/>
                </a:solidFill>
              </a:defRPr>
            </a:lvl2pPr>
            <a:lvl3pPr marL="255936" indent="-127968">
              <a:spcBef>
                <a:spcPts val="0"/>
              </a:spcBef>
              <a:defRPr sz="1400">
                <a:solidFill>
                  <a:schemeClr val="tx1"/>
                </a:solidFill>
              </a:defRPr>
            </a:lvl3pPr>
            <a:lvl4pPr marL="383904" indent="-127968">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5" y="3333752"/>
            <a:ext cx="2474591" cy="2672459"/>
          </a:xfrm>
        </p:spPr>
        <p:txBody>
          <a:bodyPr/>
          <a:lstStyle>
            <a:lvl1pPr>
              <a:spcBef>
                <a:spcPts val="0"/>
              </a:spcBef>
              <a:defRPr sz="1400">
                <a:solidFill>
                  <a:schemeClr val="tx1"/>
                </a:solidFill>
              </a:defRPr>
            </a:lvl1pPr>
            <a:lvl2pPr marL="127968" indent="-127968">
              <a:spcBef>
                <a:spcPts val="0"/>
              </a:spcBef>
              <a:defRPr sz="1400">
                <a:solidFill>
                  <a:schemeClr val="tx1"/>
                </a:solidFill>
              </a:defRPr>
            </a:lvl2pPr>
            <a:lvl3pPr marL="255936" indent="-127968">
              <a:spcBef>
                <a:spcPts val="0"/>
              </a:spcBef>
              <a:defRPr sz="1400">
                <a:solidFill>
                  <a:schemeClr val="tx1"/>
                </a:solidFill>
              </a:defRPr>
            </a:lvl3pPr>
            <a:lvl4pPr marL="383904" indent="-127968">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7911" y="6469422"/>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047577919"/>
      </p:ext>
    </p:extLst>
  </p:cSld>
  <p:clrMapOvr>
    <a:masterClrMapping/>
  </p:clrMapOvr>
  <p:transition spd="med"/>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87963" y="288036"/>
            <a:ext cx="2474590" cy="1997964"/>
          </a:xfrm>
        </p:spPr>
        <p:txBody>
          <a:bodyPr/>
          <a:lstStyle>
            <a:lvl1pPr>
              <a:lnSpc>
                <a:spcPct val="110000"/>
              </a:lnSpc>
              <a:defRPr sz="1400">
                <a:solidFill>
                  <a:schemeClr val="tx2"/>
                </a:solidFill>
              </a:defRPr>
            </a:lvl1pPr>
          </a:lstStyle>
          <a:p>
            <a:r>
              <a:rPr lang="en-US"/>
              <a:t>Click to edit Master title style</a:t>
            </a:r>
          </a:p>
        </p:txBody>
      </p:sp>
      <p:sp>
        <p:nvSpPr>
          <p:cNvPr id="16" name="Picture Placeholder 15" descr="Place icon here">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3333316" y="288036"/>
            <a:ext cx="201142" cy="201613"/>
          </a:xfrm>
        </p:spPr>
        <p:txBody>
          <a:bodyPr/>
          <a:lstStyle>
            <a:lvl1pPr>
              <a:defRPr sz="700">
                <a:solidFill>
                  <a:schemeClr val="tx1"/>
                </a:solidFill>
              </a:defRPr>
            </a:lvl1pPr>
          </a:lstStyle>
          <a:p>
            <a:r>
              <a:rPr lang="en-US"/>
              <a:t>Icon</a:t>
            </a:r>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3333316" y="762000"/>
            <a:ext cx="2477701" cy="1999551"/>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Picture Placeholder 15" descr="Place icon here">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6389168" y="288036"/>
            <a:ext cx="201142" cy="201613"/>
          </a:xfrm>
        </p:spPr>
        <p:txBody>
          <a:bodyPr/>
          <a:lstStyle>
            <a:lvl1pPr>
              <a:defRPr sz="700">
                <a:solidFill>
                  <a:schemeClr val="tx1"/>
                </a:solidFill>
              </a:defRPr>
            </a:lvl1pPr>
          </a:lstStyle>
          <a:p>
            <a:r>
              <a:rPr lang="en-US"/>
              <a:t>Icon</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6389168" y="762000"/>
            <a:ext cx="2476178" cy="1999551"/>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Picture Placeholder 15" descr="Place icon here">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9428523" y="288036"/>
            <a:ext cx="201142" cy="201613"/>
          </a:xfrm>
        </p:spPr>
        <p:txBody>
          <a:bodyPr/>
          <a:lstStyle>
            <a:lvl1pPr>
              <a:defRPr sz="700">
                <a:solidFill>
                  <a:schemeClr val="tx1"/>
                </a:solidFill>
              </a:defRPr>
            </a:lvl1pPr>
          </a:lstStyle>
          <a:p>
            <a:r>
              <a:rPr lang="en-US"/>
              <a:t>Icon</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9428523" y="761999"/>
            <a:ext cx="2473130" cy="19995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3" name="Straight Connector 22" descr="Horizontal row divider">
            <a:extLst>
              <a:ext uri="{FF2B5EF4-FFF2-40B4-BE49-F238E27FC236}">
                <a16:creationId xmlns:a16="http://schemas.microsoft.com/office/drawing/2014/main" id="{252CDB94-BA57-B58F-95F0-D406FE34BB40}"/>
              </a:ext>
              <a:ext uri="{C183D7F6-B498-43B3-948B-1728B52AA6E4}">
                <adec:decorative xmlns:adec="http://schemas.microsoft.com/office/drawing/2017/decorative" val="0"/>
              </a:ext>
            </a:extLst>
          </p:cNvPr>
          <p:cNvCxnSpPr>
            <a:cxnSpLocks/>
          </p:cNvCxnSpPr>
          <p:nvPr userDrawn="1"/>
        </p:nvCxnSpPr>
        <p:spPr bwMode="auto">
          <a:xfrm>
            <a:off x="3047603" y="3048000"/>
            <a:ext cx="886027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Picture Placeholder 15" descr="Place icon here">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3333316" y="3347315"/>
            <a:ext cx="201142" cy="201613"/>
          </a:xfrm>
        </p:spPr>
        <p:txBody>
          <a:bodyPr/>
          <a:lstStyle>
            <a:lvl1pPr>
              <a:defRPr sz="700">
                <a:solidFill>
                  <a:schemeClr val="tx1"/>
                </a:solidFill>
              </a:defRPr>
            </a:lvl1pPr>
          </a:lstStyle>
          <a:p>
            <a:r>
              <a:rPr lang="en-US"/>
              <a:t>Icon</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3333316" y="3811797"/>
            <a:ext cx="2477701" cy="1999148"/>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Picture Placeholder 15" descr="Place icon here">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6389168" y="3347315"/>
            <a:ext cx="201142" cy="201613"/>
          </a:xfrm>
        </p:spPr>
        <p:txBody>
          <a:bodyPr/>
          <a:lstStyle>
            <a:lvl1pPr>
              <a:defRPr sz="700">
                <a:solidFill>
                  <a:schemeClr val="tx1"/>
                </a:solidFill>
              </a:defRPr>
            </a:lvl1pPr>
          </a:lstStyle>
          <a:p>
            <a:r>
              <a:rPr lang="en-US"/>
              <a:t>Icon</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6389168" y="3811797"/>
            <a:ext cx="2477701" cy="1999146"/>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15" descr="Place icon here">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9428523" y="3347315"/>
            <a:ext cx="201142" cy="201613"/>
          </a:xfrm>
        </p:spPr>
        <p:txBody>
          <a:bodyPr/>
          <a:lstStyle>
            <a:lvl1pPr>
              <a:defRPr sz="700">
                <a:solidFill>
                  <a:schemeClr val="tx1"/>
                </a:solidFill>
              </a:defRPr>
            </a:lvl1pPr>
          </a:lstStyle>
          <a:p>
            <a:r>
              <a:rPr lang="en-US"/>
              <a:t>Icon</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9428523" y="3811797"/>
            <a:ext cx="2473130" cy="1999144"/>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56C9A7FC-6BA2-EF1D-18D5-F605D8C7C003}"/>
              </a:ext>
            </a:extLst>
          </p:cNvPr>
          <p:cNvSpPr>
            <a:spLocks noGrp="1"/>
          </p:cNvSpPr>
          <p:nvPr>
            <p:ph type="ftr" sz="quarter" idx="23"/>
          </p:nvPr>
        </p:nvSpPr>
        <p:spPr>
          <a:xfrm>
            <a:off x="287963" y="6408000"/>
            <a:ext cx="2477765" cy="190500"/>
          </a:xfrm>
        </p:spPr>
        <p:txBody>
          <a:bodyPr/>
          <a:lstStyle/>
          <a:p>
            <a:endParaRPr lang="en-US"/>
          </a:p>
        </p:txBody>
      </p:sp>
      <p:sp>
        <p:nvSpPr>
          <p:cNvPr id="12" name="Slide Number">
            <a:extLst>
              <a:ext uri="{FF2B5EF4-FFF2-40B4-BE49-F238E27FC236}">
                <a16:creationId xmlns:a16="http://schemas.microsoft.com/office/drawing/2014/main" id="{C0294F07-890E-B2F9-0CAD-1B5AFB7648AB}"/>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cxnSp>
        <p:nvCxnSpPr>
          <p:cNvPr id="4" name="Straight Connector 3" descr="Vertical column divider">
            <a:extLst>
              <a:ext uri="{FF2B5EF4-FFF2-40B4-BE49-F238E27FC236}">
                <a16:creationId xmlns:a16="http://schemas.microsoft.com/office/drawing/2014/main" id="{0E795639-6102-AB6C-5918-29F86236BFD2}"/>
              </a:ext>
            </a:extLst>
          </p:cNvPr>
          <p:cNvCxnSpPr>
            <a:cxnSpLocks/>
          </p:cNvCxnSpPr>
          <p:nvPr userDrawn="1"/>
        </p:nvCxnSpPr>
        <p:spPr bwMode="auto">
          <a:xfrm>
            <a:off x="3047603" y="285051"/>
            <a:ext cx="0" cy="581104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descr="Vertical column divider">
            <a:extLst>
              <a:ext uri="{FF2B5EF4-FFF2-40B4-BE49-F238E27FC236}">
                <a16:creationId xmlns:a16="http://schemas.microsoft.com/office/drawing/2014/main" id="{357E5319-53C7-E291-189E-B5A9A71EC85F}"/>
              </a:ext>
            </a:extLst>
          </p:cNvPr>
          <p:cNvCxnSpPr>
            <a:cxnSpLocks/>
          </p:cNvCxnSpPr>
          <p:nvPr userDrawn="1"/>
        </p:nvCxnSpPr>
        <p:spPr bwMode="auto">
          <a:xfrm>
            <a:off x="6095270" y="285051"/>
            <a:ext cx="0" cy="5812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descr="Vertical column divider">
            <a:extLst>
              <a:ext uri="{FF2B5EF4-FFF2-40B4-BE49-F238E27FC236}">
                <a16:creationId xmlns:a16="http://schemas.microsoft.com/office/drawing/2014/main" id="{C5786CF5-FEFB-F111-90C8-4410630FD7A3}"/>
              </a:ext>
            </a:extLst>
          </p:cNvPr>
          <p:cNvCxnSpPr>
            <a:cxnSpLocks/>
          </p:cNvCxnSpPr>
          <p:nvPr userDrawn="1"/>
        </p:nvCxnSpPr>
        <p:spPr bwMode="auto">
          <a:xfrm>
            <a:off x="9142810" y="285051"/>
            <a:ext cx="0" cy="581104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036456546"/>
      </p:ext>
    </p:extLst>
  </p:cSld>
  <p:clrMapOvr>
    <a:masterClrMapping/>
  </p:clrMapOvr>
  <p:transition spd="med"/>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4_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8000" y="288038"/>
            <a:ext cx="2474591" cy="2286795"/>
          </a:xfrm>
        </p:spPr>
        <p:txBody>
          <a:bodyPr/>
          <a:lstStyle>
            <a:lvl1pPr>
              <a:lnSpc>
                <a:spcPct val="110000"/>
              </a:lnSpc>
              <a:defRPr sz="1400">
                <a:solidFill>
                  <a:schemeClr val="tx2"/>
                </a:solidFill>
              </a:defRPr>
            </a:lvl1pPr>
          </a:lstStyle>
          <a:p>
            <a:r>
              <a:rPr lang="en-US"/>
              <a:t>Click to edit Master title style</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8" y="288036"/>
            <a:ext cx="2476179"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68" indent="-127968">
              <a:lnSpc>
                <a:spcPct val="110000"/>
              </a:lnSpc>
              <a:spcBef>
                <a:spcPts val="0"/>
              </a:spcBef>
              <a:defRPr sz="1400" b="0" i="0">
                <a:solidFill>
                  <a:schemeClr val="tx1"/>
                </a:solidFill>
                <a:latin typeface="IBM Plex Sans Light" panose="020B0403050203000203" pitchFamily="34" charset="0"/>
              </a:defRPr>
            </a:lvl2pPr>
            <a:lvl3pPr marL="255936" indent="-127968">
              <a:lnSpc>
                <a:spcPct val="110000"/>
              </a:lnSpc>
              <a:spcBef>
                <a:spcPts val="0"/>
              </a:spcBef>
              <a:defRPr sz="1400" b="0" i="0">
                <a:solidFill>
                  <a:schemeClr val="tx1"/>
                </a:solidFill>
                <a:latin typeface="IBM Plex Sans Light" panose="020B0403050203000203" pitchFamily="34" charset="0"/>
              </a:defRPr>
            </a:lvl3pPr>
            <a:lvl4pPr marL="383904" indent="-127968">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3" y="28803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68" indent="-127968">
              <a:lnSpc>
                <a:spcPct val="110000"/>
              </a:lnSpc>
              <a:spcBef>
                <a:spcPts val="0"/>
              </a:spcBef>
              <a:defRPr sz="1400" b="0" i="0">
                <a:solidFill>
                  <a:schemeClr val="tx1"/>
                </a:solidFill>
                <a:latin typeface="IBM Plex Sans Light" panose="020B0403050203000203" pitchFamily="34" charset="0"/>
              </a:defRPr>
            </a:lvl2pPr>
            <a:lvl3pPr marL="255936" indent="-127968">
              <a:lnSpc>
                <a:spcPct val="110000"/>
              </a:lnSpc>
              <a:spcBef>
                <a:spcPts val="0"/>
              </a:spcBef>
              <a:defRPr sz="1400" b="0" i="0">
                <a:solidFill>
                  <a:schemeClr val="tx1"/>
                </a:solidFill>
                <a:latin typeface="IBM Plex Sans Light" panose="020B0403050203000203" pitchFamily="34" charset="0"/>
              </a:defRPr>
            </a:lvl3pPr>
            <a:lvl4pPr marL="383904" indent="-127968">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8" y="3333753"/>
            <a:ext cx="2476179"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68" indent="-127968">
              <a:lnSpc>
                <a:spcPct val="110000"/>
              </a:lnSpc>
              <a:spcBef>
                <a:spcPts val="0"/>
              </a:spcBef>
              <a:defRPr sz="1400" b="0" i="0">
                <a:solidFill>
                  <a:schemeClr val="tx1"/>
                </a:solidFill>
                <a:latin typeface="IBM Plex Sans Light" panose="020B0403050203000203" pitchFamily="34" charset="0"/>
              </a:defRPr>
            </a:lvl2pPr>
            <a:lvl3pPr marL="255936" indent="-127968">
              <a:lnSpc>
                <a:spcPct val="110000"/>
              </a:lnSpc>
              <a:spcBef>
                <a:spcPts val="0"/>
              </a:spcBef>
              <a:defRPr sz="1400" b="0" i="0">
                <a:solidFill>
                  <a:schemeClr val="tx1"/>
                </a:solidFill>
                <a:latin typeface="IBM Plex Sans Light" panose="020B0403050203000203" pitchFamily="34" charset="0"/>
              </a:defRPr>
            </a:lvl3pPr>
            <a:lvl4pPr marL="383904" indent="-127968">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3" y="3333753"/>
            <a:ext cx="2476179"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68" indent="-127968">
              <a:lnSpc>
                <a:spcPct val="110000"/>
              </a:lnSpc>
              <a:spcBef>
                <a:spcPts val="0"/>
              </a:spcBef>
              <a:defRPr sz="1400" b="0" i="0">
                <a:solidFill>
                  <a:schemeClr val="tx1"/>
                </a:solidFill>
                <a:latin typeface="IBM Plex Sans Light" panose="020B0403050203000203" pitchFamily="34" charset="0"/>
              </a:defRPr>
            </a:lvl2pPr>
            <a:lvl3pPr marL="255936" indent="-127968">
              <a:lnSpc>
                <a:spcPct val="110000"/>
              </a:lnSpc>
              <a:spcBef>
                <a:spcPts val="0"/>
              </a:spcBef>
              <a:defRPr sz="1400" b="0" i="0">
                <a:solidFill>
                  <a:schemeClr val="tx1"/>
                </a:solidFill>
                <a:latin typeface="IBM Plex Sans Light" panose="020B0403050203000203" pitchFamily="34" charset="0"/>
              </a:defRPr>
            </a:lvl3pPr>
            <a:lvl4pPr marL="383904" indent="-127968">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3332554" y="288036"/>
            <a:ext cx="2476179"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68" indent="-127968">
              <a:lnSpc>
                <a:spcPct val="110000"/>
              </a:lnSpc>
              <a:spcBef>
                <a:spcPts val="0"/>
              </a:spcBef>
              <a:defRPr sz="1400" b="0" i="0">
                <a:solidFill>
                  <a:schemeClr val="tx1"/>
                </a:solidFill>
                <a:latin typeface="IBM Plex Sans Light" panose="020B0403050203000203" pitchFamily="34" charset="0"/>
              </a:defRPr>
            </a:lvl2pPr>
            <a:lvl3pPr marL="255936" indent="-127968">
              <a:lnSpc>
                <a:spcPct val="110000"/>
              </a:lnSpc>
              <a:spcBef>
                <a:spcPts val="0"/>
              </a:spcBef>
              <a:defRPr sz="1400" b="0" i="0">
                <a:solidFill>
                  <a:schemeClr val="tx1"/>
                </a:solidFill>
                <a:latin typeface="IBM Plex Sans Light" panose="020B0403050203000203" pitchFamily="34" charset="0"/>
              </a:defRPr>
            </a:lvl3pPr>
            <a:lvl4pPr marL="383904" indent="-127968">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3334141" y="3333753"/>
            <a:ext cx="2476179"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68" indent="-127968">
              <a:lnSpc>
                <a:spcPct val="110000"/>
              </a:lnSpc>
              <a:spcBef>
                <a:spcPts val="0"/>
              </a:spcBef>
              <a:defRPr sz="1400" b="0" i="0">
                <a:solidFill>
                  <a:schemeClr val="tx1"/>
                </a:solidFill>
                <a:latin typeface="IBM Plex Sans Light" panose="020B0403050203000203" pitchFamily="34" charset="0"/>
              </a:defRPr>
            </a:lvl2pPr>
            <a:lvl3pPr marL="255936" indent="-127968">
              <a:lnSpc>
                <a:spcPct val="110000"/>
              </a:lnSpc>
              <a:spcBef>
                <a:spcPts val="0"/>
              </a:spcBef>
              <a:defRPr sz="1400" b="0" i="0">
                <a:solidFill>
                  <a:schemeClr val="tx1"/>
                </a:solidFill>
                <a:latin typeface="IBM Plex Sans Light" panose="020B0403050203000203" pitchFamily="34" charset="0"/>
              </a:defRPr>
            </a:lvl3pPr>
            <a:lvl4pPr marL="383904" indent="-127968">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11767911" y="6469422"/>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701068226"/>
      </p:ext>
    </p:extLst>
  </p:cSld>
  <p:clrMapOvr>
    <a:masterClrMapping/>
  </p:clrMapOvr>
  <p:transition spd="med"/>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1_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88000" y="288036"/>
            <a:ext cx="2474591" cy="1429544"/>
          </a:xfrm>
        </p:spPr>
        <p:txBody>
          <a:bodyPr/>
          <a:lstStyle>
            <a:lvl1pPr>
              <a:lnSpc>
                <a:spcPct val="110000"/>
              </a:lnSpc>
              <a:defRPr sz="14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3333316" y="666751"/>
            <a:ext cx="2475384" cy="1905000"/>
          </a:xfrm>
        </p:spPr>
        <p:txBody>
          <a:bodyPr/>
          <a:lstStyle>
            <a:lvl1pPr>
              <a:lnSpc>
                <a:spcPct val="110000"/>
              </a:lnSpc>
              <a:spcBef>
                <a:spcPts val="0"/>
              </a:spcBef>
              <a:defRPr sz="1200">
                <a:solidFill>
                  <a:schemeClr val="tx1"/>
                </a:solidFill>
              </a:defRPr>
            </a:lvl1pPr>
            <a:lvl2pPr marL="109688" indent="-109688">
              <a:lnSpc>
                <a:spcPct val="110000"/>
              </a:lnSpc>
              <a:spcBef>
                <a:spcPts val="0"/>
              </a:spcBef>
              <a:defRPr sz="1200">
                <a:solidFill>
                  <a:schemeClr val="tx1"/>
                </a:solidFill>
              </a:defRPr>
            </a:lvl2pPr>
            <a:lvl3pPr marL="219374" indent="-109688">
              <a:lnSpc>
                <a:spcPct val="110000"/>
              </a:lnSpc>
              <a:spcBef>
                <a:spcPts val="0"/>
              </a:spcBef>
              <a:defRPr sz="1200">
                <a:solidFill>
                  <a:schemeClr val="tx1"/>
                </a:solidFill>
              </a:defRPr>
            </a:lvl3pPr>
            <a:lvl4pPr marL="329061" indent="-109688">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6380920" y="666751"/>
            <a:ext cx="2476179" cy="1905000"/>
          </a:xfrm>
        </p:spPr>
        <p:txBody>
          <a:bodyPr/>
          <a:lstStyle>
            <a:lvl1pPr>
              <a:lnSpc>
                <a:spcPct val="110000"/>
              </a:lnSpc>
              <a:spcBef>
                <a:spcPts val="0"/>
              </a:spcBef>
              <a:defRPr sz="1200">
                <a:solidFill>
                  <a:schemeClr val="tx1"/>
                </a:solidFill>
              </a:defRPr>
            </a:lvl1pPr>
            <a:lvl2pPr marL="109688" indent="-109688">
              <a:lnSpc>
                <a:spcPct val="110000"/>
              </a:lnSpc>
              <a:spcBef>
                <a:spcPts val="0"/>
              </a:spcBef>
              <a:defRPr sz="1200">
                <a:solidFill>
                  <a:schemeClr val="tx1"/>
                </a:solidFill>
              </a:defRPr>
            </a:lvl2pPr>
            <a:lvl3pPr marL="219374" indent="-109688">
              <a:lnSpc>
                <a:spcPct val="110000"/>
              </a:lnSpc>
              <a:spcBef>
                <a:spcPts val="0"/>
              </a:spcBef>
              <a:defRPr sz="1200">
                <a:solidFill>
                  <a:schemeClr val="tx1"/>
                </a:solidFill>
              </a:defRPr>
            </a:lvl3pPr>
            <a:lvl4pPr marL="329061" indent="-109688">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9428523" y="666751"/>
            <a:ext cx="2476179" cy="1905000"/>
          </a:xfrm>
        </p:spPr>
        <p:txBody>
          <a:bodyPr/>
          <a:lstStyle>
            <a:lvl1pPr>
              <a:lnSpc>
                <a:spcPct val="110000"/>
              </a:lnSpc>
              <a:spcBef>
                <a:spcPts val="0"/>
              </a:spcBef>
              <a:defRPr sz="1200">
                <a:solidFill>
                  <a:schemeClr val="tx1"/>
                </a:solidFill>
              </a:defRPr>
            </a:lvl1pPr>
            <a:lvl2pPr marL="109688" indent="-109688">
              <a:lnSpc>
                <a:spcPct val="110000"/>
              </a:lnSpc>
              <a:spcBef>
                <a:spcPts val="0"/>
              </a:spcBef>
              <a:defRPr sz="1200">
                <a:solidFill>
                  <a:schemeClr val="tx1"/>
                </a:solidFill>
              </a:defRPr>
            </a:lvl2pPr>
            <a:lvl3pPr marL="219374" indent="-109688">
              <a:lnSpc>
                <a:spcPct val="110000"/>
              </a:lnSpc>
              <a:spcBef>
                <a:spcPts val="0"/>
              </a:spcBef>
              <a:defRPr sz="1200">
                <a:solidFill>
                  <a:schemeClr val="tx1"/>
                </a:solidFill>
              </a:defRPr>
            </a:lvl3pPr>
            <a:lvl4pPr marL="329061" indent="-109688">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3333316" y="3714751"/>
            <a:ext cx="2475384" cy="1905000"/>
          </a:xfrm>
        </p:spPr>
        <p:txBody>
          <a:bodyPr/>
          <a:lstStyle>
            <a:lvl1pPr>
              <a:lnSpc>
                <a:spcPct val="110000"/>
              </a:lnSpc>
              <a:spcBef>
                <a:spcPts val="0"/>
              </a:spcBef>
              <a:defRPr sz="1200">
                <a:solidFill>
                  <a:schemeClr val="tx1"/>
                </a:solidFill>
              </a:defRPr>
            </a:lvl1pPr>
            <a:lvl2pPr marL="109688" indent="-109688">
              <a:lnSpc>
                <a:spcPct val="110000"/>
              </a:lnSpc>
              <a:spcBef>
                <a:spcPts val="0"/>
              </a:spcBef>
              <a:defRPr sz="1200">
                <a:solidFill>
                  <a:schemeClr val="tx1"/>
                </a:solidFill>
              </a:defRPr>
            </a:lvl2pPr>
            <a:lvl3pPr marL="219374" indent="-109688">
              <a:lnSpc>
                <a:spcPct val="110000"/>
              </a:lnSpc>
              <a:spcBef>
                <a:spcPts val="0"/>
              </a:spcBef>
              <a:defRPr sz="1200">
                <a:solidFill>
                  <a:schemeClr val="tx1"/>
                </a:solidFill>
              </a:defRPr>
            </a:lvl3pPr>
            <a:lvl4pPr marL="329061" indent="-109688">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6380920" y="3714750"/>
            <a:ext cx="2475384" cy="1896343"/>
          </a:xfrm>
        </p:spPr>
        <p:txBody>
          <a:bodyPr/>
          <a:lstStyle>
            <a:lvl1pPr>
              <a:lnSpc>
                <a:spcPct val="110000"/>
              </a:lnSpc>
              <a:spcBef>
                <a:spcPts val="0"/>
              </a:spcBef>
              <a:defRPr sz="1200">
                <a:solidFill>
                  <a:schemeClr val="tx1"/>
                </a:solidFill>
              </a:defRPr>
            </a:lvl1pPr>
            <a:lvl2pPr marL="109688" indent="-109688">
              <a:lnSpc>
                <a:spcPct val="110000"/>
              </a:lnSpc>
              <a:spcBef>
                <a:spcPts val="0"/>
              </a:spcBef>
              <a:defRPr sz="1200">
                <a:solidFill>
                  <a:schemeClr val="tx1"/>
                </a:solidFill>
              </a:defRPr>
            </a:lvl2pPr>
            <a:lvl3pPr marL="219374" indent="-109688">
              <a:lnSpc>
                <a:spcPct val="110000"/>
              </a:lnSpc>
              <a:spcBef>
                <a:spcPts val="0"/>
              </a:spcBef>
              <a:defRPr sz="1200">
                <a:solidFill>
                  <a:schemeClr val="tx1"/>
                </a:solidFill>
              </a:defRPr>
            </a:lvl3pPr>
            <a:lvl4pPr marL="329061" indent="-109688">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9428523" y="3714751"/>
            <a:ext cx="2476179" cy="1905000"/>
          </a:xfrm>
        </p:spPr>
        <p:txBody>
          <a:bodyPr/>
          <a:lstStyle>
            <a:lvl1pPr>
              <a:lnSpc>
                <a:spcPct val="110000"/>
              </a:lnSpc>
              <a:spcBef>
                <a:spcPts val="0"/>
              </a:spcBef>
              <a:defRPr sz="1200">
                <a:solidFill>
                  <a:schemeClr val="tx1"/>
                </a:solidFill>
              </a:defRPr>
            </a:lvl1pPr>
            <a:lvl2pPr marL="109688" indent="-109688">
              <a:lnSpc>
                <a:spcPct val="110000"/>
              </a:lnSpc>
              <a:spcBef>
                <a:spcPts val="0"/>
              </a:spcBef>
              <a:defRPr sz="1200">
                <a:solidFill>
                  <a:schemeClr val="tx1"/>
                </a:solidFill>
              </a:defRPr>
            </a:lvl2pPr>
            <a:lvl3pPr marL="219374" indent="-109688">
              <a:lnSpc>
                <a:spcPct val="110000"/>
              </a:lnSpc>
              <a:spcBef>
                <a:spcPts val="0"/>
              </a:spcBef>
              <a:defRPr sz="1200">
                <a:solidFill>
                  <a:schemeClr val="tx1"/>
                </a:solidFill>
              </a:defRPr>
            </a:lvl3pPr>
            <a:lvl4pPr marL="329061" indent="-109688">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3333316" y="288038"/>
            <a:ext cx="201141" cy="201612"/>
          </a:xfrm>
        </p:spPr>
        <p:txBody>
          <a:bodyPr/>
          <a:lstStyle>
            <a:lvl1pPr>
              <a:defRPr sz="700">
                <a:solidFill>
                  <a:schemeClr val="tx1"/>
                </a:solidFill>
              </a:defRPr>
            </a:lvl1pPr>
          </a:lstStyle>
          <a:p>
            <a:r>
              <a:rPr lang="en-US"/>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6380922" y="288038"/>
            <a:ext cx="201141" cy="201612"/>
          </a:xfrm>
        </p:spPr>
        <p:txBody>
          <a:bodyPr/>
          <a:lstStyle>
            <a:lvl1pPr>
              <a:defRPr sz="700">
                <a:solidFill>
                  <a:schemeClr val="tx1"/>
                </a:solidFill>
              </a:defRPr>
            </a:lvl1pPr>
          </a:lstStyle>
          <a:p>
            <a:r>
              <a:rPr lang="en-US"/>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9428524" y="288038"/>
            <a:ext cx="201141" cy="201612"/>
          </a:xfrm>
        </p:spPr>
        <p:txBody>
          <a:bodyPr/>
          <a:lstStyle>
            <a:lvl1pPr>
              <a:defRPr sz="700">
                <a:solidFill>
                  <a:schemeClr val="tx1"/>
                </a:solidFill>
              </a:defRPr>
            </a:lvl1pPr>
          </a:lstStyle>
          <a:p>
            <a:r>
              <a:rPr lang="en-US"/>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3333316" y="3347316"/>
            <a:ext cx="201141" cy="201612"/>
          </a:xfrm>
        </p:spPr>
        <p:txBody>
          <a:bodyPr/>
          <a:lstStyle>
            <a:lvl1pPr>
              <a:defRPr sz="700">
                <a:solidFill>
                  <a:schemeClr val="tx1"/>
                </a:solidFill>
              </a:defRPr>
            </a:lvl1pPr>
          </a:lstStyle>
          <a:p>
            <a:r>
              <a:rPr lang="en-US"/>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6380922" y="3347316"/>
            <a:ext cx="201141" cy="201612"/>
          </a:xfrm>
        </p:spPr>
        <p:txBody>
          <a:bodyPr/>
          <a:lstStyle>
            <a:lvl1pPr>
              <a:defRPr sz="700">
                <a:solidFill>
                  <a:schemeClr val="tx1"/>
                </a:solidFill>
              </a:defRPr>
            </a:lvl1pPr>
          </a:lstStyle>
          <a:p>
            <a:r>
              <a:rPr lang="en-US"/>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9428524" y="3347316"/>
            <a:ext cx="201141" cy="201612"/>
          </a:xfrm>
        </p:spPr>
        <p:txBody>
          <a:bodyPr/>
          <a:lstStyle>
            <a:lvl1pPr>
              <a:defRPr sz="700">
                <a:solidFill>
                  <a:schemeClr val="tx1"/>
                </a:solidFill>
              </a:defRPr>
            </a:lvl1pPr>
          </a:lstStyle>
          <a:p>
            <a:r>
              <a:rPr lang="en-US"/>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3047606" y="3048000"/>
            <a:ext cx="886027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3047603" y="284958"/>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9142811" y="284958"/>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6093683" y="283466"/>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11767911" y="6469422"/>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184171964"/>
      </p:ext>
    </p:extLst>
  </p:cSld>
  <p:clrMapOvr>
    <a:masterClrMapping/>
  </p:clrMapOvr>
  <p:transition spd="med"/>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1_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8000" y="192025"/>
            <a:ext cx="5519019" cy="1706563"/>
          </a:xfrm>
        </p:spPr>
        <p:txBody>
          <a:bodyPr rIns="457200"/>
          <a:lstStyle>
            <a:lvl1pPr>
              <a:lnSpc>
                <a:spcPct val="100000"/>
              </a:lnSpc>
              <a:defRPr sz="3198">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18" y="288037"/>
            <a:ext cx="2476179" cy="2477295"/>
          </a:xfrm>
        </p:spPr>
        <p:txBody>
          <a:bodyPr/>
          <a:lstStyle>
            <a:lvl1pPr>
              <a:spcBef>
                <a:spcPts val="0"/>
              </a:spcBef>
              <a:defRPr sz="1400">
                <a:solidFill>
                  <a:schemeClr val="tx1"/>
                </a:solidFill>
              </a:defRPr>
            </a:lvl1pPr>
            <a:lvl2pPr marL="127968" indent="-127968">
              <a:spcBef>
                <a:spcPts val="0"/>
              </a:spcBef>
              <a:defRPr sz="1400">
                <a:solidFill>
                  <a:schemeClr val="tx1"/>
                </a:solidFill>
              </a:defRPr>
            </a:lvl2pPr>
            <a:lvl3pPr marL="255936" indent="-127968">
              <a:spcBef>
                <a:spcPts val="0"/>
              </a:spcBef>
              <a:defRPr sz="1400">
                <a:solidFill>
                  <a:schemeClr val="tx1"/>
                </a:solidFill>
              </a:defRPr>
            </a:lvl3pPr>
            <a:lvl4pPr marL="383904" indent="-127968">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09" y="288037"/>
            <a:ext cx="2476179" cy="2477295"/>
          </a:xfrm>
        </p:spPr>
        <p:txBody>
          <a:bodyPr/>
          <a:lstStyle>
            <a:lvl1pPr>
              <a:spcBef>
                <a:spcPts val="0"/>
              </a:spcBef>
              <a:defRPr sz="1400">
                <a:solidFill>
                  <a:schemeClr val="tx1"/>
                </a:solidFill>
              </a:defRPr>
            </a:lvl1pPr>
            <a:lvl2pPr marL="127968" indent="-127968">
              <a:spcBef>
                <a:spcPts val="0"/>
              </a:spcBef>
              <a:defRPr sz="1400">
                <a:solidFill>
                  <a:schemeClr val="tx1"/>
                </a:solidFill>
              </a:defRPr>
            </a:lvl2pPr>
            <a:lvl3pPr marL="255936" indent="-127968">
              <a:spcBef>
                <a:spcPts val="0"/>
              </a:spcBef>
              <a:defRPr sz="1400">
                <a:solidFill>
                  <a:schemeClr val="tx1"/>
                </a:solidFill>
              </a:defRPr>
            </a:lvl3pPr>
            <a:lvl4pPr marL="383904" indent="-127968">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18" y="3333752"/>
            <a:ext cx="2476179" cy="2477295"/>
          </a:xfrm>
        </p:spPr>
        <p:txBody>
          <a:bodyPr/>
          <a:lstStyle>
            <a:lvl1pPr>
              <a:spcBef>
                <a:spcPts val="0"/>
              </a:spcBef>
              <a:defRPr sz="1400">
                <a:solidFill>
                  <a:schemeClr val="tx1"/>
                </a:solidFill>
              </a:defRPr>
            </a:lvl1pPr>
            <a:lvl2pPr marL="127968" indent="-127968">
              <a:spcBef>
                <a:spcPts val="0"/>
              </a:spcBef>
              <a:defRPr sz="1400">
                <a:solidFill>
                  <a:schemeClr val="tx1"/>
                </a:solidFill>
              </a:defRPr>
            </a:lvl2pPr>
            <a:lvl3pPr marL="255936" indent="-127968">
              <a:spcBef>
                <a:spcPts val="0"/>
              </a:spcBef>
              <a:defRPr sz="1400">
                <a:solidFill>
                  <a:schemeClr val="tx1"/>
                </a:solidFill>
              </a:defRPr>
            </a:lvl3pPr>
            <a:lvl4pPr marL="383904" indent="-127968">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0109" y="3333752"/>
            <a:ext cx="2476179" cy="2477295"/>
          </a:xfrm>
        </p:spPr>
        <p:txBody>
          <a:bodyPr/>
          <a:lstStyle>
            <a:lvl1pPr>
              <a:spcBef>
                <a:spcPts val="0"/>
              </a:spcBef>
              <a:defRPr sz="1400">
                <a:solidFill>
                  <a:schemeClr val="tx1"/>
                </a:solidFill>
              </a:defRPr>
            </a:lvl1pPr>
            <a:lvl2pPr marL="127968" indent="-127968">
              <a:spcBef>
                <a:spcPts val="0"/>
              </a:spcBef>
              <a:defRPr sz="1400">
                <a:solidFill>
                  <a:schemeClr val="tx1"/>
                </a:solidFill>
              </a:defRPr>
            </a:lvl2pPr>
            <a:lvl3pPr marL="255936" indent="-127968">
              <a:spcBef>
                <a:spcPts val="0"/>
              </a:spcBef>
              <a:defRPr sz="1400">
                <a:solidFill>
                  <a:schemeClr val="tx1"/>
                </a:solidFill>
              </a:defRPr>
            </a:lvl3pPr>
            <a:lvl4pPr marL="383904" indent="-127968">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87998" y="3332989"/>
            <a:ext cx="2476179" cy="2477295"/>
          </a:xfrm>
        </p:spPr>
        <p:txBody>
          <a:bodyPr/>
          <a:lstStyle>
            <a:lvl1pPr>
              <a:spcBef>
                <a:spcPts val="0"/>
              </a:spcBef>
              <a:defRPr sz="1400">
                <a:solidFill>
                  <a:schemeClr val="tx1"/>
                </a:solidFill>
              </a:defRPr>
            </a:lvl1pPr>
            <a:lvl2pPr marL="127968" indent="-127968">
              <a:spcBef>
                <a:spcPts val="0"/>
              </a:spcBef>
              <a:defRPr sz="1400">
                <a:solidFill>
                  <a:schemeClr val="tx1"/>
                </a:solidFill>
              </a:defRPr>
            </a:lvl2pPr>
            <a:lvl3pPr marL="255936" indent="-127968">
              <a:spcBef>
                <a:spcPts val="0"/>
              </a:spcBef>
              <a:defRPr sz="1400">
                <a:solidFill>
                  <a:schemeClr val="tx1"/>
                </a:solidFill>
              </a:defRPr>
            </a:lvl3pPr>
            <a:lvl4pPr marL="383904" indent="-127968">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6" y="3333752"/>
            <a:ext cx="2476179" cy="2477295"/>
          </a:xfrm>
        </p:spPr>
        <p:txBody>
          <a:bodyPr/>
          <a:lstStyle>
            <a:lvl1pPr>
              <a:spcBef>
                <a:spcPts val="0"/>
              </a:spcBef>
              <a:defRPr sz="1400">
                <a:solidFill>
                  <a:schemeClr val="tx1"/>
                </a:solidFill>
              </a:defRPr>
            </a:lvl1pPr>
            <a:lvl2pPr marL="127968" indent="-127968">
              <a:spcBef>
                <a:spcPts val="0"/>
              </a:spcBef>
              <a:defRPr sz="1400">
                <a:solidFill>
                  <a:schemeClr val="tx1"/>
                </a:solidFill>
              </a:defRPr>
            </a:lvl2pPr>
            <a:lvl3pPr marL="255936" indent="-127968">
              <a:spcBef>
                <a:spcPts val="0"/>
              </a:spcBef>
              <a:defRPr sz="1400">
                <a:solidFill>
                  <a:schemeClr val="tx1"/>
                </a:solidFill>
              </a:defRPr>
            </a:lvl3pPr>
            <a:lvl4pPr marL="383904" indent="-127968">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2" y="3048000"/>
            <a:ext cx="116205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2"/>
            <a:ext cx="0" cy="295275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9142811" y="284958"/>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6"/>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11767911" y="6469422"/>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993755079"/>
      </p:ext>
    </p:extLst>
  </p:cSld>
  <p:clrMapOvr>
    <a:masterClrMapping/>
  </p:clrMapOvr>
  <p:transition spd="med"/>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1_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8000" y="288038"/>
            <a:ext cx="2474591" cy="1706563"/>
          </a:xfrm>
        </p:spPr>
        <p:txBody>
          <a:bodyPr rIns="0"/>
          <a:lstStyle>
            <a:lvl1pPr>
              <a:lnSpc>
                <a:spcPct val="110000"/>
              </a:lnSpc>
              <a:defRPr sz="1800">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18" y="288037"/>
            <a:ext cx="2476179" cy="2477295"/>
          </a:xfrm>
        </p:spPr>
        <p:txBody>
          <a:bodyPr/>
          <a:lstStyle>
            <a:lvl1pPr>
              <a:spcBef>
                <a:spcPts val="0"/>
              </a:spcBef>
              <a:defRPr sz="1400">
                <a:solidFill>
                  <a:schemeClr val="tx1"/>
                </a:solidFill>
              </a:defRPr>
            </a:lvl1pPr>
            <a:lvl2pPr marL="127968" indent="-127968">
              <a:spcBef>
                <a:spcPts val="0"/>
              </a:spcBef>
              <a:defRPr sz="1400">
                <a:solidFill>
                  <a:schemeClr val="tx1"/>
                </a:solidFill>
              </a:defRPr>
            </a:lvl2pPr>
            <a:lvl3pPr marL="255936" indent="-127968">
              <a:spcBef>
                <a:spcPts val="0"/>
              </a:spcBef>
              <a:defRPr sz="1400">
                <a:solidFill>
                  <a:schemeClr val="tx1"/>
                </a:solidFill>
              </a:defRPr>
            </a:lvl3pPr>
            <a:lvl4pPr marL="383904" indent="-127968">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09" y="288037"/>
            <a:ext cx="2476179" cy="2477295"/>
          </a:xfrm>
        </p:spPr>
        <p:txBody>
          <a:bodyPr/>
          <a:lstStyle>
            <a:lvl1pPr>
              <a:spcBef>
                <a:spcPts val="0"/>
              </a:spcBef>
              <a:defRPr sz="1400">
                <a:solidFill>
                  <a:schemeClr val="tx1"/>
                </a:solidFill>
              </a:defRPr>
            </a:lvl1pPr>
            <a:lvl2pPr marL="127968" indent="-127968">
              <a:spcBef>
                <a:spcPts val="0"/>
              </a:spcBef>
              <a:defRPr sz="1400">
                <a:solidFill>
                  <a:schemeClr val="tx1"/>
                </a:solidFill>
              </a:defRPr>
            </a:lvl2pPr>
            <a:lvl3pPr marL="255936" indent="-127968">
              <a:spcBef>
                <a:spcPts val="0"/>
              </a:spcBef>
              <a:defRPr sz="1400">
                <a:solidFill>
                  <a:schemeClr val="tx1"/>
                </a:solidFill>
              </a:defRPr>
            </a:lvl3pPr>
            <a:lvl4pPr marL="383904" indent="-127968">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18" y="3333752"/>
            <a:ext cx="2476179" cy="2477295"/>
          </a:xfrm>
        </p:spPr>
        <p:txBody>
          <a:bodyPr/>
          <a:lstStyle>
            <a:lvl1pPr>
              <a:spcBef>
                <a:spcPts val="0"/>
              </a:spcBef>
              <a:defRPr sz="1400">
                <a:solidFill>
                  <a:schemeClr val="tx1"/>
                </a:solidFill>
              </a:defRPr>
            </a:lvl1pPr>
            <a:lvl2pPr marL="127968" indent="-127968">
              <a:spcBef>
                <a:spcPts val="0"/>
              </a:spcBef>
              <a:defRPr sz="1400">
                <a:solidFill>
                  <a:schemeClr val="tx1"/>
                </a:solidFill>
              </a:defRPr>
            </a:lvl2pPr>
            <a:lvl3pPr marL="255936" indent="-127968">
              <a:spcBef>
                <a:spcPts val="0"/>
              </a:spcBef>
              <a:defRPr sz="1400">
                <a:solidFill>
                  <a:schemeClr val="tx1"/>
                </a:solidFill>
              </a:defRPr>
            </a:lvl3pPr>
            <a:lvl4pPr marL="383904" indent="-127968">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0109" y="3333752"/>
            <a:ext cx="2476179" cy="2477295"/>
          </a:xfrm>
        </p:spPr>
        <p:txBody>
          <a:bodyPr/>
          <a:lstStyle>
            <a:lvl1pPr>
              <a:spcBef>
                <a:spcPts val="0"/>
              </a:spcBef>
              <a:defRPr sz="1400">
                <a:solidFill>
                  <a:schemeClr val="tx1"/>
                </a:solidFill>
              </a:defRPr>
            </a:lvl1pPr>
            <a:lvl2pPr marL="127968" indent="-127968">
              <a:spcBef>
                <a:spcPts val="0"/>
              </a:spcBef>
              <a:defRPr sz="1400">
                <a:solidFill>
                  <a:schemeClr val="tx1"/>
                </a:solidFill>
              </a:defRPr>
            </a:lvl2pPr>
            <a:lvl3pPr marL="255936" indent="-127968">
              <a:spcBef>
                <a:spcPts val="0"/>
              </a:spcBef>
              <a:defRPr sz="1400">
                <a:solidFill>
                  <a:schemeClr val="tx1"/>
                </a:solidFill>
              </a:defRPr>
            </a:lvl3pPr>
            <a:lvl4pPr marL="383904" indent="-127968">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90043" y="3333752"/>
            <a:ext cx="2476179" cy="2477295"/>
          </a:xfrm>
        </p:spPr>
        <p:txBody>
          <a:bodyPr/>
          <a:lstStyle>
            <a:lvl1pPr>
              <a:spcBef>
                <a:spcPts val="0"/>
              </a:spcBef>
              <a:defRPr sz="1400">
                <a:solidFill>
                  <a:schemeClr val="tx1"/>
                </a:solidFill>
              </a:defRPr>
            </a:lvl1pPr>
            <a:lvl2pPr marL="127968" indent="-127968">
              <a:spcBef>
                <a:spcPts val="0"/>
              </a:spcBef>
              <a:defRPr sz="1400">
                <a:solidFill>
                  <a:schemeClr val="tx1"/>
                </a:solidFill>
              </a:defRPr>
            </a:lvl2pPr>
            <a:lvl3pPr marL="255936" indent="-127968">
              <a:spcBef>
                <a:spcPts val="0"/>
              </a:spcBef>
              <a:defRPr sz="1400">
                <a:solidFill>
                  <a:schemeClr val="tx1"/>
                </a:solidFill>
              </a:defRPr>
            </a:lvl3pPr>
            <a:lvl4pPr marL="383904" indent="-127968">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6" y="3333752"/>
            <a:ext cx="2476179" cy="2477295"/>
          </a:xfrm>
        </p:spPr>
        <p:txBody>
          <a:bodyPr/>
          <a:lstStyle>
            <a:lvl1pPr>
              <a:spcBef>
                <a:spcPts val="0"/>
              </a:spcBef>
              <a:defRPr sz="1400">
                <a:solidFill>
                  <a:schemeClr val="tx1"/>
                </a:solidFill>
              </a:defRPr>
            </a:lvl1pPr>
            <a:lvl2pPr marL="127968" indent="-127968">
              <a:spcBef>
                <a:spcPts val="0"/>
              </a:spcBef>
              <a:defRPr sz="1400">
                <a:solidFill>
                  <a:schemeClr val="tx1"/>
                </a:solidFill>
              </a:defRPr>
            </a:lvl2pPr>
            <a:lvl3pPr marL="255936" indent="-127968">
              <a:spcBef>
                <a:spcPts val="0"/>
              </a:spcBef>
              <a:defRPr sz="1400">
                <a:solidFill>
                  <a:schemeClr val="tx1"/>
                </a:solidFill>
              </a:defRPr>
            </a:lvl3pPr>
            <a:lvl4pPr marL="383904" indent="-127968">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2" y="3048000"/>
            <a:ext cx="116205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2"/>
            <a:ext cx="0" cy="295275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9142811" y="284958"/>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6"/>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11767911" y="6469422"/>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684625591"/>
      </p:ext>
    </p:extLst>
  </p:cSld>
  <p:clrMapOvr>
    <a:masterClrMapping/>
  </p:clrMapOvr>
  <p:transition spd="med"/>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8_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8000" y="288038"/>
            <a:ext cx="2474591" cy="762795"/>
          </a:xfrm>
        </p:spPr>
        <p:txBody>
          <a:bodyPr/>
          <a:lstStyle>
            <a:lvl1pPr>
              <a:lnSpc>
                <a:spcPct val="110000"/>
              </a:lnSpc>
              <a:defRPr sz="140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8000" y="1714502"/>
            <a:ext cx="2477765" cy="4286251"/>
          </a:xfrm>
        </p:spPr>
        <p:txBody>
          <a:bodyPr/>
          <a:lstStyle>
            <a:lvl1pPr>
              <a:lnSpc>
                <a:spcPct val="110000"/>
              </a:lnSpc>
              <a:spcBef>
                <a:spcPts val="0"/>
              </a:spcBef>
              <a:defRPr sz="1400">
                <a:solidFill>
                  <a:schemeClr val="tx1"/>
                </a:solidFill>
              </a:defRPr>
            </a:lvl1pPr>
            <a:lvl2pPr marL="127968" indent="-127968">
              <a:lnSpc>
                <a:spcPct val="110000"/>
              </a:lnSpc>
              <a:spcBef>
                <a:spcPts val="0"/>
              </a:spcBef>
              <a:defRPr sz="1400">
                <a:solidFill>
                  <a:schemeClr val="tx1"/>
                </a:solidFill>
              </a:defRPr>
            </a:lvl2pPr>
            <a:lvl3pPr marL="255936" indent="-127968">
              <a:lnSpc>
                <a:spcPct val="110000"/>
              </a:lnSpc>
              <a:spcBef>
                <a:spcPts val="0"/>
              </a:spcBef>
              <a:defRPr sz="1400">
                <a:solidFill>
                  <a:schemeClr val="tx1"/>
                </a:solidFill>
              </a:defRPr>
            </a:lvl3pPr>
            <a:lvl4pPr marL="383904" indent="-127968">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3333316" y="1714502"/>
            <a:ext cx="2475384" cy="4286251"/>
          </a:xfrm>
        </p:spPr>
        <p:txBody>
          <a:bodyPr/>
          <a:lstStyle>
            <a:lvl1pPr>
              <a:lnSpc>
                <a:spcPct val="110000"/>
              </a:lnSpc>
              <a:spcBef>
                <a:spcPts val="0"/>
              </a:spcBef>
              <a:defRPr sz="1400">
                <a:solidFill>
                  <a:schemeClr val="tx1"/>
                </a:solidFill>
              </a:defRPr>
            </a:lvl1pPr>
            <a:lvl2pPr marL="127968" indent="-127968">
              <a:lnSpc>
                <a:spcPct val="110000"/>
              </a:lnSpc>
              <a:spcBef>
                <a:spcPts val="0"/>
              </a:spcBef>
              <a:defRPr sz="1400">
                <a:solidFill>
                  <a:schemeClr val="tx1"/>
                </a:solidFill>
              </a:defRPr>
            </a:lvl2pPr>
            <a:lvl3pPr marL="255936" indent="-127968">
              <a:lnSpc>
                <a:spcPct val="110000"/>
              </a:lnSpc>
              <a:spcBef>
                <a:spcPts val="0"/>
              </a:spcBef>
              <a:defRPr sz="1400">
                <a:solidFill>
                  <a:schemeClr val="tx1"/>
                </a:solidFill>
              </a:defRPr>
            </a:lvl3pPr>
            <a:lvl4pPr marL="383904" indent="-127968">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6380921" y="284958"/>
            <a:ext cx="5523781" cy="6287295"/>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198250451"/>
      </p:ext>
    </p:extLst>
  </p:cSld>
  <p:clrMapOvr>
    <a:masterClrMapping/>
  </p:clrMapOvr>
  <p:transition spd="med"/>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1_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8000" y="288038"/>
            <a:ext cx="2474591" cy="762795"/>
          </a:xfrm>
        </p:spPr>
        <p:txBody>
          <a:bodyPr/>
          <a:lstStyle>
            <a:lvl1pPr>
              <a:lnSpc>
                <a:spcPct val="110000"/>
              </a:lnSpc>
              <a:defRPr sz="14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67912" y="6452316"/>
            <a:ext cx="136789" cy="123111"/>
          </a:xfrm>
          <a:prstGeom prst="rect">
            <a:avLst/>
          </a:prstGeom>
        </p:spPr>
        <p:txBody>
          <a:bodyPr/>
          <a:lstStyle/>
          <a:p>
            <a:fld id="{86CB4B4D-7CA3-9044-876B-883B54F8677D}" type="slidenum">
              <a:rPr lang="en-US" smtClean="0"/>
              <a:t>‹#›</a:t>
            </a:fld>
            <a:endParaRPr lang="en-US"/>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88000" y="1714502"/>
            <a:ext cx="2477765" cy="4286251"/>
          </a:xfrm>
        </p:spPr>
        <p:txBody>
          <a:bodyPr/>
          <a:lstStyle>
            <a:lvl1pPr>
              <a:lnSpc>
                <a:spcPct val="110000"/>
              </a:lnSpc>
              <a:spcBef>
                <a:spcPts val="0"/>
              </a:spcBef>
              <a:defRPr sz="1400">
                <a:solidFill>
                  <a:schemeClr val="tx1"/>
                </a:solidFill>
              </a:defRPr>
            </a:lvl1pPr>
            <a:lvl2pPr marL="127968" indent="-127968">
              <a:lnSpc>
                <a:spcPct val="110000"/>
              </a:lnSpc>
              <a:spcBef>
                <a:spcPts val="0"/>
              </a:spcBef>
              <a:defRPr sz="1400">
                <a:solidFill>
                  <a:schemeClr val="tx1"/>
                </a:solidFill>
              </a:defRPr>
            </a:lvl2pPr>
            <a:lvl3pPr marL="255936" indent="-127968">
              <a:lnSpc>
                <a:spcPct val="110000"/>
              </a:lnSpc>
              <a:spcBef>
                <a:spcPts val="0"/>
              </a:spcBef>
              <a:defRPr sz="1400">
                <a:solidFill>
                  <a:schemeClr val="tx1"/>
                </a:solidFill>
              </a:defRPr>
            </a:lvl3pPr>
            <a:lvl4pPr marL="383904" indent="-127968">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3047604" y="0"/>
            <a:ext cx="9144397" cy="6858000"/>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3344506122"/>
      </p:ext>
    </p:extLst>
  </p:cSld>
  <p:clrMapOvr>
    <a:masterClrMapping/>
  </p:clrMapOvr>
  <p:transition spd="med"/>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1_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8000" y="288038"/>
            <a:ext cx="2474591" cy="762795"/>
          </a:xfrm>
        </p:spPr>
        <p:txBody>
          <a:bodyPr/>
          <a:lstStyle>
            <a:lvl1pPr>
              <a:lnSpc>
                <a:spcPct val="110000"/>
              </a:lnSpc>
              <a:defRPr sz="14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67912" y="6452316"/>
            <a:ext cx="136789" cy="123111"/>
          </a:xfrm>
          <a:prstGeom prst="rect">
            <a:avLst/>
          </a:prstGeom>
        </p:spPr>
        <p:txBody>
          <a:bodyPr/>
          <a:lstStyle/>
          <a:p>
            <a:fld id="{86CB4B4D-7CA3-9044-876B-883B54F8677D}" type="slidenum">
              <a:rPr lang="en-US" smtClean="0"/>
              <a:t>‹#›</a:t>
            </a:fld>
            <a:endParaRPr lang="en-US"/>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8000" y="1714502"/>
            <a:ext cx="2477765" cy="4286251"/>
          </a:xfrm>
        </p:spPr>
        <p:txBody>
          <a:bodyPr/>
          <a:lstStyle>
            <a:lvl1pPr>
              <a:lnSpc>
                <a:spcPct val="110000"/>
              </a:lnSpc>
              <a:spcBef>
                <a:spcPts val="0"/>
              </a:spcBef>
              <a:defRPr sz="1400">
                <a:solidFill>
                  <a:schemeClr val="tx1"/>
                </a:solidFill>
              </a:defRPr>
            </a:lvl1pPr>
            <a:lvl2pPr marL="127968" indent="-127968">
              <a:lnSpc>
                <a:spcPct val="110000"/>
              </a:lnSpc>
              <a:spcBef>
                <a:spcPts val="0"/>
              </a:spcBef>
              <a:defRPr sz="1400">
                <a:solidFill>
                  <a:schemeClr val="tx1"/>
                </a:solidFill>
              </a:defRPr>
            </a:lvl2pPr>
            <a:lvl3pPr marL="255936" indent="-127968">
              <a:lnSpc>
                <a:spcPct val="110000"/>
              </a:lnSpc>
              <a:spcBef>
                <a:spcPts val="0"/>
              </a:spcBef>
              <a:defRPr sz="1400">
                <a:solidFill>
                  <a:schemeClr val="tx1"/>
                </a:solidFill>
              </a:defRPr>
            </a:lvl3pPr>
            <a:lvl4pPr marL="383904" indent="-127968">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3333318" y="282578"/>
            <a:ext cx="8574559" cy="6289675"/>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4042556164"/>
      </p:ext>
    </p:extLst>
  </p:cSld>
  <p:clrMapOvr>
    <a:masterClrMapping/>
  </p:clrMapOvr>
  <p:transition spd="med"/>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8000" y="192025"/>
            <a:ext cx="5522193" cy="2286794"/>
          </a:xfrm>
        </p:spPr>
        <p:txBody>
          <a:bodyPr rIns="457200"/>
          <a:lstStyle>
            <a:lvl1pPr>
              <a:lnSpc>
                <a:spcPct val="100000"/>
              </a:lnSpc>
              <a:defRPr>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19" y="288037"/>
            <a:ext cx="2476178" cy="5715794"/>
          </a:xfrm>
        </p:spPr>
        <p:txBody>
          <a:bodyPr/>
          <a:lstStyle>
            <a:lvl1pPr>
              <a:spcBef>
                <a:spcPts val="0"/>
              </a:spcBef>
              <a:defRPr sz="1400">
                <a:solidFill>
                  <a:schemeClr val="tx1"/>
                </a:solidFill>
              </a:defRPr>
            </a:lvl1pPr>
            <a:lvl2pPr marL="127992" indent="-127992">
              <a:spcBef>
                <a:spcPts val="0"/>
              </a:spcBef>
              <a:defRPr sz="1400">
                <a:solidFill>
                  <a:schemeClr val="tx1"/>
                </a:solidFill>
              </a:defRPr>
            </a:lvl2pPr>
            <a:lvl3pPr marL="255984" indent="-127992">
              <a:spcBef>
                <a:spcPts val="0"/>
              </a:spcBef>
              <a:defRPr sz="1400">
                <a:solidFill>
                  <a:schemeClr val="tx1"/>
                </a:solidFill>
              </a:defRPr>
            </a:lvl3pPr>
            <a:lvl4pPr marL="383976" indent="-127992">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3" y="288037"/>
            <a:ext cx="2476178" cy="5715794"/>
          </a:xfrm>
        </p:spPr>
        <p:txBody>
          <a:bodyPr/>
          <a:lstStyle>
            <a:lvl1pPr>
              <a:spcBef>
                <a:spcPts val="0"/>
              </a:spcBef>
              <a:defRPr sz="1400">
                <a:solidFill>
                  <a:schemeClr val="tx1"/>
                </a:solidFill>
              </a:defRPr>
            </a:lvl1pPr>
            <a:lvl2pPr marL="127992" indent="-127992">
              <a:spcBef>
                <a:spcPts val="0"/>
              </a:spcBef>
              <a:defRPr sz="1400">
                <a:solidFill>
                  <a:schemeClr val="tx1"/>
                </a:solidFill>
              </a:defRPr>
            </a:lvl2pPr>
            <a:lvl3pPr marL="255984" indent="-127992">
              <a:spcBef>
                <a:spcPts val="0"/>
              </a:spcBef>
              <a:defRPr sz="1400">
                <a:solidFill>
                  <a:schemeClr val="tx1"/>
                </a:solidFill>
              </a:defRPr>
            </a:lvl3pPr>
            <a:lvl4pPr marL="383976" indent="-127992">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11767910" y="646942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077700903"/>
      </p:ext>
    </p:extLst>
  </p:cSld>
  <p:clrMapOvr>
    <a:masterClrMapping/>
  </p:clrMapOvr>
  <p:transition spd="med"/>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9" y="288037"/>
            <a:ext cx="2476178" cy="2286794"/>
          </a:xfrm>
        </p:spPr>
        <p:txBody>
          <a:bodyPr/>
          <a:lstStyle>
            <a:lvl1pPr>
              <a:lnSpc>
                <a:spcPct val="100000"/>
              </a:lnSpc>
              <a:defRPr sz="18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19" y="284958"/>
            <a:ext cx="2476178" cy="5715794"/>
          </a:xfrm>
        </p:spPr>
        <p:txBody>
          <a:bodyPr/>
          <a:lstStyle>
            <a:lvl1pPr>
              <a:spcBef>
                <a:spcPts val="0"/>
              </a:spcBef>
              <a:defRPr sz="1400">
                <a:solidFill>
                  <a:schemeClr val="tx1"/>
                </a:solidFill>
              </a:defRPr>
            </a:lvl1pPr>
            <a:lvl2pPr marL="127992" indent="-127992">
              <a:spcBef>
                <a:spcPts val="0"/>
              </a:spcBef>
              <a:defRPr sz="1400">
                <a:solidFill>
                  <a:schemeClr val="tx1"/>
                </a:solidFill>
              </a:defRPr>
            </a:lvl2pPr>
            <a:lvl3pPr marL="255984" indent="-127992">
              <a:spcBef>
                <a:spcPts val="0"/>
              </a:spcBef>
              <a:defRPr sz="1400">
                <a:solidFill>
                  <a:schemeClr val="tx1"/>
                </a:solidFill>
              </a:defRPr>
            </a:lvl3pPr>
            <a:lvl4pPr marL="383976" indent="-127992">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3" y="284958"/>
            <a:ext cx="2476178" cy="5715794"/>
          </a:xfrm>
        </p:spPr>
        <p:txBody>
          <a:bodyPr/>
          <a:lstStyle>
            <a:lvl1pPr>
              <a:spcBef>
                <a:spcPts val="0"/>
              </a:spcBef>
              <a:defRPr sz="1400">
                <a:solidFill>
                  <a:schemeClr val="tx1"/>
                </a:solidFill>
              </a:defRPr>
            </a:lvl1pPr>
            <a:lvl2pPr marL="127992" indent="-127992">
              <a:spcBef>
                <a:spcPts val="0"/>
              </a:spcBef>
              <a:defRPr sz="1400">
                <a:solidFill>
                  <a:schemeClr val="tx1"/>
                </a:solidFill>
              </a:defRPr>
            </a:lvl2pPr>
            <a:lvl3pPr marL="255984" indent="-127992">
              <a:spcBef>
                <a:spcPts val="0"/>
              </a:spcBef>
              <a:defRPr sz="1400">
                <a:solidFill>
                  <a:schemeClr val="tx1"/>
                </a:solidFill>
              </a:defRPr>
            </a:lvl3pPr>
            <a:lvl4pPr marL="383976" indent="-127992">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11767910" y="646942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138606028"/>
      </p:ext>
    </p:extLst>
  </p:cSld>
  <p:clrMapOvr>
    <a:masterClrMapping/>
  </p:clrMapOvr>
  <p:transition spd="med"/>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8000" y="192025"/>
            <a:ext cx="5519020" cy="2286794"/>
          </a:xfrm>
        </p:spPr>
        <p:txBody>
          <a:bodyPr rIns="457200"/>
          <a:lstStyle>
            <a:lvl1pPr>
              <a:lnSpc>
                <a:spcPct val="100000"/>
              </a:lnSpc>
              <a:defRPr>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19" y="288037"/>
            <a:ext cx="2476178" cy="762794"/>
          </a:xfrm>
        </p:spPr>
        <p:txBody>
          <a:bodyPr/>
          <a:lstStyle>
            <a:lvl1pPr>
              <a:lnSpc>
                <a:spcPct val="110000"/>
              </a:lnSpc>
              <a:spcBef>
                <a:spcPts val="0"/>
              </a:spcBef>
              <a:defRPr sz="1400">
                <a:solidFill>
                  <a:schemeClr val="tx1"/>
                </a:solidFill>
              </a:defRPr>
            </a:lvl1pPr>
            <a:lvl2pPr marL="127992" indent="-127992">
              <a:lnSpc>
                <a:spcPct val="110000"/>
              </a:lnSpc>
              <a:spcBef>
                <a:spcPts val="0"/>
              </a:spcBef>
              <a:defRPr sz="1400">
                <a:solidFill>
                  <a:schemeClr val="tx1"/>
                </a:solidFill>
              </a:defRPr>
            </a:lvl2pPr>
            <a:lvl3pPr marL="255984" indent="-127992">
              <a:lnSpc>
                <a:spcPct val="110000"/>
              </a:lnSpc>
              <a:spcBef>
                <a:spcPts val="0"/>
              </a:spcBef>
              <a:defRPr sz="1400">
                <a:solidFill>
                  <a:schemeClr val="tx1"/>
                </a:solidFill>
              </a:defRPr>
            </a:lvl3pPr>
            <a:lvl4pPr marL="383976" indent="-127992">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3" y="288037"/>
            <a:ext cx="2479352" cy="762794"/>
          </a:xfrm>
        </p:spPr>
        <p:txBody>
          <a:bodyPr/>
          <a:lstStyle>
            <a:lvl1pPr>
              <a:lnSpc>
                <a:spcPct val="110000"/>
              </a:lnSpc>
              <a:spcBef>
                <a:spcPts val="0"/>
              </a:spcBef>
              <a:defRPr sz="1400">
                <a:solidFill>
                  <a:schemeClr val="tx1"/>
                </a:solidFill>
              </a:defRPr>
            </a:lvl1pPr>
            <a:lvl2pPr marL="127992" indent="-127992">
              <a:lnSpc>
                <a:spcPct val="110000"/>
              </a:lnSpc>
              <a:spcBef>
                <a:spcPts val="0"/>
              </a:spcBef>
              <a:defRPr sz="1400">
                <a:solidFill>
                  <a:schemeClr val="tx1"/>
                </a:solidFill>
              </a:defRPr>
            </a:lvl2pPr>
            <a:lvl3pPr marL="255984" indent="-127992">
              <a:lnSpc>
                <a:spcPct val="110000"/>
              </a:lnSpc>
              <a:spcBef>
                <a:spcPts val="0"/>
              </a:spcBef>
              <a:defRPr sz="1400">
                <a:solidFill>
                  <a:schemeClr val="tx1"/>
                </a:solidFill>
              </a:defRPr>
            </a:lvl3pPr>
            <a:lvl4pPr marL="383976" indent="-127992">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19" y="1714500"/>
            <a:ext cx="2476178"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3" indent="-91423">
              <a:lnSpc>
                <a:spcPct val="110000"/>
              </a:lnSpc>
              <a:spcBef>
                <a:spcPts val="0"/>
              </a:spcBef>
              <a:defRPr sz="1000" b="0" i="0">
                <a:solidFill>
                  <a:schemeClr val="tx1"/>
                </a:solidFill>
                <a:latin typeface="IBM Plex Sans" panose="020B0503050203000203" pitchFamily="34" charset="0"/>
              </a:defRPr>
            </a:lvl2pPr>
            <a:lvl3pPr marL="182846" indent="-91423">
              <a:lnSpc>
                <a:spcPct val="110000"/>
              </a:lnSpc>
              <a:spcBef>
                <a:spcPts val="0"/>
              </a:spcBef>
              <a:defRPr sz="1000" b="0" i="0">
                <a:solidFill>
                  <a:schemeClr val="tx1"/>
                </a:solidFill>
                <a:latin typeface="IBM Plex Sans" panose="020B0503050203000203" pitchFamily="34" charset="0"/>
              </a:defRPr>
            </a:lvl3pPr>
            <a:lvl4pPr marL="274269" indent="-91423">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0110" y="1714500"/>
            <a:ext cx="2476178"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3" indent="-91423">
              <a:lnSpc>
                <a:spcPct val="110000"/>
              </a:lnSpc>
              <a:spcBef>
                <a:spcPts val="0"/>
              </a:spcBef>
              <a:defRPr sz="1000" b="0" i="0">
                <a:solidFill>
                  <a:schemeClr val="tx1"/>
                </a:solidFill>
                <a:latin typeface="IBM Plex Sans" panose="020B0503050203000203" pitchFamily="34" charset="0"/>
              </a:defRPr>
            </a:lvl2pPr>
            <a:lvl3pPr marL="182846" indent="-91423">
              <a:lnSpc>
                <a:spcPct val="110000"/>
              </a:lnSpc>
              <a:spcBef>
                <a:spcPts val="0"/>
              </a:spcBef>
              <a:defRPr sz="1000" b="0" i="0">
                <a:solidFill>
                  <a:schemeClr val="tx1"/>
                </a:solidFill>
                <a:latin typeface="IBM Plex Sans" panose="020B0503050203000203" pitchFamily="34" charset="0"/>
              </a:defRPr>
            </a:lvl3pPr>
            <a:lvl4pPr marL="274269" indent="-91423">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11767910" y="646942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210935672"/>
      </p:ext>
    </p:extLst>
  </p:cSld>
  <p:clrMapOvr>
    <a:masterClrMapping/>
  </p:clrMapOvr>
  <p:transition spd="med"/>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63" y="192024"/>
            <a:ext cx="5519019" cy="1706563"/>
          </a:xfrm>
        </p:spPr>
        <p:txBody>
          <a:bodyPr rIns="457200"/>
          <a:lstStyle>
            <a:lvl1pPr>
              <a:lnSpc>
                <a:spcPct val="100000"/>
              </a:lnSpc>
              <a:defRPr sz="3399">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9168"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a:cxnSpLocks/>
          </p:cNvCxnSpPr>
          <p:nvPr userDrawn="1"/>
        </p:nvCxnSpPr>
        <p:spPr bwMode="auto">
          <a:xfrm>
            <a:off x="9142810" y="286569"/>
            <a:ext cx="0" cy="581101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userDrawn="1">
            <p:ph type="body" sz="quarter" idx="13"/>
          </p:nvPr>
        </p:nvSpPr>
        <p:spPr>
          <a:xfrm>
            <a:off x="943010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287999" y="3048000"/>
            <a:ext cx="1161273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3047603" y="3048000"/>
            <a:ext cx="0" cy="304958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 name="Footer Placeholder 3">
            <a:extLst>
              <a:ext uri="{FF2B5EF4-FFF2-40B4-BE49-F238E27FC236}">
                <a16:creationId xmlns:a16="http://schemas.microsoft.com/office/drawing/2014/main" id="{59A0B1DF-AF8B-38B3-B47C-60722DFBF162}"/>
              </a:ext>
            </a:extLst>
          </p:cNvPr>
          <p:cNvSpPr>
            <a:spLocks noGrp="1"/>
          </p:cNvSpPr>
          <p:nvPr userDrawn="1">
            <p:ph type="ftr" sz="quarter" idx="18"/>
          </p:nvPr>
        </p:nvSpPr>
        <p:spPr>
          <a:xfrm>
            <a:off x="287963" y="6408000"/>
            <a:ext cx="2477765" cy="190500"/>
          </a:xfrm>
        </p:spPr>
        <p:txBody>
          <a:bodyPr/>
          <a:lstStyle/>
          <a:p>
            <a:endParaRPr lang="en-US"/>
          </a:p>
        </p:txBody>
      </p:sp>
      <p:sp>
        <p:nvSpPr>
          <p:cNvPr id="6" name="Slide Number">
            <a:extLst>
              <a:ext uri="{FF2B5EF4-FFF2-40B4-BE49-F238E27FC236}">
                <a16:creationId xmlns:a16="http://schemas.microsoft.com/office/drawing/2014/main" id="{EFD38FC2-A92F-D3A8-74D5-CE6E95D9C133}"/>
              </a:ext>
            </a:extLst>
          </p:cNvPr>
          <p:cNvSpPr txBox="1">
            <a:spLocks noGrp="1"/>
          </p:cNvSpPr>
          <p:nvPr userDrawn="1">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cxnSp>
        <p:nvCxnSpPr>
          <p:cNvPr id="5" name="Straight Connector 4" descr="Vertical column divider">
            <a:extLst>
              <a:ext uri="{FF2B5EF4-FFF2-40B4-BE49-F238E27FC236}">
                <a16:creationId xmlns:a16="http://schemas.microsoft.com/office/drawing/2014/main" id="{A5B6E0FE-2F6F-9D77-9834-2DF9E13E2262}"/>
              </a:ext>
            </a:extLst>
          </p:cNvPr>
          <p:cNvCxnSpPr>
            <a:cxnSpLocks/>
          </p:cNvCxnSpPr>
          <p:nvPr userDrawn="1"/>
        </p:nvCxnSpPr>
        <p:spPr bwMode="auto">
          <a:xfrm>
            <a:off x="6095270" y="285051"/>
            <a:ext cx="0" cy="5812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10">
            <a:extLst>
              <a:ext uri="{FF2B5EF4-FFF2-40B4-BE49-F238E27FC236}">
                <a16:creationId xmlns:a16="http://schemas.microsoft.com/office/drawing/2014/main" id="{022E65FD-CDEF-1AA2-2521-5B200BF4B6BD}"/>
              </a:ext>
            </a:extLst>
          </p:cNvPr>
          <p:cNvSpPr>
            <a:spLocks noGrp="1"/>
          </p:cNvSpPr>
          <p:nvPr>
            <p:ph type="body" sz="quarter" idx="11"/>
          </p:nvPr>
        </p:nvSpPr>
        <p:spPr>
          <a:xfrm>
            <a:off x="287999" y="3337941"/>
            <a:ext cx="2474590" cy="2759647"/>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10">
            <a:extLst>
              <a:ext uri="{FF2B5EF4-FFF2-40B4-BE49-F238E27FC236}">
                <a16:creationId xmlns:a16="http://schemas.microsoft.com/office/drawing/2014/main" id="{83C43A7A-FFA5-D00F-7BEB-AA5C5DA6FB8E}"/>
              </a:ext>
            </a:extLst>
          </p:cNvPr>
          <p:cNvSpPr>
            <a:spLocks noGrp="1"/>
          </p:cNvSpPr>
          <p:nvPr>
            <p:ph type="body" sz="quarter" idx="19"/>
          </p:nvPr>
        </p:nvSpPr>
        <p:spPr>
          <a:xfrm>
            <a:off x="3331187" y="3336926"/>
            <a:ext cx="2474590" cy="2760662"/>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6558C27E-CF79-F761-3827-DA392178DC8E}"/>
              </a:ext>
            </a:extLst>
          </p:cNvPr>
          <p:cNvSpPr>
            <a:spLocks noGrp="1"/>
          </p:cNvSpPr>
          <p:nvPr>
            <p:ph type="body" sz="quarter" idx="20"/>
          </p:nvPr>
        </p:nvSpPr>
        <p:spPr>
          <a:xfrm>
            <a:off x="6389168" y="3336926"/>
            <a:ext cx="2474590" cy="2760662"/>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C0BF9C6F-22AC-2FF0-D8C9-37373CDEB3A5}"/>
              </a:ext>
            </a:extLst>
          </p:cNvPr>
          <p:cNvSpPr>
            <a:spLocks noGrp="1"/>
          </p:cNvSpPr>
          <p:nvPr>
            <p:ph type="body" sz="quarter" idx="14"/>
          </p:nvPr>
        </p:nvSpPr>
        <p:spPr>
          <a:xfrm>
            <a:off x="9428523" y="3336926"/>
            <a:ext cx="2474590" cy="2760662"/>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216424844"/>
      </p:ext>
    </p:extLst>
  </p:cSld>
  <p:clrMapOvr>
    <a:masterClrMapping/>
  </p:clrMapOvr>
  <p:transition spd="med"/>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9" y="288037"/>
            <a:ext cx="2474591" cy="2286794"/>
          </a:xfrm>
        </p:spPr>
        <p:txBody>
          <a:bodyPr rIns="0"/>
          <a:lstStyle>
            <a:lvl1pPr>
              <a:lnSpc>
                <a:spcPct val="100000"/>
              </a:lnSpc>
              <a:defRPr sz="1400">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19" y="288037"/>
            <a:ext cx="2476178" cy="762794"/>
          </a:xfrm>
        </p:spPr>
        <p:txBody>
          <a:bodyPr/>
          <a:lstStyle>
            <a:lvl1pPr>
              <a:lnSpc>
                <a:spcPct val="110000"/>
              </a:lnSpc>
              <a:spcBef>
                <a:spcPts val="0"/>
              </a:spcBef>
              <a:defRPr sz="1400">
                <a:solidFill>
                  <a:schemeClr val="tx1"/>
                </a:solidFill>
              </a:defRPr>
            </a:lvl1pPr>
            <a:lvl2pPr marL="127992" indent="-127992">
              <a:lnSpc>
                <a:spcPct val="110000"/>
              </a:lnSpc>
              <a:spcBef>
                <a:spcPts val="0"/>
              </a:spcBef>
              <a:defRPr sz="1400">
                <a:solidFill>
                  <a:schemeClr val="tx1"/>
                </a:solidFill>
              </a:defRPr>
            </a:lvl2pPr>
            <a:lvl3pPr marL="255984" indent="-127992">
              <a:lnSpc>
                <a:spcPct val="110000"/>
              </a:lnSpc>
              <a:spcBef>
                <a:spcPts val="0"/>
              </a:spcBef>
              <a:defRPr sz="1400">
                <a:solidFill>
                  <a:schemeClr val="tx1"/>
                </a:solidFill>
              </a:defRPr>
            </a:lvl3pPr>
            <a:lvl4pPr marL="383976" indent="-127992">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3" y="288037"/>
            <a:ext cx="2479352" cy="762794"/>
          </a:xfrm>
        </p:spPr>
        <p:txBody>
          <a:bodyPr/>
          <a:lstStyle>
            <a:lvl1pPr>
              <a:lnSpc>
                <a:spcPct val="110000"/>
              </a:lnSpc>
              <a:spcBef>
                <a:spcPts val="0"/>
              </a:spcBef>
              <a:defRPr sz="1400">
                <a:solidFill>
                  <a:schemeClr val="tx1"/>
                </a:solidFill>
              </a:defRPr>
            </a:lvl1pPr>
            <a:lvl2pPr marL="127992" indent="-127992">
              <a:lnSpc>
                <a:spcPct val="110000"/>
              </a:lnSpc>
              <a:spcBef>
                <a:spcPts val="0"/>
              </a:spcBef>
              <a:defRPr sz="1400">
                <a:solidFill>
                  <a:schemeClr val="tx1"/>
                </a:solidFill>
              </a:defRPr>
            </a:lvl2pPr>
            <a:lvl3pPr marL="255984" indent="-127992">
              <a:lnSpc>
                <a:spcPct val="110000"/>
              </a:lnSpc>
              <a:spcBef>
                <a:spcPts val="0"/>
              </a:spcBef>
              <a:defRPr sz="1400">
                <a:solidFill>
                  <a:schemeClr val="tx1"/>
                </a:solidFill>
              </a:defRPr>
            </a:lvl3pPr>
            <a:lvl4pPr marL="383976" indent="-127992">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19" y="1714500"/>
            <a:ext cx="2476178"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3" indent="-91423">
              <a:lnSpc>
                <a:spcPct val="110000"/>
              </a:lnSpc>
              <a:spcBef>
                <a:spcPts val="0"/>
              </a:spcBef>
              <a:defRPr sz="1000" b="0" i="0">
                <a:solidFill>
                  <a:schemeClr val="tx1"/>
                </a:solidFill>
                <a:latin typeface="IBM Plex Sans" panose="020B0503050203000203" pitchFamily="34" charset="0"/>
              </a:defRPr>
            </a:lvl2pPr>
            <a:lvl3pPr marL="182846" indent="-91423">
              <a:lnSpc>
                <a:spcPct val="110000"/>
              </a:lnSpc>
              <a:spcBef>
                <a:spcPts val="0"/>
              </a:spcBef>
              <a:defRPr sz="1000" b="0" i="0">
                <a:solidFill>
                  <a:schemeClr val="tx1"/>
                </a:solidFill>
                <a:latin typeface="IBM Plex Sans" panose="020B0503050203000203" pitchFamily="34" charset="0"/>
              </a:defRPr>
            </a:lvl3pPr>
            <a:lvl4pPr marL="274269" indent="-91423">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1698" y="1714500"/>
            <a:ext cx="2476178"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3" indent="-91423">
              <a:lnSpc>
                <a:spcPct val="110000"/>
              </a:lnSpc>
              <a:spcBef>
                <a:spcPts val="0"/>
              </a:spcBef>
              <a:defRPr sz="1000" b="0" i="0">
                <a:solidFill>
                  <a:schemeClr val="tx1"/>
                </a:solidFill>
                <a:latin typeface="IBM Plex Sans" panose="020B0503050203000203" pitchFamily="34" charset="0"/>
              </a:defRPr>
            </a:lvl2pPr>
            <a:lvl3pPr marL="182846" indent="-91423">
              <a:lnSpc>
                <a:spcPct val="110000"/>
              </a:lnSpc>
              <a:spcBef>
                <a:spcPts val="0"/>
              </a:spcBef>
              <a:defRPr sz="1000" b="0" i="0">
                <a:solidFill>
                  <a:schemeClr val="tx1"/>
                </a:solidFill>
                <a:latin typeface="IBM Plex Sans" panose="020B0503050203000203" pitchFamily="34" charset="0"/>
              </a:defRPr>
            </a:lvl3pPr>
            <a:lvl4pPr marL="274269" indent="-91423">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11767910" y="646942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678713281"/>
      </p:ext>
    </p:extLst>
  </p:cSld>
  <p:clrMapOvr>
    <a:masterClrMapping/>
  </p:clrMapOvr>
  <p:transition spd="med"/>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1" cy="570707"/>
          </a:xfrm>
        </p:spPr>
        <p:txBody>
          <a:bodyPr/>
          <a:lstStyle>
            <a:lvl1pPr>
              <a:lnSpc>
                <a:spcPct val="100000"/>
              </a:lnSpc>
              <a:defRPr sz="3199">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1"/>
          </a:xfrm>
        </p:spPr>
        <p:txBody>
          <a:bodyPr/>
          <a:lstStyle>
            <a:lvl1pPr>
              <a:spcBef>
                <a:spcPts val="0"/>
              </a:spcBef>
              <a:defRPr sz="1400" b="0" i="0">
                <a:solidFill>
                  <a:schemeClr val="tx1"/>
                </a:solidFill>
                <a:latin typeface="IBM Plex Sans Light" panose="020B0403050203000203" pitchFamily="34" charset="0"/>
              </a:defRPr>
            </a:lvl1pPr>
            <a:lvl2pPr marL="127992" indent="-127992">
              <a:spcBef>
                <a:spcPts val="0"/>
              </a:spcBef>
              <a:defRPr sz="1400" b="0" i="0">
                <a:solidFill>
                  <a:schemeClr val="tx1"/>
                </a:solidFill>
                <a:latin typeface="IBM Plex Sans Light" panose="020B0403050203000203" pitchFamily="34" charset="0"/>
              </a:defRPr>
            </a:lvl2pPr>
            <a:lvl3pPr marL="255984" indent="-127992">
              <a:spcBef>
                <a:spcPts val="0"/>
              </a:spcBef>
              <a:defRPr sz="1400" b="0" i="0">
                <a:solidFill>
                  <a:schemeClr val="tx1"/>
                </a:solidFill>
                <a:latin typeface="IBM Plex Sans Light" panose="020B0403050203000203" pitchFamily="34" charset="0"/>
              </a:defRPr>
            </a:lvl3pPr>
            <a:lvl4pPr marL="383976" indent="-127992">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2988" y="1714500"/>
            <a:ext cx="2476178" cy="4286251"/>
          </a:xfrm>
        </p:spPr>
        <p:txBody>
          <a:bodyPr/>
          <a:lstStyle>
            <a:lvl1pPr>
              <a:spcBef>
                <a:spcPts val="0"/>
              </a:spcBef>
              <a:defRPr sz="1000" b="0" i="0">
                <a:solidFill>
                  <a:schemeClr val="tx1"/>
                </a:solidFill>
                <a:latin typeface="IBM Plex Sans" panose="020B0503050203000203" pitchFamily="34" charset="0"/>
              </a:defRPr>
            </a:lvl1pPr>
            <a:lvl2pPr marL="91423" indent="-91423">
              <a:spcBef>
                <a:spcPts val="0"/>
              </a:spcBef>
              <a:defRPr sz="1000" b="0" i="0">
                <a:solidFill>
                  <a:schemeClr val="tx1"/>
                </a:solidFill>
                <a:latin typeface="IBM Plex Sans" panose="020B0503050203000203" pitchFamily="34" charset="0"/>
              </a:defRPr>
            </a:lvl2pPr>
            <a:lvl3pPr marL="182846" indent="-91423">
              <a:spcBef>
                <a:spcPts val="0"/>
              </a:spcBef>
              <a:defRPr sz="1000" b="0" i="0">
                <a:solidFill>
                  <a:schemeClr val="tx1"/>
                </a:solidFill>
                <a:latin typeface="IBM Plex Sans" panose="020B0503050203000203" pitchFamily="34" charset="0"/>
              </a:defRPr>
            </a:lvl3pPr>
            <a:lvl4pPr marL="274269" indent="-91423">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30591" y="1714500"/>
            <a:ext cx="2479352" cy="4286251"/>
          </a:xfrm>
        </p:spPr>
        <p:txBody>
          <a:bodyPr/>
          <a:lstStyle>
            <a:lvl1pPr>
              <a:spcBef>
                <a:spcPts val="0"/>
              </a:spcBef>
              <a:defRPr sz="1000" b="0" i="0">
                <a:solidFill>
                  <a:schemeClr val="tx1"/>
                </a:solidFill>
                <a:latin typeface="IBM Plex Sans" panose="020B0503050203000203" pitchFamily="34" charset="0"/>
              </a:defRPr>
            </a:lvl1pPr>
            <a:lvl2pPr marL="91423" indent="-91423">
              <a:spcBef>
                <a:spcPts val="0"/>
              </a:spcBef>
              <a:defRPr sz="1000" b="0" i="0">
                <a:solidFill>
                  <a:schemeClr val="tx1"/>
                </a:solidFill>
                <a:latin typeface="IBM Plex Sans" panose="020B0503050203000203" pitchFamily="34" charset="0"/>
              </a:defRPr>
            </a:lvl2pPr>
            <a:lvl3pPr marL="182846" indent="-91423">
              <a:spcBef>
                <a:spcPts val="0"/>
              </a:spcBef>
              <a:defRPr sz="1000" b="0" i="0">
                <a:solidFill>
                  <a:schemeClr val="tx1"/>
                </a:solidFill>
                <a:latin typeface="IBM Plex Sans" panose="020B0503050203000203" pitchFamily="34" charset="0"/>
              </a:defRPr>
            </a:lvl3pPr>
            <a:lvl4pPr marL="274269" indent="-91423">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4142" y="192024"/>
            <a:ext cx="2477765" cy="570707"/>
          </a:xfrm>
        </p:spPr>
        <p:txBody>
          <a:bodyPr/>
          <a:lstStyle>
            <a:lvl1pPr>
              <a:lnSpc>
                <a:spcPct val="100000"/>
              </a:lnSpc>
              <a:spcBef>
                <a:spcPts val="0"/>
              </a:spcBef>
              <a:defRPr sz="3199">
                <a:solidFill>
                  <a:schemeClr val="tx2"/>
                </a:solidFill>
              </a:defRPr>
            </a:lvl1pPr>
            <a:lvl2pPr>
              <a:lnSpc>
                <a:spcPct val="90000"/>
              </a:lnSpc>
              <a:spcBef>
                <a:spcPts val="0"/>
              </a:spcBef>
              <a:defRPr sz="1400"/>
            </a:lvl2pPr>
            <a:lvl3pPr>
              <a:lnSpc>
                <a:spcPct val="90000"/>
              </a:lnSpc>
              <a:spcBef>
                <a:spcPts val="0"/>
              </a:spcBef>
              <a:defRPr sz="1400"/>
            </a:lvl3pPr>
            <a:lvl4pPr>
              <a:lnSpc>
                <a:spcPct val="90000"/>
              </a:lnSpc>
              <a:spcBef>
                <a:spcPts val="0"/>
              </a:spcBef>
              <a:defRPr sz="1400"/>
            </a:lvl4pPr>
            <a:lvl5pPr>
              <a:lnSpc>
                <a:spcPct val="90000"/>
              </a:lnSpc>
              <a:spcBef>
                <a:spcPts val="0"/>
              </a:spcBef>
              <a:defRPr sz="14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6380919" y="288037"/>
            <a:ext cx="607997" cy="607231"/>
          </a:xfrm>
        </p:spPr>
        <p:txBody>
          <a:bodyPr anchor="ctr"/>
          <a:lstStyle>
            <a:lvl1pPr algn="ctr">
              <a:defRPr sz="800">
                <a:solidFill>
                  <a:schemeClr val="tx1"/>
                </a:solidFill>
              </a:defRPr>
            </a:lvl1pPr>
          </a:lstStyle>
          <a:p>
            <a:r>
              <a:rPr lang="en-US"/>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9428523" y="288037"/>
            <a:ext cx="608843" cy="608076"/>
          </a:xfrm>
        </p:spPr>
        <p:txBody>
          <a:bodyPr anchor="ctr"/>
          <a:lstStyle>
            <a:lvl1pPr algn="ctr">
              <a:defRPr sz="800">
                <a:solidFill>
                  <a:schemeClr val="tx1"/>
                </a:solidFill>
              </a:defRPr>
            </a:lvl1pPr>
          </a:lstStyle>
          <a:p>
            <a:r>
              <a:rPr lang="en-US"/>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6093683" y="284958"/>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9142810" y="284958"/>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11767910" y="646942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58622305"/>
      </p:ext>
    </p:extLst>
  </p:cSld>
  <p:clrMapOvr>
    <a:masterClrMapping/>
  </p:clrMapOvr>
  <p:transition spd="med"/>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87999" y="1239012"/>
            <a:ext cx="3334903" cy="1524000"/>
          </a:xfrm>
        </p:spPr>
        <p:txBody>
          <a:bodyPr/>
          <a:lstStyle>
            <a:lvl1pPr>
              <a:lnSpc>
                <a:spcPct val="100000"/>
              </a:lnSpc>
              <a:spcBef>
                <a:spcPts val="0"/>
              </a:spcBef>
              <a:defRPr sz="2200">
                <a:solidFill>
                  <a:schemeClr val="tx1"/>
                </a:solidFill>
              </a:defRPr>
            </a:lvl1pPr>
            <a:lvl2pPr marL="201130" indent="-201130">
              <a:lnSpc>
                <a:spcPct val="100000"/>
              </a:lnSpc>
              <a:spcBef>
                <a:spcPts val="0"/>
              </a:spcBef>
              <a:defRPr sz="2200">
                <a:solidFill>
                  <a:schemeClr val="tx1"/>
                </a:solidFill>
              </a:defRPr>
            </a:lvl2pPr>
            <a:lvl3pPr marL="402261" indent="-201130">
              <a:lnSpc>
                <a:spcPct val="100000"/>
              </a:lnSpc>
              <a:spcBef>
                <a:spcPts val="0"/>
              </a:spcBef>
              <a:defRPr sz="2200">
                <a:solidFill>
                  <a:schemeClr val="tx1"/>
                </a:solidFill>
              </a:defRPr>
            </a:lvl3pPr>
            <a:lvl4pPr marL="557679" indent="-201130">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6380919" y="1238251"/>
            <a:ext cx="3333316" cy="1524000"/>
          </a:xfrm>
        </p:spPr>
        <p:txBody>
          <a:bodyPr/>
          <a:lstStyle>
            <a:lvl1pPr>
              <a:lnSpc>
                <a:spcPct val="100000"/>
              </a:lnSpc>
              <a:spcBef>
                <a:spcPts val="0"/>
              </a:spcBef>
              <a:defRPr sz="2200">
                <a:solidFill>
                  <a:schemeClr val="tx1"/>
                </a:solidFill>
              </a:defRPr>
            </a:lvl1pPr>
            <a:lvl2pPr marL="201130" indent="-201130">
              <a:lnSpc>
                <a:spcPct val="100000"/>
              </a:lnSpc>
              <a:spcBef>
                <a:spcPts val="0"/>
              </a:spcBef>
              <a:defRPr sz="2200">
                <a:solidFill>
                  <a:schemeClr val="tx1"/>
                </a:solidFill>
              </a:defRPr>
            </a:lvl2pPr>
            <a:lvl3pPr marL="402261" indent="-201130">
              <a:lnSpc>
                <a:spcPct val="100000"/>
              </a:lnSpc>
              <a:spcBef>
                <a:spcPts val="0"/>
              </a:spcBef>
              <a:defRPr sz="2200">
                <a:solidFill>
                  <a:schemeClr val="tx1"/>
                </a:solidFill>
              </a:defRPr>
            </a:lvl3pPr>
            <a:lvl4pPr marL="557679" indent="-201130">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87999" y="4192524"/>
            <a:ext cx="3334904" cy="1524000"/>
          </a:xfrm>
        </p:spPr>
        <p:txBody>
          <a:bodyPr/>
          <a:lstStyle>
            <a:lvl1pPr>
              <a:lnSpc>
                <a:spcPct val="100000"/>
              </a:lnSpc>
              <a:spcBef>
                <a:spcPts val="0"/>
              </a:spcBef>
              <a:defRPr sz="2200">
                <a:solidFill>
                  <a:schemeClr val="tx1"/>
                </a:solidFill>
              </a:defRPr>
            </a:lvl1pPr>
            <a:lvl2pPr marL="201130" indent="-201130">
              <a:lnSpc>
                <a:spcPct val="100000"/>
              </a:lnSpc>
              <a:spcBef>
                <a:spcPts val="0"/>
              </a:spcBef>
              <a:defRPr sz="2200">
                <a:solidFill>
                  <a:schemeClr val="tx1"/>
                </a:solidFill>
              </a:defRPr>
            </a:lvl2pPr>
            <a:lvl3pPr marL="402261" indent="-201130">
              <a:lnSpc>
                <a:spcPct val="100000"/>
              </a:lnSpc>
              <a:spcBef>
                <a:spcPts val="0"/>
              </a:spcBef>
              <a:defRPr sz="2200">
                <a:solidFill>
                  <a:schemeClr val="tx1"/>
                </a:solidFill>
              </a:defRPr>
            </a:lvl3pPr>
            <a:lvl4pPr marL="557679" indent="-201130">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6380921" y="4191000"/>
            <a:ext cx="3333316" cy="1524000"/>
          </a:xfrm>
        </p:spPr>
        <p:txBody>
          <a:bodyPr/>
          <a:lstStyle>
            <a:lvl1pPr>
              <a:lnSpc>
                <a:spcPct val="100000"/>
              </a:lnSpc>
              <a:spcBef>
                <a:spcPts val="0"/>
              </a:spcBef>
              <a:defRPr sz="2200">
                <a:solidFill>
                  <a:schemeClr val="tx1"/>
                </a:solidFill>
              </a:defRPr>
            </a:lvl1pPr>
            <a:lvl2pPr marL="201130" indent="-201130">
              <a:lnSpc>
                <a:spcPct val="100000"/>
              </a:lnSpc>
              <a:spcBef>
                <a:spcPts val="0"/>
              </a:spcBef>
              <a:defRPr sz="2200">
                <a:solidFill>
                  <a:schemeClr val="tx1"/>
                </a:solidFill>
              </a:defRPr>
            </a:lvl2pPr>
            <a:lvl3pPr marL="402261" indent="-201130">
              <a:lnSpc>
                <a:spcPct val="100000"/>
              </a:lnSpc>
              <a:spcBef>
                <a:spcPts val="0"/>
              </a:spcBef>
              <a:defRPr sz="2200">
                <a:solidFill>
                  <a:schemeClr val="tx1"/>
                </a:solidFill>
              </a:defRPr>
            </a:lvl3pPr>
            <a:lvl4pPr marL="557679" indent="-201130">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87999" y="288037"/>
            <a:ext cx="607997" cy="608076"/>
          </a:xfrm>
        </p:spPr>
        <p:txBody>
          <a:bodyPr anchor="ctr"/>
          <a:lstStyle>
            <a:lvl1pPr algn="ctr">
              <a:defRPr sz="800"/>
            </a:lvl1pPr>
          </a:lstStyle>
          <a:p>
            <a:r>
              <a:rPr lang="en-US"/>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6380919" y="288037"/>
            <a:ext cx="607997" cy="608076"/>
          </a:xfrm>
        </p:spPr>
        <p:txBody>
          <a:bodyPr anchor="ctr"/>
          <a:lstStyle>
            <a:lvl1pPr algn="ctr">
              <a:defRPr sz="800"/>
            </a:lvl1pPr>
          </a:lstStyle>
          <a:p>
            <a:r>
              <a:rPr lang="en-US"/>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87999" y="3236977"/>
            <a:ext cx="607997" cy="608076"/>
          </a:xfrm>
        </p:spPr>
        <p:txBody>
          <a:bodyPr anchor="ctr"/>
          <a:lstStyle>
            <a:lvl1pPr algn="ctr">
              <a:defRPr sz="800"/>
            </a:lvl1pPr>
          </a:lstStyle>
          <a:p>
            <a:r>
              <a:rPr lang="en-US"/>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6380919" y="3238501"/>
            <a:ext cx="607997" cy="608076"/>
          </a:xfrm>
        </p:spPr>
        <p:txBody>
          <a:bodyPr anchor="ctr"/>
          <a:lstStyle>
            <a:lvl1pPr algn="ctr">
              <a:defRPr sz="800"/>
            </a:lvl1pPr>
          </a:lstStyle>
          <a:p>
            <a:r>
              <a:rPr lang="en-US"/>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6095207" y="284958"/>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284126" y="3048000"/>
            <a:ext cx="116205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11767910" y="646942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274785141"/>
      </p:ext>
    </p:extLst>
  </p:cSld>
  <p:clrMapOvr>
    <a:masterClrMapping/>
  </p:clrMapOvr>
  <p:transition spd="med"/>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8" y="841249"/>
            <a:ext cx="2857128" cy="1138428"/>
          </a:xfrm>
        </p:spPr>
        <p:txBody>
          <a:bodyPr/>
          <a:lstStyle>
            <a:lvl1pPr>
              <a:lnSpc>
                <a:spcPct val="110000"/>
              </a:lnSpc>
              <a:defRPr sz="1800">
                <a:solidFill>
                  <a:schemeClr val="tx2"/>
                </a:solidFill>
              </a:defRPr>
            </a:lvl1pPr>
          </a:lstStyle>
          <a:p>
            <a:r>
              <a:rPr lang="en-US"/>
              <a:t>Click to edit Master title style</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1682"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2" indent="-127992">
              <a:lnSpc>
                <a:spcPct val="110000"/>
              </a:lnSpc>
              <a:spcBef>
                <a:spcPts val="0"/>
              </a:spcBef>
              <a:defRPr sz="1400" b="0" i="0">
                <a:solidFill>
                  <a:schemeClr val="tx1"/>
                </a:solidFill>
                <a:latin typeface="IBM Plex Sans Light" panose="020B0403050203000203" pitchFamily="34" charset="0"/>
              </a:defRPr>
            </a:lvl2pPr>
            <a:lvl3pPr marL="255984" indent="-127992">
              <a:lnSpc>
                <a:spcPct val="110000"/>
              </a:lnSpc>
              <a:spcBef>
                <a:spcPts val="0"/>
              </a:spcBef>
              <a:defRPr sz="1400" b="0" i="0">
                <a:solidFill>
                  <a:schemeClr val="tx1"/>
                </a:solidFill>
                <a:latin typeface="IBM Plex Sans Light" panose="020B0403050203000203" pitchFamily="34" charset="0"/>
              </a:defRPr>
            </a:lvl3pPr>
            <a:lvl4pPr marL="383976" indent="-127992">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3" y="28803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2" indent="-127992">
              <a:lnSpc>
                <a:spcPct val="110000"/>
              </a:lnSpc>
              <a:spcBef>
                <a:spcPts val="0"/>
              </a:spcBef>
              <a:defRPr sz="1400" b="0" i="0">
                <a:solidFill>
                  <a:schemeClr val="tx1"/>
                </a:solidFill>
                <a:latin typeface="IBM Plex Sans Light" panose="020B0403050203000203" pitchFamily="34" charset="0"/>
              </a:defRPr>
            </a:lvl2pPr>
            <a:lvl3pPr marL="255984" indent="-127992">
              <a:lnSpc>
                <a:spcPct val="110000"/>
              </a:lnSpc>
              <a:spcBef>
                <a:spcPts val="0"/>
              </a:spcBef>
              <a:defRPr sz="1400" b="0" i="0">
                <a:solidFill>
                  <a:schemeClr val="tx1"/>
                </a:solidFill>
                <a:latin typeface="IBM Plex Sans Light" panose="020B0403050203000203" pitchFamily="34" charset="0"/>
              </a:defRPr>
            </a:lvl3pPr>
            <a:lvl4pPr marL="383976" indent="-127992">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2"/>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2" indent="-127992">
              <a:lnSpc>
                <a:spcPct val="110000"/>
              </a:lnSpc>
              <a:spcBef>
                <a:spcPts val="0"/>
              </a:spcBef>
              <a:defRPr sz="1400" b="0" i="0">
                <a:solidFill>
                  <a:schemeClr val="tx1"/>
                </a:solidFill>
                <a:latin typeface="IBM Plex Sans Light" panose="020B0403050203000203" pitchFamily="34" charset="0"/>
              </a:defRPr>
            </a:lvl2pPr>
            <a:lvl3pPr marL="255984" indent="-127992">
              <a:lnSpc>
                <a:spcPct val="110000"/>
              </a:lnSpc>
              <a:spcBef>
                <a:spcPts val="0"/>
              </a:spcBef>
              <a:defRPr sz="1400" b="0" i="0">
                <a:solidFill>
                  <a:schemeClr val="tx1"/>
                </a:solidFill>
                <a:latin typeface="IBM Plex Sans Light" panose="020B0403050203000203" pitchFamily="34" charset="0"/>
              </a:defRPr>
            </a:lvl3pPr>
            <a:lvl4pPr marL="383976" indent="-127992">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3" y="3333752"/>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2" indent="-127992">
              <a:lnSpc>
                <a:spcPct val="110000"/>
              </a:lnSpc>
              <a:spcBef>
                <a:spcPts val="0"/>
              </a:spcBef>
              <a:defRPr sz="1400" b="0" i="0">
                <a:solidFill>
                  <a:schemeClr val="tx1"/>
                </a:solidFill>
                <a:latin typeface="IBM Plex Sans Light" panose="020B0403050203000203" pitchFamily="34" charset="0"/>
              </a:defRPr>
            </a:lvl2pPr>
            <a:lvl3pPr marL="255984" indent="-127992">
              <a:lnSpc>
                <a:spcPct val="110000"/>
              </a:lnSpc>
              <a:spcBef>
                <a:spcPts val="0"/>
              </a:spcBef>
              <a:defRPr sz="1400" b="0" i="0">
                <a:solidFill>
                  <a:schemeClr val="tx1"/>
                </a:solidFill>
                <a:latin typeface="IBM Plex Sans Light" panose="020B0403050203000203" pitchFamily="34" charset="0"/>
              </a:defRPr>
            </a:lvl3pPr>
            <a:lvl4pPr marL="383976" indent="-127992">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288036"/>
            <a:ext cx="2477765" cy="570707"/>
          </a:xfrm>
        </p:spPr>
        <p:txBody>
          <a:bodyPr/>
          <a:lstStyle>
            <a:lvl1pPr>
              <a:defRPr sz="14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11767910" y="646942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09517190"/>
      </p:ext>
    </p:extLst>
  </p:cSld>
  <p:clrMapOvr>
    <a:masterClrMapping/>
  </p:clrMapOvr>
  <p:transition spd="med"/>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763525"/>
            <a:ext cx="5521400" cy="1138428"/>
          </a:xfrm>
        </p:spPr>
        <p:txBody>
          <a:bodyPr rIns="457200"/>
          <a:lstStyle>
            <a:lvl1pPr>
              <a:lnSpc>
                <a:spcPct val="110000"/>
              </a:lnSpc>
              <a:defRPr sz="3199">
                <a:solidFill>
                  <a:schemeClr val="tx2"/>
                </a:solidFill>
              </a:defRPr>
            </a:lvl1pPr>
          </a:lstStyle>
          <a:p>
            <a:r>
              <a:rPr lang="en-US"/>
              <a:t>Click to edit Master title style</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495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2" indent="-127992">
              <a:lnSpc>
                <a:spcPct val="110000"/>
              </a:lnSpc>
              <a:spcBef>
                <a:spcPts val="0"/>
              </a:spcBef>
              <a:defRPr sz="1400" b="0" i="0">
                <a:solidFill>
                  <a:schemeClr val="tx1"/>
                </a:solidFill>
                <a:latin typeface="IBM Plex Sans Light" panose="020B0403050203000203" pitchFamily="34" charset="0"/>
              </a:defRPr>
            </a:lvl2pPr>
            <a:lvl3pPr marL="255984" indent="-127992">
              <a:lnSpc>
                <a:spcPct val="110000"/>
              </a:lnSpc>
              <a:spcBef>
                <a:spcPts val="0"/>
              </a:spcBef>
              <a:defRPr sz="1400" b="0" i="0">
                <a:solidFill>
                  <a:schemeClr val="tx1"/>
                </a:solidFill>
                <a:latin typeface="IBM Plex Sans Light" panose="020B0403050203000203" pitchFamily="34" charset="0"/>
              </a:defRPr>
            </a:lvl3pPr>
            <a:lvl4pPr marL="383976" indent="-127992">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3" y="28495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2" indent="-127992">
              <a:lnSpc>
                <a:spcPct val="110000"/>
              </a:lnSpc>
              <a:spcBef>
                <a:spcPts val="0"/>
              </a:spcBef>
              <a:defRPr sz="1400" b="0" i="0">
                <a:solidFill>
                  <a:schemeClr val="tx1"/>
                </a:solidFill>
                <a:latin typeface="IBM Plex Sans Light" panose="020B0403050203000203" pitchFamily="34" charset="0"/>
              </a:defRPr>
            </a:lvl2pPr>
            <a:lvl3pPr marL="255984" indent="-127992">
              <a:lnSpc>
                <a:spcPct val="110000"/>
              </a:lnSpc>
              <a:spcBef>
                <a:spcPts val="0"/>
              </a:spcBef>
              <a:defRPr sz="1400" b="0" i="0">
                <a:solidFill>
                  <a:schemeClr val="tx1"/>
                </a:solidFill>
                <a:latin typeface="IBM Plex Sans Light" panose="020B0403050203000203" pitchFamily="34" charset="0"/>
              </a:defRPr>
            </a:lvl3pPr>
            <a:lvl4pPr marL="383976" indent="-127992">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2"/>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2" indent="-127992">
              <a:lnSpc>
                <a:spcPct val="110000"/>
              </a:lnSpc>
              <a:spcBef>
                <a:spcPts val="0"/>
              </a:spcBef>
              <a:defRPr sz="1400" b="0" i="0">
                <a:solidFill>
                  <a:schemeClr val="tx1"/>
                </a:solidFill>
                <a:latin typeface="IBM Plex Sans Light" panose="020B0403050203000203" pitchFamily="34" charset="0"/>
              </a:defRPr>
            </a:lvl2pPr>
            <a:lvl3pPr marL="255984" indent="-127992">
              <a:lnSpc>
                <a:spcPct val="110000"/>
              </a:lnSpc>
              <a:spcBef>
                <a:spcPts val="0"/>
              </a:spcBef>
              <a:defRPr sz="1400" b="0" i="0">
                <a:solidFill>
                  <a:schemeClr val="tx1"/>
                </a:solidFill>
                <a:latin typeface="IBM Plex Sans Light" panose="020B0403050203000203" pitchFamily="34" charset="0"/>
              </a:defRPr>
            </a:lvl3pPr>
            <a:lvl4pPr marL="383976" indent="-127992">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3" y="3333752"/>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2" indent="-127992">
              <a:lnSpc>
                <a:spcPct val="110000"/>
              </a:lnSpc>
              <a:spcBef>
                <a:spcPts val="0"/>
              </a:spcBef>
              <a:defRPr sz="1400" b="0" i="0">
                <a:solidFill>
                  <a:schemeClr val="tx1"/>
                </a:solidFill>
                <a:latin typeface="IBM Plex Sans Light" panose="020B0403050203000203" pitchFamily="34" charset="0"/>
              </a:defRPr>
            </a:lvl2pPr>
            <a:lvl3pPr marL="255984" indent="-127992">
              <a:lnSpc>
                <a:spcPct val="110000"/>
              </a:lnSpc>
              <a:spcBef>
                <a:spcPts val="0"/>
              </a:spcBef>
              <a:defRPr sz="1400" b="0" i="0">
                <a:solidFill>
                  <a:schemeClr val="tx1"/>
                </a:solidFill>
                <a:latin typeface="IBM Plex Sans Light" panose="020B0403050203000203" pitchFamily="34" charset="0"/>
              </a:defRPr>
            </a:lvl3pPr>
            <a:lvl4pPr marL="383976" indent="-127992">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288037"/>
            <a:ext cx="2477765" cy="224028"/>
          </a:xfrm>
        </p:spPr>
        <p:txBody>
          <a:bodyPr/>
          <a:lstStyle>
            <a:lvl1pPr>
              <a:defRPr sz="14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11767910" y="646942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820952283"/>
      </p:ext>
    </p:extLst>
  </p:cSld>
  <p:clrMapOvr>
    <a:masterClrMapping/>
  </p:clrMapOvr>
  <p:transition spd="med"/>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288037"/>
            <a:ext cx="2477765" cy="2286794"/>
          </a:xfrm>
        </p:spPr>
        <p:txBody>
          <a:bodyPr/>
          <a:lstStyle>
            <a:lvl1pPr>
              <a:lnSpc>
                <a:spcPct val="100000"/>
              </a:lnSpc>
              <a:defRPr sz="1400">
                <a:solidFill>
                  <a:schemeClr val="tx2"/>
                </a:solidFill>
              </a:defRPr>
            </a:lvl1pPr>
          </a:lstStyle>
          <a:p>
            <a:r>
              <a:rPr lang="en-US"/>
              <a:t>Click to edit Master title style</a:t>
            </a:r>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28416"/>
            <a:ext cx="2474591" cy="2672459"/>
          </a:xfrm>
        </p:spPr>
        <p:txBody>
          <a:bodyPr/>
          <a:lstStyle>
            <a:lvl1pPr>
              <a:spcBef>
                <a:spcPts val="0"/>
              </a:spcBef>
              <a:defRPr sz="1400">
                <a:solidFill>
                  <a:schemeClr val="tx1"/>
                </a:solidFill>
              </a:defRPr>
            </a:lvl1pPr>
            <a:lvl2pPr marL="127992" indent="-127992">
              <a:spcBef>
                <a:spcPts val="0"/>
              </a:spcBef>
              <a:defRPr sz="1400">
                <a:solidFill>
                  <a:schemeClr val="tx1"/>
                </a:solidFill>
              </a:defRPr>
            </a:lvl2pPr>
            <a:lvl3pPr marL="255984" indent="-127992">
              <a:spcBef>
                <a:spcPts val="0"/>
              </a:spcBef>
              <a:defRPr sz="1400">
                <a:solidFill>
                  <a:schemeClr val="tx1"/>
                </a:solidFill>
              </a:defRPr>
            </a:lvl3pPr>
            <a:lvl4pPr marL="383976" indent="-127992">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1187" y="3333751"/>
            <a:ext cx="2474591" cy="2672459"/>
          </a:xfrm>
        </p:spPr>
        <p:txBody>
          <a:bodyPr/>
          <a:lstStyle>
            <a:lvl1pPr>
              <a:spcBef>
                <a:spcPts val="0"/>
              </a:spcBef>
              <a:defRPr sz="1400">
                <a:solidFill>
                  <a:schemeClr val="tx1"/>
                </a:solidFill>
              </a:defRPr>
            </a:lvl1pPr>
            <a:lvl2pPr marL="127992" indent="-127992">
              <a:spcBef>
                <a:spcPts val="0"/>
              </a:spcBef>
              <a:defRPr sz="1400">
                <a:solidFill>
                  <a:schemeClr val="tx1"/>
                </a:solidFill>
              </a:defRPr>
            </a:lvl2pPr>
            <a:lvl3pPr marL="255984" indent="-127992">
              <a:spcBef>
                <a:spcPts val="0"/>
              </a:spcBef>
              <a:defRPr sz="1400">
                <a:solidFill>
                  <a:schemeClr val="tx1"/>
                </a:solidFill>
              </a:defRPr>
            </a:lvl3pPr>
            <a:lvl4pPr marL="383976" indent="-127992">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50" y="3333751"/>
            <a:ext cx="2474591" cy="2672459"/>
          </a:xfrm>
        </p:spPr>
        <p:txBody>
          <a:bodyPr/>
          <a:lstStyle>
            <a:lvl1pPr>
              <a:spcBef>
                <a:spcPts val="0"/>
              </a:spcBef>
              <a:defRPr sz="1400">
                <a:solidFill>
                  <a:schemeClr val="tx1"/>
                </a:solidFill>
              </a:defRPr>
            </a:lvl1pPr>
            <a:lvl2pPr marL="127992" indent="-127992">
              <a:spcBef>
                <a:spcPts val="0"/>
              </a:spcBef>
              <a:defRPr sz="1400">
                <a:solidFill>
                  <a:schemeClr val="tx1"/>
                </a:solidFill>
              </a:defRPr>
            </a:lvl2pPr>
            <a:lvl3pPr marL="255984" indent="-127992">
              <a:spcBef>
                <a:spcPts val="0"/>
              </a:spcBef>
              <a:defRPr sz="1400">
                <a:solidFill>
                  <a:schemeClr val="tx1"/>
                </a:solidFill>
              </a:defRPr>
            </a:lvl3pPr>
            <a:lvl4pPr marL="383976" indent="-127992">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3751"/>
            <a:ext cx="2474591" cy="2672459"/>
          </a:xfrm>
        </p:spPr>
        <p:txBody>
          <a:bodyPr/>
          <a:lstStyle>
            <a:lvl1pPr>
              <a:spcBef>
                <a:spcPts val="0"/>
              </a:spcBef>
              <a:defRPr sz="1400">
                <a:solidFill>
                  <a:schemeClr val="tx1"/>
                </a:solidFill>
              </a:defRPr>
            </a:lvl1pPr>
            <a:lvl2pPr marL="127992" indent="-127992">
              <a:spcBef>
                <a:spcPts val="0"/>
              </a:spcBef>
              <a:defRPr sz="1400">
                <a:solidFill>
                  <a:schemeClr val="tx1"/>
                </a:solidFill>
              </a:defRPr>
            </a:lvl2pPr>
            <a:lvl3pPr marL="255984" indent="-127992">
              <a:spcBef>
                <a:spcPts val="0"/>
              </a:spcBef>
              <a:defRPr sz="1400">
                <a:solidFill>
                  <a:schemeClr val="tx1"/>
                </a:solidFill>
              </a:defRPr>
            </a:lvl3pPr>
            <a:lvl4pPr marL="383976" indent="-127992">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11767910" y="646942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135418481"/>
      </p:ext>
    </p:extLst>
  </p:cSld>
  <p:clrMapOvr>
    <a:masterClrMapping/>
  </p:clrMapOvr>
  <p:transition spd="med"/>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192025"/>
            <a:ext cx="5524575" cy="2286794"/>
          </a:xfrm>
        </p:spPr>
        <p:txBody>
          <a:bodyPr rIns="457200"/>
          <a:lstStyle>
            <a:lvl1pPr>
              <a:lnSpc>
                <a:spcPct val="100000"/>
              </a:lnSpc>
              <a:defRPr>
                <a:solidFill>
                  <a:schemeClr val="tx2"/>
                </a:solidFill>
              </a:defRPr>
            </a:lvl1pPr>
          </a:lstStyle>
          <a:p>
            <a:r>
              <a:rPr lang="en-US"/>
              <a:t>Click to edit Master title style</a:t>
            </a:r>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28416"/>
            <a:ext cx="2474591" cy="2672459"/>
          </a:xfrm>
        </p:spPr>
        <p:txBody>
          <a:bodyPr/>
          <a:lstStyle>
            <a:lvl1pPr>
              <a:spcBef>
                <a:spcPts val="0"/>
              </a:spcBef>
              <a:defRPr sz="1400">
                <a:solidFill>
                  <a:schemeClr val="tx1"/>
                </a:solidFill>
              </a:defRPr>
            </a:lvl1pPr>
            <a:lvl2pPr marL="127992" indent="-127992">
              <a:spcBef>
                <a:spcPts val="0"/>
              </a:spcBef>
              <a:defRPr sz="1400">
                <a:solidFill>
                  <a:schemeClr val="tx1"/>
                </a:solidFill>
              </a:defRPr>
            </a:lvl2pPr>
            <a:lvl3pPr marL="255984" indent="-127992">
              <a:spcBef>
                <a:spcPts val="0"/>
              </a:spcBef>
              <a:defRPr sz="1400">
                <a:solidFill>
                  <a:schemeClr val="tx1"/>
                </a:solidFill>
              </a:defRPr>
            </a:lvl3pPr>
            <a:lvl4pPr marL="383976" indent="-127992">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4362" y="3333751"/>
            <a:ext cx="2474591" cy="2672459"/>
          </a:xfrm>
        </p:spPr>
        <p:txBody>
          <a:bodyPr/>
          <a:lstStyle>
            <a:lvl1pPr>
              <a:spcBef>
                <a:spcPts val="0"/>
              </a:spcBef>
              <a:defRPr sz="1400">
                <a:solidFill>
                  <a:schemeClr val="tx1"/>
                </a:solidFill>
              </a:defRPr>
            </a:lvl1pPr>
            <a:lvl2pPr marL="127992" indent="-127992">
              <a:spcBef>
                <a:spcPts val="0"/>
              </a:spcBef>
              <a:defRPr sz="1400">
                <a:solidFill>
                  <a:schemeClr val="tx1"/>
                </a:solidFill>
              </a:defRPr>
            </a:lvl2pPr>
            <a:lvl3pPr marL="255984" indent="-127992">
              <a:spcBef>
                <a:spcPts val="0"/>
              </a:spcBef>
              <a:defRPr sz="1400">
                <a:solidFill>
                  <a:schemeClr val="tx1"/>
                </a:solidFill>
              </a:defRPr>
            </a:lvl3pPr>
            <a:lvl4pPr marL="383976" indent="-127992">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50" y="3333751"/>
            <a:ext cx="2474591" cy="2672459"/>
          </a:xfrm>
        </p:spPr>
        <p:txBody>
          <a:bodyPr/>
          <a:lstStyle>
            <a:lvl1pPr>
              <a:spcBef>
                <a:spcPts val="0"/>
              </a:spcBef>
              <a:defRPr sz="1400">
                <a:solidFill>
                  <a:schemeClr val="tx1"/>
                </a:solidFill>
              </a:defRPr>
            </a:lvl1pPr>
            <a:lvl2pPr marL="127992" indent="-127992">
              <a:spcBef>
                <a:spcPts val="0"/>
              </a:spcBef>
              <a:defRPr sz="1400">
                <a:solidFill>
                  <a:schemeClr val="tx1"/>
                </a:solidFill>
              </a:defRPr>
            </a:lvl2pPr>
            <a:lvl3pPr marL="255984" indent="-127992">
              <a:spcBef>
                <a:spcPts val="0"/>
              </a:spcBef>
              <a:defRPr sz="1400">
                <a:solidFill>
                  <a:schemeClr val="tx1"/>
                </a:solidFill>
              </a:defRPr>
            </a:lvl3pPr>
            <a:lvl4pPr marL="383976" indent="-127992">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3751"/>
            <a:ext cx="2474591" cy="2672459"/>
          </a:xfrm>
        </p:spPr>
        <p:txBody>
          <a:bodyPr/>
          <a:lstStyle>
            <a:lvl1pPr>
              <a:spcBef>
                <a:spcPts val="0"/>
              </a:spcBef>
              <a:defRPr sz="1400">
                <a:solidFill>
                  <a:schemeClr val="tx1"/>
                </a:solidFill>
              </a:defRPr>
            </a:lvl1pPr>
            <a:lvl2pPr marL="127992" indent="-127992">
              <a:spcBef>
                <a:spcPts val="0"/>
              </a:spcBef>
              <a:defRPr sz="1400">
                <a:solidFill>
                  <a:schemeClr val="tx1"/>
                </a:solidFill>
              </a:defRPr>
            </a:lvl2pPr>
            <a:lvl3pPr marL="255984" indent="-127992">
              <a:spcBef>
                <a:spcPts val="0"/>
              </a:spcBef>
              <a:defRPr sz="1400">
                <a:solidFill>
                  <a:schemeClr val="tx1"/>
                </a:solidFill>
              </a:defRPr>
            </a:lvl3pPr>
            <a:lvl4pPr marL="383976" indent="-127992">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7910" y="646942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078179858"/>
      </p:ext>
    </p:extLst>
  </p:cSld>
  <p:clrMapOvr>
    <a:masterClrMapping/>
  </p:clrMapOvr>
  <p:transition spd="med"/>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1_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1" cy="2286795"/>
          </a:xfrm>
        </p:spPr>
        <p:txBody>
          <a:bodyPr/>
          <a:lstStyle>
            <a:lvl1pPr>
              <a:lnSpc>
                <a:spcPct val="110000"/>
              </a:lnSpc>
              <a:defRPr sz="1400">
                <a:solidFill>
                  <a:schemeClr val="tx2"/>
                </a:solidFill>
              </a:defRPr>
            </a:lvl1pPr>
          </a:lstStyle>
          <a:p>
            <a:r>
              <a:rPr lang="en-US"/>
              <a:t>Click to edit Master title style</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2" indent="-127992">
              <a:lnSpc>
                <a:spcPct val="110000"/>
              </a:lnSpc>
              <a:spcBef>
                <a:spcPts val="0"/>
              </a:spcBef>
              <a:defRPr sz="1400" b="0" i="0">
                <a:solidFill>
                  <a:schemeClr val="tx1"/>
                </a:solidFill>
                <a:latin typeface="IBM Plex Sans Light" panose="020B0403050203000203" pitchFamily="34" charset="0"/>
              </a:defRPr>
            </a:lvl2pPr>
            <a:lvl3pPr marL="255984" indent="-127992">
              <a:lnSpc>
                <a:spcPct val="110000"/>
              </a:lnSpc>
              <a:spcBef>
                <a:spcPts val="0"/>
              </a:spcBef>
              <a:defRPr sz="1400" b="0" i="0">
                <a:solidFill>
                  <a:schemeClr val="tx1"/>
                </a:solidFill>
                <a:latin typeface="IBM Plex Sans Light" panose="020B0403050203000203" pitchFamily="34" charset="0"/>
              </a:defRPr>
            </a:lvl3pPr>
            <a:lvl4pPr marL="383976" indent="-127992">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3" y="28803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2" indent="-127992">
              <a:lnSpc>
                <a:spcPct val="110000"/>
              </a:lnSpc>
              <a:spcBef>
                <a:spcPts val="0"/>
              </a:spcBef>
              <a:defRPr sz="1400" b="0" i="0">
                <a:solidFill>
                  <a:schemeClr val="tx1"/>
                </a:solidFill>
                <a:latin typeface="IBM Plex Sans Light" panose="020B0403050203000203" pitchFamily="34" charset="0"/>
              </a:defRPr>
            </a:lvl2pPr>
            <a:lvl3pPr marL="255984" indent="-127992">
              <a:lnSpc>
                <a:spcPct val="110000"/>
              </a:lnSpc>
              <a:spcBef>
                <a:spcPts val="0"/>
              </a:spcBef>
              <a:defRPr sz="1400" b="0" i="0">
                <a:solidFill>
                  <a:schemeClr val="tx1"/>
                </a:solidFill>
                <a:latin typeface="IBM Plex Sans Light" panose="020B0403050203000203" pitchFamily="34" charset="0"/>
              </a:defRPr>
            </a:lvl3pPr>
            <a:lvl4pPr marL="383976" indent="-127992">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2"/>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2" indent="-127992">
              <a:lnSpc>
                <a:spcPct val="110000"/>
              </a:lnSpc>
              <a:spcBef>
                <a:spcPts val="0"/>
              </a:spcBef>
              <a:defRPr sz="1400" b="0" i="0">
                <a:solidFill>
                  <a:schemeClr val="tx1"/>
                </a:solidFill>
                <a:latin typeface="IBM Plex Sans Light" panose="020B0403050203000203" pitchFamily="34" charset="0"/>
              </a:defRPr>
            </a:lvl2pPr>
            <a:lvl3pPr marL="255984" indent="-127992">
              <a:lnSpc>
                <a:spcPct val="110000"/>
              </a:lnSpc>
              <a:spcBef>
                <a:spcPts val="0"/>
              </a:spcBef>
              <a:defRPr sz="1400" b="0" i="0">
                <a:solidFill>
                  <a:schemeClr val="tx1"/>
                </a:solidFill>
                <a:latin typeface="IBM Plex Sans Light" panose="020B0403050203000203" pitchFamily="34" charset="0"/>
              </a:defRPr>
            </a:lvl3pPr>
            <a:lvl4pPr marL="383976" indent="-127992">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3" y="3333752"/>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2" indent="-127992">
              <a:lnSpc>
                <a:spcPct val="110000"/>
              </a:lnSpc>
              <a:spcBef>
                <a:spcPts val="0"/>
              </a:spcBef>
              <a:defRPr sz="1400" b="0" i="0">
                <a:solidFill>
                  <a:schemeClr val="tx1"/>
                </a:solidFill>
                <a:latin typeface="IBM Plex Sans Light" panose="020B0403050203000203" pitchFamily="34" charset="0"/>
              </a:defRPr>
            </a:lvl2pPr>
            <a:lvl3pPr marL="255984" indent="-127992">
              <a:lnSpc>
                <a:spcPct val="110000"/>
              </a:lnSpc>
              <a:spcBef>
                <a:spcPts val="0"/>
              </a:spcBef>
              <a:defRPr sz="1400" b="0" i="0">
                <a:solidFill>
                  <a:schemeClr val="tx1"/>
                </a:solidFill>
                <a:latin typeface="IBM Plex Sans Light" panose="020B0403050203000203" pitchFamily="34" charset="0"/>
              </a:defRPr>
            </a:lvl3pPr>
            <a:lvl4pPr marL="383976" indent="-127992">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3332555"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2" indent="-127992">
              <a:lnSpc>
                <a:spcPct val="110000"/>
              </a:lnSpc>
              <a:spcBef>
                <a:spcPts val="0"/>
              </a:spcBef>
              <a:defRPr sz="1400" b="0" i="0">
                <a:solidFill>
                  <a:schemeClr val="tx1"/>
                </a:solidFill>
                <a:latin typeface="IBM Plex Sans Light" panose="020B0403050203000203" pitchFamily="34" charset="0"/>
              </a:defRPr>
            </a:lvl2pPr>
            <a:lvl3pPr marL="255984" indent="-127992">
              <a:lnSpc>
                <a:spcPct val="110000"/>
              </a:lnSpc>
              <a:spcBef>
                <a:spcPts val="0"/>
              </a:spcBef>
              <a:defRPr sz="1400" b="0" i="0">
                <a:solidFill>
                  <a:schemeClr val="tx1"/>
                </a:solidFill>
                <a:latin typeface="IBM Plex Sans Light" panose="020B0403050203000203" pitchFamily="34" charset="0"/>
              </a:defRPr>
            </a:lvl3pPr>
            <a:lvl4pPr marL="383976" indent="-127992">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3334142" y="3333752"/>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2" indent="-127992">
              <a:lnSpc>
                <a:spcPct val="110000"/>
              </a:lnSpc>
              <a:spcBef>
                <a:spcPts val="0"/>
              </a:spcBef>
              <a:defRPr sz="1400" b="0" i="0">
                <a:solidFill>
                  <a:schemeClr val="tx1"/>
                </a:solidFill>
                <a:latin typeface="IBM Plex Sans Light" panose="020B0403050203000203" pitchFamily="34" charset="0"/>
              </a:defRPr>
            </a:lvl2pPr>
            <a:lvl3pPr marL="255984" indent="-127992">
              <a:lnSpc>
                <a:spcPct val="110000"/>
              </a:lnSpc>
              <a:spcBef>
                <a:spcPts val="0"/>
              </a:spcBef>
              <a:defRPr sz="1400" b="0" i="0">
                <a:solidFill>
                  <a:schemeClr val="tx1"/>
                </a:solidFill>
                <a:latin typeface="IBM Plex Sans Light" panose="020B0403050203000203" pitchFamily="34" charset="0"/>
              </a:defRPr>
            </a:lvl3pPr>
            <a:lvl4pPr marL="383976" indent="-127992">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11767910" y="646942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829031875"/>
      </p:ext>
    </p:extLst>
  </p:cSld>
  <p:clrMapOvr>
    <a:masterClrMapping/>
  </p:clrMapOvr>
  <p:transition spd="med"/>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87999" y="288036"/>
            <a:ext cx="2474591" cy="1429544"/>
          </a:xfrm>
        </p:spPr>
        <p:txBody>
          <a:bodyPr/>
          <a:lstStyle>
            <a:lvl1pPr>
              <a:lnSpc>
                <a:spcPct val="110000"/>
              </a:lnSpc>
              <a:defRPr sz="14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3333316" y="666751"/>
            <a:ext cx="2475384" cy="1905000"/>
          </a:xfrm>
        </p:spPr>
        <p:txBody>
          <a:bodyPr/>
          <a:lstStyle>
            <a:lvl1pPr>
              <a:lnSpc>
                <a:spcPct val="110000"/>
              </a:lnSpc>
              <a:spcBef>
                <a:spcPts val="0"/>
              </a:spcBef>
              <a:defRPr sz="1200">
                <a:solidFill>
                  <a:schemeClr val="tx1"/>
                </a:solidFill>
              </a:defRPr>
            </a:lvl1pPr>
            <a:lvl2pPr marL="109708" indent="-109708">
              <a:lnSpc>
                <a:spcPct val="110000"/>
              </a:lnSpc>
              <a:spcBef>
                <a:spcPts val="0"/>
              </a:spcBef>
              <a:defRPr sz="1200">
                <a:solidFill>
                  <a:schemeClr val="tx1"/>
                </a:solidFill>
              </a:defRPr>
            </a:lvl2pPr>
            <a:lvl3pPr marL="219415" indent="-109708">
              <a:lnSpc>
                <a:spcPct val="110000"/>
              </a:lnSpc>
              <a:spcBef>
                <a:spcPts val="0"/>
              </a:spcBef>
              <a:defRPr sz="1200">
                <a:solidFill>
                  <a:schemeClr val="tx1"/>
                </a:solidFill>
              </a:defRPr>
            </a:lvl3pPr>
            <a:lvl4pPr marL="329122" indent="-109708">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6380920" y="666751"/>
            <a:ext cx="2476178" cy="1905000"/>
          </a:xfrm>
        </p:spPr>
        <p:txBody>
          <a:bodyPr/>
          <a:lstStyle>
            <a:lvl1pPr>
              <a:lnSpc>
                <a:spcPct val="110000"/>
              </a:lnSpc>
              <a:spcBef>
                <a:spcPts val="0"/>
              </a:spcBef>
              <a:defRPr sz="1200">
                <a:solidFill>
                  <a:schemeClr val="tx1"/>
                </a:solidFill>
              </a:defRPr>
            </a:lvl1pPr>
            <a:lvl2pPr marL="109708" indent="-109708">
              <a:lnSpc>
                <a:spcPct val="110000"/>
              </a:lnSpc>
              <a:spcBef>
                <a:spcPts val="0"/>
              </a:spcBef>
              <a:defRPr sz="1200">
                <a:solidFill>
                  <a:schemeClr val="tx1"/>
                </a:solidFill>
              </a:defRPr>
            </a:lvl2pPr>
            <a:lvl3pPr marL="219415" indent="-109708">
              <a:lnSpc>
                <a:spcPct val="110000"/>
              </a:lnSpc>
              <a:spcBef>
                <a:spcPts val="0"/>
              </a:spcBef>
              <a:defRPr sz="1200">
                <a:solidFill>
                  <a:schemeClr val="tx1"/>
                </a:solidFill>
              </a:defRPr>
            </a:lvl3pPr>
            <a:lvl4pPr marL="329122" indent="-109708">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9428523" y="666751"/>
            <a:ext cx="2476178" cy="1905000"/>
          </a:xfrm>
        </p:spPr>
        <p:txBody>
          <a:bodyPr/>
          <a:lstStyle>
            <a:lvl1pPr>
              <a:lnSpc>
                <a:spcPct val="110000"/>
              </a:lnSpc>
              <a:spcBef>
                <a:spcPts val="0"/>
              </a:spcBef>
              <a:defRPr sz="1200">
                <a:solidFill>
                  <a:schemeClr val="tx1"/>
                </a:solidFill>
              </a:defRPr>
            </a:lvl1pPr>
            <a:lvl2pPr marL="109708" indent="-109708">
              <a:lnSpc>
                <a:spcPct val="110000"/>
              </a:lnSpc>
              <a:spcBef>
                <a:spcPts val="0"/>
              </a:spcBef>
              <a:defRPr sz="1200">
                <a:solidFill>
                  <a:schemeClr val="tx1"/>
                </a:solidFill>
              </a:defRPr>
            </a:lvl2pPr>
            <a:lvl3pPr marL="219415" indent="-109708">
              <a:lnSpc>
                <a:spcPct val="110000"/>
              </a:lnSpc>
              <a:spcBef>
                <a:spcPts val="0"/>
              </a:spcBef>
              <a:defRPr sz="1200">
                <a:solidFill>
                  <a:schemeClr val="tx1"/>
                </a:solidFill>
              </a:defRPr>
            </a:lvl3pPr>
            <a:lvl4pPr marL="329122" indent="-109708">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3333316" y="3714751"/>
            <a:ext cx="2475384" cy="1905000"/>
          </a:xfrm>
        </p:spPr>
        <p:txBody>
          <a:bodyPr/>
          <a:lstStyle>
            <a:lvl1pPr>
              <a:lnSpc>
                <a:spcPct val="110000"/>
              </a:lnSpc>
              <a:spcBef>
                <a:spcPts val="0"/>
              </a:spcBef>
              <a:defRPr sz="1200">
                <a:solidFill>
                  <a:schemeClr val="tx1"/>
                </a:solidFill>
              </a:defRPr>
            </a:lvl1pPr>
            <a:lvl2pPr marL="109708" indent="-109708">
              <a:lnSpc>
                <a:spcPct val="110000"/>
              </a:lnSpc>
              <a:spcBef>
                <a:spcPts val="0"/>
              </a:spcBef>
              <a:defRPr sz="1200">
                <a:solidFill>
                  <a:schemeClr val="tx1"/>
                </a:solidFill>
              </a:defRPr>
            </a:lvl2pPr>
            <a:lvl3pPr marL="219415" indent="-109708">
              <a:lnSpc>
                <a:spcPct val="110000"/>
              </a:lnSpc>
              <a:spcBef>
                <a:spcPts val="0"/>
              </a:spcBef>
              <a:defRPr sz="1200">
                <a:solidFill>
                  <a:schemeClr val="tx1"/>
                </a:solidFill>
              </a:defRPr>
            </a:lvl3pPr>
            <a:lvl4pPr marL="329122" indent="-109708">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6380920" y="3714750"/>
            <a:ext cx="2475384" cy="1896342"/>
          </a:xfrm>
        </p:spPr>
        <p:txBody>
          <a:bodyPr/>
          <a:lstStyle>
            <a:lvl1pPr>
              <a:lnSpc>
                <a:spcPct val="110000"/>
              </a:lnSpc>
              <a:spcBef>
                <a:spcPts val="0"/>
              </a:spcBef>
              <a:defRPr sz="1200">
                <a:solidFill>
                  <a:schemeClr val="tx1"/>
                </a:solidFill>
              </a:defRPr>
            </a:lvl1pPr>
            <a:lvl2pPr marL="109708" indent="-109708">
              <a:lnSpc>
                <a:spcPct val="110000"/>
              </a:lnSpc>
              <a:spcBef>
                <a:spcPts val="0"/>
              </a:spcBef>
              <a:defRPr sz="1200">
                <a:solidFill>
                  <a:schemeClr val="tx1"/>
                </a:solidFill>
              </a:defRPr>
            </a:lvl2pPr>
            <a:lvl3pPr marL="219415" indent="-109708">
              <a:lnSpc>
                <a:spcPct val="110000"/>
              </a:lnSpc>
              <a:spcBef>
                <a:spcPts val="0"/>
              </a:spcBef>
              <a:defRPr sz="1200">
                <a:solidFill>
                  <a:schemeClr val="tx1"/>
                </a:solidFill>
              </a:defRPr>
            </a:lvl3pPr>
            <a:lvl4pPr marL="329122" indent="-109708">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9428523" y="3714751"/>
            <a:ext cx="2476178" cy="1905000"/>
          </a:xfrm>
        </p:spPr>
        <p:txBody>
          <a:bodyPr/>
          <a:lstStyle>
            <a:lvl1pPr>
              <a:lnSpc>
                <a:spcPct val="110000"/>
              </a:lnSpc>
              <a:spcBef>
                <a:spcPts val="0"/>
              </a:spcBef>
              <a:defRPr sz="1200">
                <a:solidFill>
                  <a:schemeClr val="tx1"/>
                </a:solidFill>
              </a:defRPr>
            </a:lvl1pPr>
            <a:lvl2pPr marL="109708" indent="-109708">
              <a:lnSpc>
                <a:spcPct val="110000"/>
              </a:lnSpc>
              <a:spcBef>
                <a:spcPts val="0"/>
              </a:spcBef>
              <a:defRPr sz="1200">
                <a:solidFill>
                  <a:schemeClr val="tx1"/>
                </a:solidFill>
              </a:defRPr>
            </a:lvl2pPr>
            <a:lvl3pPr marL="219415" indent="-109708">
              <a:lnSpc>
                <a:spcPct val="110000"/>
              </a:lnSpc>
              <a:spcBef>
                <a:spcPts val="0"/>
              </a:spcBef>
              <a:defRPr sz="1200">
                <a:solidFill>
                  <a:schemeClr val="tx1"/>
                </a:solidFill>
              </a:defRPr>
            </a:lvl3pPr>
            <a:lvl4pPr marL="329122" indent="-109708">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3333316" y="288037"/>
            <a:ext cx="201141" cy="201612"/>
          </a:xfrm>
        </p:spPr>
        <p:txBody>
          <a:bodyPr/>
          <a:lstStyle>
            <a:lvl1pPr>
              <a:defRPr sz="700">
                <a:solidFill>
                  <a:schemeClr val="tx1"/>
                </a:solidFill>
              </a:defRPr>
            </a:lvl1pPr>
          </a:lstStyle>
          <a:p>
            <a:r>
              <a:rPr lang="en-US"/>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6380921" y="288037"/>
            <a:ext cx="201141" cy="201612"/>
          </a:xfrm>
        </p:spPr>
        <p:txBody>
          <a:bodyPr/>
          <a:lstStyle>
            <a:lvl1pPr>
              <a:defRPr sz="700">
                <a:solidFill>
                  <a:schemeClr val="tx1"/>
                </a:solidFill>
              </a:defRPr>
            </a:lvl1pPr>
          </a:lstStyle>
          <a:p>
            <a:r>
              <a:rPr lang="en-US"/>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9428523" y="288037"/>
            <a:ext cx="201141" cy="201612"/>
          </a:xfrm>
        </p:spPr>
        <p:txBody>
          <a:bodyPr/>
          <a:lstStyle>
            <a:lvl1pPr>
              <a:defRPr sz="700">
                <a:solidFill>
                  <a:schemeClr val="tx1"/>
                </a:solidFill>
              </a:defRPr>
            </a:lvl1pPr>
          </a:lstStyle>
          <a:p>
            <a:r>
              <a:rPr lang="en-US"/>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3333316" y="3347316"/>
            <a:ext cx="201141" cy="201612"/>
          </a:xfrm>
        </p:spPr>
        <p:txBody>
          <a:bodyPr/>
          <a:lstStyle>
            <a:lvl1pPr>
              <a:defRPr sz="700">
                <a:solidFill>
                  <a:schemeClr val="tx1"/>
                </a:solidFill>
              </a:defRPr>
            </a:lvl1pPr>
          </a:lstStyle>
          <a:p>
            <a:r>
              <a:rPr lang="en-US"/>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6380921" y="3347316"/>
            <a:ext cx="201141" cy="201612"/>
          </a:xfrm>
        </p:spPr>
        <p:txBody>
          <a:bodyPr/>
          <a:lstStyle>
            <a:lvl1pPr>
              <a:defRPr sz="700">
                <a:solidFill>
                  <a:schemeClr val="tx1"/>
                </a:solidFill>
              </a:defRPr>
            </a:lvl1pPr>
          </a:lstStyle>
          <a:p>
            <a:r>
              <a:rPr lang="en-US"/>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9428523" y="3347316"/>
            <a:ext cx="201141" cy="201612"/>
          </a:xfrm>
        </p:spPr>
        <p:txBody>
          <a:bodyPr/>
          <a:lstStyle>
            <a:lvl1pPr>
              <a:defRPr sz="700">
                <a:solidFill>
                  <a:schemeClr val="tx1"/>
                </a:solidFill>
              </a:defRPr>
            </a:lvl1pPr>
          </a:lstStyle>
          <a:p>
            <a:r>
              <a:rPr lang="en-US"/>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3047605" y="3048000"/>
            <a:ext cx="886027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3047603" y="284958"/>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9142810" y="284958"/>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6093683" y="283465"/>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11767910" y="646942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136832222"/>
      </p:ext>
    </p:extLst>
  </p:cSld>
  <p:clrMapOvr>
    <a:masterClrMapping/>
  </p:clrMapOvr>
  <p:transition spd="med"/>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192024"/>
            <a:ext cx="5519019" cy="1706563"/>
          </a:xfrm>
        </p:spPr>
        <p:txBody>
          <a:bodyPr rIns="457200"/>
          <a:lstStyle>
            <a:lvl1pPr>
              <a:lnSpc>
                <a:spcPct val="100000"/>
              </a:lnSpc>
              <a:defRPr sz="3199">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19" y="288036"/>
            <a:ext cx="2476178" cy="2477294"/>
          </a:xfrm>
        </p:spPr>
        <p:txBody>
          <a:bodyPr/>
          <a:lstStyle>
            <a:lvl1pPr>
              <a:spcBef>
                <a:spcPts val="0"/>
              </a:spcBef>
              <a:defRPr sz="1400">
                <a:solidFill>
                  <a:schemeClr val="tx1"/>
                </a:solidFill>
              </a:defRPr>
            </a:lvl1pPr>
            <a:lvl2pPr marL="127992" indent="-127992">
              <a:spcBef>
                <a:spcPts val="0"/>
              </a:spcBef>
              <a:defRPr sz="1400">
                <a:solidFill>
                  <a:schemeClr val="tx1"/>
                </a:solidFill>
              </a:defRPr>
            </a:lvl2pPr>
            <a:lvl3pPr marL="255984" indent="-127992">
              <a:spcBef>
                <a:spcPts val="0"/>
              </a:spcBef>
              <a:defRPr sz="1400">
                <a:solidFill>
                  <a:schemeClr val="tx1"/>
                </a:solidFill>
              </a:defRPr>
            </a:lvl3pPr>
            <a:lvl4pPr marL="383976" indent="-127992">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10" y="288036"/>
            <a:ext cx="2476178" cy="2477294"/>
          </a:xfrm>
        </p:spPr>
        <p:txBody>
          <a:bodyPr/>
          <a:lstStyle>
            <a:lvl1pPr>
              <a:spcBef>
                <a:spcPts val="0"/>
              </a:spcBef>
              <a:defRPr sz="1400">
                <a:solidFill>
                  <a:schemeClr val="tx1"/>
                </a:solidFill>
              </a:defRPr>
            </a:lvl1pPr>
            <a:lvl2pPr marL="127992" indent="-127992">
              <a:spcBef>
                <a:spcPts val="0"/>
              </a:spcBef>
              <a:defRPr sz="1400">
                <a:solidFill>
                  <a:schemeClr val="tx1"/>
                </a:solidFill>
              </a:defRPr>
            </a:lvl2pPr>
            <a:lvl3pPr marL="255984" indent="-127992">
              <a:spcBef>
                <a:spcPts val="0"/>
              </a:spcBef>
              <a:defRPr sz="1400">
                <a:solidFill>
                  <a:schemeClr val="tx1"/>
                </a:solidFill>
              </a:defRPr>
            </a:lvl3pPr>
            <a:lvl4pPr marL="383976" indent="-127992">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19" y="3333751"/>
            <a:ext cx="2476178" cy="2477294"/>
          </a:xfrm>
        </p:spPr>
        <p:txBody>
          <a:bodyPr/>
          <a:lstStyle>
            <a:lvl1pPr>
              <a:spcBef>
                <a:spcPts val="0"/>
              </a:spcBef>
              <a:defRPr sz="1400">
                <a:solidFill>
                  <a:schemeClr val="tx1"/>
                </a:solidFill>
              </a:defRPr>
            </a:lvl1pPr>
            <a:lvl2pPr marL="127992" indent="-127992">
              <a:spcBef>
                <a:spcPts val="0"/>
              </a:spcBef>
              <a:defRPr sz="1400">
                <a:solidFill>
                  <a:schemeClr val="tx1"/>
                </a:solidFill>
              </a:defRPr>
            </a:lvl2pPr>
            <a:lvl3pPr marL="255984" indent="-127992">
              <a:spcBef>
                <a:spcPts val="0"/>
              </a:spcBef>
              <a:defRPr sz="1400">
                <a:solidFill>
                  <a:schemeClr val="tx1"/>
                </a:solidFill>
              </a:defRPr>
            </a:lvl3pPr>
            <a:lvl4pPr marL="383976" indent="-127992">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0110" y="3333751"/>
            <a:ext cx="2476178" cy="2477294"/>
          </a:xfrm>
        </p:spPr>
        <p:txBody>
          <a:bodyPr/>
          <a:lstStyle>
            <a:lvl1pPr>
              <a:spcBef>
                <a:spcPts val="0"/>
              </a:spcBef>
              <a:defRPr sz="1400">
                <a:solidFill>
                  <a:schemeClr val="tx1"/>
                </a:solidFill>
              </a:defRPr>
            </a:lvl1pPr>
            <a:lvl2pPr marL="127992" indent="-127992">
              <a:spcBef>
                <a:spcPts val="0"/>
              </a:spcBef>
              <a:defRPr sz="1400">
                <a:solidFill>
                  <a:schemeClr val="tx1"/>
                </a:solidFill>
              </a:defRPr>
            </a:lvl2pPr>
            <a:lvl3pPr marL="255984" indent="-127992">
              <a:spcBef>
                <a:spcPts val="0"/>
              </a:spcBef>
              <a:defRPr sz="1400">
                <a:solidFill>
                  <a:schemeClr val="tx1"/>
                </a:solidFill>
              </a:defRPr>
            </a:lvl3pPr>
            <a:lvl4pPr marL="383976" indent="-127992">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87999" y="3332988"/>
            <a:ext cx="2476178" cy="2477294"/>
          </a:xfrm>
        </p:spPr>
        <p:txBody>
          <a:bodyPr/>
          <a:lstStyle>
            <a:lvl1pPr>
              <a:spcBef>
                <a:spcPts val="0"/>
              </a:spcBef>
              <a:defRPr sz="1400">
                <a:solidFill>
                  <a:schemeClr val="tx1"/>
                </a:solidFill>
              </a:defRPr>
            </a:lvl1pPr>
            <a:lvl2pPr marL="127992" indent="-127992">
              <a:spcBef>
                <a:spcPts val="0"/>
              </a:spcBef>
              <a:defRPr sz="1400">
                <a:solidFill>
                  <a:schemeClr val="tx1"/>
                </a:solidFill>
              </a:defRPr>
            </a:lvl2pPr>
            <a:lvl3pPr marL="255984" indent="-127992">
              <a:spcBef>
                <a:spcPts val="0"/>
              </a:spcBef>
              <a:defRPr sz="1400">
                <a:solidFill>
                  <a:schemeClr val="tx1"/>
                </a:solidFill>
              </a:defRPr>
            </a:lvl3pPr>
            <a:lvl4pPr marL="383976" indent="-127992">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6" y="3333751"/>
            <a:ext cx="2476178" cy="2477294"/>
          </a:xfrm>
        </p:spPr>
        <p:txBody>
          <a:bodyPr/>
          <a:lstStyle>
            <a:lvl1pPr>
              <a:spcBef>
                <a:spcPts val="0"/>
              </a:spcBef>
              <a:defRPr sz="1400">
                <a:solidFill>
                  <a:schemeClr val="tx1"/>
                </a:solidFill>
              </a:defRPr>
            </a:lvl1pPr>
            <a:lvl2pPr marL="127992" indent="-127992">
              <a:spcBef>
                <a:spcPts val="0"/>
              </a:spcBef>
              <a:defRPr sz="1400">
                <a:solidFill>
                  <a:schemeClr val="tx1"/>
                </a:solidFill>
              </a:defRPr>
            </a:lvl2pPr>
            <a:lvl3pPr marL="255984" indent="-127992">
              <a:spcBef>
                <a:spcPts val="0"/>
              </a:spcBef>
              <a:defRPr sz="1400">
                <a:solidFill>
                  <a:schemeClr val="tx1"/>
                </a:solidFill>
              </a:defRPr>
            </a:lvl3pPr>
            <a:lvl4pPr marL="383976" indent="-127992">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1" y="3048000"/>
            <a:ext cx="116205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1"/>
            <a:ext cx="0" cy="295275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9142810" y="284958"/>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5"/>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11767910" y="646942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101780689"/>
      </p:ext>
    </p:extLst>
  </p:cSld>
  <p:clrMapOvr>
    <a:masterClrMapping/>
  </p:clrMapOvr>
  <p:transition spd="med"/>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63" y="288036"/>
            <a:ext cx="2474590" cy="1706563"/>
          </a:xfrm>
        </p:spPr>
        <p:txBody>
          <a:bodyPr rIns="0"/>
          <a:lstStyle>
            <a:lvl1pPr>
              <a:lnSpc>
                <a:spcPct val="110000"/>
              </a:lnSpc>
              <a:defRPr sz="1800">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9168"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0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C192388-DAC3-247F-4457-03A65F8CDF36}"/>
              </a:ext>
            </a:extLst>
          </p:cNvPr>
          <p:cNvSpPr>
            <a:spLocks noGrp="1"/>
          </p:cNvSpPr>
          <p:nvPr>
            <p:ph type="ftr" sz="quarter" idx="18"/>
          </p:nvPr>
        </p:nvSpPr>
        <p:spPr>
          <a:xfrm>
            <a:off x="287963" y="6408000"/>
            <a:ext cx="2477765" cy="190500"/>
          </a:xfrm>
        </p:spPr>
        <p:txBody>
          <a:bodyPr/>
          <a:lstStyle/>
          <a:p>
            <a:endParaRPr lang="en-US"/>
          </a:p>
        </p:txBody>
      </p:sp>
      <p:sp>
        <p:nvSpPr>
          <p:cNvPr id="6" name="Slide Number">
            <a:extLst>
              <a:ext uri="{FF2B5EF4-FFF2-40B4-BE49-F238E27FC236}">
                <a16:creationId xmlns:a16="http://schemas.microsoft.com/office/drawing/2014/main" id="{72D75691-23B7-FADC-4357-CB3662EB3779}"/>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cxnSp>
        <p:nvCxnSpPr>
          <p:cNvPr id="5" name="Straight Connector 4" descr="Vertical column divider">
            <a:extLst>
              <a:ext uri="{FF2B5EF4-FFF2-40B4-BE49-F238E27FC236}">
                <a16:creationId xmlns:a16="http://schemas.microsoft.com/office/drawing/2014/main" id="{CB17488F-3B5A-CD3F-8D89-787477C1F946}"/>
              </a:ext>
              <a:ext uri="{C183D7F6-B498-43B3-948B-1728B52AA6E4}">
                <adec:decorative xmlns:adec="http://schemas.microsoft.com/office/drawing/2017/decorative" val="0"/>
              </a:ext>
            </a:extLst>
          </p:cNvPr>
          <p:cNvCxnSpPr>
            <a:cxnSpLocks/>
          </p:cNvCxnSpPr>
          <p:nvPr userDrawn="1"/>
        </p:nvCxnSpPr>
        <p:spPr bwMode="auto">
          <a:xfrm>
            <a:off x="9142810" y="286569"/>
            <a:ext cx="0" cy="581101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descr="Horizontal row divider">
            <a:extLst>
              <a:ext uri="{FF2B5EF4-FFF2-40B4-BE49-F238E27FC236}">
                <a16:creationId xmlns:a16="http://schemas.microsoft.com/office/drawing/2014/main" id="{7B2108DD-FE3A-F98C-D857-CDFA3DAD9666}"/>
              </a:ext>
              <a:ext uri="{C183D7F6-B498-43B3-948B-1728B52AA6E4}">
                <adec:decorative xmlns:adec="http://schemas.microsoft.com/office/drawing/2017/decorative" val="0"/>
              </a:ext>
            </a:extLst>
          </p:cNvPr>
          <p:cNvCxnSpPr>
            <a:cxnSpLocks/>
          </p:cNvCxnSpPr>
          <p:nvPr userDrawn="1"/>
        </p:nvCxnSpPr>
        <p:spPr bwMode="auto">
          <a:xfrm>
            <a:off x="287999" y="3048000"/>
            <a:ext cx="11612733"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descr="Vertical column divider">
            <a:extLst>
              <a:ext uri="{FF2B5EF4-FFF2-40B4-BE49-F238E27FC236}">
                <a16:creationId xmlns:a16="http://schemas.microsoft.com/office/drawing/2014/main" id="{03D0E68D-02AF-474A-3224-FF5108D23382}"/>
              </a:ext>
              <a:ext uri="{C183D7F6-B498-43B3-948B-1728B52AA6E4}">
                <adec:decorative xmlns:adec="http://schemas.microsoft.com/office/drawing/2017/decorative" val="0"/>
              </a:ext>
            </a:extLst>
          </p:cNvPr>
          <p:cNvCxnSpPr>
            <a:cxnSpLocks/>
          </p:cNvCxnSpPr>
          <p:nvPr userDrawn="1"/>
        </p:nvCxnSpPr>
        <p:spPr bwMode="auto">
          <a:xfrm>
            <a:off x="3047603" y="3041650"/>
            <a:ext cx="0" cy="3055938"/>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descr="Vertical column divider">
            <a:extLst>
              <a:ext uri="{FF2B5EF4-FFF2-40B4-BE49-F238E27FC236}">
                <a16:creationId xmlns:a16="http://schemas.microsoft.com/office/drawing/2014/main" id="{5600EFDE-928F-B419-8585-5582A68373F2}"/>
              </a:ext>
            </a:extLst>
          </p:cNvPr>
          <p:cNvCxnSpPr>
            <a:cxnSpLocks/>
          </p:cNvCxnSpPr>
          <p:nvPr userDrawn="1"/>
        </p:nvCxnSpPr>
        <p:spPr bwMode="auto">
          <a:xfrm>
            <a:off x="6095270" y="285051"/>
            <a:ext cx="0" cy="5812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0">
            <a:extLst>
              <a:ext uri="{FF2B5EF4-FFF2-40B4-BE49-F238E27FC236}">
                <a16:creationId xmlns:a16="http://schemas.microsoft.com/office/drawing/2014/main" id="{5C1B1885-0510-1907-4EAD-DB9018C133E5}"/>
              </a:ext>
            </a:extLst>
          </p:cNvPr>
          <p:cNvSpPr>
            <a:spLocks noGrp="1"/>
          </p:cNvSpPr>
          <p:nvPr>
            <p:ph type="body" sz="quarter" idx="11"/>
          </p:nvPr>
        </p:nvSpPr>
        <p:spPr>
          <a:xfrm>
            <a:off x="287999" y="3337941"/>
            <a:ext cx="2474590" cy="2759647"/>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10">
            <a:extLst>
              <a:ext uri="{FF2B5EF4-FFF2-40B4-BE49-F238E27FC236}">
                <a16:creationId xmlns:a16="http://schemas.microsoft.com/office/drawing/2014/main" id="{5804D2DB-0651-E704-D761-49FB6352B7C3}"/>
              </a:ext>
            </a:extLst>
          </p:cNvPr>
          <p:cNvSpPr>
            <a:spLocks noGrp="1"/>
          </p:cNvSpPr>
          <p:nvPr>
            <p:ph type="body" sz="quarter" idx="19"/>
          </p:nvPr>
        </p:nvSpPr>
        <p:spPr>
          <a:xfrm>
            <a:off x="3331187" y="3336926"/>
            <a:ext cx="2474590" cy="2760662"/>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0">
            <a:extLst>
              <a:ext uri="{FF2B5EF4-FFF2-40B4-BE49-F238E27FC236}">
                <a16:creationId xmlns:a16="http://schemas.microsoft.com/office/drawing/2014/main" id="{9900EBA3-CCC2-CE83-A620-B68ADAF8371C}"/>
              </a:ext>
            </a:extLst>
          </p:cNvPr>
          <p:cNvSpPr>
            <a:spLocks noGrp="1"/>
          </p:cNvSpPr>
          <p:nvPr>
            <p:ph type="body" sz="quarter" idx="20"/>
          </p:nvPr>
        </p:nvSpPr>
        <p:spPr>
          <a:xfrm>
            <a:off x="6389168" y="3336926"/>
            <a:ext cx="2474590" cy="2760662"/>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10">
            <a:extLst>
              <a:ext uri="{FF2B5EF4-FFF2-40B4-BE49-F238E27FC236}">
                <a16:creationId xmlns:a16="http://schemas.microsoft.com/office/drawing/2014/main" id="{FAB4091C-FF62-7BAF-B996-F22392D5E709}"/>
              </a:ext>
            </a:extLst>
          </p:cNvPr>
          <p:cNvSpPr>
            <a:spLocks noGrp="1"/>
          </p:cNvSpPr>
          <p:nvPr>
            <p:ph type="body" sz="quarter" idx="14"/>
          </p:nvPr>
        </p:nvSpPr>
        <p:spPr>
          <a:xfrm>
            <a:off x="9428523" y="3336926"/>
            <a:ext cx="2474590" cy="2760662"/>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428104002"/>
      </p:ext>
    </p:extLst>
  </p:cSld>
  <p:clrMapOvr>
    <a:masterClrMapping/>
  </p:clrMapOvr>
  <p:transition spd="med"/>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288036"/>
            <a:ext cx="2474591" cy="1706563"/>
          </a:xfrm>
        </p:spPr>
        <p:txBody>
          <a:bodyPr rIns="0"/>
          <a:lstStyle>
            <a:lvl1pPr>
              <a:lnSpc>
                <a:spcPct val="110000"/>
              </a:lnSpc>
              <a:defRPr sz="1800">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19" y="288036"/>
            <a:ext cx="2476178" cy="2477294"/>
          </a:xfrm>
        </p:spPr>
        <p:txBody>
          <a:bodyPr/>
          <a:lstStyle>
            <a:lvl1pPr>
              <a:spcBef>
                <a:spcPts val="0"/>
              </a:spcBef>
              <a:defRPr sz="1400">
                <a:solidFill>
                  <a:schemeClr val="tx1"/>
                </a:solidFill>
              </a:defRPr>
            </a:lvl1pPr>
            <a:lvl2pPr marL="127992" indent="-127992">
              <a:spcBef>
                <a:spcPts val="0"/>
              </a:spcBef>
              <a:defRPr sz="1400">
                <a:solidFill>
                  <a:schemeClr val="tx1"/>
                </a:solidFill>
              </a:defRPr>
            </a:lvl2pPr>
            <a:lvl3pPr marL="255984" indent="-127992">
              <a:spcBef>
                <a:spcPts val="0"/>
              </a:spcBef>
              <a:defRPr sz="1400">
                <a:solidFill>
                  <a:schemeClr val="tx1"/>
                </a:solidFill>
              </a:defRPr>
            </a:lvl3pPr>
            <a:lvl4pPr marL="383976" indent="-127992">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10" y="288036"/>
            <a:ext cx="2476178" cy="2477294"/>
          </a:xfrm>
        </p:spPr>
        <p:txBody>
          <a:bodyPr/>
          <a:lstStyle>
            <a:lvl1pPr>
              <a:spcBef>
                <a:spcPts val="0"/>
              </a:spcBef>
              <a:defRPr sz="1400">
                <a:solidFill>
                  <a:schemeClr val="tx1"/>
                </a:solidFill>
              </a:defRPr>
            </a:lvl1pPr>
            <a:lvl2pPr marL="127992" indent="-127992">
              <a:spcBef>
                <a:spcPts val="0"/>
              </a:spcBef>
              <a:defRPr sz="1400">
                <a:solidFill>
                  <a:schemeClr val="tx1"/>
                </a:solidFill>
              </a:defRPr>
            </a:lvl2pPr>
            <a:lvl3pPr marL="255984" indent="-127992">
              <a:spcBef>
                <a:spcPts val="0"/>
              </a:spcBef>
              <a:defRPr sz="1400">
                <a:solidFill>
                  <a:schemeClr val="tx1"/>
                </a:solidFill>
              </a:defRPr>
            </a:lvl3pPr>
            <a:lvl4pPr marL="383976" indent="-127992">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19" y="3333751"/>
            <a:ext cx="2476178" cy="2477294"/>
          </a:xfrm>
        </p:spPr>
        <p:txBody>
          <a:bodyPr/>
          <a:lstStyle>
            <a:lvl1pPr>
              <a:spcBef>
                <a:spcPts val="0"/>
              </a:spcBef>
              <a:defRPr sz="1400">
                <a:solidFill>
                  <a:schemeClr val="tx1"/>
                </a:solidFill>
              </a:defRPr>
            </a:lvl1pPr>
            <a:lvl2pPr marL="127992" indent="-127992">
              <a:spcBef>
                <a:spcPts val="0"/>
              </a:spcBef>
              <a:defRPr sz="1400">
                <a:solidFill>
                  <a:schemeClr val="tx1"/>
                </a:solidFill>
              </a:defRPr>
            </a:lvl2pPr>
            <a:lvl3pPr marL="255984" indent="-127992">
              <a:spcBef>
                <a:spcPts val="0"/>
              </a:spcBef>
              <a:defRPr sz="1400">
                <a:solidFill>
                  <a:schemeClr val="tx1"/>
                </a:solidFill>
              </a:defRPr>
            </a:lvl3pPr>
            <a:lvl4pPr marL="383976" indent="-127992">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0110" y="3333751"/>
            <a:ext cx="2476178" cy="2477294"/>
          </a:xfrm>
        </p:spPr>
        <p:txBody>
          <a:bodyPr/>
          <a:lstStyle>
            <a:lvl1pPr>
              <a:spcBef>
                <a:spcPts val="0"/>
              </a:spcBef>
              <a:defRPr sz="1400">
                <a:solidFill>
                  <a:schemeClr val="tx1"/>
                </a:solidFill>
              </a:defRPr>
            </a:lvl1pPr>
            <a:lvl2pPr marL="127992" indent="-127992">
              <a:spcBef>
                <a:spcPts val="0"/>
              </a:spcBef>
              <a:defRPr sz="1400">
                <a:solidFill>
                  <a:schemeClr val="tx1"/>
                </a:solidFill>
              </a:defRPr>
            </a:lvl2pPr>
            <a:lvl3pPr marL="255984" indent="-127992">
              <a:spcBef>
                <a:spcPts val="0"/>
              </a:spcBef>
              <a:defRPr sz="1400">
                <a:solidFill>
                  <a:schemeClr val="tx1"/>
                </a:solidFill>
              </a:defRPr>
            </a:lvl3pPr>
            <a:lvl4pPr marL="383976" indent="-127992">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90043" y="3333751"/>
            <a:ext cx="2476178" cy="2477294"/>
          </a:xfrm>
        </p:spPr>
        <p:txBody>
          <a:bodyPr/>
          <a:lstStyle>
            <a:lvl1pPr>
              <a:spcBef>
                <a:spcPts val="0"/>
              </a:spcBef>
              <a:defRPr sz="1400">
                <a:solidFill>
                  <a:schemeClr val="tx1"/>
                </a:solidFill>
              </a:defRPr>
            </a:lvl1pPr>
            <a:lvl2pPr marL="127992" indent="-127992">
              <a:spcBef>
                <a:spcPts val="0"/>
              </a:spcBef>
              <a:defRPr sz="1400">
                <a:solidFill>
                  <a:schemeClr val="tx1"/>
                </a:solidFill>
              </a:defRPr>
            </a:lvl2pPr>
            <a:lvl3pPr marL="255984" indent="-127992">
              <a:spcBef>
                <a:spcPts val="0"/>
              </a:spcBef>
              <a:defRPr sz="1400">
                <a:solidFill>
                  <a:schemeClr val="tx1"/>
                </a:solidFill>
              </a:defRPr>
            </a:lvl3pPr>
            <a:lvl4pPr marL="383976" indent="-127992">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6" y="3333751"/>
            <a:ext cx="2476178" cy="2477294"/>
          </a:xfrm>
        </p:spPr>
        <p:txBody>
          <a:bodyPr/>
          <a:lstStyle>
            <a:lvl1pPr>
              <a:spcBef>
                <a:spcPts val="0"/>
              </a:spcBef>
              <a:defRPr sz="1400">
                <a:solidFill>
                  <a:schemeClr val="tx1"/>
                </a:solidFill>
              </a:defRPr>
            </a:lvl1pPr>
            <a:lvl2pPr marL="127992" indent="-127992">
              <a:spcBef>
                <a:spcPts val="0"/>
              </a:spcBef>
              <a:defRPr sz="1400">
                <a:solidFill>
                  <a:schemeClr val="tx1"/>
                </a:solidFill>
              </a:defRPr>
            </a:lvl2pPr>
            <a:lvl3pPr marL="255984" indent="-127992">
              <a:spcBef>
                <a:spcPts val="0"/>
              </a:spcBef>
              <a:defRPr sz="1400">
                <a:solidFill>
                  <a:schemeClr val="tx1"/>
                </a:solidFill>
              </a:defRPr>
            </a:lvl3pPr>
            <a:lvl4pPr marL="383976" indent="-127992">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1" y="3048000"/>
            <a:ext cx="116205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1"/>
            <a:ext cx="0" cy="295275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9142810" y="284958"/>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5"/>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11767910" y="646942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156405055"/>
      </p:ext>
    </p:extLst>
  </p:cSld>
  <p:clrMapOvr>
    <a:masterClrMapping/>
  </p:clrMapOvr>
  <p:transition spd="med"/>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1" cy="762795"/>
          </a:xfrm>
        </p:spPr>
        <p:txBody>
          <a:bodyPr/>
          <a:lstStyle>
            <a:lvl1pPr>
              <a:lnSpc>
                <a:spcPct val="110000"/>
              </a:lnSpc>
              <a:defRPr sz="140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99" y="1714500"/>
            <a:ext cx="2477765" cy="4286251"/>
          </a:xfrm>
        </p:spPr>
        <p:txBody>
          <a:bodyPr/>
          <a:lstStyle>
            <a:lvl1pPr>
              <a:lnSpc>
                <a:spcPct val="110000"/>
              </a:lnSpc>
              <a:spcBef>
                <a:spcPts val="0"/>
              </a:spcBef>
              <a:defRPr sz="1400">
                <a:solidFill>
                  <a:schemeClr val="tx1"/>
                </a:solidFill>
              </a:defRPr>
            </a:lvl1pPr>
            <a:lvl2pPr marL="127992" indent="-127992">
              <a:lnSpc>
                <a:spcPct val="110000"/>
              </a:lnSpc>
              <a:spcBef>
                <a:spcPts val="0"/>
              </a:spcBef>
              <a:defRPr sz="1400">
                <a:solidFill>
                  <a:schemeClr val="tx1"/>
                </a:solidFill>
              </a:defRPr>
            </a:lvl2pPr>
            <a:lvl3pPr marL="255984" indent="-127992">
              <a:lnSpc>
                <a:spcPct val="110000"/>
              </a:lnSpc>
              <a:spcBef>
                <a:spcPts val="0"/>
              </a:spcBef>
              <a:defRPr sz="1400">
                <a:solidFill>
                  <a:schemeClr val="tx1"/>
                </a:solidFill>
              </a:defRPr>
            </a:lvl3pPr>
            <a:lvl4pPr marL="383976" indent="-127992">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3333316" y="1714500"/>
            <a:ext cx="2475384" cy="4286251"/>
          </a:xfrm>
        </p:spPr>
        <p:txBody>
          <a:bodyPr/>
          <a:lstStyle>
            <a:lvl1pPr>
              <a:lnSpc>
                <a:spcPct val="110000"/>
              </a:lnSpc>
              <a:spcBef>
                <a:spcPts val="0"/>
              </a:spcBef>
              <a:defRPr sz="1400">
                <a:solidFill>
                  <a:schemeClr val="tx1"/>
                </a:solidFill>
              </a:defRPr>
            </a:lvl1pPr>
            <a:lvl2pPr marL="127992" indent="-127992">
              <a:lnSpc>
                <a:spcPct val="110000"/>
              </a:lnSpc>
              <a:spcBef>
                <a:spcPts val="0"/>
              </a:spcBef>
              <a:defRPr sz="1400">
                <a:solidFill>
                  <a:schemeClr val="tx1"/>
                </a:solidFill>
              </a:defRPr>
            </a:lvl2pPr>
            <a:lvl3pPr marL="255984" indent="-127992">
              <a:lnSpc>
                <a:spcPct val="110000"/>
              </a:lnSpc>
              <a:spcBef>
                <a:spcPts val="0"/>
              </a:spcBef>
              <a:defRPr sz="1400">
                <a:solidFill>
                  <a:schemeClr val="tx1"/>
                </a:solidFill>
              </a:defRPr>
            </a:lvl3pPr>
            <a:lvl4pPr marL="383976" indent="-127992">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6380919" y="284958"/>
            <a:ext cx="5523781" cy="6287294"/>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3517839484"/>
      </p:ext>
    </p:extLst>
  </p:cSld>
  <p:clrMapOvr>
    <a:masterClrMapping/>
  </p:clrMapOvr>
  <p:transition spd="med"/>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1" cy="762795"/>
          </a:xfrm>
        </p:spPr>
        <p:txBody>
          <a:bodyPr/>
          <a:lstStyle>
            <a:lvl1pPr>
              <a:lnSpc>
                <a:spcPct val="110000"/>
              </a:lnSpc>
              <a:defRPr sz="14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67911" y="6452314"/>
            <a:ext cx="136789" cy="123111"/>
          </a:xfrm>
          <a:prstGeom prst="rect">
            <a:avLst/>
          </a:prstGeom>
        </p:spPr>
        <p:txBody>
          <a:bodyPr/>
          <a:lstStyle/>
          <a:p>
            <a:fld id="{86CB4B4D-7CA3-9044-876B-883B54F8677D}" type="slidenum">
              <a:rPr lang="en-US" smtClean="0"/>
              <a:t>‹#›</a:t>
            </a:fld>
            <a:endParaRPr lang="en-US"/>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87999" y="1714500"/>
            <a:ext cx="2477765" cy="4286251"/>
          </a:xfrm>
        </p:spPr>
        <p:txBody>
          <a:bodyPr/>
          <a:lstStyle>
            <a:lvl1pPr>
              <a:lnSpc>
                <a:spcPct val="110000"/>
              </a:lnSpc>
              <a:spcBef>
                <a:spcPts val="0"/>
              </a:spcBef>
              <a:defRPr sz="1400">
                <a:solidFill>
                  <a:schemeClr val="tx1"/>
                </a:solidFill>
              </a:defRPr>
            </a:lvl1pPr>
            <a:lvl2pPr marL="127992" indent="-127992">
              <a:lnSpc>
                <a:spcPct val="110000"/>
              </a:lnSpc>
              <a:spcBef>
                <a:spcPts val="0"/>
              </a:spcBef>
              <a:defRPr sz="1400">
                <a:solidFill>
                  <a:schemeClr val="tx1"/>
                </a:solidFill>
              </a:defRPr>
            </a:lvl2pPr>
            <a:lvl3pPr marL="255984" indent="-127992">
              <a:lnSpc>
                <a:spcPct val="110000"/>
              </a:lnSpc>
              <a:spcBef>
                <a:spcPts val="0"/>
              </a:spcBef>
              <a:defRPr sz="1400">
                <a:solidFill>
                  <a:schemeClr val="tx1"/>
                </a:solidFill>
              </a:defRPr>
            </a:lvl3pPr>
            <a:lvl4pPr marL="383976" indent="-127992">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3047603" y="0"/>
            <a:ext cx="9144397" cy="6858000"/>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1740980682"/>
      </p:ext>
    </p:extLst>
  </p:cSld>
  <p:clrMapOvr>
    <a:masterClrMapping/>
  </p:clrMapOvr>
  <p:transition spd="med"/>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1" cy="762795"/>
          </a:xfrm>
        </p:spPr>
        <p:txBody>
          <a:bodyPr/>
          <a:lstStyle>
            <a:lvl1pPr>
              <a:lnSpc>
                <a:spcPct val="110000"/>
              </a:lnSpc>
              <a:defRPr sz="14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67911" y="6452314"/>
            <a:ext cx="136789" cy="123111"/>
          </a:xfrm>
          <a:prstGeom prst="rect">
            <a:avLst/>
          </a:prstGeom>
        </p:spPr>
        <p:txBody>
          <a:bodyPr/>
          <a:lstStyle/>
          <a:p>
            <a:fld id="{86CB4B4D-7CA3-9044-876B-883B54F8677D}" type="slidenum">
              <a:rPr lang="en-US" smtClean="0"/>
              <a:t>‹#›</a:t>
            </a:fld>
            <a:endParaRPr lang="en-US"/>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99" y="1714500"/>
            <a:ext cx="2477765" cy="4286251"/>
          </a:xfrm>
        </p:spPr>
        <p:txBody>
          <a:bodyPr/>
          <a:lstStyle>
            <a:lvl1pPr>
              <a:lnSpc>
                <a:spcPct val="110000"/>
              </a:lnSpc>
              <a:spcBef>
                <a:spcPts val="0"/>
              </a:spcBef>
              <a:defRPr sz="1400">
                <a:solidFill>
                  <a:schemeClr val="tx1"/>
                </a:solidFill>
              </a:defRPr>
            </a:lvl1pPr>
            <a:lvl2pPr marL="127992" indent="-127992">
              <a:lnSpc>
                <a:spcPct val="110000"/>
              </a:lnSpc>
              <a:spcBef>
                <a:spcPts val="0"/>
              </a:spcBef>
              <a:defRPr sz="1400">
                <a:solidFill>
                  <a:schemeClr val="tx1"/>
                </a:solidFill>
              </a:defRPr>
            </a:lvl2pPr>
            <a:lvl3pPr marL="255984" indent="-127992">
              <a:lnSpc>
                <a:spcPct val="110000"/>
              </a:lnSpc>
              <a:spcBef>
                <a:spcPts val="0"/>
              </a:spcBef>
              <a:defRPr sz="1400">
                <a:solidFill>
                  <a:schemeClr val="tx1"/>
                </a:solidFill>
              </a:defRPr>
            </a:lvl3pPr>
            <a:lvl4pPr marL="383976" indent="-127992">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3333317" y="282576"/>
            <a:ext cx="8574559" cy="6289675"/>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2357540874"/>
      </p:ext>
    </p:extLst>
  </p:cSld>
  <p:clrMapOvr>
    <a:masterClrMapping/>
  </p:clrMapOvr>
  <p:transition spd="med"/>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67911" y="6452314"/>
            <a:ext cx="136789" cy="123111"/>
          </a:xfrm>
          <a:prstGeom prst="rect">
            <a:avLst/>
          </a:prstGeom>
        </p:spPr>
        <p:txBody>
          <a:bodyPr/>
          <a:lstStyle/>
          <a:p>
            <a:fld id="{86CB4B4D-7CA3-9044-876B-883B54F8677D}" type="slidenum">
              <a:rPr lang="en-US" smtClean="0"/>
              <a:t>‹#›</a:t>
            </a:fld>
            <a:endParaRPr lang="en-US"/>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12192000" cy="6858000"/>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1400719884"/>
      </p:ext>
    </p:extLst>
  </p:cSld>
  <p:clrMapOvr>
    <a:masterClrMapping/>
  </p:clrMapOvr>
  <p:transition spd="med"/>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67911" y="6452314"/>
            <a:ext cx="136789" cy="123111"/>
          </a:xfrm>
          <a:prstGeom prst="rect">
            <a:avLst/>
          </a:prstGeom>
        </p:spPr>
        <p:txBody>
          <a:bodyPr/>
          <a:lstStyle/>
          <a:p>
            <a:fld id="{86CB4B4D-7CA3-9044-876B-883B54F8677D}" type="slidenum">
              <a:rPr lang="en-US" smtClean="0"/>
              <a:t>‹#›</a:t>
            </a:fld>
            <a:endParaRPr lang="en-US"/>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84126" y="284957"/>
            <a:ext cx="11620575" cy="6290468"/>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1086458660"/>
      </p:ext>
    </p:extLst>
  </p:cSld>
  <p:clrMapOvr>
    <a:masterClrMapping/>
  </p:clrMapOvr>
  <p:transition spd="med"/>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1_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8000" y="288038"/>
            <a:ext cx="2474591" cy="762795"/>
          </a:xfrm>
        </p:spPr>
        <p:txBody>
          <a:bodyPr/>
          <a:lstStyle>
            <a:lvl1pPr>
              <a:lnSpc>
                <a:spcPct val="110000"/>
              </a:lnSpc>
              <a:defRPr sz="1400">
                <a:solidFill>
                  <a:schemeClr val="tx2"/>
                </a:solidFill>
              </a:defRPr>
            </a:lvl1pPr>
          </a:lstStyle>
          <a:p>
            <a:r>
              <a:rPr lang="en-US"/>
              <a:t>Click to edit Master title style</a:t>
            </a:r>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88000" y="3060702"/>
            <a:ext cx="1236501" cy="1238251"/>
          </a:xfrm>
          <a:solidFill>
            <a:srgbClr val="E0E0E0"/>
          </a:solidFill>
        </p:spPr>
        <p:txBody>
          <a:bodyPr anchor="ctr"/>
          <a:lstStyle>
            <a:lvl1pPr marL="0" marR="0" indent="0" algn="ctr" defTabSz="12187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74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714279" y="3060702"/>
            <a:ext cx="2853953" cy="1238251"/>
          </a:xfrm>
        </p:spPr>
        <p:txBody>
          <a:bodyPr/>
          <a:lstStyle>
            <a:lvl1pPr>
              <a:lnSpc>
                <a:spcPct val="110000"/>
              </a:lnSpc>
              <a:spcBef>
                <a:spcPts val="0"/>
              </a:spcBef>
              <a:defRPr sz="1400">
                <a:solidFill>
                  <a:schemeClr val="tx1"/>
                </a:solidFill>
              </a:defRPr>
            </a:lvl1pPr>
            <a:lvl2pPr marL="127968" indent="-127968">
              <a:lnSpc>
                <a:spcPct val="110000"/>
              </a:lnSpc>
              <a:spcBef>
                <a:spcPts val="0"/>
              </a:spcBef>
              <a:defRPr sz="1400">
                <a:solidFill>
                  <a:schemeClr val="tx1"/>
                </a:solidFill>
              </a:defRPr>
            </a:lvl2pPr>
            <a:lvl3pPr marL="255936" indent="-127968">
              <a:lnSpc>
                <a:spcPct val="110000"/>
              </a:lnSpc>
              <a:spcBef>
                <a:spcPts val="0"/>
              </a:spcBef>
              <a:defRPr sz="1400">
                <a:solidFill>
                  <a:schemeClr val="tx1"/>
                </a:solidFill>
              </a:defRPr>
            </a:lvl3pPr>
            <a:lvl4pPr marL="383904" indent="-127968">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88000" y="4762502"/>
            <a:ext cx="1236501" cy="1238251"/>
          </a:xfrm>
          <a:solidFill>
            <a:srgbClr val="E0E0E0"/>
          </a:solidFill>
        </p:spPr>
        <p:txBody>
          <a:bodyPr anchor="ctr"/>
          <a:lstStyle>
            <a:lvl1pPr marL="0" marR="0" indent="0" algn="ctr" defTabSz="12187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74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714279" y="4762502"/>
            <a:ext cx="2853953" cy="1238251"/>
          </a:xfrm>
        </p:spPr>
        <p:txBody>
          <a:bodyPr/>
          <a:lstStyle>
            <a:lvl1pPr>
              <a:lnSpc>
                <a:spcPct val="110000"/>
              </a:lnSpc>
              <a:spcBef>
                <a:spcPts val="0"/>
              </a:spcBef>
              <a:defRPr sz="1400">
                <a:solidFill>
                  <a:schemeClr val="tx1"/>
                </a:solidFill>
              </a:defRPr>
            </a:lvl1pPr>
            <a:lvl2pPr marL="127968" indent="-127968">
              <a:lnSpc>
                <a:spcPct val="110000"/>
              </a:lnSpc>
              <a:spcBef>
                <a:spcPts val="0"/>
              </a:spcBef>
              <a:defRPr sz="1400">
                <a:solidFill>
                  <a:schemeClr val="tx1"/>
                </a:solidFill>
              </a:defRPr>
            </a:lvl2pPr>
            <a:lvl3pPr marL="255936" indent="-127968">
              <a:lnSpc>
                <a:spcPct val="110000"/>
              </a:lnSpc>
              <a:spcBef>
                <a:spcPts val="0"/>
              </a:spcBef>
              <a:defRPr sz="1400">
                <a:solidFill>
                  <a:schemeClr val="tx1"/>
                </a:solidFill>
              </a:defRPr>
            </a:lvl3pPr>
            <a:lvl4pPr marL="383904" indent="-127968">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88000" y="1333500"/>
            <a:ext cx="1236501" cy="1238251"/>
          </a:xfrm>
          <a:solidFill>
            <a:srgbClr val="E0E0E0"/>
          </a:solidFill>
        </p:spPr>
        <p:txBody>
          <a:bodyPr anchor="ctr"/>
          <a:lstStyle>
            <a:lvl1pPr algn="ctr">
              <a:defRPr>
                <a:solidFill>
                  <a:schemeClr val="accent5"/>
                </a:solidFill>
              </a:defRPr>
            </a:lvl1pPr>
          </a:lstStyle>
          <a:p>
            <a:r>
              <a:rPr lang="en-US"/>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714279" y="1333500"/>
            <a:ext cx="2853953" cy="1238251"/>
          </a:xfrm>
        </p:spPr>
        <p:txBody>
          <a:bodyPr/>
          <a:lstStyle>
            <a:lvl1pPr>
              <a:lnSpc>
                <a:spcPct val="110000"/>
              </a:lnSpc>
              <a:spcBef>
                <a:spcPts val="0"/>
              </a:spcBef>
              <a:defRPr sz="1400">
                <a:solidFill>
                  <a:schemeClr val="tx1"/>
                </a:solidFill>
              </a:defRPr>
            </a:lvl1pPr>
            <a:lvl2pPr marL="127968" indent="-127968">
              <a:lnSpc>
                <a:spcPct val="110000"/>
              </a:lnSpc>
              <a:spcBef>
                <a:spcPts val="0"/>
              </a:spcBef>
              <a:defRPr sz="1400">
                <a:solidFill>
                  <a:schemeClr val="tx1"/>
                </a:solidFill>
              </a:defRPr>
            </a:lvl2pPr>
            <a:lvl3pPr marL="255936" indent="-127968">
              <a:lnSpc>
                <a:spcPct val="110000"/>
              </a:lnSpc>
              <a:spcBef>
                <a:spcPts val="0"/>
              </a:spcBef>
              <a:defRPr sz="1400">
                <a:solidFill>
                  <a:schemeClr val="tx1"/>
                </a:solidFill>
              </a:defRPr>
            </a:lvl3pPr>
            <a:lvl4pPr marL="383904" indent="-127968">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6377747" y="3060702"/>
            <a:ext cx="1236501" cy="1238251"/>
          </a:xfrm>
          <a:solidFill>
            <a:srgbClr val="E0E0E0"/>
          </a:solidFill>
        </p:spPr>
        <p:txBody>
          <a:bodyPr anchor="ctr"/>
          <a:lstStyle>
            <a:lvl1pPr marL="0" marR="0" indent="0" algn="ctr" defTabSz="12187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74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7807898" y="3060702"/>
            <a:ext cx="2853953" cy="1238251"/>
          </a:xfrm>
        </p:spPr>
        <p:txBody>
          <a:bodyPr/>
          <a:lstStyle>
            <a:lvl1pPr>
              <a:lnSpc>
                <a:spcPct val="110000"/>
              </a:lnSpc>
              <a:spcBef>
                <a:spcPts val="0"/>
              </a:spcBef>
              <a:defRPr sz="1400">
                <a:solidFill>
                  <a:schemeClr val="tx1"/>
                </a:solidFill>
              </a:defRPr>
            </a:lvl1pPr>
            <a:lvl2pPr marL="127968" indent="-127968">
              <a:lnSpc>
                <a:spcPct val="110000"/>
              </a:lnSpc>
              <a:spcBef>
                <a:spcPts val="0"/>
              </a:spcBef>
              <a:defRPr sz="1400">
                <a:solidFill>
                  <a:schemeClr val="tx1"/>
                </a:solidFill>
              </a:defRPr>
            </a:lvl2pPr>
            <a:lvl3pPr marL="255936" indent="-127968">
              <a:lnSpc>
                <a:spcPct val="110000"/>
              </a:lnSpc>
              <a:spcBef>
                <a:spcPts val="0"/>
              </a:spcBef>
              <a:defRPr sz="1400">
                <a:solidFill>
                  <a:schemeClr val="tx1"/>
                </a:solidFill>
              </a:defRPr>
            </a:lvl3pPr>
            <a:lvl4pPr marL="383904" indent="-127968">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6377747" y="4762502"/>
            <a:ext cx="1236501" cy="1238251"/>
          </a:xfrm>
          <a:solidFill>
            <a:srgbClr val="E0E0E0"/>
          </a:solidFill>
        </p:spPr>
        <p:txBody>
          <a:bodyPr anchor="ctr"/>
          <a:lstStyle>
            <a:lvl1pPr marL="0" marR="0" indent="0" algn="ctr" defTabSz="12187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74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7807898" y="4762502"/>
            <a:ext cx="2853953" cy="1238251"/>
          </a:xfrm>
        </p:spPr>
        <p:txBody>
          <a:bodyPr/>
          <a:lstStyle>
            <a:lvl1pPr>
              <a:lnSpc>
                <a:spcPct val="110000"/>
              </a:lnSpc>
              <a:spcBef>
                <a:spcPts val="0"/>
              </a:spcBef>
              <a:defRPr sz="1400">
                <a:solidFill>
                  <a:schemeClr val="tx1"/>
                </a:solidFill>
              </a:defRPr>
            </a:lvl1pPr>
            <a:lvl2pPr marL="127968" indent="-127968">
              <a:lnSpc>
                <a:spcPct val="110000"/>
              </a:lnSpc>
              <a:spcBef>
                <a:spcPts val="0"/>
              </a:spcBef>
              <a:defRPr sz="1400">
                <a:solidFill>
                  <a:schemeClr val="tx1"/>
                </a:solidFill>
              </a:defRPr>
            </a:lvl2pPr>
            <a:lvl3pPr marL="255936" indent="-127968">
              <a:lnSpc>
                <a:spcPct val="110000"/>
              </a:lnSpc>
              <a:spcBef>
                <a:spcPts val="0"/>
              </a:spcBef>
              <a:defRPr sz="1400">
                <a:solidFill>
                  <a:schemeClr val="tx1"/>
                </a:solidFill>
              </a:defRPr>
            </a:lvl3pPr>
            <a:lvl4pPr marL="383904" indent="-127968">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6377747" y="1333500"/>
            <a:ext cx="1236501" cy="1238251"/>
          </a:xfrm>
          <a:solidFill>
            <a:srgbClr val="E0E0E0"/>
          </a:solidFill>
        </p:spPr>
        <p:txBody>
          <a:bodyPr anchor="ctr"/>
          <a:lstStyle>
            <a:lvl1pPr marL="0" marR="0" indent="0" algn="ctr" defTabSz="121874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74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7807898" y="1333500"/>
            <a:ext cx="2853953" cy="1238251"/>
          </a:xfrm>
        </p:spPr>
        <p:txBody>
          <a:bodyPr/>
          <a:lstStyle>
            <a:lvl1pPr>
              <a:lnSpc>
                <a:spcPct val="110000"/>
              </a:lnSpc>
              <a:spcBef>
                <a:spcPts val="0"/>
              </a:spcBef>
              <a:defRPr sz="1400">
                <a:solidFill>
                  <a:schemeClr val="tx1"/>
                </a:solidFill>
              </a:defRPr>
            </a:lvl1pPr>
            <a:lvl2pPr marL="127968" indent="-127968">
              <a:lnSpc>
                <a:spcPct val="110000"/>
              </a:lnSpc>
              <a:spcBef>
                <a:spcPts val="0"/>
              </a:spcBef>
              <a:defRPr sz="1400">
                <a:solidFill>
                  <a:schemeClr val="tx1"/>
                </a:solidFill>
              </a:defRPr>
            </a:lvl2pPr>
            <a:lvl3pPr marL="255936" indent="-127968">
              <a:lnSpc>
                <a:spcPct val="110000"/>
              </a:lnSpc>
              <a:spcBef>
                <a:spcPts val="0"/>
              </a:spcBef>
              <a:defRPr sz="1400">
                <a:solidFill>
                  <a:schemeClr val="tx1"/>
                </a:solidFill>
              </a:defRPr>
            </a:lvl3pPr>
            <a:lvl4pPr marL="383904" indent="-127968">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11767911" y="6469422"/>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904568618"/>
      </p:ext>
    </p:extLst>
  </p:cSld>
  <p:clrMapOvr>
    <a:masterClrMapping/>
  </p:clrMapOvr>
  <p:transition spd="med"/>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1" cy="762795"/>
          </a:xfrm>
        </p:spPr>
        <p:txBody>
          <a:bodyPr/>
          <a:lstStyle>
            <a:lvl1pPr>
              <a:lnSpc>
                <a:spcPct val="110000"/>
              </a:lnSpc>
              <a:defRPr sz="1400">
                <a:solidFill>
                  <a:schemeClr val="tx2"/>
                </a:solidFill>
              </a:defRPr>
            </a:lvl1pPr>
          </a:lstStyle>
          <a:p>
            <a:r>
              <a:rPr lang="en-US"/>
              <a:t>Click to edit Master title style</a:t>
            </a:r>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87999" y="3060700"/>
            <a:ext cx="1236501" cy="1238251"/>
          </a:xfrm>
          <a:solidFill>
            <a:srgbClr val="E0E0E0"/>
          </a:solidFill>
        </p:spPr>
        <p:txBody>
          <a:bodyPr anchor="ctr"/>
          <a:lstStyle>
            <a:lvl1pPr marL="0" marR="0" indent="0" algn="ctr" defTabSz="1218971"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71"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714278" y="3060700"/>
            <a:ext cx="2853953" cy="1238251"/>
          </a:xfrm>
        </p:spPr>
        <p:txBody>
          <a:bodyPr/>
          <a:lstStyle>
            <a:lvl1pPr>
              <a:lnSpc>
                <a:spcPct val="110000"/>
              </a:lnSpc>
              <a:spcBef>
                <a:spcPts val="0"/>
              </a:spcBef>
              <a:defRPr sz="1400">
                <a:solidFill>
                  <a:schemeClr val="tx1"/>
                </a:solidFill>
              </a:defRPr>
            </a:lvl1pPr>
            <a:lvl2pPr marL="127992" indent="-127992">
              <a:lnSpc>
                <a:spcPct val="110000"/>
              </a:lnSpc>
              <a:spcBef>
                <a:spcPts val="0"/>
              </a:spcBef>
              <a:defRPr sz="1400">
                <a:solidFill>
                  <a:schemeClr val="tx1"/>
                </a:solidFill>
              </a:defRPr>
            </a:lvl2pPr>
            <a:lvl3pPr marL="255984" indent="-127992">
              <a:lnSpc>
                <a:spcPct val="110000"/>
              </a:lnSpc>
              <a:spcBef>
                <a:spcPts val="0"/>
              </a:spcBef>
              <a:defRPr sz="1400">
                <a:solidFill>
                  <a:schemeClr val="tx1"/>
                </a:solidFill>
              </a:defRPr>
            </a:lvl3pPr>
            <a:lvl4pPr marL="383976" indent="-127992">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87999" y="4762500"/>
            <a:ext cx="1236501" cy="1238251"/>
          </a:xfrm>
          <a:solidFill>
            <a:srgbClr val="E0E0E0"/>
          </a:solidFill>
        </p:spPr>
        <p:txBody>
          <a:bodyPr anchor="ctr"/>
          <a:lstStyle>
            <a:lvl1pPr marL="0" marR="0" indent="0" algn="ctr" defTabSz="1218971"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71"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714278" y="4762500"/>
            <a:ext cx="2853953" cy="1238251"/>
          </a:xfrm>
        </p:spPr>
        <p:txBody>
          <a:bodyPr/>
          <a:lstStyle>
            <a:lvl1pPr>
              <a:lnSpc>
                <a:spcPct val="110000"/>
              </a:lnSpc>
              <a:spcBef>
                <a:spcPts val="0"/>
              </a:spcBef>
              <a:defRPr sz="1400">
                <a:solidFill>
                  <a:schemeClr val="tx1"/>
                </a:solidFill>
              </a:defRPr>
            </a:lvl1pPr>
            <a:lvl2pPr marL="127992" indent="-127992">
              <a:lnSpc>
                <a:spcPct val="110000"/>
              </a:lnSpc>
              <a:spcBef>
                <a:spcPts val="0"/>
              </a:spcBef>
              <a:defRPr sz="1400">
                <a:solidFill>
                  <a:schemeClr val="tx1"/>
                </a:solidFill>
              </a:defRPr>
            </a:lvl2pPr>
            <a:lvl3pPr marL="255984" indent="-127992">
              <a:lnSpc>
                <a:spcPct val="110000"/>
              </a:lnSpc>
              <a:spcBef>
                <a:spcPts val="0"/>
              </a:spcBef>
              <a:defRPr sz="1400">
                <a:solidFill>
                  <a:schemeClr val="tx1"/>
                </a:solidFill>
              </a:defRPr>
            </a:lvl3pPr>
            <a:lvl4pPr marL="383976" indent="-127992">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87999" y="1333500"/>
            <a:ext cx="1236501" cy="1238251"/>
          </a:xfrm>
          <a:solidFill>
            <a:srgbClr val="E0E0E0"/>
          </a:solidFill>
        </p:spPr>
        <p:txBody>
          <a:bodyPr anchor="ctr"/>
          <a:lstStyle>
            <a:lvl1pPr algn="ctr">
              <a:defRPr>
                <a:solidFill>
                  <a:schemeClr val="accent5"/>
                </a:solidFill>
              </a:defRPr>
            </a:lvl1pPr>
          </a:lstStyle>
          <a:p>
            <a:r>
              <a:rPr lang="en-US"/>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714278" y="1333500"/>
            <a:ext cx="2853953" cy="1238251"/>
          </a:xfrm>
        </p:spPr>
        <p:txBody>
          <a:bodyPr/>
          <a:lstStyle>
            <a:lvl1pPr>
              <a:lnSpc>
                <a:spcPct val="110000"/>
              </a:lnSpc>
              <a:spcBef>
                <a:spcPts val="0"/>
              </a:spcBef>
              <a:defRPr sz="1400">
                <a:solidFill>
                  <a:schemeClr val="tx1"/>
                </a:solidFill>
              </a:defRPr>
            </a:lvl1pPr>
            <a:lvl2pPr marL="127992" indent="-127992">
              <a:lnSpc>
                <a:spcPct val="110000"/>
              </a:lnSpc>
              <a:spcBef>
                <a:spcPts val="0"/>
              </a:spcBef>
              <a:defRPr sz="1400">
                <a:solidFill>
                  <a:schemeClr val="tx1"/>
                </a:solidFill>
              </a:defRPr>
            </a:lvl2pPr>
            <a:lvl3pPr marL="255984" indent="-127992">
              <a:lnSpc>
                <a:spcPct val="110000"/>
              </a:lnSpc>
              <a:spcBef>
                <a:spcPts val="0"/>
              </a:spcBef>
              <a:defRPr sz="1400">
                <a:solidFill>
                  <a:schemeClr val="tx1"/>
                </a:solidFill>
              </a:defRPr>
            </a:lvl3pPr>
            <a:lvl4pPr marL="383976" indent="-127992">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6377746" y="3060700"/>
            <a:ext cx="1236501" cy="1238251"/>
          </a:xfrm>
          <a:solidFill>
            <a:srgbClr val="E0E0E0"/>
          </a:solidFill>
        </p:spPr>
        <p:txBody>
          <a:bodyPr anchor="ctr"/>
          <a:lstStyle>
            <a:lvl1pPr marL="0" marR="0" indent="0" algn="ctr" defTabSz="1218971"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71"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7807897" y="3060700"/>
            <a:ext cx="2853953" cy="1238251"/>
          </a:xfrm>
        </p:spPr>
        <p:txBody>
          <a:bodyPr/>
          <a:lstStyle>
            <a:lvl1pPr>
              <a:lnSpc>
                <a:spcPct val="110000"/>
              </a:lnSpc>
              <a:spcBef>
                <a:spcPts val="0"/>
              </a:spcBef>
              <a:defRPr sz="1400">
                <a:solidFill>
                  <a:schemeClr val="tx1"/>
                </a:solidFill>
              </a:defRPr>
            </a:lvl1pPr>
            <a:lvl2pPr marL="127992" indent="-127992">
              <a:lnSpc>
                <a:spcPct val="110000"/>
              </a:lnSpc>
              <a:spcBef>
                <a:spcPts val="0"/>
              </a:spcBef>
              <a:defRPr sz="1400">
                <a:solidFill>
                  <a:schemeClr val="tx1"/>
                </a:solidFill>
              </a:defRPr>
            </a:lvl2pPr>
            <a:lvl3pPr marL="255984" indent="-127992">
              <a:lnSpc>
                <a:spcPct val="110000"/>
              </a:lnSpc>
              <a:spcBef>
                <a:spcPts val="0"/>
              </a:spcBef>
              <a:defRPr sz="1400">
                <a:solidFill>
                  <a:schemeClr val="tx1"/>
                </a:solidFill>
              </a:defRPr>
            </a:lvl3pPr>
            <a:lvl4pPr marL="383976" indent="-127992">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6377746" y="4762500"/>
            <a:ext cx="1236501" cy="1238251"/>
          </a:xfrm>
          <a:solidFill>
            <a:srgbClr val="E0E0E0"/>
          </a:solidFill>
        </p:spPr>
        <p:txBody>
          <a:bodyPr anchor="ctr"/>
          <a:lstStyle>
            <a:lvl1pPr marL="0" marR="0" indent="0" algn="ctr" defTabSz="1218971"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71"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7807897" y="4762500"/>
            <a:ext cx="2853953" cy="1238251"/>
          </a:xfrm>
        </p:spPr>
        <p:txBody>
          <a:bodyPr/>
          <a:lstStyle>
            <a:lvl1pPr>
              <a:lnSpc>
                <a:spcPct val="110000"/>
              </a:lnSpc>
              <a:spcBef>
                <a:spcPts val="0"/>
              </a:spcBef>
              <a:defRPr sz="1400">
                <a:solidFill>
                  <a:schemeClr val="tx1"/>
                </a:solidFill>
              </a:defRPr>
            </a:lvl1pPr>
            <a:lvl2pPr marL="127992" indent="-127992">
              <a:lnSpc>
                <a:spcPct val="110000"/>
              </a:lnSpc>
              <a:spcBef>
                <a:spcPts val="0"/>
              </a:spcBef>
              <a:defRPr sz="1400">
                <a:solidFill>
                  <a:schemeClr val="tx1"/>
                </a:solidFill>
              </a:defRPr>
            </a:lvl2pPr>
            <a:lvl3pPr marL="255984" indent="-127992">
              <a:lnSpc>
                <a:spcPct val="110000"/>
              </a:lnSpc>
              <a:spcBef>
                <a:spcPts val="0"/>
              </a:spcBef>
              <a:defRPr sz="1400">
                <a:solidFill>
                  <a:schemeClr val="tx1"/>
                </a:solidFill>
              </a:defRPr>
            </a:lvl3pPr>
            <a:lvl4pPr marL="383976" indent="-127992">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6377746" y="1333500"/>
            <a:ext cx="1236501" cy="1238251"/>
          </a:xfrm>
          <a:solidFill>
            <a:srgbClr val="E0E0E0"/>
          </a:solidFill>
        </p:spPr>
        <p:txBody>
          <a:bodyPr anchor="ctr"/>
          <a:lstStyle>
            <a:lvl1pPr marL="0" marR="0" indent="0" algn="ctr" defTabSz="1218971"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71"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7807897" y="1333500"/>
            <a:ext cx="2853953" cy="1238251"/>
          </a:xfrm>
        </p:spPr>
        <p:txBody>
          <a:bodyPr/>
          <a:lstStyle>
            <a:lvl1pPr>
              <a:lnSpc>
                <a:spcPct val="110000"/>
              </a:lnSpc>
              <a:spcBef>
                <a:spcPts val="0"/>
              </a:spcBef>
              <a:defRPr sz="1400">
                <a:solidFill>
                  <a:schemeClr val="tx1"/>
                </a:solidFill>
              </a:defRPr>
            </a:lvl1pPr>
            <a:lvl2pPr marL="127992" indent="-127992">
              <a:lnSpc>
                <a:spcPct val="110000"/>
              </a:lnSpc>
              <a:spcBef>
                <a:spcPts val="0"/>
              </a:spcBef>
              <a:defRPr sz="1400">
                <a:solidFill>
                  <a:schemeClr val="tx1"/>
                </a:solidFill>
              </a:defRPr>
            </a:lvl2pPr>
            <a:lvl3pPr marL="255984" indent="-127992">
              <a:lnSpc>
                <a:spcPct val="110000"/>
              </a:lnSpc>
              <a:spcBef>
                <a:spcPts val="0"/>
              </a:spcBef>
              <a:defRPr sz="1400">
                <a:solidFill>
                  <a:schemeClr val="tx1"/>
                </a:solidFill>
              </a:defRPr>
            </a:lvl3pPr>
            <a:lvl4pPr marL="383976" indent="-127992">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11767910" y="646942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153345443"/>
      </p:ext>
    </p:extLst>
  </p:cSld>
  <p:clrMapOvr>
    <a:masterClrMapping/>
  </p:clrMapOvr>
  <p:transition spd="med"/>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7"/>
            <a:ext cx="2474591" cy="2286794"/>
          </a:xfrm>
        </p:spPr>
        <p:txBody>
          <a:bodyPr/>
          <a:lstStyle>
            <a:lvl1pPr>
              <a:lnSpc>
                <a:spcPct val="110000"/>
              </a:lnSpc>
              <a:defRPr sz="1400">
                <a:solidFill>
                  <a:schemeClr val="tx2"/>
                </a:solidFill>
              </a:defRPr>
            </a:lvl1pPr>
          </a:lstStyle>
          <a:p>
            <a:r>
              <a:rPr lang="en-US"/>
              <a:t>Click to edit Master title style</a:t>
            </a:r>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3333316" y="284958"/>
            <a:ext cx="8571384" cy="5715794"/>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11767910" y="646942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055490733"/>
      </p:ext>
    </p:extLst>
  </p:cSld>
  <p:clrMapOvr>
    <a:masterClrMapping/>
  </p:clrMapOvr>
  <p:transition spd="med"/>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1_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8000" y="192024"/>
            <a:ext cx="2477765" cy="1429544"/>
          </a:xfrm>
        </p:spPr>
        <p:txBody>
          <a:bodyPr/>
          <a:lstStyle>
            <a:lvl1pPr>
              <a:lnSpc>
                <a:spcPct val="90000"/>
              </a:lnSpc>
              <a:spcBef>
                <a:spcPts val="0"/>
              </a:spcBef>
              <a:defRPr sz="3198">
                <a:solidFill>
                  <a:schemeClr val="tx2"/>
                </a:solidFill>
              </a:defRPr>
            </a:lvl1pPr>
            <a:lvl2pPr>
              <a:lnSpc>
                <a:spcPct val="100000"/>
              </a:lnSpc>
              <a:spcBef>
                <a:spcPts val="0"/>
              </a:spcBef>
              <a:defRPr sz="3198">
                <a:solidFill>
                  <a:schemeClr val="tx1"/>
                </a:solidFill>
              </a:defRPr>
            </a:lvl2pPr>
            <a:lvl3pPr>
              <a:lnSpc>
                <a:spcPct val="100000"/>
              </a:lnSpc>
              <a:spcBef>
                <a:spcPts val="0"/>
              </a:spcBef>
              <a:defRPr sz="3198">
                <a:solidFill>
                  <a:schemeClr val="tx1"/>
                </a:solidFill>
              </a:defRPr>
            </a:lvl3pPr>
            <a:lvl4pPr>
              <a:lnSpc>
                <a:spcPct val="100000"/>
              </a:lnSpc>
              <a:spcBef>
                <a:spcPts val="0"/>
              </a:spcBef>
              <a:defRPr sz="3198">
                <a:solidFill>
                  <a:schemeClr val="tx1"/>
                </a:solidFill>
              </a:defRPr>
            </a:lvl4pPr>
            <a:lvl5pPr>
              <a:lnSpc>
                <a:spcPct val="100000"/>
              </a:lnSpc>
              <a:spcBef>
                <a:spcPts val="0"/>
              </a:spcBef>
              <a:defRPr sz="3198">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3" y="284958"/>
            <a:ext cx="2476179" cy="5715795"/>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25" indent="-73125">
              <a:lnSpc>
                <a:spcPct val="120000"/>
              </a:lnSpc>
              <a:spcBef>
                <a:spcPts val="0"/>
              </a:spcBef>
              <a:defRPr sz="800" b="0" i="0">
                <a:solidFill>
                  <a:schemeClr val="tx1"/>
                </a:solidFill>
                <a:latin typeface="IBM Plex Sans" panose="020B0503050203000203" pitchFamily="34" charset="0"/>
              </a:defRPr>
            </a:lvl2pPr>
            <a:lvl3pPr marL="146250" indent="-73125">
              <a:lnSpc>
                <a:spcPct val="120000"/>
              </a:lnSpc>
              <a:spcBef>
                <a:spcPts val="0"/>
              </a:spcBef>
              <a:defRPr sz="800" b="0" i="0">
                <a:solidFill>
                  <a:schemeClr val="tx1"/>
                </a:solidFill>
                <a:latin typeface="IBM Plex Sans" panose="020B0503050203000203" pitchFamily="34" charset="0"/>
              </a:defRPr>
            </a:lvl3pPr>
            <a:lvl4pPr marL="219374" indent="-73125">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11767911" y="6469422"/>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592312796"/>
      </p:ext>
    </p:extLst>
  </p:cSld>
  <p:clrMapOvr>
    <a:masterClrMapping/>
  </p:clrMapOvr>
  <p:transition spd="med"/>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63" y="288036"/>
            <a:ext cx="2474590" cy="762794"/>
          </a:xfrm>
        </p:spPr>
        <p:txBody>
          <a:bodyPr/>
          <a:lstStyle>
            <a:lvl1pPr>
              <a:lnSpc>
                <a:spcPct val="110000"/>
              </a:lnSpc>
              <a:defRPr sz="140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62" y="1520825"/>
            <a:ext cx="2473130" cy="4576763"/>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3334904" y="1520825"/>
            <a:ext cx="2475384" cy="4576763"/>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10" descr="Place imagery here">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6380919" y="288037"/>
            <a:ext cx="5519908" cy="6285801"/>
          </a:xfrm>
          <a:solidFill>
            <a:srgbClr val="E0E0E0"/>
          </a:solidFill>
        </p:spPr>
        <p:txBody>
          <a:bodyPr anchor="ctr"/>
          <a:lstStyle>
            <a:lvl1pPr algn="ctr">
              <a:defRPr>
                <a:solidFill>
                  <a:schemeClr val="accent5"/>
                </a:solidFill>
              </a:defRPr>
            </a:lvl1pPr>
          </a:lstStyle>
          <a:p>
            <a:r>
              <a:rPr lang="en-US"/>
              <a:t>Place imagery here</a:t>
            </a:r>
          </a:p>
        </p:txBody>
      </p:sp>
      <p:sp>
        <p:nvSpPr>
          <p:cNvPr id="3" name="Footer Placeholder 3">
            <a:extLst>
              <a:ext uri="{FF2B5EF4-FFF2-40B4-BE49-F238E27FC236}">
                <a16:creationId xmlns:a16="http://schemas.microsoft.com/office/drawing/2014/main" id="{765F8DDE-78BD-E2B6-1CAB-2A9EF14E9F71}"/>
              </a:ext>
            </a:extLst>
          </p:cNvPr>
          <p:cNvSpPr>
            <a:spLocks noGrp="1"/>
          </p:cNvSpPr>
          <p:nvPr>
            <p:ph type="ftr" sz="quarter" idx="18"/>
          </p:nvPr>
        </p:nvSpPr>
        <p:spPr>
          <a:xfrm>
            <a:off x="287963" y="6408000"/>
            <a:ext cx="2477765" cy="190500"/>
          </a:xfrm>
        </p:spPr>
        <p:txBody>
          <a:bodyPr/>
          <a:lstStyle/>
          <a:p>
            <a:endParaRPr lang="en-US"/>
          </a:p>
        </p:txBody>
      </p:sp>
    </p:spTree>
    <p:extLst>
      <p:ext uri="{BB962C8B-B14F-4D97-AF65-F5344CB8AC3E}">
        <p14:creationId xmlns:p14="http://schemas.microsoft.com/office/powerpoint/2010/main" val="2880685594"/>
      </p:ext>
    </p:extLst>
  </p:cSld>
  <p:clrMapOvr>
    <a:masterClrMapping/>
  </p:clrMapOvr>
  <p:transition spd="med"/>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024"/>
            <a:ext cx="2477765" cy="1429544"/>
          </a:xfrm>
        </p:spPr>
        <p:txBody>
          <a:bodyPr/>
          <a:lstStyle>
            <a:lvl1pPr>
              <a:lnSpc>
                <a:spcPct val="90000"/>
              </a:lnSpc>
              <a:spcBef>
                <a:spcPts val="0"/>
              </a:spcBef>
              <a:defRPr sz="3199">
                <a:solidFill>
                  <a:schemeClr val="tx2"/>
                </a:solidFill>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3" y="284958"/>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8" indent="-73138">
              <a:lnSpc>
                <a:spcPct val="120000"/>
              </a:lnSpc>
              <a:spcBef>
                <a:spcPts val="0"/>
              </a:spcBef>
              <a:defRPr sz="800" b="0" i="0">
                <a:solidFill>
                  <a:schemeClr val="tx1"/>
                </a:solidFill>
                <a:latin typeface="IBM Plex Sans" panose="020B0503050203000203" pitchFamily="34" charset="0"/>
              </a:defRPr>
            </a:lvl2pPr>
            <a:lvl3pPr marL="146277" indent="-73138">
              <a:lnSpc>
                <a:spcPct val="120000"/>
              </a:lnSpc>
              <a:spcBef>
                <a:spcPts val="0"/>
              </a:spcBef>
              <a:defRPr sz="800" b="0" i="0">
                <a:solidFill>
                  <a:schemeClr val="tx1"/>
                </a:solidFill>
                <a:latin typeface="IBM Plex Sans" panose="020B0503050203000203" pitchFamily="34" charset="0"/>
              </a:defRPr>
            </a:lvl3pPr>
            <a:lvl4pPr marL="219415" indent="-73138">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11767910" y="646942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944457420"/>
      </p:ext>
    </p:extLst>
  </p:cSld>
  <p:clrMapOvr>
    <a:masterClrMapping/>
  </p:clrMapOvr>
  <p:transition spd="med"/>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3_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7"/>
            <a:ext cx="2474591" cy="763524"/>
          </a:xfrm>
        </p:spPr>
        <p:txBody>
          <a:bodyPr/>
          <a:lstStyle>
            <a:lvl1pPr>
              <a:lnSpc>
                <a:spcPct val="110000"/>
              </a:lnSpc>
              <a:defRPr sz="1400">
                <a:solidFill>
                  <a:schemeClr val="tx2"/>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11767910" y="646942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083086644"/>
      </p:ext>
    </p:extLst>
  </p:cSld>
  <p:clrMapOvr>
    <a:masterClrMapping/>
  </p:clrMapOvr>
  <p:transition spd="med"/>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1_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8000" y="192024"/>
            <a:ext cx="2477765" cy="1429544"/>
          </a:xfrm>
        </p:spPr>
        <p:txBody>
          <a:bodyPr/>
          <a:lstStyle>
            <a:lvl1pPr>
              <a:lnSpc>
                <a:spcPct val="90000"/>
              </a:lnSpc>
              <a:spcBef>
                <a:spcPts val="0"/>
              </a:spcBef>
              <a:defRPr sz="3198">
                <a:solidFill>
                  <a:schemeClr val="tx2"/>
                </a:solidFill>
              </a:defRPr>
            </a:lvl1pPr>
            <a:lvl2pPr>
              <a:lnSpc>
                <a:spcPct val="100000"/>
              </a:lnSpc>
              <a:spcBef>
                <a:spcPts val="0"/>
              </a:spcBef>
              <a:defRPr sz="3198">
                <a:solidFill>
                  <a:schemeClr val="tx1"/>
                </a:solidFill>
              </a:defRPr>
            </a:lvl2pPr>
            <a:lvl3pPr>
              <a:lnSpc>
                <a:spcPct val="100000"/>
              </a:lnSpc>
              <a:spcBef>
                <a:spcPts val="0"/>
              </a:spcBef>
              <a:defRPr sz="3198">
                <a:solidFill>
                  <a:schemeClr val="tx1"/>
                </a:solidFill>
              </a:defRPr>
            </a:lvl3pPr>
            <a:lvl4pPr>
              <a:lnSpc>
                <a:spcPct val="100000"/>
              </a:lnSpc>
              <a:spcBef>
                <a:spcPts val="0"/>
              </a:spcBef>
              <a:defRPr sz="3198">
                <a:solidFill>
                  <a:schemeClr val="tx1"/>
                </a:solidFill>
              </a:defRPr>
            </a:lvl4pPr>
            <a:lvl5pPr>
              <a:lnSpc>
                <a:spcPct val="100000"/>
              </a:lnSpc>
              <a:spcBef>
                <a:spcPts val="0"/>
              </a:spcBef>
              <a:defRPr sz="3198">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3" y="284958"/>
            <a:ext cx="2476179" cy="5715795"/>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25" indent="-73125">
              <a:lnSpc>
                <a:spcPct val="120000"/>
              </a:lnSpc>
              <a:spcBef>
                <a:spcPts val="0"/>
              </a:spcBef>
              <a:defRPr sz="800" b="0" i="0">
                <a:solidFill>
                  <a:schemeClr val="tx1"/>
                </a:solidFill>
                <a:latin typeface="IBM Plex Sans" panose="020B0503050203000203" pitchFamily="34" charset="0"/>
              </a:defRPr>
            </a:lvl2pPr>
            <a:lvl3pPr marL="146250" indent="-73125">
              <a:lnSpc>
                <a:spcPct val="120000"/>
              </a:lnSpc>
              <a:spcBef>
                <a:spcPts val="0"/>
              </a:spcBef>
              <a:defRPr sz="800" b="0" i="0">
                <a:solidFill>
                  <a:schemeClr val="tx1"/>
                </a:solidFill>
                <a:latin typeface="IBM Plex Sans" panose="020B0503050203000203" pitchFamily="34" charset="0"/>
              </a:defRPr>
            </a:lvl3pPr>
            <a:lvl4pPr marL="219374" indent="-73125">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90476" y="6402390"/>
            <a:ext cx="2477765" cy="190500"/>
          </a:xfrm>
        </p:spPr>
        <p:txBody>
          <a:bodyPr/>
          <a:lstStyle/>
          <a:p>
            <a:endParaRPr lang="en-US"/>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6380918" y="284958"/>
            <a:ext cx="2476179" cy="5715795"/>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25" indent="-73125">
              <a:lnSpc>
                <a:spcPct val="120000"/>
              </a:lnSpc>
              <a:spcBef>
                <a:spcPts val="0"/>
              </a:spcBef>
              <a:defRPr sz="800" b="0" i="0">
                <a:solidFill>
                  <a:schemeClr val="tx1"/>
                </a:solidFill>
                <a:latin typeface="IBM Plex Sans" panose="020B0503050203000203" pitchFamily="34" charset="0"/>
              </a:defRPr>
            </a:lvl2pPr>
            <a:lvl3pPr marL="146250" indent="-73125">
              <a:lnSpc>
                <a:spcPct val="120000"/>
              </a:lnSpc>
              <a:spcBef>
                <a:spcPts val="0"/>
              </a:spcBef>
              <a:defRPr sz="800" b="0" i="0">
                <a:solidFill>
                  <a:schemeClr val="tx1"/>
                </a:solidFill>
                <a:latin typeface="IBM Plex Sans" panose="020B0503050203000203" pitchFamily="34" charset="0"/>
              </a:defRPr>
            </a:lvl3pPr>
            <a:lvl4pPr marL="219374" indent="-73125">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11767911" y="6469422"/>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72215720"/>
      </p:ext>
    </p:extLst>
  </p:cSld>
  <p:clrMapOvr>
    <a:masterClrMapping/>
  </p:clrMapOvr>
  <p:transition spd="med"/>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024"/>
            <a:ext cx="2477765" cy="1429544"/>
          </a:xfrm>
        </p:spPr>
        <p:txBody>
          <a:bodyPr/>
          <a:lstStyle>
            <a:lvl1pPr>
              <a:lnSpc>
                <a:spcPct val="90000"/>
              </a:lnSpc>
              <a:spcBef>
                <a:spcPts val="0"/>
              </a:spcBef>
              <a:defRPr sz="3199">
                <a:solidFill>
                  <a:schemeClr val="tx2"/>
                </a:solidFill>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3" y="284958"/>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8" indent="-73138">
              <a:lnSpc>
                <a:spcPct val="120000"/>
              </a:lnSpc>
              <a:spcBef>
                <a:spcPts val="0"/>
              </a:spcBef>
              <a:defRPr sz="800" b="0" i="0">
                <a:solidFill>
                  <a:schemeClr val="tx1"/>
                </a:solidFill>
                <a:latin typeface="IBM Plex Sans" panose="020B0503050203000203" pitchFamily="34" charset="0"/>
              </a:defRPr>
            </a:lvl2pPr>
            <a:lvl3pPr marL="146277" indent="-73138">
              <a:lnSpc>
                <a:spcPct val="120000"/>
              </a:lnSpc>
              <a:spcBef>
                <a:spcPts val="0"/>
              </a:spcBef>
              <a:defRPr sz="800" b="0" i="0">
                <a:solidFill>
                  <a:schemeClr val="tx1"/>
                </a:solidFill>
                <a:latin typeface="IBM Plex Sans" panose="020B0503050203000203" pitchFamily="34" charset="0"/>
              </a:defRPr>
            </a:lvl3pPr>
            <a:lvl4pPr marL="219415" indent="-73138">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90475" y="6402389"/>
            <a:ext cx="2477765" cy="190500"/>
          </a:xfrm>
        </p:spPr>
        <p:txBody>
          <a:bodyPr/>
          <a:lstStyle/>
          <a:p>
            <a:endParaRPr lang="en-US"/>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6380919" y="284958"/>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8" indent="-73138">
              <a:lnSpc>
                <a:spcPct val="120000"/>
              </a:lnSpc>
              <a:spcBef>
                <a:spcPts val="0"/>
              </a:spcBef>
              <a:defRPr sz="800" b="0" i="0">
                <a:solidFill>
                  <a:schemeClr val="tx1"/>
                </a:solidFill>
                <a:latin typeface="IBM Plex Sans" panose="020B0503050203000203" pitchFamily="34" charset="0"/>
              </a:defRPr>
            </a:lvl2pPr>
            <a:lvl3pPr marL="146277" indent="-73138">
              <a:lnSpc>
                <a:spcPct val="120000"/>
              </a:lnSpc>
              <a:spcBef>
                <a:spcPts val="0"/>
              </a:spcBef>
              <a:defRPr sz="800" b="0" i="0">
                <a:solidFill>
                  <a:schemeClr val="tx1"/>
                </a:solidFill>
                <a:latin typeface="IBM Plex Sans" panose="020B0503050203000203" pitchFamily="34" charset="0"/>
              </a:defRPr>
            </a:lvl3pPr>
            <a:lvl4pPr marL="219415" indent="-73138">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11767910" y="6469420"/>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992312467"/>
      </p:ext>
    </p:extLst>
  </p:cSld>
  <p:clrMapOvr>
    <a:masterClrMapping/>
  </p:clrMapOvr>
  <p:transition spd="med"/>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5232005" y="3084232"/>
            <a:ext cx="1727991" cy="689540"/>
          </a:xfrm>
          <a:prstGeom prst="rect">
            <a:avLst/>
          </a:prstGeom>
        </p:spPr>
      </p:pic>
    </p:spTree>
    <p:extLst>
      <p:ext uri="{BB962C8B-B14F-4D97-AF65-F5344CB8AC3E}">
        <p14:creationId xmlns:p14="http://schemas.microsoft.com/office/powerpoint/2010/main" val="1459738688"/>
      </p:ext>
    </p:extLst>
  </p:cSld>
  <p:clrMapOvr>
    <a:masterClrMapping/>
  </p:clrMapOvr>
  <p:transition spd="med"/>
</p:sldLayout>
</file>

<file path=ppt/slideLayouts/slideLayout555.xml><?xml version="1.0" encoding="utf-8"?>
<p:sldLayout xmlns:a="http://schemas.openxmlformats.org/drawingml/2006/main" xmlns:r="http://schemas.openxmlformats.org/officeDocument/2006/relationships" xmlns:p="http://schemas.openxmlformats.org/presentationml/2006/main"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7" name="Content Placeholder"/>
          <p:cNvSpPr>
            <a:spLocks noGrp="1"/>
          </p:cNvSpPr>
          <p:nvPr>
            <p:ph sz="quarter" idx="13"/>
          </p:nvPr>
        </p:nvSpPr>
        <p:spPr>
          <a:xfrm>
            <a:off x="280416" y="1621536"/>
            <a:ext cx="5522976" cy="4372864"/>
          </a:xfrm>
        </p:spPr>
        <p:txBody>
          <a:bodyPr/>
          <a:lstStyle>
            <a:lvl1pPr>
              <a:defRPr sz="3199">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6388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821363035"/>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p:cNvSpPr>
            <a:spLocks noGrp="1"/>
          </p:cNvSpPr>
          <p:nvPr>
            <p:ph sz="quarter" idx="13"/>
          </p:nvPr>
        </p:nvSpPr>
        <p:spPr>
          <a:xfrm>
            <a:off x="3352800" y="1658112"/>
            <a:ext cx="8534400"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477873695"/>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userDrawn="1">
  <p:cSld name="2_Boxes, 4 stacked,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763526"/>
            <a:ext cx="5521400" cy="1138428"/>
          </a:xfrm>
        </p:spPr>
        <p:txBody>
          <a:bodyPr rIns="457200"/>
          <a:lstStyle>
            <a:lvl1pPr>
              <a:lnSpc>
                <a:spcPct val="100000"/>
              </a:lnSpc>
              <a:defRPr sz="3198"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8000" y="192602"/>
            <a:ext cx="2477765" cy="224028"/>
          </a:xfrm>
          <a:prstGeom prst="rect">
            <a:avLst/>
          </a:prstGeom>
        </p:spPr>
        <p:txBody>
          <a:bodyPr/>
          <a:lstStyle>
            <a:lvl1pPr>
              <a:lnSpc>
                <a:spcPct val="100000"/>
              </a:lnSpc>
              <a:defRPr sz="1400" b="0" i="0">
                <a:solidFill>
                  <a:schemeClr val="tx2"/>
                </a:solidFill>
                <a:latin typeface="IBM Plex Sans Light" panose="020B0403050203000203" pitchFamily="34" charset="0"/>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11769266" y="6469422"/>
            <a:ext cx="135436"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6363187" y="288040"/>
            <a:ext cx="2481639" cy="2572543"/>
          </a:xfrm>
          <a:prstGeom prst="rect">
            <a:avLst/>
          </a:prstGeom>
        </p:spPr>
        <p:txBody>
          <a:bodyPr/>
          <a:lstStyle>
            <a:lvl1pPr defTabSz="580426">
              <a:lnSpc>
                <a:spcPct val="100000"/>
              </a:lnSpc>
              <a:spcBef>
                <a:spcPts val="0"/>
              </a:spcBef>
              <a:defRPr sz="1800" b="0" i="0">
                <a:solidFill>
                  <a:schemeClr val="tx1"/>
                </a:solidFill>
                <a:latin typeface="IBM Plex Sans Light" panose="020B0403050203000203" pitchFamily="34" charset="0"/>
              </a:defRPr>
            </a:lvl1pPr>
            <a:lvl2pPr defTabSz="580426">
              <a:lnSpc>
                <a:spcPct val="100000"/>
              </a:lnSpc>
              <a:spcBef>
                <a:spcPts val="0"/>
              </a:spcBef>
              <a:defRPr sz="1800" b="0" i="0">
                <a:solidFill>
                  <a:schemeClr val="tx1"/>
                </a:solidFill>
                <a:latin typeface="IBM Plex Sans Light" panose="020B0403050203000203" pitchFamily="34" charset="0"/>
              </a:defRPr>
            </a:lvl2pPr>
            <a:lvl3pPr defTabSz="580426">
              <a:lnSpc>
                <a:spcPct val="100000"/>
              </a:lnSpc>
              <a:spcBef>
                <a:spcPts val="0"/>
              </a:spcBef>
              <a:defRPr sz="1800" b="0" i="0">
                <a:solidFill>
                  <a:schemeClr val="tx1"/>
                </a:solidFill>
                <a:latin typeface="IBM Plex Sans Light" panose="020B0403050203000203" pitchFamily="34" charset="0"/>
              </a:defRPr>
            </a:lvl3pPr>
            <a:lvl4pPr defTabSz="580426">
              <a:lnSpc>
                <a:spcPct val="100000"/>
              </a:lnSpc>
              <a:spcBef>
                <a:spcPts val="0"/>
              </a:spcBef>
              <a:defRPr sz="1800" b="0" i="0">
                <a:solidFill>
                  <a:schemeClr val="tx1"/>
                </a:solidFill>
                <a:latin typeface="IBM Plex Sans Light" panose="020B0403050203000203" pitchFamily="34" charset="0"/>
              </a:defRPr>
            </a:lvl4pPr>
            <a:lvl5pPr defTabSz="58042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9398653" y="288040"/>
            <a:ext cx="2481639" cy="2572543"/>
          </a:xfrm>
          <a:prstGeom prst="rect">
            <a:avLst/>
          </a:prstGeom>
        </p:spPr>
        <p:txBody>
          <a:bodyPr/>
          <a:lstStyle>
            <a:lvl1pPr defTabSz="580426">
              <a:lnSpc>
                <a:spcPct val="100000"/>
              </a:lnSpc>
              <a:spcBef>
                <a:spcPts val="0"/>
              </a:spcBef>
              <a:defRPr sz="1800" b="0" i="0">
                <a:solidFill>
                  <a:schemeClr val="tx1"/>
                </a:solidFill>
                <a:latin typeface="IBM Plex Sans Light" panose="020B0403050203000203" pitchFamily="34" charset="0"/>
              </a:defRPr>
            </a:lvl1pPr>
            <a:lvl2pPr defTabSz="580426">
              <a:lnSpc>
                <a:spcPct val="100000"/>
              </a:lnSpc>
              <a:spcBef>
                <a:spcPts val="0"/>
              </a:spcBef>
              <a:defRPr sz="1800" b="0" i="0">
                <a:solidFill>
                  <a:schemeClr val="tx1"/>
                </a:solidFill>
                <a:latin typeface="IBM Plex Sans Light" panose="020B0403050203000203" pitchFamily="34" charset="0"/>
              </a:defRPr>
            </a:lvl2pPr>
            <a:lvl3pPr defTabSz="580426">
              <a:lnSpc>
                <a:spcPct val="100000"/>
              </a:lnSpc>
              <a:spcBef>
                <a:spcPts val="0"/>
              </a:spcBef>
              <a:defRPr sz="1800" b="0" i="0">
                <a:solidFill>
                  <a:schemeClr val="tx1"/>
                </a:solidFill>
                <a:latin typeface="IBM Plex Sans Light" panose="020B0403050203000203" pitchFamily="34" charset="0"/>
              </a:defRPr>
            </a:lvl3pPr>
            <a:lvl4pPr defTabSz="580426">
              <a:lnSpc>
                <a:spcPct val="100000"/>
              </a:lnSpc>
              <a:spcBef>
                <a:spcPts val="0"/>
              </a:spcBef>
              <a:defRPr sz="1800" b="0" i="0">
                <a:solidFill>
                  <a:schemeClr val="tx1"/>
                </a:solidFill>
                <a:latin typeface="IBM Plex Sans Light" panose="020B0403050203000203" pitchFamily="34" charset="0"/>
              </a:defRPr>
            </a:lvl4pPr>
            <a:lvl5pPr defTabSz="58042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6363187" y="3333752"/>
            <a:ext cx="2481639" cy="2476500"/>
          </a:xfrm>
          <a:prstGeom prst="rect">
            <a:avLst/>
          </a:prstGeom>
        </p:spPr>
        <p:txBody>
          <a:bodyPr/>
          <a:lstStyle>
            <a:lvl1pPr defTabSz="580426">
              <a:lnSpc>
                <a:spcPct val="100000"/>
              </a:lnSpc>
              <a:spcBef>
                <a:spcPts val="0"/>
              </a:spcBef>
              <a:defRPr sz="1800" b="0" i="0">
                <a:solidFill>
                  <a:schemeClr val="tx1"/>
                </a:solidFill>
                <a:latin typeface="IBM Plex Sans Light" panose="020B0403050203000203" pitchFamily="34" charset="0"/>
              </a:defRPr>
            </a:lvl1pPr>
            <a:lvl2pPr defTabSz="580426">
              <a:lnSpc>
                <a:spcPct val="100000"/>
              </a:lnSpc>
              <a:spcBef>
                <a:spcPts val="0"/>
              </a:spcBef>
              <a:defRPr sz="1800" b="0" i="0">
                <a:solidFill>
                  <a:schemeClr val="tx1"/>
                </a:solidFill>
                <a:latin typeface="IBM Plex Sans Light" panose="020B0403050203000203" pitchFamily="34" charset="0"/>
              </a:defRPr>
            </a:lvl2pPr>
            <a:lvl3pPr defTabSz="580426">
              <a:lnSpc>
                <a:spcPct val="100000"/>
              </a:lnSpc>
              <a:spcBef>
                <a:spcPts val="0"/>
              </a:spcBef>
              <a:defRPr sz="1800" b="0" i="0">
                <a:solidFill>
                  <a:schemeClr val="tx1"/>
                </a:solidFill>
                <a:latin typeface="IBM Plex Sans Light" panose="020B0403050203000203" pitchFamily="34" charset="0"/>
              </a:defRPr>
            </a:lvl3pPr>
            <a:lvl4pPr defTabSz="580426">
              <a:lnSpc>
                <a:spcPct val="100000"/>
              </a:lnSpc>
              <a:spcBef>
                <a:spcPts val="0"/>
              </a:spcBef>
              <a:defRPr sz="1800" b="0" i="0">
                <a:solidFill>
                  <a:schemeClr val="tx1"/>
                </a:solidFill>
                <a:latin typeface="IBM Plex Sans Light" panose="020B0403050203000203" pitchFamily="34" charset="0"/>
              </a:defRPr>
            </a:lvl4pPr>
            <a:lvl5pPr defTabSz="58042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9398653" y="3333752"/>
            <a:ext cx="2481639" cy="2476500"/>
          </a:xfrm>
          <a:prstGeom prst="rect">
            <a:avLst/>
          </a:prstGeom>
        </p:spPr>
        <p:txBody>
          <a:bodyPr/>
          <a:lstStyle>
            <a:lvl1pPr defTabSz="580426">
              <a:lnSpc>
                <a:spcPct val="100000"/>
              </a:lnSpc>
              <a:spcBef>
                <a:spcPts val="0"/>
              </a:spcBef>
              <a:defRPr sz="1800" b="0" i="0">
                <a:solidFill>
                  <a:schemeClr val="tx1"/>
                </a:solidFill>
                <a:latin typeface="IBM Plex Sans Light" panose="020B0403050203000203" pitchFamily="34" charset="0"/>
              </a:defRPr>
            </a:lvl1pPr>
            <a:lvl2pPr defTabSz="580426">
              <a:lnSpc>
                <a:spcPct val="100000"/>
              </a:lnSpc>
              <a:spcBef>
                <a:spcPts val="0"/>
              </a:spcBef>
              <a:defRPr sz="1800" b="0" i="0">
                <a:solidFill>
                  <a:schemeClr val="tx1"/>
                </a:solidFill>
                <a:latin typeface="IBM Plex Sans Light" panose="020B0403050203000203" pitchFamily="34" charset="0"/>
              </a:defRPr>
            </a:lvl2pPr>
            <a:lvl3pPr defTabSz="580426">
              <a:lnSpc>
                <a:spcPct val="100000"/>
              </a:lnSpc>
              <a:spcBef>
                <a:spcPts val="0"/>
              </a:spcBef>
              <a:defRPr sz="1800" b="0" i="0">
                <a:solidFill>
                  <a:schemeClr val="tx1"/>
                </a:solidFill>
                <a:latin typeface="IBM Plex Sans Light" panose="020B0403050203000203" pitchFamily="34" charset="0"/>
              </a:defRPr>
            </a:lvl3pPr>
            <a:lvl4pPr defTabSz="580426">
              <a:lnSpc>
                <a:spcPct val="100000"/>
              </a:lnSpc>
              <a:spcBef>
                <a:spcPts val="0"/>
              </a:spcBef>
              <a:defRPr sz="1800" b="0" i="0">
                <a:solidFill>
                  <a:schemeClr val="tx1"/>
                </a:solidFill>
                <a:latin typeface="IBM Plex Sans Light" panose="020B0403050203000203" pitchFamily="34" charset="0"/>
              </a:defRPr>
            </a:lvl4pPr>
            <a:lvl5pPr defTabSz="58042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244806543"/>
      </p:ext>
    </p:extLst>
  </p:cSld>
  <p:clrMapOvr>
    <a:masterClrMapping/>
  </p:clrMapOvr>
  <p:transition spd="med"/>
</p:sldLayout>
</file>

<file path=ppt/slideLayouts/slideLayout558.xml><?xml version="1.0" encoding="utf-8"?>
<p:sldLayout xmlns:a="http://schemas.openxmlformats.org/drawingml/2006/main" xmlns:r="http://schemas.openxmlformats.org/officeDocument/2006/relationships" xmlns:p="http://schemas.openxmlformats.org/presentationml/2006/main" userDrawn="1">
  <p:cSld name="3_Video or imagery, half,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8000" y="192602"/>
            <a:ext cx="2474591" cy="762795"/>
          </a:xfrm>
        </p:spPr>
        <p:txBody>
          <a:bodyPr/>
          <a:lstStyle>
            <a:lvl1pPr>
              <a:lnSpc>
                <a:spcPct val="100000"/>
              </a:lnSpc>
              <a:defRPr sz="3198"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endParaRPr lang="en-US"/>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6380921" y="284958"/>
            <a:ext cx="5523781" cy="6287295"/>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275972" y="1714502"/>
            <a:ext cx="2485921" cy="4286251"/>
          </a:xfrm>
          <a:prstGeom prst="rect">
            <a:avLst/>
          </a:prstGeom>
        </p:spPr>
        <p:txBody>
          <a:bodyPr/>
          <a:lstStyle>
            <a:lvl1pPr defTabSz="580426">
              <a:lnSpc>
                <a:spcPct val="100000"/>
              </a:lnSpc>
              <a:spcBef>
                <a:spcPts val="0"/>
              </a:spcBef>
              <a:defRPr sz="1800" b="0" i="0">
                <a:solidFill>
                  <a:schemeClr val="tx1"/>
                </a:solidFill>
                <a:latin typeface="IBM Plex Sans Light" panose="020B0403050203000203" pitchFamily="34" charset="0"/>
              </a:defRPr>
            </a:lvl1pPr>
            <a:lvl2pPr marL="163739" indent="-163739" defTabSz="580426">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277" indent="-163739" defTabSz="580426">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014" indent="-163739" defTabSz="580426">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42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3334112" y="1714502"/>
            <a:ext cx="2485921" cy="4286251"/>
          </a:xfrm>
          <a:prstGeom prst="rect">
            <a:avLst/>
          </a:prstGeom>
        </p:spPr>
        <p:txBody>
          <a:bodyPr/>
          <a:lstStyle>
            <a:lvl1pPr defTabSz="580426">
              <a:lnSpc>
                <a:spcPct val="100000"/>
              </a:lnSpc>
              <a:spcBef>
                <a:spcPts val="0"/>
              </a:spcBef>
              <a:defRPr sz="1800" b="0" i="0">
                <a:solidFill>
                  <a:schemeClr val="tx1"/>
                </a:solidFill>
                <a:latin typeface="IBM Plex Sans Light" panose="020B0403050203000203" pitchFamily="34" charset="0"/>
              </a:defRPr>
            </a:lvl1pPr>
            <a:lvl2pPr marL="163739" indent="-163739" defTabSz="580426">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277" indent="-163739" defTabSz="580426">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014" indent="-163739" defTabSz="580426">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426">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55093852"/>
      </p:ext>
    </p:extLst>
  </p:cSld>
  <p:clrMapOvr>
    <a:masterClrMapping/>
  </p:clrMapOvr>
  <p:transition spd="med"/>
</p:sldLayout>
</file>

<file path=ppt/slideLayouts/slideLayout55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BA0899-AA88-E800-BB9C-DD5B82A00789}"/>
              </a:ext>
            </a:extLst>
          </p:cNvPr>
          <p:cNvSpPr>
            <a:spLocks noGrp="1"/>
          </p:cNvSpPr>
          <p:nvPr>
            <p:ph type="ctrTitle"/>
          </p:nvPr>
        </p:nvSpPr>
        <p:spPr>
          <a:xfrm>
            <a:off x="1524000" y="1122363"/>
            <a:ext cx="9144000" cy="2387600"/>
          </a:xfrm>
        </p:spPr>
        <p:txBody>
          <a:bodyPr anchor="b"/>
          <a:lstStyle>
            <a:lvl1pPr algn="ctr">
              <a:defRPr sz="5999"/>
            </a:lvl1pPr>
          </a:lstStyle>
          <a:p>
            <a:r>
              <a:rPr lang="en-US"/>
              <a:t>Click to edit Master title style</a:t>
            </a:r>
          </a:p>
        </p:txBody>
      </p:sp>
      <p:sp>
        <p:nvSpPr>
          <p:cNvPr id="3" name="Subtitle 2">
            <a:extLst>
              <a:ext uri="{FF2B5EF4-FFF2-40B4-BE49-F238E27FC236}">
                <a16:creationId xmlns:a16="http://schemas.microsoft.com/office/drawing/2014/main" id="{B75F31E8-36CA-EB17-F577-31F3FF610CA5}"/>
              </a:ext>
            </a:extLst>
          </p:cNvPr>
          <p:cNvSpPr>
            <a:spLocks noGrp="1"/>
          </p:cNvSpPr>
          <p:nvPr>
            <p:ph type="subTitle" idx="1"/>
          </p:nvPr>
        </p:nvSpPr>
        <p:spPr>
          <a:xfrm>
            <a:off x="1524000" y="3602038"/>
            <a:ext cx="9144000" cy="1655763"/>
          </a:xfrm>
        </p:spPr>
        <p:txBody>
          <a:bodyPr/>
          <a:lstStyle>
            <a:lvl1pPr marL="0" indent="0" algn="ctr">
              <a:buNone/>
              <a:defRPr sz="2400"/>
            </a:lvl1pPr>
            <a:lvl2pPr marL="457114" indent="0" algn="ctr">
              <a:buNone/>
              <a:defRPr sz="2000"/>
            </a:lvl2pPr>
            <a:lvl3pPr marL="914229" indent="0" algn="ctr">
              <a:buNone/>
              <a:defRPr sz="1800"/>
            </a:lvl3pPr>
            <a:lvl4pPr marL="1371343" indent="0" algn="ctr">
              <a:buNone/>
              <a:defRPr sz="1600"/>
            </a:lvl4pPr>
            <a:lvl5pPr marL="1828457" indent="0" algn="ctr">
              <a:buNone/>
              <a:defRPr sz="1600"/>
            </a:lvl5pPr>
            <a:lvl6pPr marL="2285571" indent="0" algn="ctr">
              <a:buNone/>
              <a:defRPr sz="1600"/>
            </a:lvl6pPr>
            <a:lvl7pPr marL="2742686" indent="0" algn="ctr">
              <a:buNone/>
              <a:defRPr sz="1600"/>
            </a:lvl7pPr>
            <a:lvl8pPr marL="3199800" indent="0" algn="ctr">
              <a:buNone/>
              <a:defRPr sz="1600"/>
            </a:lvl8pPr>
            <a:lvl9pPr marL="3656914"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69E5C44-879C-7EB6-28BA-C47E21A9B5F9}"/>
              </a:ext>
            </a:extLst>
          </p:cNvPr>
          <p:cNvSpPr>
            <a:spLocks noGrp="1"/>
          </p:cNvSpPr>
          <p:nvPr>
            <p:ph type="dt" sz="half" idx="10"/>
          </p:nvPr>
        </p:nvSpPr>
        <p:spPr/>
        <p:txBody>
          <a:bodyPr/>
          <a:lstStyle/>
          <a:p>
            <a:fld id="{DBC32AA6-0895-414B-B462-08D30670E10D}" type="datetimeFigureOut">
              <a:rPr lang="en-US" smtClean="0"/>
              <a:t>3/24/2025</a:t>
            </a:fld>
            <a:endParaRPr lang="en-US"/>
          </a:p>
        </p:txBody>
      </p:sp>
      <p:sp>
        <p:nvSpPr>
          <p:cNvPr id="5" name="Footer Placeholder 4">
            <a:extLst>
              <a:ext uri="{FF2B5EF4-FFF2-40B4-BE49-F238E27FC236}">
                <a16:creationId xmlns:a16="http://schemas.microsoft.com/office/drawing/2014/main" id="{F8761073-616D-EA5B-7F7E-2B18D5F86FF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7C2E0B7-1E1E-9B5D-9123-07CD18681B80}"/>
              </a:ext>
            </a:extLst>
          </p:cNvPr>
          <p:cNvSpPr>
            <a:spLocks noGrp="1"/>
          </p:cNvSpPr>
          <p:nvPr>
            <p:ph type="sldNum" sz="quarter" idx="12"/>
          </p:nvPr>
        </p:nvSpPr>
        <p:spPr/>
        <p:txBody>
          <a:bodyPr/>
          <a:lstStyle/>
          <a:p>
            <a:fld id="{F9B62E93-F610-E741-81D1-EB74B803E79D}" type="slidenum">
              <a:rPr lang="en-US" smtClean="0"/>
              <a:t>‹#›</a:t>
            </a:fld>
            <a:endParaRPr lang="en-US"/>
          </a:p>
        </p:txBody>
      </p:sp>
    </p:spTree>
    <p:extLst>
      <p:ext uri="{BB962C8B-B14F-4D97-AF65-F5344CB8AC3E}">
        <p14:creationId xmlns:p14="http://schemas.microsoft.com/office/powerpoint/2010/main" val="151163043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63" y="288036"/>
            <a:ext cx="2474590" cy="762794"/>
          </a:xfrm>
        </p:spPr>
        <p:txBody>
          <a:bodyPr/>
          <a:lstStyle>
            <a:lvl1pPr>
              <a:lnSpc>
                <a:spcPct val="110000"/>
              </a:lnSpc>
              <a:defRPr sz="140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87963" y="1520825"/>
            <a:ext cx="2477765" cy="4576763"/>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descr="Place imagery here">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3047603" y="0"/>
            <a:ext cx="9144397" cy="6858000"/>
          </a:xfrm>
          <a:solidFill>
            <a:srgbClr val="E0E0E0"/>
          </a:solidFill>
        </p:spPr>
        <p:txBody>
          <a:bodyPr anchor="ctr"/>
          <a:lstStyle>
            <a:lvl1pPr algn="ctr">
              <a:defRPr>
                <a:solidFill>
                  <a:schemeClr val="accent5"/>
                </a:solidFill>
              </a:defRPr>
            </a:lvl1pPr>
          </a:lstStyle>
          <a:p>
            <a:r>
              <a:rPr lang="en-US"/>
              <a:t>Place imagery here</a:t>
            </a:r>
          </a:p>
        </p:txBody>
      </p:sp>
      <p:sp>
        <p:nvSpPr>
          <p:cNvPr id="5" name="Footer Placeholder 3">
            <a:extLst>
              <a:ext uri="{FF2B5EF4-FFF2-40B4-BE49-F238E27FC236}">
                <a16:creationId xmlns:a16="http://schemas.microsoft.com/office/drawing/2014/main" id="{7B09C899-A6D4-3826-EAB8-A75F78607CE3}"/>
              </a:ext>
            </a:extLst>
          </p:cNvPr>
          <p:cNvSpPr>
            <a:spLocks noGrp="1"/>
          </p:cNvSpPr>
          <p:nvPr>
            <p:ph type="ftr" sz="quarter" idx="18"/>
          </p:nvPr>
        </p:nvSpPr>
        <p:spPr>
          <a:xfrm>
            <a:off x="287963" y="6408000"/>
            <a:ext cx="2477765" cy="190500"/>
          </a:xfrm>
        </p:spPr>
        <p:txBody>
          <a:bodyPr/>
          <a:lstStyle/>
          <a:p>
            <a:endParaRPr lang="en-US"/>
          </a:p>
        </p:txBody>
      </p:sp>
      <p:sp>
        <p:nvSpPr>
          <p:cNvPr id="7" name="Slide Number">
            <a:extLst>
              <a:ext uri="{FF2B5EF4-FFF2-40B4-BE49-F238E27FC236}">
                <a16:creationId xmlns:a16="http://schemas.microsoft.com/office/drawing/2014/main" id="{BEB46264-65A0-272C-CC19-DCA9B586608B}"/>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012551858"/>
      </p:ext>
    </p:extLst>
  </p:cSld>
  <p:clrMapOvr>
    <a:masterClrMapping/>
  </p:clrMapOvr>
  <p:transition spd="med"/>
</p:sldLayout>
</file>

<file path=ppt/slideLayouts/slideLayout560.xml><?xml version="1.0" encoding="utf-8"?>
<p:sldLayout xmlns:a="http://schemas.openxmlformats.org/drawingml/2006/main" xmlns:r="http://schemas.openxmlformats.org/officeDocument/2006/relationships" xmlns:p="http://schemas.openxmlformats.org/presentationml/2006/main" userDrawn="1">
  <p:cSld name="1_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8" name="Text Placeholder"/>
          <p:cNvSpPr>
            <a:spLocks noGrp="1"/>
          </p:cNvSpPr>
          <p:nvPr>
            <p:ph type="body" sz="quarter" idx="13"/>
          </p:nvPr>
        </p:nvSpPr>
        <p:spPr>
          <a:xfrm>
            <a:off x="292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1"/>
          <p:cNvSpPr>
            <a:spLocks noGrp="1"/>
          </p:cNvSpPr>
          <p:nvPr>
            <p:ph sz="quarter" idx="17"/>
          </p:nvPr>
        </p:nvSpPr>
        <p:spPr>
          <a:xfrm>
            <a:off x="6096000" y="0"/>
            <a:ext cx="3048000" cy="3429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0" name="Content Placeholder 2"/>
          <p:cNvSpPr>
            <a:spLocks noGrp="1"/>
          </p:cNvSpPr>
          <p:nvPr>
            <p:ph sz="quarter" idx="18"/>
          </p:nvPr>
        </p:nvSpPr>
        <p:spPr>
          <a:xfrm>
            <a:off x="9144000" y="0"/>
            <a:ext cx="3048000" cy="3429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2" name="Content Placeholder 3"/>
          <p:cNvSpPr>
            <a:spLocks noGrp="1"/>
          </p:cNvSpPr>
          <p:nvPr>
            <p:ph sz="quarter" idx="19"/>
          </p:nvPr>
        </p:nvSpPr>
        <p:spPr>
          <a:xfrm>
            <a:off x="6096001" y="3426886"/>
            <a:ext cx="3047995" cy="3431116"/>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6096000" y="313268"/>
            <a:ext cx="0" cy="5681134"/>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9139245" y="313270"/>
            <a:ext cx="0" cy="282254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6389818" y="3426884"/>
            <a:ext cx="54864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 name="Straight Connector 4">
            <a:extLst>
              <a:ext uri="{FF2B5EF4-FFF2-40B4-BE49-F238E27FC236}">
                <a16:creationId xmlns:a16="http://schemas.microsoft.com/office/drawing/2014/main" id="{A69C09FD-DC20-EDEF-2C18-09AEDB31B5BF}"/>
              </a:ext>
            </a:extLst>
          </p:cNvPr>
          <p:cNvCxnSpPr>
            <a:cxnSpLocks/>
          </p:cNvCxnSpPr>
          <p:nvPr userDrawn="1"/>
        </p:nvCxnSpPr>
        <p:spPr bwMode="auto">
          <a:xfrm flipV="1">
            <a:off x="9146806" y="3578257"/>
            <a:ext cx="0" cy="2822546"/>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Content Placeholder 3">
            <a:extLst>
              <a:ext uri="{FF2B5EF4-FFF2-40B4-BE49-F238E27FC236}">
                <a16:creationId xmlns:a16="http://schemas.microsoft.com/office/drawing/2014/main" id="{56760348-1734-EC6C-1331-6B3BC6995286}"/>
              </a:ext>
            </a:extLst>
          </p:cNvPr>
          <p:cNvSpPr>
            <a:spLocks noGrp="1"/>
          </p:cNvSpPr>
          <p:nvPr>
            <p:ph sz="quarter" idx="20"/>
          </p:nvPr>
        </p:nvSpPr>
        <p:spPr>
          <a:xfrm>
            <a:off x="9144005" y="3451586"/>
            <a:ext cx="3047995" cy="3431116"/>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Tree>
    <p:extLst>
      <p:ext uri="{BB962C8B-B14F-4D97-AF65-F5344CB8AC3E}">
        <p14:creationId xmlns:p14="http://schemas.microsoft.com/office/powerpoint/2010/main" val="3471465979"/>
      </p:ext>
    </p:extLst>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userDrawn="1">
  <p:cSld name="1_title, blank V2">
    <p:spTree>
      <p:nvGrpSpPr>
        <p:cNvPr id="1" name=""/>
        <p:cNvGrpSpPr/>
        <p:nvPr/>
      </p:nvGrpSpPr>
      <p:grpSpPr>
        <a:xfrm>
          <a:off x="0" y="0"/>
          <a:ext cx="0" cy="0"/>
          <a:chOff x="0" y="0"/>
          <a:chExt cx="0" cy="0"/>
        </a:xfrm>
      </p:grpSpPr>
      <p:sp>
        <p:nvSpPr>
          <p:cNvPr id="2" name="Title"/>
          <p:cNvSpPr>
            <a:spLocks noGrp="1"/>
          </p:cNvSpPr>
          <p:nvPr>
            <p:ph type="title"/>
          </p:nvPr>
        </p:nvSpPr>
        <p:spPr>
          <a:xfrm>
            <a:off x="280416" y="268226"/>
            <a:ext cx="11606695" cy="406267"/>
          </a:xfrm>
        </p:spPr>
        <p:txBody>
          <a:bodyPr wrap="square">
            <a:spAutoFit/>
          </a:bodyPr>
          <a:lstStyle>
            <a:lvl1pPr>
              <a:defRPr sz="2933">
                <a:solidFill>
                  <a:schemeClr val="tx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Brand and Content Strategy| 2023 | © IBM Corporation | IBM Confidential</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
        <p:nvSpPr>
          <p:cNvPr id="9" name="Text Placeholder 8">
            <a:extLst>
              <a:ext uri="{FF2B5EF4-FFF2-40B4-BE49-F238E27FC236}">
                <a16:creationId xmlns:a16="http://schemas.microsoft.com/office/drawing/2014/main" id="{61B47503-E772-405C-CDC7-C833D2AC9337}"/>
              </a:ext>
            </a:extLst>
          </p:cNvPr>
          <p:cNvSpPr>
            <a:spLocks noGrp="1"/>
          </p:cNvSpPr>
          <p:nvPr>
            <p:ph type="body" sz="quarter" idx="12"/>
          </p:nvPr>
        </p:nvSpPr>
        <p:spPr>
          <a:xfrm>
            <a:off x="279309" y="1060454"/>
            <a:ext cx="11607800" cy="467783"/>
          </a:xfrm>
        </p:spPr>
        <p:txBody>
          <a:bodyPr lIns="91440" tIns="91440" rIns="91440" bIns="91440"/>
          <a:lstStyle>
            <a:lvl1pPr>
              <a:defRPr sz="1600"/>
            </a:lvl1pPr>
            <a:lvl2pPr>
              <a:defRPr sz="1600"/>
            </a:lvl2pPr>
            <a:lvl3pPr>
              <a:defRPr sz="1600"/>
            </a:lvl3pPr>
            <a:lvl4pPr>
              <a:defRPr sz="1600"/>
            </a:lvl4pPr>
            <a:lvl5pPr>
              <a:defRPr sz="1600"/>
            </a:lvl5pPr>
          </a:lstStyle>
          <a:p>
            <a:pPr lvl="0"/>
            <a:r>
              <a:rPr lang="en-US"/>
              <a:t>Click to edit Master text styles</a:t>
            </a:r>
          </a:p>
        </p:txBody>
      </p:sp>
    </p:spTree>
    <p:extLst>
      <p:ext uri="{BB962C8B-B14F-4D97-AF65-F5344CB8AC3E}">
        <p14:creationId xmlns:p14="http://schemas.microsoft.com/office/powerpoint/2010/main" val="3872493459"/>
      </p:ext>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userDrawn="1">
  <p:cSld name="1_Boxes, 4 stacked,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763525"/>
            <a:ext cx="5521400" cy="1138428"/>
          </a:xfrm>
        </p:spPr>
        <p:txBody>
          <a:bodyPr rIns="457200"/>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192601"/>
            <a:ext cx="2477765" cy="224028"/>
          </a:xfrm>
          <a:prstGeom prst="rect">
            <a:avLst/>
          </a:prstGeom>
        </p:spPr>
        <p:txBody>
          <a:bodyPr/>
          <a:lstStyle>
            <a:lvl1pPr>
              <a:lnSpc>
                <a:spcPct val="100000"/>
              </a:lnSpc>
              <a:defRPr sz="1400" b="0" i="0">
                <a:solidFill>
                  <a:schemeClr val="tx2"/>
                </a:solidFill>
                <a:latin typeface="IBM Plex Sans Light" panose="020B0403050203000203" pitchFamily="34" charset="0"/>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11769265" y="6469420"/>
            <a:ext cx="135436"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6363186" y="288038"/>
            <a:ext cx="2481639" cy="2572543"/>
          </a:xfrm>
          <a:prstGeom prst="rect">
            <a:avLst/>
          </a:prstGeom>
        </p:spPr>
        <p:txBody>
          <a:bodyPr/>
          <a:lstStyle>
            <a:lvl1pPr defTabSz="580535">
              <a:lnSpc>
                <a:spcPct val="100000"/>
              </a:lnSpc>
              <a:spcBef>
                <a:spcPts val="0"/>
              </a:spcBef>
              <a:defRPr sz="1800" b="0" i="0">
                <a:solidFill>
                  <a:schemeClr val="tx1"/>
                </a:solidFill>
                <a:latin typeface="IBM Plex Sans Light" panose="020B0403050203000203" pitchFamily="34" charset="0"/>
              </a:defRPr>
            </a:lvl1pPr>
            <a:lvl2pPr defTabSz="580535">
              <a:lnSpc>
                <a:spcPct val="100000"/>
              </a:lnSpc>
              <a:spcBef>
                <a:spcPts val="0"/>
              </a:spcBef>
              <a:defRPr sz="1800" b="0" i="0">
                <a:solidFill>
                  <a:schemeClr val="tx1"/>
                </a:solidFill>
                <a:latin typeface="IBM Plex Sans Light" panose="020B0403050203000203" pitchFamily="34" charset="0"/>
              </a:defRPr>
            </a:lvl2pPr>
            <a:lvl3pPr defTabSz="580535">
              <a:lnSpc>
                <a:spcPct val="100000"/>
              </a:lnSpc>
              <a:spcBef>
                <a:spcPts val="0"/>
              </a:spcBef>
              <a:defRPr sz="1800" b="0" i="0">
                <a:solidFill>
                  <a:schemeClr val="tx1"/>
                </a:solidFill>
                <a:latin typeface="IBM Plex Sans Light" panose="020B0403050203000203" pitchFamily="34" charset="0"/>
              </a:defRPr>
            </a:lvl3pPr>
            <a:lvl4pPr defTabSz="580535">
              <a:lnSpc>
                <a:spcPct val="100000"/>
              </a:lnSpc>
              <a:spcBef>
                <a:spcPts val="0"/>
              </a:spcBef>
              <a:defRPr sz="1800" b="0" i="0">
                <a:solidFill>
                  <a:schemeClr val="tx1"/>
                </a:solidFill>
                <a:latin typeface="IBM Plex Sans Light" panose="020B0403050203000203" pitchFamily="34" charset="0"/>
              </a:defRPr>
            </a:lvl4pPr>
            <a:lvl5pPr defTabSz="580535">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9398651" y="288038"/>
            <a:ext cx="2481639" cy="2572543"/>
          </a:xfrm>
          <a:prstGeom prst="rect">
            <a:avLst/>
          </a:prstGeom>
        </p:spPr>
        <p:txBody>
          <a:bodyPr/>
          <a:lstStyle>
            <a:lvl1pPr defTabSz="580535">
              <a:lnSpc>
                <a:spcPct val="100000"/>
              </a:lnSpc>
              <a:spcBef>
                <a:spcPts val="0"/>
              </a:spcBef>
              <a:defRPr sz="1800" b="0" i="0">
                <a:solidFill>
                  <a:schemeClr val="tx1"/>
                </a:solidFill>
                <a:latin typeface="IBM Plex Sans Light" panose="020B0403050203000203" pitchFamily="34" charset="0"/>
              </a:defRPr>
            </a:lvl1pPr>
            <a:lvl2pPr defTabSz="580535">
              <a:lnSpc>
                <a:spcPct val="100000"/>
              </a:lnSpc>
              <a:spcBef>
                <a:spcPts val="0"/>
              </a:spcBef>
              <a:defRPr sz="1800" b="0" i="0">
                <a:solidFill>
                  <a:schemeClr val="tx1"/>
                </a:solidFill>
                <a:latin typeface="IBM Plex Sans Light" panose="020B0403050203000203" pitchFamily="34" charset="0"/>
              </a:defRPr>
            </a:lvl2pPr>
            <a:lvl3pPr defTabSz="580535">
              <a:lnSpc>
                <a:spcPct val="100000"/>
              </a:lnSpc>
              <a:spcBef>
                <a:spcPts val="0"/>
              </a:spcBef>
              <a:defRPr sz="1800" b="0" i="0">
                <a:solidFill>
                  <a:schemeClr val="tx1"/>
                </a:solidFill>
                <a:latin typeface="IBM Plex Sans Light" panose="020B0403050203000203" pitchFamily="34" charset="0"/>
              </a:defRPr>
            </a:lvl3pPr>
            <a:lvl4pPr defTabSz="580535">
              <a:lnSpc>
                <a:spcPct val="100000"/>
              </a:lnSpc>
              <a:spcBef>
                <a:spcPts val="0"/>
              </a:spcBef>
              <a:defRPr sz="1800" b="0" i="0">
                <a:solidFill>
                  <a:schemeClr val="tx1"/>
                </a:solidFill>
                <a:latin typeface="IBM Plex Sans Light" panose="020B0403050203000203" pitchFamily="34" charset="0"/>
              </a:defRPr>
            </a:lvl4pPr>
            <a:lvl5pPr defTabSz="580535">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6363186" y="3333750"/>
            <a:ext cx="2481639" cy="2476500"/>
          </a:xfrm>
          <a:prstGeom prst="rect">
            <a:avLst/>
          </a:prstGeom>
        </p:spPr>
        <p:txBody>
          <a:bodyPr/>
          <a:lstStyle>
            <a:lvl1pPr defTabSz="580535">
              <a:lnSpc>
                <a:spcPct val="100000"/>
              </a:lnSpc>
              <a:spcBef>
                <a:spcPts val="0"/>
              </a:spcBef>
              <a:defRPr sz="1800" b="0" i="0">
                <a:solidFill>
                  <a:schemeClr val="tx1"/>
                </a:solidFill>
                <a:latin typeface="IBM Plex Sans Light" panose="020B0403050203000203" pitchFamily="34" charset="0"/>
              </a:defRPr>
            </a:lvl1pPr>
            <a:lvl2pPr defTabSz="580535">
              <a:lnSpc>
                <a:spcPct val="100000"/>
              </a:lnSpc>
              <a:spcBef>
                <a:spcPts val="0"/>
              </a:spcBef>
              <a:defRPr sz="1800" b="0" i="0">
                <a:solidFill>
                  <a:schemeClr val="tx1"/>
                </a:solidFill>
                <a:latin typeface="IBM Plex Sans Light" panose="020B0403050203000203" pitchFamily="34" charset="0"/>
              </a:defRPr>
            </a:lvl2pPr>
            <a:lvl3pPr defTabSz="580535">
              <a:lnSpc>
                <a:spcPct val="100000"/>
              </a:lnSpc>
              <a:spcBef>
                <a:spcPts val="0"/>
              </a:spcBef>
              <a:defRPr sz="1800" b="0" i="0">
                <a:solidFill>
                  <a:schemeClr val="tx1"/>
                </a:solidFill>
                <a:latin typeface="IBM Plex Sans Light" panose="020B0403050203000203" pitchFamily="34" charset="0"/>
              </a:defRPr>
            </a:lvl3pPr>
            <a:lvl4pPr defTabSz="580535">
              <a:lnSpc>
                <a:spcPct val="100000"/>
              </a:lnSpc>
              <a:spcBef>
                <a:spcPts val="0"/>
              </a:spcBef>
              <a:defRPr sz="1800" b="0" i="0">
                <a:solidFill>
                  <a:schemeClr val="tx1"/>
                </a:solidFill>
                <a:latin typeface="IBM Plex Sans Light" panose="020B0403050203000203" pitchFamily="34" charset="0"/>
              </a:defRPr>
            </a:lvl4pPr>
            <a:lvl5pPr defTabSz="580535">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9398651" y="3333750"/>
            <a:ext cx="2481639" cy="2476500"/>
          </a:xfrm>
          <a:prstGeom prst="rect">
            <a:avLst/>
          </a:prstGeom>
        </p:spPr>
        <p:txBody>
          <a:bodyPr/>
          <a:lstStyle>
            <a:lvl1pPr defTabSz="580535">
              <a:lnSpc>
                <a:spcPct val="100000"/>
              </a:lnSpc>
              <a:spcBef>
                <a:spcPts val="0"/>
              </a:spcBef>
              <a:defRPr sz="1800" b="0" i="0">
                <a:solidFill>
                  <a:schemeClr val="tx1"/>
                </a:solidFill>
                <a:latin typeface="IBM Plex Sans Light" panose="020B0403050203000203" pitchFamily="34" charset="0"/>
              </a:defRPr>
            </a:lvl1pPr>
            <a:lvl2pPr defTabSz="580535">
              <a:lnSpc>
                <a:spcPct val="100000"/>
              </a:lnSpc>
              <a:spcBef>
                <a:spcPts val="0"/>
              </a:spcBef>
              <a:defRPr sz="1800" b="0" i="0">
                <a:solidFill>
                  <a:schemeClr val="tx1"/>
                </a:solidFill>
                <a:latin typeface="IBM Plex Sans Light" panose="020B0403050203000203" pitchFamily="34" charset="0"/>
              </a:defRPr>
            </a:lvl2pPr>
            <a:lvl3pPr defTabSz="580535">
              <a:lnSpc>
                <a:spcPct val="100000"/>
              </a:lnSpc>
              <a:spcBef>
                <a:spcPts val="0"/>
              </a:spcBef>
              <a:defRPr sz="1800" b="0" i="0">
                <a:solidFill>
                  <a:schemeClr val="tx1"/>
                </a:solidFill>
                <a:latin typeface="IBM Plex Sans Light" panose="020B0403050203000203" pitchFamily="34" charset="0"/>
              </a:defRPr>
            </a:lvl3pPr>
            <a:lvl4pPr defTabSz="580535">
              <a:lnSpc>
                <a:spcPct val="100000"/>
              </a:lnSpc>
              <a:spcBef>
                <a:spcPts val="0"/>
              </a:spcBef>
              <a:defRPr sz="1800" b="0" i="0">
                <a:solidFill>
                  <a:schemeClr val="tx1"/>
                </a:solidFill>
                <a:latin typeface="IBM Plex Sans Light" panose="020B0403050203000203" pitchFamily="34" charset="0"/>
              </a:defRPr>
            </a:lvl4pPr>
            <a:lvl5pPr defTabSz="580535">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945905157"/>
      </p:ext>
    </p:extLst>
  </p:cSld>
  <p:clrMapOvr>
    <a:masterClrMapping/>
  </p:clrMapOvr>
  <p:transition spd="med"/>
</p:sldLayout>
</file>

<file path=ppt/slideLayouts/slideLayout563.xml><?xml version="1.0" encoding="utf-8"?>
<p:sldLayout xmlns:a="http://schemas.openxmlformats.org/drawingml/2006/main" xmlns:r="http://schemas.openxmlformats.org/officeDocument/2006/relationships" xmlns:p="http://schemas.openxmlformats.org/presentationml/2006/main" userDrawn="1">
  <p:cSld name="1_Text, 4 columns, dividers, head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600"/>
            <a:ext cx="2474591" cy="762795"/>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7"/>
            <a:ext cx="2477765" cy="762794"/>
          </a:xfrm>
          <a:prstGeom prst="rect">
            <a:avLst/>
          </a:prstGeom>
        </p:spPr>
        <p:txBody>
          <a:bodyPr/>
          <a:lstStyle>
            <a:lvl1pPr>
              <a:lnSpc>
                <a:spcPct val="100000"/>
              </a:lnSpc>
              <a:spcBef>
                <a:spcPts val="0"/>
              </a:spcBef>
              <a:defRPr sz="2200" b="0" i="0">
                <a:solidFill>
                  <a:schemeClr val="tx1"/>
                </a:solidFill>
                <a:latin typeface="IBM Plex Sans Light" panose="020B0403050203000203" pitchFamily="34" charset="0"/>
              </a:defRPr>
            </a:lvl1pPr>
            <a:lvl2pPr marL="127992" indent="-127992">
              <a:lnSpc>
                <a:spcPct val="100000"/>
              </a:lnSpc>
              <a:spcBef>
                <a:spcPts val="0"/>
              </a:spcBef>
              <a:defRPr sz="2200" b="0" i="0">
                <a:solidFill>
                  <a:schemeClr val="tx1"/>
                </a:solidFill>
                <a:latin typeface="IBM Plex Sans Light" panose="020B0403050203000203" pitchFamily="34" charset="0"/>
              </a:defRPr>
            </a:lvl2pPr>
            <a:lvl3pPr marL="255984" indent="-127992">
              <a:lnSpc>
                <a:spcPct val="100000"/>
              </a:lnSpc>
              <a:spcBef>
                <a:spcPts val="0"/>
              </a:spcBef>
              <a:defRPr sz="2200" b="0" i="0">
                <a:solidFill>
                  <a:schemeClr val="tx1"/>
                </a:solidFill>
                <a:latin typeface="IBM Plex Sans Light" panose="020B0403050203000203" pitchFamily="34" charset="0"/>
              </a:defRPr>
            </a:lvl3pPr>
            <a:lvl4pPr marL="383976" indent="-127992">
              <a:lnSpc>
                <a:spcPct val="100000"/>
              </a:lnSpc>
              <a:spcBef>
                <a:spcPts val="0"/>
              </a:spcBef>
              <a:defRPr sz="2200" b="0" i="0">
                <a:solidFill>
                  <a:schemeClr val="tx1"/>
                </a:solidFill>
                <a:latin typeface="IBM Plex Sans Light" panose="020B0403050203000203" pitchFamily="34" charset="0"/>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7"/>
            <a:ext cx="2476178" cy="762794"/>
          </a:xfrm>
          <a:prstGeom prst="rect">
            <a:avLst/>
          </a:prstGeom>
        </p:spPr>
        <p:txBody>
          <a:bodyPr/>
          <a:lstStyle>
            <a:lvl1pPr>
              <a:lnSpc>
                <a:spcPct val="100000"/>
              </a:lnSpc>
              <a:spcBef>
                <a:spcPts val="0"/>
              </a:spcBef>
              <a:defRPr sz="2200" b="0" i="0">
                <a:solidFill>
                  <a:schemeClr val="tx1"/>
                </a:solidFill>
                <a:latin typeface="IBM Plex Sans Light" panose="020B0403050203000203" pitchFamily="34" charset="0"/>
              </a:defRPr>
            </a:lvl1pPr>
            <a:lvl2pPr marL="127992" indent="-127992">
              <a:lnSpc>
                <a:spcPct val="100000"/>
              </a:lnSpc>
              <a:spcBef>
                <a:spcPts val="0"/>
              </a:spcBef>
              <a:defRPr sz="2200" b="0" i="0">
                <a:solidFill>
                  <a:schemeClr val="tx1"/>
                </a:solidFill>
                <a:latin typeface="IBM Plex Sans Light" panose="020B0403050203000203" pitchFamily="34" charset="0"/>
              </a:defRPr>
            </a:lvl2pPr>
            <a:lvl3pPr marL="255984" indent="-127992">
              <a:lnSpc>
                <a:spcPct val="100000"/>
              </a:lnSpc>
              <a:spcBef>
                <a:spcPts val="0"/>
              </a:spcBef>
              <a:defRPr sz="2200" b="0" i="0">
                <a:solidFill>
                  <a:schemeClr val="tx1"/>
                </a:solidFill>
                <a:latin typeface="IBM Plex Sans Light" panose="020B0403050203000203" pitchFamily="34" charset="0"/>
              </a:defRPr>
            </a:lvl3pPr>
            <a:lvl4pPr marL="383976" indent="-127992">
              <a:lnSpc>
                <a:spcPct val="100000"/>
              </a:lnSpc>
              <a:spcBef>
                <a:spcPts val="0"/>
              </a:spcBef>
              <a:defRPr sz="2200" b="0" i="0">
                <a:solidFill>
                  <a:schemeClr val="tx1"/>
                </a:solidFill>
                <a:latin typeface="IBM Plex Sans Light" panose="020B0403050203000203" pitchFamily="34" charset="0"/>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3" y="288037"/>
            <a:ext cx="2479352" cy="762794"/>
          </a:xfrm>
          <a:prstGeom prst="rect">
            <a:avLst/>
          </a:prstGeom>
        </p:spPr>
        <p:txBody>
          <a:bodyPr/>
          <a:lstStyle>
            <a:lvl1pPr>
              <a:lnSpc>
                <a:spcPct val="100000"/>
              </a:lnSpc>
              <a:spcBef>
                <a:spcPts val="0"/>
              </a:spcBef>
              <a:defRPr sz="2200" b="0" i="0">
                <a:solidFill>
                  <a:schemeClr val="tx1"/>
                </a:solidFill>
                <a:latin typeface="IBM Plex Sans Light" panose="020B0403050203000203" pitchFamily="34" charset="0"/>
              </a:defRPr>
            </a:lvl1pPr>
            <a:lvl2pPr marL="127992" indent="-127992">
              <a:lnSpc>
                <a:spcPct val="100000"/>
              </a:lnSpc>
              <a:spcBef>
                <a:spcPts val="0"/>
              </a:spcBef>
              <a:defRPr sz="2200" b="0" i="0">
                <a:solidFill>
                  <a:schemeClr val="tx1"/>
                </a:solidFill>
                <a:latin typeface="IBM Plex Sans Light" panose="020B0403050203000203" pitchFamily="34" charset="0"/>
              </a:defRPr>
            </a:lvl2pPr>
            <a:lvl3pPr marL="255984" indent="-127992">
              <a:lnSpc>
                <a:spcPct val="100000"/>
              </a:lnSpc>
              <a:spcBef>
                <a:spcPts val="0"/>
              </a:spcBef>
              <a:defRPr sz="2200" b="0" i="0">
                <a:solidFill>
                  <a:schemeClr val="tx1"/>
                </a:solidFill>
                <a:latin typeface="IBM Plex Sans Light" panose="020B0403050203000203" pitchFamily="34" charset="0"/>
              </a:defRPr>
            </a:lvl3pPr>
            <a:lvl4pPr marL="383976" indent="-127992">
              <a:lnSpc>
                <a:spcPct val="100000"/>
              </a:lnSpc>
              <a:spcBef>
                <a:spcPts val="0"/>
              </a:spcBef>
              <a:defRPr sz="2200" b="0" i="0">
                <a:solidFill>
                  <a:schemeClr val="tx1"/>
                </a:solidFill>
                <a:latin typeface="IBM Plex Sans Light" panose="020B0403050203000203" pitchFamily="34" charset="0"/>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3047603" y="284958"/>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6093683" y="283465"/>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9142810" y="284958"/>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11769265" y="6469420"/>
            <a:ext cx="135436"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84126" y="6402118"/>
            <a:ext cx="2477765" cy="190500"/>
          </a:xfrm>
        </p:spPr>
        <p:txBody>
          <a:bodyPr/>
          <a:lstStyle>
            <a:lvl1pPr>
              <a:defRPr b="0" i="0">
                <a:latin typeface="IBM Plex Sans Light" panose="020B0403050203000203" pitchFamily="34" charset="0"/>
              </a:defRPr>
            </a:lvl1pPr>
          </a:lstStyle>
          <a:p>
            <a:endParaRPr lang="en-US"/>
          </a:p>
        </p:txBody>
      </p:sp>
      <p:sp>
        <p:nvSpPr>
          <p:cNvPr id="16" name="Text Placeholder 6">
            <a:extLst>
              <a:ext uri="{FF2B5EF4-FFF2-40B4-BE49-F238E27FC236}">
                <a16:creationId xmlns:a16="http://schemas.microsoft.com/office/drawing/2014/main" id="{F4F49B39-EB32-770F-5644-D3D938710775}"/>
              </a:ext>
            </a:extLst>
          </p:cNvPr>
          <p:cNvSpPr>
            <a:spLocks noGrp="1"/>
          </p:cNvSpPr>
          <p:nvPr>
            <p:ph type="body" sz="quarter" idx="10"/>
          </p:nvPr>
        </p:nvSpPr>
        <p:spPr>
          <a:xfrm>
            <a:off x="3333316" y="1714500"/>
            <a:ext cx="2481639" cy="4286251"/>
          </a:xfrm>
          <a:prstGeom prst="rect">
            <a:avLst/>
          </a:prstGeom>
        </p:spPr>
        <p:txBody>
          <a:bodyPr/>
          <a:lstStyle>
            <a:lvl1pPr defTabSz="580535">
              <a:lnSpc>
                <a:spcPct val="100000"/>
              </a:lnSpc>
              <a:spcBef>
                <a:spcPts val="0"/>
              </a:spcBef>
              <a:defRPr sz="1800" b="0" i="0">
                <a:solidFill>
                  <a:schemeClr val="tx1"/>
                </a:solidFill>
                <a:latin typeface="IBM Plex Sans Light" panose="020B0403050203000203" pitchFamily="34" charset="0"/>
              </a:defRPr>
            </a:lvl1pPr>
            <a:lvl2pPr defTabSz="580535">
              <a:lnSpc>
                <a:spcPct val="100000"/>
              </a:lnSpc>
              <a:spcBef>
                <a:spcPts val="0"/>
              </a:spcBef>
              <a:defRPr sz="1800" b="0" i="0">
                <a:solidFill>
                  <a:schemeClr val="tx1"/>
                </a:solidFill>
                <a:latin typeface="IBM Plex Sans Light" panose="020B0403050203000203" pitchFamily="34" charset="0"/>
              </a:defRPr>
            </a:lvl2pPr>
            <a:lvl3pPr defTabSz="580535">
              <a:lnSpc>
                <a:spcPct val="100000"/>
              </a:lnSpc>
              <a:spcBef>
                <a:spcPts val="0"/>
              </a:spcBef>
              <a:defRPr sz="1800" b="0" i="0">
                <a:solidFill>
                  <a:schemeClr val="tx1"/>
                </a:solidFill>
                <a:latin typeface="IBM Plex Sans Light" panose="020B0403050203000203" pitchFamily="34" charset="0"/>
              </a:defRPr>
            </a:lvl3pPr>
            <a:lvl4pPr defTabSz="580535">
              <a:lnSpc>
                <a:spcPct val="100000"/>
              </a:lnSpc>
              <a:spcBef>
                <a:spcPts val="0"/>
              </a:spcBef>
              <a:defRPr sz="1800" b="0" i="0">
                <a:solidFill>
                  <a:schemeClr val="tx1"/>
                </a:solidFill>
                <a:latin typeface="IBM Plex Sans Light" panose="020B0403050203000203" pitchFamily="34" charset="0"/>
              </a:defRPr>
            </a:lvl4pPr>
            <a:lvl5pPr defTabSz="580535">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6">
            <a:extLst>
              <a:ext uri="{FF2B5EF4-FFF2-40B4-BE49-F238E27FC236}">
                <a16:creationId xmlns:a16="http://schemas.microsoft.com/office/drawing/2014/main" id="{5D25B5E4-5513-DB6F-04BF-4A2A85E85763}"/>
              </a:ext>
            </a:extLst>
          </p:cNvPr>
          <p:cNvSpPr>
            <a:spLocks noGrp="1"/>
          </p:cNvSpPr>
          <p:nvPr>
            <p:ph type="body" sz="quarter" idx="20"/>
          </p:nvPr>
        </p:nvSpPr>
        <p:spPr>
          <a:xfrm>
            <a:off x="6368782" y="1714500"/>
            <a:ext cx="2481639" cy="4286251"/>
          </a:xfrm>
          <a:prstGeom prst="rect">
            <a:avLst/>
          </a:prstGeom>
        </p:spPr>
        <p:txBody>
          <a:bodyPr/>
          <a:lstStyle>
            <a:lvl1pPr defTabSz="580535">
              <a:lnSpc>
                <a:spcPct val="100000"/>
              </a:lnSpc>
              <a:spcBef>
                <a:spcPts val="0"/>
              </a:spcBef>
              <a:defRPr sz="1800" b="0" i="0">
                <a:solidFill>
                  <a:schemeClr val="tx1"/>
                </a:solidFill>
                <a:latin typeface="IBM Plex Sans Light" panose="020B0403050203000203" pitchFamily="34" charset="0"/>
              </a:defRPr>
            </a:lvl1pPr>
            <a:lvl2pPr defTabSz="580535">
              <a:lnSpc>
                <a:spcPct val="100000"/>
              </a:lnSpc>
              <a:spcBef>
                <a:spcPts val="0"/>
              </a:spcBef>
              <a:defRPr sz="1800" b="0" i="0">
                <a:solidFill>
                  <a:schemeClr val="tx1"/>
                </a:solidFill>
                <a:latin typeface="IBM Plex Sans Light" panose="020B0403050203000203" pitchFamily="34" charset="0"/>
              </a:defRPr>
            </a:lvl2pPr>
            <a:lvl3pPr defTabSz="580535">
              <a:lnSpc>
                <a:spcPct val="100000"/>
              </a:lnSpc>
              <a:spcBef>
                <a:spcPts val="0"/>
              </a:spcBef>
              <a:defRPr sz="1800" b="0" i="0">
                <a:solidFill>
                  <a:schemeClr val="tx1"/>
                </a:solidFill>
                <a:latin typeface="IBM Plex Sans Light" panose="020B0403050203000203" pitchFamily="34" charset="0"/>
              </a:defRPr>
            </a:lvl3pPr>
            <a:lvl4pPr defTabSz="580535">
              <a:lnSpc>
                <a:spcPct val="100000"/>
              </a:lnSpc>
              <a:spcBef>
                <a:spcPts val="0"/>
              </a:spcBef>
              <a:defRPr sz="1800" b="0" i="0">
                <a:solidFill>
                  <a:schemeClr val="tx1"/>
                </a:solidFill>
                <a:latin typeface="IBM Plex Sans Light" panose="020B0403050203000203" pitchFamily="34" charset="0"/>
              </a:defRPr>
            </a:lvl4pPr>
            <a:lvl5pPr defTabSz="580535">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6">
            <a:extLst>
              <a:ext uri="{FF2B5EF4-FFF2-40B4-BE49-F238E27FC236}">
                <a16:creationId xmlns:a16="http://schemas.microsoft.com/office/drawing/2014/main" id="{EC86775E-92B8-3897-2210-2993F34BA628}"/>
              </a:ext>
            </a:extLst>
          </p:cNvPr>
          <p:cNvSpPr>
            <a:spLocks noGrp="1"/>
          </p:cNvSpPr>
          <p:nvPr>
            <p:ph type="body" sz="quarter" idx="21"/>
          </p:nvPr>
        </p:nvSpPr>
        <p:spPr>
          <a:xfrm>
            <a:off x="9428523" y="1714500"/>
            <a:ext cx="2481639" cy="4286251"/>
          </a:xfrm>
          <a:prstGeom prst="rect">
            <a:avLst/>
          </a:prstGeom>
        </p:spPr>
        <p:txBody>
          <a:bodyPr/>
          <a:lstStyle>
            <a:lvl1pPr defTabSz="580535">
              <a:lnSpc>
                <a:spcPct val="100000"/>
              </a:lnSpc>
              <a:spcBef>
                <a:spcPts val="0"/>
              </a:spcBef>
              <a:defRPr sz="1800" b="0" i="0">
                <a:solidFill>
                  <a:schemeClr val="tx1"/>
                </a:solidFill>
                <a:latin typeface="IBM Plex Sans Light" panose="020B0403050203000203" pitchFamily="34" charset="0"/>
              </a:defRPr>
            </a:lvl1pPr>
            <a:lvl2pPr defTabSz="580535">
              <a:lnSpc>
                <a:spcPct val="100000"/>
              </a:lnSpc>
              <a:spcBef>
                <a:spcPts val="0"/>
              </a:spcBef>
              <a:defRPr sz="1800" b="0" i="0">
                <a:solidFill>
                  <a:schemeClr val="tx1"/>
                </a:solidFill>
                <a:latin typeface="IBM Plex Sans Light" panose="020B0403050203000203" pitchFamily="34" charset="0"/>
              </a:defRPr>
            </a:lvl2pPr>
            <a:lvl3pPr defTabSz="580535">
              <a:lnSpc>
                <a:spcPct val="100000"/>
              </a:lnSpc>
              <a:spcBef>
                <a:spcPts val="0"/>
              </a:spcBef>
              <a:defRPr sz="1800" b="0" i="0">
                <a:solidFill>
                  <a:schemeClr val="tx1"/>
                </a:solidFill>
                <a:latin typeface="IBM Plex Sans Light" panose="020B0403050203000203" pitchFamily="34" charset="0"/>
              </a:defRPr>
            </a:lvl3pPr>
            <a:lvl4pPr defTabSz="580535">
              <a:lnSpc>
                <a:spcPct val="100000"/>
              </a:lnSpc>
              <a:spcBef>
                <a:spcPts val="0"/>
              </a:spcBef>
              <a:defRPr sz="1800" b="0" i="0">
                <a:solidFill>
                  <a:schemeClr val="tx1"/>
                </a:solidFill>
                <a:latin typeface="IBM Plex Sans Light" panose="020B0403050203000203" pitchFamily="34" charset="0"/>
              </a:defRPr>
            </a:lvl4pPr>
            <a:lvl5pPr defTabSz="580535">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599545996"/>
      </p:ext>
    </p:extLst>
  </p:cSld>
  <p:clrMapOvr>
    <a:masterClrMapping/>
  </p:clrMapOvr>
  <p:transition spd="med"/>
</p:sldLayout>
</file>

<file path=ppt/slideLayouts/slideLayout564.xml><?xml version="1.0" encoding="utf-8"?>
<p:sldLayout xmlns:a="http://schemas.openxmlformats.org/drawingml/2006/main" xmlns:r="http://schemas.openxmlformats.org/officeDocument/2006/relationships" xmlns:p="http://schemas.openxmlformats.org/presentationml/2006/main" userDrawn="1">
  <p:cSld name="2_Video or imagery, half,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192600"/>
            <a:ext cx="2474591" cy="762795"/>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endParaRPr lang="en-US"/>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6380919" y="284958"/>
            <a:ext cx="5523781" cy="6287294"/>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275970" y="1714500"/>
            <a:ext cx="2485921" cy="4286251"/>
          </a:xfrm>
          <a:prstGeom prst="rect">
            <a:avLst/>
          </a:prstGeom>
        </p:spPr>
        <p:txBody>
          <a:bodyPr/>
          <a:lstStyle>
            <a:lvl1pPr defTabSz="580535">
              <a:lnSpc>
                <a:spcPct val="100000"/>
              </a:lnSpc>
              <a:spcBef>
                <a:spcPts val="0"/>
              </a:spcBef>
              <a:defRPr sz="1800" b="0" i="0">
                <a:solidFill>
                  <a:schemeClr val="tx1"/>
                </a:solidFill>
                <a:latin typeface="IBM Plex Sans Light" panose="020B0403050203000203" pitchFamily="34" charset="0"/>
              </a:defRPr>
            </a:lvl1pPr>
            <a:lvl2pPr marL="163769" indent="-163769" defTabSz="580535">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8" indent="-163769" defTabSz="580535">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7" indent="-163769" defTabSz="580535">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35">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3334110" y="1714500"/>
            <a:ext cx="2485921" cy="4286251"/>
          </a:xfrm>
          <a:prstGeom prst="rect">
            <a:avLst/>
          </a:prstGeom>
        </p:spPr>
        <p:txBody>
          <a:bodyPr/>
          <a:lstStyle>
            <a:lvl1pPr defTabSz="580535">
              <a:lnSpc>
                <a:spcPct val="100000"/>
              </a:lnSpc>
              <a:spcBef>
                <a:spcPts val="0"/>
              </a:spcBef>
              <a:defRPr sz="1800" b="0" i="0">
                <a:solidFill>
                  <a:schemeClr val="tx1"/>
                </a:solidFill>
                <a:latin typeface="IBM Plex Sans Light" panose="020B0403050203000203" pitchFamily="34" charset="0"/>
              </a:defRPr>
            </a:lvl1pPr>
            <a:lvl2pPr marL="163769" indent="-163769" defTabSz="580535">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38" indent="-163769" defTabSz="580535">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07" indent="-163769" defTabSz="580535">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35">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671661577"/>
      </p:ext>
    </p:extLst>
  </p:cSld>
  <p:clrMapOvr>
    <a:masterClrMapping/>
  </p:clrMapOvr>
  <p:transition spd="med"/>
</p:sldLayout>
</file>

<file path=ppt/slideLayouts/slideLayout565.xml><?xml version="1.0" encoding="utf-8"?>
<p:sldLayout xmlns:a="http://schemas.openxmlformats.org/drawingml/2006/main" xmlns:r="http://schemas.openxmlformats.org/officeDocument/2006/relationships" xmlns:p="http://schemas.openxmlformats.org/presentationml/2006/main" userDrawn="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12192000" cy="6864096"/>
          </a:xfrm>
        </p:spPr>
        <p:txBody>
          <a:bodyPr lIns="91440" tIns="91440" rIns="91440" bIns="91440"/>
          <a:lstStyle>
            <a:lvl1pPr>
              <a:defRPr>
                <a:solidFill>
                  <a:schemeClr val="tx1"/>
                </a:solidFill>
              </a:defRPr>
            </a:lvl1pPr>
          </a:lstStyle>
          <a:p>
            <a:r>
              <a:rPr lang="en-US"/>
              <a:t>Click icon to add picture</a:t>
            </a:r>
          </a:p>
        </p:txBody>
      </p:sp>
      <p:sp>
        <p:nvSpPr>
          <p:cNvPr id="6" name="Text Placeholder"/>
          <p:cNvSpPr>
            <a:spLocks noGrp="1"/>
          </p:cNvSpPr>
          <p:nvPr>
            <p:ph type="body" sz="quarter" idx="12"/>
          </p:nvPr>
        </p:nvSpPr>
        <p:spPr>
          <a:xfrm>
            <a:off x="-2" y="3429000"/>
            <a:ext cx="3048004" cy="342900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1333">
                <a:solidFill>
                  <a:schemeClr val="tx1"/>
                </a:solidFill>
              </a:defRPr>
            </a:lvl2pPr>
            <a:lvl3pPr>
              <a:buClr>
                <a:srgbClr val="001141"/>
              </a:buClr>
              <a:defRPr sz="1333">
                <a:solidFill>
                  <a:schemeClr val="tx1"/>
                </a:solidFill>
              </a:defRPr>
            </a:lvl3pPr>
            <a:lvl4pPr>
              <a:buClr>
                <a:srgbClr val="001141"/>
              </a:buClr>
              <a:defRPr sz="1333">
                <a:solidFill>
                  <a:schemeClr val="tx1"/>
                </a:solidFill>
              </a:defRPr>
            </a:lvl4pPr>
            <a:lvl5pPr>
              <a:buClr>
                <a:srgbClr val="001141"/>
              </a:buClr>
              <a:defRPr sz="13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 © 2022 IBM</a:t>
            </a:r>
          </a:p>
          <a:p>
            <a:r>
              <a:rPr lang="en-US"/>
              <a:t>
</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806389095"/>
      </p:ext>
    </p:extLst>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showMasterSp="0" type="tx">
  <p:cSld name="4_Text, 4 columns ">
    <p:spTree>
      <p:nvGrpSpPr>
        <p:cNvPr id="1" name=""/>
        <p:cNvGrpSpPr/>
        <p:nvPr/>
      </p:nvGrpSpPr>
      <p:grpSpPr>
        <a:xfrm>
          <a:off x="0" y="0"/>
          <a:ext cx="0" cy="0"/>
          <a:chOff x="0" y="0"/>
          <a:chExt cx="0" cy="0"/>
        </a:xfrm>
      </p:grpSpPr>
      <p:sp>
        <p:nvSpPr>
          <p:cNvPr id="185" name="幻灯片编号"/>
          <p:cNvSpPr txBox="1">
            <a:spLocks noGrp="1"/>
          </p:cNvSpPr>
          <p:nvPr>
            <p:ph type="sldNum" sz="quarter" idx="2"/>
          </p:nvPr>
        </p:nvSpPr>
        <p:spPr>
          <a:xfrm>
            <a:off x="11769461" y="6475902"/>
            <a:ext cx="136791" cy="123111"/>
          </a:xfrm>
          <a:prstGeom prst="rect">
            <a:avLst/>
          </a:prstGeom>
        </p:spPr>
        <p:txBody>
          <a:bodyPr/>
          <a:lstStyle/>
          <a:p>
            <a:fld id="{86CB4B4D-7CA3-9044-876B-883B54F8677D}" type="slidenum">
              <a:rPr/>
              <a:t>‹#›</a:t>
            </a:fld>
            <a:endParaRPr/>
          </a:p>
        </p:txBody>
      </p:sp>
      <p:sp>
        <p:nvSpPr>
          <p:cNvPr id="186" name="Text Placeholder 3"/>
          <p:cNvSpPr>
            <a:spLocks noGrp="1"/>
          </p:cNvSpPr>
          <p:nvPr>
            <p:ph type="body" sz="quarter" idx="21"/>
          </p:nvPr>
        </p:nvSpPr>
        <p:spPr>
          <a:xfrm>
            <a:off x="3333753" y="1714500"/>
            <a:ext cx="2475707" cy="4286251"/>
          </a:xfrm>
          <a:prstGeom prst="rect">
            <a:avLst/>
          </a:prstGeom>
        </p:spPr>
        <p:txBody>
          <a:bodyPr/>
          <a:lstStyle/>
          <a:p>
            <a:pPr>
              <a:defRPr sz="2000">
                <a:latin typeface="+mj-lt"/>
                <a:ea typeface="+mj-ea"/>
                <a:cs typeface="+mj-cs"/>
                <a:sym typeface="IBM Plex Sans"/>
              </a:defRPr>
            </a:pPr>
            <a:r>
              <a:t>Lorem ipsum dolor sit amet, consectetur adipiscing elit. Sed at sem erat. Vivamus a pulvinar sapien. Orci varius natoque penatibus et magnis dis parturient montes, nascetur ridiculus mus. Quisque bibendum ornare urna sed elementum. Praesent sit amet lorem laoreet, efficitur nunc vel, tempus odio. Fusce aliquam tellus quis tortor sagittis luctus. Aliquam ac risus scelerisque, aliquam orci quis, iaculis urna. Proin dapibus porta mollis.</a:t>
            </a:r>
          </a:p>
          <a:p>
            <a:pPr>
              <a:defRPr sz="2000">
                <a:latin typeface="+mj-lt"/>
                <a:ea typeface="+mj-ea"/>
                <a:cs typeface="+mj-cs"/>
                <a:sym typeface="IBM Plex Sans"/>
              </a:defRPr>
            </a:pPr>
            <a:endParaRPr/>
          </a:p>
          <a:p>
            <a:pPr>
              <a:defRPr sz="2000">
                <a:latin typeface="+mj-lt"/>
                <a:ea typeface="+mj-ea"/>
                <a:cs typeface="+mj-cs"/>
                <a:sym typeface="IBM Plex Sans"/>
              </a:defRPr>
            </a:pPr>
            <a:r>
              <a:t>Efficitur scelerisque velit. Vestibulum viverra, ante ac placerat pulvinar, erat risus pellentesque urna, ac posuere nibh nulla eu mi. Fusce scelerisque ultrices eros quis dignissim. Pellentesque mollis nibh at nibh imperdiet, sed ullamcorper velit posuere. Integer et velit blandit.</a:t>
            </a:r>
          </a:p>
        </p:txBody>
      </p:sp>
      <p:sp>
        <p:nvSpPr>
          <p:cNvPr id="187" name="Text Placeholder 4"/>
          <p:cNvSpPr>
            <a:spLocks noGrp="1"/>
          </p:cNvSpPr>
          <p:nvPr>
            <p:ph type="body" sz="quarter" idx="22"/>
          </p:nvPr>
        </p:nvSpPr>
        <p:spPr>
          <a:xfrm>
            <a:off x="6381752" y="1714500"/>
            <a:ext cx="2476500" cy="4286251"/>
          </a:xfrm>
          <a:prstGeom prst="rect">
            <a:avLst/>
          </a:prstGeom>
        </p:spPr>
        <p:txBody>
          <a:bodyPr/>
          <a:lstStyle/>
          <a:p>
            <a:pPr>
              <a:defRPr sz="2000">
                <a:latin typeface="+mj-lt"/>
                <a:ea typeface="+mj-ea"/>
                <a:cs typeface="+mj-cs"/>
                <a:sym typeface="IBM Plex Sans"/>
              </a:defRPr>
            </a:pPr>
            <a:r>
              <a:t>Lorem ipsum dolor sit amet, consectetur adipiscing elit. Sed at sem erat. Vivamus a pulvinar sapien. Orci varius natoque penatibus et magnis dis parturient montes, nascetur ridiculus mus. </a:t>
            </a:r>
            <a:br/>
            <a:endParaRPr/>
          </a:p>
          <a:p>
            <a:pPr>
              <a:defRPr sz="2000">
                <a:latin typeface="+mj-lt"/>
                <a:ea typeface="+mj-ea"/>
                <a:cs typeface="+mj-cs"/>
                <a:sym typeface="IBM Plex Sans"/>
              </a:defRPr>
            </a:pPr>
            <a:r>
              <a:t>Ornare urna sed elementum. Praesent sit amet lorem laoreet, efficitur nunc vel, tempus odio. Fusce aliquam tellus quis tortor sagittis luctus. Aliquam ac risus scelerisque, aliquam orci quis, iaculis urna. Proin dapibus porta mollis.</a:t>
            </a:r>
          </a:p>
          <a:p>
            <a:pPr>
              <a:defRPr sz="2000">
                <a:latin typeface="+mj-lt"/>
                <a:ea typeface="+mj-ea"/>
                <a:cs typeface="+mj-cs"/>
                <a:sym typeface="IBM Plex Sans"/>
              </a:defRPr>
            </a:pPr>
            <a:endParaRPr/>
          </a:p>
          <a:p>
            <a:pPr>
              <a:defRPr sz="2000">
                <a:latin typeface="+mj-lt"/>
                <a:ea typeface="+mj-ea"/>
                <a:cs typeface="+mj-cs"/>
                <a:sym typeface="IBM Plex Sans"/>
              </a:defRPr>
            </a:pPr>
            <a:r>
              <a:t>Nulla eu mattis elit, efficitur scelerisque velit. Vestibulum viverra, ante ac placerat pulvinar, erat risus pellentesque urna, ac posuere nibh nulla eu mi. Fusce scelerisque ultrices eros quis dignissim. Pellentesque mollis nibh at nibh imperdiet, sed ullamcorper.</a:t>
            </a:r>
          </a:p>
        </p:txBody>
      </p:sp>
      <p:sp>
        <p:nvSpPr>
          <p:cNvPr id="188" name="Text Placeholder 5"/>
          <p:cNvSpPr>
            <a:spLocks noGrp="1"/>
          </p:cNvSpPr>
          <p:nvPr>
            <p:ph type="body" sz="quarter" idx="23"/>
          </p:nvPr>
        </p:nvSpPr>
        <p:spPr>
          <a:xfrm>
            <a:off x="9429753" y="1714500"/>
            <a:ext cx="2479675" cy="4286251"/>
          </a:xfrm>
          <a:prstGeom prst="rect">
            <a:avLst/>
          </a:prstGeom>
        </p:spPr>
        <p:txBody>
          <a:bodyPr/>
          <a:lstStyle/>
          <a:p>
            <a:pPr>
              <a:defRPr sz="2000">
                <a:latin typeface="+mj-lt"/>
                <a:ea typeface="+mj-ea"/>
                <a:cs typeface="+mj-cs"/>
                <a:sym typeface="IBM Plex Sans"/>
              </a:defRPr>
            </a:pPr>
            <a:r>
              <a:t>Lorem ipsum dolor sit amet, consectetur adipiscing elit. Sed at sem erat. Vivamus a pulvinar sapien. Orci varius natoque penatibus et magnis dis parturient montes, nascetur ridiculus mus. </a:t>
            </a:r>
          </a:p>
          <a:p>
            <a:pPr>
              <a:defRPr sz="2000">
                <a:latin typeface="+mj-lt"/>
                <a:ea typeface="+mj-ea"/>
                <a:cs typeface="+mj-cs"/>
                <a:sym typeface="IBM Plex Sans"/>
              </a:defRPr>
            </a:pPr>
            <a:endParaRPr/>
          </a:p>
          <a:p>
            <a:pPr>
              <a:defRPr sz="2000">
                <a:latin typeface="+mj-lt"/>
                <a:ea typeface="+mj-ea"/>
                <a:cs typeface="+mj-cs"/>
                <a:sym typeface="IBM Plex Sans"/>
              </a:defRPr>
            </a:pPr>
            <a:r>
              <a:t>Quisque bibendum ornare urna sed elementum. Praesent sit amet lorem laoreet, efficitur nunc vel, tempus odio. Fusce aliquam tellus quis tortor sagittis luctus. Aliquam ac risus scelerisque, aliquam orci quis, iaculis urna. Proin dapibus porta mollis.</a:t>
            </a:r>
          </a:p>
          <a:p>
            <a:pPr>
              <a:defRPr sz="2000">
                <a:latin typeface="+mj-lt"/>
                <a:ea typeface="+mj-ea"/>
                <a:cs typeface="+mj-cs"/>
                <a:sym typeface="IBM Plex Sans"/>
              </a:defRPr>
            </a:pPr>
            <a:endParaRPr/>
          </a:p>
          <a:p>
            <a:pPr>
              <a:defRPr sz="2000">
                <a:latin typeface="+mj-lt"/>
                <a:ea typeface="+mj-ea"/>
                <a:cs typeface="+mj-cs"/>
                <a:sym typeface="IBM Plex Sans"/>
              </a:defRPr>
            </a:pPr>
            <a:r>
              <a:t>Nulla eu mattis elit, efficitur scelerisque velit. Vestibulum viverra, ante ac placerat pulvinar, erat risus pellentesque urna, ac posuere nibh nulla eu mi. Fusce scelerisque ultrices eros quis dignissim.</a:t>
            </a:r>
          </a:p>
        </p:txBody>
      </p:sp>
      <p:sp>
        <p:nvSpPr>
          <p:cNvPr id="189" name="Title 1"/>
          <p:cNvSpPr txBox="1">
            <a:spLocks noGrp="1"/>
          </p:cNvSpPr>
          <p:nvPr>
            <p:ph type="body" sz="quarter" idx="24"/>
          </p:nvPr>
        </p:nvSpPr>
        <p:spPr>
          <a:xfrm>
            <a:off x="283469" y="284962"/>
            <a:ext cx="2474913" cy="762795"/>
          </a:xfrm>
          <a:prstGeom prst="rect">
            <a:avLst/>
          </a:prstGeom>
        </p:spPr>
        <p:txBody>
          <a:bodyPr/>
          <a:lstStyle>
            <a:lvl1pPr>
              <a:defRPr sz="1400"/>
            </a:lvl1pPr>
          </a:lstStyle>
          <a:p>
            <a:r>
              <a:t>28/36/44pt short headline, 3 lines maximum, sentence case</a:t>
            </a:r>
          </a:p>
        </p:txBody>
      </p:sp>
      <p:sp>
        <p:nvSpPr>
          <p:cNvPr id="190" name="Text Placeholder 2"/>
          <p:cNvSpPr txBox="1">
            <a:spLocks noGrp="1"/>
          </p:cNvSpPr>
          <p:nvPr>
            <p:ph type="body" sz="quarter" idx="25"/>
          </p:nvPr>
        </p:nvSpPr>
        <p:spPr>
          <a:xfrm>
            <a:off x="284168" y="1714500"/>
            <a:ext cx="2478087" cy="4286251"/>
          </a:xfrm>
          <a:prstGeom prst="rect">
            <a:avLst/>
          </a:prstGeom>
        </p:spPr>
        <p:txBody>
          <a:bodyPr/>
          <a:lstStyle/>
          <a:p>
            <a:pPr>
              <a:defRPr sz="2000">
                <a:latin typeface="+mj-lt"/>
                <a:ea typeface="+mj-ea"/>
                <a:cs typeface="+mj-cs"/>
                <a:sym typeface="IBM Plex Sans"/>
              </a:defRPr>
            </a:pPr>
            <a:r>
              <a:t>Lorem ipsum dolor sit amet, consectetur adipiscing elit. Sed at sem erat. Vivamus a pulvinar sapien. Orci varius natoque penatibus et magnis dis parturient montes, nascetur ridiculus mus. </a:t>
            </a:r>
          </a:p>
          <a:p>
            <a:pPr>
              <a:defRPr sz="2000">
                <a:latin typeface="+mj-lt"/>
                <a:ea typeface="+mj-ea"/>
                <a:cs typeface="+mj-cs"/>
                <a:sym typeface="IBM Plex Sans"/>
              </a:defRPr>
            </a:pPr>
            <a:endParaRPr/>
          </a:p>
          <a:p>
            <a:pPr>
              <a:defRPr sz="2000">
                <a:latin typeface="+mj-lt"/>
                <a:ea typeface="+mj-ea"/>
                <a:cs typeface="+mj-cs"/>
                <a:sym typeface="IBM Plex Sans"/>
              </a:defRPr>
            </a:pPr>
            <a:r>
              <a:t>Ornare urna sed elementum. Praesent sit amet lorem laoreet, efficitur nunc vel, tempus odio. Fusce aliquam tellus quis tortor sagittis luctus. Aliquam ac risus scelerisque, aliquam orci quis, iaculis urna. Proin dapibus porta mollis.</a:t>
            </a:r>
          </a:p>
          <a:p>
            <a:pPr>
              <a:defRPr sz="2000">
                <a:latin typeface="+mj-lt"/>
                <a:ea typeface="+mj-ea"/>
                <a:cs typeface="+mj-cs"/>
                <a:sym typeface="IBM Plex Sans"/>
              </a:defRPr>
            </a:pPr>
            <a:endParaRPr/>
          </a:p>
          <a:p>
            <a:pPr>
              <a:defRPr sz="2000">
                <a:latin typeface="+mj-lt"/>
                <a:ea typeface="+mj-ea"/>
                <a:cs typeface="+mj-cs"/>
                <a:sym typeface="IBM Plex Sans"/>
              </a:defRPr>
            </a:pPr>
            <a:r>
              <a:t>Nulla eu mattis elit, efficitur scelerisque velit. Vestibulum viverra, ante ac placerat pulvinar, erat risus pellentesque urna, ac posuere nibh nulla eu mi. Fusce scelerisque ultrices eros quis dignissim. Pellentesque mollis nibh at nibh imperdiet, sed ullamcorper.</a:t>
            </a:r>
          </a:p>
        </p:txBody>
      </p:sp>
      <p:sp>
        <p:nvSpPr>
          <p:cNvPr id="191" name="Footer Placeholder 4"/>
          <p:cNvSpPr txBox="1">
            <a:spLocks noGrp="1"/>
          </p:cNvSpPr>
          <p:nvPr>
            <p:ph type="body" sz="quarter" idx="26"/>
          </p:nvPr>
        </p:nvSpPr>
        <p:spPr>
          <a:xfrm>
            <a:off x="284166" y="6471080"/>
            <a:ext cx="4284663" cy="129876"/>
          </a:xfrm>
          <a:prstGeom prst="rect">
            <a:avLst/>
          </a:prstGeom>
        </p:spPr>
        <p:txBody>
          <a:bodyPr wrap="square" anchor="b">
            <a:spAutoFit/>
          </a:bodyPr>
          <a:lstStyle>
            <a:lvl1pPr defTabSz="913787">
              <a:lnSpc>
                <a:spcPct val="110000"/>
              </a:lnSpc>
              <a:defRPr sz="800">
                <a:latin typeface="+mj-lt"/>
                <a:ea typeface="+mj-ea"/>
                <a:cs typeface="+mj-cs"/>
                <a:sym typeface="IBM Plex Sans"/>
              </a:defRPr>
            </a:lvl1pPr>
          </a:lstStyle>
          <a:p>
            <a:r>
              <a:t>Footer text (optional)</a:t>
            </a:r>
          </a:p>
        </p:txBody>
      </p:sp>
    </p:spTree>
    <p:extLst>
      <p:ext uri="{BB962C8B-B14F-4D97-AF65-F5344CB8AC3E}">
        <p14:creationId xmlns:p14="http://schemas.microsoft.com/office/powerpoint/2010/main" val="648919647"/>
      </p:ext>
    </p:extLst>
  </p:cSld>
  <p:clrMapOvr>
    <a:masterClrMapping/>
  </p:clrMapOvr>
  <p:transition spd="med"/>
</p:sldLayout>
</file>

<file path=ppt/slideLayouts/slideLayout567.xml><?xml version="1.0" encoding="utf-8"?>
<p:sldLayout xmlns:a="http://schemas.openxmlformats.org/drawingml/2006/main" xmlns:r="http://schemas.openxmlformats.org/officeDocument/2006/relationships" xmlns:p="http://schemas.openxmlformats.org/presentationml/2006/main"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b="0" i="0">
                <a:solidFill>
                  <a:schemeClr val="accent2"/>
                </a:solidFill>
                <a:latin typeface="IBM Plex Sans Light" panose="020B0403050203000203" pitchFamily="34" charset="0"/>
              </a:defRPr>
            </a:lvl1pPr>
          </a:lstStyle>
          <a:p>
            <a:r>
              <a:rPr lang="en-US"/>
              <a:t>Click to edit Master title style</a:t>
            </a:r>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797" b="0" i="0">
                <a:solidFill>
                  <a:schemeClr val="accent2"/>
                </a:solidFill>
                <a:latin typeface="IBM Plex Sans Light" panose="020B0403050203000203" pitchFamily="34" charset="0"/>
              </a:defRPr>
            </a:lvl1pPr>
          </a:lstStyle>
          <a:p>
            <a:pPr lvl="0"/>
            <a:r>
              <a:rPr lang="en-US"/>
              <a:t>Click to edit Master text styles</a:t>
            </a:r>
          </a:p>
        </p:txBody>
      </p:sp>
      <p:sp>
        <p:nvSpPr>
          <p:cNvPr id="7" name="Picture Placeholder"/>
          <p:cNvSpPr>
            <a:spLocks noGrp="1"/>
          </p:cNvSpPr>
          <p:nvPr>
            <p:ph type="pic" sz="quarter" idx="13"/>
          </p:nvPr>
        </p:nvSpPr>
        <p:spPr>
          <a:xfrm>
            <a:off x="6096000" y="0"/>
            <a:ext cx="6096000" cy="6858000"/>
          </a:xfrm>
        </p:spPr>
        <p:txBody>
          <a:bodyPr lIns="91440" tIns="91440" rIns="91440" bIns="91440"/>
          <a:lstStyle>
            <a:lvl1pPr>
              <a:defRPr b="0" i="0" baseline="0">
                <a:solidFill>
                  <a:schemeClr val="tx1"/>
                </a:solidFill>
                <a:latin typeface="IBM Plex Sans Light" panose="020B0403050203000203" pitchFamily="34" charset="0"/>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pPr defTabSz="914473">
              <a:defRPr/>
            </a:pPr>
            <a:r>
              <a:rPr lang="en-US">
                <a:solidFill>
                  <a:srgbClr val="000000"/>
                </a:solidFill>
              </a:rPr>
              <a:t>IBM Confidential © 2022 IBM</a:t>
            </a:r>
          </a:p>
          <a:p>
            <a:pPr defTabSz="914473">
              <a:defRPr/>
            </a:pPr>
            <a:r>
              <a:rPr lang="en-US">
                <a:solidFill>
                  <a:srgbClr val="000000"/>
                </a:solidFill>
              </a:rPr>
              <a:t>
</a:t>
            </a:r>
          </a:p>
        </p:txBody>
      </p:sp>
      <p:sp>
        <p:nvSpPr>
          <p:cNvPr id="4" name="Slide Number Placeholder"/>
          <p:cNvSpPr>
            <a:spLocks noGrp="1"/>
          </p:cNvSpPr>
          <p:nvPr>
            <p:ph type="sldNum" sz="quarter" idx="11"/>
          </p:nvPr>
        </p:nvSpPr>
        <p:spPr/>
        <p:txBody>
          <a:bodyPr/>
          <a:lstStyle>
            <a:lvl1pPr>
              <a:defRPr>
                <a:solidFill>
                  <a:schemeClr val="tx1"/>
                </a:solidFill>
              </a:defRPr>
            </a:lvl1pPr>
          </a:lstStyle>
          <a:p>
            <a:pPr defTabSz="914473">
              <a:defRPr/>
            </a:pPr>
            <a:fld id="{59395FB3-9C97-154F-86B2-7E381B951268}" type="slidenum">
              <a:rPr lang="en-US" smtClean="0">
                <a:solidFill>
                  <a:srgbClr val="000000"/>
                </a:solidFill>
              </a:rPr>
              <a:pPr defTabSz="914473">
                <a:defRPr/>
              </a:pPr>
              <a:t>‹#›</a:t>
            </a:fld>
            <a:endParaRPr lang="en-US">
              <a:solidFill>
                <a:srgbClr val="000000"/>
              </a:solidFill>
            </a:endParaRPr>
          </a:p>
        </p:txBody>
      </p:sp>
    </p:spTree>
    <p:extLst>
      <p:ext uri="{BB962C8B-B14F-4D97-AF65-F5344CB8AC3E}">
        <p14:creationId xmlns:p14="http://schemas.microsoft.com/office/powerpoint/2010/main" val="162220233"/>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3_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4"/>
            <a:ext cx="12192000" cy="6000751"/>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8000" y="192026"/>
            <a:ext cx="5524575" cy="3144044"/>
          </a:xfrm>
        </p:spPr>
        <p:txBody>
          <a:bodyPr/>
          <a:lstStyle>
            <a:lvl1pPr>
              <a:lnSpc>
                <a:spcPct val="100000"/>
              </a:lnSpc>
              <a:defRPr sz="4298">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88000" y="6044188"/>
            <a:ext cx="2468623" cy="571500"/>
          </a:xfrm>
        </p:spPr>
        <p:txBody>
          <a:bodyPr anchor="b"/>
          <a:lstStyle>
            <a:lvl1pPr>
              <a:lnSpc>
                <a:spcPct val="110000"/>
              </a:lnSpc>
              <a:spcBef>
                <a:spcPts val="0"/>
              </a:spcBef>
              <a:defRPr sz="1400">
                <a:solidFill>
                  <a:schemeClr val="tx1"/>
                </a:solidFill>
              </a:defRPr>
            </a:lvl1pPr>
            <a:lvl2pPr marL="127969" indent="-127969">
              <a:lnSpc>
                <a:spcPct val="110000"/>
              </a:lnSpc>
              <a:spcBef>
                <a:spcPts val="0"/>
              </a:spcBef>
              <a:defRPr sz="1400">
                <a:solidFill>
                  <a:schemeClr val="tx1"/>
                </a:solidFill>
              </a:defRPr>
            </a:lvl2pPr>
            <a:lvl3pPr marL="255939" indent="-127969">
              <a:lnSpc>
                <a:spcPct val="110000"/>
              </a:lnSpc>
              <a:spcBef>
                <a:spcPts val="0"/>
              </a:spcBef>
              <a:defRPr sz="1400">
                <a:solidFill>
                  <a:schemeClr val="tx1"/>
                </a:solidFill>
              </a:defRPr>
            </a:lvl3pPr>
            <a:lvl4pPr marL="383909" indent="-12796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3335319" y="6042373"/>
            <a:ext cx="2468623" cy="571500"/>
          </a:xfrm>
        </p:spPr>
        <p:txBody>
          <a:bodyPr anchor="b"/>
          <a:lstStyle>
            <a:lvl1pPr>
              <a:lnSpc>
                <a:spcPct val="110000"/>
              </a:lnSpc>
              <a:spcBef>
                <a:spcPts val="0"/>
              </a:spcBef>
              <a:defRPr sz="1400">
                <a:solidFill>
                  <a:schemeClr val="tx1"/>
                </a:solidFill>
              </a:defRPr>
            </a:lvl1pPr>
            <a:lvl2pPr marL="127969" indent="-127969">
              <a:lnSpc>
                <a:spcPct val="110000"/>
              </a:lnSpc>
              <a:spcBef>
                <a:spcPts val="0"/>
              </a:spcBef>
              <a:defRPr sz="1400">
                <a:solidFill>
                  <a:schemeClr val="tx1"/>
                </a:solidFill>
              </a:defRPr>
            </a:lvl2pPr>
            <a:lvl3pPr marL="255939" indent="-127969">
              <a:lnSpc>
                <a:spcPct val="110000"/>
              </a:lnSpc>
              <a:spcBef>
                <a:spcPts val="0"/>
              </a:spcBef>
              <a:defRPr sz="1400">
                <a:solidFill>
                  <a:schemeClr val="tx1"/>
                </a:solidFill>
              </a:defRPr>
            </a:lvl3pPr>
            <a:lvl4pPr marL="383909" indent="-12796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11138529" y="6263483"/>
            <a:ext cx="819044" cy="304800"/>
          </a:xfrm>
          <a:prstGeom prst="rect">
            <a:avLst/>
          </a:prstGeom>
        </p:spPr>
      </p:pic>
    </p:spTree>
    <p:extLst>
      <p:ext uri="{BB962C8B-B14F-4D97-AF65-F5344CB8AC3E}">
        <p14:creationId xmlns:p14="http://schemas.microsoft.com/office/powerpoint/2010/main" val="3725103509"/>
      </p:ext>
    </p:extLst>
  </p:cSld>
  <p:clrMapOvr>
    <a:masterClrMapping/>
  </p:clrMapOvr>
  <p:transition spd="med"/>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3_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4"/>
            <a:ext cx="12192000" cy="6000751"/>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698" tIns="45698" rIns="45698" bIns="45698" numCol="1" rtlCol="0" anchor="t" anchorCtr="0" compatLnSpc="1">
            <a:prstTxWarp prst="textNoShape">
              <a:avLst/>
            </a:prstTxWarp>
          </a:bodyPr>
          <a:lstStyle/>
          <a:p>
            <a:pPr marL="0" marR="0" indent="0" algn="l" defTabSz="457034" rtl="0" eaLnBrk="1" fontAlgn="base" latinLnBrk="0" hangingPunct="1">
              <a:lnSpc>
                <a:spcPct val="100000"/>
              </a:lnSpc>
              <a:spcBef>
                <a:spcPct val="0"/>
              </a:spcBef>
              <a:spcAft>
                <a:spcPct val="0"/>
              </a:spcAft>
              <a:buClrTx/>
              <a:buSzTx/>
              <a:buFont typeface="IBM Plex Sans Light"/>
              <a:buNone/>
              <a:tabLst/>
            </a:pPr>
            <a:endParaRPr kumimoji="0" lang="en-US" sz="700" b="0" i="0" u="none" strike="noStrike" cap="none" normalizeH="0" baseline="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8000" y="192026"/>
            <a:ext cx="5524575" cy="2286795"/>
          </a:xfrm>
        </p:spPr>
        <p:txBody>
          <a:bodyPr/>
          <a:lstStyle>
            <a:lvl1pPr>
              <a:lnSpc>
                <a:spcPct val="100000"/>
              </a:lnSpc>
              <a:defRPr sz="4298">
                <a:solidFill>
                  <a:schemeClr val="tx2"/>
                </a:solidFill>
              </a:defRPr>
            </a:lvl1pPr>
          </a:lstStyle>
          <a:p>
            <a:r>
              <a:rPr lang="en-US"/>
              <a:t>Click to edit Master title style</a:t>
            </a:r>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288000" y="6044188"/>
            <a:ext cx="2468623" cy="571500"/>
          </a:xfrm>
        </p:spPr>
        <p:txBody>
          <a:bodyPr anchor="b"/>
          <a:lstStyle>
            <a:lvl1pPr>
              <a:lnSpc>
                <a:spcPct val="110000"/>
              </a:lnSpc>
              <a:spcBef>
                <a:spcPts val="0"/>
              </a:spcBef>
              <a:defRPr sz="1400">
                <a:solidFill>
                  <a:schemeClr val="tx1"/>
                </a:solidFill>
              </a:defRPr>
            </a:lvl1pPr>
            <a:lvl2pPr marL="127969" indent="-127969">
              <a:lnSpc>
                <a:spcPct val="110000"/>
              </a:lnSpc>
              <a:spcBef>
                <a:spcPts val="0"/>
              </a:spcBef>
              <a:defRPr sz="1400">
                <a:solidFill>
                  <a:schemeClr val="tx1"/>
                </a:solidFill>
              </a:defRPr>
            </a:lvl2pPr>
            <a:lvl3pPr marL="255939" indent="-127969">
              <a:lnSpc>
                <a:spcPct val="110000"/>
              </a:lnSpc>
              <a:spcBef>
                <a:spcPts val="0"/>
              </a:spcBef>
              <a:defRPr sz="1400">
                <a:solidFill>
                  <a:schemeClr val="tx1"/>
                </a:solidFill>
              </a:defRPr>
            </a:lvl3pPr>
            <a:lvl4pPr marL="383909" indent="-12796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3335319" y="6042373"/>
            <a:ext cx="2468623" cy="571500"/>
          </a:xfrm>
        </p:spPr>
        <p:txBody>
          <a:bodyPr anchor="b"/>
          <a:lstStyle>
            <a:lvl1pPr>
              <a:lnSpc>
                <a:spcPct val="110000"/>
              </a:lnSpc>
              <a:spcBef>
                <a:spcPts val="0"/>
              </a:spcBef>
              <a:defRPr sz="1400">
                <a:solidFill>
                  <a:schemeClr val="tx1"/>
                </a:solidFill>
              </a:defRPr>
            </a:lvl1pPr>
            <a:lvl2pPr marL="127969" indent="-127969">
              <a:lnSpc>
                <a:spcPct val="110000"/>
              </a:lnSpc>
              <a:spcBef>
                <a:spcPts val="0"/>
              </a:spcBef>
              <a:defRPr sz="1400">
                <a:solidFill>
                  <a:schemeClr val="tx1"/>
                </a:solidFill>
              </a:defRPr>
            </a:lvl2pPr>
            <a:lvl3pPr marL="255939" indent="-127969">
              <a:lnSpc>
                <a:spcPct val="110000"/>
              </a:lnSpc>
              <a:spcBef>
                <a:spcPts val="0"/>
              </a:spcBef>
              <a:defRPr sz="1400">
                <a:solidFill>
                  <a:schemeClr val="tx1"/>
                </a:solidFill>
              </a:defRPr>
            </a:lvl3pPr>
            <a:lvl4pPr marL="383909" indent="-12796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11138529" y="6263483"/>
            <a:ext cx="819044" cy="304800"/>
          </a:xfrm>
          <a:prstGeom prst="rect">
            <a:avLst/>
          </a:prstGeom>
        </p:spPr>
      </p:pic>
    </p:spTree>
    <p:extLst>
      <p:ext uri="{BB962C8B-B14F-4D97-AF65-F5344CB8AC3E}">
        <p14:creationId xmlns:p14="http://schemas.microsoft.com/office/powerpoint/2010/main" val="1480019414"/>
      </p:ext>
    </p:extLst>
  </p:cSld>
  <p:clrMapOvr>
    <a:masterClrMapping/>
  </p:clrMapOvr>
  <p:transition spd="med"/>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63" y="288036"/>
            <a:ext cx="2474590" cy="762794"/>
          </a:xfrm>
        </p:spPr>
        <p:txBody>
          <a:bodyPr/>
          <a:lstStyle>
            <a:lvl1pPr>
              <a:lnSpc>
                <a:spcPct val="110000"/>
              </a:lnSpc>
              <a:defRPr sz="140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63" y="1520825"/>
            <a:ext cx="2477765" cy="4576763"/>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Picture Placeholder 6" descr="Place imagery here">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3333316" y="285750"/>
            <a:ext cx="8567416" cy="6289675"/>
          </a:xfrm>
          <a:solidFill>
            <a:srgbClr val="E0E0E0"/>
          </a:solidFill>
        </p:spPr>
        <p:txBody>
          <a:bodyPr anchor="ctr"/>
          <a:lstStyle>
            <a:lvl1pPr algn="ctr">
              <a:defRPr>
                <a:solidFill>
                  <a:schemeClr val="accent5"/>
                </a:solidFill>
              </a:defRPr>
            </a:lvl1pPr>
          </a:lstStyle>
          <a:p>
            <a:r>
              <a:rPr lang="en-US"/>
              <a:t>Place imagery here</a:t>
            </a:r>
          </a:p>
        </p:txBody>
      </p:sp>
      <p:sp>
        <p:nvSpPr>
          <p:cNvPr id="3" name="Footer Placeholder 3">
            <a:extLst>
              <a:ext uri="{FF2B5EF4-FFF2-40B4-BE49-F238E27FC236}">
                <a16:creationId xmlns:a16="http://schemas.microsoft.com/office/drawing/2014/main" id="{547D5110-D587-CC11-18F6-FEB7AA2D7851}"/>
              </a:ext>
            </a:extLst>
          </p:cNvPr>
          <p:cNvSpPr>
            <a:spLocks noGrp="1"/>
          </p:cNvSpPr>
          <p:nvPr>
            <p:ph type="ftr" sz="quarter" idx="18"/>
          </p:nvPr>
        </p:nvSpPr>
        <p:spPr>
          <a:xfrm>
            <a:off x="287963" y="6408000"/>
            <a:ext cx="2477765" cy="190500"/>
          </a:xfrm>
        </p:spPr>
        <p:txBody>
          <a:bodyPr/>
          <a:lstStyle/>
          <a:p>
            <a:endParaRPr lang="en-US"/>
          </a:p>
        </p:txBody>
      </p:sp>
    </p:spTree>
    <p:extLst>
      <p:ext uri="{BB962C8B-B14F-4D97-AF65-F5344CB8AC3E}">
        <p14:creationId xmlns:p14="http://schemas.microsoft.com/office/powerpoint/2010/main" val="3747317457"/>
      </p:ext>
    </p:extLst>
  </p:cSld>
  <p:clrMapOvr>
    <a:masterClrMapping/>
  </p:clrMapOvr>
  <p:transition spd="med"/>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3_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8000" y="192026"/>
            <a:ext cx="2477765" cy="2286795"/>
          </a:xfrm>
        </p:spPr>
        <p:txBody>
          <a:bodyPr/>
          <a:lstStyle>
            <a:lvl1pPr>
              <a:lnSpc>
                <a:spcPct val="100000"/>
              </a:lnSpc>
              <a:defRPr sz="3198">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6380918" y="284958"/>
            <a:ext cx="2476179" cy="5715795"/>
          </a:xfrm>
        </p:spPr>
        <p:txBody>
          <a:bodyPr/>
          <a:lstStyle>
            <a:lvl1pPr defTabSz="580434">
              <a:spcBef>
                <a:spcPts val="0"/>
              </a:spcBef>
              <a:defRPr>
                <a:solidFill>
                  <a:schemeClr val="tx1"/>
                </a:solidFill>
              </a:defRPr>
            </a:lvl1pPr>
            <a:lvl2pPr defTabSz="580434">
              <a:spcBef>
                <a:spcPts val="0"/>
              </a:spcBef>
              <a:defRPr>
                <a:solidFill>
                  <a:schemeClr val="tx1"/>
                </a:solidFill>
              </a:defRPr>
            </a:lvl2pPr>
            <a:lvl3pPr defTabSz="580434">
              <a:spcBef>
                <a:spcPts val="0"/>
              </a:spcBef>
              <a:defRPr>
                <a:solidFill>
                  <a:schemeClr val="tx1"/>
                </a:solidFill>
              </a:defRPr>
            </a:lvl3pPr>
            <a:lvl4pPr defTabSz="580434">
              <a:spcBef>
                <a:spcPts val="0"/>
              </a:spcBef>
              <a:defRPr>
                <a:solidFill>
                  <a:schemeClr val="tx1"/>
                </a:solidFill>
              </a:defRPr>
            </a:lvl4pPr>
            <a:lvl5pPr defTabSz="580434">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9430111" y="284958"/>
            <a:ext cx="2474591" cy="5715795"/>
          </a:xfrm>
        </p:spPr>
        <p:txBody>
          <a:bodyPr/>
          <a:lstStyle>
            <a:lvl1pPr defTabSz="580434">
              <a:spcBef>
                <a:spcPts val="0"/>
              </a:spcBef>
              <a:defRPr>
                <a:solidFill>
                  <a:schemeClr val="tx1"/>
                </a:solidFill>
              </a:defRPr>
            </a:lvl1pPr>
            <a:lvl2pPr defTabSz="580434">
              <a:spcBef>
                <a:spcPts val="0"/>
              </a:spcBef>
              <a:defRPr>
                <a:solidFill>
                  <a:schemeClr val="tx1"/>
                </a:solidFill>
              </a:defRPr>
            </a:lvl2pPr>
            <a:lvl3pPr defTabSz="580434">
              <a:spcBef>
                <a:spcPts val="0"/>
              </a:spcBef>
              <a:defRPr>
                <a:solidFill>
                  <a:schemeClr val="tx1"/>
                </a:solidFill>
              </a:defRPr>
            </a:lvl3pPr>
            <a:lvl4pPr defTabSz="580434">
              <a:spcBef>
                <a:spcPts val="0"/>
              </a:spcBef>
              <a:defRPr>
                <a:solidFill>
                  <a:schemeClr val="tx1"/>
                </a:solidFill>
              </a:defRPr>
            </a:lvl4pPr>
            <a:lvl5pPr defTabSz="580434">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11767913" y="6469424"/>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84127" y="6402121"/>
            <a:ext cx="2477765" cy="190500"/>
          </a:xfrm>
        </p:spPr>
        <p:txBody>
          <a:bodyPr/>
          <a:lstStyle/>
          <a:p>
            <a:endParaRPr lang="en-US"/>
          </a:p>
        </p:txBody>
      </p:sp>
    </p:spTree>
    <p:extLst>
      <p:ext uri="{BB962C8B-B14F-4D97-AF65-F5344CB8AC3E}">
        <p14:creationId xmlns:p14="http://schemas.microsoft.com/office/powerpoint/2010/main" val="3489195669"/>
      </p:ext>
    </p:extLst>
  </p:cSld>
  <p:clrMapOvr>
    <a:masterClrMapping/>
  </p:clrMapOvr>
  <p:transition spd="med"/>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3_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8002" y="192024"/>
            <a:ext cx="4953942" cy="1429544"/>
          </a:xfrm>
        </p:spPr>
        <p:txBody>
          <a:bodyPr/>
          <a:lstStyle>
            <a:lvl1pPr>
              <a:lnSpc>
                <a:spcPct val="100000"/>
              </a:lnSpc>
              <a:defRPr sz="3198">
                <a:solidFill>
                  <a:schemeClr val="tx2"/>
                </a:solidFill>
              </a:defRPr>
            </a:lvl1pPr>
          </a:lstStyle>
          <a:p>
            <a:r>
              <a:rPr lang="en-US"/>
              <a:t>Click to edit Master title style</a:t>
            </a:r>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6382796" y="224032"/>
            <a:ext cx="5520317" cy="4287044"/>
          </a:xfrm>
        </p:spPr>
        <p:txBody>
          <a:bodyPr/>
          <a:lstStyle>
            <a:lvl1pPr>
              <a:lnSpc>
                <a:spcPct val="100000"/>
              </a:lnSpc>
              <a:spcBef>
                <a:spcPts val="0"/>
              </a:spcBef>
              <a:defRPr sz="3198">
                <a:solidFill>
                  <a:schemeClr val="tx2"/>
                </a:solidFill>
              </a:defRPr>
            </a:lvl1pPr>
            <a:lvl2pPr marL="292502" indent="-292502">
              <a:lnSpc>
                <a:spcPct val="100000"/>
              </a:lnSpc>
              <a:spcBef>
                <a:spcPts val="0"/>
              </a:spcBef>
              <a:defRPr sz="3198">
                <a:solidFill>
                  <a:schemeClr val="tx2"/>
                </a:solidFill>
              </a:defRPr>
            </a:lvl2pPr>
            <a:lvl3pPr marL="548441" indent="-292502">
              <a:lnSpc>
                <a:spcPct val="100000"/>
              </a:lnSpc>
              <a:spcBef>
                <a:spcPts val="0"/>
              </a:spcBef>
              <a:defRPr sz="3198">
                <a:solidFill>
                  <a:schemeClr val="tx2"/>
                </a:solidFill>
              </a:defRPr>
            </a:lvl3pPr>
            <a:lvl4pPr marL="877505">
              <a:lnSpc>
                <a:spcPct val="100000"/>
              </a:lnSpc>
              <a:spcBef>
                <a:spcPts val="0"/>
              </a:spcBef>
              <a:defRPr sz="3198">
                <a:solidFill>
                  <a:schemeClr val="tx2"/>
                </a:solidFill>
              </a:defRPr>
            </a:lvl4pPr>
            <a:lvl5pPr>
              <a:lnSpc>
                <a:spcPct val="100000"/>
              </a:lnSpc>
              <a:spcBef>
                <a:spcPts val="0"/>
              </a:spcBef>
              <a:defRPr sz="3198"/>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11767913" y="6469424"/>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84127" y="6402121"/>
            <a:ext cx="2477765" cy="190500"/>
          </a:xfrm>
        </p:spPr>
        <p:txBody>
          <a:bodyPr/>
          <a:lstStyle/>
          <a:p>
            <a:endParaRPr lang="en-US"/>
          </a:p>
        </p:txBody>
      </p:sp>
    </p:spTree>
    <p:extLst>
      <p:ext uri="{BB962C8B-B14F-4D97-AF65-F5344CB8AC3E}">
        <p14:creationId xmlns:p14="http://schemas.microsoft.com/office/powerpoint/2010/main" val="98391645"/>
      </p:ext>
    </p:extLst>
  </p:cSld>
  <p:clrMapOvr>
    <a:masterClrMapping/>
  </p:clrMapOvr>
  <p:transition spd="med"/>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3_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88000" y="4649726"/>
            <a:ext cx="5524575" cy="1771651"/>
          </a:xfrm>
        </p:spPr>
        <p:txBody>
          <a:bodyPr anchor="b"/>
          <a:lstStyle>
            <a:lvl1pPr>
              <a:lnSpc>
                <a:spcPct val="90000"/>
              </a:lnSpc>
              <a:spcBef>
                <a:spcPts val="0"/>
              </a:spcBef>
              <a:defRPr sz="12895" b="0" i="0">
                <a:solidFill>
                  <a:schemeClr val="accent1"/>
                </a:solidFill>
                <a:latin typeface="IBM Plex Sans ExtLt" panose="020B0303050203000203" pitchFamily="34" charset="0"/>
              </a:defRPr>
            </a:lvl1pPr>
          </a:lstStyle>
          <a:p>
            <a:r>
              <a:rPr lang="en-US"/>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6380921" y="4648202"/>
            <a:ext cx="5523781" cy="1771651"/>
          </a:xfrm>
        </p:spPr>
        <p:txBody>
          <a:bodyPr anchor="b"/>
          <a:lstStyle>
            <a:lvl1pPr>
              <a:lnSpc>
                <a:spcPct val="90000"/>
              </a:lnSpc>
              <a:spcBef>
                <a:spcPts val="0"/>
              </a:spcBef>
              <a:defRPr sz="12895" b="0" i="0">
                <a:solidFill>
                  <a:schemeClr val="accent1"/>
                </a:solidFill>
                <a:latin typeface="IBM Plex Sans ExtLt" panose="020B0303050203000203" pitchFamily="34" charset="0"/>
              </a:defRPr>
            </a:lvl1pPr>
          </a:lstStyle>
          <a:p>
            <a:r>
              <a:rPr lang="en-US"/>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6380919" y="288038"/>
            <a:ext cx="3809504" cy="3144044"/>
          </a:xfrm>
        </p:spPr>
        <p:txBody>
          <a:bodyPr/>
          <a:lstStyle>
            <a:lvl1pPr>
              <a:lnSpc>
                <a:spcPct val="100000"/>
              </a:lnSpc>
              <a:spcBef>
                <a:spcPts val="0"/>
              </a:spcBef>
              <a:defRPr sz="2200">
                <a:solidFill>
                  <a:schemeClr val="tx1"/>
                </a:solidFill>
              </a:defRPr>
            </a:lvl1pPr>
            <a:lvl2pPr marL="201096" indent="-201096">
              <a:lnSpc>
                <a:spcPct val="100000"/>
              </a:lnSpc>
              <a:spcBef>
                <a:spcPts val="0"/>
              </a:spcBef>
              <a:defRPr sz="2200">
                <a:solidFill>
                  <a:schemeClr val="tx1"/>
                </a:solidFill>
              </a:defRPr>
            </a:lvl2pPr>
            <a:lvl3pPr marL="402191" indent="-201096">
              <a:lnSpc>
                <a:spcPct val="100000"/>
              </a:lnSpc>
              <a:spcBef>
                <a:spcPts val="0"/>
              </a:spcBef>
              <a:defRPr sz="2200">
                <a:solidFill>
                  <a:schemeClr val="tx1"/>
                </a:solidFill>
              </a:defRPr>
            </a:lvl3pPr>
            <a:lvl4pPr marL="557581" indent="-201096">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87998" y="288038"/>
            <a:ext cx="3811091" cy="3144044"/>
          </a:xfrm>
        </p:spPr>
        <p:txBody>
          <a:bodyPr/>
          <a:lstStyle>
            <a:lvl1pPr>
              <a:lnSpc>
                <a:spcPct val="100000"/>
              </a:lnSpc>
              <a:spcBef>
                <a:spcPts val="0"/>
              </a:spcBef>
              <a:defRPr sz="2200">
                <a:solidFill>
                  <a:schemeClr val="tx1"/>
                </a:solidFill>
              </a:defRPr>
            </a:lvl1pPr>
            <a:lvl2pPr marL="201096" indent="-201096">
              <a:lnSpc>
                <a:spcPct val="100000"/>
              </a:lnSpc>
              <a:spcBef>
                <a:spcPts val="0"/>
              </a:spcBef>
              <a:defRPr sz="2200">
                <a:solidFill>
                  <a:schemeClr val="tx1"/>
                </a:solidFill>
              </a:defRPr>
            </a:lvl2pPr>
            <a:lvl3pPr marL="402191" indent="-201096">
              <a:lnSpc>
                <a:spcPct val="100000"/>
              </a:lnSpc>
              <a:spcBef>
                <a:spcPts val="0"/>
              </a:spcBef>
              <a:defRPr sz="2200">
                <a:solidFill>
                  <a:schemeClr val="tx1"/>
                </a:solidFill>
              </a:defRPr>
            </a:lvl3pPr>
            <a:lvl4pPr marL="557581" indent="-201096">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6096000" y="284958"/>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11767913" y="6469424"/>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84127" y="6402121"/>
            <a:ext cx="2477765" cy="190500"/>
          </a:xfrm>
        </p:spPr>
        <p:txBody>
          <a:bodyPr/>
          <a:lstStyle/>
          <a:p>
            <a:endParaRPr lang="en-US"/>
          </a:p>
        </p:txBody>
      </p:sp>
    </p:spTree>
    <p:extLst>
      <p:ext uri="{BB962C8B-B14F-4D97-AF65-F5344CB8AC3E}">
        <p14:creationId xmlns:p14="http://schemas.microsoft.com/office/powerpoint/2010/main" val="3300119789"/>
      </p:ext>
    </p:extLst>
  </p:cSld>
  <p:clrMapOvr>
    <a:masterClrMapping/>
  </p:clrMapOvr>
  <p:transition spd="med"/>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3_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383302" y="213244"/>
            <a:ext cx="2474591" cy="953295"/>
          </a:xfrm>
        </p:spPr>
        <p:txBody>
          <a:bodyPr/>
          <a:lstStyle>
            <a:lvl1pPr>
              <a:lnSpc>
                <a:spcPct val="90000"/>
              </a:lnSpc>
              <a:defRPr sz="6497">
                <a:solidFill>
                  <a:schemeClr val="accent1"/>
                </a:solidFill>
              </a:defRPr>
            </a:lvl1pPr>
          </a:lstStyle>
          <a:p>
            <a:pPr lvl="0"/>
            <a:r>
              <a:rPr lang="en-US"/>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9428526" y="214828"/>
            <a:ext cx="2474591" cy="951707"/>
          </a:xfrm>
        </p:spPr>
        <p:txBody>
          <a:bodyPr/>
          <a:lstStyle>
            <a:lvl1pPr>
              <a:lnSpc>
                <a:spcPct val="90000"/>
              </a:lnSpc>
              <a:defRPr sz="6497">
                <a:solidFill>
                  <a:schemeClr val="accent1"/>
                </a:solidFill>
              </a:defRPr>
            </a:lvl1pPr>
          </a:lstStyle>
          <a:p>
            <a:pPr lvl="0"/>
            <a:r>
              <a:rPr lang="en-US"/>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14888"/>
            <a:ext cx="2475384" cy="953956"/>
          </a:xfrm>
        </p:spPr>
        <p:txBody>
          <a:bodyPr/>
          <a:lstStyle>
            <a:lvl1pPr>
              <a:lnSpc>
                <a:spcPct val="90000"/>
              </a:lnSpc>
              <a:defRPr sz="6497">
                <a:solidFill>
                  <a:schemeClr val="accent1"/>
                </a:solidFill>
              </a:defRPr>
            </a:lvl1pPr>
            <a:lvl2pPr marL="0" indent="0">
              <a:buNone/>
              <a:defRPr/>
            </a:lvl2pPr>
          </a:lstStyle>
          <a:p>
            <a:pPr lvl="0"/>
            <a:r>
              <a:rPr lang="en-US"/>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8000" y="288036"/>
            <a:ext cx="2474591" cy="1429544"/>
          </a:xfrm>
        </p:spPr>
        <p:txBody>
          <a:bodyPr/>
          <a:lstStyle>
            <a:lvl1pPr>
              <a:lnSpc>
                <a:spcPct val="110000"/>
              </a:lnSpc>
              <a:defRPr sz="18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92"/>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marL="73126" indent="-73126">
              <a:lnSpc>
                <a:spcPct val="120000"/>
              </a:lnSpc>
              <a:spcBef>
                <a:spcPts val="0"/>
              </a:spcBef>
              <a:defRPr sz="800" b="0" i="0">
                <a:solidFill>
                  <a:schemeClr val="tx1"/>
                </a:solidFill>
                <a:latin typeface="IBM Plex Sans" panose="020B0503050203000203" pitchFamily="34" charset="0"/>
              </a:defRPr>
            </a:lvl2pPr>
            <a:lvl3pPr marL="146251" indent="-73126">
              <a:lnSpc>
                <a:spcPct val="120000"/>
              </a:lnSpc>
              <a:spcBef>
                <a:spcPts val="0"/>
              </a:spcBef>
              <a:defRPr sz="800" b="0" i="0">
                <a:solidFill>
                  <a:schemeClr val="tx1"/>
                </a:solidFill>
                <a:latin typeface="IBM Plex Sans" panose="020B0503050203000203" pitchFamily="34" charset="0"/>
              </a:defRPr>
            </a:lvl3pPr>
            <a:lvl4pPr marL="219376" indent="-73126">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3333316" y="1166535"/>
            <a:ext cx="2475384" cy="483652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8" y="1167331"/>
            <a:ext cx="2476179"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9428523" y="1166537"/>
            <a:ext cx="2476179"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11767913" y="6469424"/>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84127" y="6402121"/>
            <a:ext cx="2477765" cy="190500"/>
          </a:xfrm>
        </p:spPr>
        <p:txBody>
          <a:bodyPr/>
          <a:lstStyle/>
          <a:p>
            <a:endParaRPr lang="en-US"/>
          </a:p>
        </p:txBody>
      </p:sp>
    </p:spTree>
    <p:extLst>
      <p:ext uri="{BB962C8B-B14F-4D97-AF65-F5344CB8AC3E}">
        <p14:creationId xmlns:p14="http://schemas.microsoft.com/office/powerpoint/2010/main" val="2736512025"/>
      </p:ext>
    </p:extLst>
  </p:cSld>
  <p:clrMapOvr>
    <a:masterClrMapping/>
  </p:clrMapOvr>
  <p:transition spd="med"/>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3_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284127" y="3048000"/>
            <a:ext cx="116205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87303" y="201170"/>
            <a:ext cx="2474591" cy="2667795"/>
          </a:xfrm>
        </p:spPr>
        <p:txBody>
          <a:bodyPr/>
          <a:lstStyle>
            <a:lvl1pPr>
              <a:lnSpc>
                <a:spcPct val="100000"/>
              </a:lnSpc>
              <a:defRPr sz="4298">
                <a:solidFill>
                  <a:schemeClr val="accent1"/>
                </a:solidFill>
              </a:defRPr>
            </a:lvl1pPr>
          </a:lstStyle>
          <a:p>
            <a:r>
              <a:rPr lang="en-US"/>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3333316" y="201170"/>
            <a:ext cx="5523781" cy="2667795"/>
          </a:xfrm>
        </p:spPr>
        <p:txBody>
          <a:bodyPr/>
          <a:lstStyle>
            <a:lvl1pPr>
              <a:lnSpc>
                <a:spcPct val="100000"/>
              </a:lnSpc>
              <a:spcBef>
                <a:spcPts val="0"/>
              </a:spcBef>
              <a:defRPr sz="4298">
                <a:solidFill>
                  <a:schemeClr val="tx1"/>
                </a:solidFill>
              </a:defRPr>
            </a:lvl1pPr>
            <a:lvl2pPr marL="393050" indent="-393050">
              <a:lnSpc>
                <a:spcPct val="100000"/>
              </a:lnSpc>
              <a:spcBef>
                <a:spcPts val="0"/>
              </a:spcBef>
              <a:defRPr sz="4298">
                <a:solidFill>
                  <a:schemeClr val="tx1"/>
                </a:solidFill>
              </a:defRPr>
            </a:lvl2pPr>
            <a:lvl3pPr marL="749537" indent="-393050">
              <a:lnSpc>
                <a:spcPct val="100000"/>
              </a:lnSpc>
              <a:spcBef>
                <a:spcPts val="0"/>
              </a:spcBef>
              <a:defRPr sz="4298">
                <a:solidFill>
                  <a:schemeClr val="tx1"/>
                </a:solidFill>
              </a:defRPr>
            </a:lvl3pPr>
            <a:lvl4pPr marL="1142587" indent="-393050">
              <a:lnSpc>
                <a:spcPct val="100000"/>
              </a:lnSpc>
              <a:spcBef>
                <a:spcPts val="0"/>
              </a:spcBef>
              <a:defRPr sz="4298">
                <a:solidFill>
                  <a:schemeClr val="tx1"/>
                </a:solidFill>
              </a:defRPr>
            </a:lvl4pPr>
            <a:lvl5pPr>
              <a:lnSpc>
                <a:spcPct val="100000"/>
              </a:lnSpc>
              <a:spcBef>
                <a:spcPts val="0"/>
              </a:spcBef>
              <a:defRPr sz="42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87303" y="3238500"/>
            <a:ext cx="2474591" cy="2667000"/>
          </a:xfrm>
        </p:spPr>
        <p:txBody>
          <a:bodyPr/>
          <a:lstStyle>
            <a:lvl1pPr>
              <a:lnSpc>
                <a:spcPct val="100000"/>
              </a:lnSpc>
              <a:defRPr sz="4298">
                <a:solidFill>
                  <a:schemeClr val="accent1"/>
                </a:solidFill>
              </a:defRPr>
            </a:lvl1pPr>
            <a:lvl2pPr>
              <a:lnSpc>
                <a:spcPct val="100000"/>
              </a:lnSpc>
              <a:defRPr sz="4298">
                <a:solidFill>
                  <a:schemeClr val="accent1"/>
                </a:solidFill>
              </a:defRPr>
            </a:lvl2pPr>
            <a:lvl3pPr>
              <a:lnSpc>
                <a:spcPct val="100000"/>
              </a:lnSpc>
              <a:defRPr sz="4298">
                <a:solidFill>
                  <a:schemeClr val="accent1"/>
                </a:solidFill>
              </a:defRPr>
            </a:lvl3pPr>
            <a:lvl4pPr>
              <a:lnSpc>
                <a:spcPct val="100000"/>
              </a:lnSpc>
              <a:defRPr sz="4298">
                <a:solidFill>
                  <a:schemeClr val="accent1"/>
                </a:solidFill>
              </a:defRPr>
            </a:lvl4pPr>
            <a:lvl5pPr>
              <a:lnSpc>
                <a:spcPct val="100000"/>
              </a:lnSpc>
              <a:defRPr sz="4298">
                <a:solidFill>
                  <a:schemeClr val="accent1"/>
                </a:solidFill>
              </a:defRPr>
            </a:lvl5pPr>
          </a:lstStyle>
          <a:p>
            <a:pPr lvl="0"/>
            <a:r>
              <a:rPr lang="en-US"/>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3333316" y="3238500"/>
            <a:ext cx="5523781" cy="2667000"/>
          </a:xfrm>
        </p:spPr>
        <p:txBody>
          <a:bodyPr/>
          <a:lstStyle>
            <a:lvl1pPr>
              <a:lnSpc>
                <a:spcPct val="100000"/>
              </a:lnSpc>
              <a:spcBef>
                <a:spcPts val="0"/>
              </a:spcBef>
              <a:defRPr sz="4298">
                <a:solidFill>
                  <a:schemeClr val="tx1"/>
                </a:solidFill>
              </a:defRPr>
            </a:lvl1pPr>
            <a:lvl2pPr marL="393050" indent="-393050">
              <a:lnSpc>
                <a:spcPct val="100000"/>
              </a:lnSpc>
              <a:spcBef>
                <a:spcPts val="0"/>
              </a:spcBef>
              <a:defRPr sz="4298">
                <a:solidFill>
                  <a:schemeClr val="tx1"/>
                </a:solidFill>
              </a:defRPr>
            </a:lvl2pPr>
            <a:lvl3pPr marL="749537" indent="-393050">
              <a:lnSpc>
                <a:spcPct val="100000"/>
              </a:lnSpc>
              <a:spcBef>
                <a:spcPts val="0"/>
              </a:spcBef>
              <a:defRPr sz="4298">
                <a:solidFill>
                  <a:schemeClr val="tx1"/>
                </a:solidFill>
              </a:defRPr>
            </a:lvl3pPr>
            <a:lvl4pPr marL="1142587" indent="-393050">
              <a:lnSpc>
                <a:spcPct val="100000"/>
              </a:lnSpc>
              <a:spcBef>
                <a:spcPts val="0"/>
              </a:spcBef>
              <a:defRPr sz="4298">
                <a:solidFill>
                  <a:schemeClr val="tx1"/>
                </a:solidFill>
              </a:defRPr>
            </a:lvl4pPr>
            <a:lvl5pPr>
              <a:lnSpc>
                <a:spcPct val="100000"/>
              </a:lnSpc>
              <a:spcBef>
                <a:spcPts val="0"/>
              </a:spcBef>
              <a:defRPr sz="429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11767913" y="6469424"/>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84127" y="6402121"/>
            <a:ext cx="2477765" cy="190500"/>
          </a:xfrm>
        </p:spPr>
        <p:txBody>
          <a:bodyPr/>
          <a:lstStyle/>
          <a:p>
            <a:endParaRPr lang="en-US"/>
          </a:p>
        </p:txBody>
      </p:sp>
    </p:spTree>
    <p:extLst>
      <p:ext uri="{BB962C8B-B14F-4D97-AF65-F5344CB8AC3E}">
        <p14:creationId xmlns:p14="http://schemas.microsoft.com/office/powerpoint/2010/main" val="3067237341"/>
      </p:ext>
    </p:extLst>
  </p:cSld>
  <p:clrMapOvr>
    <a:masterClrMapping/>
  </p:clrMapOvr>
  <p:transition spd="med"/>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3_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8000" y="288038"/>
            <a:ext cx="2474591" cy="762795"/>
          </a:xfrm>
        </p:spPr>
        <p:txBody>
          <a:bodyPr/>
          <a:lstStyle>
            <a:lvl1pPr>
              <a:lnSpc>
                <a:spcPct val="110000"/>
              </a:lnSpc>
              <a:defRPr sz="14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88000" y="1714502"/>
            <a:ext cx="2477765" cy="4286251"/>
          </a:xfrm>
        </p:spPr>
        <p:txBody>
          <a:bodyPr/>
          <a:lstStyle>
            <a:lvl1pPr>
              <a:spcBef>
                <a:spcPts val="0"/>
              </a:spcBef>
              <a:defRPr sz="1000" b="0" i="0">
                <a:solidFill>
                  <a:schemeClr val="tx1"/>
                </a:solidFill>
                <a:latin typeface="IBM Plex Sans" panose="020B0503050203000203" pitchFamily="34" charset="0"/>
              </a:defRPr>
            </a:lvl1pPr>
            <a:lvl2pPr marL="91407" indent="-91407">
              <a:spcBef>
                <a:spcPts val="0"/>
              </a:spcBef>
              <a:defRPr sz="1000" b="0" i="0">
                <a:solidFill>
                  <a:schemeClr val="tx1"/>
                </a:solidFill>
                <a:latin typeface="IBM Plex Sans" panose="020B0503050203000203" pitchFamily="34" charset="0"/>
              </a:defRPr>
            </a:lvl2pPr>
            <a:lvl3pPr marL="182815" indent="-91407">
              <a:spcBef>
                <a:spcPts val="0"/>
              </a:spcBef>
              <a:defRPr sz="1000" b="0" i="0">
                <a:solidFill>
                  <a:schemeClr val="tx1"/>
                </a:solidFill>
                <a:latin typeface="IBM Plex Sans" panose="020B0503050203000203" pitchFamily="34" charset="0"/>
              </a:defRPr>
            </a:lvl3pPr>
            <a:lvl4pPr marL="274222" indent="-91407">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2"/>
            <a:ext cx="2475384" cy="4286251"/>
          </a:xfrm>
        </p:spPr>
        <p:txBody>
          <a:bodyPr/>
          <a:lstStyle>
            <a:lvl1pPr>
              <a:spcBef>
                <a:spcPts val="0"/>
              </a:spcBef>
              <a:defRPr sz="1000" b="0" i="0">
                <a:solidFill>
                  <a:schemeClr val="tx1"/>
                </a:solidFill>
                <a:latin typeface="IBM Plex Sans" panose="020B0503050203000203" pitchFamily="34" charset="0"/>
              </a:defRPr>
            </a:lvl1pPr>
            <a:lvl2pPr marL="91407" indent="-91407">
              <a:spcBef>
                <a:spcPts val="0"/>
              </a:spcBef>
              <a:defRPr sz="1000" b="0" i="0">
                <a:solidFill>
                  <a:schemeClr val="tx1"/>
                </a:solidFill>
                <a:latin typeface="IBM Plex Sans" panose="020B0503050203000203" pitchFamily="34" charset="0"/>
              </a:defRPr>
            </a:lvl2pPr>
            <a:lvl3pPr marL="182815" indent="-91407">
              <a:spcBef>
                <a:spcPts val="0"/>
              </a:spcBef>
              <a:defRPr sz="1000" b="0" i="0">
                <a:solidFill>
                  <a:schemeClr val="tx1"/>
                </a:solidFill>
                <a:latin typeface="IBM Plex Sans" panose="020B0503050203000203" pitchFamily="34" charset="0"/>
              </a:defRPr>
            </a:lvl3pPr>
            <a:lvl4pPr marL="274222" indent="-91407">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8" y="1714502"/>
            <a:ext cx="2476179" cy="4286251"/>
          </a:xfrm>
        </p:spPr>
        <p:txBody>
          <a:bodyPr/>
          <a:lstStyle>
            <a:lvl1pPr>
              <a:spcBef>
                <a:spcPts val="0"/>
              </a:spcBef>
              <a:defRPr sz="1000" b="0" i="0">
                <a:solidFill>
                  <a:schemeClr val="tx1"/>
                </a:solidFill>
                <a:latin typeface="IBM Plex Sans" panose="020B0503050203000203" pitchFamily="34" charset="0"/>
              </a:defRPr>
            </a:lvl1pPr>
            <a:lvl2pPr marL="91407" indent="-91407">
              <a:spcBef>
                <a:spcPts val="0"/>
              </a:spcBef>
              <a:defRPr sz="1000" b="0" i="0">
                <a:solidFill>
                  <a:schemeClr val="tx1"/>
                </a:solidFill>
                <a:latin typeface="IBM Plex Sans" panose="020B0503050203000203" pitchFamily="34" charset="0"/>
              </a:defRPr>
            </a:lvl2pPr>
            <a:lvl3pPr marL="182815" indent="-91407">
              <a:spcBef>
                <a:spcPts val="0"/>
              </a:spcBef>
              <a:defRPr sz="1000" b="0" i="0">
                <a:solidFill>
                  <a:schemeClr val="tx1"/>
                </a:solidFill>
                <a:latin typeface="IBM Plex Sans" panose="020B0503050203000203" pitchFamily="34" charset="0"/>
              </a:defRPr>
            </a:lvl3pPr>
            <a:lvl4pPr marL="274222" indent="-91407">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3" y="1714502"/>
            <a:ext cx="2479352" cy="4286251"/>
          </a:xfrm>
        </p:spPr>
        <p:txBody>
          <a:bodyPr/>
          <a:lstStyle>
            <a:lvl1pPr>
              <a:spcBef>
                <a:spcPts val="0"/>
              </a:spcBef>
              <a:defRPr sz="1000" b="0" i="0">
                <a:solidFill>
                  <a:schemeClr val="tx1"/>
                </a:solidFill>
                <a:latin typeface="IBM Plex Sans" panose="020B0503050203000203" pitchFamily="34" charset="0"/>
              </a:defRPr>
            </a:lvl1pPr>
            <a:lvl2pPr marL="91407" indent="-91407">
              <a:spcBef>
                <a:spcPts val="0"/>
              </a:spcBef>
              <a:defRPr sz="1000" b="0" i="0">
                <a:solidFill>
                  <a:schemeClr val="tx1"/>
                </a:solidFill>
                <a:latin typeface="IBM Plex Sans" panose="020B0503050203000203" pitchFamily="34" charset="0"/>
              </a:defRPr>
            </a:lvl2pPr>
            <a:lvl3pPr marL="182815" indent="-91407">
              <a:spcBef>
                <a:spcPts val="0"/>
              </a:spcBef>
              <a:defRPr sz="1000" b="0" i="0">
                <a:solidFill>
                  <a:schemeClr val="tx1"/>
                </a:solidFill>
                <a:latin typeface="IBM Plex Sans" panose="020B0503050203000203" pitchFamily="34" charset="0"/>
              </a:defRPr>
            </a:lvl3pPr>
            <a:lvl4pPr marL="274222" indent="-91407">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11767913" y="6469424"/>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84127" y="6402121"/>
            <a:ext cx="2477765" cy="190500"/>
          </a:xfrm>
        </p:spPr>
        <p:txBody>
          <a:bodyPr/>
          <a:lstStyle/>
          <a:p>
            <a:endParaRPr lang="en-US"/>
          </a:p>
        </p:txBody>
      </p:sp>
    </p:spTree>
    <p:extLst>
      <p:ext uri="{BB962C8B-B14F-4D97-AF65-F5344CB8AC3E}">
        <p14:creationId xmlns:p14="http://schemas.microsoft.com/office/powerpoint/2010/main" val="3918274652"/>
      </p:ext>
    </p:extLst>
  </p:cSld>
  <p:clrMapOvr>
    <a:masterClrMapping/>
  </p:clrMapOvr>
  <p:transition spd="med"/>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3_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8000" y="288038"/>
            <a:ext cx="2474591" cy="762795"/>
          </a:xfrm>
        </p:spPr>
        <p:txBody>
          <a:bodyPr/>
          <a:lstStyle>
            <a:lvl1pPr>
              <a:lnSpc>
                <a:spcPct val="110000"/>
              </a:lnSpc>
              <a:defRPr sz="1400">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2"/>
            <a:ext cx="2475384"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07" indent="-91407">
              <a:lnSpc>
                <a:spcPct val="110000"/>
              </a:lnSpc>
              <a:spcBef>
                <a:spcPts val="0"/>
              </a:spcBef>
              <a:defRPr sz="1000" b="0" i="0">
                <a:solidFill>
                  <a:schemeClr val="tx1"/>
                </a:solidFill>
                <a:latin typeface="IBM Plex Sans" panose="020B0503050203000203" pitchFamily="34" charset="0"/>
              </a:defRPr>
            </a:lvl2pPr>
            <a:lvl3pPr marL="182815" indent="-91407">
              <a:lnSpc>
                <a:spcPct val="110000"/>
              </a:lnSpc>
              <a:spcBef>
                <a:spcPts val="0"/>
              </a:spcBef>
              <a:defRPr sz="1000" b="0" i="0">
                <a:solidFill>
                  <a:schemeClr val="tx1"/>
                </a:solidFill>
                <a:latin typeface="IBM Plex Sans" panose="020B0503050203000203" pitchFamily="34" charset="0"/>
              </a:defRPr>
            </a:lvl3pPr>
            <a:lvl4pPr marL="274222" indent="-91407">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8" y="1714502"/>
            <a:ext cx="2476179"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07" indent="-91407">
              <a:lnSpc>
                <a:spcPct val="110000"/>
              </a:lnSpc>
              <a:spcBef>
                <a:spcPts val="0"/>
              </a:spcBef>
              <a:defRPr sz="1000" b="0" i="0">
                <a:solidFill>
                  <a:schemeClr val="tx1"/>
                </a:solidFill>
                <a:latin typeface="IBM Plex Sans" panose="020B0503050203000203" pitchFamily="34" charset="0"/>
              </a:defRPr>
            </a:lvl2pPr>
            <a:lvl3pPr marL="182815" indent="-91407">
              <a:lnSpc>
                <a:spcPct val="110000"/>
              </a:lnSpc>
              <a:spcBef>
                <a:spcPts val="0"/>
              </a:spcBef>
              <a:defRPr sz="1000" b="0" i="0">
                <a:solidFill>
                  <a:schemeClr val="tx1"/>
                </a:solidFill>
                <a:latin typeface="IBM Plex Sans" panose="020B0503050203000203" pitchFamily="34" charset="0"/>
              </a:defRPr>
            </a:lvl3pPr>
            <a:lvl4pPr marL="274222" indent="-91407">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3" y="1714502"/>
            <a:ext cx="2479352"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07" indent="-91407">
              <a:lnSpc>
                <a:spcPct val="110000"/>
              </a:lnSpc>
              <a:spcBef>
                <a:spcPts val="0"/>
              </a:spcBef>
              <a:defRPr sz="1000" b="0" i="0">
                <a:solidFill>
                  <a:schemeClr val="tx1"/>
                </a:solidFill>
                <a:latin typeface="IBM Plex Sans" panose="020B0503050203000203" pitchFamily="34" charset="0"/>
              </a:defRPr>
            </a:lvl2pPr>
            <a:lvl3pPr marL="182815" indent="-91407">
              <a:lnSpc>
                <a:spcPct val="110000"/>
              </a:lnSpc>
              <a:spcBef>
                <a:spcPts val="0"/>
              </a:spcBef>
              <a:defRPr sz="1000" b="0" i="0">
                <a:solidFill>
                  <a:schemeClr val="tx1"/>
                </a:solidFill>
                <a:latin typeface="IBM Plex Sans" panose="020B0503050203000203" pitchFamily="34" charset="0"/>
              </a:defRPr>
            </a:lvl3pPr>
            <a:lvl4pPr marL="274222" indent="-91407">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8"/>
            <a:ext cx="2477765" cy="762795"/>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07" indent="-91407">
              <a:lnSpc>
                <a:spcPct val="110000"/>
              </a:lnSpc>
              <a:spcBef>
                <a:spcPts val="0"/>
              </a:spcBef>
              <a:defRPr sz="1000" b="0" i="0">
                <a:solidFill>
                  <a:schemeClr val="tx1"/>
                </a:solidFill>
                <a:latin typeface="IBM Plex Sans" panose="020B0503050203000203" pitchFamily="34" charset="0"/>
              </a:defRPr>
            </a:lvl2pPr>
            <a:lvl3pPr marL="182815" indent="-91407">
              <a:lnSpc>
                <a:spcPct val="110000"/>
              </a:lnSpc>
              <a:spcBef>
                <a:spcPts val="0"/>
              </a:spcBef>
              <a:defRPr sz="1000" b="0" i="0">
                <a:solidFill>
                  <a:schemeClr val="tx1"/>
                </a:solidFill>
                <a:latin typeface="IBM Plex Sans" panose="020B0503050203000203" pitchFamily="34" charset="0"/>
              </a:defRPr>
            </a:lvl3pPr>
            <a:lvl4pPr marL="274222" indent="-91407">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289683" y="1714502"/>
            <a:ext cx="2475384"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07" indent="-91407">
              <a:lnSpc>
                <a:spcPct val="110000"/>
              </a:lnSpc>
              <a:spcBef>
                <a:spcPts val="0"/>
              </a:spcBef>
              <a:defRPr sz="1000" b="0" i="0">
                <a:solidFill>
                  <a:schemeClr val="tx1"/>
                </a:solidFill>
                <a:latin typeface="IBM Plex Sans" panose="020B0503050203000203" pitchFamily="34" charset="0"/>
              </a:defRPr>
            </a:lvl2pPr>
            <a:lvl3pPr marL="182815" indent="-91407">
              <a:lnSpc>
                <a:spcPct val="110000"/>
              </a:lnSpc>
              <a:spcBef>
                <a:spcPts val="0"/>
              </a:spcBef>
              <a:defRPr sz="1000" b="0" i="0">
                <a:solidFill>
                  <a:schemeClr val="tx1"/>
                </a:solidFill>
                <a:latin typeface="IBM Plex Sans" panose="020B0503050203000203" pitchFamily="34" charset="0"/>
              </a:defRPr>
            </a:lvl3pPr>
            <a:lvl4pPr marL="274222" indent="-91407">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3047603" y="1714502"/>
            <a:ext cx="0" cy="428625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6093683"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9142811"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11767913" y="6469424"/>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84127" y="6402121"/>
            <a:ext cx="2477765" cy="190500"/>
          </a:xfrm>
        </p:spPr>
        <p:txBody>
          <a:bodyPr/>
          <a:lstStyle/>
          <a:p>
            <a:endParaRPr lang="en-US"/>
          </a:p>
        </p:txBody>
      </p:sp>
    </p:spTree>
    <p:extLst>
      <p:ext uri="{BB962C8B-B14F-4D97-AF65-F5344CB8AC3E}">
        <p14:creationId xmlns:p14="http://schemas.microsoft.com/office/powerpoint/2010/main" val="3435439470"/>
      </p:ext>
    </p:extLst>
  </p:cSld>
  <p:clrMapOvr>
    <a:masterClrMapping/>
  </p:clrMapOvr>
  <p:transition spd="med"/>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5_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8000" y="288038"/>
            <a:ext cx="2474591" cy="762795"/>
          </a:xfrm>
        </p:spPr>
        <p:txBody>
          <a:bodyPr/>
          <a:lstStyle>
            <a:lvl1pPr>
              <a:lnSpc>
                <a:spcPct val="110000"/>
              </a:lnSpc>
              <a:defRPr sz="1400">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2"/>
            <a:ext cx="2475384" cy="4286251"/>
          </a:xfrm>
        </p:spPr>
        <p:txBody>
          <a:bodyPr/>
          <a:lstStyle>
            <a:lvl1pPr>
              <a:spcBef>
                <a:spcPts val="0"/>
              </a:spcBef>
              <a:defRPr sz="1000" b="0" i="0">
                <a:solidFill>
                  <a:schemeClr val="tx1"/>
                </a:solidFill>
                <a:latin typeface="IBM Plex Sans" panose="020B0503050203000203" pitchFamily="34" charset="0"/>
              </a:defRPr>
            </a:lvl1pPr>
            <a:lvl2pPr marL="91407" indent="-91407">
              <a:spcBef>
                <a:spcPts val="0"/>
              </a:spcBef>
              <a:defRPr sz="1000" b="0" i="0">
                <a:solidFill>
                  <a:schemeClr val="tx1"/>
                </a:solidFill>
                <a:latin typeface="IBM Plex Sans" panose="020B0503050203000203" pitchFamily="34" charset="0"/>
              </a:defRPr>
            </a:lvl2pPr>
            <a:lvl3pPr marL="182815" indent="-91407">
              <a:spcBef>
                <a:spcPts val="0"/>
              </a:spcBef>
              <a:defRPr sz="1000" b="0" i="0">
                <a:solidFill>
                  <a:schemeClr val="tx1"/>
                </a:solidFill>
                <a:latin typeface="IBM Plex Sans" panose="020B0503050203000203" pitchFamily="34" charset="0"/>
              </a:defRPr>
            </a:lvl3pPr>
            <a:lvl4pPr marL="274222" indent="-91407">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8" y="1714502"/>
            <a:ext cx="2476179" cy="4286251"/>
          </a:xfrm>
        </p:spPr>
        <p:txBody>
          <a:bodyPr/>
          <a:lstStyle>
            <a:lvl1pPr>
              <a:spcBef>
                <a:spcPts val="0"/>
              </a:spcBef>
              <a:defRPr sz="1000" b="0" i="0">
                <a:solidFill>
                  <a:schemeClr val="tx1"/>
                </a:solidFill>
                <a:latin typeface="IBM Plex Sans" panose="020B0503050203000203" pitchFamily="34" charset="0"/>
              </a:defRPr>
            </a:lvl1pPr>
            <a:lvl2pPr marL="91407" indent="-91407">
              <a:spcBef>
                <a:spcPts val="0"/>
              </a:spcBef>
              <a:defRPr sz="1000" b="0" i="0">
                <a:solidFill>
                  <a:schemeClr val="tx1"/>
                </a:solidFill>
                <a:latin typeface="IBM Plex Sans" panose="020B0503050203000203" pitchFamily="34" charset="0"/>
              </a:defRPr>
            </a:lvl2pPr>
            <a:lvl3pPr marL="182815" indent="-91407">
              <a:spcBef>
                <a:spcPts val="0"/>
              </a:spcBef>
              <a:defRPr sz="1000" b="0" i="0">
                <a:solidFill>
                  <a:schemeClr val="tx1"/>
                </a:solidFill>
                <a:latin typeface="IBM Plex Sans" panose="020B0503050203000203" pitchFamily="34" charset="0"/>
              </a:defRPr>
            </a:lvl3pPr>
            <a:lvl4pPr marL="274222" indent="-91407">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3" y="1714502"/>
            <a:ext cx="2479352" cy="4286251"/>
          </a:xfrm>
        </p:spPr>
        <p:txBody>
          <a:bodyPr/>
          <a:lstStyle>
            <a:lvl1pPr>
              <a:spcBef>
                <a:spcPts val="0"/>
              </a:spcBef>
              <a:defRPr sz="1000" b="0" i="0">
                <a:solidFill>
                  <a:schemeClr val="tx1"/>
                </a:solidFill>
                <a:latin typeface="IBM Plex Sans" panose="020B0503050203000203" pitchFamily="34" charset="0"/>
              </a:defRPr>
            </a:lvl1pPr>
            <a:lvl2pPr marL="91407" indent="-91407">
              <a:spcBef>
                <a:spcPts val="0"/>
              </a:spcBef>
              <a:defRPr sz="1000" b="0" i="0">
                <a:solidFill>
                  <a:schemeClr val="tx1"/>
                </a:solidFill>
                <a:latin typeface="IBM Plex Sans" panose="020B0503050203000203" pitchFamily="34" charset="0"/>
              </a:defRPr>
            </a:lvl2pPr>
            <a:lvl3pPr marL="182815" indent="-91407">
              <a:spcBef>
                <a:spcPts val="0"/>
              </a:spcBef>
              <a:defRPr sz="1000" b="0" i="0">
                <a:solidFill>
                  <a:schemeClr val="tx1"/>
                </a:solidFill>
                <a:latin typeface="IBM Plex Sans" panose="020B0503050203000203" pitchFamily="34" charset="0"/>
              </a:defRPr>
            </a:lvl3pPr>
            <a:lvl4pPr marL="274222" indent="-91407">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8"/>
            <a:ext cx="2477765" cy="762795"/>
          </a:xfrm>
        </p:spPr>
        <p:txBody>
          <a:bodyPr/>
          <a:lstStyle>
            <a:lvl1pPr>
              <a:lnSpc>
                <a:spcPct val="110000"/>
              </a:lnSpc>
              <a:spcBef>
                <a:spcPts val="0"/>
              </a:spcBef>
              <a:defRPr sz="1400">
                <a:solidFill>
                  <a:schemeClr val="tx1"/>
                </a:solidFill>
              </a:defRPr>
            </a:lvl1pPr>
            <a:lvl2pPr marL="127969" indent="-127969">
              <a:lnSpc>
                <a:spcPct val="110000"/>
              </a:lnSpc>
              <a:spcBef>
                <a:spcPts val="0"/>
              </a:spcBef>
              <a:defRPr sz="1400">
                <a:solidFill>
                  <a:schemeClr val="tx1"/>
                </a:solidFill>
              </a:defRPr>
            </a:lvl2pPr>
            <a:lvl3pPr marL="255939" indent="-127969">
              <a:lnSpc>
                <a:spcPct val="110000"/>
              </a:lnSpc>
              <a:spcBef>
                <a:spcPts val="0"/>
              </a:spcBef>
              <a:defRPr sz="1400">
                <a:solidFill>
                  <a:schemeClr val="tx1"/>
                </a:solidFill>
              </a:defRPr>
            </a:lvl3pPr>
            <a:lvl4pPr marL="383909" indent="-12796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8" y="288038"/>
            <a:ext cx="2476179" cy="762795"/>
          </a:xfrm>
        </p:spPr>
        <p:txBody>
          <a:bodyPr/>
          <a:lstStyle>
            <a:lvl1pPr>
              <a:lnSpc>
                <a:spcPct val="110000"/>
              </a:lnSpc>
              <a:spcBef>
                <a:spcPts val="0"/>
              </a:spcBef>
              <a:defRPr sz="1400">
                <a:solidFill>
                  <a:schemeClr val="tx1"/>
                </a:solidFill>
              </a:defRPr>
            </a:lvl1pPr>
            <a:lvl2pPr marL="127969" indent="-127969">
              <a:lnSpc>
                <a:spcPct val="110000"/>
              </a:lnSpc>
              <a:spcBef>
                <a:spcPts val="0"/>
              </a:spcBef>
              <a:defRPr sz="1400">
                <a:solidFill>
                  <a:schemeClr val="tx1"/>
                </a:solidFill>
              </a:defRPr>
            </a:lvl2pPr>
            <a:lvl3pPr marL="255939" indent="-127969">
              <a:lnSpc>
                <a:spcPct val="110000"/>
              </a:lnSpc>
              <a:spcBef>
                <a:spcPts val="0"/>
              </a:spcBef>
              <a:defRPr sz="1400">
                <a:solidFill>
                  <a:schemeClr val="tx1"/>
                </a:solidFill>
              </a:defRPr>
            </a:lvl3pPr>
            <a:lvl4pPr marL="383909" indent="-12796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3" y="288038"/>
            <a:ext cx="2479352" cy="762795"/>
          </a:xfrm>
        </p:spPr>
        <p:txBody>
          <a:bodyPr/>
          <a:lstStyle>
            <a:lvl1pPr>
              <a:lnSpc>
                <a:spcPct val="110000"/>
              </a:lnSpc>
              <a:spcBef>
                <a:spcPts val="0"/>
              </a:spcBef>
              <a:defRPr sz="1400">
                <a:solidFill>
                  <a:schemeClr val="tx1"/>
                </a:solidFill>
              </a:defRPr>
            </a:lvl1pPr>
            <a:lvl2pPr marL="127969" indent="-127969">
              <a:lnSpc>
                <a:spcPct val="110000"/>
              </a:lnSpc>
              <a:spcBef>
                <a:spcPts val="0"/>
              </a:spcBef>
              <a:defRPr sz="1400">
                <a:solidFill>
                  <a:schemeClr val="tx1"/>
                </a:solidFill>
              </a:defRPr>
            </a:lvl2pPr>
            <a:lvl3pPr marL="255939" indent="-127969">
              <a:lnSpc>
                <a:spcPct val="110000"/>
              </a:lnSpc>
              <a:spcBef>
                <a:spcPts val="0"/>
              </a:spcBef>
              <a:defRPr sz="1400">
                <a:solidFill>
                  <a:schemeClr val="tx1"/>
                </a:solidFill>
              </a:defRPr>
            </a:lvl3pPr>
            <a:lvl4pPr marL="383909" indent="-12796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3047603" y="284958"/>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6093683" y="283466"/>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9142811" y="284958"/>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11767913" y="6469424"/>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84127" y="6402121"/>
            <a:ext cx="2477765" cy="190500"/>
          </a:xfrm>
        </p:spPr>
        <p:txBody>
          <a:bodyPr/>
          <a:lstStyle/>
          <a:p>
            <a:endParaRPr lang="en-US"/>
          </a:p>
        </p:txBody>
      </p:sp>
    </p:spTree>
    <p:extLst>
      <p:ext uri="{BB962C8B-B14F-4D97-AF65-F5344CB8AC3E}">
        <p14:creationId xmlns:p14="http://schemas.microsoft.com/office/powerpoint/2010/main" val="158450070"/>
      </p:ext>
    </p:extLst>
  </p:cSld>
  <p:clrMapOvr>
    <a:masterClrMapping/>
  </p:clrMapOvr>
  <p:transition spd="med"/>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3_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88000" y="288036"/>
            <a:ext cx="2474591" cy="1048544"/>
          </a:xfrm>
        </p:spPr>
        <p:txBody>
          <a:bodyPr/>
          <a:lstStyle>
            <a:lvl1pPr>
              <a:lnSpc>
                <a:spcPct val="110000"/>
              </a:lnSpc>
              <a:defRPr sz="12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88000" y="1714502"/>
            <a:ext cx="2477765" cy="2000251"/>
          </a:xfrm>
        </p:spPr>
        <p:txBody>
          <a:bodyPr/>
          <a:lstStyle>
            <a:lvl1pPr>
              <a:lnSpc>
                <a:spcPct val="100000"/>
              </a:lnSpc>
              <a:spcBef>
                <a:spcPts val="0"/>
              </a:spcBef>
              <a:defRPr sz="18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3333316" y="1714502"/>
            <a:ext cx="2475384" cy="4286251"/>
          </a:xfrm>
        </p:spPr>
        <p:txBody>
          <a:bodyPr/>
          <a:lstStyle>
            <a:lvl1pPr>
              <a:lnSpc>
                <a:spcPct val="110000"/>
              </a:lnSpc>
              <a:spcBef>
                <a:spcPts val="0"/>
              </a:spcBef>
              <a:defRPr sz="1200">
                <a:solidFill>
                  <a:schemeClr val="tx1"/>
                </a:solidFill>
              </a:defRPr>
            </a:lvl1pPr>
            <a:lvl2pPr marL="109689" indent="-109689">
              <a:lnSpc>
                <a:spcPct val="110000"/>
              </a:lnSpc>
              <a:spcBef>
                <a:spcPts val="0"/>
              </a:spcBef>
              <a:defRPr sz="1200">
                <a:solidFill>
                  <a:schemeClr val="tx1"/>
                </a:solidFill>
              </a:defRPr>
            </a:lvl2pPr>
            <a:lvl3pPr marL="219376" indent="-109689">
              <a:lnSpc>
                <a:spcPct val="110000"/>
              </a:lnSpc>
              <a:spcBef>
                <a:spcPts val="0"/>
              </a:spcBef>
              <a:defRPr sz="1200">
                <a:solidFill>
                  <a:schemeClr val="tx1"/>
                </a:solidFill>
              </a:defRPr>
            </a:lvl3pPr>
            <a:lvl4pPr marL="329065" indent="-109689">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6383186" y="1714502"/>
            <a:ext cx="2470739" cy="4286251"/>
          </a:xfrm>
        </p:spPr>
        <p:txBody>
          <a:bodyPr/>
          <a:lstStyle>
            <a:lvl1pPr>
              <a:lnSpc>
                <a:spcPct val="110000"/>
              </a:lnSpc>
              <a:spcBef>
                <a:spcPts val="0"/>
              </a:spcBef>
              <a:defRPr sz="1200">
                <a:solidFill>
                  <a:schemeClr val="tx1"/>
                </a:solidFill>
              </a:defRPr>
            </a:lvl1pPr>
            <a:lvl2pPr marL="109689" indent="-109689">
              <a:lnSpc>
                <a:spcPct val="110000"/>
              </a:lnSpc>
              <a:spcBef>
                <a:spcPts val="0"/>
              </a:spcBef>
              <a:defRPr sz="1200">
                <a:solidFill>
                  <a:schemeClr val="tx1"/>
                </a:solidFill>
              </a:defRPr>
            </a:lvl2pPr>
            <a:lvl3pPr marL="219376" indent="-109689">
              <a:lnSpc>
                <a:spcPct val="110000"/>
              </a:lnSpc>
              <a:spcBef>
                <a:spcPts val="0"/>
              </a:spcBef>
              <a:defRPr sz="1200">
                <a:solidFill>
                  <a:schemeClr val="tx1"/>
                </a:solidFill>
              </a:defRPr>
            </a:lvl3pPr>
            <a:lvl4pPr marL="329065" indent="-109689">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9428523" y="1714502"/>
            <a:ext cx="2476179" cy="4286251"/>
          </a:xfrm>
        </p:spPr>
        <p:txBody>
          <a:bodyPr/>
          <a:lstStyle>
            <a:lvl1pPr>
              <a:lnSpc>
                <a:spcPct val="110000"/>
              </a:lnSpc>
              <a:spcBef>
                <a:spcPts val="0"/>
              </a:spcBef>
              <a:defRPr sz="1200">
                <a:solidFill>
                  <a:schemeClr val="tx1"/>
                </a:solidFill>
              </a:defRPr>
            </a:lvl1pPr>
            <a:lvl2pPr marL="109689" indent="-109689">
              <a:lnSpc>
                <a:spcPct val="110000"/>
              </a:lnSpc>
              <a:spcBef>
                <a:spcPts val="0"/>
              </a:spcBef>
              <a:defRPr sz="1200">
                <a:solidFill>
                  <a:schemeClr val="tx1"/>
                </a:solidFill>
              </a:defRPr>
            </a:lvl2pPr>
            <a:lvl3pPr marL="219376" indent="-109689">
              <a:lnSpc>
                <a:spcPct val="110000"/>
              </a:lnSpc>
              <a:spcBef>
                <a:spcPts val="0"/>
              </a:spcBef>
              <a:defRPr sz="1200">
                <a:solidFill>
                  <a:schemeClr val="tx1"/>
                </a:solidFill>
              </a:defRPr>
            </a:lvl3pPr>
            <a:lvl4pPr marL="329065" indent="-109689">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3333316" y="288040"/>
            <a:ext cx="607997" cy="608076"/>
          </a:xfrm>
        </p:spPr>
        <p:txBody>
          <a:bodyPr anchor="ctr"/>
          <a:lstStyle>
            <a:lvl1pPr algn="ctr">
              <a:defRPr sz="800">
                <a:solidFill>
                  <a:schemeClr val="tx1"/>
                </a:solidFill>
              </a:defRPr>
            </a:lvl1pPr>
          </a:lstStyle>
          <a:p>
            <a:r>
              <a:rPr lang="en-US"/>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6387344" y="288040"/>
            <a:ext cx="607997" cy="608076"/>
          </a:xfrm>
        </p:spPr>
        <p:txBody>
          <a:bodyPr anchor="ctr"/>
          <a:lstStyle>
            <a:lvl1pPr algn="ctr">
              <a:defRPr sz="800">
                <a:solidFill>
                  <a:schemeClr val="tx1"/>
                </a:solidFill>
              </a:defRPr>
            </a:lvl1pPr>
          </a:lstStyle>
          <a:p>
            <a:r>
              <a:rPr lang="en-US"/>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9428524" y="288040"/>
            <a:ext cx="607997" cy="608076"/>
          </a:xfrm>
        </p:spPr>
        <p:txBody>
          <a:bodyPr anchor="ctr"/>
          <a:lstStyle>
            <a:lvl1pPr algn="ctr">
              <a:defRPr sz="800">
                <a:solidFill>
                  <a:schemeClr val="tx1"/>
                </a:solidFill>
              </a:defRPr>
            </a:lvl1pPr>
          </a:lstStyle>
          <a:p>
            <a:r>
              <a:rPr lang="en-US"/>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3047603" y="284958"/>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6093683" y="283466"/>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9142811" y="284958"/>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11767913" y="6469424"/>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881791801"/>
      </p:ext>
    </p:extLst>
  </p:cSld>
  <p:clrMapOvr>
    <a:masterClrMapping/>
  </p:clrMapOvr>
  <p:transition spd="med"/>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3_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8000" y="192026"/>
            <a:ext cx="2474591" cy="570707"/>
          </a:xfrm>
        </p:spPr>
        <p:txBody>
          <a:bodyPr/>
          <a:lstStyle>
            <a:lvl1pPr>
              <a:lnSpc>
                <a:spcPct val="100000"/>
              </a:lnSpc>
              <a:defRPr sz="3198">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2"/>
            <a:ext cx="2475384" cy="4286251"/>
          </a:xfrm>
        </p:spPr>
        <p:txBody>
          <a:bodyPr/>
          <a:lstStyle>
            <a:lvl1pPr>
              <a:spcBef>
                <a:spcPts val="0"/>
              </a:spcBef>
              <a:defRPr sz="1400" b="0" i="0">
                <a:solidFill>
                  <a:schemeClr val="tx1"/>
                </a:solidFill>
                <a:latin typeface="IBM Plex Sans Light" panose="020B0403050203000203" pitchFamily="34" charset="0"/>
              </a:defRPr>
            </a:lvl1pPr>
            <a:lvl2pPr marL="127969" indent="-127969">
              <a:spcBef>
                <a:spcPts val="0"/>
              </a:spcBef>
              <a:defRPr sz="1400" b="0" i="0">
                <a:solidFill>
                  <a:schemeClr val="tx1"/>
                </a:solidFill>
                <a:latin typeface="IBM Plex Sans Light" panose="020B0403050203000203" pitchFamily="34" charset="0"/>
              </a:defRPr>
            </a:lvl2pPr>
            <a:lvl3pPr marL="255939" indent="-127969">
              <a:spcBef>
                <a:spcPts val="0"/>
              </a:spcBef>
              <a:defRPr sz="1400" b="0" i="0">
                <a:solidFill>
                  <a:schemeClr val="tx1"/>
                </a:solidFill>
                <a:latin typeface="IBM Plex Sans Light" panose="020B0403050203000203" pitchFamily="34" charset="0"/>
              </a:defRPr>
            </a:lvl3pPr>
            <a:lvl4pPr marL="383909" indent="-127969">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23" y="1714502"/>
            <a:ext cx="5047593" cy="4286251"/>
          </a:xfrm>
        </p:spPr>
        <p:txBody>
          <a:bodyPr/>
          <a:lstStyle>
            <a:lvl1pPr>
              <a:spcBef>
                <a:spcPts val="0"/>
              </a:spcBef>
              <a:defRPr sz="1400" b="0" i="0">
                <a:solidFill>
                  <a:schemeClr val="tx1"/>
                </a:solidFill>
                <a:latin typeface="IBM Plex Sans Light" panose="020B0403050203000203" pitchFamily="34" charset="0"/>
              </a:defRPr>
            </a:lvl1pPr>
            <a:lvl2pPr marL="127969" indent="-127969">
              <a:spcBef>
                <a:spcPts val="0"/>
              </a:spcBef>
              <a:defRPr sz="1400" b="0" i="0">
                <a:solidFill>
                  <a:schemeClr val="tx1"/>
                </a:solidFill>
                <a:latin typeface="IBM Plex Sans Light" panose="020B0403050203000203" pitchFamily="34" charset="0"/>
              </a:defRPr>
            </a:lvl2pPr>
            <a:lvl3pPr marL="255939" indent="-127969">
              <a:spcBef>
                <a:spcPts val="0"/>
              </a:spcBef>
              <a:defRPr sz="1400" b="0" i="0">
                <a:solidFill>
                  <a:schemeClr val="tx1"/>
                </a:solidFill>
                <a:latin typeface="IBM Plex Sans Light" panose="020B0403050203000203" pitchFamily="34" charset="0"/>
              </a:defRPr>
            </a:lvl3pPr>
            <a:lvl4pPr marL="383909" indent="-127969">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2556" y="192026"/>
            <a:ext cx="2477765" cy="570707"/>
          </a:xfrm>
        </p:spPr>
        <p:txBody>
          <a:bodyPr/>
          <a:lstStyle>
            <a:lvl1pPr>
              <a:lnSpc>
                <a:spcPct val="100000"/>
              </a:lnSpc>
              <a:spcBef>
                <a:spcPts val="0"/>
              </a:spcBef>
              <a:defRPr sz="3198">
                <a:solidFill>
                  <a:schemeClr val="tx2"/>
                </a:solidFill>
              </a:defRPr>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11767913" y="6469424"/>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396416678"/>
      </p:ext>
    </p:extLst>
  </p:cSld>
  <p:clrMapOvr>
    <a:masterClrMapping/>
  </p:clrMapOvr>
  <p:transition spd="med"/>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12192000" cy="6858000"/>
          </a:xfrm>
          <a:solidFill>
            <a:srgbClr val="E0E0E0"/>
          </a:solidFill>
        </p:spPr>
        <p:txBody>
          <a:bodyPr anchor="ctr"/>
          <a:lstStyle>
            <a:lvl1pPr algn="ctr">
              <a:defRPr>
                <a:solidFill>
                  <a:schemeClr val="accent5"/>
                </a:solidFill>
              </a:defRPr>
            </a:lvl1pPr>
          </a:lstStyle>
          <a:p>
            <a:r>
              <a:rPr lang="en-US"/>
              <a:t>Place imagery here</a:t>
            </a:r>
          </a:p>
        </p:txBody>
      </p:sp>
      <p:sp>
        <p:nvSpPr>
          <p:cNvPr id="2" name="Slide Number">
            <a:extLst>
              <a:ext uri="{FF2B5EF4-FFF2-40B4-BE49-F238E27FC236}">
                <a16:creationId xmlns:a16="http://schemas.microsoft.com/office/drawing/2014/main" id="{8A69D316-0792-83BD-3912-71CDE3BB681F}"/>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865613517"/>
      </p:ext>
    </p:extLst>
  </p:cSld>
  <p:clrMapOvr>
    <a:masterClrMapping/>
  </p:clrMapOvr>
  <p:transition spd="med"/>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2_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1"/>
            <a:ext cx="12192000" cy="6000751"/>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8000" y="192025"/>
            <a:ext cx="5524575" cy="3144044"/>
          </a:xfrm>
        </p:spPr>
        <p:txBody>
          <a:bodyPr/>
          <a:lstStyle>
            <a:lvl1pPr>
              <a:lnSpc>
                <a:spcPct val="100000"/>
              </a:lnSpc>
              <a:defRPr sz="4299">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88000" y="6044185"/>
            <a:ext cx="2468623" cy="571500"/>
          </a:xfrm>
        </p:spPr>
        <p:txBody>
          <a:bodyPr anchor="b"/>
          <a:lstStyle>
            <a:lvl1pPr>
              <a:lnSpc>
                <a:spcPct val="110000"/>
              </a:lnSpc>
              <a:spcBef>
                <a:spcPts val="0"/>
              </a:spcBef>
              <a:defRPr sz="1400">
                <a:solidFill>
                  <a:schemeClr val="tx1"/>
                </a:solidFill>
              </a:defRPr>
            </a:lvl1pPr>
            <a:lvl2pPr marL="127993" indent="-127993">
              <a:lnSpc>
                <a:spcPct val="110000"/>
              </a:lnSpc>
              <a:spcBef>
                <a:spcPts val="0"/>
              </a:spcBef>
              <a:defRPr sz="1400">
                <a:solidFill>
                  <a:schemeClr val="tx1"/>
                </a:solidFill>
              </a:defRPr>
            </a:lvl2pPr>
            <a:lvl3pPr marL="255987" indent="-127993">
              <a:lnSpc>
                <a:spcPct val="110000"/>
              </a:lnSpc>
              <a:spcBef>
                <a:spcPts val="0"/>
              </a:spcBef>
              <a:defRPr sz="1400">
                <a:solidFill>
                  <a:schemeClr val="tx1"/>
                </a:solidFill>
              </a:defRPr>
            </a:lvl3pPr>
            <a:lvl4pPr marL="383981" indent="-12799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3335316" y="6042372"/>
            <a:ext cx="2468623" cy="571500"/>
          </a:xfrm>
        </p:spPr>
        <p:txBody>
          <a:bodyPr anchor="b"/>
          <a:lstStyle>
            <a:lvl1pPr>
              <a:lnSpc>
                <a:spcPct val="110000"/>
              </a:lnSpc>
              <a:spcBef>
                <a:spcPts val="0"/>
              </a:spcBef>
              <a:defRPr sz="1400">
                <a:solidFill>
                  <a:schemeClr val="tx1"/>
                </a:solidFill>
              </a:defRPr>
            </a:lvl1pPr>
            <a:lvl2pPr marL="127993" indent="-127993">
              <a:lnSpc>
                <a:spcPct val="110000"/>
              </a:lnSpc>
              <a:spcBef>
                <a:spcPts val="0"/>
              </a:spcBef>
              <a:defRPr sz="1400">
                <a:solidFill>
                  <a:schemeClr val="tx1"/>
                </a:solidFill>
              </a:defRPr>
            </a:lvl2pPr>
            <a:lvl3pPr marL="255987" indent="-127993">
              <a:lnSpc>
                <a:spcPct val="110000"/>
              </a:lnSpc>
              <a:spcBef>
                <a:spcPts val="0"/>
              </a:spcBef>
              <a:defRPr sz="1400">
                <a:solidFill>
                  <a:schemeClr val="tx1"/>
                </a:solidFill>
              </a:defRPr>
            </a:lvl3pPr>
            <a:lvl4pPr marL="383981" indent="-12799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11138527" y="6263482"/>
            <a:ext cx="819044" cy="304800"/>
          </a:xfrm>
          <a:prstGeom prst="rect">
            <a:avLst/>
          </a:prstGeom>
        </p:spPr>
      </p:pic>
    </p:spTree>
    <p:extLst>
      <p:ext uri="{BB962C8B-B14F-4D97-AF65-F5344CB8AC3E}">
        <p14:creationId xmlns:p14="http://schemas.microsoft.com/office/powerpoint/2010/main" val="630493615"/>
      </p:ext>
    </p:extLst>
  </p:cSld>
  <p:clrMapOvr>
    <a:masterClrMapping/>
  </p:clrMapOvr>
  <p:transition spd="med"/>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2_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1"/>
            <a:ext cx="12192000" cy="6000751"/>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02" tIns="45702" rIns="45702" bIns="45702" numCol="1" rtlCol="0" anchor="t" anchorCtr="0" compatLnSpc="1">
            <a:prstTxWarp prst="textNoShape">
              <a:avLst/>
            </a:prstTxWarp>
          </a:bodyPr>
          <a:lstStyle/>
          <a:p>
            <a:pPr marL="0" marR="0" indent="0" algn="l" defTabSz="457120" rtl="0" eaLnBrk="1" fontAlgn="base" latinLnBrk="0" hangingPunct="1">
              <a:lnSpc>
                <a:spcPct val="100000"/>
              </a:lnSpc>
              <a:spcBef>
                <a:spcPct val="0"/>
              </a:spcBef>
              <a:spcAft>
                <a:spcPct val="0"/>
              </a:spcAft>
              <a:buClrTx/>
              <a:buSzTx/>
              <a:buFont typeface="IBM Plex Sans Light"/>
              <a:buNone/>
              <a:tabLst/>
            </a:pPr>
            <a:endParaRPr kumimoji="0" lang="en-US" sz="700" b="0" i="0" u="none" strike="noStrike" cap="none" normalizeH="0" baseline="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8000" y="192026"/>
            <a:ext cx="5524575" cy="2286794"/>
          </a:xfrm>
        </p:spPr>
        <p:txBody>
          <a:bodyPr/>
          <a:lstStyle>
            <a:lvl1pPr>
              <a:lnSpc>
                <a:spcPct val="100000"/>
              </a:lnSpc>
              <a:defRPr sz="4299">
                <a:solidFill>
                  <a:schemeClr val="tx2"/>
                </a:solidFill>
              </a:defRPr>
            </a:lvl1pPr>
          </a:lstStyle>
          <a:p>
            <a:r>
              <a:rPr lang="en-US"/>
              <a:t>Click to edit Master title style</a:t>
            </a:r>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288000" y="6044185"/>
            <a:ext cx="2468623" cy="571500"/>
          </a:xfrm>
        </p:spPr>
        <p:txBody>
          <a:bodyPr anchor="b"/>
          <a:lstStyle>
            <a:lvl1pPr>
              <a:lnSpc>
                <a:spcPct val="110000"/>
              </a:lnSpc>
              <a:spcBef>
                <a:spcPts val="0"/>
              </a:spcBef>
              <a:defRPr sz="1400">
                <a:solidFill>
                  <a:schemeClr val="tx1"/>
                </a:solidFill>
              </a:defRPr>
            </a:lvl1pPr>
            <a:lvl2pPr marL="127993" indent="-127993">
              <a:lnSpc>
                <a:spcPct val="110000"/>
              </a:lnSpc>
              <a:spcBef>
                <a:spcPts val="0"/>
              </a:spcBef>
              <a:defRPr sz="1400">
                <a:solidFill>
                  <a:schemeClr val="tx1"/>
                </a:solidFill>
              </a:defRPr>
            </a:lvl2pPr>
            <a:lvl3pPr marL="255987" indent="-127993">
              <a:lnSpc>
                <a:spcPct val="110000"/>
              </a:lnSpc>
              <a:spcBef>
                <a:spcPts val="0"/>
              </a:spcBef>
              <a:defRPr sz="1400">
                <a:solidFill>
                  <a:schemeClr val="tx1"/>
                </a:solidFill>
              </a:defRPr>
            </a:lvl3pPr>
            <a:lvl4pPr marL="383981" indent="-12799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3335316" y="6042372"/>
            <a:ext cx="2468623" cy="571500"/>
          </a:xfrm>
        </p:spPr>
        <p:txBody>
          <a:bodyPr anchor="b"/>
          <a:lstStyle>
            <a:lvl1pPr>
              <a:lnSpc>
                <a:spcPct val="110000"/>
              </a:lnSpc>
              <a:spcBef>
                <a:spcPts val="0"/>
              </a:spcBef>
              <a:defRPr sz="1400">
                <a:solidFill>
                  <a:schemeClr val="tx1"/>
                </a:solidFill>
              </a:defRPr>
            </a:lvl1pPr>
            <a:lvl2pPr marL="127993" indent="-127993">
              <a:lnSpc>
                <a:spcPct val="110000"/>
              </a:lnSpc>
              <a:spcBef>
                <a:spcPts val="0"/>
              </a:spcBef>
              <a:defRPr sz="1400">
                <a:solidFill>
                  <a:schemeClr val="tx1"/>
                </a:solidFill>
              </a:defRPr>
            </a:lvl2pPr>
            <a:lvl3pPr marL="255987" indent="-127993">
              <a:lnSpc>
                <a:spcPct val="110000"/>
              </a:lnSpc>
              <a:spcBef>
                <a:spcPts val="0"/>
              </a:spcBef>
              <a:defRPr sz="1400">
                <a:solidFill>
                  <a:schemeClr val="tx1"/>
                </a:solidFill>
              </a:defRPr>
            </a:lvl3pPr>
            <a:lvl4pPr marL="383981" indent="-12799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11138527" y="6263482"/>
            <a:ext cx="819044" cy="304800"/>
          </a:xfrm>
          <a:prstGeom prst="rect">
            <a:avLst/>
          </a:prstGeom>
        </p:spPr>
      </p:pic>
    </p:spTree>
    <p:extLst>
      <p:ext uri="{BB962C8B-B14F-4D97-AF65-F5344CB8AC3E}">
        <p14:creationId xmlns:p14="http://schemas.microsoft.com/office/powerpoint/2010/main" val="2952805061"/>
      </p:ext>
    </p:extLst>
  </p:cSld>
  <p:clrMapOvr>
    <a:masterClrMapping/>
  </p:clrMapOvr>
  <p:transition spd="med"/>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2_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6"/>
            <a:ext cx="2477765" cy="2286794"/>
          </a:xfrm>
        </p:spPr>
        <p:txBody>
          <a:bodyPr/>
          <a:lstStyle>
            <a:lvl1pPr>
              <a:lnSpc>
                <a:spcPct val="100000"/>
              </a:lnSpc>
              <a:defRPr sz="3199">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6380919" y="284959"/>
            <a:ext cx="2476178" cy="5715794"/>
          </a:xfrm>
        </p:spPr>
        <p:txBody>
          <a:bodyPr/>
          <a:lstStyle>
            <a:lvl1pPr defTabSz="580543">
              <a:spcBef>
                <a:spcPts val="0"/>
              </a:spcBef>
              <a:defRPr>
                <a:solidFill>
                  <a:schemeClr val="tx1"/>
                </a:solidFill>
              </a:defRPr>
            </a:lvl1pPr>
            <a:lvl2pPr defTabSz="580543">
              <a:spcBef>
                <a:spcPts val="0"/>
              </a:spcBef>
              <a:defRPr>
                <a:solidFill>
                  <a:schemeClr val="tx1"/>
                </a:solidFill>
              </a:defRPr>
            </a:lvl2pPr>
            <a:lvl3pPr defTabSz="580543">
              <a:spcBef>
                <a:spcPts val="0"/>
              </a:spcBef>
              <a:defRPr>
                <a:solidFill>
                  <a:schemeClr val="tx1"/>
                </a:solidFill>
              </a:defRPr>
            </a:lvl3pPr>
            <a:lvl4pPr defTabSz="580543">
              <a:spcBef>
                <a:spcPts val="0"/>
              </a:spcBef>
              <a:defRPr>
                <a:solidFill>
                  <a:schemeClr val="tx1"/>
                </a:solidFill>
              </a:defRPr>
            </a:lvl4pPr>
            <a:lvl5pPr defTabSz="58054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9430111" y="284959"/>
            <a:ext cx="2474591" cy="5715794"/>
          </a:xfrm>
        </p:spPr>
        <p:txBody>
          <a:bodyPr/>
          <a:lstStyle>
            <a:lvl1pPr defTabSz="580543">
              <a:spcBef>
                <a:spcPts val="0"/>
              </a:spcBef>
              <a:defRPr>
                <a:solidFill>
                  <a:schemeClr val="tx1"/>
                </a:solidFill>
              </a:defRPr>
            </a:lvl1pPr>
            <a:lvl2pPr defTabSz="580543">
              <a:spcBef>
                <a:spcPts val="0"/>
              </a:spcBef>
              <a:defRPr>
                <a:solidFill>
                  <a:schemeClr val="tx1"/>
                </a:solidFill>
              </a:defRPr>
            </a:lvl2pPr>
            <a:lvl3pPr defTabSz="580543">
              <a:spcBef>
                <a:spcPts val="0"/>
              </a:spcBef>
              <a:defRPr>
                <a:solidFill>
                  <a:schemeClr val="tx1"/>
                </a:solidFill>
              </a:defRPr>
            </a:lvl3pPr>
            <a:lvl4pPr defTabSz="580543">
              <a:spcBef>
                <a:spcPts val="0"/>
              </a:spcBef>
              <a:defRPr>
                <a:solidFill>
                  <a:schemeClr val="tx1"/>
                </a:solidFill>
              </a:defRPr>
            </a:lvl4pPr>
            <a:lvl5pPr defTabSz="58054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11767911" y="6469421"/>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84126" y="6402120"/>
            <a:ext cx="2477765" cy="190500"/>
          </a:xfrm>
        </p:spPr>
        <p:txBody>
          <a:bodyPr/>
          <a:lstStyle/>
          <a:p>
            <a:endParaRPr lang="en-US"/>
          </a:p>
        </p:txBody>
      </p:sp>
    </p:spTree>
    <p:extLst>
      <p:ext uri="{BB962C8B-B14F-4D97-AF65-F5344CB8AC3E}">
        <p14:creationId xmlns:p14="http://schemas.microsoft.com/office/powerpoint/2010/main" val="320716151"/>
      </p:ext>
    </p:extLst>
  </p:cSld>
  <p:clrMapOvr>
    <a:masterClrMapping/>
  </p:clrMapOvr>
  <p:transition spd="med"/>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2_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8001" y="192024"/>
            <a:ext cx="4953942" cy="1429544"/>
          </a:xfrm>
        </p:spPr>
        <p:txBody>
          <a:bodyPr/>
          <a:lstStyle>
            <a:lvl1pPr>
              <a:lnSpc>
                <a:spcPct val="100000"/>
              </a:lnSpc>
              <a:defRPr sz="3199">
                <a:solidFill>
                  <a:schemeClr val="tx2"/>
                </a:solidFill>
              </a:defRPr>
            </a:lvl1pPr>
          </a:lstStyle>
          <a:p>
            <a:r>
              <a:rPr lang="en-US"/>
              <a:t>Click to edit Master title style</a:t>
            </a:r>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6382796" y="224029"/>
            <a:ext cx="5520317" cy="4287044"/>
          </a:xfrm>
        </p:spPr>
        <p:txBody>
          <a:bodyPr/>
          <a:lstStyle>
            <a:lvl1pPr>
              <a:lnSpc>
                <a:spcPct val="100000"/>
              </a:lnSpc>
              <a:spcBef>
                <a:spcPts val="0"/>
              </a:spcBef>
              <a:defRPr sz="3199">
                <a:solidFill>
                  <a:schemeClr val="tx2"/>
                </a:solidFill>
              </a:defRPr>
            </a:lvl1pPr>
            <a:lvl2pPr marL="292557" indent="-292557">
              <a:lnSpc>
                <a:spcPct val="100000"/>
              </a:lnSpc>
              <a:spcBef>
                <a:spcPts val="0"/>
              </a:spcBef>
              <a:defRPr sz="3199">
                <a:solidFill>
                  <a:schemeClr val="tx2"/>
                </a:solidFill>
              </a:defRPr>
            </a:lvl2pPr>
            <a:lvl3pPr marL="548544" indent="-292557">
              <a:lnSpc>
                <a:spcPct val="100000"/>
              </a:lnSpc>
              <a:spcBef>
                <a:spcPts val="0"/>
              </a:spcBef>
              <a:defRPr sz="3199">
                <a:solidFill>
                  <a:schemeClr val="tx2"/>
                </a:solidFill>
              </a:defRPr>
            </a:lvl3pPr>
            <a:lvl4pPr marL="877670">
              <a:lnSpc>
                <a:spcPct val="100000"/>
              </a:lnSpc>
              <a:spcBef>
                <a:spcPts val="0"/>
              </a:spcBef>
              <a:defRPr sz="3199">
                <a:solidFill>
                  <a:schemeClr val="tx2"/>
                </a:solidFill>
              </a:defRPr>
            </a:lvl4pPr>
            <a:lvl5pPr>
              <a:lnSpc>
                <a:spcPct val="100000"/>
              </a:lnSpc>
              <a:spcBef>
                <a:spcPts val="0"/>
              </a:spcBef>
              <a:defRPr sz="3199"/>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11767911" y="6469421"/>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84126" y="6402120"/>
            <a:ext cx="2477765" cy="190500"/>
          </a:xfrm>
        </p:spPr>
        <p:txBody>
          <a:bodyPr/>
          <a:lstStyle/>
          <a:p>
            <a:endParaRPr lang="en-US"/>
          </a:p>
        </p:txBody>
      </p:sp>
    </p:spTree>
    <p:extLst>
      <p:ext uri="{BB962C8B-B14F-4D97-AF65-F5344CB8AC3E}">
        <p14:creationId xmlns:p14="http://schemas.microsoft.com/office/powerpoint/2010/main" val="578327060"/>
      </p:ext>
    </p:extLst>
  </p:cSld>
  <p:clrMapOvr>
    <a:masterClrMapping/>
  </p:clrMapOvr>
  <p:transition spd="med"/>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2_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88000" y="4649724"/>
            <a:ext cx="5524575" cy="1771651"/>
          </a:xfrm>
        </p:spPr>
        <p:txBody>
          <a:bodyPr anchor="b"/>
          <a:lstStyle>
            <a:lvl1pPr>
              <a:lnSpc>
                <a:spcPct val="90000"/>
              </a:lnSpc>
              <a:spcBef>
                <a:spcPts val="0"/>
              </a:spcBef>
              <a:defRPr sz="12897" b="0" i="0">
                <a:solidFill>
                  <a:schemeClr val="accent1"/>
                </a:solidFill>
                <a:latin typeface="IBM Plex Sans ExtLt" panose="020B0303050203000203" pitchFamily="34" charset="0"/>
              </a:defRPr>
            </a:lvl1pPr>
          </a:lstStyle>
          <a:p>
            <a:r>
              <a:rPr lang="en-US"/>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6380919" y="4648200"/>
            <a:ext cx="5523781" cy="1771651"/>
          </a:xfrm>
        </p:spPr>
        <p:txBody>
          <a:bodyPr anchor="b"/>
          <a:lstStyle>
            <a:lvl1pPr>
              <a:lnSpc>
                <a:spcPct val="90000"/>
              </a:lnSpc>
              <a:spcBef>
                <a:spcPts val="0"/>
              </a:spcBef>
              <a:defRPr sz="12897" b="0" i="0">
                <a:solidFill>
                  <a:schemeClr val="accent1"/>
                </a:solidFill>
                <a:latin typeface="IBM Plex Sans ExtLt" panose="020B0303050203000203" pitchFamily="34" charset="0"/>
              </a:defRPr>
            </a:lvl1pPr>
          </a:lstStyle>
          <a:p>
            <a:r>
              <a:rPr lang="en-US"/>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6380919" y="288037"/>
            <a:ext cx="3809504" cy="3144044"/>
          </a:xfrm>
        </p:spPr>
        <p:txBody>
          <a:bodyPr/>
          <a:lstStyle>
            <a:lvl1pPr>
              <a:lnSpc>
                <a:spcPct val="100000"/>
              </a:lnSpc>
              <a:spcBef>
                <a:spcPts val="0"/>
              </a:spcBef>
              <a:defRPr sz="2200">
                <a:solidFill>
                  <a:schemeClr val="tx1"/>
                </a:solidFill>
              </a:defRPr>
            </a:lvl1pPr>
            <a:lvl2pPr marL="201133" indent="-201133">
              <a:lnSpc>
                <a:spcPct val="100000"/>
              </a:lnSpc>
              <a:spcBef>
                <a:spcPts val="0"/>
              </a:spcBef>
              <a:defRPr sz="2200">
                <a:solidFill>
                  <a:schemeClr val="tx1"/>
                </a:solidFill>
              </a:defRPr>
            </a:lvl2pPr>
            <a:lvl3pPr marL="402266" indent="-201133">
              <a:lnSpc>
                <a:spcPct val="100000"/>
              </a:lnSpc>
              <a:spcBef>
                <a:spcPts val="0"/>
              </a:spcBef>
              <a:defRPr sz="2200">
                <a:solidFill>
                  <a:schemeClr val="tx1"/>
                </a:solidFill>
              </a:defRPr>
            </a:lvl3pPr>
            <a:lvl4pPr marL="557686" indent="-201133">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87998" y="288037"/>
            <a:ext cx="3811091" cy="3144044"/>
          </a:xfrm>
        </p:spPr>
        <p:txBody>
          <a:bodyPr/>
          <a:lstStyle>
            <a:lvl1pPr>
              <a:lnSpc>
                <a:spcPct val="100000"/>
              </a:lnSpc>
              <a:spcBef>
                <a:spcPts val="0"/>
              </a:spcBef>
              <a:defRPr sz="2200">
                <a:solidFill>
                  <a:schemeClr val="tx1"/>
                </a:solidFill>
              </a:defRPr>
            </a:lvl1pPr>
            <a:lvl2pPr marL="201133" indent="-201133">
              <a:lnSpc>
                <a:spcPct val="100000"/>
              </a:lnSpc>
              <a:spcBef>
                <a:spcPts val="0"/>
              </a:spcBef>
              <a:defRPr sz="2200">
                <a:solidFill>
                  <a:schemeClr val="tx1"/>
                </a:solidFill>
              </a:defRPr>
            </a:lvl2pPr>
            <a:lvl3pPr marL="402266" indent="-201133">
              <a:lnSpc>
                <a:spcPct val="100000"/>
              </a:lnSpc>
              <a:spcBef>
                <a:spcPts val="0"/>
              </a:spcBef>
              <a:defRPr sz="2200">
                <a:solidFill>
                  <a:schemeClr val="tx1"/>
                </a:solidFill>
              </a:defRPr>
            </a:lvl3pPr>
            <a:lvl4pPr marL="557686" indent="-201133">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6096000" y="284959"/>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11767911" y="6469421"/>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84126" y="6402120"/>
            <a:ext cx="2477765" cy="190500"/>
          </a:xfrm>
        </p:spPr>
        <p:txBody>
          <a:bodyPr/>
          <a:lstStyle/>
          <a:p>
            <a:endParaRPr lang="en-US"/>
          </a:p>
        </p:txBody>
      </p:sp>
    </p:spTree>
    <p:extLst>
      <p:ext uri="{BB962C8B-B14F-4D97-AF65-F5344CB8AC3E}">
        <p14:creationId xmlns:p14="http://schemas.microsoft.com/office/powerpoint/2010/main" val="1341101979"/>
      </p:ext>
    </p:extLst>
  </p:cSld>
  <p:clrMapOvr>
    <a:masterClrMapping/>
  </p:clrMapOvr>
  <p:transition spd="med"/>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2_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383302" y="213241"/>
            <a:ext cx="2474591" cy="953295"/>
          </a:xfrm>
        </p:spPr>
        <p:txBody>
          <a:bodyPr/>
          <a:lstStyle>
            <a:lvl1pPr>
              <a:lnSpc>
                <a:spcPct val="90000"/>
              </a:lnSpc>
              <a:defRPr sz="6499">
                <a:solidFill>
                  <a:schemeClr val="accent1"/>
                </a:solidFill>
              </a:defRPr>
            </a:lvl1pPr>
          </a:lstStyle>
          <a:p>
            <a:pPr lvl="0"/>
            <a:r>
              <a:rPr lang="en-US"/>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9428525" y="214827"/>
            <a:ext cx="2474591" cy="951707"/>
          </a:xfrm>
        </p:spPr>
        <p:txBody>
          <a:bodyPr/>
          <a:lstStyle>
            <a:lvl1pPr>
              <a:lnSpc>
                <a:spcPct val="90000"/>
              </a:lnSpc>
              <a:defRPr sz="6499">
                <a:solidFill>
                  <a:schemeClr val="accent1"/>
                </a:solidFill>
              </a:defRPr>
            </a:lvl1pPr>
          </a:lstStyle>
          <a:p>
            <a:pPr lvl="0"/>
            <a:r>
              <a:rPr lang="en-US"/>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14885"/>
            <a:ext cx="2475384" cy="953956"/>
          </a:xfrm>
        </p:spPr>
        <p:txBody>
          <a:bodyPr/>
          <a:lstStyle>
            <a:lvl1pPr>
              <a:lnSpc>
                <a:spcPct val="90000"/>
              </a:lnSpc>
              <a:defRPr sz="6499">
                <a:solidFill>
                  <a:schemeClr val="accent1"/>
                </a:solidFill>
              </a:defRPr>
            </a:lvl1pPr>
            <a:lvl2pPr marL="0" indent="0">
              <a:buNone/>
              <a:defRPr/>
            </a:lvl2pPr>
          </a:lstStyle>
          <a:p>
            <a:pPr lvl="0"/>
            <a:r>
              <a:rPr lang="en-US"/>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8000" y="288036"/>
            <a:ext cx="2474591" cy="1429544"/>
          </a:xfrm>
        </p:spPr>
        <p:txBody>
          <a:bodyPr/>
          <a:lstStyle>
            <a:lvl1pPr>
              <a:lnSpc>
                <a:spcPct val="110000"/>
              </a:lnSpc>
              <a:defRPr sz="18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9"/>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marL="73139" indent="-73139">
              <a:lnSpc>
                <a:spcPct val="120000"/>
              </a:lnSpc>
              <a:spcBef>
                <a:spcPts val="0"/>
              </a:spcBef>
              <a:defRPr sz="800" b="0" i="0">
                <a:solidFill>
                  <a:schemeClr val="tx1"/>
                </a:solidFill>
                <a:latin typeface="IBM Plex Sans" panose="020B0503050203000203" pitchFamily="34" charset="0"/>
              </a:defRPr>
            </a:lvl2pPr>
            <a:lvl3pPr marL="146279" indent="-73139">
              <a:lnSpc>
                <a:spcPct val="120000"/>
              </a:lnSpc>
              <a:spcBef>
                <a:spcPts val="0"/>
              </a:spcBef>
              <a:defRPr sz="800" b="0" i="0">
                <a:solidFill>
                  <a:schemeClr val="tx1"/>
                </a:solidFill>
                <a:latin typeface="IBM Plex Sans" panose="020B0503050203000203" pitchFamily="34" charset="0"/>
              </a:defRPr>
            </a:lvl3pPr>
            <a:lvl4pPr marL="219418" indent="-73139">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3333316" y="1166535"/>
            <a:ext cx="2475384" cy="483652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1167329"/>
            <a:ext cx="2476178"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9428524" y="1166535"/>
            <a:ext cx="2476178"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11767911" y="6469421"/>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84126" y="6402120"/>
            <a:ext cx="2477765" cy="190500"/>
          </a:xfrm>
        </p:spPr>
        <p:txBody>
          <a:bodyPr/>
          <a:lstStyle/>
          <a:p>
            <a:endParaRPr lang="en-US"/>
          </a:p>
        </p:txBody>
      </p:sp>
    </p:spTree>
    <p:extLst>
      <p:ext uri="{BB962C8B-B14F-4D97-AF65-F5344CB8AC3E}">
        <p14:creationId xmlns:p14="http://schemas.microsoft.com/office/powerpoint/2010/main" val="4048673711"/>
      </p:ext>
    </p:extLst>
  </p:cSld>
  <p:clrMapOvr>
    <a:masterClrMapping/>
  </p:clrMapOvr>
  <p:transition spd="med"/>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2_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284127" y="3048000"/>
            <a:ext cx="116205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87300" y="201168"/>
            <a:ext cx="2474591" cy="2667795"/>
          </a:xfrm>
        </p:spPr>
        <p:txBody>
          <a:bodyPr/>
          <a:lstStyle>
            <a:lvl1pPr>
              <a:lnSpc>
                <a:spcPct val="100000"/>
              </a:lnSpc>
              <a:defRPr sz="4299">
                <a:solidFill>
                  <a:schemeClr val="accent1"/>
                </a:solidFill>
              </a:defRPr>
            </a:lvl1pPr>
          </a:lstStyle>
          <a:p>
            <a:r>
              <a:rPr lang="en-US"/>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3333316" y="201170"/>
            <a:ext cx="5523781" cy="2667794"/>
          </a:xfrm>
        </p:spPr>
        <p:txBody>
          <a:bodyPr/>
          <a:lstStyle>
            <a:lvl1pPr>
              <a:lnSpc>
                <a:spcPct val="100000"/>
              </a:lnSpc>
              <a:spcBef>
                <a:spcPts val="0"/>
              </a:spcBef>
              <a:defRPr sz="4299">
                <a:solidFill>
                  <a:schemeClr val="tx1"/>
                </a:solidFill>
              </a:defRPr>
            </a:lvl1pPr>
            <a:lvl2pPr marL="393123" indent="-393123">
              <a:lnSpc>
                <a:spcPct val="100000"/>
              </a:lnSpc>
              <a:spcBef>
                <a:spcPts val="0"/>
              </a:spcBef>
              <a:defRPr sz="4299">
                <a:solidFill>
                  <a:schemeClr val="tx1"/>
                </a:solidFill>
              </a:defRPr>
            </a:lvl2pPr>
            <a:lvl3pPr marL="749677" indent="-393123">
              <a:lnSpc>
                <a:spcPct val="100000"/>
              </a:lnSpc>
              <a:spcBef>
                <a:spcPts val="0"/>
              </a:spcBef>
              <a:defRPr sz="4299">
                <a:solidFill>
                  <a:schemeClr val="tx1"/>
                </a:solidFill>
              </a:defRPr>
            </a:lvl3pPr>
            <a:lvl4pPr marL="1142800" indent="-393123">
              <a:lnSpc>
                <a:spcPct val="100000"/>
              </a:lnSpc>
              <a:spcBef>
                <a:spcPts val="0"/>
              </a:spcBef>
              <a:defRPr sz="4299">
                <a:solidFill>
                  <a:schemeClr val="tx1"/>
                </a:solidFill>
              </a:defRPr>
            </a:lvl4pPr>
            <a:lvl5pPr>
              <a:lnSpc>
                <a:spcPct val="100000"/>
              </a:lnSpc>
              <a:spcBef>
                <a:spcPts val="0"/>
              </a:spcBef>
              <a:defRPr sz="4299">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87300" y="3238500"/>
            <a:ext cx="2474591" cy="2667000"/>
          </a:xfrm>
        </p:spPr>
        <p:txBody>
          <a:bodyPr/>
          <a:lstStyle>
            <a:lvl1pPr>
              <a:lnSpc>
                <a:spcPct val="100000"/>
              </a:lnSpc>
              <a:defRPr sz="4299">
                <a:solidFill>
                  <a:schemeClr val="accent1"/>
                </a:solidFill>
              </a:defRPr>
            </a:lvl1pPr>
            <a:lvl2pPr>
              <a:lnSpc>
                <a:spcPct val="100000"/>
              </a:lnSpc>
              <a:defRPr sz="4299">
                <a:solidFill>
                  <a:schemeClr val="accent1"/>
                </a:solidFill>
              </a:defRPr>
            </a:lvl2pPr>
            <a:lvl3pPr>
              <a:lnSpc>
                <a:spcPct val="100000"/>
              </a:lnSpc>
              <a:defRPr sz="4299">
                <a:solidFill>
                  <a:schemeClr val="accent1"/>
                </a:solidFill>
              </a:defRPr>
            </a:lvl3pPr>
            <a:lvl4pPr>
              <a:lnSpc>
                <a:spcPct val="100000"/>
              </a:lnSpc>
              <a:defRPr sz="4299">
                <a:solidFill>
                  <a:schemeClr val="accent1"/>
                </a:solidFill>
              </a:defRPr>
            </a:lvl4pPr>
            <a:lvl5pPr>
              <a:lnSpc>
                <a:spcPct val="100000"/>
              </a:lnSpc>
              <a:defRPr sz="4299">
                <a:solidFill>
                  <a:schemeClr val="accent1"/>
                </a:solidFill>
              </a:defRPr>
            </a:lvl5pPr>
          </a:lstStyle>
          <a:p>
            <a:pPr lvl="0"/>
            <a:r>
              <a:rPr lang="en-US"/>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3333316" y="3238500"/>
            <a:ext cx="5523781" cy="2667000"/>
          </a:xfrm>
        </p:spPr>
        <p:txBody>
          <a:bodyPr/>
          <a:lstStyle>
            <a:lvl1pPr>
              <a:lnSpc>
                <a:spcPct val="100000"/>
              </a:lnSpc>
              <a:spcBef>
                <a:spcPts val="0"/>
              </a:spcBef>
              <a:defRPr sz="4299">
                <a:solidFill>
                  <a:schemeClr val="tx1"/>
                </a:solidFill>
              </a:defRPr>
            </a:lvl1pPr>
            <a:lvl2pPr marL="393123" indent="-393123">
              <a:lnSpc>
                <a:spcPct val="100000"/>
              </a:lnSpc>
              <a:spcBef>
                <a:spcPts val="0"/>
              </a:spcBef>
              <a:defRPr sz="4299">
                <a:solidFill>
                  <a:schemeClr val="tx1"/>
                </a:solidFill>
              </a:defRPr>
            </a:lvl2pPr>
            <a:lvl3pPr marL="749677" indent="-393123">
              <a:lnSpc>
                <a:spcPct val="100000"/>
              </a:lnSpc>
              <a:spcBef>
                <a:spcPts val="0"/>
              </a:spcBef>
              <a:defRPr sz="4299">
                <a:solidFill>
                  <a:schemeClr val="tx1"/>
                </a:solidFill>
              </a:defRPr>
            </a:lvl3pPr>
            <a:lvl4pPr marL="1142800" indent="-393123">
              <a:lnSpc>
                <a:spcPct val="100000"/>
              </a:lnSpc>
              <a:spcBef>
                <a:spcPts val="0"/>
              </a:spcBef>
              <a:defRPr sz="4299">
                <a:solidFill>
                  <a:schemeClr val="tx1"/>
                </a:solidFill>
              </a:defRPr>
            </a:lvl4pPr>
            <a:lvl5pPr>
              <a:lnSpc>
                <a:spcPct val="100000"/>
              </a:lnSpc>
              <a:spcBef>
                <a:spcPts val="0"/>
              </a:spcBef>
              <a:defRPr sz="4299">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11767911" y="6469421"/>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84126" y="6402120"/>
            <a:ext cx="2477765" cy="190500"/>
          </a:xfrm>
        </p:spPr>
        <p:txBody>
          <a:bodyPr/>
          <a:lstStyle/>
          <a:p>
            <a:endParaRPr lang="en-US"/>
          </a:p>
        </p:txBody>
      </p:sp>
    </p:spTree>
    <p:extLst>
      <p:ext uri="{BB962C8B-B14F-4D97-AF65-F5344CB8AC3E}">
        <p14:creationId xmlns:p14="http://schemas.microsoft.com/office/powerpoint/2010/main" val="2185807976"/>
      </p:ext>
    </p:extLst>
  </p:cSld>
  <p:clrMapOvr>
    <a:masterClrMapping/>
  </p:clrMapOvr>
  <p:transition spd="med"/>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2_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8000" y="288036"/>
            <a:ext cx="2474591" cy="762795"/>
          </a:xfrm>
        </p:spPr>
        <p:txBody>
          <a:bodyPr/>
          <a:lstStyle>
            <a:lvl1pPr>
              <a:lnSpc>
                <a:spcPct val="110000"/>
              </a:lnSpc>
              <a:defRPr sz="14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87999" y="1714500"/>
            <a:ext cx="2477765" cy="4286251"/>
          </a:xfrm>
        </p:spPr>
        <p:txBody>
          <a:bodyPr/>
          <a:lstStyle>
            <a:lvl1pPr>
              <a:spcBef>
                <a:spcPts val="0"/>
              </a:spcBef>
              <a:defRPr sz="1000" b="0" i="0">
                <a:solidFill>
                  <a:schemeClr val="tx1"/>
                </a:solidFill>
                <a:latin typeface="IBM Plex Sans" panose="020B0503050203000203" pitchFamily="34" charset="0"/>
              </a:defRPr>
            </a:lvl1pPr>
            <a:lvl2pPr marL="91424" indent="-91424">
              <a:spcBef>
                <a:spcPts val="0"/>
              </a:spcBef>
              <a:defRPr sz="1000" b="0" i="0">
                <a:solidFill>
                  <a:schemeClr val="tx1"/>
                </a:solidFill>
                <a:latin typeface="IBM Plex Sans" panose="020B0503050203000203" pitchFamily="34" charset="0"/>
              </a:defRPr>
            </a:lvl2pPr>
            <a:lvl3pPr marL="182848" indent="-91424">
              <a:spcBef>
                <a:spcPts val="0"/>
              </a:spcBef>
              <a:defRPr sz="1000" b="0" i="0">
                <a:solidFill>
                  <a:schemeClr val="tx1"/>
                </a:solidFill>
                <a:latin typeface="IBM Plex Sans" panose="020B0503050203000203" pitchFamily="34" charset="0"/>
              </a:defRPr>
            </a:lvl3pPr>
            <a:lvl4pPr marL="274273" indent="-91424">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1"/>
          </a:xfrm>
        </p:spPr>
        <p:txBody>
          <a:bodyPr/>
          <a:lstStyle>
            <a:lvl1pPr>
              <a:spcBef>
                <a:spcPts val="0"/>
              </a:spcBef>
              <a:defRPr sz="1000" b="0" i="0">
                <a:solidFill>
                  <a:schemeClr val="tx1"/>
                </a:solidFill>
                <a:latin typeface="IBM Plex Sans" panose="020B0503050203000203" pitchFamily="34" charset="0"/>
              </a:defRPr>
            </a:lvl1pPr>
            <a:lvl2pPr marL="91424" indent="-91424">
              <a:spcBef>
                <a:spcPts val="0"/>
              </a:spcBef>
              <a:defRPr sz="1000" b="0" i="0">
                <a:solidFill>
                  <a:schemeClr val="tx1"/>
                </a:solidFill>
                <a:latin typeface="IBM Plex Sans" panose="020B0503050203000203" pitchFamily="34" charset="0"/>
              </a:defRPr>
            </a:lvl2pPr>
            <a:lvl3pPr marL="182848" indent="-91424">
              <a:spcBef>
                <a:spcPts val="0"/>
              </a:spcBef>
              <a:defRPr sz="1000" b="0" i="0">
                <a:solidFill>
                  <a:schemeClr val="tx1"/>
                </a:solidFill>
                <a:latin typeface="IBM Plex Sans" panose="020B0503050203000203" pitchFamily="34" charset="0"/>
              </a:defRPr>
            </a:lvl3pPr>
            <a:lvl4pPr marL="274273" indent="-91424">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1"/>
          </a:xfrm>
        </p:spPr>
        <p:txBody>
          <a:bodyPr/>
          <a:lstStyle>
            <a:lvl1pPr>
              <a:spcBef>
                <a:spcPts val="0"/>
              </a:spcBef>
              <a:defRPr sz="1000" b="0" i="0">
                <a:solidFill>
                  <a:schemeClr val="tx1"/>
                </a:solidFill>
                <a:latin typeface="IBM Plex Sans" panose="020B0503050203000203" pitchFamily="34" charset="0"/>
              </a:defRPr>
            </a:lvl1pPr>
            <a:lvl2pPr marL="91424" indent="-91424">
              <a:spcBef>
                <a:spcPts val="0"/>
              </a:spcBef>
              <a:defRPr sz="1000" b="0" i="0">
                <a:solidFill>
                  <a:schemeClr val="tx1"/>
                </a:solidFill>
                <a:latin typeface="IBM Plex Sans" panose="020B0503050203000203" pitchFamily="34" charset="0"/>
              </a:defRPr>
            </a:lvl2pPr>
            <a:lvl3pPr marL="182848" indent="-91424">
              <a:spcBef>
                <a:spcPts val="0"/>
              </a:spcBef>
              <a:defRPr sz="1000" b="0" i="0">
                <a:solidFill>
                  <a:schemeClr val="tx1"/>
                </a:solidFill>
                <a:latin typeface="IBM Plex Sans" panose="020B0503050203000203" pitchFamily="34" charset="0"/>
              </a:defRPr>
            </a:lvl3pPr>
            <a:lvl4pPr marL="274273" indent="-91424">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3" y="1714500"/>
            <a:ext cx="2479352" cy="4286251"/>
          </a:xfrm>
        </p:spPr>
        <p:txBody>
          <a:bodyPr/>
          <a:lstStyle>
            <a:lvl1pPr>
              <a:spcBef>
                <a:spcPts val="0"/>
              </a:spcBef>
              <a:defRPr sz="1000" b="0" i="0">
                <a:solidFill>
                  <a:schemeClr val="tx1"/>
                </a:solidFill>
                <a:latin typeface="IBM Plex Sans" panose="020B0503050203000203" pitchFamily="34" charset="0"/>
              </a:defRPr>
            </a:lvl1pPr>
            <a:lvl2pPr marL="91424" indent="-91424">
              <a:spcBef>
                <a:spcPts val="0"/>
              </a:spcBef>
              <a:defRPr sz="1000" b="0" i="0">
                <a:solidFill>
                  <a:schemeClr val="tx1"/>
                </a:solidFill>
                <a:latin typeface="IBM Plex Sans" panose="020B0503050203000203" pitchFamily="34" charset="0"/>
              </a:defRPr>
            </a:lvl2pPr>
            <a:lvl3pPr marL="182848" indent="-91424">
              <a:spcBef>
                <a:spcPts val="0"/>
              </a:spcBef>
              <a:defRPr sz="1000" b="0" i="0">
                <a:solidFill>
                  <a:schemeClr val="tx1"/>
                </a:solidFill>
                <a:latin typeface="IBM Plex Sans" panose="020B0503050203000203" pitchFamily="34" charset="0"/>
              </a:defRPr>
            </a:lvl3pPr>
            <a:lvl4pPr marL="274273" indent="-91424">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11767911" y="6469421"/>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84126" y="6402120"/>
            <a:ext cx="2477765" cy="190500"/>
          </a:xfrm>
        </p:spPr>
        <p:txBody>
          <a:bodyPr/>
          <a:lstStyle/>
          <a:p>
            <a:endParaRPr lang="en-US"/>
          </a:p>
        </p:txBody>
      </p:sp>
    </p:spTree>
    <p:extLst>
      <p:ext uri="{BB962C8B-B14F-4D97-AF65-F5344CB8AC3E}">
        <p14:creationId xmlns:p14="http://schemas.microsoft.com/office/powerpoint/2010/main" val="2786820901"/>
      </p:ext>
    </p:extLst>
  </p:cSld>
  <p:clrMapOvr>
    <a:masterClrMapping/>
  </p:clrMapOvr>
  <p:transition spd="med"/>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2_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8000" y="288036"/>
            <a:ext cx="2474591" cy="762795"/>
          </a:xfrm>
        </p:spPr>
        <p:txBody>
          <a:bodyPr/>
          <a:lstStyle>
            <a:lvl1pPr>
              <a:lnSpc>
                <a:spcPct val="110000"/>
              </a:lnSpc>
              <a:defRPr sz="1400">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4" indent="-91424">
              <a:lnSpc>
                <a:spcPct val="110000"/>
              </a:lnSpc>
              <a:spcBef>
                <a:spcPts val="0"/>
              </a:spcBef>
              <a:defRPr sz="1000" b="0" i="0">
                <a:solidFill>
                  <a:schemeClr val="tx1"/>
                </a:solidFill>
                <a:latin typeface="IBM Plex Sans" panose="020B0503050203000203" pitchFamily="34" charset="0"/>
              </a:defRPr>
            </a:lvl2pPr>
            <a:lvl3pPr marL="182848" indent="-91424">
              <a:lnSpc>
                <a:spcPct val="110000"/>
              </a:lnSpc>
              <a:spcBef>
                <a:spcPts val="0"/>
              </a:spcBef>
              <a:defRPr sz="1000" b="0" i="0">
                <a:solidFill>
                  <a:schemeClr val="tx1"/>
                </a:solidFill>
                <a:latin typeface="IBM Plex Sans" panose="020B0503050203000203" pitchFamily="34" charset="0"/>
              </a:defRPr>
            </a:lvl3pPr>
            <a:lvl4pPr marL="274273" indent="-91424">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4" indent="-91424">
              <a:lnSpc>
                <a:spcPct val="110000"/>
              </a:lnSpc>
              <a:spcBef>
                <a:spcPts val="0"/>
              </a:spcBef>
              <a:defRPr sz="1000" b="0" i="0">
                <a:solidFill>
                  <a:schemeClr val="tx1"/>
                </a:solidFill>
                <a:latin typeface="IBM Plex Sans" panose="020B0503050203000203" pitchFamily="34" charset="0"/>
              </a:defRPr>
            </a:lvl2pPr>
            <a:lvl3pPr marL="182848" indent="-91424">
              <a:lnSpc>
                <a:spcPct val="110000"/>
              </a:lnSpc>
              <a:spcBef>
                <a:spcPts val="0"/>
              </a:spcBef>
              <a:defRPr sz="1000" b="0" i="0">
                <a:solidFill>
                  <a:schemeClr val="tx1"/>
                </a:solidFill>
                <a:latin typeface="IBM Plex Sans" panose="020B0503050203000203" pitchFamily="34" charset="0"/>
              </a:defRPr>
            </a:lvl3pPr>
            <a:lvl4pPr marL="274273" indent="-91424">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3" y="1714500"/>
            <a:ext cx="2479352"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4" indent="-91424">
              <a:lnSpc>
                <a:spcPct val="110000"/>
              </a:lnSpc>
              <a:spcBef>
                <a:spcPts val="0"/>
              </a:spcBef>
              <a:defRPr sz="1000" b="0" i="0">
                <a:solidFill>
                  <a:schemeClr val="tx1"/>
                </a:solidFill>
                <a:latin typeface="IBM Plex Sans" panose="020B0503050203000203" pitchFamily="34" charset="0"/>
              </a:defRPr>
            </a:lvl2pPr>
            <a:lvl3pPr marL="182848" indent="-91424">
              <a:lnSpc>
                <a:spcPct val="110000"/>
              </a:lnSpc>
              <a:spcBef>
                <a:spcPts val="0"/>
              </a:spcBef>
              <a:defRPr sz="1000" b="0" i="0">
                <a:solidFill>
                  <a:schemeClr val="tx1"/>
                </a:solidFill>
                <a:latin typeface="IBM Plex Sans" panose="020B0503050203000203" pitchFamily="34" charset="0"/>
              </a:defRPr>
            </a:lvl3pPr>
            <a:lvl4pPr marL="274273" indent="-91424">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8"/>
            <a:ext cx="2477765" cy="762794"/>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4" indent="-91424">
              <a:lnSpc>
                <a:spcPct val="110000"/>
              </a:lnSpc>
              <a:spcBef>
                <a:spcPts val="0"/>
              </a:spcBef>
              <a:defRPr sz="1000" b="0" i="0">
                <a:solidFill>
                  <a:schemeClr val="tx1"/>
                </a:solidFill>
                <a:latin typeface="IBM Plex Sans" panose="020B0503050203000203" pitchFamily="34" charset="0"/>
              </a:defRPr>
            </a:lvl2pPr>
            <a:lvl3pPr marL="182848" indent="-91424">
              <a:lnSpc>
                <a:spcPct val="110000"/>
              </a:lnSpc>
              <a:spcBef>
                <a:spcPts val="0"/>
              </a:spcBef>
              <a:defRPr sz="1000" b="0" i="0">
                <a:solidFill>
                  <a:schemeClr val="tx1"/>
                </a:solidFill>
                <a:latin typeface="IBM Plex Sans" panose="020B0503050203000203" pitchFamily="34" charset="0"/>
              </a:defRPr>
            </a:lvl3pPr>
            <a:lvl4pPr marL="274273" indent="-91424">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289682" y="1714500"/>
            <a:ext cx="2475384"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4" indent="-91424">
              <a:lnSpc>
                <a:spcPct val="110000"/>
              </a:lnSpc>
              <a:spcBef>
                <a:spcPts val="0"/>
              </a:spcBef>
              <a:defRPr sz="1000" b="0" i="0">
                <a:solidFill>
                  <a:schemeClr val="tx1"/>
                </a:solidFill>
                <a:latin typeface="IBM Plex Sans" panose="020B0503050203000203" pitchFamily="34" charset="0"/>
              </a:defRPr>
            </a:lvl2pPr>
            <a:lvl3pPr marL="182848" indent="-91424">
              <a:lnSpc>
                <a:spcPct val="110000"/>
              </a:lnSpc>
              <a:spcBef>
                <a:spcPts val="0"/>
              </a:spcBef>
              <a:defRPr sz="1000" b="0" i="0">
                <a:solidFill>
                  <a:schemeClr val="tx1"/>
                </a:solidFill>
                <a:latin typeface="IBM Plex Sans" panose="020B0503050203000203" pitchFamily="34" charset="0"/>
              </a:defRPr>
            </a:lvl3pPr>
            <a:lvl4pPr marL="274273" indent="-91424">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3047603" y="1714500"/>
            <a:ext cx="0" cy="428625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6093683"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9142810"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11767911" y="6469421"/>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84126" y="6402120"/>
            <a:ext cx="2477765" cy="190500"/>
          </a:xfrm>
        </p:spPr>
        <p:txBody>
          <a:bodyPr/>
          <a:lstStyle/>
          <a:p>
            <a:endParaRPr lang="en-US"/>
          </a:p>
        </p:txBody>
      </p:sp>
    </p:spTree>
    <p:extLst>
      <p:ext uri="{BB962C8B-B14F-4D97-AF65-F5344CB8AC3E}">
        <p14:creationId xmlns:p14="http://schemas.microsoft.com/office/powerpoint/2010/main" val="462604037"/>
      </p:ext>
    </p:extLst>
  </p:cSld>
  <p:clrMapOvr>
    <a:masterClrMapping/>
  </p:clrMapOvr>
  <p:transition spd="med"/>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4_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8000" y="288036"/>
            <a:ext cx="2474591" cy="762795"/>
          </a:xfrm>
        </p:spPr>
        <p:txBody>
          <a:bodyPr/>
          <a:lstStyle>
            <a:lvl1pPr>
              <a:lnSpc>
                <a:spcPct val="110000"/>
              </a:lnSpc>
              <a:defRPr sz="1400">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1"/>
          </a:xfrm>
        </p:spPr>
        <p:txBody>
          <a:bodyPr/>
          <a:lstStyle>
            <a:lvl1pPr>
              <a:spcBef>
                <a:spcPts val="0"/>
              </a:spcBef>
              <a:defRPr sz="1000" b="0" i="0">
                <a:solidFill>
                  <a:schemeClr val="tx1"/>
                </a:solidFill>
                <a:latin typeface="IBM Plex Sans" panose="020B0503050203000203" pitchFamily="34" charset="0"/>
              </a:defRPr>
            </a:lvl1pPr>
            <a:lvl2pPr marL="91424" indent="-91424">
              <a:spcBef>
                <a:spcPts val="0"/>
              </a:spcBef>
              <a:defRPr sz="1000" b="0" i="0">
                <a:solidFill>
                  <a:schemeClr val="tx1"/>
                </a:solidFill>
                <a:latin typeface="IBM Plex Sans" panose="020B0503050203000203" pitchFamily="34" charset="0"/>
              </a:defRPr>
            </a:lvl2pPr>
            <a:lvl3pPr marL="182848" indent="-91424">
              <a:spcBef>
                <a:spcPts val="0"/>
              </a:spcBef>
              <a:defRPr sz="1000" b="0" i="0">
                <a:solidFill>
                  <a:schemeClr val="tx1"/>
                </a:solidFill>
                <a:latin typeface="IBM Plex Sans" panose="020B0503050203000203" pitchFamily="34" charset="0"/>
              </a:defRPr>
            </a:lvl3pPr>
            <a:lvl4pPr marL="274273" indent="-91424">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1"/>
          </a:xfrm>
        </p:spPr>
        <p:txBody>
          <a:bodyPr/>
          <a:lstStyle>
            <a:lvl1pPr>
              <a:spcBef>
                <a:spcPts val="0"/>
              </a:spcBef>
              <a:defRPr sz="1000" b="0" i="0">
                <a:solidFill>
                  <a:schemeClr val="tx1"/>
                </a:solidFill>
                <a:latin typeface="IBM Plex Sans" panose="020B0503050203000203" pitchFamily="34" charset="0"/>
              </a:defRPr>
            </a:lvl1pPr>
            <a:lvl2pPr marL="91424" indent="-91424">
              <a:spcBef>
                <a:spcPts val="0"/>
              </a:spcBef>
              <a:defRPr sz="1000" b="0" i="0">
                <a:solidFill>
                  <a:schemeClr val="tx1"/>
                </a:solidFill>
                <a:latin typeface="IBM Plex Sans" panose="020B0503050203000203" pitchFamily="34" charset="0"/>
              </a:defRPr>
            </a:lvl2pPr>
            <a:lvl3pPr marL="182848" indent="-91424">
              <a:spcBef>
                <a:spcPts val="0"/>
              </a:spcBef>
              <a:defRPr sz="1000" b="0" i="0">
                <a:solidFill>
                  <a:schemeClr val="tx1"/>
                </a:solidFill>
                <a:latin typeface="IBM Plex Sans" panose="020B0503050203000203" pitchFamily="34" charset="0"/>
              </a:defRPr>
            </a:lvl3pPr>
            <a:lvl4pPr marL="274273" indent="-91424">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3" y="1714500"/>
            <a:ext cx="2479352" cy="4286251"/>
          </a:xfrm>
        </p:spPr>
        <p:txBody>
          <a:bodyPr/>
          <a:lstStyle>
            <a:lvl1pPr>
              <a:spcBef>
                <a:spcPts val="0"/>
              </a:spcBef>
              <a:defRPr sz="1000" b="0" i="0">
                <a:solidFill>
                  <a:schemeClr val="tx1"/>
                </a:solidFill>
                <a:latin typeface="IBM Plex Sans" panose="020B0503050203000203" pitchFamily="34" charset="0"/>
              </a:defRPr>
            </a:lvl1pPr>
            <a:lvl2pPr marL="91424" indent="-91424">
              <a:spcBef>
                <a:spcPts val="0"/>
              </a:spcBef>
              <a:defRPr sz="1000" b="0" i="0">
                <a:solidFill>
                  <a:schemeClr val="tx1"/>
                </a:solidFill>
                <a:latin typeface="IBM Plex Sans" panose="020B0503050203000203" pitchFamily="34" charset="0"/>
              </a:defRPr>
            </a:lvl2pPr>
            <a:lvl3pPr marL="182848" indent="-91424">
              <a:spcBef>
                <a:spcPts val="0"/>
              </a:spcBef>
              <a:defRPr sz="1000" b="0" i="0">
                <a:solidFill>
                  <a:schemeClr val="tx1"/>
                </a:solidFill>
                <a:latin typeface="IBM Plex Sans" panose="020B0503050203000203" pitchFamily="34" charset="0"/>
              </a:defRPr>
            </a:lvl3pPr>
            <a:lvl4pPr marL="274273" indent="-91424">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8"/>
            <a:ext cx="2477765" cy="762794"/>
          </a:xfrm>
        </p:spPr>
        <p:txBody>
          <a:bodyPr/>
          <a:lstStyle>
            <a:lvl1pPr>
              <a:lnSpc>
                <a:spcPct val="110000"/>
              </a:lnSpc>
              <a:spcBef>
                <a:spcPts val="0"/>
              </a:spcBef>
              <a:defRPr sz="1400">
                <a:solidFill>
                  <a:schemeClr val="tx1"/>
                </a:solidFill>
              </a:defRPr>
            </a:lvl1pPr>
            <a:lvl2pPr marL="127993" indent="-127993">
              <a:lnSpc>
                <a:spcPct val="110000"/>
              </a:lnSpc>
              <a:spcBef>
                <a:spcPts val="0"/>
              </a:spcBef>
              <a:defRPr sz="1400">
                <a:solidFill>
                  <a:schemeClr val="tx1"/>
                </a:solidFill>
              </a:defRPr>
            </a:lvl2pPr>
            <a:lvl3pPr marL="255987" indent="-127993">
              <a:lnSpc>
                <a:spcPct val="110000"/>
              </a:lnSpc>
              <a:spcBef>
                <a:spcPts val="0"/>
              </a:spcBef>
              <a:defRPr sz="1400">
                <a:solidFill>
                  <a:schemeClr val="tx1"/>
                </a:solidFill>
              </a:defRPr>
            </a:lvl3pPr>
            <a:lvl4pPr marL="383981" indent="-12799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8"/>
            <a:ext cx="2476178" cy="762794"/>
          </a:xfrm>
        </p:spPr>
        <p:txBody>
          <a:bodyPr/>
          <a:lstStyle>
            <a:lvl1pPr>
              <a:lnSpc>
                <a:spcPct val="110000"/>
              </a:lnSpc>
              <a:spcBef>
                <a:spcPts val="0"/>
              </a:spcBef>
              <a:defRPr sz="1400">
                <a:solidFill>
                  <a:schemeClr val="tx1"/>
                </a:solidFill>
              </a:defRPr>
            </a:lvl1pPr>
            <a:lvl2pPr marL="127993" indent="-127993">
              <a:lnSpc>
                <a:spcPct val="110000"/>
              </a:lnSpc>
              <a:spcBef>
                <a:spcPts val="0"/>
              </a:spcBef>
              <a:defRPr sz="1400">
                <a:solidFill>
                  <a:schemeClr val="tx1"/>
                </a:solidFill>
              </a:defRPr>
            </a:lvl2pPr>
            <a:lvl3pPr marL="255987" indent="-127993">
              <a:lnSpc>
                <a:spcPct val="110000"/>
              </a:lnSpc>
              <a:spcBef>
                <a:spcPts val="0"/>
              </a:spcBef>
              <a:defRPr sz="1400">
                <a:solidFill>
                  <a:schemeClr val="tx1"/>
                </a:solidFill>
              </a:defRPr>
            </a:lvl3pPr>
            <a:lvl4pPr marL="383981" indent="-12799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3" y="288038"/>
            <a:ext cx="2479352" cy="762794"/>
          </a:xfrm>
        </p:spPr>
        <p:txBody>
          <a:bodyPr/>
          <a:lstStyle>
            <a:lvl1pPr>
              <a:lnSpc>
                <a:spcPct val="110000"/>
              </a:lnSpc>
              <a:spcBef>
                <a:spcPts val="0"/>
              </a:spcBef>
              <a:defRPr sz="1400">
                <a:solidFill>
                  <a:schemeClr val="tx1"/>
                </a:solidFill>
              </a:defRPr>
            </a:lvl1pPr>
            <a:lvl2pPr marL="127993" indent="-127993">
              <a:lnSpc>
                <a:spcPct val="110000"/>
              </a:lnSpc>
              <a:spcBef>
                <a:spcPts val="0"/>
              </a:spcBef>
              <a:defRPr sz="1400">
                <a:solidFill>
                  <a:schemeClr val="tx1"/>
                </a:solidFill>
              </a:defRPr>
            </a:lvl2pPr>
            <a:lvl3pPr marL="255987" indent="-127993">
              <a:lnSpc>
                <a:spcPct val="110000"/>
              </a:lnSpc>
              <a:spcBef>
                <a:spcPts val="0"/>
              </a:spcBef>
              <a:defRPr sz="1400">
                <a:solidFill>
                  <a:schemeClr val="tx1"/>
                </a:solidFill>
              </a:defRPr>
            </a:lvl3pPr>
            <a:lvl4pPr marL="383981" indent="-12799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3047603" y="284959"/>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6093683" y="283466"/>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9142810" y="284959"/>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11767911" y="6469421"/>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84126" y="6402120"/>
            <a:ext cx="2477765" cy="190500"/>
          </a:xfrm>
        </p:spPr>
        <p:txBody>
          <a:bodyPr/>
          <a:lstStyle/>
          <a:p>
            <a:endParaRPr lang="en-US"/>
          </a:p>
        </p:txBody>
      </p:sp>
    </p:spTree>
    <p:extLst>
      <p:ext uri="{BB962C8B-B14F-4D97-AF65-F5344CB8AC3E}">
        <p14:creationId xmlns:p14="http://schemas.microsoft.com/office/powerpoint/2010/main" val="3297303743"/>
      </p:ext>
    </p:extLst>
  </p:cSld>
  <p:clrMapOvr>
    <a:masterClrMapping/>
  </p:clrMapOvr>
  <p:transition spd="med"/>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88887" y="285750"/>
            <a:ext cx="11611845" cy="6289675"/>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816133569"/>
      </p:ext>
    </p:extLst>
  </p:cSld>
  <p:clrMapOvr>
    <a:masterClrMapping/>
  </p:clrMapOvr>
  <p:transition spd="med"/>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2_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88000" y="288036"/>
            <a:ext cx="2474591" cy="1048544"/>
          </a:xfrm>
        </p:spPr>
        <p:txBody>
          <a:bodyPr/>
          <a:lstStyle>
            <a:lvl1pPr>
              <a:lnSpc>
                <a:spcPct val="110000"/>
              </a:lnSpc>
              <a:defRPr sz="12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87999" y="1714500"/>
            <a:ext cx="2477765" cy="2000251"/>
          </a:xfrm>
        </p:spPr>
        <p:txBody>
          <a:bodyPr/>
          <a:lstStyle>
            <a:lvl1pPr>
              <a:lnSpc>
                <a:spcPct val="100000"/>
              </a:lnSpc>
              <a:spcBef>
                <a:spcPts val="0"/>
              </a:spcBef>
              <a:defRPr sz="18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3333316" y="1714500"/>
            <a:ext cx="2475384" cy="4286251"/>
          </a:xfrm>
        </p:spPr>
        <p:txBody>
          <a:bodyPr/>
          <a:lstStyle>
            <a:lvl1pPr>
              <a:lnSpc>
                <a:spcPct val="110000"/>
              </a:lnSpc>
              <a:spcBef>
                <a:spcPts val="0"/>
              </a:spcBef>
              <a:defRPr sz="1200">
                <a:solidFill>
                  <a:schemeClr val="tx1"/>
                </a:solidFill>
              </a:defRPr>
            </a:lvl1pPr>
            <a:lvl2pPr marL="109709" indent="-109709">
              <a:lnSpc>
                <a:spcPct val="110000"/>
              </a:lnSpc>
              <a:spcBef>
                <a:spcPts val="0"/>
              </a:spcBef>
              <a:defRPr sz="1200">
                <a:solidFill>
                  <a:schemeClr val="tx1"/>
                </a:solidFill>
              </a:defRPr>
            </a:lvl2pPr>
            <a:lvl3pPr marL="219418" indent="-109709">
              <a:lnSpc>
                <a:spcPct val="110000"/>
              </a:lnSpc>
              <a:spcBef>
                <a:spcPts val="0"/>
              </a:spcBef>
              <a:defRPr sz="1200">
                <a:solidFill>
                  <a:schemeClr val="tx1"/>
                </a:solidFill>
              </a:defRPr>
            </a:lvl3pPr>
            <a:lvl4pPr marL="329126" indent="-109709">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6383184" y="1714500"/>
            <a:ext cx="2470739" cy="4286251"/>
          </a:xfrm>
        </p:spPr>
        <p:txBody>
          <a:bodyPr/>
          <a:lstStyle>
            <a:lvl1pPr>
              <a:lnSpc>
                <a:spcPct val="110000"/>
              </a:lnSpc>
              <a:spcBef>
                <a:spcPts val="0"/>
              </a:spcBef>
              <a:defRPr sz="1200">
                <a:solidFill>
                  <a:schemeClr val="tx1"/>
                </a:solidFill>
              </a:defRPr>
            </a:lvl1pPr>
            <a:lvl2pPr marL="109709" indent="-109709">
              <a:lnSpc>
                <a:spcPct val="110000"/>
              </a:lnSpc>
              <a:spcBef>
                <a:spcPts val="0"/>
              </a:spcBef>
              <a:defRPr sz="1200">
                <a:solidFill>
                  <a:schemeClr val="tx1"/>
                </a:solidFill>
              </a:defRPr>
            </a:lvl2pPr>
            <a:lvl3pPr marL="219418" indent="-109709">
              <a:lnSpc>
                <a:spcPct val="110000"/>
              </a:lnSpc>
              <a:spcBef>
                <a:spcPts val="0"/>
              </a:spcBef>
              <a:defRPr sz="1200">
                <a:solidFill>
                  <a:schemeClr val="tx1"/>
                </a:solidFill>
              </a:defRPr>
            </a:lvl3pPr>
            <a:lvl4pPr marL="329126" indent="-109709">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9428524" y="1714500"/>
            <a:ext cx="2476178" cy="4286251"/>
          </a:xfrm>
        </p:spPr>
        <p:txBody>
          <a:bodyPr/>
          <a:lstStyle>
            <a:lvl1pPr>
              <a:lnSpc>
                <a:spcPct val="110000"/>
              </a:lnSpc>
              <a:spcBef>
                <a:spcPts val="0"/>
              </a:spcBef>
              <a:defRPr sz="1200">
                <a:solidFill>
                  <a:schemeClr val="tx1"/>
                </a:solidFill>
              </a:defRPr>
            </a:lvl1pPr>
            <a:lvl2pPr marL="109709" indent="-109709">
              <a:lnSpc>
                <a:spcPct val="110000"/>
              </a:lnSpc>
              <a:spcBef>
                <a:spcPts val="0"/>
              </a:spcBef>
              <a:defRPr sz="1200">
                <a:solidFill>
                  <a:schemeClr val="tx1"/>
                </a:solidFill>
              </a:defRPr>
            </a:lvl2pPr>
            <a:lvl3pPr marL="219418" indent="-109709">
              <a:lnSpc>
                <a:spcPct val="110000"/>
              </a:lnSpc>
              <a:spcBef>
                <a:spcPts val="0"/>
              </a:spcBef>
              <a:defRPr sz="1200">
                <a:solidFill>
                  <a:schemeClr val="tx1"/>
                </a:solidFill>
              </a:defRPr>
            </a:lvl3pPr>
            <a:lvl4pPr marL="329126" indent="-109709">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3333316" y="288037"/>
            <a:ext cx="607997" cy="608076"/>
          </a:xfrm>
        </p:spPr>
        <p:txBody>
          <a:bodyPr anchor="ctr"/>
          <a:lstStyle>
            <a:lvl1pPr algn="ctr">
              <a:defRPr sz="800">
                <a:solidFill>
                  <a:schemeClr val="tx1"/>
                </a:solidFill>
              </a:defRPr>
            </a:lvl1pPr>
          </a:lstStyle>
          <a:p>
            <a:r>
              <a:rPr lang="en-US"/>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6387344" y="288037"/>
            <a:ext cx="607997" cy="608076"/>
          </a:xfrm>
        </p:spPr>
        <p:txBody>
          <a:bodyPr anchor="ctr"/>
          <a:lstStyle>
            <a:lvl1pPr algn="ctr">
              <a:defRPr sz="800">
                <a:solidFill>
                  <a:schemeClr val="tx1"/>
                </a:solidFill>
              </a:defRPr>
            </a:lvl1pPr>
          </a:lstStyle>
          <a:p>
            <a:r>
              <a:rPr lang="en-US"/>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9428523" y="288037"/>
            <a:ext cx="607997" cy="608076"/>
          </a:xfrm>
        </p:spPr>
        <p:txBody>
          <a:bodyPr anchor="ctr"/>
          <a:lstStyle>
            <a:lvl1pPr algn="ctr">
              <a:defRPr sz="800">
                <a:solidFill>
                  <a:schemeClr val="tx1"/>
                </a:solidFill>
              </a:defRPr>
            </a:lvl1pPr>
          </a:lstStyle>
          <a:p>
            <a:r>
              <a:rPr lang="en-US"/>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3047603" y="284959"/>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6093683" y="283466"/>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9142810" y="284959"/>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11767911" y="6469421"/>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003013047"/>
      </p:ext>
    </p:extLst>
  </p:cSld>
  <p:clrMapOvr>
    <a:masterClrMapping/>
  </p:clrMapOvr>
  <p:transition spd="med"/>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2_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8000" y="192024"/>
            <a:ext cx="2474591" cy="570707"/>
          </a:xfrm>
        </p:spPr>
        <p:txBody>
          <a:bodyPr/>
          <a:lstStyle>
            <a:lvl1pPr>
              <a:lnSpc>
                <a:spcPct val="100000"/>
              </a:lnSpc>
              <a:defRPr sz="3199">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1"/>
          </a:xfrm>
        </p:spPr>
        <p:txBody>
          <a:bodyPr/>
          <a:lstStyle>
            <a:lvl1pPr>
              <a:spcBef>
                <a:spcPts val="0"/>
              </a:spcBef>
              <a:defRPr sz="1400" b="0" i="0">
                <a:solidFill>
                  <a:schemeClr val="tx1"/>
                </a:solidFill>
                <a:latin typeface="IBM Plex Sans Light" panose="020B0403050203000203" pitchFamily="34" charset="0"/>
              </a:defRPr>
            </a:lvl1pPr>
            <a:lvl2pPr marL="127993" indent="-127993">
              <a:spcBef>
                <a:spcPts val="0"/>
              </a:spcBef>
              <a:defRPr sz="1400" b="0" i="0">
                <a:solidFill>
                  <a:schemeClr val="tx1"/>
                </a:solidFill>
                <a:latin typeface="IBM Plex Sans Light" panose="020B0403050203000203" pitchFamily="34" charset="0"/>
              </a:defRPr>
            </a:lvl2pPr>
            <a:lvl3pPr marL="255987" indent="-127993">
              <a:spcBef>
                <a:spcPts val="0"/>
              </a:spcBef>
              <a:defRPr sz="1400" b="0" i="0">
                <a:solidFill>
                  <a:schemeClr val="tx1"/>
                </a:solidFill>
                <a:latin typeface="IBM Plex Sans Light" panose="020B0403050203000203" pitchFamily="34" charset="0"/>
              </a:defRPr>
            </a:lvl3pPr>
            <a:lvl4pPr marL="383981" indent="-127993">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21" y="1714500"/>
            <a:ext cx="5047593" cy="4286251"/>
          </a:xfrm>
        </p:spPr>
        <p:txBody>
          <a:bodyPr/>
          <a:lstStyle>
            <a:lvl1pPr>
              <a:spcBef>
                <a:spcPts val="0"/>
              </a:spcBef>
              <a:defRPr sz="1400" b="0" i="0">
                <a:solidFill>
                  <a:schemeClr val="tx1"/>
                </a:solidFill>
                <a:latin typeface="IBM Plex Sans Light" panose="020B0403050203000203" pitchFamily="34" charset="0"/>
              </a:defRPr>
            </a:lvl1pPr>
            <a:lvl2pPr marL="127993" indent="-127993">
              <a:spcBef>
                <a:spcPts val="0"/>
              </a:spcBef>
              <a:defRPr sz="1400" b="0" i="0">
                <a:solidFill>
                  <a:schemeClr val="tx1"/>
                </a:solidFill>
                <a:latin typeface="IBM Plex Sans Light" panose="020B0403050203000203" pitchFamily="34" charset="0"/>
              </a:defRPr>
            </a:lvl2pPr>
            <a:lvl3pPr marL="255987" indent="-127993">
              <a:spcBef>
                <a:spcPts val="0"/>
              </a:spcBef>
              <a:defRPr sz="1400" b="0" i="0">
                <a:solidFill>
                  <a:schemeClr val="tx1"/>
                </a:solidFill>
                <a:latin typeface="IBM Plex Sans Light" panose="020B0403050203000203" pitchFamily="34" charset="0"/>
              </a:defRPr>
            </a:lvl3pPr>
            <a:lvl4pPr marL="383981" indent="-127993">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2555" y="192024"/>
            <a:ext cx="2477765" cy="570707"/>
          </a:xfrm>
        </p:spPr>
        <p:txBody>
          <a:bodyPr/>
          <a:lstStyle>
            <a:lvl1pPr>
              <a:lnSpc>
                <a:spcPct val="100000"/>
              </a:lnSpc>
              <a:spcBef>
                <a:spcPts val="0"/>
              </a:spcBef>
              <a:defRPr sz="3199">
                <a:solidFill>
                  <a:schemeClr val="tx2"/>
                </a:solidFill>
              </a:defRPr>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11767911" y="6469421"/>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368011921"/>
      </p:ext>
    </p:extLst>
  </p:cSld>
  <p:clrMapOvr>
    <a:masterClrMapping/>
  </p:clrMapOvr>
  <p:transition spd="med"/>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3_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8002" y="192026"/>
            <a:ext cx="5522193" cy="2286795"/>
          </a:xfrm>
        </p:spPr>
        <p:txBody>
          <a:bodyPr rIns="457200"/>
          <a:lstStyle>
            <a:lvl1pPr>
              <a:lnSpc>
                <a:spcPct val="100000"/>
              </a:lnSpc>
              <a:defRPr>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18" y="288038"/>
            <a:ext cx="2476179" cy="5715795"/>
          </a:xfrm>
        </p:spPr>
        <p:txBody>
          <a:bodyPr/>
          <a:lstStyle>
            <a:lvl1pPr>
              <a:spcBef>
                <a:spcPts val="0"/>
              </a:spcBef>
              <a:defRPr sz="1400">
                <a:solidFill>
                  <a:schemeClr val="tx1"/>
                </a:solidFill>
              </a:defRPr>
            </a:lvl1pPr>
            <a:lvl2pPr marL="127969" indent="-127969">
              <a:spcBef>
                <a:spcPts val="0"/>
              </a:spcBef>
              <a:defRPr sz="1400">
                <a:solidFill>
                  <a:schemeClr val="tx1"/>
                </a:solidFill>
              </a:defRPr>
            </a:lvl2pPr>
            <a:lvl3pPr marL="255939" indent="-127969">
              <a:spcBef>
                <a:spcPts val="0"/>
              </a:spcBef>
              <a:defRPr sz="1400">
                <a:solidFill>
                  <a:schemeClr val="tx1"/>
                </a:solidFill>
              </a:defRPr>
            </a:lvl3pPr>
            <a:lvl4pPr marL="383909" indent="-127969">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3" y="288038"/>
            <a:ext cx="2476179" cy="5715795"/>
          </a:xfrm>
        </p:spPr>
        <p:txBody>
          <a:bodyPr/>
          <a:lstStyle>
            <a:lvl1pPr>
              <a:spcBef>
                <a:spcPts val="0"/>
              </a:spcBef>
              <a:defRPr sz="1400">
                <a:solidFill>
                  <a:schemeClr val="tx1"/>
                </a:solidFill>
              </a:defRPr>
            </a:lvl1pPr>
            <a:lvl2pPr marL="127969" indent="-127969">
              <a:spcBef>
                <a:spcPts val="0"/>
              </a:spcBef>
              <a:defRPr sz="1400">
                <a:solidFill>
                  <a:schemeClr val="tx1"/>
                </a:solidFill>
              </a:defRPr>
            </a:lvl2pPr>
            <a:lvl3pPr marL="255939" indent="-127969">
              <a:spcBef>
                <a:spcPts val="0"/>
              </a:spcBef>
              <a:defRPr sz="1400">
                <a:solidFill>
                  <a:schemeClr val="tx1"/>
                </a:solidFill>
              </a:defRPr>
            </a:lvl3pPr>
            <a:lvl4pPr marL="383909" indent="-127969">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11767913" y="6469424"/>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566190762"/>
      </p:ext>
    </p:extLst>
  </p:cSld>
  <p:clrMapOvr>
    <a:masterClrMapping/>
  </p:clrMapOvr>
  <p:transition spd="med"/>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3_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8" y="288038"/>
            <a:ext cx="2476179" cy="2286795"/>
          </a:xfrm>
        </p:spPr>
        <p:txBody>
          <a:bodyPr/>
          <a:lstStyle>
            <a:lvl1pPr>
              <a:lnSpc>
                <a:spcPct val="100000"/>
              </a:lnSpc>
              <a:defRPr sz="18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18" y="284958"/>
            <a:ext cx="2476179" cy="5715795"/>
          </a:xfrm>
        </p:spPr>
        <p:txBody>
          <a:bodyPr/>
          <a:lstStyle>
            <a:lvl1pPr>
              <a:spcBef>
                <a:spcPts val="0"/>
              </a:spcBef>
              <a:defRPr sz="1400">
                <a:solidFill>
                  <a:schemeClr val="tx1"/>
                </a:solidFill>
              </a:defRPr>
            </a:lvl1pPr>
            <a:lvl2pPr marL="127969" indent="-127969">
              <a:spcBef>
                <a:spcPts val="0"/>
              </a:spcBef>
              <a:defRPr sz="1400">
                <a:solidFill>
                  <a:schemeClr val="tx1"/>
                </a:solidFill>
              </a:defRPr>
            </a:lvl2pPr>
            <a:lvl3pPr marL="255939" indent="-127969">
              <a:spcBef>
                <a:spcPts val="0"/>
              </a:spcBef>
              <a:defRPr sz="1400">
                <a:solidFill>
                  <a:schemeClr val="tx1"/>
                </a:solidFill>
              </a:defRPr>
            </a:lvl3pPr>
            <a:lvl4pPr marL="383909" indent="-127969">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3" y="284958"/>
            <a:ext cx="2476179" cy="5715795"/>
          </a:xfrm>
        </p:spPr>
        <p:txBody>
          <a:bodyPr/>
          <a:lstStyle>
            <a:lvl1pPr>
              <a:spcBef>
                <a:spcPts val="0"/>
              </a:spcBef>
              <a:defRPr sz="1400">
                <a:solidFill>
                  <a:schemeClr val="tx1"/>
                </a:solidFill>
              </a:defRPr>
            </a:lvl1pPr>
            <a:lvl2pPr marL="127969" indent="-127969">
              <a:spcBef>
                <a:spcPts val="0"/>
              </a:spcBef>
              <a:defRPr sz="1400">
                <a:solidFill>
                  <a:schemeClr val="tx1"/>
                </a:solidFill>
              </a:defRPr>
            </a:lvl2pPr>
            <a:lvl3pPr marL="255939" indent="-127969">
              <a:spcBef>
                <a:spcPts val="0"/>
              </a:spcBef>
              <a:defRPr sz="1400">
                <a:solidFill>
                  <a:schemeClr val="tx1"/>
                </a:solidFill>
              </a:defRPr>
            </a:lvl3pPr>
            <a:lvl4pPr marL="383909" indent="-127969">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11767913" y="6469424"/>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717848726"/>
      </p:ext>
    </p:extLst>
  </p:cSld>
  <p:clrMapOvr>
    <a:masterClrMapping/>
  </p:clrMapOvr>
  <p:transition spd="med"/>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3_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8002" y="192026"/>
            <a:ext cx="5519020" cy="2286795"/>
          </a:xfrm>
        </p:spPr>
        <p:txBody>
          <a:bodyPr rIns="457200"/>
          <a:lstStyle>
            <a:lvl1pPr>
              <a:lnSpc>
                <a:spcPct val="100000"/>
              </a:lnSpc>
              <a:defRPr>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18" y="288038"/>
            <a:ext cx="2476179" cy="762795"/>
          </a:xfrm>
        </p:spPr>
        <p:txBody>
          <a:bodyPr/>
          <a:lstStyle>
            <a:lvl1pPr>
              <a:lnSpc>
                <a:spcPct val="110000"/>
              </a:lnSpc>
              <a:spcBef>
                <a:spcPts val="0"/>
              </a:spcBef>
              <a:defRPr sz="1400">
                <a:solidFill>
                  <a:schemeClr val="tx1"/>
                </a:solidFill>
              </a:defRPr>
            </a:lvl1pPr>
            <a:lvl2pPr marL="127969" indent="-127969">
              <a:lnSpc>
                <a:spcPct val="110000"/>
              </a:lnSpc>
              <a:spcBef>
                <a:spcPts val="0"/>
              </a:spcBef>
              <a:defRPr sz="1400">
                <a:solidFill>
                  <a:schemeClr val="tx1"/>
                </a:solidFill>
              </a:defRPr>
            </a:lvl2pPr>
            <a:lvl3pPr marL="255939" indent="-127969">
              <a:lnSpc>
                <a:spcPct val="110000"/>
              </a:lnSpc>
              <a:spcBef>
                <a:spcPts val="0"/>
              </a:spcBef>
              <a:defRPr sz="1400">
                <a:solidFill>
                  <a:schemeClr val="tx1"/>
                </a:solidFill>
              </a:defRPr>
            </a:lvl3pPr>
            <a:lvl4pPr marL="383909" indent="-12796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3" y="288038"/>
            <a:ext cx="2479352" cy="762795"/>
          </a:xfrm>
        </p:spPr>
        <p:txBody>
          <a:bodyPr/>
          <a:lstStyle>
            <a:lvl1pPr>
              <a:lnSpc>
                <a:spcPct val="110000"/>
              </a:lnSpc>
              <a:spcBef>
                <a:spcPts val="0"/>
              </a:spcBef>
              <a:defRPr sz="1400">
                <a:solidFill>
                  <a:schemeClr val="tx1"/>
                </a:solidFill>
              </a:defRPr>
            </a:lvl1pPr>
            <a:lvl2pPr marL="127969" indent="-127969">
              <a:lnSpc>
                <a:spcPct val="110000"/>
              </a:lnSpc>
              <a:spcBef>
                <a:spcPts val="0"/>
              </a:spcBef>
              <a:defRPr sz="1400">
                <a:solidFill>
                  <a:schemeClr val="tx1"/>
                </a:solidFill>
              </a:defRPr>
            </a:lvl2pPr>
            <a:lvl3pPr marL="255939" indent="-127969">
              <a:lnSpc>
                <a:spcPct val="110000"/>
              </a:lnSpc>
              <a:spcBef>
                <a:spcPts val="0"/>
              </a:spcBef>
              <a:defRPr sz="1400">
                <a:solidFill>
                  <a:schemeClr val="tx1"/>
                </a:solidFill>
              </a:defRPr>
            </a:lvl3pPr>
            <a:lvl4pPr marL="383909" indent="-12796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18" y="1714502"/>
            <a:ext cx="2476179"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07" indent="-91407">
              <a:lnSpc>
                <a:spcPct val="110000"/>
              </a:lnSpc>
              <a:spcBef>
                <a:spcPts val="0"/>
              </a:spcBef>
              <a:defRPr sz="1000" b="0" i="0">
                <a:solidFill>
                  <a:schemeClr val="tx1"/>
                </a:solidFill>
                <a:latin typeface="IBM Plex Sans" panose="020B0503050203000203" pitchFamily="34" charset="0"/>
              </a:defRPr>
            </a:lvl2pPr>
            <a:lvl3pPr marL="182815" indent="-91407">
              <a:lnSpc>
                <a:spcPct val="110000"/>
              </a:lnSpc>
              <a:spcBef>
                <a:spcPts val="0"/>
              </a:spcBef>
              <a:defRPr sz="1000" b="0" i="0">
                <a:solidFill>
                  <a:schemeClr val="tx1"/>
                </a:solidFill>
                <a:latin typeface="IBM Plex Sans" panose="020B0503050203000203" pitchFamily="34" charset="0"/>
              </a:defRPr>
            </a:lvl3pPr>
            <a:lvl4pPr marL="274222" indent="-91407">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0109" y="1714502"/>
            <a:ext cx="2476179"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07" indent="-91407">
              <a:lnSpc>
                <a:spcPct val="110000"/>
              </a:lnSpc>
              <a:spcBef>
                <a:spcPts val="0"/>
              </a:spcBef>
              <a:defRPr sz="1000" b="0" i="0">
                <a:solidFill>
                  <a:schemeClr val="tx1"/>
                </a:solidFill>
                <a:latin typeface="IBM Plex Sans" panose="020B0503050203000203" pitchFamily="34" charset="0"/>
              </a:defRPr>
            </a:lvl2pPr>
            <a:lvl3pPr marL="182815" indent="-91407">
              <a:lnSpc>
                <a:spcPct val="110000"/>
              </a:lnSpc>
              <a:spcBef>
                <a:spcPts val="0"/>
              </a:spcBef>
              <a:defRPr sz="1000" b="0" i="0">
                <a:solidFill>
                  <a:schemeClr val="tx1"/>
                </a:solidFill>
                <a:latin typeface="IBM Plex Sans" panose="020B0503050203000203" pitchFamily="34" charset="0"/>
              </a:defRPr>
            </a:lvl3pPr>
            <a:lvl4pPr marL="274222" indent="-91407">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11767913" y="6469424"/>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466929776"/>
      </p:ext>
    </p:extLst>
  </p:cSld>
  <p:clrMapOvr>
    <a:masterClrMapping/>
  </p:clrMapOvr>
  <p:transition spd="med"/>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3_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8000" y="288038"/>
            <a:ext cx="2474591" cy="2286795"/>
          </a:xfrm>
        </p:spPr>
        <p:txBody>
          <a:bodyPr rIns="0"/>
          <a:lstStyle>
            <a:lvl1pPr>
              <a:lnSpc>
                <a:spcPct val="100000"/>
              </a:lnSpc>
              <a:defRPr sz="1400">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18" y="288038"/>
            <a:ext cx="2476179" cy="762795"/>
          </a:xfrm>
        </p:spPr>
        <p:txBody>
          <a:bodyPr/>
          <a:lstStyle>
            <a:lvl1pPr>
              <a:lnSpc>
                <a:spcPct val="110000"/>
              </a:lnSpc>
              <a:spcBef>
                <a:spcPts val="0"/>
              </a:spcBef>
              <a:defRPr sz="1400">
                <a:solidFill>
                  <a:schemeClr val="tx1"/>
                </a:solidFill>
              </a:defRPr>
            </a:lvl1pPr>
            <a:lvl2pPr marL="127969" indent="-127969">
              <a:lnSpc>
                <a:spcPct val="110000"/>
              </a:lnSpc>
              <a:spcBef>
                <a:spcPts val="0"/>
              </a:spcBef>
              <a:defRPr sz="1400">
                <a:solidFill>
                  <a:schemeClr val="tx1"/>
                </a:solidFill>
              </a:defRPr>
            </a:lvl2pPr>
            <a:lvl3pPr marL="255939" indent="-127969">
              <a:lnSpc>
                <a:spcPct val="110000"/>
              </a:lnSpc>
              <a:spcBef>
                <a:spcPts val="0"/>
              </a:spcBef>
              <a:defRPr sz="1400">
                <a:solidFill>
                  <a:schemeClr val="tx1"/>
                </a:solidFill>
              </a:defRPr>
            </a:lvl3pPr>
            <a:lvl4pPr marL="383909" indent="-12796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3" y="288038"/>
            <a:ext cx="2479352" cy="762795"/>
          </a:xfrm>
        </p:spPr>
        <p:txBody>
          <a:bodyPr/>
          <a:lstStyle>
            <a:lvl1pPr>
              <a:lnSpc>
                <a:spcPct val="110000"/>
              </a:lnSpc>
              <a:spcBef>
                <a:spcPts val="0"/>
              </a:spcBef>
              <a:defRPr sz="1400">
                <a:solidFill>
                  <a:schemeClr val="tx1"/>
                </a:solidFill>
              </a:defRPr>
            </a:lvl1pPr>
            <a:lvl2pPr marL="127969" indent="-127969">
              <a:lnSpc>
                <a:spcPct val="110000"/>
              </a:lnSpc>
              <a:spcBef>
                <a:spcPts val="0"/>
              </a:spcBef>
              <a:defRPr sz="1400">
                <a:solidFill>
                  <a:schemeClr val="tx1"/>
                </a:solidFill>
              </a:defRPr>
            </a:lvl2pPr>
            <a:lvl3pPr marL="255939" indent="-127969">
              <a:lnSpc>
                <a:spcPct val="110000"/>
              </a:lnSpc>
              <a:spcBef>
                <a:spcPts val="0"/>
              </a:spcBef>
              <a:defRPr sz="1400">
                <a:solidFill>
                  <a:schemeClr val="tx1"/>
                </a:solidFill>
              </a:defRPr>
            </a:lvl3pPr>
            <a:lvl4pPr marL="383909" indent="-12796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18" y="1714502"/>
            <a:ext cx="2476179"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07" indent="-91407">
              <a:lnSpc>
                <a:spcPct val="110000"/>
              </a:lnSpc>
              <a:spcBef>
                <a:spcPts val="0"/>
              </a:spcBef>
              <a:defRPr sz="1000" b="0" i="0">
                <a:solidFill>
                  <a:schemeClr val="tx1"/>
                </a:solidFill>
                <a:latin typeface="IBM Plex Sans" panose="020B0503050203000203" pitchFamily="34" charset="0"/>
              </a:defRPr>
            </a:lvl2pPr>
            <a:lvl3pPr marL="182815" indent="-91407">
              <a:lnSpc>
                <a:spcPct val="110000"/>
              </a:lnSpc>
              <a:spcBef>
                <a:spcPts val="0"/>
              </a:spcBef>
              <a:defRPr sz="1000" b="0" i="0">
                <a:solidFill>
                  <a:schemeClr val="tx1"/>
                </a:solidFill>
                <a:latin typeface="IBM Plex Sans" panose="020B0503050203000203" pitchFamily="34" charset="0"/>
              </a:defRPr>
            </a:lvl3pPr>
            <a:lvl4pPr marL="274222" indent="-91407">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1697" y="1714502"/>
            <a:ext cx="2476179"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07" indent="-91407">
              <a:lnSpc>
                <a:spcPct val="110000"/>
              </a:lnSpc>
              <a:spcBef>
                <a:spcPts val="0"/>
              </a:spcBef>
              <a:defRPr sz="1000" b="0" i="0">
                <a:solidFill>
                  <a:schemeClr val="tx1"/>
                </a:solidFill>
                <a:latin typeface="IBM Plex Sans" panose="020B0503050203000203" pitchFamily="34" charset="0"/>
              </a:defRPr>
            </a:lvl2pPr>
            <a:lvl3pPr marL="182815" indent="-91407">
              <a:lnSpc>
                <a:spcPct val="110000"/>
              </a:lnSpc>
              <a:spcBef>
                <a:spcPts val="0"/>
              </a:spcBef>
              <a:defRPr sz="1000" b="0" i="0">
                <a:solidFill>
                  <a:schemeClr val="tx1"/>
                </a:solidFill>
                <a:latin typeface="IBM Plex Sans" panose="020B0503050203000203" pitchFamily="34" charset="0"/>
              </a:defRPr>
            </a:lvl3pPr>
            <a:lvl4pPr marL="274222" indent="-91407">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11767913" y="6469424"/>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426226905"/>
      </p:ext>
    </p:extLst>
  </p:cSld>
  <p:clrMapOvr>
    <a:masterClrMapping/>
  </p:clrMapOvr>
  <p:transition spd="med"/>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3_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8000" y="192026"/>
            <a:ext cx="2474591" cy="570707"/>
          </a:xfrm>
        </p:spPr>
        <p:txBody>
          <a:bodyPr/>
          <a:lstStyle>
            <a:lvl1pPr>
              <a:lnSpc>
                <a:spcPct val="100000"/>
              </a:lnSpc>
              <a:defRPr sz="3198">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2"/>
            <a:ext cx="2475384" cy="4286251"/>
          </a:xfrm>
        </p:spPr>
        <p:txBody>
          <a:bodyPr/>
          <a:lstStyle>
            <a:lvl1pPr>
              <a:spcBef>
                <a:spcPts val="0"/>
              </a:spcBef>
              <a:defRPr sz="1400" b="0" i="0">
                <a:solidFill>
                  <a:schemeClr val="tx1"/>
                </a:solidFill>
                <a:latin typeface="IBM Plex Sans Light" panose="020B0403050203000203" pitchFamily="34" charset="0"/>
              </a:defRPr>
            </a:lvl1pPr>
            <a:lvl2pPr marL="127969" indent="-127969">
              <a:spcBef>
                <a:spcPts val="0"/>
              </a:spcBef>
              <a:defRPr sz="1400" b="0" i="0">
                <a:solidFill>
                  <a:schemeClr val="tx1"/>
                </a:solidFill>
                <a:latin typeface="IBM Plex Sans Light" panose="020B0403050203000203" pitchFamily="34" charset="0"/>
              </a:defRPr>
            </a:lvl2pPr>
            <a:lvl3pPr marL="255939" indent="-127969">
              <a:spcBef>
                <a:spcPts val="0"/>
              </a:spcBef>
              <a:defRPr sz="1400" b="0" i="0">
                <a:solidFill>
                  <a:schemeClr val="tx1"/>
                </a:solidFill>
                <a:latin typeface="IBM Plex Sans Light" panose="020B0403050203000203" pitchFamily="34" charset="0"/>
              </a:defRPr>
            </a:lvl3pPr>
            <a:lvl4pPr marL="383909" indent="-127969">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2988" y="1714502"/>
            <a:ext cx="2476179" cy="4286251"/>
          </a:xfrm>
        </p:spPr>
        <p:txBody>
          <a:bodyPr/>
          <a:lstStyle>
            <a:lvl1pPr>
              <a:spcBef>
                <a:spcPts val="0"/>
              </a:spcBef>
              <a:defRPr sz="1000" b="0" i="0">
                <a:solidFill>
                  <a:schemeClr val="tx1"/>
                </a:solidFill>
                <a:latin typeface="IBM Plex Sans" panose="020B0503050203000203" pitchFamily="34" charset="0"/>
              </a:defRPr>
            </a:lvl1pPr>
            <a:lvl2pPr marL="91407" indent="-91407">
              <a:spcBef>
                <a:spcPts val="0"/>
              </a:spcBef>
              <a:defRPr sz="1000" b="0" i="0">
                <a:solidFill>
                  <a:schemeClr val="tx1"/>
                </a:solidFill>
                <a:latin typeface="IBM Plex Sans" panose="020B0503050203000203" pitchFamily="34" charset="0"/>
              </a:defRPr>
            </a:lvl2pPr>
            <a:lvl3pPr marL="182815" indent="-91407">
              <a:spcBef>
                <a:spcPts val="0"/>
              </a:spcBef>
              <a:defRPr sz="1000" b="0" i="0">
                <a:solidFill>
                  <a:schemeClr val="tx1"/>
                </a:solidFill>
                <a:latin typeface="IBM Plex Sans" panose="020B0503050203000203" pitchFamily="34" charset="0"/>
              </a:defRPr>
            </a:lvl3pPr>
            <a:lvl4pPr marL="274222" indent="-91407">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30591" y="1714502"/>
            <a:ext cx="2479352" cy="4286251"/>
          </a:xfrm>
        </p:spPr>
        <p:txBody>
          <a:bodyPr/>
          <a:lstStyle>
            <a:lvl1pPr>
              <a:spcBef>
                <a:spcPts val="0"/>
              </a:spcBef>
              <a:defRPr sz="1000" b="0" i="0">
                <a:solidFill>
                  <a:schemeClr val="tx1"/>
                </a:solidFill>
                <a:latin typeface="IBM Plex Sans" panose="020B0503050203000203" pitchFamily="34" charset="0"/>
              </a:defRPr>
            </a:lvl1pPr>
            <a:lvl2pPr marL="91407" indent="-91407">
              <a:spcBef>
                <a:spcPts val="0"/>
              </a:spcBef>
              <a:defRPr sz="1000" b="0" i="0">
                <a:solidFill>
                  <a:schemeClr val="tx1"/>
                </a:solidFill>
                <a:latin typeface="IBM Plex Sans" panose="020B0503050203000203" pitchFamily="34" charset="0"/>
              </a:defRPr>
            </a:lvl2pPr>
            <a:lvl3pPr marL="182815" indent="-91407">
              <a:spcBef>
                <a:spcPts val="0"/>
              </a:spcBef>
              <a:defRPr sz="1000" b="0" i="0">
                <a:solidFill>
                  <a:schemeClr val="tx1"/>
                </a:solidFill>
                <a:latin typeface="IBM Plex Sans" panose="020B0503050203000203" pitchFamily="34" charset="0"/>
              </a:defRPr>
            </a:lvl3pPr>
            <a:lvl4pPr marL="274222" indent="-91407">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4143" y="192026"/>
            <a:ext cx="2477765" cy="570707"/>
          </a:xfrm>
        </p:spPr>
        <p:txBody>
          <a:bodyPr/>
          <a:lstStyle>
            <a:lvl1pPr>
              <a:lnSpc>
                <a:spcPct val="100000"/>
              </a:lnSpc>
              <a:spcBef>
                <a:spcPts val="0"/>
              </a:spcBef>
              <a:defRPr sz="3198">
                <a:solidFill>
                  <a:schemeClr val="tx2"/>
                </a:solidFill>
              </a:defRPr>
            </a:lvl1pPr>
            <a:lvl2pPr>
              <a:lnSpc>
                <a:spcPct val="90000"/>
              </a:lnSpc>
              <a:spcBef>
                <a:spcPts val="0"/>
              </a:spcBef>
              <a:defRPr sz="1400"/>
            </a:lvl2pPr>
            <a:lvl3pPr>
              <a:lnSpc>
                <a:spcPct val="90000"/>
              </a:lnSpc>
              <a:spcBef>
                <a:spcPts val="0"/>
              </a:spcBef>
              <a:defRPr sz="1400"/>
            </a:lvl3pPr>
            <a:lvl4pPr>
              <a:lnSpc>
                <a:spcPct val="90000"/>
              </a:lnSpc>
              <a:spcBef>
                <a:spcPts val="0"/>
              </a:spcBef>
              <a:defRPr sz="1400"/>
            </a:lvl4pPr>
            <a:lvl5pPr>
              <a:lnSpc>
                <a:spcPct val="90000"/>
              </a:lnSpc>
              <a:spcBef>
                <a:spcPts val="0"/>
              </a:spcBef>
              <a:defRPr sz="14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6380921" y="288040"/>
            <a:ext cx="607997" cy="607231"/>
          </a:xfrm>
        </p:spPr>
        <p:txBody>
          <a:bodyPr anchor="ctr"/>
          <a:lstStyle>
            <a:lvl1pPr algn="ctr">
              <a:defRPr sz="800">
                <a:solidFill>
                  <a:schemeClr val="tx1"/>
                </a:solidFill>
              </a:defRPr>
            </a:lvl1pPr>
          </a:lstStyle>
          <a:p>
            <a:r>
              <a:rPr lang="en-US"/>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9428524" y="288040"/>
            <a:ext cx="608843" cy="608076"/>
          </a:xfrm>
        </p:spPr>
        <p:txBody>
          <a:bodyPr anchor="ctr"/>
          <a:lstStyle>
            <a:lvl1pPr algn="ctr">
              <a:defRPr sz="800">
                <a:solidFill>
                  <a:schemeClr val="tx1"/>
                </a:solidFill>
              </a:defRPr>
            </a:lvl1pPr>
          </a:lstStyle>
          <a:p>
            <a:r>
              <a:rPr lang="en-US"/>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6093683" y="284958"/>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9142811" y="284958"/>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11767913" y="6469424"/>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447253930"/>
      </p:ext>
    </p:extLst>
  </p:cSld>
  <p:clrMapOvr>
    <a:masterClrMapping/>
  </p:clrMapOvr>
  <p:transition spd="med"/>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3_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88000" y="1239012"/>
            <a:ext cx="3334903" cy="1524000"/>
          </a:xfrm>
        </p:spPr>
        <p:txBody>
          <a:bodyPr/>
          <a:lstStyle>
            <a:lvl1pPr>
              <a:lnSpc>
                <a:spcPct val="100000"/>
              </a:lnSpc>
              <a:spcBef>
                <a:spcPts val="0"/>
              </a:spcBef>
              <a:defRPr sz="2200">
                <a:solidFill>
                  <a:schemeClr val="tx1"/>
                </a:solidFill>
              </a:defRPr>
            </a:lvl1pPr>
            <a:lvl2pPr marL="201096" indent="-201096">
              <a:lnSpc>
                <a:spcPct val="100000"/>
              </a:lnSpc>
              <a:spcBef>
                <a:spcPts val="0"/>
              </a:spcBef>
              <a:defRPr sz="2200">
                <a:solidFill>
                  <a:schemeClr val="tx1"/>
                </a:solidFill>
              </a:defRPr>
            </a:lvl2pPr>
            <a:lvl3pPr marL="402191" indent="-201096">
              <a:lnSpc>
                <a:spcPct val="100000"/>
              </a:lnSpc>
              <a:spcBef>
                <a:spcPts val="0"/>
              </a:spcBef>
              <a:defRPr sz="2200">
                <a:solidFill>
                  <a:schemeClr val="tx1"/>
                </a:solidFill>
              </a:defRPr>
            </a:lvl3pPr>
            <a:lvl4pPr marL="557581" indent="-201096">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6380919" y="1238251"/>
            <a:ext cx="3333316" cy="1524000"/>
          </a:xfrm>
        </p:spPr>
        <p:txBody>
          <a:bodyPr/>
          <a:lstStyle>
            <a:lvl1pPr>
              <a:lnSpc>
                <a:spcPct val="100000"/>
              </a:lnSpc>
              <a:spcBef>
                <a:spcPts val="0"/>
              </a:spcBef>
              <a:defRPr sz="2200">
                <a:solidFill>
                  <a:schemeClr val="tx1"/>
                </a:solidFill>
              </a:defRPr>
            </a:lvl1pPr>
            <a:lvl2pPr marL="201096" indent="-201096">
              <a:lnSpc>
                <a:spcPct val="100000"/>
              </a:lnSpc>
              <a:spcBef>
                <a:spcPts val="0"/>
              </a:spcBef>
              <a:defRPr sz="2200">
                <a:solidFill>
                  <a:schemeClr val="tx1"/>
                </a:solidFill>
              </a:defRPr>
            </a:lvl2pPr>
            <a:lvl3pPr marL="402191" indent="-201096">
              <a:lnSpc>
                <a:spcPct val="100000"/>
              </a:lnSpc>
              <a:spcBef>
                <a:spcPts val="0"/>
              </a:spcBef>
              <a:defRPr sz="2200">
                <a:solidFill>
                  <a:schemeClr val="tx1"/>
                </a:solidFill>
              </a:defRPr>
            </a:lvl3pPr>
            <a:lvl4pPr marL="557581" indent="-201096">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87999" y="4192524"/>
            <a:ext cx="3334904" cy="1524000"/>
          </a:xfrm>
        </p:spPr>
        <p:txBody>
          <a:bodyPr/>
          <a:lstStyle>
            <a:lvl1pPr>
              <a:lnSpc>
                <a:spcPct val="100000"/>
              </a:lnSpc>
              <a:spcBef>
                <a:spcPts val="0"/>
              </a:spcBef>
              <a:defRPr sz="2200">
                <a:solidFill>
                  <a:schemeClr val="tx1"/>
                </a:solidFill>
              </a:defRPr>
            </a:lvl1pPr>
            <a:lvl2pPr marL="201096" indent="-201096">
              <a:lnSpc>
                <a:spcPct val="100000"/>
              </a:lnSpc>
              <a:spcBef>
                <a:spcPts val="0"/>
              </a:spcBef>
              <a:defRPr sz="2200">
                <a:solidFill>
                  <a:schemeClr val="tx1"/>
                </a:solidFill>
              </a:defRPr>
            </a:lvl2pPr>
            <a:lvl3pPr marL="402191" indent="-201096">
              <a:lnSpc>
                <a:spcPct val="100000"/>
              </a:lnSpc>
              <a:spcBef>
                <a:spcPts val="0"/>
              </a:spcBef>
              <a:defRPr sz="2200">
                <a:solidFill>
                  <a:schemeClr val="tx1"/>
                </a:solidFill>
              </a:defRPr>
            </a:lvl3pPr>
            <a:lvl4pPr marL="557581" indent="-201096">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6380923" y="4191000"/>
            <a:ext cx="3333316" cy="1524000"/>
          </a:xfrm>
        </p:spPr>
        <p:txBody>
          <a:bodyPr/>
          <a:lstStyle>
            <a:lvl1pPr>
              <a:lnSpc>
                <a:spcPct val="100000"/>
              </a:lnSpc>
              <a:spcBef>
                <a:spcPts val="0"/>
              </a:spcBef>
              <a:defRPr sz="2200">
                <a:solidFill>
                  <a:schemeClr val="tx1"/>
                </a:solidFill>
              </a:defRPr>
            </a:lvl1pPr>
            <a:lvl2pPr marL="201096" indent="-201096">
              <a:lnSpc>
                <a:spcPct val="100000"/>
              </a:lnSpc>
              <a:spcBef>
                <a:spcPts val="0"/>
              </a:spcBef>
              <a:defRPr sz="2200">
                <a:solidFill>
                  <a:schemeClr val="tx1"/>
                </a:solidFill>
              </a:defRPr>
            </a:lvl2pPr>
            <a:lvl3pPr marL="402191" indent="-201096">
              <a:lnSpc>
                <a:spcPct val="100000"/>
              </a:lnSpc>
              <a:spcBef>
                <a:spcPts val="0"/>
              </a:spcBef>
              <a:defRPr sz="2200">
                <a:solidFill>
                  <a:schemeClr val="tx1"/>
                </a:solidFill>
              </a:defRPr>
            </a:lvl3pPr>
            <a:lvl4pPr marL="557581" indent="-201096">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88000" y="288040"/>
            <a:ext cx="607997" cy="608076"/>
          </a:xfrm>
        </p:spPr>
        <p:txBody>
          <a:bodyPr anchor="ctr"/>
          <a:lstStyle>
            <a:lvl1pPr algn="ctr">
              <a:defRPr sz="800"/>
            </a:lvl1pPr>
          </a:lstStyle>
          <a:p>
            <a:r>
              <a:rPr lang="en-US"/>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6380921" y="288040"/>
            <a:ext cx="607997" cy="608076"/>
          </a:xfrm>
        </p:spPr>
        <p:txBody>
          <a:bodyPr anchor="ctr"/>
          <a:lstStyle>
            <a:lvl1pPr algn="ctr">
              <a:defRPr sz="800"/>
            </a:lvl1pPr>
          </a:lstStyle>
          <a:p>
            <a:r>
              <a:rPr lang="en-US"/>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88000" y="3236980"/>
            <a:ext cx="607997" cy="608076"/>
          </a:xfrm>
        </p:spPr>
        <p:txBody>
          <a:bodyPr anchor="ctr"/>
          <a:lstStyle>
            <a:lvl1pPr algn="ctr">
              <a:defRPr sz="800"/>
            </a:lvl1pPr>
          </a:lstStyle>
          <a:p>
            <a:r>
              <a:rPr lang="en-US"/>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6380921" y="3238503"/>
            <a:ext cx="607997" cy="608076"/>
          </a:xfrm>
        </p:spPr>
        <p:txBody>
          <a:bodyPr anchor="ctr"/>
          <a:lstStyle>
            <a:lvl1pPr algn="ctr">
              <a:defRPr sz="800"/>
            </a:lvl1pPr>
          </a:lstStyle>
          <a:p>
            <a:r>
              <a:rPr lang="en-US"/>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6095207" y="284958"/>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284127" y="3048000"/>
            <a:ext cx="116205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11767913" y="6469424"/>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957771977"/>
      </p:ext>
    </p:extLst>
  </p:cSld>
  <p:clrMapOvr>
    <a:masterClrMapping/>
  </p:clrMapOvr>
  <p:transition spd="med"/>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3_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8" y="841252"/>
            <a:ext cx="2857128" cy="1138428"/>
          </a:xfrm>
        </p:spPr>
        <p:txBody>
          <a:bodyPr/>
          <a:lstStyle>
            <a:lvl1pPr>
              <a:lnSpc>
                <a:spcPct val="110000"/>
              </a:lnSpc>
              <a:defRPr sz="1800">
                <a:solidFill>
                  <a:schemeClr val="tx2"/>
                </a:solidFill>
              </a:defRPr>
            </a:lvl1pPr>
          </a:lstStyle>
          <a:p>
            <a:r>
              <a:rPr lang="en-US"/>
              <a:t>Click to edit Master title style</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1681" y="288036"/>
            <a:ext cx="2476179"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69" indent="-127969">
              <a:lnSpc>
                <a:spcPct val="110000"/>
              </a:lnSpc>
              <a:spcBef>
                <a:spcPts val="0"/>
              </a:spcBef>
              <a:defRPr sz="1400" b="0" i="0">
                <a:solidFill>
                  <a:schemeClr val="tx1"/>
                </a:solidFill>
                <a:latin typeface="IBM Plex Sans Light" panose="020B0403050203000203" pitchFamily="34" charset="0"/>
              </a:defRPr>
            </a:lvl2pPr>
            <a:lvl3pPr marL="255939" indent="-127969">
              <a:lnSpc>
                <a:spcPct val="110000"/>
              </a:lnSpc>
              <a:spcBef>
                <a:spcPts val="0"/>
              </a:spcBef>
              <a:defRPr sz="1400" b="0" i="0">
                <a:solidFill>
                  <a:schemeClr val="tx1"/>
                </a:solidFill>
                <a:latin typeface="IBM Plex Sans Light" panose="020B0403050203000203" pitchFamily="34" charset="0"/>
              </a:defRPr>
            </a:lvl3pPr>
            <a:lvl4pPr marL="383909" indent="-127969">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3" y="28803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69" indent="-127969">
              <a:lnSpc>
                <a:spcPct val="110000"/>
              </a:lnSpc>
              <a:spcBef>
                <a:spcPts val="0"/>
              </a:spcBef>
              <a:defRPr sz="1400" b="0" i="0">
                <a:solidFill>
                  <a:schemeClr val="tx1"/>
                </a:solidFill>
                <a:latin typeface="IBM Plex Sans Light" panose="020B0403050203000203" pitchFamily="34" charset="0"/>
              </a:defRPr>
            </a:lvl2pPr>
            <a:lvl3pPr marL="255939" indent="-127969">
              <a:lnSpc>
                <a:spcPct val="110000"/>
              </a:lnSpc>
              <a:spcBef>
                <a:spcPts val="0"/>
              </a:spcBef>
              <a:defRPr sz="1400" b="0" i="0">
                <a:solidFill>
                  <a:schemeClr val="tx1"/>
                </a:solidFill>
                <a:latin typeface="IBM Plex Sans Light" panose="020B0403050203000203" pitchFamily="34" charset="0"/>
              </a:defRPr>
            </a:lvl3pPr>
            <a:lvl4pPr marL="383909" indent="-127969">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8" y="3333753"/>
            <a:ext cx="2476179"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69" indent="-127969">
              <a:lnSpc>
                <a:spcPct val="110000"/>
              </a:lnSpc>
              <a:spcBef>
                <a:spcPts val="0"/>
              </a:spcBef>
              <a:defRPr sz="1400" b="0" i="0">
                <a:solidFill>
                  <a:schemeClr val="tx1"/>
                </a:solidFill>
                <a:latin typeface="IBM Plex Sans Light" panose="020B0403050203000203" pitchFamily="34" charset="0"/>
              </a:defRPr>
            </a:lvl2pPr>
            <a:lvl3pPr marL="255939" indent="-127969">
              <a:lnSpc>
                <a:spcPct val="110000"/>
              </a:lnSpc>
              <a:spcBef>
                <a:spcPts val="0"/>
              </a:spcBef>
              <a:defRPr sz="1400" b="0" i="0">
                <a:solidFill>
                  <a:schemeClr val="tx1"/>
                </a:solidFill>
                <a:latin typeface="IBM Plex Sans Light" panose="020B0403050203000203" pitchFamily="34" charset="0"/>
              </a:defRPr>
            </a:lvl3pPr>
            <a:lvl4pPr marL="383909" indent="-127969">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3" y="3333753"/>
            <a:ext cx="2476179"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69" indent="-127969">
              <a:lnSpc>
                <a:spcPct val="110000"/>
              </a:lnSpc>
              <a:spcBef>
                <a:spcPts val="0"/>
              </a:spcBef>
              <a:defRPr sz="1400" b="0" i="0">
                <a:solidFill>
                  <a:schemeClr val="tx1"/>
                </a:solidFill>
                <a:latin typeface="IBM Plex Sans Light" panose="020B0403050203000203" pitchFamily="34" charset="0"/>
              </a:defRPr>
            </a:lvl2pPr>
            <a:lvl3pPr marL="255939" indent="-127969">
              <a:lnSpc>
                <a:spcPct val="110000"/>
              </a:lnSpc>
              <a:spcBef>
                <a:spcPts val="0"/>
              </a:spcBef>
              <a:defRPr sz="1400" b="0" i="0">
                <a:solidFill>
                  <a:schemeClr val="tx1"/>
                </a:solidFill>
                <a:latin typeface="IBM Plex Sans Light" panose="020B0403050203000203" pitchFamily="34" charset="0"/>
              </a:defRPr>
            </a:lvl3pPr>
            <a:lvl4pPr marL="383909" indent="-127969">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8000" y="288038"/>
            <a:ext cx="2477765" cy="570707"/>
          </a:xfrm>
        </p:spPr>
        <p:txBody>
          <a:bodyPr/>
          <a:lstStyle>
            <a:lvl1pPr>
              <a:defRPr sz="14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11767913" y="6469424"/>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046561122"/>
      </p:ext>
    </p:extLst>
  </p:cSld>
  <p:clrMapOvr>
    <a:masterClrMapping/>
  </p:clrMapOvr>
  <p:transition spd="med"/>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7_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763528"/>
            <a:ext cx="5521400" cy="1138428"/>
          </a:xfrm>
        </p:spPr>
        <p:txBody>
          <a:bodyPr rIns="457200"/>
          <a:lstStyle>
            <a:lvl1pPr>
              <a:lnSpc>
                <a:spcPct val="110000"/>
              </a:lnSpc>
              <a:defRPr sz="3198">
                <a:solidFill>
                  <a:schemeClr val="tx2"/>
                </a:solidFill>
              </a:defRPr>
            </a:lvl1pPr>
          </a:lstStyle>
          <a:p>
            <a:r>
              <a:rPr lang="en-US"/>
              <a:t>Click to edit Master title style</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8" y="284956"/>
            <a:ext cx="2476179"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69" indent="-127969">
              <a:lnSpc>
                <a:spcPct val="110000"/>
              </a:lnSpc>
              <a:spcBef>
                <a:spcPts val="0"/>
              </a:spcBef>
              <a:defRPr sz="1400" b="0" i="0">
                <a:solidFill>
                  <a:schemeClr val="tx1"/>
                </a:solidFill>
                <a:latin typeface="IBM Plex Sans Light" panose="020B0403050203000203" pitchFamily="34" charset="0"/>
              </a:defRPr>
            </a:lvl2pPr>
            <a:lvl3pPr marL="255939" indent="-127969">
              <a:lnSpc>
                <a:spcPct val="110000"/>
              </a:lnSpc>
              <a:spcBef>
                <a:spcPts val="0"/>
              </a:spcBef>
              <a:defRPr sz="1400" b="0" i="0">
                <a:solidFill>
                  <a:schemeClr val="tx1"/>
                </a:solidFill>
                <a:latin typeface="IBM Plex Sans Light" panose="020B0403050203000203" pitchFamily="34" charset="0"/>
              </a:defRPr>
            </a:lvl3pPr>
            <a:lvl4pPr marL="383909" indent="-127969">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3" y="28495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69" indent="-127969">
              <a:lnSpc>
                <a:spcPct val="110000"/>
              </a:lnSpc>
              <a:spcBef>
                <a:spcPts val="0"/>
              </a:spcBef>
              <a:defRPr sz="1400" b="0" i="0">
                <a:solidFill>
                  <a:schemeClr val="tx1"/>
                </a:solidFill>
                <a:latin typeface="IBM Plex Sans Light" panose="020B0403050203000203" pitchFamily="34" charset="0"/>
              </a:defRPr>
            </a:lvl2pPr>
            <a:lvl3pPr marL="255939" indent="-127969">
              <a:lnSpc>
                <a:spcPct val="110000"/>
              </a:lnSpc>
              <a:spcBef>
                <a:spcPts val="0"/>
              </a:spcBef>
              <a:defRPr sz="1400" b="0" i="0">
                <a:solidFill>
                  <a:schemeClr val="tx1"/>
                </a:solidFill>
                <a:latin typeface="IBM Plex Sans Light" panose="020B0403050203000203" pitchFamily="34" charset="0"/>
              </a:defRPr>
            </a:lvl3pPr>
            <a:lvl4pPr marL="383909" indent="-127969">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8" y="3333753"/>
            <a:ext cx="2476179"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69" indent="-127969">
              <a:lnSpc>
                <a:spcPct val="110000"/>
              </a:lnSpc>
              <a:spcBef>
                <a:spcPts val="0"/>
              </a:spcBef>
              <a:defRPr sz="1400" b="0" i="0">
                <a:solidFill>
                  <a:schemeClr val="tx1"/>
                </a:solidFill>
                <a:latin typeface="IBM Plex Sans Light" panose="020B0403050203000203" pitchFamily="34" charset="0"/>
              </a:defRPr>
            </a:lvl2pPr>
            <a:lvl3pPr marL="255939" indent="-127969">
              <a:lnSpc>
                <a:spcPct val="110000"/>
              </a:lnSpc>
              <a:spcBef>
                <a:spcPts val="0"/>
              </a:spcBef>
              <a:defRPr sz="1400" b="0" i="0">
                <a:solidFill>
                  <a:schemeClr val="tx1"/>
                </a:solidFill>
                <a:latin typeface="IBM Plex Sans Light" panose="020B0403050203000203" pitchFamily="34" charset="0"/>
              </a:defRPr>
            </a:lvl3pPr>
            <a:lvl4pPr marL="383909" indent="-127969">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3" y="3333753"/>
            <a:ext cx="2476179"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69" indent="-127969">
              <a:lnSpc>
                <a:spcPct val="110000"/>
              </a:lnSpc>
              <a:spcBef>
                <a:spcPts val="0"/>
              </a:spcBef>
              <a:defRPr sz="1400" b="0" i="0">
                <a:solidFill>
                  <a:schemeClr val="tx1"/>
                </a:solidFill>
                <a:latin typeface="IBM Plex Sans Light" panose="020B0403050203000203" pitchFamily="34" charset="0"/>
              </a:defRPr>
            </a:lvl2pPr>
            <a:lvl3pPr marL="255939" indent="-127969">
              <a:lnSpc>
                <a:spcPct val="110000"/>
              </a:lnSpc>
              <a:spcBef>
                <a:spcPts val="0"/>
              </a:spcBef>
              <a:defRPr sz="1400" b="0" i="0">
                <a:solidFill>
                  <a:schemeClr val="tx1"/>
                </a:solidFill>
                <a:latin typeface="IBM Plex Sans Light" panose="020B0403050203000203" pitchFamily="34" charset="0"/>
              </a:defRPr>
            </a:lvl3pPr>
            <a:lvl4pPr marL="383909" indent="-127969">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8000" y="288040"/>
            <a:ext cx="2477765" cy="224028"/>
          </a:xfrm>
        </p:spPr>
        <p:txBody>
          <a:bodyPr/>
          <a:lstStyle>
            <a:lvl1pPr>
              <a:defRPr sz="14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11767913" y="6469424"/>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253738478"/>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A98C3C-C65E-A26D-A8E0-66F5D749BA5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891DFFA-C14F-49C5-E2D1-0FC86353E1FD}"/>
              </a:ext>
            </a:extLst>
          </p:cNvPr>
          <p:cNvSpPr>
            <a:spLocks noGrp="1"/>
          </p:cNvSpPr>
          <p:nvPr>
            <p:ph type="dt" sz="half" idx="10"/>
          </p:nvPr>
        </p:nvSpPr>
        <p:spPr/>
        <p:txBody>
          <a:bodyPr/>
          <a:lstStyle/>
          <a:p>
            <a:fld id="{C1064F87-A3FE-7D41-BA7F-E073D7C6AC88}" type="datetimeFigureOut">
              <a:rPr lang="en-US" smtClean="0"/>
              <a:t>3/24/2025</a:t>
            </a:fld>
            <a:endParaRPr lang="en-US"/>
          </a:p>
        </p:txBody>
      </p:sp>
      <p:sp>
        <p:nvSpPr>
          <p:cNvPr id="4" name="Footer Placeholder 3">
            <a:extLst>
              <a:ext uri="{FF2B5EF4-FFF2-40B4-BE49-F238E27FC236}">
                <a16:creationId xmlns:a16="http://schemas.microsoft.com/office/drawing/2014/main" id="{1B39ABE0-4025-B3B8-44F9-EEFE89A43A3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29550B3-88B3-4676-3CC5-685F65D0A2F0}"/>
              </a:ext>
            </a:extLst>
          </p:cNvPr>
          <p:cNvSpPr>
            <a:spLocks noGrp="1"/>
          </p:cNvSpPr>
          <p:nvPr>
            <p:ph type="sldNum" sz="quarter" idx="12"/>
          </p:nvPr>
        </p:nvSpPr>
        <p:spPr/>
        <p:txBody>
          <a:bodyPr/>
          <a:lstStyle/>
          <a:p>
            <a:fld id="{DED3338A-C6D4-DE4D-B610-199F7004D0E1}" type="slidenum">
              <a:rPr lang="en-US" smtClean="0"/>
              <a:t>‹#›</a:t>
            </a:fld>
            <a:endParaRPr lang="en-US"/>
          </a:p>
        </p:txBody>
      </p:sp>
    </p:spTree>
    <p:extLst>
      <p:ext uri="{BB962C8B-B14F-4D97-AF65-F5344CB8AC3E}">
        <p14:creationId xmlns:p14="http://schemas.microsoft.com/office/powerpoint/2010/main" val="122957490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7" name="Picture Placeholder 7" descr="Place bio portrait here">
            <a:extLst>
              <a:ext uri="{FF2B5EF4-FFF2-40B4-BE49-F238E27FC236}">
                <a16:creationId xmlns:a16="http://schemas.microsoft.com/office/drawing/2014/main" id="{0B1677E6-5066-100D-29D6-CCAD04C21BCE}"/>
              </a:ext>
            </a:extLst>
          </p:cNvPr>
          <p:cNvSpPr>
            <a:spLocks noGrp="1"/>
          </p:cNvSpPr>
          <p:nvPr>
            <p:ph type="pic" sz="quarter" idx="28" hasCustomPrompt="1"/>
          </p:nvPr>
        </p:nvSpPr>
        <p:spPr>
          <a:xfrm>
            <a:off x="287962" y="1522412"/>
            <a:ext cx="1231041" cy="1238250"/>
          </a:xfrm>
          <a:solidFill>
            <a:srgbClr val="E0E0E0"/>
          </a:solidFill>
        </p:spPr>
        <p:txBody>
          <a:bodyPr anchor="ctr"/>
          <a:lstStyle>
            <a:lvl1pPr algn="ctr">
              <a:defRPr>
                <a:solidFill>
                  <a:schemeClr val="accent5"/>
                </a:solidFill>
              </a:defRPr>
            </a:lvl1pPr>
          </a:lstStyle>
          <a:p>
            <a:r>
              <a:rPr lang="en-US"/>
              <a:t>Place imagery here</a:t>
            </a:r>
          </a:p>
        </p:txBody>
      </p:sp>
      <p:sp>
        <p:nvSpPr>
          <p:cNvPr id="13" name="Picture Placeholder 7" descr="Place bio portrait here">
            <a:extLst>
              <a:ext uri="{FF2B5EF4-FFF2-40B4-BE49-F238E27FC236}">
                <a16:creationId xmlns:a16="http://schemas.microsoft.com/office/drawing/2014/main" id="{3DCE12BA-53E1-8B67-A029-029F1E6F9163}"/>
              </a:ext>
            </a:extLst>
          </p:cNvPr>
          <p:cNvSpPr>
            <a:spLocks noGrp="1"/>
          </p:cNvSpPr>
          <p:nvPr>
            <p:ph type="pic" sz="quarter" idx="30" hasCustomPrompt="1"/>
          </p:nvPr>
        </p:nvSpPr>
        <p:spPr>
          <a:xfrm>
            <a:off x="287962" y="3048000"/>
            <a:ext cx="123104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5" name="Picture Placeholder 7" descr="Place bio portrait here">
            <a:extLst>
              <a:ext uri="{FF2B5EF4-FFF2-40B4-BE49-F238E27FC236}">
                <a16:creationId xmlns:a16="http://schemas.microsoft.com/office/drawing/2014/main" id="{05E149CA-A25F-74EE-93DF-1A877CDE924F}"/>
              </a:ext>
            </a:extLst>
          </p:cNvPr>
          <p:cNvSpPr>
            <a:spLocks noGrp="1"/>
          </p:cNvSpPr>
          <p:nvPr>
            <p:ph type="pic" sz="quarter" idx="32" hasCustomPrompt="1"/>
          </p:nvPr>
        </p:nvSpPr>
        <p:spPr>
          <a:xfrm>
            <a:off x="287962" y="4570413"/>
            <a:ext cx="123104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5" name="Picture Placeholder 7" descr="Place bio portrait here">
            <a:extLst>
              <a:ext uri="{FF2B5EF4-FFF2-40B4-BE49-F238E27FC236}">
                <a16:creationId xmlns:a16="http://schemas.microsoft.com/office/drawing/2014/main" id="{AAC7C1AD-0F8C-4D02-0112-981444AFE98D}"/>
              </a:ext>
            </a:extLst>
          </p:cNvPr>
          <p:cNvSpPr>
            <a:spLocks noGrp="1"/>
          </p:cNvSpPr>
          <p:nvPr>
            <p:ph type="pic" sz="quarter" idx="34" hasCustomPrompt="1"/>
          </p:nvPr>
        </p:nvSpPr>
        <p:spPr>
          <a:xfrm>
            <a:off x="6389168" y="1522412"/>
            <a:ext cx="1229708"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7" name="Picture Placeholder 7" descr="Place bio portrait here">
            <a:extLst>
              <a:ext uri="{FF2B5EF4-FFF2-40B4-BE49-F238E27FC236}">
                <a16:creationId xmlns:a16="http://schemas.microsoft.com/office/drawing/2014/main" id="{22271FFB-E2D1-459B-4089-A291A1110AE8}"/>
              </a:ext>
            </a:extLst>
          </p:cNvPr>
          <p:cNvSpPr>
            <a:spLocks noGrp="1"/>
          </p:cNvSpPr>
          <p:nvPr>
            <p:ph type="pic" sz="quarter" idx="36" hasCustomPrompt="1"/>
          </p:nvPr>
        </p:nvSpPr>
        <p:spPr>
          <a:xfrm>
            <a:off x="6389168" y="3048000"/>
            <a:ext cx="1229708"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9" name="Picture Placeholder 7" descr="Place bio portrait here">
            <a:extLst>
              <a:ext uri="{FF2B5EF4-FFF2-40B4-BE49-F238E27FC236}">
                <a16:creationId xmlns:a16="http://schemas.microsoft.com/office/drawing/2014/main" id="{F3C99020-5BF1-8A8C-BDCB-42766A5B9BE5}"/>
              </a:ext>
            </a:extLst>
          </p:cNvPr>
          <p:cNvSpPr>
            <a:spLocks noGrp="1"/>
          </p:cNvSpPr>
          <p:nvPr>
            <p:ph type="pic" sz="quarter" idx="38" hasCustomPrompt="1"/>
          </p:nvPr>
        </p:nvSpPr>
        <p:spPr>
          <a:xfrm>
            <a:off x="6389168" y="4570413"/>
            <a:ext cx="1229708"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63" y="288036"/>
            <a:ext cx="2474590" cy="762794"/>
          </a:xfrm>
        </p:spPr>
        <p:txBody>
          <a:bodyPr/>
          <a:lstStyle>
            <a:lvl1pPr>
              <a:lnSpc>
                <a:spcPct val="110000"/>
              </a:lnSpc>
              <a:defRPr sz="1400">
                <a:solidFill>
                  <a:schemeClr val="tx2"/>
                </a:solidFill>
              </a:defRPr>
            </a:lvl1pPr>
          </a:lstStyle>
          <a:p>
            <a:r>
              <a:rPr lang="en-US"/>
              <a:t>Click to edit Master title styl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714277" y="1522412"/>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714277" y="30480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714277" y="4570413"/>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7807896" y="1522412"/>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7807896" y="30480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7807896" y="4570413"/>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3">
            <a:extLst>
              <a:ext uri="{FF2B5EF4-FFF2-40B4-BE49-F238E27FC236}">
                <a16:creationId xmlns:a16="http://schemas.microsoft.com/office/drawing/2014/main" id="{7D4D4C25-96EE-FF6D-B301-962CD7A63666}"/>
              </a:ext>
            </a:extLst>
          </p:cNvPr>
          <p:cNvSpPr>
            <a:spLocks noGrp="1"/>
          </p:cNvSpPr>
          <p:nvPr>
            <p:ph type="ftr" sz="quarter" idx="18"/>
          </p:nvPr>
        </p:nvSpPr>
        <p:spPr>
          <a:xfrm>
            <a:off x="287963" y="6408000"/>
            <a:ext cx="2477765" cy="190500"/>
          </a:xfrm>
        </p:spPr>
        <p:txBody>
          <a:bodyPr/>
          <a:lstStyle/>
          <a:p>
            <a:endParaRPr lang="en-US"/>
          </a:p>
        </p:txBody>
      </p:sp>
      <p:sp>
        <p:nvSpPr>
          <p:cNvPr id="6" name="Slide Number">
            <a:extLst>
              <a:ext uri="{FF2B5EF4-FFF2-40B4-BE49-F238E27FC236}">
                <a16:creationId xmlns:a16="http://schemas.microsoft.com/office/drawing/2014/main" id="{DA0E5B0D-36A0-4281-7D57-C2CC4453113C}"/>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542599842"/>
      </p:ext>
    </p:extLst>
  </p:cSld>
  <p:clrMapOvr>
    <a:masterClrMapping/>
  </p:clrMapOvr>
  <p:transition spd="med"/>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4_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8000" y="288038"/>
            <a:ext cx="2477765" cy="2286795"/>
          </a:xfrm>
        </p:spPr>
        <p:txBody>
          <a:bodyPr/>
          <a:lstStyle>
            <a:lvl1pPr>
              <a:lnSpc>
                <a:spcPct val="100000"/>
              </a:lnSpc>
              <a:defRPr sz="1400">
                <a:solidFill>
                  <a:schemeClr val="tx2"/>
                </a:solidFill>
              </a:defRPr>
            </a:lvl1pPr>
          </a:lstStyle>
          <a:p>
            <a:r>
              <a:rPr lang="en-US"/>
              <a:t>Click to edit Master title style</a:t>
            </a:r>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8000" y="3328418"/>
            <a:ext cx="2474591" cy="2672459"/>
          </a:xfrm>
        </p:spPr>
        <p:txBody>
          <a:bodyPr/>
          <a:lstStyle>
            <a:lvl1pPr>
              <a:spcBef>
                <a:spcPts val="0"/>
              </a:spcBef>
              <a:defRPr sz="1400">
                <a:solidFill>
                  <a:schemeClr val="tx1"/>
                </a:solidFill>
              </a:defRPr>
            </a:lvl1pPr>
            <a:lvl2pPr marL="127969" indent="-127969">
              <a:spcBef>
                <a:spcPts val="0"/>
              </a:spcBef>
              <a:defRPr sz="1400">
                <a:solidFill>
                  <a:schemeClr val="tx1"/>
                </a:solidFill>
              </a:defRPr>
            </a:lvl2pPr>
            <a:lvl3pPr marL="255939" indent="-127969">
              <a:spcBef>
                <a:spcPts val="0"/>
              </a:spcBef>
              <a:defRPr sz="1400">
                <a:solidFill>
                  <a:schemeClr val="tx1"/>
                </a:solidFill>
              </a:defRPr>
            </a:lvl3pPr>
            <a:lvl4pPr marL="383909" indent="-127969">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1190" y="3333752"/>
            <a:ext cx="2474591" cy="2672459"/>
          </a:xfrm>
        </p:spPr>
        <p:txBody>
          <a:bodyPr/>
          <a:lstStyle>
            <a:lvl1pPr>
              <a:spcBef>
                <a:spcPts val="0"/>
              </a:spcBef>
              <a:defRPr sz="1400">
                <a:solidFill>
                  <a:schemeClr val="tx1"/>
                </a:solidFill>
              </a:defRPr>
            </a:lvl1pPr>
            <a:lvl2pPr marL="127969" indent="-127969">
              <a:spcBef>
                <a:spcPts val="0"/>
              </a:spcBef>
              <a:defRPr sz="1400">
                <a:solidFill>
                  <a:schemeClr val="tx1"/>
                </a:solidFill>
              </a:defRPr>
            </a:lvl2pPr>
            <a:lvl3pPr marL="255939" indent="-127969">
              <a:spcBef>
                <a:spcPts val="0"/>
              </a:spcBef>
              <a:defRPr sz="1400">
                <a:solidFill>
                  <a:schemeClr val="tx1"/>
                </a:solidFill>
              </a:defRPr>
            </a:lvl3pPr>
            <a:lvl4pPr marL="383909" indent="-127969">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52" y="3333752"/>
            <a:ext cx="2474591" cy="2672459"/>
          </a:xfrm>
        </p:spPr>
        <p:txBody>
          <a:bodyPr/>
          <a:lstStyle>
            <a:lvl1pPr>
              <a:spcBef>
                <a:spcPts val="0"/>
              </a:spcBef>
              <a:defRPr sz="1400">
                <a:solidFill>
                  <a:schemeClr val="tx1"/>
                </a:solidFill>
              </a:defRPr>
            </a:lvl1pPr>
            <a:lvl2pPr marL="127969" indent="-127969">
              <a:spcBef>
                <a:spcPts val="0"/>
              </a:spcBef>
              <a:defRPr sz="1400">
                <a:solidFill>
                  <a:schemeClr val="tx1"/>
                </a:solidFill>
              </a:defRPr>
            </a:lvl2pPr>
            <a:lvl3pPr marL="255939" indent="-127969">
              <a:spcBef>
                <a:spcPts val="0"/>
              </a:spcBef>
              <a:defRPr sz="1400">
                <a:solidFill>
                  <a:schemeClr val="tx1"/>
                </a:solidFill>
              </a:defRPr>
            </a:lvl3pPr>
            <a:lvl4pPr marL="383909" indent="-127969">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6" y="3333752"/>
            <a:ext cx="2474591" cy="2672459"/>
          </a:xfrm>
        </p:spPr>
        <p:txBody>
          <a:bodyPr/>
          <a:lstStyle>
            <a:lvl1pPr>
              <a:spcBef>
                <a:spcPts val="0"/>
              </a:spcBef>
              <a:defRPr sz="1400">
                <a:solidFill>
                  <a:schemeClr val="tx1"/>
                </a:solidFill>
              </a:defRPr>
            </a:lvl1pPr>
            <a:lvl2pPr marL="127969" indent="-127969">
              <a:spcBef>
                <a:spcPts val="0"/>
              </a:spcBef>
              <a:defRPr sz="1400">
                <a:solidFill>
                  <a:schemeClr val="tx1"/>
                </a:solidFill>
              </a:defRPr>
            </a:lvl2pPr>
            <a:lvl3pPr marL="255939" indent="-127969">
              <a:spcBef>
                <a:spcPts val="0"/>
              </a:spcBef>
              <a:defRPr sz="1400">
                <a:solidFill>
                  <a:schemeClr val="tx1"/>
                </a:solidFill>
              </a:defRPr>
            </a:lvl3pPr>
            <a:lvl4pPr marL="383909" indent="-127969">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11767913" y="6469424"/>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067525935"/>
      </p:ext>
    </p:extLst>
  </p:cSld>
  <p:clrMapOvr>
    <a:masterClrMapping/>
  </p:clrMapOvr>
  <p:transition spd="med"/>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3_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8000" y="192026"/>
            <a:ext cx="5524575" cy="2286795"/>
          </a:xfrm>
        </p:spPr>
        <p:txBody>
          <a:bodyPr rIns="457200"/>
          <a:lstStyle>
            <a:lvl1pPr>
              <a:lnSpc>
                <a:spcPct val="100000"/>
              </a:lnSpc>
              <a:defRPr>
                <a:solidFill>
                  <a:schemeClr val="tx2"/>
                </a:solidFill>
              </a:defRPr>
            </a:lvl1pPr>
          </a:lstStyle>
          <a:p>
            <a:r>
              <a:rPr lang="en-US"/>
              <a:t>Click to edit Master title style</a:t>
            </a:r>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8000" y="3328418"/>
            <a:ext cx="2474591" cy="2672459"/>
          </a:xfrm>
        </p:spPr>
        <p:txBody>
          <a:bodyPr/>
          <a:lstStyle>
            <a:lvl1pPr>
              <a:spcBef>
                <a:spcPts val="0"/>
              </a:spcBef>
              <a:defRPr sz="1400">
                <a:solidFill>
                  <a:schemeClr val="tx1"/>
                </a:solidFill>
              </a:defRPr>
            </a:lvl1pPr>
            <a:lvl2pPr marL="127969" indent="-127969">
              <a:spcBef>
                <a:spcPts val="0"/>
              </a:spcBef>
              <a:defRPr sz="1400">
                <a:solidFill>
                  <a:schemeClr val="tx1"/>
                </a:solidFill>
              </a:defRPr>
            </a:lvl2pPr>
            <a:lvl3pPr marL="255939" indent="-127969">
              <a:spcBef>
                <a:spcPts val="0"/>
              </a:spcBef>
              <a:defRPr sz="1400">
                <a:solidFill>
                  <a:schemeClr val="tx1"/>
                </a:solidFill>
              </a:defRPr>
            </a:lvl3pPr>
            <a:lvl4pPr marL="383909" indent="-127969">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4365" y="3333752"/>
            <a:ext cx="2474591" cy="2672459"/>
          </a:xfrm>
        </p:spPr>
        <p:txBody>
          <a:bodyPr/>
          <a:lstStyle>
            <a:lvl1pPr>
              <a:spcBef>
                <a:spcPts val="0"/>
              </a:spcBef>
              <a:defRPr sz="1400">
                <a:solidFill>
                  <a:schemeClr val="tx1"/>
                </a:solidFill>
              </a:defRPr>
            </a:lvl1pPr>
            <a:lvl2pPr marL="127969" indent="-127969">
              <a:spcBef>
                <a:spcPts val="0"/>
              </a:spcBef>
              <a:defRPr sz="1400">
                <a:solidFill>
                  <a:schemeClr val="tx1"/>
                </a:solidFill>
              </a:defRPr>
            </a:lvl2pPr>
            <a:lvl3pPr marL="255939" indent="-127969">
              <a:spcBef>
                <a:spcPts val="0"/>
              </a:spcBef>
              <a:defRPr sz="1400">
                <a:solidFill>
                  <a:schemeClr val="tx1"/>
                </a:solidFill>
              </a:defRPr>
            </a:lvl3pPr>
            <a:lvl4pPr marL="383909" indent="-127969">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52" y="3333752"/>
            <a:ext cx="2474591" cy="2672459"/>
          </a:xfrm>
        </p:spPr>
        <p:txBody>
          <a:bodyPr/>
          <a:lstStyle>
            <a:lvl1pPr>
              <a:spcBef>
                <a:spcPts val="0"/>
              </a:spcBef>
              <a:defRPr sz="1400">
                <a:solidFill>
                  <a:schemeClr val="tx1"/>
                </a:solidFill>
              </a:defRPr>
            </a:lvl1pPr>
            <a:lvl2pPr marL="127969" indent="-127969">
              <a:spcBef>
                <a:spcPts val="0"/>
              </a:spcBef>
              <a:defRPr sz="1400">
                <a:solidFill>
                  <a:schemeClr val="tx1"/>
                </a:solidFill>
              </a:defRPr>
            </a:lvl2pPr>
            <a:lvl3pPr marL="255939" indent="-127969">
              <a:spcBef>
                <a:spcPts val="0"/>
              </a:spcBef>
              <a:defRPr sz="1400">
                <a:solidFill>
                  <a:schemeClr val="tx1"/>
                </a:solidFill>
              </a:defRPr>
            </a:lvl3pPr>
            <a:lvl4pPr marL="383909" indent="-127969">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6" y="3333752"/>
            <a:ext cx="2474591" cy="2672459"/>
          </a:xfrm>
        </p:spPr>
        <p:txBody>
          <a:bodyPr/>
          <a:lstStyle>
            <a:lvl1pPr>
              <a:spcBef>
                <a:spcPts val="0"/>
              </a:spcBef>
              <a:defRPr sz="1400">
                <a:solidFill>
                  <a:schemeClr val="tx1"/>
                </a:solidFill>
              </a:defRPr>
            </a:lvl1pPr>
            <a:lvl2pPr marL="127969" indent="-127969">
              <a:spcBef>
                <a:spcPts val="0"/>
              </a:spcBef>
              <a:defRPr sz="1400">
                <a:solidFill>
                  <a:schemeClr val="tx1"/>
                </a:solidFill>
              </a:defRPr>
            </a:lvl2pPr>
            <a:lvl3pPr marL="255939" indent="-127969">
              <a:spcBef>
                <a:spcPts val="0"/>
              </a:spcBef>
              <a:defRPr sz="1400">
                <a:solidFill>
                  <a:schemeClr val="tx1"/>
                </a:solidFill>
              </a:defRPr>
            </a:lvl3pPr>
            <a:lvl4pPr marL="383909" indent="-127969">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7913" y="6469424"/>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60582746"/>
      </p:ext>
    </p:extLst>
  </p:cSld>
  <p:clrMapOvr>
    <a:masterClrMapping/>
  </p:clrMapOvr>
  <p:transition spd="med"/>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3_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8000" y="288038"/>
            <a:ext cx="2474591" cy="2286795"/>
          </a:xfrm>
        </p:spPr>
        <p:txBody>
          <a:bodyPr/>
          <a:lstStyle>
            <a:lvl1pPr>
              <a:lnSpc>
                <a:spcPct val="110000"/>
              </a:lnSpc>
              <a:defRPr sz="1400">
                <a:solidFill>
                  <a:schemeClr val="tx2"/>
                </a:solidFill>
              </a:defRPr>
            </a:lvl1pPr>
          </a:lstStyle>
          <a:p>
            <a:r>
              <a:rPr lang="en-US"/>
              <a:t>Click to edit Master title style</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8" y="288036"/>
            <a:ext cx="2476179"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69" indent="-127969">
              <a:lnSpc>
                <a:spcPct val="110000"/>
              </a:lnSpc>
              <a:spcBef>
                <a:spcPts val="0"/>
              </a:spcBef>
              <a:defRPr sz="1400" b="0" i="0">
                <a:solidFill>
                  <a:schemeClr val="tx1"/>
                </a:solidFill>
                <a:latin typeface="IBM Plex Sans Light" panose="020B0403050203000203" pitchFamily="34" charset="0"/>
              </a:defRPr>
            </a:lvl2pPr>
            <a:lvl3pPr marL="255939" indent="-127969">
              <a:lnSpc>
                <a:spcPct val="110000"/>
              </a:lnSpc>
              <a:spcBef>
                <a:spcPts val="0"/>
              </a:spcBef>
              <a:defRPr sz="1400" b="0" i="0">
                <a:solidFill>
                  <a:schemeClr val="tx1"/>
                </a:solidFill>
                <a:latin typeface="IBM Plex Sans Light" panose="020B0403050203000203" pitchFamily="34" charset="0"/>
              </a:defRPr>
            </a:lvl3pPr>
            <a:lvl4pPr marL="383909" indent="-127969">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3" y="28803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69" indent="-127969">
              <a:lnSpc>
                <a:spcPct val="110000"/>
              </a:lnSpc>
              <a:spcBef>
                <a:spcPts val="0"/>
              </a:spcBef>
              <a:defRPr sz="1400" b="0" i="0">
                <a:solidFill>
                  <a:schemeClr val="tx1"/>
                </a:solidFill>
                <a:latin typeface="IBM Plex Sans Light" panose="020B0403050203000203" pitchFamily="34" charset="0"/>
              </a:defRPr>
            </a:lvl2pPr>
            <a:lvl3pPr marL="255939" indent="-127969">
              <a:lnSpc>
                <a:spcPct val="110000"/>
              </a:lnSpc>
              <a:spcBef>
                <a:spcPts val="0"/>
              </a:spcBef>
              <a:defRPr sz="1400" b="0" i="0">
                <a:solidFill>
                  <a:schemeClr val="tx1"/>
                </a:solidFill>
                <a:latin typeface="IBM Plex Sans Light" panose="020B0403050203000203" pitchFamily="34" charset="0"/>
              </a:defRPr>
            </a:lvl3pPr>
            <a:lvl4pPr marL="383909" indent="-127969">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8" y="3333753"/>
            <a:ext cx="2476179"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69" indent="-127969">
              <a:lnSpc>
                <a:spcPct val="110000"/>
              </a:lnSpc>
              <a:spcBef>
                <a:spcPts val="0"/>
              </a:spcBef>
              <a:defRPr sz="1400" b="0" i="0">
                <a:solidFill>
                  <a:schemeClr val="tx1"/>
                </a:solidFill>
                <a:latin typeface="IBM Plex Sans Light" panose="020B0403050203000203" pitchFamily="34" charset="0"/>
              </a:defRPr>
            </a:lvl2pPr>
            <a:lvl3pPr marL="255939" indent="-127969">
              <a:lnSpc>
                <a:spcPct val="110000"/>
              </a:lnSpc>
              <a:spcBef>
                <a:spcPts val="0"/>
              </a:spcBef>
              <a:defRPr sz="1400" b="0" i="0">
                <a:solidFill>
                  <a:schemeClr val="tx1"/>
                </a:solidFill>
                <a:latin typeface="IBM Plex Sans Light" panose="020B0403050203000203" pitchFamily="34" charset="0"/>
              </a:defRPr>
            </a:lvl3pPr>
            <a:lvl4pPr marL="383909" indent="-127969">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3" y="3333753"/>
            <a:ext cx="2476179"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69" indent="-127969">
              <a:lnSpc>
                <a:spcPct val="110000"/>
              </a:lnSpc>
              <a:spcBef>
                <a:spcPts val="0"/>
              </a:spcBef>
              <a:defRPr sz="1400" b="0" i="0">
                <a:solidFill>
                  <a:schemeClr val="tx1"/>
                </a:solidFill>
                <a:latin typeface="IBM Plex Sans Light" panose="020B0403050203000203" pitchFamily="34" charset="0"/>
              </a:defRPr>
            </a:lvl2pPr>
            <a:lvl3pPr marL="255939" indent="-127969">
              <a:lnSpc>
                <a:spcPct val="110000"/>
              </a:lnSpc>
              <a:spcBef>
                <a:spcPts val="0"/>
              </a:spcBef>
              <a:defRPr sz="1400" b="0" i="0">
                <a:solidFill>
                  <a:schemeClr val="tx1"/>
                </a:solidFill>
                <a:latin typeface="IBM Plex Sans Light" panose="020B0403050203000203" pitchFamily="34" charset="0"/>
              </a:defRPr>
            </a:lvl3pPr>
            <a:lvl4pPr marL="383909" indent="-127969">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3332554" y="288036"/>
            <a:ext cx="2476179"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69" indent="-127969">
              <a:lnSpc>
                <a:spcPct val="110000"/>
              </a:lnSpc>
              <a:spcBef>
                <a:spcPts val="0"/>
              </a:spcBef>
              <a:defRPr sz="1400" b="0" i="0">
                <a:solidFill>
                  <a:schemeClr val="tx1"/>
                </a:solidFill>
                <a:latin typeface="IBM Plex Sans Light" panose="020B0403050203000203" pitchFamily="34" charset="0"/>
              </a:defRPr>
            </a:lvl2pPr>
            <a:lvl3pPr marL="255939" indent="-127969">
              <a:lnSpc>
                <a:spcPct val="110000"/>
              </a:lnSpc>
              <a:spcBef>
                <a:spcPts val="0"/>
              </a:spcBef>
              <a:defRPr sz="1400" b="0" i="0">
                <a:solidFill>
                  <a:schemeClr val="tx1"/>
                </a:solidFill>
                <a:latin typeface="IBM Plex Sans Light" panose="020B0403050203000203" pitchFamily="34" charset="0"/>
              </a:defRPr>
            </a:lvl3pPr>
            <a:lvl4pPr marL="383909" indent="-127969">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3334141" y="3333753"/>
            <a:ext cx="2476179"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69" indent="-127969">
              <a:lnSpc>
                <a:spcPct val="110000"/>
              </a:lnSpc>
              <a:spcBef>
                <a:spcPts val="0"/>
              </a:spcBef>
              <a:defRPr sz="1400" b="0" i="0">
                <a:solidFill>
                  <a:schemeClr val="tx1"/>
                </a:solidFill>
                <a:latin typeface="IBM Plex Sans Light" panose="020B0403050203000203" pitchFamily="34" charset="0"/>
              </a:defRPr>
            </a:lvl2pPr>
            <a:lvl3pPr marL="255939" indent="-127969">
              <a:lnSpc>
                <a:spcPct val="110000"/>
              </a:lnSpc>
              <a:spcBef>
                <a:spcPts val="0"/>
              </a:spcBef>
              <a:defRPr sz="1400" b="0" i="0">
                <a:solidFill>
                  <a:schemeClr val="tx1"/>
                </a:solidFill>
                <a:latin typeface="IBM Plex Sans Light" panose="020B0403050203000203" pitchFamily="34" charset="0"/>
              </a:defRPr>
            </a:lvl3pPr>
            <a:lvl4pPr marL="383909" indent="-127969">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11767913" y="6469424"/>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814367063"/>
      </p:ext>
    </p:extLst>
  </p:cSld>
  <p:clrMapOvr>
    <a:masterClrMapping/>
  </p:clrMapOvr>
  <p:transition spd="med"/>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3_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88000" y="288036"/>
            <a:ext cx="2474591" cy="1429544"/>
          </a:xfrm>
        </p:spPr>
        <p:txBody>
          <a:bodyPr/>
          <a:lstStyle>
            <a:lvl1pPr>
              <a:lnSpc>
                <a:spcPct val="110000"/>
              </a:lnSpc>
              <a:defRPr sz="14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3333316" y="666751"/>
            <a:ext cx="2475384" cy="1905000"/>
          </a:xfrm>
        </p:spPr>
        <p:txBody>
          <a:bodyPr/>
          <a:lstStyle>
            <a:lvl1pPr>
              <a:lnSpc>
                <a:spcPct val="110000"/>
              </a:lnSpc>
              <a:spcBef>
                <a:spcPts val="0"/>
              </a:spcBef>
              <a:defRPr sz="1200">
                <a:solidFill>
                  <a:schemeClr val="tx1"/>
                </a:solidFill>
              </a:defRPr>
            </a:lvl1pPr>
            <a:lvl2pPr marL="109689" indent="-109689">
              <a:lnSpc>
                <a:spcPct val="110000"/>
              </a:lnSpc>
              <a:spcBef>
                <a:spcPts val="0"/>
              </a:spcBef>
              <a:defRPr sz="1200">
                <a:solidFill>
                  <a:schemeClr val="tx1"/>
                </a:solidFill>
              </a:defRPr>
            </a:lvl2pPr>
            <a:lvl3pPr marL="219376" indent="-109689">
              <a:lnSpc>
                <a:spcPct val="110000"/>
              </a:lnSpc>
              <a:spcBef>
                <a:spcPts val="0"/>
              </a:spcBef>
              <a:defRPr sz="1200">
                <a:solidFill>
                  <a:schemeClr val="tx1"/>
                </a:solidFill>
              </a:defRPr>
            </a:lvl3pPr>
            <a:lvl4pPr marL="329065" indent="-109689">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6380920" y="666751"/>
            <a:ext cx="2476179" cy="1905000"/>
          </a:xfrm>
        </p:spPr>
        <p:txBody>
          <a:bodyPr/>
          <a:lstStyle>
            <a:lvl1pPr>
              <a:lnSpc>
                <a:spcPct val="110000"/>
              </a:lnSpc>
              <a:spcBef>
                <a:spcPts val="0"/>
              </a:spcBef>
              <a:defRPr sz="1200">
                <a:solidFill>
                  <a:schemeClr val="tx1"/>
                </a:solidFill>
              </a:defRPr>
            </a:lvl1pPr>
            <a:lvl2pPr marL="109689" indent="-109689">
              <a:lnSpc>
                <a:spcPct val="110000"/>
              </a:lnSpc>
              <a:spcBef>
                <a:spcPts val="0"/>
              </a:spcBef>
              <a:defRPr sz="1200">
                <a:solidFill>
                  <a:schemeClr val="tx1"/>
                </a:solidFill>
              </a:defRPr>
            </a:lvl2pPr>
            <a:lvl3pPr marL="219376" indent="-109689">
              <a:lnSpc>
                <a:spcPct val="110000"/>
              </a:lnSpc>
              <a:spcBef>
                <a:spcPts val="0"/>
              </a:spcBef>
              <a:defRPr sz="1200">
                <a:solidFill>
                  <a:schemeClr val="tx1"/>
                </a:solidFill>
              </a:defRPr>
            </a:lvl3pPr>
            <a:lvl4pPr marL="329065" indent="-109689">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9428523" y="666751"/>
            <a:ext cx="2476179" cy="1905000"/>
          </a:xfrm>
        </p:spPr>
        <p:txBody>
          <a:bodyPr/>
          <a:lstStyle>
            <a:lvl1pPr>
              <a:lnSpc>
                <a:spcPct val="110000"/>
              </a:lnSpc>
              <a:spcBef>
                <a:spcPts val="0"/>
              </a:spcBef>
              <a:defRPr sz="1200">
                <a:solidFill>
                  <a:schemeClr val="tx1"/>
                </a:solidFill>
              </a:defRPr>
            </a:lvl1pPr>
            <a:lvl2pPr marL="109689" indent="-109689">
              <a:lnSpc>
                <a:spcPct val="110000"/>
              </a:lnSpc>
              <a:spcBef>
                <a:spcPts val="0"/>
              </a:spcBef>
              <a:defRPr sz="1200">
                <a:solidFill>
                  <a:schemeClr val="tx1"/>
                </a:solidFill>
              </a:defRPr>
            </a:lvl2pPr>
            <a:lvl3pPr marL="219376" indent="-109689">
              <a:lnSpc>
                <a:spcPct val="110000"/>
              </a:lnSpc>
              <a:spcBef>
                <a:spcPts val="0"/>
              </a:spcBef>
              <a:defRPr sz="1200">
                <a:solidFill>
                  <a:schemeClr val="tx1"/>
                </a:solidFill>
              </a:defRPr>
            </a:lvl3pPr>
            <a:lvl4pPr marL="329065" indent="-109689">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3333316" y="3714751"/>
            <a:ext cx="2475384" cy="1905000"/>
          </a:xfrm>
        </p:spPr>
        <p:txBody>
          <a:bodyPr/>
          <a:lstStyle>
            <a:lvl1pPr>
              <a:lnSpc>
                <a:spcPct val="110000"/>
              </a:lnSpc>
              <a:spcBef>
                <a:spcPts val="0"/>
              </a:spcBef>
              <a:defRPr sz="1200">
                <a:solidFill>
                  <a:schemeClr val="tx1"/>
                </a:solidFill>
              </a:defRPr>
            </a:lvl1pPr>
            <a:lvl2pPr marL="109689" indent="-109689">
              <a:lnSpc>
                <a:spcPct val="110000"/>
              </a:lnSpc>
              <a:spcBef>
                <a:spcPts val="0"/>
              </a:spcBef>
              <a:defRPr sz="1200">
                <a:solidFill>
                  <a:schemeClr val="tx1"/>
                </a:solidFill>
              </a:defRPr>
            </a:lvl2pPr>
            <a:lvl3pPr marL="219376" indent="-109689">
              <a:lnSpc>
                <a:spcPct val="110000"/>
              </a:lnSpc>
              <a:spcBef>
                <a:spcPts val="0"/>
              </a:spcBef>
              <a:defRPr sz="1200">
                <a:solidFill>
                  <a:schemeClr val="tx1"/>
                </a:solidFill>
              </a:defRPr>
            </a:lvl3pPr>
            <a:lvl4pPr marL="329065" indent="-109689">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6380920" y="3714752"/>
            <a:ext cx="2475384" cy="1896343"/>
          </a:xfrm>
        </p:spPr>
        <p:txBody>
          <a:bodyPr/>
          <a:lstStyle>
            <a:lvl1pPr>
              <a:lnSpc>
                <a:spcPct val="110000"/>
              </a:lnSpc>
              <a:spcBef>
                <a:spcPts val="0"/>
              </a:spcBef>
              <a:defRPr sz="1200">
                <a:solidFill>
                  <a:schemeClr val="tx1"/>
                </a:solidFill>
              </a:defRPr>
            </a:lvl1pPr>
            <a:lvl2pPr marL="109689" indent="-109689">
              <a:lnSpc>
                <a:spcPct val="110000"/>
              </a:lnSpc>
              <a:spcBef>
                <a:spcPts val="0"/>
              </a:spcBef>
              <a:defRPr sz="1200">
                <a:solidFill>
                  <a:schemeClr val="tx1"/>
                </a:solidFill>
              </a:defRPr>
            </a:lvl2pPr>
            <a:lvl3pPr marL="219376" indent="-109689">
              <a:lnSpc>
                <a:spcPct val="110000"/>
              </a:lnSpc>
              <a:spcBef>
                <a:spcPts val="0"/>
              </a:spcBef>
              <a:defRPr sz="1200">
                <a:solidFill>
                  <a:schemeClr val="tx1"/>
                </a:solidFill>
              </a:defRPr>
            </a:lvl3pPr>
            <a:lvl4pPr marL="329065" indent="-109689">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9428523" y="3714751"/>
            <a:ext cx="2476179" cy="1905000"/>
          </a:xfrm>
        </p:spPr>
        <p:txBody>
          <a:bodyPr/>
          <a:lstStyle>
            <a:lvl1pPr>
              <a:lnSpc>
                <a:spcPct val="110000"/>
              </a:lnSpc>
              <a:spcBef>
                <a:spcPts val="0"/>
              </a:spcBef>
              <a:defRPr sz="1200">
                <a:solidFill>
                  <a:schemeClr val="tx1"/>
                </a:solidFill>
              </a:defRPr>
            </a:lvl1pPr>
            <a:lvl2pPr marL="109689" indent="-109689">
              <a:lnSpc>
                <a:spcPct val="110000"/>
              </a:lnSpc>
              <a:spcBef>
                <a:spcPts val="0"/>
              </a:spcBef>
              <a:defRPr sz="1200">
                <a:solidFill>
                  <a:schemeClr val="tx1"/>
                </a:solidFill>
              </a:defRPr>
            </a:lvl2pPr>
            <a:lvl3pPr marL="219376" indent="-109689">
              <a:lnSpc>
                <a:spcPct val="110000"/>
              </a:lnSpc>
              <a:spcBef>
                <a:spcPts val="0"/>
              </a:spcBef>
              <a:defRPr sz="1200">
                <a:solidFill>
                  <a:schemeClr val="tx1"/>
                </a:solidFill>
              </a:defRPr>
            </a:lvl3pPr>
            <a:lvl4pPr marL="329065" indent="-109689">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3333316" y="288040"/>
            <a:ext cx="201141" cy="201612"/>
          </a:xfrm>
        </p:spPr>
        <p:txBody>
          <a:bodyPr/>
          <a:lstStyle>
            <a:lvl1pPr>
              <a:defRPr sz="700">
                <a:solidFill>
                  <a:schemeClr val="tx1"/>
                </a:solidFill>
              </a:defRPr>
            </a:lvl1pPr>
          </a:lstStyle>
          <a:p>
            <a:r>
              <a:rPr lang="en-US"/>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6380922" y="288040"/>
            <a:ext cx="201141" cy="201612"/>
          </a:xfrm>
        </p:spPr>
        <p:txBody>
          <a:bodyPr/>
          <a:lstStyle>
            <a:lvl1pPr>
              <a:defRPr sz="700">
                <a:solidFill>
                  <a:schemeClr val="tx1"/>
                </a:solidFill>
              </a:defRPr>
            </a:lvl1pPr>
          </a:lstStyle>
          <a:p>
            <a:r>
              <a:rPr lang="en-US"/>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9428524" y="288040"/>
            <a:ext cx="201141" cy="201612"/>
          </a:xfrm>
        </p:spPr>
        <p:txBody>
          <a:bodyPr/>
          <a:lstStyle>
            <a:lvl1pPr>
              <a:defRPr sz="700">
                <a:solidFill>
                  <a:schemeClr val="tx1"/>
                </a:solidFill>
              </a:defRPr>
            </a:lvl1pPr>
          </a:lstStyle>
          <a:p>
            <a:r>
              <a:rPr lang="en-US"/>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3333316" y="3347316"/>
            <a:ext cx="201141" cy="201612"/>
          </a:xfrm>
        </p:spPr>
        <p:txBody>
          <a:bodyPr/>
          <a:lstStyle>
            <a:lvl1pPr>
              <a:defRPr sz="700">
                <a:solidFill>
                  <a:schemeClr val="tx1"/>
                </a:solidFill>
              </a:defRPr>
            </a:lvl1pPr>
          </a:lstStyle>
          <a:p>
            <a:r>
              <a:rPr lang="en-US"/>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6380922" y="3347316"/>
            <a:ext cx="201141" cy="201612"/>
          </a:xfrm>
        </p:spPr>
        <p:txBody>
          <a:bodyPr/>
          <a:lstStyle>
            <a:lvl1pPr>
              <a:defRPr sz="700">
                <a:solidFill>
                  <a:schemeClr val="tx1"/>
                </a:solidFill>
              </a:defRPr>
            </a:lvl1pPr>
          </a:lstStyle>
          <a:p>
            <a:r>
              <a:rPr lang="en-US"/>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9428524" y="3347316"/>
            <a:ext cx="201141" cy="201612"/>
          </a:xfrm>
        </p:spPr>
        <p:txBody>
          <a:bodyPr/>
          <a:lstStyle>
            <a:lvl1pPr>
              <a:defRPr sz="700">
                <a:solidFill>
                  <a:schemeClr val="tx1"/>
                </a:solidFill>
              </a:defRPr>
            </a:lvl1pPr>
          </a:lstStyle>
          <a:p>
            <a:r>
              <a:rPr lang="en-US"/>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3047607" y="3048000"/>
            <a:ext cx="886027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3047603" y="284958"/>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9142811" y="284958"/>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6093683" y="283466"/>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11767913" y="6469424"/>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084781304"/>
      </p:ext>
    </p:extLst>
  </p:cSld>
  <p:clrMapOvr>
    <a:masterClrMapping/>
  </p:clrMapOvr>
  <p:transition spd="med"/>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3_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8000" y="192025"/>
            <a:ext cx="5519019" cy="1706563"/>
          </a:xfrm>
        </p:spPr>
        <p:txBody>
          <a:bodyPr rIns="457200"/>
          <a:lstStyle>
            <a:lvl1pPr>
              <a:lnSpc>
                <a:spcPct val="100000"/>
              </a:lnSpc>
              <a:defRPr sz="3198">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18" y="288038"/>
            <a:ext cx="2476179" cy="2477295"/>
          </a:xfrm>
        </p:spPr>
        <p:txBody>
          <a:bodyPr/>
          <a:lstStyle>
            <a:lvl1pPr>
              <a:spcBef>
                <a:spcPts val="0"/>
              </a:spcBef>
              <a:defRPr sz="1400">
                <a:solidFill>
                  <a:schemeClr val="tx1"/>
                </a:solidFill>
              </a:defRPr>
            </a:lvl1pPr>
            <a:lvl2pPr marL="127969" indent="-127969">
              <a:spcBef>
                <a:spcPts val="0"/>
              </a:spcBef>
              <a:defRPr sz="1400">
                <a:solidFill>
                  <a:schemeClr val="tx1"/>
                </a:solidFill>
              </a:defRPr>
            </a:lvl2pPr>
            <a:lvl3pPr marL="255939" indent="-127969">
              <a:spcBef>
                <a:spcPts val="0"/>
              </a:spcBef>
              <a:defRPr sz="1400">
                <a:solidFill>
                  <a:schemeClr val="tx1"/>
                </a:solidFill>
              </a:defRPr>
            </a:lvl3pPr>
            <a:lvl4pPr marL="383909" indent="-127969">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09" y="288038"/>
            <a:ext cx="2476179" cy="2477295"/>
          </a:xfrm>
        </p:spPr>
        <p:txBody>
          <a:bodyPr/>
          <a:lstStyle>
            <a:lvl1pPr>
              <a:spcBef>
                <a:spcPts val="0"/>
              </a:spcBef>
              <a:defRPr sz="1400">
                <a:solidFill>
                  <a:schemeClr val="tx1"/>
                </a:solidFill>
              </a:defRPr>
            </a:lvl1pPr>
            <a:lvl2pPr marL="127969" indent="-127969">
              <a:spcBef>
                <a:spcPts val="0"/>
              </a:spcBef>
              <a:defRPr sz="1400">
                <a:solidFill>
                  <a:schemeClr val="tx1"/>
                </a:solidFill>
              </a:defRPr>
            </a:lvl2pPr>
            <a:lvl3pPr marL="255939" indent="-127969">
              <a:spcBef>
                <a:spcPts val="0"/>
              </a:spcBef>
              <a:defRPr sz="1400">
                <a:solidFill>
                  <a:schemeClr val="tx1"/>
                </a:solidFill>
              </a:defRPr>
            </a:lvl3pPr>
            <a:lvl4pPr marL="383909" indent="-127969">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18" y="3333753"/>
            <a:ext cx="2476179" cy="2477295"/>
          </a:xfrm>
        </p:spPr>
        <p:txBody>
          <a:bodyPr/>
          <a:lstStyle>
            <a:lvl1pPr>
              <a:spcBef>
                <a:spcPts val="0"/>
              </a:spcBef>
              <a:defRPr sz="1400">
                <a:solidFill>
                  <a:schemeClr val="tx1"/>
                </a:solidFill>
              </a:defRPr>
            </a:lvl1pPr>
            <a:lvl2pPr marL="127969" indent="-127969">
              <a:spcBef>
                <a:spcPts val="0"/>
              </a:spcBef>
              <a:defRPr sz="1400">
                <a:solidFill>
                  <a:schemeClr val="tx1"/>
                </a:solidFill>
              </a:defRPr>
            </a:lvl2pPr>
            <a:lvl3pPr marL="255939" indent="-127969">
              <a:spcBef>
                <a:spcPts val="0"/>
              </a:spcBef>
              <a:defRPr sz="1400">
                <a:solidFill>
                  <a:schemeClr val="tx1"/>
                </a:solidFill>
              </a:defRPr>
            </a:lvl3pPr>
            <a:lvl4pPr marL="383909" indent="-127969">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0109" y="3333753"/>
            <a:ext cx="2476179" cy="2477295"/>
          </a:xfrm>
        </p:spPr>
        <p:txBody>
          <a:bodyPr/>
          <a:lstStyle>
            <a:lvl1pPr>
              <a:spcBef>
                <a:spcPts val="0"/>
              </a:spcBef>
              <a:defRPr sz="1400">
                <a:solidFill>
                  <a:schemeClr val="tx1"/>
                </a:solidFill>
              </a:defRPr>
            </a:lvl1pPr>
            <a:lvl2pPr marL="127969" indent="-127969">
              <a:spcBef>
                <a:spcPts val="0"/>
              </a:spcBef>
              <a:defRPr sz="1400">
                <a:solidFill>
                  <a:schemeClr val="tx1"/>
                </a:solidFill>
              </a:defRPr>
            </a:lvl2pPr>
            <a:lvl3pPr marL="255939" indent="-127969">
              <a:spcBef>
                <a:spcPts val="0"/>
              </a:spcBef>
              <a:defRPr sz="1400">
                <a:solidFill>
                  <a:schemeClr val="tx1"/>
                </a:solidFill>
              </a:defRPr>
            </a:lvl3pPr>
            <a:lvl4pPr marL="383909" indent="-127969">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87998" y="3332990"/>
            <a:ext cx="2476179" cy="2477295"/>
          </a:xfrm>
        </p:spPr>
        <p:txBody>
          <a:bodyPr/>
          <a:lstStyle>
            <a:lvl1pPr>
              <a:spcBef>
                <a:spcPts val="0"/>
              </a:spcBef>
              <a:defRPr sz="1400">
                <a:solidFill>
                  <a:schemeClr val="tx1"/>
                </a:solidFill>
              </a:defRPr>
            </a:lvl1pPr>
            <a:lvl2pPr marL="127969" indent="-127969">
              <a:spcBef>
                <a:spcPts val="0"/>
              </a:spcBef>
              <a:defRPr sz="1400">
                <a:solidFill>
                  <a:schemeClr val="tx1"/>
                </a:solidFill>
              </a:defRPr>
            </a:lvl2pPr>
            <a:lvl3pPr marL="255939" indent="-127969">
              <a:spcBef>
                <a:spcPts val="0"/>
              </a:spcBef>
              <a:defRPr sz="1400">
                <a:solidFill>
                  <a:schemeClr val="tx1"/>
                </a:solidFill>
              </a:defRPr>
            </a:lvl3pPr>
            <a:lvl4pPr marL="383909" indent="-127969">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6" y="3333753"/>
            <a:ext cx="2476179" cy="2477295"/>
          </a:xfrm>
        </p:spPr>
        <p:txBody>
          <a:bodyPr/>
          <a:lstStyle>
            <a:lvl1pPr>
              <a:spcBef>
                <a:spcPts val="0"/>
              </a:spcBef>
              <a:defRPr sz="1400">
                <a:solidFill>
                  <a:schemeClr val="tx1"/>
                </a:solidFill>
              </a:defRPr>
            </a:lvl1pPr>
            <a:lvl2pPr marL="127969" indent="-127969">
              <a:spcBef>
                <a:spcPts val="0"/>
              </a:spcBef>
              <a:defRPr sz="1400">
                <a:solidFill>
                  <a:schemeClr val="tx1"/>
                </a:solidFill>
              </a:defRPr>
            </a:lvl2pPr>
            <a:lvl3pPr marL="255939" indent="-127969">
              <a:spcBef>
                <a:spcPts val="0"/>
              </a:spcBef>
              <a:defRPr sz="1400">
                <a:solidFill>
                  <a:schemeClr val="tx1"/>
                </a:solidFill>
              </a:defRPr>
            </a:lvl3pPr>
            <a:lvl4pPr marL="383909" indent="-127969">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3" y="3048000"/>
            <a:ext cx="116205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4"/>
            <a:ext cx="0" cy="295275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9142811" y="284958"/>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6"/>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11767913" y="6469424"/>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308143006"/>
      </p:ext>
    </p:extLst>
  </p:cSld>
  <p:clrMapOvr>
    <a:masterClrMapping/>
  </p:clrMapOvr>
  <p:transition spd="med"/>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3_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8000" y="288038"/>
            <a:ext cx="2474591" cy="1706563"/>
          </a:xfrm>
        </p:spPr>
        <p:txBody>
          <a:bodyPr rIns="0"/>
          <a:lstStyle>
            <a:lvl1pPr>
              <a:lnSpc>
                <a:spcPct val="110000"/>
              </a:lnSpc>
              <a:defRPr sz="1800">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18" y="288038"/>
            <a:ext cx="2476179" cy="2477295"/>
          </a:xfrm>
        </p:spPr>
        <p:txBody>
          <a:bodyPr/>
          <a:lstStyle>
            <a:lvl1pPr>
              <a:spcBef>
                <a:spcPts val="0"/>
              </a:spcBef>
              <a:defRPr sz="1400">
                <a:solidFill>
                  <a:schemeClr val="tx1"/>
                </a:solidFill>
              </a:defRPr>
            </a:lvl1pPr>
            <a:lvl2pPr marL="127969" indent="-127969">
              <a:spcBef>
                <a:spcPts val="0"/>
              </a:spcBef>
              <a:defRPr sz="1400">
                <a:solidFill>
                  <a:schemeClr val="tx1"/>
                </a:solidFill>
              </a:defRPr>
            </a:lvl2pPr>
            <a:lvl3pPr marL="255939" indent="-127969">
              <a:spcBef>
                <a:spcPts val="0"/>
              </a:spcBef>
              <a:defRPr sz="1400">
                <a:solidFill>
                  <a:schemeClr val="tx1"/>
                </a:solidFill>
              </a:defRPr>
            </a:lvl3pPr>
            <a:lvl4pPr marL="383909" indent="-127969">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09" y="288038"/>
            <a:ext cx="2476179" cy="2477295"/>
          </a:xfrm>
        </p:spPr>
        <p:txBody>
          <a:bodyPr/>
          <a:lstStyle>
            <a:lvl1pPr>
              <a:spcBef>
                <a:spcPts val="0"/>
              </a:spcBef>
              <a:defRPr sz="1400">
                <a:solidFill>
                  <a:schemeClr val="tx1"/>
                </a:solidFill>
              </a:defRPr>
            </a:lvl1pPr>
            <a:lvl2pPr marL="127969" indent="-127969">
              <a:spcBef>
                <a:spcPts val="0"/>
              </a:spcBef>
              <a:defRPr sz="1400">
                <a:solidFill>
                  <a:schemeClr val="tx1"/>
                </a:solidFill>
              </a:defRPr>
            </a:lvl2pPr>
            <a:lvl3pPr marL="255939" indent="-127969">
              <a:spcBef>
                <a:spcPts val="0"/>
              </a:spcBef>
              <a:defRPr sz="1400">
                <a:solidFill>
                  <a:schemeClr val="tx1"/>
                </a:solidFill>
              </a:defRPr>
            </a:lvl3pPr>
            <a:lvl4pPr marL="383909" indent="-127969">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18" y="3333753"/>
            <a:ext cx="2476179" cy="2477295"/>
          </a:xfrm>
        </p:spPr>
        <p:txBody>
          <a:bodyPr/>
          <a:lstStyle>
            <a:lvl1pPr>
              <a:spcBef>
                <a:spcPts val="0"/>
              </a:spcBef>
              <a:defRPr sz="1400">
                <a:solidFill>
                  <a:schemeClr val="tx1"/>
                </a:solidFill>
              </a:defRPr>
            </a:lvl1pPr>
            <a:lvl2pPr marL="127969" indent="-127969">
              <a:spcBef>
                <a:spcPts val="0"/>
              </a:spcBef>
              <a:defRPr sz="1400">
                <a:solidFill>
                  <a:schemeClr val="tx1"/>
                </a:solidFill>
              </a:defRPr>
            </a:lvl2pPr>
            <a:lvl3pPr marL="255939" indent="-127969">
              <a:spcBef>
                <a:spcPts val="0"/>
              </a:spcBef>
              <a:defRPr sz="1400">
                <a:solidFill>
                  <a:schemeClr val="tx1"/>
                </a:solidFill>
              </a:defRPr>
            </a:lvl3pPr>
            <a:lvl4pPr marL="383909" indent="-127969">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0109" y="3333753"/>
            <a:ext cx="2476179" cy="2477295"/>
          </a:xfrm>
        </p:spPr>
        <p:txBody>
          <a:bodyPr/>
          <a:lstStyle>
            <a:lvl1pPr>
              <a:spcBef>
                <a:spcPts val="0"/>
              </a:spcBef>
              <a:defRPr sz="1400">
                <a:solidFill>
                  <a:schemeClr val="tx1"/>
                </a:solidFill>
              </a:defRPr>
            </a:lvl1pPr>
            <a:lvl2pPr marL="127969" indent="-127969">
              <a:spcBef>
                <a:spcPts val="0"/>
              </a:spcBef>
              <a:defRPr sz="1400">
                <a:solidFill>
                  <a:schemeClr val="tx1"/>
                </a:solidFill>
              </a:defRPr>
            </a:lvl2pPr>
            <a:lvl3pPr marL="255939" indent="-127969">
              <a:spcBef>
                <a:spcPts val="0"/>
              </a:spcBef>
              <a:defRPr sz="1400">
                <a:solidFill>
                  <a:schemeClr val="tx1"/>
                </a:solidFill>
              </a:defRPr>
            </a:lvl3pPr>
            <a:lvl4pPr marL="383909" indent="-127969">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90043" y="3333753"/>
            <a:ext cx="2476179" cy="2477295"/>
          </a:xfrm>
        </p:spPr>
        <p:txBody>
          <a:bodyPr/>
          <a:lstStyle>
            <a:lvl1pPr>
              <a:spcBef>
                <a:spcPts val="0"/>
              </a:spcBef>
              <a:defRPr sz="1400">
                <a:solidFill>
                  <a:schemeClr val="tx1"/>
                </a:solidFill>
              </a:defRPr>
            </a:lvl1pPr>
            <a:lvl2pPr marL="127969" indent="-127969">
              <a:spcBef>
                <a:spcPts val="0"/>
              </a:spcBef>
              <a:defRPr sz="1400">
                <a:solidFill>
                  <a:schemeClr val="tx1"/>
                </a:solidFill>
              </a:defRPr>
            </a:lvl2pPr>
            <a:lvl3pPr marL="255939" indent="-127969">
              <a:spcBef>
                <a:spcPts val="0"/>
              </a:spcBef>
              <a:defRPr sz="1400">
                <a:solidFill>
                  <a:schemeClr val="tx1"/>
                </a:solidFill>
              </a:defRPr>
            </a:lvl3pPr>
            <a:lvl4pPr marL="383909" indent="-127969">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6" y="3333753"/>
            <a:ext cx="2476179" cy="2477295"/>
          </a:xfrm>
        </p:spPr>
        <p:txBody>
          <a:bodyPr/>
          <a:lstStyle>
            <a:lvl1pPr>
              <a:spcBef>
                <a:spcPts val="0"/>
              </a:spcBef>
              <a:defRPr sz="1400">
                <a:solidFill>
                  <a:schemeClr val="tx1"/>
                </a:solidFill>
              </a:defRPr>
            </a:lvl1pPr>
            <a:lvl2pPr marL="127969" indent="-127969">
              <a:spcBef>
                <a:spcPts val="0"/>
              </a:spcBef>
              <a:defRPr sz="1400">
                <a:solidFill>
                  <a:schemeClr val="tx1"/>
                </a:solidFill>
              </a:defRPr>
            </a:lvl2pPr>
            <a:lvl3pPr marL="255939" indent="-127969">
              <a:spcBef>
                <a:spcPts val="0"/>
              </a:spcBef>
              <a:defRPr sz="1400">
                <a:solidFill>
                  <a:schemeClr val="tx1"/>
                </a:solidFill>
              </a:defRPr>
            </a:lvl3pPr>
            <a:lvl4pPr marL="383909" indent="-127969">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3" y="3048000"/>
            <a:ext cx="116205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4"/>
            <a:ext cx="0" cy="295275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9142811" y="284958"/>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6"/>
            <a:ext cx="0" cy="571579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11767913" y="6469424"/>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331888013"/>
      </p:ext>
    </p:extLst>
  </p:cSld>
  <p:clrMapOvr>
    <a:masterClrMapping/>
  </p:clrMapOvr>
  <p:transition spd="med"/>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7_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8000" y="288038"/>
            <a:ext cx="2474591" cy="762795"/>
          </a:xfrm>
        </p:spPr>
        <p:txBody>
          <a:bodyPr/>
          <a:lstStyle>
            <a:lvl1pPr>
              <a:lnSpc>
                <a:spcPct val="110000"/>
              </a:lnSpc>
              <a:defRPr sz="140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8000" y="1714502"/>
            <a:ext cx="2477765" cy="4286251"/>
          </a:xfrm>
        </p:spPr>
        <p:txBody>
          <a:bodyPr/>
          <a:lstStyle>
            <a:lvl1pPr>
              <a:lnSpc>
                <a:spcPct val="110000"/>
              </a:lnSpc>
              <a:spcBef>
                <a:spcPts val="0"/>
              </a:spcBef>
              <a:defRPr sz="1400">
                <a:solidFill>
                  <a:schemeClr val="tx1"/>
                </a:solidFill>
              </a:defRPr>
            </a:lvl1pPr>
            <a:lvl2pPr marL="127969" indent="-127969">
              <a:lnSpc>
                <a:spcPct val="110000"/>
              </a:lnSpc>
              <a:spcBef>
                <a:spcPts val="0"/>
              </a:spcBef>
              <a:defRPr sz="1400">
                <a:solidFill>
                  <a:schemeClr val="tx1"/>
                </a:solidFill>
              </a:defRPr>
            </a:lvl2pPr>
            <a:lvl3pPr marL="255939" indent="-127969">
              <a:lnSpc>
                <a:spcPct val="110000"/>
              </a:lnSpc>
              <a:spcBef>
                <a:spcPts val="0"/>
              </a:spcBef>
              <a:defRPr sz="1400">
                <a:solidFill>
                  <a:schemeClr val="tx1"/>
                </a:solidFill>
              </a:defRPr>
            </a:lvl3pPr>
            <a:lvl4pPr marL="383909" indent="-12796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3333316" y="1714502"/>
            <a:ext cx="2475384" cy="4286251"/>
          </a:xfrm>
        </p:spPr>
        <p:txBody>
          <a:bodyPr/>
          <a:lstStyle>
            <a:lvl1pPr>
              <a:lnSpc>
                <a:spcPct val="110000"/>
              </a:lnSpc>
              <a:spcBef>
                <a:spcPts val="0"/>
              </a:spcBef>
              <a:defRPr sz="1400">
                <a:solidFill>
                  <a:schemeClr val="tx1"/>
                </a:solidFill>
              </a:defRPr>
            </a:lvl1pPr>
            <a:lvl2pPr marL="127969" indent="-127969">
              <a:lnSpc>
                <a:spcPct val="110000"/>
              </a:lnSpc>
              <a:spcBef>
                <a:spcPts val="0"/>
              </a:spcBef>
              <a:defRPr sz="1400">
                <a:solidFill>
                  <a:schemeClr val="tx1"/>
                </a:solidFill>
              </a:defRPr>
            </a:lvl2pPr>
            <a:lvl3pPr marL="255939" indent="-127969">
              <a:lnSpc>
                <a:spcPct val="110000"/>
              </a:lnSpc>
              <a:spcBef>
                <a:spcPts val="0"/>
              </a:spcBef>
              <a:defRPr sz="1400">
                <a:solidFill>
                  <a:schemeClr val="tx1"/>
                </a:solidFill>
              </a:defRPr>
            </a:lvl3pPr>
            <a:lvl4pPr marL="383909" indent="-12796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6380921" y="284960"/>
            <a:ext cx="5523781" cy="6287295"/>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353403800"/>
      </p:ext>
    </p:extLst>
  </p:cSld>
  <p:clrMapOvr>
    <a:masterClrMapping/>
  </p:clrMapOvr>
  <p:transition spd="med"/>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3_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8000" y="288038"/>
            <a:ext cx="2474591" cy="762795"/>
          </a:xfrm>
        </p:spPr>
        <p:txBody>
          <a:bodyPr/>
          <a:lstStyle>
            <a:lvl1pPr>
              <a:lnSpc>
                <a:spcPct val="110000"/>
              </a:lnSpc>
              <a:defRPr sz="14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67912" y="6452317"/>
            <a:ext cx="136789" cy="123111"/>
          </a:xfrm>
          <a:prstGeom prst="rect">
            <a:avLst/>
          </a:prstGeom>
        </p:spPr>
        <p:txBody>
          <a:bodyPr/>
          <a:lstStyle/>
          <a:p>
            <a:fld id="{86CB4B4D-7CA3-9044-876B-883B54F8677D}" type="slidenum">
              <a:rPr lang="en-US" smtClean="0"/>
              <a:t>‹#›</a:t>
            </a:fld>
            <a:endParaRPr lang="en-US"/>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88000" y="1714502"/>
            <a:ext cx="2477765" cy="4286251"/>
          </a:xfrm>
        </p:spPr>
        <p:txBody>
          <a:bodyPr/>
          <a:lstStyle>
            <a:lvl1pPr>
              <a:lnSpc>
                <a:spcPct val="110000"/>
              </a:lnSpc>
              <a:spcBef>
                <a:spcPts val="0"/>
              </a:spcBef>
              <a:defRPr sz="1400">
                <a:solidFill>
                  <a:schemeClr val="tx1"/>
                </a:solidFill>
              </a:defRPr>
            </a:lvl1pPr>
            <a:lvl2pPr marL="127969" indent="-127969">
              <a:lnSpc>
                <a:spcPct val="110000"/>
              </a:lnSpc>
              <a:spcBef>
                <a:spcPts val="0"/>
              </a:spcBef>
              <a:defRPr sz="1400">
                <a:solidFill>
                  <a:schemeClr val="tx1"/>
                </a:solidFill>
              </a:defRPr>
            </a:lvl2pPr>
            <a:lvl3pPr marL="255939" indent="-127969">
              <a:lnSpc>
                <a:spcPct val="110000"/>
              </a:lnSpc>
              <a:spcBef>
                <a:spcPts val="0"/>
              </a:spcBef>
              <a:defRPr sz="1400">
                <a:solidFill>
                  <a:schemeClr val="tx1"/>
                </a:solidFill>
              </a:defRPr>
            </a:lvl3pPr>
            <a:lvl4pPr marL="383909" indent="-12796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3047604" y="0"/>
            <a:ext cx="9144397" cy="6858000"/>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3637303370"/>
      </p:ext>
    </p:extLst>
  </p:cSld>
  <p:clrMapOvr>
    <a:masterClrMapping/>
  </p:clrMapOvr>
  <p:transition spd="med"/>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3_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8000" y="288038"/>
            <a:ext cx="2474591" cy="762795"/>
          </a:xfrm>
        </p:spPr>
        <p:txBody>
          <a:bodyPr/>
          <a:lstStyle>
            <a:lvl1pPr>
              <a:lnSpc>
                <a:spcPct val="110000"/>
              </a:lnSpc>
              <a:defRPr sz="14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67912" y="6452317"/>
            <a:ext cx="136789" cy="123111"/>
          </a:xfrm>
          <a:prstGeom prst="rect">
            <a:avLst/>
          </a:prstGeom>
        </p:spPr>
        <p:txBody>
          <a:bodyPr/>
          <a:lstStyle/>
          <a:p>
            <a:fld id="{86CB4B4D-7CA3-9044-876B-883B54F8677D}" type="slidenum">
              <a:rPr lang="en-US" smtClean="0"/>
              <a:t>‹#›</a:t>
            </a:fld>
            <a:endParaRPr lang="en-US"/>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8000" y="1714502"/>
            <a:ext cx="2477765" cy="4286251"/>
          </a:xfrm>
        </p:spPr>
        <p:txBody>
          <a:bodyPr/>
          <a:lstStyle>
            <a:lvl1pPr>
              <a:lnSpc>
                <a:spcPct val="110000"/>
              </a:lnSpc>
              <a:spcBef>
                <a:spcPts val="0"/>
              </a:spcBef>
              <a:defRPr sz="1400">
                <a:solidFill>
                  <a:schemeClr val="tx1"/>
                </a:solidFill>
              </a:defRPr>
            </a:lvl1pPr>
            <a:lvl2pPr marL="127969" indent="-127969">
              <a:lnSpc>
                <a:spcPct val="110000"/>
              </a:lnSpc>
              <a:spcBef>
                <a:spcPts val="0"/>
              </a:spcBef>
              <a:defRPr sz="1400">
                <a:solidFill>
                  <a:schemeClr val="tx1"/>
                </a:solidFill>
              </a:defRPr>
            </a:lvl2pPr>
            <a:lvl3pPr marL="255939" indent="-127969">
              <a:lnSpc>
                <a:spcPct val="110000"/>
              </a:lnSpc>
              <a:spcBef>
                <a:spcPts val="0"/>
              </a:spcBef>
              <a:defRPr sz="1400">
                <a:solidFill>
                  <a:schemeClr val="tx1"/>
                </a:solidFill>
              </a:defRPr>
            </a:lvl3pPr>
            <a:lvl4pPr marL="383909" indent="-12796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3333318" y="282578"/>
            <a:ext cx="8574559" cy="6289675"/>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598443568"/>
      </p:ext>
    </p:extLst>
  </p:cSld>
  <p:clrMapOvr>
    <a:masterClrMapping/>
  </p:clrMapOvr>
  <p:transition spd="med"/>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2_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8001" y="192026"/>
            <a:ext cx="5522193" cy="2286794"/>
          </a:xfrm>
        </p:spPr>
        <p:txBody>
          <a:bodyPr rIns="457200"/>
          <a:lstStyle>
            <a:lvl1pPr>
              <a:lnSpc>
                <a:spcPct val="100000"/>
              </a:lnSpc>
              <a:defRPr>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19" y="288038"/>
            <a:ext cx="2476178" cy="5715794"/>
          </a:xfrm>
        </p:spPr>
        <p:txBody>
          <a:bodyPr/>
          <a:lstStyle>
            <a:lvl1pPr>
              <a:spcBef>
                <a:spcPts val="0"/>
              </a:spcBef>
              <a:defRPr sz="1400">
                <a:solidFill>
                  <a:schemeClr val="tx1"/>
                </a:solidFill>
              </a:defRPr>
            </a:lvl1pPr>
            <a:lvl2pPr marL="127993" indent="-127993">
              <a:spcBef>
                <a:spcPts val="0"/>
              </a:spcBef>
              <a:defRPr sz="1400">
                <a:solidFill>
                  <a:schemeClr val="tx1"/>
                </a:solidFill>
              </a:defRPr>
            </a:lvl2pPr>
            <a:lvl3pPr marL="255987" indent="-127993">
              <a:spcBef>
                <a:spcPts val="0"/>
              </a:spcBef>
              <a:defRPr sz="1400">
                <a:solidFill>
                  <a:schemeClr val="tx1"/>
                </a:solidFill>
              </a:defRPr>
            </a:lvl3pPr>
            <a:lvl4pPr marL="383981" indent="-12799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4" y="288038"/>
            <a:ext cx="2476178" cy="5715794"/>
          </a:xfrm>
        </p:spPr>
        <p:txBody>
          <a:bodyPr/>
          <a:lstStyle>
            <a:lvl1pPr>
              <a:spcBef>
                <a:spcPts val="0"/>
              </a:spcBef>
              <a:defRPr sz="1400">
                <a:solidFill>
                  <a:schemeClr val="tx1"/>
                </a:solidFill>
              </a:defRPr>
            </a:lvl1pPr>
            <a:lvl2pPr marL="127993" indent="-127993">
              <a:spcBef>
                <a:spcPts val="0"/>
              </a:spcBef>
              <a:defRPr sz="1400">
                <a:solidFill>
                  <a:schemeClr val="tx1"/>
                </a:solidFill>
              </a:defRPr>
            </a:lvl2pPr>
            <a:lvl3pPr marL="255987" indent="-127993">
              <a:spcBef>
                <a:spcPts val="0"/>
              </a:spcBef>
              <a:defRPr sz="1400">
                <a:solidFill>
                  <a:schemeClr val="tx1"/>
                </a:solidFill>
              </a:defRPr>
            </a:lvl3pPr>
            <a:lvl4pPr marL="383981" indent="-12799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11767911" y="6469421"/>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503037533"/>
      </p:ext>
    </p:extLst>
  </p:cSld>
  <p:clrMapOvr>
    <a:masterClrMapping/>
  </p:clrMapOvr>
  <p:transition spd="med"/>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63" y="288037"/>
            <a:ext cx="2474590" cy="1997964"/>
          </a:xfrm>
        </p:spPr>
        <p:txBody>
          <a:bodyPr/>
          <a:lstStyle>
            <a:lvl1pPr>
              <a:lnSpc>
                <a:spcPct val="110000"/>
              </a:lnSpc>
              <a:defRPr sz="1400">
                <a:solidFill>
                  <a:schemeClr val="tx2"/>
                </a:solidFill>
              </a:defRPr>
            </a:lvl1pPr>
          </a:lstStyle>
          <a:p>
            <a:r>
              <a:rPr lang="en-US"/>
              <a:t>Click to edit Master title style</a:t>
            </a:r>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3333316" y="288000"/>
            <a:ext cx="8571384" cy="5811838"/>
          </a:xfrm>
        </p:spPr>
        <p:txBody>
          <a:bodyPr anchor="ctr"/>
          <a:lstStyle>
            <a:lvl1pPr algn="ctr">
              <a:defRPr>
                <a:solidFill>
                  <a:schemeClr val="tx1"/>
                </a:solidFill>
              </a:defRPr>
            </a:lvl1pPr>
          </a:lstStyle>
          <a:p>
            <a:r>
              <a:rPr lang="en-US"/>
              <a:t>Click icon to add table</a:t>
            </a:r>
          </a:p>
        </p:txBody>
      </p:sp>
      <p:sp>
        <p:nvSpPr>
          <p:cNvPr id="3" name="Footer Placeholder 3">
            <a:extLst>
              <a:ext uri="{FF2B5EF4-FFF2-40B4-BE49-F238E27FC236}">
                <a16:creationId xmlns:a16="http://schemas.microsoft.com/office/drawing/2014/main" id="{3694FFFD-5196-625E-C3FC-9AB6BB13FC34}"/>
              </a:ext>
            </a:extLst>
          </p:cNvPr>
          <p:cNvSpPr>
            <a:spLocks noGrp="1"/>
          </p:cNvSpPr>
          <p:nvPr>
            <p:ph type="ftr" sz="quarter" idx="18"/>
          </p:nvPr>
        </p:nvSpPr>
        <p:spPr>
          <a:xfrm>
            <a:off x="287963" y="6408000"/>
            <a:ext cx="2477765" cy="190500"/>
          </a:xfrm>
        </p:spPr>
        <p:txBody>
          <a:bodyPr/>
          <a:lstStyle/>
          <a:p>
            <a:endParaRPr lang="en-US"/>
          </a:p>
        </p:txBody>
      </p:sp>
      <p:sp>
        <p:nvSpPr>
          <p:cNvPr id="7" name="Slide Number">
            <a:extLst>
              <a:ext uri="{FF2B5EF4-FFF2-40B4-BE49-F238E27FC236}">
                <a16:creationId xmlns:a16="http://schemas.microsoft.com/office/drawing/2014/main" id="{DD2D25A8-2AEC-F554-8D58-47C112486D41}"/>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367003061"/>
      </p:ext>
    </p:extLst>
  </p:cSld>
  <p:clrMapOvr>
    <a:masterClrMapping/>
  </p:clrMapOvr>
  <p:transition spd="med"/>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2_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9" y="288038"/>
            <a:ext cx="2476178" cy="2286794"/>
          </a:xfrm>
        </p:spPr>
        <p:txBody>
          <a:bodyPr/>
          <a:lstStyle>
            <a:lvl1pPr>
              <a:lnSpc>
                <a:spcPct val="100000"/>
              </a:lnSpc>
              <a:defRPr sz="18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19" y="284959"/>
            <a:ext cx="2476178" cy="5715794"/>
          </a:xfrm>
        </p:spPr>
        <p:txBody>
          <a:bodyPr/>
          <a:lstStyle>
            <a:lvl1pPr>
              <a:spcBef>
                <a:spcPts val="0"/>
              </a:spcBef>
              <a:defRPr sz="1400">
                <a:solidFill>
                  <a:schemeClr val="tx1"/>
                </a:solidFill>
              </a:defRPr>
            </a:lvl1pPr>
            <a:lvl2pPr marL="127993" indent="-127993">
              <a:spcBef>
                <a:spcPts val="0"/>
              </a:spcBef>
              <a:defRPr sz="1400">
                <a:solidFill>
                  <a:schemeClr val="tx1"/>
                </a:solidFill>
              </a:defRPr>
            </a:lvl2pPr>
            <a:lvl3pPr marL="255987" indent="-127993">
              <a:spcBef>
                <a:spcPts val="0"/>
              </a:spcBef>
              <a:defRPr sz="1400">
                <a:solidFill>
                  <a:schemeClr val="tx1"/>
                </a:solidFill>
              </a:defRPr>
            </a:lvl3pPr>
            <a:lvl4pPr marL="383981" indent="-12799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4" y="284959"/>
            <a:ext cx="2476178" cy="5715794"/>
          </a:xfrm>
        </p:spPr>
        <p:txBody>
          <a:bodyPr/>
          <a:lstStyle>
            <a:lvl1pPr>
              <a:spcBef>
                <a:spcPts val="0"/>
              </a:spcBef>
              <a:defRPr sz="1400">
                <a:solidFill>
                  <a:schemeClr val="tx1"/>
                </a:solidFill>
              </a:defRPr>
            </a:lvl1pPr>
            <a:lvl2pPr marL="127993" indent="-127993">
              <a:spcBef>
                <a:spcPts val="0"/>
              </a:spcBef>
              <a:defRPr sz="1400">
                <a:solidFill>
                  <a:schemeClr val="tx1"/>
                </a:solidFill>
              </a:defRPr>
            </a:lvl2pPr>
            <a:lvl3pPr marL="255987" indent="-127993">
              <a:spcBef>
                <a:spcPts val="0"/>
              </a:spcBef>
              <a:defRPr sz="1400">
                <a:solidFill>
                  <a:schemeClr val="tx1"/>
                </a:solidFill>
              </a:defRPr>
            </a:lvl3pPr>
            <a:lvl4pPr marL="383981" indent="-12799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11767911" y="6469421"/>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278219615"/>
      </p:ext>
    </p:extLst>
  </p:cSld>
  <p:clrMapOvr>
    <a:masterClrMapping/>
  </p:clrMapOvr>
  <p:transition spd="med"/>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2_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8001" y="192026"/>
            <a:ext cx="5519020" cy="2286794"/>
          </a:xfrm>
        </p:spPr>
        <p:txBody>
          <a:bodyPr rIns="457200"/>
          <a:lstStyle>
            <a:lvl1pPr>
              <a:lnSpc>
                <a:spcPct val="100000"/>
              </a:lnSpc>
              <a:defRPr>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19" y="288038"/>
            <a:ext cx="2476178" cy="762794"/>
          </a:xfrm>
        </p:spPr>
        <p:txBody>
          <a:bodyPr/>
          <a:lstStyle>
            <a:lvl1pPr>
              <a:lnSpc>
                <a:spcPct val="110000"/>
              </a:lnSpc>
              <a:spcBef>
                <a:spcPts val="0"/>
              </a:spcBef>
              <a:defRPr sz="1400">
                <a:solidFill>
                  <a:schemeClr val="tx1"/>
                </a:solidFill>
              </a:defRPr>
            </a:lvl1pPr>
            <a:lvl2pPr marL="127993" indent="-127993">
              <a:lnSpc>
                <a:spcPct val="110000"/>
              </a:lnSpc>
              <a:spcBef>
                <a:spcPts val="0"/>
              </a:spcBef>
              <a:defRPr sz="1400">
                <a:solidFill>
                  <a:schemeClr val="tx1"/>
                </a:solidFill>
              </a:defRPr>
            </a:lvl2pPr>
            <a:lvl3pPr marL="255987" indent="-127993">
              <a:lnSpc>
                <a:spcPct val="110000"/>
              </a:lnSpc>
              <a:spcBef>
                <a:spcPts val="0"/>
              </a:spcBef>
              <a:defRPr sz="1400">
                <a:solidFill>
                  <a:schemeClr val="tx1"/>
                </a:solidFill>
              </a:defRPr>
            </a:lvl3pPr>
            <a:lvl4pPr marL="383981" indent="-12799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3" y="288038"/>
            <a:ext cx="2479352" cy="762794"/>
          </a:xfrm>
        </p:spPr>
        <p:txBody>
          <a:bodyPr/>
          <a:lstStyle>
            <a:lvl1pPr>
              <a:lnSpc>
                <a:spcPct val="110000"/>
              </a:lnSpc>
              <a:spcBef>
                <a:spcPts val="0"/>
              </a:spcBef>
              <a:defRPr sz="1400">
                <a:solidFill>
                  <a:schemeClr val="tx1"/>
                </a:solidFill>
              </a:defRPr>
            </a:lvl1pPr>
            <a:lvl2pPr marL="127993" indent="-127993">
              <a:lnSpc>
                <a:spcPct val="110000"/>
              </a:lnSpc>
              <a:spcBef>
                <a:spcPts val="0"/>
              </a:spcBef>
              <a:defRPr sz="1400">
                <a:solidFill>
                  <a:schemeClr val="tx1"/>
                </a:solidFill>
              </a:defRPr>
            </a:lvl2pPr>
            <a:lvl3pPr marL="255987" indent="-127993">
              <a:lnSpc>
                <a:spcPct val="110000"/>
              </a:lnSpc>
              <a:spcBef>
                <a:spcPts val="0"/>
              </a:spcBef>
              <a:defRPr sz="1400">
                <a:solidFill>
                  <a:schemeClr val="tx1"/>
                </a:solidFill>
              </a:defRPr>
            </a:lvl3pPr>
            <a:lvl4pPr marL="383981" indent="-12799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19" y="1714500"/>
            <a:ext cx="2476178"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4" indent="-91424">
              <a:lnSpc>
                <a:spcPct val="110000"/>
              </a:lnSpc>
              <a:spcBef>
                <a:spcPts val="0"/>
              </a:spcBef>
              <a:defRPr sz="1000" b="0" i="0">
                <a:solidFill>
                  <a:schemeClr val="tx1"/>
                </a:solidFill>
                <a:latin typeface="IBM Plex Sans" panose="020B0503050203000203" pitchFamily="34" charset="0"/>
              </a:defRPr>
            </a:lvl2pPr>
            <a:lvl3pPr marL="182848" indent="-91424">
              <a:lnSpc>
                <a:spcPct val="110000"/>
              </a:lnSpc>
              <a:spcBef>
                <a:spcPts val="0"/>
              </a:spcBef>
              <a:defRPr sz="1000" b="0" i="0">
                <a:solidFill>
                  <a:schemeClr val="tx1"/>
                </a:solidFill>
                <a:latin typeface="IBM Plex Sans" panose="020B0503050203000203" pitchFamily="34" charset="0"/>
              </a:defRPr>
            </a:lvl3pPr>
            <a:lvl4pPr marL="274273" indent="-91424">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0111" y="1714500"/>
            <a:ext cx="2476178"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4" indent="-91424">
              <a:lnSpc>
                <a:spcPct val="110000"/>
              </a:lnSpc>
              <a:spcBef>
                <a:spcPts val="0"/>
              </a:spcBef>
              <a:defRPr sz="1000" b="0" i="0">
                <a:solidFill>
                  <a:schemeClr val="tx1"/>
                </a:solidFill>
                <a:latin typeface="IBM Plex Sans" panose="020B0503050203000203" pitchFamily="34" charset="0"/>
              </a:defRPr>
            </a:lvl2pPr>
            <a:lvl3pPr marL="182848" indent="-91424">
              <a:lnSpc>
                <a:spcPct val="110000"/>
              </a:lnSpc>
              <a:spcBef>
                <a:spcPts val="0"/>
              </a:spcBef>
              <a:defRPr sz="1000" b="0" i="0">
                <a:solidFill>
                  <a:schemeClr val="tx1"/>
                </a:solidFill>
                <a:latin typeface="IBM Plex Sans" panose="020B0503050203000203" pitchFamily="34" charset="0"/>
              </a:defRPr>
            </a:lvl3pPr>
            <a:lvl4pPr marL="274273" indent="-91424">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11767911" y="6469421"/>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76238628"/>
      </p:ext>
    </p:extLst>
  </p:cSld>
  <p:clrMapOvr>
    <a:masterClrMapping/>
  </p:clrMapOvr>
  <p:transition spd="med"/>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2_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8000" y="288038"/>
            <a:ext cx="2474591" cy="2286794"/>
          </a:xfrm>
        </p:spPr>
        <p:txBody>
          <a:bodyPr rIns="0"/>
          <a:lstStyle>
            <a:lvl1pPr>
              <a:lnSpc>
                <a:spcPct val="100000"/>
              </a:lnSpc>
              <a:defRPr sz="1400">
                <a:solidFill>
                  <a:schemeClr val="tx2"/>
                </a:solidFill>
              </a:defRPr>
            </a:lvl1pPr>
          </a:lstStyle>
          <a:p>
            <a:r>
              <a:rPr lang="en-US"/>
              <a:t>Click to edit Master title style</a:t>
            </a:r>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19" y="288038"/>
            <a:ext cx="2476178" cy="762794"/>
          </a:xfrm>
        </p:spPr>
        <p:txBody>
          <a:bodyPr/>
          <a:lstStyle>
            <a:lvl1pPr>
              <a:lnSpc>
                <a:spcPct val="110000"/>
              </a:lnSpc>
              <a:spcBef>
                <a:spcPts val="0"/>
              </a:spcBef>
              <a:defRPr sz="1400">
                <a:solidFill>
                  <a:schemeClr val="tx1"/>
                </a:solidFill>
              </a:defRPr>
            </a:lvl1pPr>
            <a:lvl2pPr marL="127993" indent="-127993">
              <a:lnSpc>
                <a:spcPct val="110000"/>
              </a:lnSpc>
              <a:spcBef>
                <a:spcPts val="0"/>
              </a:spcBef>
              <a:defRPr sz="1400">
                <a:solidFill>
                  <a:schemeClr val="tx1"/>
                </a:solidFill>
              </a:defRPr>
            </a:lvl2pPr>
            <a:lvl3pPr marL="255987" indent="-127993">
              <a:lnSpc>
                <a:spcPct val="110000"/>
              </a:lnSpc>
              <a:spcBef>
                <a:spcPts val="0"/>
              </a:spcBef>
              <a:defRPr sz="1400">
                <a:solidFill>
                  <a:schemeClr val="tx1"/>
                </a:solidFill>
              </a:defRPr>
            </a:lvl3pPr>
            <a:lvl4pPr marL="383981" indent="-12799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3" y="288038"/>
            <a:ext cx="2479352" cy="762794"/>
          </a:xfrm>
        </p:spPr>
        <p:txBody>
          <a:bodyPr/>
          <a:lstStyle>
            <a:lvl1pPr>
              <a:lnSpc>
                <a:spcPct val="110000"/>
              </a:lnSpc>
              <a:spcBef>
                <a:spcPts val="0"/>
              </a:spcBef>
              <a:defRPr sz="1400">
                <a:solidFill>
                  <a:schemeClr val="tx1"/>
                </a:solidFill>
              </a:defRPr>
            </a:lvl1pPr>
            <a:lvl2pPr marL="127993" indent="-127993">
              <a:lnSpc>
                <a:spcPct val="110000"/>
              </a:lnSpc>
              <a:spcBef>
                <a:spcPts val="0"/>
              </a:spcBef>
              <a:defRPr sz="1400">
                <a:solidFill>
                  <a:schemeClr val="tx1"/>
                </a:solidFill>
              </a:defRPr>
            </a:lvl2pPr>
            <a:lvl3pPr marL="255987" indent="-127993">
              <a:lnSpc>
                <a:spcPct val="110000"/>
              </a:lnSpc>
              <a:spcBef>
                <a:spcPts val="0"/>
              </a:spcBef>
              <a:defRPr sz="1400">
                <a:solidFill>
                  <a:schemeClr val="tx1"/>
                </a:solidFill>
              </a:defRPr>
            </a:lvl3pPr>
            <a:lvl4pPr marL="383981" indent="-12799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19" y="1714500"/>
            <a:ext cx="2476178"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4" indent="-91424">
              <a:lnSpc>
                <a:spcPct val="110000"/>
              </a:lnSpc>
              <a:spcBef>
                <a:spcPts val="0"/>
              </a:spcBef>
              <a:defRPr sz="1000" b="0" i="0">
                <a:solidFill>
                  <a:schemeClr val="tx1"/>
                </a:solidFill>
                <a:latin typeface="IBM Plex Sans" panose="020B0503050203000203" pitchFamily="34" charset="0"/>
              </a:defRPr>
            </a:lvl2pPr>
            <a:lvl3pPr marL="182848" indent="-91424">
              <a:lnSpc>
                <a:spcPct val="110000"/>
              </a:lnSpc>
              <a:spcBef>
                <a:spcPts val="0"/>
              </a:spcBef>
              <a:defRPr sz="1000" b="0" i="0">
                <a:solidFill>
                  <a:schemeClr val="tx1"/>
                </a:solidFill>
                <a:latin typeface="IBM Plex Sans" panose="020B0503050203000203" pitchFamily="34" charset="0"/>
              </a:defRPr>
            </a:lvl3pPr>
            <a:lvl4pPr marL="274273" indent="-91424">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1699" y="1714500"/>
            <a:ext cx="2476178" cy="4286251"/>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4" indent="-91424">
              <a:lnSpc>
                <a:spcPct val="110000"/>
              </a:lnSpc>
              <a:spcBef>
                <a:spcPts val="0"/>
              </a:spcBef>
              <a:defRPr sz="1000" b="0" i="0">
                <a:solidFill>
                  <a:schemeClr val="tx1"/>
                </a:solidFill>
                <a:latin typeface="IBM Plex Sans" panose="020B0503050203000203" pitchFamily="34" charset="0"/>
              </a:defRPr>
            </a:lvl2pPr>
            <a:lvl3pPr marL="182848" indent="-91424">
              <a:lnSpc>
                <a:spcPct val="110000"/>
              </a:lnSpc>
              <a:spcBef>
                <a:spcPts val="0"/>
              </a:spcBef>
              <a:defRPr sz="1000" b="0" i="0">
                <a:solidFill>
                  <a:schemeClr val="tx1"/>
                </a:solidFill>
                <a:latin typeface="IBM Plex Sans" panose="020B0503050203000203" pitchFamily="34" charset="0"/>
              </a:defRPr>
            </a:lvl3pPr>
            <a:lvl4pPr marL="274273" indent="-91424">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11767911" y="6469421"/>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73511319"/>
      </p:ext>
    </p:extLst>
  </p:cSld>
  <p:clrMapOvr>
    <a:masterClrMapping/>
  </p:clrMapOvr>
  <p:transition spd="med"/>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2_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8000" y="192024"/>
            <a:ext cx="2474591" cy="570707"/>
          </a:xfrm>
        </p:spPr>
        <p:txBody>
          <a:bodyPr/>
          <a:lstStyle>
            <a:lvl1pPr>
              <a:lnSpc>
                <a:spcPct val="100000"/>
              </a:lnSpc>
              <a:defRPr sz="3199">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1"/>
          </a:xfrm>
        </p:spPr>
        <p:txBody>
          <a:bodyPr/>
          <a:lstStyle>
            <a:lvl1pPr>
              <a:spcBef>
                <a:spcPts val="0"/>
              </a:spcBef>
              <a:defRPr sz="1400" b="0" i="0">
                <a:solidFill>
                  <a:schemeClr val="tx1"/>
                </a:solidFill>
                <a:latin typeface="IBM Plex Sans Light" panose="020B0403050203000203" pitchFamily="34" charset="0"/>
              </a:defRPr>
            </a:lvl1pPr>
            <a:lvl2pPr marL="127993" indent="-127993">
              <a:spcBef>
                <a:spcPts val="0"/>
              </a:spcBef>
              <a:defRPr sz="1400" b="0" i="0">
                <a:solidFill>
                  <a:schemeClr val="tx1"/>
                </a:solidFill>
                <a:latin typeface="IBM Plex Sans Light" panose="020B0403050203000203" pitchFamily="34" charset="0"/>
              </a:defRPr>
            </a:lvl2pPr>
            <a:lvl3pPr marL="255987" indent="-127993">
              <a:spcBef>
                <a:spcPts val="0"/>
              </a:spcBef>
              <a:defRPr sz="1400" b="0" i="0">
                <a:solidFill>
                  <a:schemeClr val="tx1"/>
                </a:solidFill>
                <a:latin typeface="IBM Plex Sans Light" panose="020B0403050203000203" pitchFamily="34" charset="0"/>
              </a:defRPr>
            </a:lvl3pPr>
            <a:lvl4pPr marL="383981" indent="-127993">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2988" y="1714500"/>
            <a:ext cx="2476178" cy="4286251"/>
          </a:xfrm>
        </p:spPr>
        <p:txBody>
          <a:bodyPr/>
          <a:lstStyle>
            <a:lvl1pPr>
              <a:spcBef>
                <a:spcPts val="0"/>
              </a:spcBef>
              <a:defRPr sz="1000" b="0" i="0">
                <a:solidFill>
                  <a:schemeClr val="tx1"/>
                </a:solidFill>
                <a:latin typeface="IBM Plex Sans" panose="020B0503050203000203" pitchFamily="34" charset="0"/>
              </a:defRPr>
            </a:lvl1pPr>
            <a:lvl2pPr marL="91424" indent="-91424">
              <a:spcBef>
                <a:spcPts val="0"/>
              </a:spcBef>
              <a:defRPr sz="1000" b="0" i="0">
                <a:solidFill>
                  <a:schemeClr val="tx1"/>
                </a:solidFill>
                <a:latin typeface="IBM Plex Sans" panose="020B0503050203000203" pitchFamily="34" charset="0"/>
              </a:defRPr>
            </a:lvl2pPr>
            <a:lvl3pPr marL="182848" indent="-91424">
              <a:spcBef>
                <a:spcPts val="0"/>
              </a:spcBef>
              <a:defRPr sz="1000" b="0" i="0">
                <a:solidFill>
                  <a:schemeClr val="tx1"/>
                </a:solidFill>
                <a:latin typeface="IBM Plex Sans" panose="020B0503050203000203" pitchFamily="34" charset="0"/>
              </a:defRPr>
            </a:lvl3pPr>
            <a:lvl4pPr marL="274273" indent="-91424">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30591" y="1714500"/>
            <a:ext cx="2479352" cy="4286251"/>
          </a:xfrm>
        </p:spPr>
        <p:txBody>
          <a:bodyPr/>
          <a:lstStyle>
            <a:lvl1pPr>
              <a:spcBef>
                <a:spcPts val="0"/>
              </a:spcBef>
              <a:defRPr sz="1000" b="0" i="0">
                <a:solidFill>
                  <a:schemeClr val="tx1"/>
                </a:solidFill>
                <a:latin typeface="IBM Plex Sans" panose="020B0503050203000203" pitchFamily="34" charset="0"/>
              </a:defRPr>
            </a:lvl1pPr>
            <a:lvl2pPr marL="91424" indent="-91424">
              <a:spcBef>
                <a:spcPts val="0"/>
              </a:spcBef>
              <a:defRPr sz="1000" b="0" i="0">
                <a:solidFill>
                  <a:schemeClr val="tx1"/>
                </a:solidFill>
                <a:latin typeface="IBM Plex Sans" panose="020B0503050203000203" pitchFamily="34" charset="0"/>
              </a:defRPr>
            </a:lvl2pPr>
            <a:lvl3pPr marL="182848" indent="-91424">
              <a:spcBef>
                <a:spcPts val="0"/>
              </a:spcBef>
              <a:defRPr sz="1000" b="0" i="0">
                <a:solidFill>
                  <a:schemeClr val="tx1"/>
                </a:solidFill>
                <a:latin typeface="IBM Plex Sans" panose="020B0503050203000203" pitchFamily="34" charset="0"/>
              </a:defRPr>
            </a:lvl3pPr>
            <a:lvl4pPr marL="274273" indent="-91424">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4142" y="192024"/>
            <a:ext cx="2477765" cy="570707"/>
          </a:xfrm>
        </p:spPr>
        <p:txBody>
          <a:bodyPr/>
          <a:lstStyle>
            <a:lvl1pPr>
              <a:lnSpc>
                <a:spcPct val="100000"/>
              </a:lnSpc>
              <a:spcBef>
                <a:spcPts val="0"/>
              </a:spcBef>
              <a:defRPr sz="3199">
                <a:solidFill>
                  <a:schemeClr val="tx2"/>
                </a:solidFill>
              </a:defRPr>
            </a:lvl1pPr>
            <a:lvl2pPr>
              <a:lnSpc>
                <a:spcPct val="90000"/>
              </a:lnSpc>
              <a:spcBef>
                <a:spcPts val="0"/>
              </a:spcBef>
              <a:defRPr sz="1400"/>
            </a:lvl2pPr>
            <a:lvl3pPr>
              <a:lnSpc>
                <a:spcPct val="90000"/>
              </a:lnSpc>
              <a:spcBef>
                <a:spcPts val="0"/>
              </a:spcBef>
              <a:defRPr sz="1400"/>
            </a:lvl3pPr>
            <a:lvl4pPr>
              <a:lnSpc>
                <a:spcPct val="90000"/>
              </a:lnSpc>
              <a:spcBef>
                <a:spcPts val="0"/>
              </a:spcBef>
              <a:defRPr sz="1400"/>
            </a:lvl4pPr>
            <a:lvl5pPr>
              <a:lnSpc>
                <a:spcPct val="90000"/>
              </a:lnSpc>
              <a:spcBef>
                <a:spcPts val="0"/>
              </a:spcBef>
              <a:defRPr sz="14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6380919" y="288038"/>
            <a:ext cx="607997" cy="607231"/>
          </a:xfrm>
        </p:spPr>
        <p:txBody>
          <a:bodyPr anchor="ctr"/>
          <a:lstStyle>
            <a:lvl1pPr algn="ctr">
              <a:defRPr sz="800">
                <a:solidFill>
                  <a:schemeClr val="tx1"/>
                </a:solidFill>
              </a:defRPr>
            </a:lvl1pPr>
          </a:lstStyle>
          <a:p>
            <a:r>
              <a:rPr lang="en-US"/>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9428523" y="288037"/>
            <a:ext cx="608843" cy="608076"/>
          </a:xfrm>
        </p:spPr>
        <p:txBody>
          <a:bodyPr anchor="ctr"/>
          <a:lstStyle>
            <a:lvl1pPr algn="ctr">
              <a:defRPr sz="800">
                <a:solidFill>
                  <a:schemeClr val="tx1"/>
                </a:solidFill>
              </a:defRPr>
            </a:lvl1pPr>
          </a:lstStyle>
          <a:p>
            <a:r>
              <a:rPr lang="en-US"/>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6093683" y="284959"/>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9142810" y="284959"/>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11767911" y="6469421"/>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376121881"/>
      </p:ext>
    </p:extLst>
  </p:cSld>
  <p:clrMapOvr>
    <a:masterClrMapping/>
  </p:clrMapOvr>
  <p:transition spd="med"/>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2_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88000" y="1239012"/>
            <a:ext cx="3334903" cy="1524000"/>
          </a:xfrm>
        </p:spPr>
        <p:txBody>
          <a:bodyPr/>
          <a:lstStyle>
            <a:lvl1pPr>
              <a:lnSpc>
                <a:spcPct val="100000"/>
              </a:lnSpc>
              <a:spcBef>
                <a:spcPts val="0"/>
              </a:spcBef>
              <a:defRPr sz="2200">
                <a:solidFill>
                  <a:schemeClr val="tx1"/>
                </a:solidFill>
              </a:defRPr>
            </a:lvl1pPr>
            <a:lvl2pPr marL="201133" indent="-201133">
              <a:lnSpc>
                <a:spcPct val="100000"/>
              </a:lnSpc>
              <a:spcBef>
                <a:spcPts val="0"/>
              </a:spcBef>
              <a:defRPr sz="2200">
                <a:solidFill>
                  <a:schemeClr val="tx1"/>
                </a:solidFill>
              </a:defRPr>
            </a:lvl2pPr>
            <a:lvl3pPr marL="402266" indent="-201133">
              <a:lnSpc>
                <a:spcPct val="100000"/>
              </a:lnSpc>
              <a:spcBef>
                <a:spcPts val="0"/>
              </a:spcBef>
              <a:defRPr sz="2200">
                <a:solidFill>
                  <a:schemeClr val="tx1"/>
                </a:solidFill>
              </a:defRPr>
            </a:lvl3pPr>
            <a:lvl4pPr marL="557686" indent="-201133">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6380919" y="1238251"/>
            <a:ext cx="3333316" cy="1524000"/>
          </a:xfrm>
        </p:spPr>
        <p:txBody>
          <a:bodyPr/>
          <a:lstStyle>
            <a:lvl1pPr>
              <a:lnSpc>
                <a:spcPct val="100000"/>
              </a:lnSpc>
              <a:spcBef>
                <a:spcPts val="0"/>
              </a:spcBef>
              <a:defRPr sz="2200">
                <a:solidFill>
                  <a:schemeClr val="tx1"/>
                </a:solidFill>
              </a:defRPr>
            </a:lvl1pPr>
            <a:lvl2pPr marL="201133" indent="-201133">
              <a:lnSpc>
                <a:spcPct val="100000"/>
              </a:lnSpc>
              <a:spcBef>
                <a:spcPts val="0"/>
              </a:spcBef>
              <a:defRPr sz="2200">
                <a:solidFill>
                  <a:schemeClr val="tx1"/>
                </a:solidFill>
              </a:defRPr>
            </a:lvl2pPr>
            <a:lvl3pPr marL="402266" indent="-201133">
              <a:lnSpc>
                <a:spcPct val="100000"/>
              </a:lnSpc>
              <a:spcBef>
                <a:spcPts val="0"/>
              </a:spcBef>
              <a:defRPr sz="2200">
                <a:solidFill>
                  <a:schemeClr val="tx1"/>
                </a:solidFill>
              </a:defRPr>
            </a:lvl3pPr>
            <a:lvl4pPr marL="557686" indent="-201133">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87999" y="4192524"/>
            <a:ext cx="3334904" cy="1524000"/>
          </a:xfrm>
        </p:spPr>
        <p:txBody>
          <a:bodyPr/>
          <a:lstStyle>
            <a:lvl1pPr>
              <a:lnSpc>
                <a:spcPct val="100000"/>
              </a:lnSpc>
              <a:spcBef>
                <a:spcPts val="0"/>
              </a:spcBef>
              <a:defRPr sz="2200">
                <a:solidFill>
                  <a:schemeClr val="tx1"/>
                </a:solidFill>
              </a:defRPr>
            </a:lvl1pPr>
            <a:lvl2pPr marL="201133" indent="-201133">
              <a:lnSpc>
                <a:spcPct val="100000"/>
              </a:lnSpc>
              <a:spcBef>
                <a:spcPts val="0"/>
              </a:spcBef>
              <a:defRPr sz="2200">
                <a:solidFill>
                  <a:schemeClr val="tx1"/>
                </a:solidFill>
              </a:defRPr>
            </a:lvl2pPr>
            <a:lvl3pPr marL="402266" indent="-201133">
              <a:lnSpc>
                <a:spcPct val="100000"/>
              </a:lnSpc>
              <a:spcBef>
                <a:spcPts val="0"/>
              </a:spcBef>
              <a:defRPr sz="2200">
                <a:solidFill>
                  <a:schemeClr val="tx1"/>
                </a:solidFill>
              </a:defRPr>
            </a:lvl3pPr>
            <a:lvl4pPr marL="557686" indent="-201133">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6380921" y="4191000"/>
            <a:ext cx="3333316" cy="1524000"/>
          </a:xfrm>
        </p:spPr>
        <p:txBody>
          <a:bodyPr/>
          <a:lstStyle>
            <a:lvl1pPr>
              <a:lnSpc>
                <a:spcPct val="100000"/>
              </a:lnSpc>
              <a:spcBef>
                <a:spcPts val="0"/>
              </a:spcBef>
              <a:defRPr sz="2200">
                <a:solidFill>
                  <a:schemeClr val="tx1"/>
                </a:solidFill>
              </a:defRPr>
            </a:lvl1pPr>
            <a:lvl2pPr marL="201133" indent="-201133">
              <a:lnSpc>
                <a:spcPct val="100000"/>
              </a:lnSpc>
              <a:spcBef>
                <a:spcPts val="0"/>
              </a:spcBef>
              <a:defRPr sz="2200">
                <a:solidFill>
                  <a:schemeClr val="tx1"/>
                </a:solidFill>
              </a:defRPr>
            </a:lvl2pPr>
            <a:lvl3pPr marL="402266" indent="-201133">
              <a:lnSpc>
                <a:spcPct val="100000"/>
              </a:lnSpc>
              <a:spcBef>
                <a:spcPts val="0"/>
              </a:spcBef>
              <a:defRPr sz="2200">
                <a:solidFill>
                  <a:schemeClr val="tx1"/>
                </a:solidFill>
              </a:defRPr>
            </a:lvl3pPr>
            <a:lvl4pPr marL="557686" indent="-201133">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87999" y="288037"/>
            <a:ext cx="607997" cy="608076"/>
          </a:xfrm>
        </p:spPr>
        <p:txBody>
          <a:bodyPr anchor="ctr"/>
          <a:lstStyle>
            <a:lvl1pPr algn="ctr">
              <a:defRPr sz="800"/>
            </a:lvl1pPr>
          </a:lstStyle>
          <a:p>
            <a:r>
              <a:rPr lang="en-US"/>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6380919" y="288037"/>
            <a:ext cx="607997" cy="608076"/>
          </a:xfrm>
        </p:spPr>
        <p:txBody>
          <a:bodyPr anchor="ctr"/>
          <a:lstStyle>
            <a:lvl1pPr algn="ctr">
              <a:defRPr sz="800"/>
            </a:lvl1pPr>
          </a:lstStyle>
          <a:p>
            <a:r>
              <a:rPr lang="en-US"/>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87999" y="3236977"/>
            <a:ext cx="607997" cy="608076"/>
          </a:xfrm>
        </p:spPr>
        <p:txBody>
          <a:bodyPr anchor="ctr"/>
          <a:lstStyle>
            <a:lvl1pPr algn="ctr">
              <a:defRPr sz="800"/>
            </a:lvl1pPr>
          </a:lstStyle>
          <a:p>
            <a:r>
              <a:rPr lang="en-US"/>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6380919" y="3238501"/>
            <a:ext cx="607997" cy="608076"/>
          </a:xfrm>
        </p:spPr>
        <p:txBody>
          <a:bodyPr anchor="ctr"/>
          <a:lstStyle>
            <a:lvl1pPr algn="ctr">
              <a:defRPr sz="800"/>
            </a:lvl1pPr>
          </a:lstStyle>
          <a:p>
            <a:r>
              <a:rPr lang="en-US"/>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6095207" y="284959"/>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284127" y="3048000"/>
            <a:ext cx="116205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11767911" y="6469421"/>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330751298"/>
      </p:ext>
    </p:extLst>
  </p:cSld>
  <p:clrMapOvr>
    <a:masterClrMapping/>
  </p:clrMapOvr>
  <p:transition spd="med"/>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2_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8" y="841249"/>
            <a:ext cx="2857128" cy="1138428"/>
          </a:xfrm>
        </p:spPr>
        <p:txBody>
          <a:bodyPr/>
          <a:lstStyle>
            <a:lvl1pPr>
              <a:lnSpc>
                <a:spcPct val="110000"/>
              </a:lnSpc>
              <a:defRPr sz="1800">
                <a:solidFill>
                  <a:schemeClr val="tx2"/>
                </a:solidFill>
              </a:defRPr>
            </a:lvl1pPr>
          </a:lstStyle>
          <a:p>
            <a:r>
              <a:rPr lang="en-US"/>
              <a:t>Click to edit Master title style</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1683"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3" indent="-127993">
              <a:lnSpc>
                <a:spcPct val="110000"/>
              </a:lnSpc>
              <a:spcBef>
                <a:spcPts val="0"/>
              </a:spcBef>
              <a:defRPr sz="1400" b="0" i="0">
                <a:solidFill>
                  <a:schemeClr val="tx1"/>
                </a:solidFill>
                <a:latin typeface="IBM Plex Sans Light" panose="020B0403050203000203" pitchFamily="34" charset="0"/>
              </a:defRPr>
            </a:lvl2pPr>
            <a:lvl3pPr marL="255987" indent="-127993">
              <a:lnSpc>
                <a:spcPct val="110000"/>
              </a:lnSpc>
              <a:spcBef>
                <a:spcPts val="0"/>
              </a:spcBef>
              <a:defRPr sz="1400" b="0" i="0">
                <a:solidFill>
                  <a:schemeClr val="tx1"/>
                </a:solidFill>
                <a:latin typeface="IBM Plex Sans Light" panose="020B0403050203000203" pitchFamily="34" charset="0"/>
              </a:defRPr>
            </a:lvl3pPr>
            <a:lvl4pPr marL="383981" indent="-127993">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3" y="28803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3" indent="-127993">
              <a:lnSpc>
                <a:spcPct val="110000"/>
              </a:lnSpc>
              <a:spcBef>
                <a:spcPts val="0"/>
              </a:spcBef>
              <a:defRPr sz="1400" b="0" i="0">
                <a:solidFill>
                  <a:schemeClr val="tx1"/>
                </a:solidFill>
                <a:latin typeface="IBM Plex Sans Light" panose="020B0403050203000203" pitchFamily="34" charset="0"/>
              </a:defRPr>
            </a:lvl2pPr>
            <a:lvl3pPr marL="255987" indent="-127993">
              <a:lnSpc>
                <a:spcPct val="110000"/>
              </a:lnSpc>
              <a:spcBef>
                <a:spcPts val="0"/>
              </a:spcBef>
              <a:defRPr sz="1400" b="0" i="0">
                <a:solidFill>
                  <a:schemeClr val="tx1"/>
                </a:solidFill>
                <a:latin typeface="IBM Plex Sans Light" panose="020B0403050203000203" pitchFamily="34" charset="0"/>
              </a:defRPr>
            </a:lvl3pPr>
            <a:lvl4pPr marL="383981" indent="-127993">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3"/>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3" indent="-127993">
              <a:lnSpc>
                <a:spcPct val="110000"/>
              </a:lnSpc>
              <a:spcBef>
                <a:spcPts val="0"/>
              </a:spcBef>
              <a:defRPr sz="1400" b="0" i="0">
                <a:solidFill>
                  <a:schemeClr val="tx1"/>
                </a:solidFill>
                <a:latin typeface="IBM Plex Sans Light" panose="020B0403050203000203" pitchFamily="34" charset="0"/>
              </a:defRPr>
            </a:lvl2pPr>
            <a:lvl3pPr marL="255987" indent="-127993">
              <a:lnSpc>
                <a:spcPct val="110000"/>
              </a:lnSpc>
              <a:spcBef>
                <a:spcPts val="0"/>
              </a:spcBef>
              <a:defRPr sz="1400" b="0" i="0">
                <a:solidFill>
                  <a:schemeClr val="tx1"/>
                </a:solidFill>
                <a:latin typeface="IBM Plex Sans Light" panose="020B0403050203000203" pitchFamily="34" charset="0"/>
              </a:defRPr>
            </a:lvl3pPr>
            <a:lvl4pPr marL="383981" indent="-127993">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4" y="3333753"/>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3" indent="-127993">
              <a:lnSpc>
                <a:spcPct val="110000"/>
              </a:lnSpc>
              <a:spcBef>
                <a:spcPts val="0"/>
              </a:spcBef>
              <a:defRPr sz="1400" b="0" i="0">
                <a:solidFill>
                  <a:schemeClr val="tx1"/>
                </a:solidFill>
                <a:latin typeface="IBM Plex Sans Light" panose="020B0403050203000203" pitchFamily="34" charset="0"/>
              </a:defRPr>
            </a:lvl2pPr>
            <a:lvl3pPr marL="255987" indent="-127993">
              <a:lnSpc>
                <a:spcPct val="110000"/>
              </a:lnSpc>
              <a:spcBef>
                <a:spcPts val="0"/>
              </a:spcBef>
              <a:defRPr sz="1400" b="0" i="0">
                <a:solidFill>
                  <a:schemeClr val="tx1"/>
                </a:solidFill>
                <a:latin typeface="IBM Plex Sans Light" panose="020B0403050203000203" pitchFamily="34" charset="0"/>
              </a:defRPr>
            </a:lvl3pPr>
            <a:lvl4pPr marL="383981" indent="-127993">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288036"/>
            <a:ext cx="2477765" cy="570707"/>
          </a:xfrm>
        </p:spPr>
        <p:txBody>
          <a:bodyPr/>
          <a:lstStyle>
            <a:lvl1pPr>
              <a:defRPr sz="14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11767911" y="6469421"/>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482093241"/>
      </p:ext>
    </p:extLst>
  </p:cSld>
  <p:clrMapOvr>
    <a:masterClrMapping/>
  </p:clrMapOvr>
  <p:transition spd="med"/>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6_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763525"/>
            <a:ext cx="5521400" cy="1138428"/>
          </a:xfrm>
        </p:spPr>
        <p:txBody>
          <a:bodyPr rIns="457200"/>
          <a:lstStyle>
            <a:lvl1pPr>
              <a:lnSpc>
                <a:spcPct val="110000"/>
              </a:lnSpc>
              <a:defRPr sz="3199">
                <a:solidFill>
                  <a:schemeClr val="tx2"/>
                </a:solidFill>
              </a:defRPr>
            </a:lvl1pPr>
          </a:lstStyle>
          <a:p>
            <a:r>
              <a:rPr lang="en-US"/>
              <a:t>Click to edit Master title style</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495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3" indent="-127993">
              <a:lnSpc>
                <a:spcPct val="110000"/>
              </a:lnSpc>
              <a:spcBef>
                <a:spcPts val="0"/>
              </a:spcBef>
              <a:defRPr sz="1400" b="0" i="0">
                <a:solidFill>
                  <a:schemeClr val="tx1"/>
                </a:solidFill>
                <a:latin typeface="IBM Plex Sans Light" panose="020B0403050203000203" pitchFamily="34" charset="0"/>
              </a:defRPr>
            </a:lvl2pPr>
            <a:lvl3pPr marL="255987" indent="-127993">
              <a:lnSpc>
                <a:spcPct val="110000"/>
              </a:lnSpc>
              <a:spcBef>
                <a:spcPts val="0"/>
              </a:spcBef>
              <a:defRPr sz="1400" b="0" i="0">
                <a:solidFill>
                  <a:schemeClr val="tx1"/>
                </a:solidFill>
                <a:latin typeface="IBM Plex Sans Light" panose="020B0403050203000203" pitchFamily="34" charset="0"/>
              </a:defRPr>
            </a:lvl3pPr>
            <a:lvl4pPr marL="383981" indent="-127993">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3" y="28495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3" indent="-127993">
              <a:lnSpc>
                <a:spcPct val="110000"/>
              </a:lnSpc>
              <a:spcBef>
                <a:spcPts val="0"/>
              </a:spcBef>
              <a:defRPr sz="1400" b="0" i="0">
                <a:solidFill>
                  <a:schemeClr val="tx1"/>
                </a:solidFill>
                <a:latin typeface="IBM Plex Sans Light" panose="020B0403050203000203" pitchFamily="34" charset="0"/>
              </a:defRPr>
            </a:lvl2pPr>
            <a:lvl3pPr marL="255987" indent="-127993">
              <a:lnSpc>
                <a:spcPct val="110000"/>
              </a:lnSpc>
              <a:spcBef>
                <a:spcPts val="0"/>
              </a:spcBef>
              <a:defRPr sz="1400" b="0" i="0">
                <a:solidFill>
                  <a:schemeClr val="tx1"/>
                </a:solidFill>
                <a:latin typeface="IBM Plex Sans Light" panose="020B0403050203000203" pitchFamily="34" charset="0"/>
              </a:defRPr>
            </a:lvl3pPr>
            <a:lvl4pPr marL="383981" indent="-127993">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3"/>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3" indent="-127993">
              <a:lnSpc>
                <a:spcPct val="110000"/>
              </a:lnSpc>
              <a:spcBef>
                <a:spcPts val="0"/>
              </a:spcBef>
              <a:defRPr sz="1400" b="0" i="0">
                <a:solidFill>
                  <a:schemeClr val="tx1"/>
                </a:solidFill>
                <a:latin typeface="IBM Plex Sans Light" panose="020B0403050203000203" pitchFamily="34" charset="0"/>
              </a:defRPr>
            </a:lvl2pPr>
            <a:lvl3pPr marL="255987" indent="-127993">
              <a:lnSpc>
                <a:spcPct val="110000"/>
              </a:lnSpc>
              <a:spcBef>
                <a:spcPts val="0"/>
              </a:spcBef>
              <a:defRPr sz="1400" b="0" i="0">
                <a:solidFill>
                  <a:schemeClr val="tx1"/>
                </a:solidFill>
                <a:latin typeface="IBM Plex Sans Light" panose="020B0403050203000203" pitchFamily="34" charset="0"/>
              </a:defRPr>
            </a:lvl3pPr>
            <a:lvl4pPr marL="383981" indent="-127993">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4" y="3333753"/>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3" indent="-127993">
              <a:lnSpc>
                <a:spcPct val="110000"/>
              </a:lnSpc>
              <a:spcBef>
                <a:spcPts val="0"/>
              </a:spcBef>
              <a:defRPr sz="1400" b="0" i="0">
                <a:solidFill>
                  <a:schemeClr val="tx1"/>
                </a:solidFill>
                <a:latin typeface="IBM Plex Sans Light" panose="020B0403050203000203" pitchFamily="34" charset="0"/>
              </a:defRPr>
            </a:lvl2pPr>
            <a:lvl3pPr marL="255987" indent="-127993">
              <a:lnSpc>
                <a:spcPct val="110000"/>
              </a:lnSpc>
              <a:spcBef>
                <a:spcPts val="0"/>
              </a:spcBef>
              <a:defRPr sz="1400" b="0" i="0">
                <a:solidFill>
                  <a:schemeClr val="tx1"/>
                </a:solidFill>
                <a:latin typeface="IBM Plex Sans Light" panose="020B0403050203000203" pitchFamily="34" charset="0"/>
              </a:defRPr>
            </a:lvl3pPr>
            <a:lvl4pPr marL="383981" indent="-127993">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288037"/>
            <a:ext cx="2477765" cy="224028"/>
          </a:xfrm>
        </p:spPr>
        <p:txBody>
          <a:bodyPr/>
          <a:lstStyle>
            <a:lvl1pPr>
              <a:defRPr sz="14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11767911" y="6469421"/>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64308743"/>
      </p:ext>
    </p:extLst>
  </p:cSld>
  <p:clrMapOvr>
    <a:masterClrMapping/>
  </p:clrMapOvr>
  <p:transition spd="med"/>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3_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288038"/>
            <a:ext cx="2477765" cy="2286794"/>
          </a:xfrm>
        </p:spPr>
        <p:txBody>
          <a:bodyPr/>
          <a:lstStyle>
            <a:lvl1pPr>
              <a:lnSpc>
                <a:spcPct val="100000"/>
              </a:lnSpc>
              <a:defRPr sz="1400">
                <a:solidFill>
                  <a:schemeClr val="tx2"/>
                </a:solidFill>
              </a:defRPr>
            </a:lvl1pPr>
          </a:lstStyle>
          <a:p>
            <a:r>
              <a:rPr lang="en-US"/>
              <a:t>Click to edit Master title style</a:t>
            </a:r>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8000" y="3328416"/>
            <a:ext cx="2474591" cy="2672459"/>
          </a:xfrm>
        </p:spPr>
        <p:txBody>
          <a:bodyPr/>
          <a:lstStyle>
            <a:lvl1pPr>
              <a:spcBef>
                <a:spcPts val="0"/>
              </a:spcBef>
              <a:defRPr sz="1400">
                <a:solidFill>
                  <a:schemeClr val="tx1"/>
                </a:solidFill>
              </a:defRPr>
            </a:lvl1pPr>
            <a:lvl2pPr marL="127993" indent="-127993">
              <a:spcBef>
                <a:spcPts val="0"/>
              </a:spcBef>
              <a:defRPr sz="1400">
                <a:solidFill>
                  <a:schemeClr val="tx1"/>
                </a:solidFill>
              </a:defRPr>
            </a:lvl2pPr>
            <a:lvl3pPr marL="255987" indent="-127993">
              <a:spcBef>
                <a:spcPts val="0"/>
              </a:spcBef>
              <a:defRPr sz="1400">
                <a:solidFill>
                  <a:schemeClr val="tx1"/>
                </a:solidFill>
              </a:defRPr>
            </a:lvl3pPr>
            <a:lvl4pPr marL="383981" indent="-12799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1187" y="3333751"/>
            <a:ext cx="2474591" cy="2672459"/>
          </a:xfrm>
        </p:spPr>
        <p:txBody>
          <a:bodyPr/>
          <a:lstStyle>
            <a:lvl1pPr>
              <a:spcBef>
                <a:spcPts val="0"/>
              </a:spcBef>
              <a:defRPr sz="1400">
                <a:solidFill>
                  <a:schemeClr val="tx1"/>
                </a:solidFill>
              </a:defRPr>
            </a:lvl1pPr>
            <a:lvl2pPr marL="127993" indent="-127993">
              <a:spcBef>
                <a:spcPts val="0"/>
              </a:spcBef>
              <a:defRPr sz="1400">
                <a:solidFill>
                  <a:schemeClr val="tx1"/>
                </a:solidFill>
              </a:defRPr>
            </a:lvl2pPr>
            <a:lvl3pPr marL="255987" indent="-127993">
              <a:spcBef>
                <a:spcPts val="0"/>
              </a:spcBef>
              <a:defRPr sz="1400">
                <a:solidFill>
                  <a:schemeClr val="tx1"/>
                </a:solidFill>
              </a:defRPr>
            </a:lvl3pPr>
            <a:lvl4pPr marL="383981" indent="-12799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50" y="3333751"/>
            <a:ext cx="2474591" cy="2672459"/>
          </a:xfrm>
        </p:spPr>
        <p:txBody>
          <a:bodyPr/>
          <a:lstStyle>
            <a:lvl1pPr>
              <a:spcBef>
                <a:spcPts val="0"/>
              </a:spcBef>
              <a:defRPr sz="1400">
                <a:solidFill>
                  <a:schemeClr val="tx1"/>
                </a:solidFill>
              </a:defRPr>
            </a:lvl1pPr>
            <a:lvl2pPr marL="127993" indent="-127993">
              <a:spcBef>
                <a:spcPts val="0"/>
              </a:spcBef>
              <a:defRPr sz="1400">
                <a:solidFill>
                  <a:schemeClr val="tx1"/>
                </a:solidFill>
              </a:defRPr>
            </a:lvl2pPr>
            <a:lvl3pPr marL="255987" indent="-127993">
              <a:spcBef>
                <a:spcPts val="0"/>
              </a:spcBef>
              <a:defRPr sz="1400">
                <a:solidFill>
                  <a:schemeClr val="tx1"/>
                </a:solidFill>
              </a:defRPr>
            </a:lvl3pPr>
            <a:lvl4pPr marL="383981" indent="-12799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5" y="3333751"/>
            <a:ext cx="2474591" cy="2672459"/>
          </a:xfrm>
        </p:spPr>
        <p:txBody>
          <a:bodyPr/>
          <a:lstStyle>
            <a:lvl1pPr>
              <a:spcBef>
                <a:spcPts val="0"/>
              </a:spcBef>
              <a:defRPr sz="1400">
                <a:solidFill>
                  <a:schemeClr val="tx1"/>
                </a:solidFill>
              </a:defRPr>
            </a:lvl1pPr>
            <a:lvl2pPr marL="127993" indent="-127993">
              <a:spcBef>
                <a:spcPts val="0"/>
              </a:spcBef>
              <a:defRPr sz="1400">
                <a:solidFill>
                  <a:schemeClr val="tx1"/>
                </a:solidFill>
              </a:defRPr>
            </a:lvl2pPr>
            <a:lvl3pPr marL="255987" indent="-127993">
              <a:spcBef>
                <a:spcPts val="0"/>
              </a:spcBef>
              <a:defRPr sz="1400">
                <a:solidFill>
                  <a:schemeClr val="tx1"/>
                </a:solidFill>
              </a:defRPr>
            </a:lvl3pPr>
            <a:lvl4pPr marL="383981" indent="-12799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11767911" y="6469421"/>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514496922"/>
      </p:ext>
    </p:extLst>
  </p:cSld>
  <p:clrMapOvr>
    <a:masterClrMapping/>
  </p:clrMapOvr>
  <p:transition spd="med"/>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2_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8000" y="192026"/>
            <a:ext cx="5524575" cy="2286794"/>
          </a:xfrm>
        </p:spPr>
        <p:txBody>
          <a:bodyPr rIns="457200"/>
          <a:lstStyle>
            <a:lvl1pPr>
              <a:lnSpc>
                <a:spcPct val="100000"/>
              </a:lnSpc>
              <a:defRPr>
                <a:solidFill>
                  <a:schemeClr val="tx2"/>
                </a:solidFill>
              </a:defRPr>
            </a:lvl1pPr>
          </a:lstStyle>
          <a:p>
            <a:r>
              <a:rPr lang="en-US"/>
              <a:t>Click to edit Master title style</a:t>
            </a:r>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8000" y="3328416"/>
            <a:ext cx="2474591" cy="2672459"/>
          </a:xfrm>
        </p:spPr>
        <p:txBody>
          <a:bodyPr/>
          <a:lstStyle>
            <a:lvl1pPr>
              <a:spcBef>
                <a:spcPts val="0"/>
              </a:spcBef>
              <a:defRPr sz="1400">
                <a:solidFill>
                  <a:schemeClr val="tx1"/>
                </a:solidFill>
              </a:defRPr>
            </a:lvl1pPr>
            <a:lvl2pPr marL="127993" indent="-127993">
              <a:spcBef>
                <a:spcPts val="0"/>
              </a:spcBef>
              <a:defRPr sz="1400">
                <a:solidFill>
                  <a:schemeClr val="tx1"/>
                </a:solidFill>
              </a:defRPr>
            </a:lvl2pPr>
            <a:lvl3pPr marL="255987" indent="-127993">
              <a:spcBef>
                <a:spcPts val="0"/>
              </a:spcBef>
              <a:defRPr sz="1400">
                <a:solidFill>
                  <a:schemeClr val="tx1"/>
                </a:solidFill>
              </a:defRPr>
            </a:lvl3pPr>
            <a:lvl4pPr marL="383981" indent="-12799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4362" y="3333751"/>
            <a:ext cx="2474591" cy="2672459"/>
          </a:xfrm>
        </p:spPr>
        <p:txBody>
          <a:bodyPr/>
          <a:lstStyle>
            <a:lvl1pPr>
              <a:spcBef>
                <a:spcPts val="0"/>
              </a:spcBef>
              <a:defRPr sz="1400">
                <a:solidFill>
                  <a:schemeClr val="tx1"/>
                </a:solidFill>
              </a:defRPr>
            </a:lvl1pPr>
            <a:lvl2pPr marL="127993" indent="-127993">
              <a:spcBef>
                <a:spcPts val="0"/>
              </a:spcBef>
              <a:defRPr sz="1400">
                <a:solidFill>
                  <a:schemeClr val="tx1"/>
                </a:solidFill>
              </a:defRPr>
            </a:lvl2pPr>
            <a:lvl3pPr marL="255987" indent="-127993">
              <a:spcBef>
                <a:spcPts val="0"/>
              </a:spcBef>
              <a:defRPr sz="1400">
                <a:solidFill>
                  <a:schemeClr val="tx1"/>
                </a:solidFill>
              </a:defRPr>
            </a:lvl3pPr>
            <a:lvl4pPr marL="383981" indent="-12799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50" y="3333751"/>
            <a:ext cx="2474591" cy="2672459"/>
          </a:xfrm>
        </p:spPr>
        <p:txBody>
          <a:bodyPr/>
          <a:lstStyle>
            <a:lvl1pPr>
              <a:spcBef>
                <a:spcPts val="0"/>
              </a:spcBef>
              <a:defRPr sz="1400">
                <a:solidFill>
                  <a:schemeClr val="tx1"/>
                </a:solidFill>
              </a:defRPr>
            </a:lvl1pPr>
            <a:lvl2pPr marL="127993" indent="-127993">
              <a:spcBef>
                <a:spcPts val="0"/>
              </a:spcBef>
              <a:defRPr sz="1400">
                <a:solidFill>
                  <a:schemeClr val="tx1"/>
                </a:solidFill>
              </a:defRPr>
            </a:lvl2pPr>
            <a:lvl3pPr marL="255987" indent="-127993">
              <a:spcBef>
                <a:spcPts val="0"/>
              </a:spcBef>
              <a:defRPr sz="1400">
                <a:solidFill>
                  <a:schemeClr val="tx1"/>
                </a:solidFill>
              </a:defRPr>
            </a:lvl3pPr>
            <a:lvl4pPr marL="383981" indent="-12799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5" y="3333751"/>
            <a:ext cx="2474591" cy="2672459"/>
          </a:xfrm>
        </p:spPr>
        <p:txBody>
          <a:bodyPr/>
          <a:lstStyle>
            <a:lvl1pPr>
              <a:spcBef>
                <a:spcPts val="0"/>
              </a:spcBef>
              <a:defRPr sz="1400">
                <a:solidFill>
                  <a:schemeClr val="tx1"/>
                </a:solidFill>
              </a:defRPr>
            </a:lvl1pPr>
            <a:lvl2pPr marL="127993" indent="-127993">
              <a:spcBef>
                <a:spcPts val="0"/>
              </a:spcBef>
              <a:defRPr sz="1400">
                <a:solidFill>
                  <a:schemeClr val="tx1"/>
                </a:solidFill>
              </a:defRPr>
            </a:lvl2pPr>
            <a:lvl3pPr marL="255987" indent="-127993">
              <a:spcBef>
                <a:spcPts val="0"/>
              </a:spcBef>
              <a:defRPr sz="1400">
                <a:solidFill>
                  <a:schemeClr val="tx1"/>
                </a:solidFill>
              </a:defRPr>
            </a:lvl3pPr>
            <a:lvl4pPr marL="383981" indent="-12799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7911" y="6469421"/>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605913032"/>
      </p:ext>
    </p:extLst>
  </p:cSld>
  <p:clrMapOvr>
    <a:masterClrMapping/>
  </p:clrMapOvr>
  <p:transition spd="med"/>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2_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8000" y="288036"/>
            <a:ext cx="2474591" cy="2286795"/>
          </a:xfrm>
        </p:spPr>
        <p:txBody>
          <a:bodyPr/>
          <a:lstStyle>
            <a:lvl1pPr>
              <a:lnSpc>
                <a:spcPct val="110000"/>
              </a:lnSpc>
              <a:defRPr sz="1400">
                <a:solidFill>
                  <a:schemeClr val="tx2"/>
                </a:solidFill>
              </a:defRPr>
            </a:lvl1pPr>
          </a:lstStyle>
          <a:p>
            <a:r>
              <a:rPr lang="en-US"/>
              <a:t>Click to edit Master title style</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3" indent="-127993">
              <a:lnSpc>
                <a:spcPct val="110000"/>
              </a:lnSpc>
              <a:spcBef>
                <a:spcPts val="0"/>
              </a:spcBef>
              <a:defRPr sz="1400" b="0" i="0">
                <a:solidFill>
                  <a:schemeClr val="tx1"/>
                </a:solidFill>
                <a:latin typeface="IBM Plex Sans Light" panose="020B0403050203000203" pitchFamily="34" charset="0"/>
              </a:defRPr>
            </a:lvl2pPr>
            <a:lvl3pPr marL="255987" indent="-127993">
              <a:lnSpc>
                <a:spcPct val="110000"/>
              </a:lnSpc>
              <a:spcBef>
                <a:spcPts val="0"/>
              </a:spcBef>
              <a:defRPr sz="1400" b="0" i="0">
                <a:solidFill>
                  <a:schemeClr val="tx1"/>
                </a:solidFill>
                <a:latin typeface="IBM Plex Sans Light" panose="020B0403050203000203" pitchFamily="34" charset="0"/>
              </a:defRPr>
            </a:lvl3pPr>
            <a:lvl4pPr marL="383981" indent="-127993">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3" y="28803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3" indent="-127993">
              <a:lnSpc>
                <a:spcPct val="110000"/>
              </a:lnSpc>
              <a:spcBef>
                <a:spcPts val="0"/>
              </a:spcBef>
              <a:defRPr sz="1400" b="0" i="0">
                <a:solidFill>
                  <a:schemeClr val="tx1"/>
                </a:solidFill>
                <a:latin typeface="IBM Plex Sans Light" panose="020B0403050203000203" pitchFamily="34" charset="0"/>
              </a:defRPr>
            </a:lvl2pPr>
            <a:lvl3pPr marL="255987" indent="-127993">
              <a:lnSpc>
                <a:spcPct val="110000"/>
              </a:lnSpc>
              <a:spcBef>
                <a:spcPts val="0"/>
              </a:spcBef>
              <a:defRPr sz="1400" b="0" i="0">
                <a:solidFill>
                  <a:schemeClr val="tx1"/>
                </a:solidFill>
                <a:latin typeface="IBM Plex Sans Light" panose="020B0403050203000203" pitchFamily="34" charset="0"/>
              </a:defRPr>
            </a:lvl3pPr>
            <a:lvl4pPr marL="383981" indent="-127993">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3"/>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3" indent="-127993">
              <a:lnSpc>
                <a:spcPct val="110000"/>
              </a:lnSpc>
              <a:spcBef>
                <a:spcPts val="0"/>
              </a:spcBef>
              <a:defRPr sz="1400" b="0" i="0">
                <a:solidFill>
                  <a:schemeClr val="tx1"/>
                </a:solidFill>
                <a:latin typeface="IBM Plex Sans Light" panose="020B0403050203000203" pitchFamily="34" charset="0"/>
              </a:defRPr>
            </a:lvl2pPr>
            <a:lvl3pPr marL="255987" indent="-127993">
              <a:lnSpc>
                <a:spcPct val="110000"/>
              </a:lnSpc>
              <a:spcBef>
                <a:spcPts val="0"/>
              </a:spcBef>
              <a:defRPr sz="1400" b="0" i="0">
                <a:solidFill>
                  <a:schemeClr val="tx1"/>
                </a:solidFill>
                <a:latin typeface="IBM Plex Sans Light" panose="020B0403050203000203" pitchFamily="34" charset="0"/>
              </a:defRPr>
            </a:lvl3pPr>
            <a:lvl4pPr marL="383981" indent="-127993">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4" y="3333753"/>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3" indent="-127993">
              <a:lnSpc>
                <a:spcPct val="110000"/>
              </a:lnSpc>
              <a:spcBef>
                <a:spcPts val="0"/>
              </a:spcBef>
              <a:defRPr sz="1400" b="0" i="0">
                <a:solidFill>
                  <a:schemeClr val="tx1"/>
                </a:solidFill>
                <a:latin typeface="IBM Plex Sans Light" panose="020B0403050203000203" pitchFamily="34" charset="0"/>
              </a:defRPr>
            </a:lvl2pPr>
            <a:lvl3pPr marL="255987" indent="-127993">
              <a:lnSpc>
                <a:spcPct val="110000"/>
              </a:lnSpc>
              <a:spcBef>
                <a:spcPts val="0"/>
              </a:spcBef>
              <a:defRPr sz="1400" b="0" i="0">
                <a:solidFill>
                  <a:schemeClr val="tx1"/>
                </a:solidFill>
                <a:latin typeface="IBM Plex Sans Light" panose="020B0403050203000203" pitchFamily="34" charset="0"/>
              </a:defRPr>
            </a:lvl3pPr>
            <a:lvl4pPr marL="383981" indent="-127993">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3332555"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3" indent="-127993">
              <a:lnSpc>
                <a:spcPct val="110000"/>
              </a:lnSpc>
              <a:spcBef>
                <a:spcPts val="0"/>
              </a:spcBef>
              <a:defRPr sz="1400" b="0" i="0">
                <a:solidFill>
                  <a:schemeClr val="tx1"/>
                </a:solidFill>
                <a:latin typeface="IBM Plex Sans Light" panose="020B0403050203000203" pitchFamily="34" charset="0"/>
              </a:defRPr>
            </a:lvl2pPr>
            <a:lvl3pPr marL="255987" indent="-127993">
              <a:lnSpc>
                <a:spcPct val="110000"/>
              </a:lnSpc>
              <a:spcBef>
                <a:spcPts val="0"/>
              </a:spcBef>
              <a:defRPr sz="1400" b="0" i="0">
                <a:solidFill>
                  <a:schemeClr val="tx1"/>
                </a:solidFill>
                <a:latin typeface="IBM Plex Sans Light" panose="020B0403050203000203" pitchFamily="34" charset="0"/>
              </a:defRPr>
            </a:lvl3pPr>
            <a:lvl4pPr marL="383981" indent="-127993">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3334142" y="3333753"/>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3" indent="-127993">
              <a:lnSpc>
                <a:spcPct val="110000"/>
              </a:lnSpc>
              <a:spcBef>
                <a:spcPts val="0"/>
              </a:spcBef>
              <a:defRPr sz="1400" b="0" i="0">
                <a:solidFill>
                  <a:schemeClr val="tx1"/>
                </a:solidFill>
                <a:latin typeface="IBM Plex Sans Light" panose="020B0403050203000203" pitchFamily="34" charset="0"/>
              </a:defRPr>
            </a:lvl2pPr>
            <a:lvl3pPr marL="255987" indent="-127993">
              <a:lnSpc>
                <a:spcPct val="110000"/>
              </a:lnSpc>
              <a:spcBef>
                <a:spcPts val="0"/>
              </a:spcBef>
              <a:defRPr sz="1400" b="0" i="0">
                <a:solidFill>
                  <a:schemeClr val="tx1"/>
                </a:solidFill>
                <a:latin typeface="IBM Plex Sans Light" panose="020B0403050203000203" pitchFamily="34" charset="0"/>
              </a:defRPr>
            </a:lvl3pPr>
            <a:lvl4pPr marL="383981" indent="-127993">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11767911" y="6469421"/>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960521748"/>
      </p:ext>
    </p:extLst>
  </p:cSld>
  <p:clrMapOvr>
    <a:masterClrMapping/>
  </p:clrMapOvr>
  <p:transition spd="med"/>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har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63" y="288036"/>
            <a:ext cx="2474590" cy="763525"/>
          </a:xfrm>
        </p:spPr>
        <p:txBody>
          <a:bodyPr/>
          <a:lstStyle>
            <a:lvl1pPr>
              <a:lnSpc>
                <a:spcPct val="110000"/>
              </a:lnSpc>
              <a:defRPr sz="1400">
                <a:solidFill>
                  <a:schemeClr val="tx2"/>
                </a:solidFill>
              </a:defRPr>
            </a:lvl1pPr>
          </a:lstStyle>
          <a:p>
            <a:r>
              <a:rPr lang="en-US"/>
              <a:t>Click to edit Master title style</a:t>
            </a:r>
          </a:p>
        </p:txBody>
      </p:sp>
      <p:sp>
        <p:nvSpPr>
          <p:cNvPr id="3" name="Slide Number">
            <a:extLst>
              <a:ext uri="{FF2B5EF4-FFF2-40B4-BE49-F238E27FC236}">
                <a16:creationId xmlns:a16="http://schemas.microsoft.com/office/drawing/2014/main" id="{B0435695-E156-66C6-5CE4-B0F751F125D2}"/>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10" name="Text Placeholder 9">
            <a:extLst>
              <a:ext uri="{FF2B5EF4-FFF2-40B4-BE49-F238E27FC236}">
                <a16:creationId xmlns:a16="http://schemas.microsoft.com/office/drawing/2014/main" id="{BDFFC916-9B64-A7DC-672D-A4AFA1AE968C}"/>
              </a:ext>
            </a:extLst>
          </p:cNvPr>
          <p:cNvSpPr>
            <a:spLocks noGrp="1"/>
          </p:cNvSpPr>
          <p:nvPr>
            <p:ph type="body" sz="quarter" idx="13" hasCustomPrompt="1"/>
          </p:nvPr>
        </p:nvSpPr>
        <p:spPr>
          <a:xfrm>
            <a:off x="3333316" y="6391244"/>
            <a:ext cx="2761890" cy="212725"/>
          </a:xfrm>
        </p:spPr>
        <p:txBody>
          <a:bodyPr anchor="b" anchorCtr="0"/>
          <a:lstStyle>
            <a:lvl1pPr>
              <a:defRPr sz="800">
                <a:latin typeface="IBM Plex Sans" panose="020B0503050203000203" pitchFamily="34" charset="0"/>
              </a:defRPr>
            </a:lvl1pPr>
            <a:lvl2pPr>
              <a:defRPr sz="800"/>
            </a:lvl2pPr>
            <a:lvl3pPr>
              <a:defRPr sz="800"/>
            </a:lvl3pPr>
            <a:lvl4pPr>
              <a:defRPr sz="800"/>
            </a:lvl4pPr>
            <a:lvl5pPr>
              <a:defRPr sz="800"/>
            </a:lvl5pPr>
          </a:lstStyle>
          <a:p>
            <a:pPr lvl="0"/>
            <a:r>
              <a:rPr lang="en-US"/>
              <a:t>Source</a:t>
            </a:r>
          </a:p>
        </p:txBody>
      </p:sp>
      <p:sp>
        <p:nvSpPr>
          <p:cNvPr id="13" name="Text Placeholder 12">
            <a:extLst>
              <a:ext uri="{FF2B5EF4-FFF2-40B4-BE49-F238E27FC236}">
                <a16:creationId xmlns:a16="http://schemas.microsoft.com/office/drawing/2014/main" id="{81A85749-B0F2-6B16-9E7E-1C979593E9E7}"/>
              </a:ext>
            </a:extLst>
          </p:cNvPr>
          <p:cNvSpPr>
            <a:spLocks noGrp="1"/>
          </p:cNvSpPr>
          <p:nvPr>
            <p:ph type="body" sz="quarter" idx="14" hasCustomPrompt="1"/>
          </p:nvPr>
        </p:nvSpPr>
        <p:spPr>
          <a:xfrm>
            <a:off x="287963" y="1522413"/>
            <a:ext cx="2471416" cy="4575175"/>
          </a:xfrm>
        </p:spPr>
        <p:txBody>
          <a:bodyPr/>
          <a:lstStyle>
            <a:lvl1pPr>
              <a:defRPr sz="1400">
                <a:latin typeface="+mj-lt"/>
              </a:defRPr>
            </a:lvl1pPr>
            <a:lvl2pPr>
              <a:defRPr sz="1400">
                <a:latin typeface="+mj-lt"/>
              </a:defRPr>
            </a:lvl2pPr>
            <a:lvl3pPr>
              <a:defRPr sz="1400">
                <a:latin typeface="+mj-lt"/>
              </a:defRPr>
            </a:lvl3pPr>
            <a:lvl4pPr>
              <a:defRPr sz="1400">
                <a:latin typeface="+mj-lt"/>
              </a:defRPr>
            </a:lvl4pPr>
            <a:lvl5pPr>
              <a:defRPr sz="1400">
                <a:latin typeface="+mj-lt"/>
              </a:defRPr>
            </a:lvl5pPr>
          </a:lstStyle>
          <a:p>
            <a:pPr>
              <a:lnSpc>
                <a:spcPct val="110000"/>
              </a:lnSpc>
            </a:pPr>
            <a:r>
              <a:rPr lang="en-US" sz="1400">
                <a:latin typeface="IBM Plex Sans Light" panose="020B0403050203000203" pitchFamily="34" charset="0"/>
              </a:rPr>
              <a:t>Lorem ipsum dolor sit </a:t>
            </a:r>
            <a:r>
              <a:rPr lang="en-US" sz="1400" err="1">
                <a:latin typeface="IBM Plex Sans Light" panose="020B0403050203000203" pitchFamily="34" charset="0"/>
              </a:rPr>
              <a:t>amet</a:t>
            </a:r>
            <a:r>
              <a:rPr lang="en-US" sz="1400">
                <a:latin typeface="IBM Plex Sans Light" panose="020B0403050203000203" pitchFamily="34" charset="0"/>
              </a:rPr>
              <a:t> </a:t>
            </a:r>
            <a:r>
              <a:rPr lang="en-US" sz="1400" err="1">
                <a:latin typeface="IBM Plex Sans Light" panose="020B0403050203000203" pitchFamily="34" charset="0"/>
              </a:rPr>
              <a:t>donec</a:t>
            </a:r>
            <a:r>
              <a:rPr lang="en-US" sz="1400">
                <a:latin typeface="IBM Plex Sans Light" panose="020B0403050203000203" pitchFamily="34" charset="0"/>
              </a:rPr>
              <a:t> </a:t>
            </a:r>
            <a:r>
              <a:rPr lang="en-US" sz="1400" err="1">
                <a:latin typeface="IBM Plex Sans Light" panose="020B0403050203000203" pitchFamily="34" charset="0"/>
              </a:rPr>
              <a:t>quam</a:t>
            </a:r>
            <a:r>
              <a:rPr lang="en-US" sz="1400">
                <a:latin typeface="IBM Plex Sans Light" panose="020B0403050203000203" pitchFamily="34" charset="0"/>
              </a:rPr>
              <a:t> </a:t>
            </a:r>
            <a:r>
              <a:rPr lang="en-US" sz="1400" err="1">
                <a:latin typeface="IBM Plex Sans Light" panose="020B0403050203000203" pitchFamily="34" charset="0"/>
              </a:rPr>
              <a:t>felis</a:t>
            </a:r>
            <a:r>
              <a:rPr lang="en-US" sz="1400">
                <a:latin typeface="IBM Plex Sans Light" panose="020B0403050203000203" pitchFamily="34" charset="0"/>
              </a:rPr>
              <a:t> </a:t>
            </a:r>
            <a:r>
              <a:rPr lang="en-US" sz="1400" err="1">
                <a:latin typeface="IBM Plex Sans Light" panose="020B0403050203000203" pitchFamily="34" charset="0"/>
              </a:rPr>
              <a:t>ultricies</a:t>
            </a:r>
            <a:r>
              <a:rPr lang="en-US" sz="1400">
                <a:latin typeface="IBM Plex Sans Light" panose="020B0403050203000203" pitchFamily="34" charset="0"/>
              </a:rPr>
              <a:t> </a:t>
            </a:r>
            <a:r>
              <a:rPr lang="en-US" sz="1400" err="1">
                <a:latin typeface="IBM Plex Sans Light" panose="020B0403050203000203" pitchFamily="34" charset="0"/>
              </a:rPr>
              <a:t>nec</a:t>
            </a:r>
            <a:r>
              <a:rPr lang="en-US" sz="1400">
                <a:latin typeface="IBM Plex Sans Light" panose="020B0403050203000203" pitchFamily="34" charset="0"/>
              </a:rPr>
              <a:t> </a:t>
            </a:r>
            <a:r>
              <a:rPr lang="en-US" sz="1400" err="1">
                <a:latin typeface="IBM Plex Sans Light" panose="020B0403050203000203" pitchFamily="34" charset="0"/>
              </a:rPr>
              <a:t>pellentesque</a:t>
            </a:r>
            <a:r>
              <a:rPr lang="en-US" sz="1400">
                <a:latin typeface="IBM Plex Sans Light" panose="020B0403050203000203" pitchFamily="34" charset="0"/>
              </a:rPr>
              <a:t> </a:t>
            </a:r>
            <a:r>
              <a:rPr lang="en-US" sz="1400" err="1">
                <a:latin typeface="IBM Plex Sans Light" panose="020B0403050203000203" pitchFamily="34" charset="0"/>
              </a:rPr>
              <a:t>eu</a:t>
            </a:r>
            <a:r>
              <a:rPr lang="en-US" sz="1400">
                <a:latin typeface="IBM Plex Sans Light" panose="020B0403050203000203" pitchFamily="34" charset="0"/>
              </a:rPr>
              <a:t> </a:t>
            </a:r>
            <a:r>
              <a:rPr lang="en-US" sz="1400" err="1">
                <a:latin typeface="IBM Plex Sans Light" panose="020B0403050203000203" pitchFamily="34" charset="0"/>
              </a:rPr>
              <a:t>pretium</a:t>
            </a:r>
            <a:r>
              <a:rPr lang="en-US" sz="1400">
                <a:latin typeface="IBM Plex Sans Light" panose="020B0403050203000203" pitchFamily="34" charset="0"/>
              </a:rPr>
              <a:t> </a:t>
            </a:r>
            <a:r>
              <a:rPr lang="en-US" sz="1400" err="1">
                <a:latin typeface="IBM Plex Sans Light" panose="020B0403050203000203" pitchFamily="34" charset="0"/>
              </a:rPr>
              <a:t>quis</a:t>
            </a:r>
            <a:r>
              <a:rPr lang="en-US" sz="1400">
                <a:latin typeface="IBM Plex Sans Light" panose="020B0403050203000203" pitchFamily="34" charset="0"/>
              </a:rPr>
              <a:t> sem. </a:t>
            </a:r>
            <a:r>
              <a:rPr lang="en-US" sz="1400" err="1">
                <a:latin typeface="IBM Plex Sans Light" panose="020B0403050203000203" pitchFamily="34" charset="0"/>
              </a:rPr>
              <a:t>Nulla</a:t>
            </a:r>
            <a:r>
              <a:rPr lang="en-US" sz="1400">
                <a:latin typeface="IBM Plex Sans Light" panose="020B0403050203000203" pitchFamily="34" charset="0"/>
              </a:rPr>
              <a:t> </a:t>
            </a:r>
            <a:r>
              <a:rPr lang="en-US" sz="1400" err="1">
                <a:latin typeface="IBM Plex Sans Light" panose="020B0403050203000203" pitchFamily="34" charset="0"/>
              </a:rPr>
              <a:t>conset</a:t>
            </a:r>
            <a:r>
              <a:rPr lang="en-US" sz="1400">
                <a:latin typeface="IBM Plex Sans Light" panose="020B0403050203000203" pitchFamily="34" charset="0"/>
              </a:rPr>
              <a:t> </a:t>
            </a:r>
            <a:r>
              <a:rPr lang="en-US" sz="1400" err="1">
                <a:latin typeface="IBM Plex Sans Light" panose="020B0403050203000203" pitchFamily="34" charset="0"/>
              </a:rPr>
              <a:t>massa</a:t>
            </a:r>
            <a:r>
              <a:rPr lang="en-US" sz="1400">
                <a:latin typeface="IBM Plex Sans Light" panose="020B0403050203000203" pitchFamily="34" charset="0"/>
              </a:rPr>
              <a:t> </a:t>
            </a:r>
            <a:r>
              <a:rPr lang="en-US" sz="1400" err="1">
                <a:latin typeface="IBM Plex Sans Light" panose="020B0403050203000203" pitchFamily="34" charset="0"/>
              </a:rPr>
              <a:t>quis</a:t>
            </a:r>
            <a:r>
              <a:rPr lang="en-US" sz="1400">
                <a:latin typeface="IBM Plex Sans Light" panose="020B0403050203000203" pitchFamily="34" charset="0"/>
              </a:rPr>
              <a:t> </a:t>
            </a:r>
            <a:r>
              <a:rPr lang="en-US" sz="1400" err="1">
                <a:latin typeface="IBM Plex Sans Light" panose="020B0403050203000203" pitchFamily="34" charset="0"/>
              </a:rPr>
              <a:t>enim</a:t>
            </a:r>
            <a:r>
              <a:rPr lang="en-US" sz="1400">
                <a:latin typeface="IBM Plex Sans Light" panose="020B0403050203000203" pitchFamily="34" charset="0"/>
              </a:rPr>
              <a:t>.</a:t>
            </a:r>
          </a:p>
        </p:txBody>
      </p:sp>
      <p:sp>
        <p:nvSpPr>
          <p:cNvPr id="4" name="Footer Placeholder 3">
            <a:extLst>
              <a:ext uri="{FF2B5EF4-FFF2-40B4-BE49-F238E27FC236}">
                <a16:creationId xmlns:a16="http://schemas.microsoft.com/office/drawing/2014/main" id="{E71CF978-95F1-0188-4FBB-81AAB884C2C1}"/>
              </a:ext>
            </a:extLst>
          </p:cNvPr>
          <p:cNvSpPr>
            <a:spLocks noGrp="1"/>
          </p:cNvSpPr>
          <p:nvPr>
            <p:ph type="ftr" sz="quarter" idx="18"/>
          </p:nvPr>
        </p:nvSpPr>
        <p:spPr>
          <a:xfrm>
            <a:off x="287963" y="6408000"/>
            <a:ext cx="2477765" cy="190500"/>
          </a:xfrm>
        </p:spPr>
        <p:txBody>
          <a:bodyPr/>
          <a:lstStyle/>
          <a:p>
            <a:endParaRPr lang="en-US"/>
          </a:p>
        </p:txBody>
      </p:sp>
    </p:spTree>
    <p:extLst>
      <p:ext uri="{BB962C8B-B14F-4D97-AF65-F5344CB8AC3E}">
        <p14:creationId xmlns:p14="http://schemas.microsoft.com/office/powerpoint/2010/main" val="182827748"/>
      </p:ext>
    </p:extLst>
  </p:cSld>
  <p:clrMapOvr>
    <a:masterClrMapping/>
  </p:clrMapOvr>
  <p:transition spd="med"/>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2_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88000" y="288036"/>
            <a:ext cx="2474591" cy="1429544"/>
          </a:xfrm>
        </p:spPr>
        <p:txBody>
          <a:bodyPr/>
          <a:lstStyle>
            <a:lvl1pPr>
              <a:lnSpc>
                <a:spcPct val="110000"/>
              </a:lnSpc>
              <a:defRPr sz="1400">
                <a:solidFill>
                  <a:schemeClr val="tx2"/>
                </a:solidFill>
              </a:defRPr>
            </a:lvl1pPr>
          </a:lstStyle>
          <a:p>
            <a:r>
              <a:rPr lang="en-US"/>
              <a:t>Click to edit Master title style</a:t>
            </a:r>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3333316" y="666751"/>
            <a:ext cx="2475384" cy="1905000"/>
          </a:xfrm>
        </p:spPr>
        <p:txBody>
          <a:bodyPr/>
          <a:lstStyle>
            <a:lvl1pPr>
              <a:lnSpc>
                <a:spcPct val="110000"/>
              </a:lnSpc>
              <a:spcBef>
                <a:spcPts val="0"/>
              </a:spcBef>
              <a:defRPr sz="1200">
                <a:solidFill>
                  <a:schemeClr val="tx1"/>
                </a:solidFill>
              </a:defRPr>
            </a:lvl1pPr>
            <a:lvl2pPr marL="109709" indent="-109709">
              <a:lnSpc>
                <a:spcPct val="110000"/>
              </a:lnSpc>
              <a:spcBef>
                <a:spcPts val="0"/>
              </a:spcBef>
              <a:defRPr sz="1200">
                <a:solidFill>
                  <a:schemeClr val="tx1"/>
                </a:solidFill>
              </a:defRPr>
            </a:lvl2pPr>
            <a:lvl3pPr marL="219418" indent="-109709">
              <a:lnSpc>
                <a:spcPct val="110000"/>
              </a:lnSpc>
              <a:spcBef>
                <a:spcPts val="0"/>
              </a:spcBef>
              <a:defRPr sz="1200">
                <a:solidFill>
                  <a:schemeClr val="tx1"/>
                </a:solidFill>
              </a:defRPr>
            </a:lvl3pPr>
            <a:lvl4pPr marL="329126" indent="-109709">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6380921" y="666751"/>
            <a:ext cx="2476178" cy="1905000"/>
          </a:xfrm>
        </p:spPr>
        <p:txBody>
          <a:bodyPr/>
          <a:lstStyle>
            <a:lvl1pPr>
              <a:lnSpc>
                <a:spcPct val="110000"/>
              </a:lnSpc>
              <a:spcBef>
                <a:spcPts val="0"/>
              </a:spcBef>
              <a:defRPr sz="1200">
                <a:solidFill>
                  <a:schemeClr val="tx1"/>
                </a:solidFill>
              </a:defRPr>
            </a:lvl1pPr>
            <a:lvl2pPr marL="109709" indent="-109709">
              <a:lnSpc>
                <a:spcPct val="110000"/>
              </a:lnSpc>
              <a:spcBef>
                <a:spcPts val="0"/>
              </a:spcBef>
              <a:defRPr sz="1200">
                <a:solidFill>
                  <a:schemeClr val="tx1"/>
                </a:solidFill>
              </a:defRPr>
            </a:lvl2pPr>
            <a:lvl3pPr marL="219418" indent="-109709">
              <a:lnSpc>
                <a:spcPct val="110000"/>
              </a:lnSpc>
              <a:spcBef>
                <a:spcPts val="0"/>
              </a:spcBef>
              <a:defRPr sz="1200">
                <a:solidFill>
                  <a:schemeClr val="tx1"/>
                </a:solidFill>
              </a:defRPr>
            </a:lvl3pPr>
            <a:lvl4pPr marL="329126" indent="-109709">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9428524" y="666751"/>
            <a:ext cx="2476178" cy="1905000"/>
          </a:xfrm>
        </p:spPr>
        <p:txBody>
          <a:bodyPr/>
          <a:lstStyle>
            <a:lvl1pPr>
              <a:lnSpc>
                <a:spcPct val="110000"/>
              </a:lnSpc>
              <a:spcBef>
                <a:spcPts val="0"/>
              </a:spcBef>
              <a:defRPr sz="1200">
                <a:solidFill>
                  <a:schemeClr val="tx1"/>
                </a:solidFill>
              </a:defRPr>
            </a:lvl1pPr>
            <a:lvl2pPr marL="109709" indent="-109709">
              <a:lnSpc>
                <a:spcPct val="110000"/>
              </a:lnSpc>
              <a:spcBef>
                <a:spcPts val="0"/>
              </a:spcBef>
              <a:defRPr sz="1200">
                <a:solidFill>
                  <a:schemeClr val="tx1"/>
                </a:solidFill>
              </a:defRPr>
            </a:lvl2pPr>
            <a:lvl3pPr marL="219418" indent="-109709">
              <a:lnSpc>
                <a:spcPct val="110000"/>
              </a:lnSpc>
              <a:spcBef>
                <a:spcPts val="0"/>
              </a:spcBef>
              <a:defRPr sz="1200">
                <a:solidFill>
                  <a:schemeClr val="tx1"/>
                </a:solidFill>
              </a:defRPr>
            </a:lvl3pPr>
            <a:lvl4pPr marL="329126" indent="-109709">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3333316" y="3714751"/>
            <a:ext cx="2475384" cy="1905000"/>
          </a:xfrm>
        </p:spPr>
        <p:txBody>
          <a:bodyPr/>
          <a:lstStyle>
            <a:lvl1pPr>
              <a:lnSpc>
                <a:spcPct val="110000"/>
              </a:lnSpc>
              <a:spcBef>
                <a:spcPts val="0"/>
              </a:spcBef>
              <a:defRPr sz="1200">
                <a:solidFill>
                  <a:schemeClr val="tx1"/>
                </a:solidFill>
              </a:defRPr>
            </a:lvl1pPr>
            <a:lvl2pPr marL="109709" indent="-109709">
              <a:lnSpc>
                <a:spcPct val="110000"/>
              </a:lnSpc>
              <a:spcBef>
                <a:spcPts val="0"/>
              </a:spcBef>
              <a:defRPr sz="1200">
                <a:solidFill>
                  <a:schemeClr val="tx1"/>
                </a:solidFill>
              </a:defRPr>
            </a:lvl2pPr>
            <a:lvl3pPr marL="219418" indent="-109709">
              <a:lnSpc>
                <a:spcPct val="110000"/>
              </a:lnSpc>
              <a:spcBef>
                <a:spcPts val="0"/>
              </a:spcBef>
              <a:defRPr sz="1200">
                <a:solidFill>
                  <a:schemeClr val="tx1"/>
                </a:solidFill>
              </a:defRPr>
            </a:lvl3pPr>
            <a:lvl4pPr marL="329126" indent="-109709">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6380920" y="3714750"/>
            <a:ext cx="2475384" cy="1896342"/>
          </a:xfrm>
        </p:spPr>
        <p:txBody>
          <a:bodyPr/>
          <a:lstStyle>
            <a:lvl1pPr>
              <a:lnSpc>
                <a:spcPct val="110000"/>
              </a:lnSpc>
              <a:spcBef>
                <a:spcPts val="0"/>
              </a:spcBef>
              <a:defRPr sz="1200">
                <a:solidFill>
                  <a:schemeClr val="tx1"/>
                </a:solidFill>
              </a:defRPr>
            </a:lvl1pPr>
            <a:lvl2pPr marL="109709" indent="-109709">
              <a:lnSpc>
                <a:spcPct val="110000"/>
              </a:lnSpc>
              <a:spcBef>
                <a:spcPts val="0"/>
              </a:spcBef>
              <a:defRPr sz="1200">
                <a:solidFill>
                  <a:schemeClr val="tx1"/>
                </a:solidFill>
              </a:defRPr>
            </a:lvl2pPr>
            <a:lvl3pPr marL="219418" indent="-109709">
              <a:lnSpc>
                <a:spcPct val="110000"/>
              </a:lnSpc>
              <a:spcBef>
                <a:spcPts val="0"/>
              </a:spcBef>
              <a:defRPr sz="1200">
                <a:solidFill>
                  <a:schemeClr val="tx1"/>
                </a:solidFill>
              </a:defRPr>
            </a:lvl3pPr>
            <a:lvl4pPr marL="329126" indent="-109709">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9428524" y="3714751"/>
            <a:ext cx="2476178" cy="1905000"/>
          </a:xfrm>
        </p:spPr>
        <p:txBody>
          <a:bodyPr/>
          <a:lstStyle>
            <a:lvl1pPr>
              <a:lnSpc>
                <a:spcPct val="110000"/>
              </a:lnSpc>
              <a:spcBef>
                <a:spcPts val="0"/>
              </a:spcBef>
              <a:defRPr sz="1200">
                <a:solidFill>
                  <a:schemeClr val="tx1"/>
                </a:solidFill>
              </a:defRPr>
            </a:lvl1pPr>
            <a:lvl2pPr marL="109709" indent="-109709">
              <a:lnSpc>
                <a:spcPct val="110000"/>
              </a:lnSpc>
              <a:spcBef>
                <a:spcPts val="0"/>
              </a:spcBef>
              <a:defRPr sz="1200">
                <a:solidFill>
                  <a:schemeClr val="tx1"/>
                </a:solidFill>
              </a:defRPr>
            </a:lvl2pPr>
            <a:lvl3pPr marL="219418" indent="-109709">
              <a:lnSpc>
                <a:spcPct val="110000"/>
              </a:lnSpc>
              <a:spcBef>
                <a:spcPts val="0"/>
              </a:spcBef>
              <a:defRPr sz="1200">
                <a:solidFill>
                  <a:schemeClr val="tx1"/>
                </a:solidFill>
              </a:defRPr>
            </a:lvl3pPr>
            <a:lvl4pPr marL="329126" indent="-109709">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3333316" y="288037"/>
            <a:ext cx="201141" cy="201612"/>
          </a:xfrm>
        </p:spPr>
        <p:txBody>
          <a:bodyPr/>
          <a:lstStyle>
            <a:lvl1pPr>
              <a:defRPr sz="700">
                <a:solidFill>
                  <a:schemeClr val="tx1"/>
                </a:solidFill>
              </a:defRPr>
            </a:lvl1pPr>
          </a:lstStyle>
          <a:p>
            <a:r>
              <a:rPr lang="en-US"/>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6380921" y="288037"/>
            <a:ext cx="201141" cy="201612"/>
          </a:xfrm>
        </p:spPr>
        <p:txBody>
          <a:bodyPr/>
          <a:lstStyle>
            <a:lvl1pPr>
              <a:defRPr sz="700">
                <a:solidFill>
                  <a:schemeClr val="tx1"/>
                </a:solidFill>
              </a:defRPr>
            </a:lvl1pPr>
          </a:lstStyle>
          <a:p>
            <a:r>
              <a:rPr lang="en-US"/>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9428523" y="288037"/>
            <a:ext cx="201141" cy="201612"/>
          </a:xfrm>
        </p:spPr>
        <p:txBody>
          <a:bodyPr/>
          <a:lstStyle>
            <a:lvl1pPr>
              <a:defRPr sz="700">
                <a:solidFill>
                  <a:schemeClr val="tx1"/>
                </a:solidFill>
              </a:defRPr>
            </a:lvl1pPr>
          </a:lstStyle>
          <a:p>
            <a:r>
              <a:rPr lang="en-US"/>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3333316" y="3347316"/>
            <a:ext cx="201141" cy="201612"/>
          </a:xfrm>
        </p:spPr>
        <p:txBody>
          <a:bodyPr/>
          <a:lstStyle>
            <a:lvl1pPr>
              <a:defRPr sz="700">
                <a:solidFill>
                  <a:schemeClr val="tx1"/>
                </a:solidFill>
              </a:defRPr>
            </a:lvl1pPr>
          </a:lstStyle>
          <a:p>
            <a:r>
              <a:rPr lang="en-US"/>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6380921" y="3347316"/>
            <a:ext cx="201141" cy="201612"/>
          </a:xfrm>
        </p:spPr>
        <p:txBody>
          <a:bodyPr/>
          <a:lstStyle>
            <a:lvl1pPr>
              <a:defRPr sz="700">
                <a:solidFill>
                  <a:schemeClr val="tx1"/>
                </a:solidFill>
              </a:defRPr>
            </a:lvl1pPr>
          </a:lstStyle>
          <a:p>
            <a:r>
              <a:rPr lang="en-US"/>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9428523" y="3347316"/>
            <a:ext cx="201141" cy="201612"/>
          </a:xfrm>
        </p:spPr>
        <p:txBody>
          <a:bodyPr/>
          <a:lstStyle>
            <a:lvl1pPr>
              <a:defRPr sz="700">
                <a:solidFill>
                  <a:schemeClr val="tx1"/>
                </a:solidFill>
              </a:defRPr>
            </a:lvl1pPr>
          </a:lstStyle>
          <a:p>
            <a:r>
              <a:rPr lang="en-US"/>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3047606" y="3048000"/>
            <a:ext cx="886027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3047603" y="284959"/>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9142810" y="284959"/>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6093683" y="283466"/>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11767911" y="6469421"/>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425627545"/>
      </p:ext>
    </p:extLst>
  </p:cSld>
  <p:clrMapOvr>
    <a:masterClrMapping/>
  </p:clrMapOvr>
  <p:transition spd="med"/>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2_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192024"/>
            <a:ext cx="5519019" cy="1706563"/>
          </a:xfrm>
        </p:spPr>
        <p:txBody>
          <a:bodyPr rIns="457200"/>
          <a:lstStyle>
            <a:lvl1pPr>
              <a:lnSpc>
                <a:spcPct val="100000"/>
              </a:lnSpc>
              <a:defRPr sz="3199">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19" y="288036"/>
            <a:ext cx="2476178" cy="2477294"/>
          </a:xfrm>
        </p:spPr>
        <p:txBody>
          <a:bodyPr/>
          <a:lstStyle>
            <a:lvl1pPr>
              <a:spcBef>
                <a:spcPts val="0"/>
              </a:spcBef>
              <a:defRPr sz="1400">
                <a:solidFill>
                  <a:schemeClr val="tx1"/>
                </a:solidFill>
              </a:defRPr>
            </a:lvl1pPr>
            <a:lvl2pPr marL="127993" indent="-127993">
              <a:spcBef>
                <a:spcPts val="0"/>
              </a:spcBef>
              <a:defRPr sz="1400">
                <a:solidFill>
                  <a:schemeClr val="tx1"/>
                </a:solidFill>
              </a:defRPr>
            </a:lvl2pPr>
            <a:lvl3pPr marL="255987" indent="-127993">
              <a:spcBef>
                <a:spcPts val="0"/>
              </a:spcBef>
              <a:defRPr sz="1400">
                <a:solidFill>
                  <a:schemeClr val="tx1"/>
                </a:solidFill>
              </a:defRPr>
            </a:lvl3pPr>
            <a:lvl4pPr marL="383981" indent="-12799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11" y="288036"/>
            <a:ext cx="2476178" cy="2477294"/>
          </a:xfrm>
        </p:spPr>
        <p:txBody>
          <a:bodyPr/>
          <a:lstStyle>
            <a:lvl1pPr>
              <a:spcBef>
                <a:spcPts val="0"/>
              </a:spcBef>
              <a:defRPr sz="1400">
                <a:solidFill>
                  <a:schemeClr val="tx1"/>
                </a:solidFill>
              </a:defRPr>
            </a:lvl1pPr>
            <a:lvl2pPr marL="127993" indent="-127993">
              <a:spcBef>
                <a:spcPts val="0"/>
              </a:spcBef>
              <a:defRPr sz="1400">
                <a:solidFill>
                  <a:schemeClr val="tx1"/>
                </a:solidFill>
              </a:defRPr>
            </a:lvl2pPr>
            <a:lvl3pPr marL="255987" indent="-127993">
              <a:spcBef>
                <a:spcPts val="0"/>
              </a:spcBef>
              <a:defRPr sz="1400">
                <a:solidFill>
                  <a:schemeClr val="tx1"/>
                </a:solidFill>
              </a:defRPr>
            </a:lvl3pPr>
            <a:lvl4pPr marL="383981" indent="-12799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19" y="3333751"/>
            <a:ext cx="2476178" cy="2477294"/>
          </a:xfrm>
        </p:spPr>
        <p:txBody>
          <a:bodyPr/>
          <a:lstStyle>
            <a:lvl1pPr>
              <a:spcBef>
                <a:spcPts val="0"/>
              </a:spcBef>
              <a:defRPr sz="1400">
                <a:solidFill>
                  <a:schemeClr val="tx1"/>
                </a:solidFill>
              </a:defRPr>
            </a:lvl1pPr>
            <a:lvl2pPr marL="127993" indent="-127993">
              <a:spcBef>
                <a:spcPts val="0"/>
              </a:spcBef>
              <a:defRPr sz="1400">
                <a:solidFill>
                  <a:schemeClr val="tx1"/>
                </a:solidFill>
              </a:defRPr>
            </a:lvl2pPr>
            <a:lvl3pPr marL="255987" indent="-127993">
              <a:spcBef>
                <a:spcPts val="0"/>
              </a:spcBef>
              <a:defRPr sz="1400">
                <a:solidFill>
                  <a:schemeClr val="tx1"/>
                </a:solidFill>
              </a:defRPr>
            </a:lvl3pPr>
            <a:lvl4pPr marL="383981" indent="-12799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0111" y="3333751"/>
            <a:ext cx="2476178" cy="2477294"/>
          </a:xfrm>
        </p:spPr>
        <p:txBody>
          <a:bodyPr/>
          <a:lstStyle>
            <a:lvl1pPr>
              <a:spcBef>
                <a:spcPts val="0"/>
              </a:spcBef>
              <a:defRPr sz="1400">
                <a:solidFill>
                  <a:schemeClr val="tx1"/>
                </a:solidFill>
              </a:defRPr>
            </a:lvl1pPr>
            <a:lvl2pPr marL="127993" indent="-127993">
              <a:spcBef>
                <a:spcPts val="0"/>
              </a:spcBef>
              <a:defRPr sz="1400">
                <a:solidFill>
                  <a:schemeClr val="tx1"/>
                </a:solidFill>
              </a:defRPr>
            </a:lvl2pPr>
            <a:lvl3pPr marL="255987" indent="-127993">
              <a:spcBef>
                <a:spcPts val="0"/>
              </a:spcBef>
              <a:defRPr sz="1400">
                <a:solidFill>
                  <a:schemeClr val="tx1"/>
                </a:solidFill>
              </a:defRPr>
            </a:lvl3pPr>
            <a:lvl4pPr marL="383981" indent="-12799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87999" y="3332988"/>
            <a:ext cx="2476178" cy="2477294"/>
          </a:xfrm>
        </p:spPr>
        <p:txBody>
          <a:bodyPr/>
          <a:lstStyle>
            <a:lvl1pPr>
              <a:spcBef>
                <a:spcPts val="0"/>
              </a:spcBef>
              <a:defRPr sz="1400">
                <a:solidFill>
                  <a:schemeClr val="tx1"/>
                </a:solidFill>
              </a:defRPr>
            </a:lvl1pPr>
            <a:lvl2pPr marL="127993" indent="-127993">
              <a:spcBef>
                <a:spcPts val="0"/>
              </a:spcBef>
              <a:defRPr sz="1400">
                <a:solidFill>
                  <a:schemeClr val="tx1"/>
                </a:solidFill>
              </a:defRPr>
            </a:lvl2pPr>
            <a:lvl3pPr marL="255987" indent="-127993">
              <a:spcBef>
                <a:spcPts val="0"/>
              </a:spcBef>
              <a:defRPr sz="1400">
                <a:solidFill>
                  <a:schemeClr val="tx1"/>
                </a:solidFill>
              </a:defRPr>
            </a:lvl3pPr>
            <a:lvl4pPr marL="383981" indent="-12799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6" y="3333751"/>
            <a:ext cx="2476178" cy="2477294"/>
          </a:xfrm>
        </p:spPr>
        <p:txBody>
          <a:bodyPr/>
          <a:lstStyle>
            <a:lvl1pPr>
              <a:spcBef>
                <a:spcPts val="0"/>
              </a:spcBef>
              <a:defRPr sz="1400">
                <a:solidFill>
                  <a:schemeClr val="tx1"/>
                </a:solidFill>
              </a:defRPr>
            </a:lvl1pPr>
            <a:lvl2pPr marL="127993" indent="-127993">
              <a:spcBef>
                <a:spcPts val="0"/>
              </a:spcBef>
              <a:defRPr sz="1400">
                <a:solidFill>
                  <a:schemeClr val="tx1"/>
                </a:solidFill>
              </a:defRPr>
            </a:lvl2pPr>
            <a:lvl3pPr marL="255987" indent="-127993">
              <a:spcBef>
                <a:spcPts val="0"/>
              </a:spcBef>
              <a:defRPr sz="1400">
                <a:solidFill>
                  <a:schemeClr val="tx1"/>
                </a:solidFill>
              </a:defRPr>
            </a:lvl3pPr>
            <a:lvl4pPr marL="383981" indent="-12799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2" y="3048000"/>
            <a:ext cx="116205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2"/>
            <a:ext cx="0" cy="295275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9142810" y="284959"/>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6"/>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11767911" y="6469421"/>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44947128"/>
      </p:ext>
    </p:extLst>
  </p:cSld>
  <p:clrMapOvr>
    <a:masterClrMapping/>
  </p:clrMapOvr>
  <p:transition spd="med"/>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2_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8000" y="288036"/>
            <a:ext cx="2474591" cy="1706563"/>
          </a:xfrm>
        </p:spPr>
        <p:txBody>
          <a:bodyPr rIns="0"/>
          <a:lstStyle>
            <a:lvl1pPr>
              <a:lnSpc>
                <a:spcPct val="110000"/>
              </a:lnSpc>
              <a:defRPr sz="1800">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19" y="288036"/>
            <a:ext cx="2476178" cy="2477294"/>
          </a:xfrm>
        </p:spPr>
        <p:txBody>
          <a:bodyPr/>
          <a:lstStyle>
            <a:lvl1pPr>
              <a:spcBef>
                <a:spcPts val="0"/>
              </a:spcBef>
              <a:defRPr sz="1400">
                <a:solidFill>
                  <a:schemeClr val="tx1"/>
                </a:solidFill>
              </a:defRPr>
            </a:lvl1pPr>
            <a:lvl2pPr marL="127993" indent="-127993">
              <a:spcBef>
                <a:spcPts val="0"/>
              </a:spcBef>
              <a:defRPr sz="1400">
                <a:solidFill>
                  <a:schemeClr val="tx1"/>
                </a:solidFill>
              </a:defRPr>
            </a:lvl2pPr>
            <a:lvl3pPr marL="255987" indent="-127993">
              <a:spcBef>
                <a:spcPts val="0"/>
              </a:spcBef>
              <a:defRPr sz="1400">
                <a:solidFill>
                  <a:schemeClr val="tx1"/>
                </a:solidFill>
              </a:defRPr>
            </a:lvl3pPr>
            <a:lvl4pPr marL="383981" indent="-12799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11" y="288036"/>
            <a:ext cx="2476178" cy="2477294"/>
          </a:xfrm>
        </p:spPr>
        <p:txBody>
          <a:bodyPr/>
          <a:lstStyle>
            <a:lvl1pPr>
              <a:spcBef>
                <a:spcPts val="0"/>
              </a:spcBef>
              <a:defRPr sz="1400">
                <a:solidFill>
                  <a:schemeClr val="tx1"/>
                </a:solidFill>
              </a:defRPr>
            </a:lvl1pPr>
            <a:lvl2pPr marL="127993" indent="-127993">
              <a:spcBef>
                <a:spcPts val="0"/>
              </a:spcBef>
              <a:defRPr sz="1400">
                <a:solidFill>
                  <a:schemeClr val="tx1"/>
                </a:solidFill>
              </a:defRPr>
            </a:lvl2pPr>
            <a:lvl3pPr marL="255987" indent="-127993">
              <a:spcBef>
                <a:spcPts val="0"/>
              </a:spcBef>
              <a:defRPr sz="1400">
                <a:solidFill>
                  <a:schemeClr val="tx1"/>
                </a:solidFill>
              </a:defRPr>
            </a:lvl3pPr>
            <a:lvl4pPr marL="383981" indent="-12799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19" y="3333751"/>
            <a:ext cx="2476178" cy="2477294"/>
          </a:xfrm>
        </p:spPr>
        <p:txBody>
          <a:bodyPr/>
          <a:lstStyle>
            <a:lvl1pPr>
              <a:spcBef>
                <a:spcPts val="0"/>
              </a:spcBef>
              <a:defRPr sz="1400">
                <a:solidFill>
                  <a:schemeClr val="tx1"/>
                </a:solidFill>
              </a:defRPr>
            </a:lvl1pPr>
            <a:lvl2pPr marL="127993" indent="-127993">
              <a:spcBef>
                <a:spcPts val="0"/>
              </a:spcBef>
              <a:defRPr sz="1400">
                <a:solidFill>
                  <a:schemeClr val="tx1"/>
                </a:solidFill>
              </a:defRPr>
            </a:lvl2pPr>
            <a:lvl3pPr marL="255987" indent="-127993">
              <a:spcBef>
                <a:spcPts val="0"/>
              </a:spcBef>
              <a:defRPr sz="1400">
                <a:solidFill>
                  <a:schemeClr val="tx1"/>
                </a:solidFill>
              </a:defRPr>
            </a:lvl3pPr>
            <a:lvl4pPr marL="383981" indent="-12799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0111" y="3333751"/>
            <a:ext cx="2476178" cy="2477294"/>
          </a:xfrm>
        </p:spPr>
        <p:txBody>
          <a:bodyPr/>
          <a:lstStyle>
            <a:lvl1pPr>
              <a:spcBef>
                <a:spcPts val="0"/>
              </a:spcBef>
              <a:defRPr sz="1400">
                <a:solidFill>
                  <a:schemeClr val="tx1"/>
                </a:solidFill>
              </a:defRPr>
            </a:lvl1pPr>
            <a:lvl2pPr marL="127993" indent="-127993">
              <a:spcBef>
                <a:spcPts val="0"/>
              </a:spcBef>
              <a:defRPr sz="1400">
                <a:solidFill>
                  <a:schemeClr val="tx1"/>
                </a:solidFill>
              </a:defRPr>
            </a:lvl2pPr>
            <a:lvl3pPr marL="255987" indent="-127993">
              <a:spcBef>
                <a:spcPts val="0"/>
              </a:spcBef>
              <a:defRPr sz="1400">
                <a:solidFill>
                  <a:schemeClr val="tx1"/>
                </a:solidFill>
              </a:defRPr>
            </a:lvl3pPr>
            <a:lvl4pPr marL="383981" indent="-12799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90045" y="3333751"/>
            <a:ext cx="2476178" cy="2477294"/>
          </a:xfrm>
        </p:spPr>
        <p:txBody>
          <a:bodyPr/>
          <a:lstStyle>
            <a:lvl1pPr>
              <a:spcBef>
                <a:spcPts val="0"/>
              </a:spcBef>
              <a:defRPr sz="1400">
                <a:solidFill>
                  <a:schemeClr val="tx1"/>
                </a:solidFill>
              </a:defRPr>
            </a:lvl1pPr>
            <a:lvl2pPr marL="127993" indent="-127993">
              <a:spcBef>
                <a:spcPts val="0"/>
              </a:spcBef>
              <a:defRPr sz="1400">
                <a:solidFill>
                  <a:schemeClr val="tx1"/>
                </a:solidFill>
              </a:defRPr>
            </a:lvl2pPr>
            <a:lvl3pPr marL="255987" indent="-127993">
              <a:spcBef>
                <a:spcPts val="0"/>
              </a:spcBef>
              <a:defRPr sz="1400">
                <a:solidFill>
                  <a:schemeClr val="tx1"/>
                </a:solidFill>
              </a:defRPr>
            </a:lvl3pPr>
            <a:lvl4pPr marL="383981" indent="-12799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6" y="3333751"/>
            <a:ext cx="2476178" cy="2477294"/>
          </a:xfrm>
        </p:spPr>
        <p:txBody>
          <a:bodyPr/>
          <a:lstStyle>
            <a:lvl1pPr>
              <a:spcBef>
                <a:spcPts val="0"/>
              </a:spcBef>
              <a:defRPr sz="1400">
                <a:solidFill>
                  <a:schemeClr val="tx1"/>
                </a:solidFill>
              </a:defRPr>
            </a:lvl1pPr>
            <a:lvl2pPr marL="127993" indent="-127993">
              <a:spcBef>
                <a:spcPts val="0"/>
              </a:spcBef>
              <a:defRPr sz="1400">
                <a:solidFill>
                  <a:schemeClr val="tx1"/>
                </a:solidFill>
              </a:defRPr>
            </a:lvl2pPr>
            <a:lvl3pPr marL="255987" indent="-127993">
              <a:spcBef>
                <a:spcPts val="0"/>
              </a:spcBef>
              <a:defRPr sz="1400">
                <a:solidFill>
                  <a:schemeClr val="tx1"/>
                </a:solidFill>
              </a:defRPr>
            </a:lvl3pPr>
            <a:lvl4pPr marL="383981" indent="-127993">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2" y="3048000"/>
            <a:ext cx="1162057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2"/>
            <a:ext cx="0" cy="2952751"/>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9142810" y="284959"/>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6"/>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11767911" y="6469421"/>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86105108"/>
      </p:ext>
    </p:extLst>
  </p:cSld>
  <p:clrMapOvr>
    <a:masterClrMapping/>
  </p:clrMapOvr>
  <p:transition spd="med"/>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6_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8000" y="288036"/>
            <a:ext cx="2474591" cy="762795"/>
          </a:xfrm>
        </p:spPr>
        <p:txBody>
          <a:bodyPr/>
          <a:lstStyle>
            <a:lvl1pPr>
              <a:lnSpc>
                <a:spcPct val="110000"/>
              </a:lnSpc>
              <a:defRPr sz="1400">
                <a:solidFill>
                  <a:schemeClr val="tx2"/>
                </a:solidFill>
              </a:defRPr>
            </a:lvl1pPr>
          </a:lstStyle>
          <a:p>
            <a:r>
              <a:rPr lang="en-US"/>
              <a:t>Click to edit Master title style</a:t>
            </a:r>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99" y="1714500"/>
            <a:ext cx="2477765" cy="4286251"/>
          </a:xfrm>
        </p:spPr>
        <p:txBody>
          <a:bodyPr/>
          <a:lstStyle>
            <a:lvl1pPr>
              <a:lnSpc>
                <a:spcPct val="110000"/>
              </a:lnSpc>
              <a:spcBef>
                <a:spcPts val="0"/>
              </a:spcBef>
              <a:defRPr sz="1400">
                <a:solidFill>
                  <a:schemeClr val="tx1"/>
                </a:solidFill>
              </a:defRPr>
            </a:lvl1pPr>
            <a:lvl2pPr marL="127993" indent="-127993">
              <a:lnSpc>
                <a:spcPct val="110000"/>
              </a:lnSpc>
              <a:spcBef>
                <a:spcPts val="0"/>
              </a:spcBef>
              <a:defRPr sz="1400">
                <a:solidFill>
                  <a:schemeClr val="tx1"/>
                </a:solidFill>
              </a:defRPr>
            </a:lvl2pPr>
            <a:lvl3pPr marL="255987" indent="-127993">
              <a:lnSpc>
                <a:spcPct val="110000"/>
              </a:lnSpc>
              <a:spcBef>
                <a:spcPts val="0"/>
              </a:spcBef>
              <a:defRPr sz="1400">
                <a:solidFill>
                  <a:schemeClr val="tx1"/>
                </a:solidFill>
              </a:defRPr>
            </a:lvl3pPr>
            <a:lvl4pPr marL="383981" indent="-12799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3333316" y="1714500"/>
            <a:ext cx="2475384" cy="4286251"/>
          </a:xfrm>
        </p:spPr>
        <p:txBody>
          <a:bodyPr/>
          <a:lstStyle>
            <a:lvl1pPr>
              <a:lnSpc>
                <a:spcPct val="110000"/>
              </a:lnSpc>
              <a:spcBef>
                <a:spcPts val="0"/>
              </a:spcBef>
              <a:defRPr sz="1400">
                <a:solidFill>
                  <a:schemeClr val="tx1"/>
                </a:solidFill>
              </a:defRPr>
            </a:lvl1pPr>
            <a:lvl2pPr marL="127993" indent="-127993">
              <a:lnSpc>
                <a:spcPct val="110000"/>
              </a:lnSpc>
              <a:spcBef>
                <a:spcPts val="0"/>
              </a:spcBef>
              <a:defRPr sz="1400">
                <a:solidFill>
                  <a:schemeClr val="tx1"/>
                </a:solidFill>
              </a:defRPr>
            </a:lvl2pPr>
            <a:lvl3pPr marL="255987" indent="-127993">
              <a:lnSpc>
                <a:spcPct val="110000"/>
              </a:lnSpc>
              <a:spcBef>
                <a:spcPts val="0"/>
              </a:spcBef>
              <a:defRPr sz="1400">
                <a:solidFill>
                  <a:schemeClr val="tx1"/>
                </a:solidFill>
              </a:defRPr>
            </a:lvl3pPr>
            <a:lvl4pPr marL="383981" indent="-12799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6380919" y="284958"/>
            <a:ext cx="5523781" cy="6287294"/>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2841262305"/>
      </p:ext>
    </p:extLst>
  </p:cSld>
  <p:clrMapOvr>
    <a:masterClrMapping/>
  </p:clrMapOvr>
  <p:transition spd="med"/>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2_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8000" y="288036"/>
            <a:ext cx="2474591" cy="762795"/>
          </a:xfrm>
        </p:spPr>
        <p:txBody>
          <a:bodyPr/>
          <a:lstStyle>
            <a:lvl1pPr>
              <a:lnSpc>
                <a:spcPct val="110000"/>
              </a:lnSpc>
              <a:defRPr sz="14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67911" y="6452316"/>
            <a:ext cx="136789" cy="123111"/>
          </a:xfrm>
          <a:prstGeom prst="rect">
            <a:avLst/>
          </a:prstGeom>
        </p:spPr>
        <p:txBody>
          <a:bodyPr/>
          <a:lstStyle/>
          <a:p>
            <a:fld id="{86CB4B4D-7CA3-9044-876B-883B54F8677D}" type="slidenum">
              <a:rPr lang="en-US" smtClean="0"/>
              <a:t>‹#›</a:t>
            </a:fld>
            <a:endParaRPr lang="en-US"/>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87999" y="1714500"/>
            <a:ext cx="2477765" cy="4286251"/>
          </a:xfrm>
        </p:spPr>
        <p:txBody>
          <a:bodyPr/>
          <a:lstStyle>
            <a:lvl1pPr>
              <a:lnSpc>
                <a:spcPct val="110000"/>
              </a:lnSpc>
              <a:spcBef>
                <a:spcPts val="0"/>
              </a:spcBef>
              <a:defRPr sz="1400">
                <a:solidFill>
                  <a:schemeClr val="tx1"/>
                </a:solidFill>
              </a:defRPr>
            </a:lvl1pPr>
            <a:lvl2pPr marL="127993" indent="-127993">
              <a:lnSpc>
                <a:spcPct val="110000"/>
              </a:lnSpc>
              <a:spcBef>
                <a:spcPts val="0"/>
              </a:spcBef>
              <a:defRPr sz="1400">
                <a:solidFill>
                  <a:schemeClr val="tx1"/>
                </a:solidFill>
              </a:defRPr>
            </a:lvl2pPr>
            <a:lvl3pPr marL="255987" indent="-127993">
              <a:lnSpc>
                <a:spcPct val="110000"/>
              </a:lnSpc>
              <a:spcBef>
                <a:spcPts val="0"/>
              </a:spcBef>
              <a:defRPr sz="1400">
                <a:solidFill>
                  <a:schemeClr val="tx1"/>
                </a:solidFill>
              </a:defRPr>
            </a:lvl3pPr>
            <a:lvl4pPr marL="383981" indent="-12799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3047603" y="0"/>
            <a:ext cx="9144397" cy="6858000"/>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1062408689"/>
      </p:ext>
    </p:extLst>
  </p:cSld>
  <p:clrMapOvr>
    <a:masterClrMapping/>
  </p:clrMapOvr>
  <p:transition spd="med"/>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2_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8000" y="288036"/>
            <a:ext cx="2474591" cy="762795"/>
          </a:xfrm>
        </p:spPr>
        <p:txBody>
          <a:bodyPr/>
          <a:lstStyle>
            <a:lvl1pPr>
              <a:lnSpc>
                <a:spcPct val="110000"/>
              </a:lnSpc>
              <a:defRPr sz="1400">
                <a:solidFill>
                  <a:schemeClr val="tx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67911" y="6452316"/>
            <a:ext cx="136789" cy="123111"/>
          </a:xfrm>
          <a:prstGeom prst="rect">
            <a:avLst/>
          </a:prstGeom>
        </p:spPr>
        <p:txBody>
          <a:bodyPr/>
          <a:lstStyle/>
          <a:p>
            <a:fld id="{86CB4B4D-7CA3-9044-876B-883B54F8677D}" type="slidenum">
              <a:rPr lang="en-US" smtClean="0"/>
              <a:t>‹#›</a:t>
            </a:fld>
            <a:endParaRPr lang="en-US"/>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99" y="1714500"/>
            <a:ext cx="2477765" cy="4286251"/>
          </a:xfrm>
        </p:spPr>
        <p:txBody>
          <a:bodyPr/>
          <a:lstStyle>
            <a:lvl1pPr>
              <a:lnSpc>
                <a:spcPct val="110000"/>
              </a:lnSpc>
              <a:spcBef>
                <a:spcPts val="0"/>
              </a:spcBef>
              <a:defRPr sz="1400">
                <a:solidFill>
                  <a:schemeClr val="tx1"/>
                </a:solidFill>
              </a:defRPr>
            </a:lvl1pPr>
            <a:lvl2pPr marL="127993" indent="-127993">
              <a:lnSpc>
                <a:spcPct val="110000"/>
              </a:lnSpc>
              <a:spcBef>
                <a:spcPts val="0"/>
              </a:spcBef>
              <a:defRPr sz="1400">
                <a:solidFill>
                  <a:schemeClr val="tx1"/>
                </a:solidFill>
              </a:defRPr>
            </a:lvl2pPr>
            <a:lvl3pPr marL="255987" indent="-127993">
              <a:lnSpc>
                <a:spcPct val="110000"/>
              </a:lnSpc>
              <a:spcBef>
                <a:spcPts val="0"/>
              </a:spcBef>
              <a:defRPr sz="1400">
                <a:solidFill>
                  <a:schemeClr val="tx1"/>
                </a:solidFill>
              </a:defRPr>
            </a:lvl3pPr>
            <a:lvl4pPr marL="383981" indent="-12799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3333318" y="282576"/>
            <a:ext cx="8574559" cy="6289675"/>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1114506239"/>
      </p:ext>
    </p:extLst>
  </p:cSld>
  <p:clrMapOvr>
    <a:masterClrMapping/>
  </p:clrMapOvr>
  <p:transition spd="med"/>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3_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8000" y="288038"/>
            <a:ext cx="2474591" cy="762795"/>
          </a:xfrm>
        </p:spPr>
        <p:txBody>
          <a:bodyPr/>
          <a:lstStyle>
            <a:lvl1pPr>
              <a:lnSpc>
                <a:spcPct val="110000"/>
              </a:lnSpc>
              <a:defRPr sz="1400">
                <a:solidFill>
                  <a:schemeClr val="tx2"/>
                </a:solidFill>
              </a:defRPr>
            </a:lvl1pPr>
          </a:lstStyle>
          <a:p>
            <a:r>
              <a:rPr lang="en-US"/>
              <a:t>Click to edit Master title style</a:t>
            </a:r>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88000" y="3060702"/>
            <a:ext cx="1236501" cy="1238251"/>
          </a:xfrm>
          <a:solidFill>
            <a:srgbClr val="E0E0E0"/>
          </a:solidFill>
        </p:spPr>
        <p:txBody>
          <a:bodyPr anchor="ctr"/>
          <a:lstStyle>
            <a:lvl1pPr marL="0" marR="0" indent="0" algn="ctr" defTabSz="1218758"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758"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714279" y="3060702"/>
            <a:ext cx="2853953" cy="1238251"/>
          </a:xfrm>
        </p:spPr>
        <p:txBody>
          <a:bodyPr/>
          <a:lstStyle>
            <a:lvl1pPr>
              <a:lnSpc>
                <a:spcPct val="110000"/>
              </a:lnSpc>
              <a:spcBef>
                <a:spcPts val="0"/>
              </a:spcBef>
              <a:defRPr sz="1400">
                <a:solidFill>
                  <a:schemeClr val="tx1"/>
                </a:solidFill>
              </a:defRPr>
            </a:lvl1pPr>
            <a:lvl2pPr marL="127969" indent="-127969">
              <a:lnSpc>
                <a:spcPct val="110000"/>
              </a:lnSpc>
              <a:spcBef>
                <a:spcPts val="0"/>
              </a:spcBef>
              <a:defRPr sz="1400">
                <a:solidFill>
                  <a:schemeClr val="tx1"/>
                </a:solidFill>
              </a:defRPr>
            </a:lvl2pPr>
            <a:lvl3pPr marL="255939" indent="-127969">
              <a:lnSpc>
                <a:spcPct val="110000"/>
              </a:lnSpc>
              <a:spcBef>
                <a:spcPts val="0"/>
              </a:spcBef>
              <a:defRPr sz="1400">
                <a:solidFill>
                  <a:schemeClr val="tx1"/>
                </a:solidFill>
              </a:defRPr>
            </a:lvl3pPr>
            <a:lvl4pPr marL="383909" indent="-12796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88000" y="4762502"/>
            <a:ext cx="1236501" cy="1238251"/>
          </a:xfrm>
          <a:solidFill>
            <a:srgbClr val="E0E0E0"/>
          </a:solidFill>
        </p:spPr>
        <p:txBody>
          <a:bodyPr anchor="ctr"/>
          <a:lstStyle>
            <a:lvl1pPr marL="0" marR="0" indent="0" algn="ctr" defTabSz="1218758"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758"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714279" y="4762502"/>
            <a:ext cx="2853953" cy="1238251"/>
          </a:xfrm>
        </p:spPr>
        <p:txBody>
          <a:bodyPr/>
          <a:lstStyle>
            <a:lvl1pPr>
              <a:lnSpc>
                <a:spcPct val="110000"/>
              </a:lnSpc>
              <a:spcBef>
                <a:spcPts val="0"/>
              </a:spcBef>
              <a:defRPr sz="1400">
                <a:solidFill>
                  <a:schemeClr val="tx1"/>
                </a:solidFill>
              </a:defRPr>
            </a:lvl1pPr>
            <a:lvl2pPr marL="127969" indent="-127969">
              <a:lnSpc>
                <a:spcPct val="110000"/>
              </a:lnSpc>
              <a:spcBef>
                <a:spcPts val="0"/>
              </a:spcBef>
              <a:defRPr sz="1400">
                <a:solidFill>
                  <a:schemeClr val="tx1"/>
                </a:solidFill>
              </a:defRPr>
            </a:lvl2pPr>
            <a:lvl3pPr marL="255939" indent="-127969">
              <a:lnSpc>
                <a:spcPct val="110000"/>
              </a:lnSpc>
              <a:spcBef>
                <a:spcPts val="0"/>
              </a:spcBef>
              <a:defRPr sz="1400">
                <a:solidFill>
                  <a:schemeClr val="tx1"/>
                </a:solidFill>
              </a:defRPr>
            </a:lvl3pPr>
            <a:lvl4pPr marL="383909" indent="-12796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88000" y="1333500"/>
            <a:ext cx="1236501" cy="1238251"/>
          </a:xfrm>
          <a:solidFill>
            <a:srgbClr val="E0E0E0"/>
          </a:solidFill>
        </p:spPr>
        <p:txBody>
          <a:bodyPr anchor="ctr"/>
          <a:lstStyle>
            <a:lvl1pPr algn="ctr">
              <a:defRPr>
                <a:solidFill>
                  <a:schemeClr val="accent5"/>
                </a:solidFill>
              </a:defRPr>
            </a:lvl1pPr>
          </a:lstStyle>
          <a:p>
            <a:r>
              <a:rPr lang="en-US"/>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714279" y="1333500"/>
            <a:ext cx="2853953" cy="1238251"/>
          </a:xfrm>
        </p:spPr>
        <p:txBody>
          <a:bodyPr/>
          <a:lstStyle>
            <a:lvl1pPr>
              <a:lnSpc>
                <a:spcPct val="110000"/>
              </a:lnSpc>
              <a:spcBef>
                <a:spcPts val="0"/>
              </a:spcBef>
              <a:defRPr sz="1400">
                <a:solidFill>
                  <a:schemeClr val="tx1"/>
                </a:solidFill>
              </a:defRPr>
            </a:lvl1pPr>
            <a:lvl2pPr marL="127969" indent="-127969">
              <a:lnSpc>
                <a:spcPct val="110000"/>
              </a:lnSpc>
              <a:spcBef>
                <a:spcPts val="0"/>
              </a:spcBef>
              <a:defRPr sz="1400">
                <a:solidFill>
                  <a:schemeClr val="tx1"/>
                </a:solidFill>
              </a:defRPr>
            </a:lvl2pPr>
            <a:lvl3pPr marL="255939" indent="-127969">
              <a:lnSpc>
                <a:spcPct val="110000"/>
              </a:lnSpc>
              <a:spcBef>
                <a:spcPts val="0"/>
              </a:spcBef>
              <a:defRPr sz="1400">
                <a:solidFill>
                  <a:schemeClr val="tx1"/>
                </a:solidFill>
              </a:defRPr>
            </a:lvl3pPr>
            <a:lvl4pPr marL="383909" indent="-12796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6377747" y="3060702"/>
            <a:ext cx="1236501" cy="1238251"/>
          </a:xfrm>
          <a:solidFill>
            <a:srgbClr val="E0E0E0"/>
          </a:solidFill>
        </p:spPr>
        <p:txBody>
          <a:bodyPr anchor="ctr"/>
          <a:lstStyle>
            <a:lvl1pPr marL="0" marR="0" indent="0" algn="ctr" defTabSz="1218758"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758"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7807898" y="3060702"/>
            <a:ext cx="2853953" cy="1238251"/>
          </a:xfrm>
        </p:spPr>
        <p:txBody>
          <a:bodyPr/>
          <a:lstStyle>
            <a:lvl1pPr>
              <a:lnSpc>
                <a:spcPct val="110000"/>
              </a:lnSpc>
              <a:spcBef>
                <a:spcPts val="0"/>
              </a:spcBef>
              <a:defRPr sz="1400">
                <a:solidFill>
                  <a:schemeClr val="tx1"/>
                </a:solidFill>
              </a:defRPr>
            </a:lvl1pPr>
            <a:lvl2pPr marL="127969" indent="-127969">
              <a:lnSpc>
                <a:spcPct val="110000"/>
              </a:lnSpc>
              <a:spcBef>
                <a:spcPts val="0"/>
              </a:spcBef>
              <a:defRPr sz="1400">
                <a:solidFill>
                  <a:schemeClr val="tx1"/>
                </a:solidFill>
              </a:defRPr>
            </a:lvl2pPr>
            <a:lvl3pPr marL="255939" indent="-127969">
              <a:lnSpc>
                <a:spcPct val="110000"/>
              </a:lnSpc>
              <a:spcBef>
                <a:spcPts val="0"/>
              </a:spcBef>
              <a:defRPr sz="1400">
                <a:solidFill>
                  <a:schemeClr val="tx1"/>
                </a:solidFill>
              </a:defRPr>
            </a:lvl3pPr>
            <a:lvl4pPr marL="383909" indent="-12796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6377747" y="4762502"/>
            <a:ext cx="1236501" cy="1238251"/>
          </a:xfrm>
          <a:solidFill>
            <a:srgbClr val="E0E0E0"/>
          </a:solidFill>
        </p:spPr>
        <p:txBody>
          <a:bodyPr anchor="ctr"/>
          <a:lstStyle>
            <a:lvl1pPr marL="0" marR="0" indent="0" algn="ctr" defTabSz="1218758"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758"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7807898" y="4762502"/>
            <a:ext cx="2853953" cy="1238251"/>
          </a:xfrm>
        </p:spPr>
        <p:txBody>
          <a:bodyPr/>
          <a:lstStyle>
            <a:lvl1pPr>
              <a:lnSpc>
                <a:spcPct val="110000"/>
              </a:lnSpc>
              <a:spcBef>
                <a:spcPts val="0"/>
              </a:spcBef>
              <a:defRPr sz="1400">
                <a:solidFill>
                  <a:schemeClr val="tx1"/>
                </a:solidFill>
              </a:defRPr>
            </a:lvl1pPr>
            <a:lvl2pPr marL="127969" indent="-127969">
              <a:lnSpc>
                <a:spcPct val="110000"/>
              </a:lnSpc>
              <a:spcBef>
                <a:spcPts val="0"/>
              </a:spcBef>
              <a:defRPr sz="1400">
                <a:solidFill>
                  <a:schemeClr val="tx1"/>
                </a:solidFill>
              </a:defRPr>
            </a:lvl2pPr>
            <a:lvl3pPr marL="255939" indent="-127969">
              <a:lnSpc>
                <a:spcPct val="110000"/>
              </a:lnSpc>
              <a:spcBef>
                <a:spcPts val="0"/>
              </a:spcBef>
              <a:defRPr sz="1400">
                <a:solidFill>
                  <a:schemeClr val="tx1"/>
                </a:solidFill>
              </a:defRPr>
            </a:lvl3pPr>
            <a:lvl4pPr marL="383909" indent="-12796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6377747" y="1333500"/>
            <a:ext cx="1236501" cy="1238251"/>
          </a:xfrm>
          <a:solidFill>
            <a:srgbClr val="E0E0E0"/>
          </a:solidFill>
        </p:spPr>
        <p:txBody>
          <a:bodyPr anchor="ctr"/>
          <a:lstStyle>
            <a:lvl1pPr marL="0" marR="0" indent="0" algn="ctr" defTabSz="1218758"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758"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7807898" y="1333500"/>
            <a:ext cx="2853953" cy="1238251"/>
          </a:xfrm>
        </p:spPr>
        <p:txBody>
          <a:bodyPr/>
          <a:lstStyle>
            <a:lvl1pPr>
              <a:lnSpc>
                <a:spcPct val="110000"/>
              </a:lnSpc>
              <a:spcBef>
                <a:spcPts val="0"/>
              </a:spcBef>
              <a:defRPr sz="1400">
                <a:solidFill>
                  <a:schemeClr val="tx1"/>
                </a:solidFill>
              </a:defRPr>
            </a:lvl1pPr>
            <a:lvl2pPr marL="127969" indent="-127969">
              <a:lnSpc>
                <a:spcPct val="110000"/>
              </a:lnSpc>
              <a:spcBef>
                <a:spcPts val="0"/>
              </a:spcBef>
              <a:defRPr sz="1400">
                <a:solidFill>
                  <a:schemeClr val="tx1"/>
                </a:solidFill>
              </a:defRPr>
            </a:lvl2pPr>
            <a:lvl3pPr marL="255939" indent="-127969">
              <a:lnSpc>
                <a:spcPct val="110000"/>
              </a:lnSpc>
              <a:spcBef>
                <a:spcPts val="0"/>
              </a:spcBef>
              <a:defRPr sz="1400">
                <a:solidFill>
                  <a:schemeClr val="tx1"/>
                </a:solidFill>
              </a:defRPr>
            </a:lvl3pPr>
            <a:lvl4pPr marL="383909" indent="-127969">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11767913" y="6469424"/>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335118269"/>
      </p:ext>
    </p:extLst>
  </p:cSld>
  <p:clrMapOvr>
    <a:masterClrMapping/>
  </p:clrMapOvr>
  <p:transition spd="med"/>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2_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8000" y="288036"/>
            <a:ext cx="2474591" cy="762795"/>
          </a:xfrm>
        </p:spPr>
        <p:txBody>
          <a:bodyPr/>
          <a:lstStyle>
            <a:lvl1pPr>
              <a:lnSpc>
                <a:spcPct val="110000"/>
              </a:lnSpc>
              <a:defRPr sz="1400">
                <a:solidFill>
                  <a:schemeClr val="tx2"/>
                </a:solidFill>
              </a:defRPr>
            </a:lvl1pPr>
          </a:lstStyle>
          <a:p>
            <a:r>
              <a:rPr lang="en-US"/>
              <a:t>Click to edit Master title style</a:t>
            </a:r>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87999" y="3060700"/>
            <a:ext cx="1236501" cy="1238251"/>
          </a:xfrm>
          <a:solidFill>
            <a:srgbClr val="E0E0E0"/>
          </a:solidFill>
        </p:spPr>
        <p:txBody>
          <a:bodyPr anchor="ctr"/>
          <a:lstStyle>
            <a:lvl1pPr marL="0" marR="0" indent="0" algn="ctr" defTabSz="121898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8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714278" y="3060700"/>
            <a:ext cx="2853953" cy="1238251"/>
          </a:xfrm>
        </p:spPr>
        <p:txBody>
          <a:bodyPr/>
          <a:lstStyle>
            <a:lvl1pPr>
              <a:lnSpc>
                <a:spcPct val="110000"/>
              </a:lnSpc>
              <a:spcBef>
                <a:spcPts val="0"/>
              </a:spcBef>
              <a:defRPr sz="1400">
                <a:solidFill>
                  <a:schemeClr val="tx1"/>
                </a:solidFill>
              </a:defRPr>
            </a:lvl1pPr>
            <a:lvl2pPr marL="127993" indent="-127993">
              <a:lnSpc>
                <a:spcPct val="110000"/>
              </a:lnSpc>
              <a:spcBef>
                <a:spcPts val="0"/>
              </a:spcBef>
              <a:defRPr sz="1400">
                <a:solidFill>
                  <a:schemeClr val="tx1"/>
                </a:solidFill>
              </a:defRPr>
            </a:lvl2pPr>
            <a:lvl3pPr marL="255987" indent="-127993">
              <a:lnSpc>
                <a:spcPct val="110000"/>
              </a:lnSpc>
              <a:spcBef>
                <a:spcPts val="0"/>
              </a:spcBef>
              <a:defRPr sz="1400">
                <a:solidFill>
                  <a:schemeClr val="tx1"/>
                </a:solidFill>
              </a:defRPr>
            </a:lvl3pPr>
            <a:lvl4pPr marL="383981" indent="-12799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87999" y="4762500"/>
            <a:ext cx="1236501" cy="1238251"/>
          </a:xfrm>
          <a:solidFill>
            <a:srgbClr val="E0E0E0"/>
          </a:solidFill>
        </p:spPr>
        <p:txBody>
          <a:bodyPr anchor="ctr"/>
          <a:lstStyle>
            <a:lvl1pPr marL="0" marR="0" indent="0" algn="ctr" defTabSz="121898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8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714278" y="4762500"/>
            <a:ext cx="2853953" cy="1238251"/>
          </a:xfrm>
        </p:spPr>
        <p:txBody>
          <a:bodyPr/>
          <a:lstStyle>
            <a:lvl1pPr>
              <a:lnSpc>
                <a:spcPct val="110000"/>
              </a:lnSpc>
              <a:spcBef>
                <a:spcPts val="0"/>
              </a:spcBef>
              <a:defRPr sz="1400">
                <a:solidFill>
                  <a:schemeClr val="tx1"/>
                </a:solidFill>
              </a:defRPr>
            </a:lvl1pPr>
            <a:lvl2pPr marL="127993" indent="-127993">
              <a:lnSpc>
                <a:spcPct val="110000"/>
              </a:lnSpc>
              <a:spcBef>
                <a:spcPts val="0"/>
              </a:spcBef>
              <a:defRPr sz="1400">
                <a:solidFill>
                  <a:schemeClr val="tx1"/>
                </a:solidFill>
              </a:defRPr>
            </a:lvl2pPr>
            <a:lvl3pPr marL="255987" indent="-127993">
              <a:lnSpc>
                <a:spcPct val="110000"/>
              </a:lnSpc>
              <a:spcBef>
                <a:spcPts val="0"/>
              </a:spcBef>
              <a:defRPr sz="1400">
                <a:solidFill>
                  <a:schemeClr val="tx1"/>
                </a:solidFill>
              </a:defRPr>
            </a:lvl3pPr>
            <a:lvl4pPr marL="383981" indent="-12799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87999" y="1333500"/>
            <a:ext cx="1236501" cy="1238251"/>
          </a:xfrm>
          <a:solidFill>
            <a:srgbClr val="E0E0E0"/>
          </a:solidFill>
        </p:spPr>
        <p:txBody>
          <a:bodyPr anchor="ctr"/>
          <a:lstStyle>
            <a:lvl1pPr algn="ctr">
              <a:defRPr>
                <a:solidFill>
                  <a:schemeClr val="accent5"/>
                </a:solidFill>
              </a:defRPr>
            </a:lvl1pPr>
          </a:lstStyle>
          <a:p>
            <a:r>
              <a:rPr lang="en-US"/>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714278" y="1333500"/>
            <a:ext cx="2853953" cy="1238251"/>
          </a:xfrm>
        </p:spPr>
        <p:txBody>
          <a:bodyPr/>
          <a:lstStyle>
            <a:lvl1pPr>
              <a:lnSpc>
                <a:spcPct val="110000"/>
              </a:lnSpc>
              <a:spcBef>
                <a:spcPts val="0"/>
              </a:spcBef>
              <a:defRPr sz="1400">
                <a:solidFill>
                  <a:schemeClr val="tx1"/>
                </a:solidFill>
              </a:defRPr>
            </a:lvl1pPr>
            <a:lvl2pPr marL="127993" indent="-127993">
              <a:lnSpc>
                <a:spcPct val="110000"/>
              </a:lnSpc>
              <a:spcBef>
                <a:spcPts val="0"/>
              </a:spcBef>
              <a:defRPr sz="1400">
                <a:solidFill>
                  <a:schemeClr val="tx1"/>
                </a:solidFill>
              </a:defRPr>
            </a:lvl2pPr>
            <a:lvl3pPr marL="255987" indent="-127993">
              <a:lnSpc>
                <a:spcPct val="110000"/>
              </a:lnSpc>
              <a:spcBef>
                <a:spcPts val="0"/>
              </a:spcBef>
              <a:defRPr sz="1400">
                <a:solidFill>
                  <a:schemeClr val="tx1"/>
                </a:solidFill>
              </a:defRPr>
            </a:lvl3pPr>
            <a:lvl4pPr marL="383981" indent="-12799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6377746" y="3060700"/>
            <a:ext cx="1236501" cy="1238251"/>
          </a:xfrm>
          <a:solidFill>
            <a:srgbClr val="E0E0E0"/>
          </a:solidFill>
        </p:spPr>
        <p:txBody>
          <a:bodyPr anchor="ctr"/>
          <a:lstStyle>
            <a:lvl1pPr marL="0" marR="0" indent="0" algn="ctr" defTabSz="121898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8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7807898" y="3060700"/>
            <a:ext cx="2853953" cy="1238251"/>
          </a:xfrm>
        </p:spPr>
        <p:txBody>
          <a:bodyPr/>
          <a:lstStyle>
            <a:lvl1pPr>
              <a:lnSpc>
                <a:spcPct val="110000"/>
              </a:lnSpc>
              <a:spcBef>
                <a:spcPts val="0"/>
              </a:spcBef>
              <a:defRPr sz="1400">
                <a:solidFill>
                  <a:schemeClr val="tx1"/>
                </a:solidFill>
              </a:defRPr>
            </a:lvl1pPr>
            <a:lvl2pPr marL="127993" indent="-127993">
              <a:lnSpc>
                <a:spcPct val="110000"/>
              </a:lnSpc>
              <a:spcBef>
                <a:spcPts val="0"/>
              </a:spcBef>
              <a:defRPr sz="1400">
                <a:solidFill>
                  <a:schemeClr val="tx1"/>
                </a:solidFill>
              </a:defRPr>
            </a:lvl2pPr>
            <a:lvl3pPr marL="255987" indent="-127993">
              <a:lnSpc>
                <a:spcPct val="110000"/>
              </a:lnSpc>
              <a:spcBef>
                <a:spcPts val="0"/>
              </a:spcBef>
              <a:defRPr sz="1400">
                <a:solidFill>
                  <a:schemeClr val="tx1"/>
                </a:solidFill>
              </a:defRPr>
            </a:lvl3pPr>
            <a:lvl4pPr marL="383981" indent="-12799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6377746" y="4762500"/>
            <a:ext cx="1236501" cy="1238251"/>
          </a:xfrm>
          <a:solidFill>
            <a:srgbClr val="E0E0E0"/>
          </a:solidFill>
        </p:spPr>
        <p:txBody>
          <a:bodyPr anchor="ctr"/>
          <a:lstStyle>
            <a:lvl1pPr marL="0" marR="0" indent="0" algn="ctr" defTabSz="121898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8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7807898" y="4762500"/>
            <a:ext cx="2853953" cy="1238251"/>
          </a:xfrm>
        </p:spPr>
        <p:txBody>
          <a:bodyPr/>
          <a:lstStyle>
            <a:lvl1pPr>
              <a:lnSpc>
                <a:spcPct val="110000"/>
              </a:lnSpc>
              <a:spcBef>
                <a:spcPts val="0"/>
              </a:spcBef>
              <a:defRPr sz="1400">
                <a:solidFill>
                  <a:schemeClr val="tx1"/>
                </a:solidFill>
              </a:defRPr>
            </a:lvl1pPr>
            <a:lvl2pPr marL="127993" indent="-127993">
              <a:lnSpc>
                <a:spcPct val="110000"/>
              </a:lnSpc>
              <a:spcBef>
                <a:spcPts val="0"/>
              </a:spcBef>
              <a:defRPr sz="1400">
                <a:solidFill>
                  <a:schemeClr val="tx1"/>
                </a:solidFill>
              </a:defRPr>
            </a:lvl2pPr>
            <a:lvl3pPr marL="255987" indent="-127993">
              <a:lnSpc>
                <a:spcPct val="110000"/>
              </a:lnSpc>
              <a:spcBef>
                <a:spcPts val="0"/>
              </a:spcBef>
              <a:defRPr sz="1400">
                <a:solidFill>
                  <a:schemeClr val="tx1"/>
                </a:solidFill>
              </a:defRPr>
            </a:lvl3pPr>
            <a:lvl4pPr marL="383981" indent="-12799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6377746" y="1333500"/>
            <a:ext cx="1236501" cy="1238251"/>
          </a:xfrm>
          <a:solidFill>
            <a:srgbClr val="E0E0E0"/>
          </a:solidFill>
        </p:spPr>
        <p:txBody>
          <a:bodyPr anchor="ctr"/>
          <a:lstStyle>
            <a:lvl1pPr marL="0" marR="0" indent="0" algn="ctr" defTabSz="121898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8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7807898" y="1333500"/>
            <a:ext cx="2853953" cy="1238251"/>
          </a:xfrm>
        </p:spPr>
        <p:txBody>
          <a:bodyPr/>
          <a:lstStyle>
            <a:lvl1pPr>
              <a:lnSpc>
                <a:spcPct val="110000"/>
              </a:lnSpc>
              <a:spcBef>
                <a:spcPts val="0"/>
              </a:spcBef>
              <a:defRPr sz="1400">
                <a:solidFill>
                  <a:schemeClr val="tx1"/>
                </a:solidFill>
              </a:defRPr>
            </a:lvl1pPr>
            <a:lvl2pPr marL="127993" indent="-127993">
              <a:lnSpc>
                <a:spcPct val="110000"/>
              </a:lnSpc>
              <a:spcBef>
                <a:spcPts val="0"/>
              </a:spcBef>
              <a:defRPr sz="1400">
                <a:solidFill>
                  <a:schemeClr val="tx1"/>
                </a:solidFill>
              </a:defRPr>
            </a:lvl2pPr>
            <a:lvl3pPr marL="255987" indent="-127993">
              <a:lnSpc>
                <a:spcPct val="110000"/>
              </a:lnSpc>
              <a:spcBef>
                <a:spcPts val="0"/>
              </a:spcBef>
              <a:defRPr sz="1400">
                <a:solidFill>
                  <a:schemeClr val="tx1"/>
                </a:solidFill>
              </a:defRPr>
            </a:lvl3pPr>
            <a:lvl4pPr marL="383981" indent="-127993">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11767911" y="6469421"/>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191153419"/>
      </p:ext>
    </p:extLst>
  </p:cSld>
  <p:clrMapOvr>
    <a:masterClrMapping/>
  </p:clrMapOvr>
  <p:transition spd="med"/>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3_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8000" y="192024"/>
            <a:ext cx="2477765" cy="1429544"/>
          </a:xfrm>
        </p:spPr>
        <p:txBody>
          <a:bodyPr/>
          <a:lstStyle>
            <a:lvl1pPr>
              <a:lnSpc>
                <a:spcPct val="90000"/>
              </a:lnSpc>
              <a:spcBef>
                <a:spcPts val="0"/>
              </a:spcBef>
              <a:defRPr sz="3198">
                <a:solidFill>
                  <a:schemeClr val="tx2"/>
                </a:solidFill>
              </a:defRPr>
            </a:lvl1pPr>
            <a:lvl2pPr>
              <a:lnSpc>
                <a:spcPct val="100000"/>
              </a:lnSpc>
              <a:spcBef>
                <a:spcPts val="0"/>
              </a:spcBef>
              <a:defRPr sz="3198">
                <a:solidFill>
                  <a:schemeClr val="tx1"/>
                </a:solidFill>
              </a:defRPr>
            </a:lvl2pPr>
            <a:lvl3pPr>
              <a:lnSpc>
                <a:spcPct val="100000"/>
              </a:lnSpc>
              <a:spcBef>
                <a:spcPts val="0"/>
              </a:spcBef>
              <a:defRPr sz="3198">
                <a:solidFill>
                  <a:schemeClr val="tx1"/>
                </a:solidFill>
              </a:defRPr>
            </a:lvl3pPr>
            <a:lvl4pPr>
              <a:lnSpc>
                <a:spcPct val="100000"/>
              </a:lnSpc>
              <a:spcBef>
                <a:spcPts val="0"/>
              </a:spcBef>
              <a:defRPr sz="3198">
                <a:solidFill>
                  <a:schemeClr val="tx1"/>
                </a:solidFill>
              </a:defRPr>
            </a:lvl4pPr>
            <a:lvl5pPr>
              <a:lnSpc>
                <a:spcPct val="100000"/>
              </a:lnSpc>
              <a:spcBef>
                <a:spcPts val="0"/>
              </a:spcBef>
              <a:defRPr sz="3198">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3" y="284958"/>
            <a:ext cx="2476179" cy="5715795"/>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26" indent="-73126">
              <a:lnSpc>
                <a:spcPct val="120000"/>
              </a:lnSpc>
              <a:spcBef>
                <a:spcPts val="0"/>
              </a:spcBef>
              <a:defRPr sz="800" b="0" i="0">
                <a:solidFill>
                  <a:schemeClr val="tx1"/>
                </a:solidFill>
                <a:latin typeface="IBM Plex Sans" panose="020B0503050203000203" pitchFamily="34" charset="0"/>
              </a:defRPr>
            </a:lvl2pPr>
            <a:lvl3pPr marL="146251" indent="-73126">
              <a:lnSpc>
                <a:spcPct val="120000"/>
              </a:lnSpc>
              <a:spcBef>
                <a:spcPts val="0"/>
              </a:spcBef>
              <a:defRPr sz="800" b="0" i="0">
                <a:solidFill>
                  <a:schemeClr val="tx1"/>
                </a:solidFill>
                <a:latin typeface="IBM Plex Sans" panose="020B0503050203000203" pitchFamily="34" charset="0"/>
              </a:defRPr>
            </a:lvl3pPr>
            <a:lvl4pPr marL="219376" indent="-73126">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11767913" y="6469424"/>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611224934"/>
      </p:ext>
    </p:extLst>
  </p:cSld>
  <p:clrMapOvr>
    <a:masterClrMapping/>
  </p:clrMapOvr>
  <p:transition spd="med"/>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2_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024"/>
            <a:ext cx="2477765" cy="1429544"/>
          </a:xfrm>
        </p:spPr>
        <p:txBody>
          <a:bodyPr/>
          <a:lstStyle>
            <a:lvl1pPr>
              <a:lnSpc>
                <a:spcPct val="90000"/>
              </a:lnSpc>
              <a:spcBef>
                <a:spcPts val="0"/>
              </a:spcBef>
              <a:defRPr sz="3199">
                <a:solidFill>
                  <a:schemeClr val="tx2"/>
                </a:solidFill>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4" y="284959"/>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9" indent="-73139">
              <a:lnSpc>
                <a:spcPct val="120000"/>
              </a:lnSpc>
              <a:spcBef>
                <a:spcPts val="0"/>
              </a:spcBef>
              <a:defRPr sz="800" b="0" i="0">
                <a:solidFill>
                  <a:schemeClr val="tx1"/>
                </a:solidFill>
                <a:latin typeface="IBM Plex Sans" panose="020B0503050203000203" pitchFamily="34" charset="0"/>
              </a:defRPr>
            </a:lvl2pPr>
            <a:lvl3pPr marL="146279" indent="-73139">
              <a:lnSpc>
                <a:spcPct val="120000"/>
              </a:lnSpc>
              <a:spcBef>
                <a:spcPts val="0"/>
              </a:spcBef>
              <a:defRPr sz="800" b="0" i="0">
                <a:solidFill>
                  <a:schemeClr val="tx1"/>
                </a:solidFill>
                <a:latin typeface="IBM Plex Sans" panose="020B0503050203000203" pitchFamily="34" charset="0"/>
              </a:defRPr>
            </a:lvl3pPr>
            <a:lvl4pPr marL="219418" indent="-73139">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11767911" y="6469421"/>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692838971"/>
      </p:ext>
    </p:extLst>
  </p:cSld>
  <p:clrMapOvr>
    <a:masterClrMapping/>
  </p:clrMapOvr>
  <p:transition spd="med"/>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63" y="192024"/>
            <a:ext cx="2477765" cy="1429544"/>
          </a:xfrm>
        </p:spPr>
        <p:txBody>
          <a:bodyPr/>
          <a:lstStyle>
            <a:lvl1pPr>
              <a:lnSpc>
                <a:spcPct val="100000"/>
              </a:lnSpc>
              <a:spcBef>
                <a:spcPts val="0"/>
              </a:spcBef>
              <a:defRPr sz="3399">
                <a:solidFill>
                  <a:schemeClr val="tx2"/>
                </a:solidFill>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30109" y="288000"/>
            <a:ext cx="2476178" cy="5812631"/>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87963" y="6408000"/>
            <a:ext cx="2477765" cy="190500"/>
          </a:xfrm>
        </p:spPr>
        <p:txBody>
          <a:bodyPr/>
          <a:lstStyle/>
          <a:p>
            <a:endParaRPr lang="en-US"/>
          </a:p>
        </p:txBody>
      </p:sp>
      <p:sp>
        <p:nvSpPr>
          <p:cNvPr id="3" name="Slide Number">
            <a:extLst>
              <a:ext uri="{FF2B5EF4-FFF2-40B4-BE49-F238E27FC236}">
                <a16:creationId xmlns:a16="http://schemas.microsoft.com/office/drawing/2014/main" id="{0C628C1A-F2DD-6011-5846-A9A3A6D3BD72}"/>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951370201"/>
      </p:ext>
    </p:extLst>
  </p:cSld>
  <p:clrMapOvr>
    <a:masterClrMapping/>
  </p:clrMapOvr>
  <p:transition spd="med"/>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3_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8000" y="192024"/>
            <a:ext cx="2477765" cy="1429544"/>
          </a:xfrm>
        </p:spPr>
        <p:txBody>
          <a:bodyPr/>
          <a:lstStyle>
            <a:lvl1pPr>
              <a:lnSpc>
                <a:spcPct val="90000"/>
              </a:lnSpc>
              <a:spcBef>
                <a:spcPts val="0"/>
              </a:spcBef>
              <a:defRPr sz="3198">
                <a:solidFill>
                  <a:schemeClr val="tx2"/>
                </a:solidFill>
              </a:defRPr>
            </a:lvl1pPr>
            <a:lvl2pPr>
              <a:lnSpc>
                <a:spcPct val="100000"/>
              </a:lnSpc>
              <a:spcBef>
                <a:spcPts val="0"/>
              </a:spcBef>
              <a:defRPr sz="3198">
                <a:solidFill>
                  <a:schemeClr val="tx1"/>
                </a:solidFill>
              </a:defRPr>
            </a:lvl2pPr>
            <a:lvl3pPr>
              <a:lnSpc>
                <a:spcPct val="100000"/>
              </a:lnSpc>
              <a:spcBef>
                <a:spcPts val="0"/>
              </a:spcBef>
              <a:defRPr sz="3198">
                <a:solidFill>
                  <a:schemeClr val="tx1"/>
                </a:solidFill>
              </a:defRPr>
            </a:lvl3pPr>
            <a:lvl4pPr>
              <a:lnSpc>
                <a:spcPct val="100000"/>
              </a:lnSpc>
              <a:spcBef>
                <a:spcPts val="0"/>
              </a:spcBef>
              <a:defRPr sz="3198">
                <a:solidFill>
                  <a:schemeClr val="tx1"/>
                </a:solidFill>
              </a:defRPr>
            </a:lvl4pPr>
            <a:lvl5pPr>
              <a:lnSpc>
                <a:spcPct val="100000"/>
              </a:lnSpc>
              <a:spcBef>
                <a:spcPts val="0"/>
              </a:spcBef>
              <a:defRPr sz="3198">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3" y="284958"/>
            <a:ext cx="2476179" cy="5715795"/>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26" indent="-73126">
              <a:lnSpc>
                <a:spcPct val="120000"/>
              </a:lnSpc>
              <a:spcBef>
                <a:spcPts val="0"/>
              </a:spcBef>
              <a:defRPr sz="800" b="0" i="0">
                <a:solidFill>
                  <a:schemeClr val="tx1"/>
                </a:solidFill>
                <a:latin typeface="IBM Plex Sans" panose="020B0503050203000203" pitchFamily="34" charset="0"/>
              </a:defRPr>
            </a:lvl2pPr>
            <a:lvl3pPr marL="146251" indent="-73126">
              <a:lnSpc>
                <a:spcPct val="120000"/>
              </a:lnSpc>
              <a:spcBef>
                <a:spcPts val="0"/>
              </a:spcBef>
              <a:defRPr sz="800" b="0" i="0">
                <a:solidFill>
                  <a:schemeClr val="tx1"/>
                </a:solidFill>
                <a:latin typeface="IBM Plex Sans" panose="020B0503050203000203" pitchFamily="34" charset="0"/>
              </a:defRPr>
            </a:lvl3pPr>
            <a:lvl4pPr marL="219376" indent="-73126">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90476" y="6402392"/>
            <a:ext cx="2477765" cy="190500"/>
          </a:xfrm>
        </p:spPr>
        <p:txBody>
          <a:bodyPr/>
          <a:lstStyle/>
          <a:p>
            <a:endParaRPr lang="en-US"/>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6380918" y="284958"/>
            <a:ext cx="2476179" cy="5715795"/>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26" indent="-73126">
              <a:lnSpc>
                <a:spcPct val="120000"/>
              </a:lnSpc>
              <a:spcBef>
                <a:spcPts val="0"/>
              </a:spcBef>
              <a:defRPr sz="800" b="0" i="0">
                <a:solidFill>
                  <a:schemeClr val="tx1"/>
                </a:solidFill>
                <a:latin typeface="IBM Plex Sans" panose="020B0503050203000203" pitchFamily="34" charset="0"/>
              </a:defRPr>
            </a:lvl2pPr>
            <a:lvl3pPr marL="146251" indent="-73126">
              <a:lnSpc>
                <a:spcPct val="120000"/>
              </a:lnSpc>
              <a:spcBef>
                <a:spcPts val="0"/>
              </a:spcBef>
              <a:defRPr sz="800" b="0" i="0">
                <a:solidFill>
                  <a:schemeClr val="tx1"/>
                </a:solidFill>
                <a:latin typeface="IBM Plex Sans" panose="020B0503050203000203" pitchFamily="34" charset="0"/>
              </a:defRPr>
            </a:lvl3pPr>
            <a:lvl4pPr marL="219376" indent="-73126">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11767913" y="6469424"/>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976609406"/>
      </p:ext>
    </p:extLst>
  </p:cSld>
  <p:clrMapOvr>
    <a:masterClrMapping/>
  </p:clrMapOvr>
  <p:transition spd="med"/>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2_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024"/>
            <a:ext cx="2477765" cy="1429544"/>
          </a:xfrm>
        </p:spPr>
        <p:txBody>
          <a:bodyPr/>
          <a:lstStyle>
            <a:lvl1pPr>
              <a:lnSpc>
                <a:spcPct val="90000"/>
              </a:lnSpc>
              <a:spcBef>
                <a:spcPts val="0"/>
              </a:spcBef>
              <a:defRPr sz="3199">
                <a:solidFill>
                  <a:schemeClr val="tx2"/>
                </a:solidFill>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4" y="284959"/>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9" indent="-73139">
              <a:lnSpc>
                <a:spcPct val="120000"/>
              </a:lnSpc>
              <a:spcBef>
                <a:spcPts val="0"/>
              </a:spcBef>
              <a:defRPr sz="800" b="0" i="0">
                <a:solidFill>
                  <a:schemeClr val="tx1"/>
                </a:solidFill>
                <a:latin typeface="IBM Plex Sans" panose="020B0503050203000203" pitchFamily="34" charset="0"/>
              </a:defRPr>
            </a:lvl2pPr>
            <a:lvl3pPr marL="146279" indent="-73139">
              <a:lnSpc>
                <a:spcPct val="120000"/>
              </a:lnSpc>
              <a:spcBef>
                <a:spcPts val="0"/>
              </a:spcBef>
              <a:defRPr sz="800" b="0" i="0">
                <a:solidFill>
                  <a:schemeClr val="tx1"/>
                </a:solidFill>
                <a:latin typeface="IBM Plex Sans" panose="020B0503050203000203" pitchFamily="34" charset="0"/>
              </a:defRPr>
            </a:lvl3pPr>
            <a:lvl4pPr marL="219418" indent="-73139">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90475" y="6402389"/>
            <a:ext cx="2477765" cy="190500"/>
          </a:xfrm>
        </p:spPr>
        <p:txBody>
          <a:bodyPr/>
          <a:lstStyle/>
          <a:p>
            <a:endParaRPr lang="en-US"/>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6380919" y="284959"/>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9" indent="-73139">
              <a:lnSpc>
                <a:spcPct val="120000"/>
              </a:lnSpc>
              <a:spcBef>
                <a:spcPts val="0"/>
              </a:spcBef>
              <a:defRPr sz="800" b="0" i="0">
                <a:solidFill>
                  <a:schemeClr val="tx1"/>
                </a:solidFill>
                <a:latin typeface="IBM Plex Sans" panose="020B0503050203000203" pitchFamily="34" charset="0"/>
              </a:defRPr>
            </a:lvl2pPr>
            <a:lvl3pPr marL="146279" indent="-73139">
              <a:lnSpc>
                <a:spcPct val="120000"/>
              </a:lnSpc>
              <a:spcBef>
                <a:spcPts val="0"/>
              </a:spcBef>
              <a:defRPr sz="800" b="0" i="0">
                <a:solidFill>
                  <a:schemeClr val="tx1"/>
                </a:solidFill>
                <a:latin typeface="IBM Plex Sans" panose="020B0503050203000203" pitchFamily="34" charset="0"/>
              </a:defRPr>
            </a:lvl3pPr>
            <a:lvl4pPr marL="219418" indent="-73139">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11767911" y="6469421"/>
            <a:ext cx="136791"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109581357"/>
      </p:ext>
    </p:extLst>
  </p:cSld>
  <p:clrMapOvr>
    <a:masterClrMapping/>
  </p:clrMapOvr>
  <p:transition spd="med"/>
</p:sldLayout>
</file>

<file path=ppt/slideLayouts/slideLayout632.xml><?xml version="1.0" encoding="utf-8"?>
<p:sldLayout xmlns:a="http://schemas.openxmlformats.org/drawingml/2006/main" xmlns:r="http://schemas.openxmlformats.org/officeDocument/2006/relationships" xmlns:p="http://schemas.openxmlformats.org/presentationml/2006/main" userDrawn="1">
  <p:cSld name="5_Boxes, 4 stacked,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763528"/>
            <a:ext cx="5521400" cy="1138428"/>
          </a:xfrm>
        </p:spPr>
        <p:txBody>
          <a:bodyPr rIns="457200"/>
          <a:lstStyle>
            <a:lvl1pPr>
              <a:lnSpc>
                <a:spcPct val="100000"/>
              </a:lnSpc>
              <a:defRPr sz="3198"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8000" y="192604"/>
            <a:ext cx="2477765" cy="224028"/>
          </a:xfrm>
          <a:prstGeom prst="rect">
            <a:avLst/>
          </a:prstGeom>
        </p:spPr>
        <p:txBody>
          <a:bodyPr/>
          <a:lstStyle>
            <a:lvl1pPr>
              <a:lnSpc>
                <a:spcPct val="100000"/>
              </a:lnSpc>
              <a:defRPr sz="1400" b="0" i="0">
                <a:solidFill>
                  <a:schemeClr val="tx2"/>
                </a:solidFill>
                <a:latin typeface="IBM Plex Sans Light" panose="020B0403050203000203" pitchFamily="34" charset="0"/>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11769268" y="6469424"/>
            <a:ext cx="135436"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6363188" y="288041"/>
            <a:ext cx="2481639" cy="2572543"/>
          </a:xfrm>
          <a:prstGeom prst="rect">
            <a:avLst/>
          </a:prstGeom>
        </p:spPr>
        <p:txBody>
          <a:bodyPr/>
          <a:lstStyle>
            <a:lvl1pPr defTabSz="580434">
              <a:lnSpc>
                <a:spcPct val="100000"/>
              </a:lnSpc>
              <a:spcBef>
                <a:spcPts val="0"/>
              </a:spcBef>
              <a:defRPr sz="1800" b="0" i="0">
                <a:solidFill>
                  <a:schemeClr val="tx1"/>
                </a:solidFill>
                <a:latin typeface="IBM Plex Sans Light" panose="020B0403050203000203" pitchFamily="34" charset="0"/>
              </a:defRPr>
            </a:lvl1pPr>
            <a:lvl2pPr defTabSz="580434">
              <a:lnSpc>
                <a:spcPct val="100000"/>
              </a:lnSpc>
              <a:spcBef>
                <a:spcPts val="0"/>
              </a:spcBef>
              <a:defRPr sz="1800" b="0" i="0">
                <a:solidFill>
                  <a:schemeClr val="tx1"/>
                </a:solidFill>
                <a:latin typeface="IBM Plex Sans Light" panose="020B0403050203000203" pitchFamily="34" charset="0"/>
              </a:defRPr>
            </a:lvl2pPr>
            <a:lvl3pPr defTabSz="580434">
              <a:lnSpc>
                <a:spcPct val="100000"/>
              </a:lnSpc>
              <a:spcBef>
                <a:spcPts val="0"/>
              </a:spcBef>
              <a:defRPr sz="1800" b="0" i="0">
                <a:solidFill>
                  <a:schemeClr val="tx1"/>
                </a:solidFill>
                <a:latin typeface="IBM Plex Sans Light" panose="020B0403050203000203" pitchFamily="34" charset="0"/>
              </a:defRPr>
            </a:lvl3pPr>
            <a:lvl4pPr defTabSz="580434">
              <a:lnSpc>
                <a:spcPct val="100000"/>
              </a:lnSpc>
              <a:spcBef>
                <a:spcPts val="0"/>
              </a:spcBef>
              <a:defRPr sz="1800" b="0" i="0">
                <a:solidFill>
                  <a:schemeClr val="tx1"/>
                </a:solidFill>
                <a:latin typeface="IBM Plex Sans Light" panose="020B0403050203000203" pitchFamily="34" charset="0"/>
              </a:defRPr>
            </a:lvl4pPr>
            <a:lvl5pPr defTabSz="580434">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9398654" y="288041"/>
            <a:ext cx="2481639" cy="2572543"/>
          </a:xfrm>
          <a:prstGeom prst="rect">
            <a:avLst/>
          </a:prstGeom>
        </p:spPr>
        <p:txBody>
          <a:bodyPr/>
          <a:lstStyle>
            <a:lvl1pPr defTabSz="580434">
              <a:lnSpc>
                <a:spcPct val="100000"/>
              </a:lnSpc>
              <a:spcBef>
                <a:spcPts val="0"/>
              </a:spcBef>
              <a:defRPr sz="1800" b="0" i="0">
                <a:solidFill>
                  <a:schemeClr val="tx1"/>
                </a:solidFill>
                <a:latin typeface="IBM Plex Sans Light" panose="020B0403050203000203" pitchFamily="34" charset="0"/>
              </a:defRPr>
            </a:lvl1pPr>
            <a:lvl2pPr defTabSz="580434">
              <a:lnSpc>
                <a:spcPct val="100000"/>
              </a:lnSpc>
              <a:spcBef>
                <a:spcPts val="0"/>
              </a:spcBef>
              <a:defRPr sz="1800" b="0" i="0">
                <a:solidFill>
                  <a:schemeClr val="tx1"/>
                </a:solidFill>
                <a:latin typeface="IBM Plex Sans Light" panose="020B0403050203000203" pitchFamily="34" charset="0"/>
              </a:defRPr>
            </a:lvl2pPr>
            <a:lvl3pPr defTabSz="580434">
              <a:lnSpc>
                <a:spcPct val="100000"/>
              </a:lnSpc>
              <a:spcBef>
                <a:spcPts val="0"/>
              </a:spcBef>
              <a:defRPr sz="1800" b="0" i="0">
                <a:solidFill>
                  <a:schemeClr val="tx1"/>
                </a:solidFill>
                <a:latin typeface="IBM Plex Sans Light" panose="020B0403050203000203" pitchFamily="34" charset="0"/>
              </a:defRPr>
            </a:lvl3pPr>
            <a:lvl4pPr defTabSz="580434">
              <a:lnSpc>
                <a:spcPct val="100000"/>
              </a:lnSpc>
              <a:spcBef>
                <a:spcPts val="0"/>
              </a:spcBef>
              <a:defRPr sz="1800" b="0" i="0">
                <a:solidFill>
                  <a:schemeClr val="tx1"/>
                </a:solidFill>
                <a:latin typeface="IBM Plex Sans Light" panose="020B0403050203000203" pitchFamily="34" charset="0"/>
              </a:defRPr>
            </a:lvl4pPr>
            <a:lvl5pPr defTabSz="580434">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6363188" y="3333753"/>
            <a:ext cx="2481639" cy="2476500"/>
          </a:xfrm>
          <a:prstGeom prst="rect">
            <a:avLst/>
          </a:prstGeom>
        </p:spPr>
        <p:txBody>
          <a:bodyPr/>
          <a:lstStyle>
            <a:lvl1pPr defTabSz="580434">
              <a:lnSpc>
                <a:spcPct val="100000"/>
              </a:lnSpc>
              <a:spcBef>
                <a:spcPts val="0"/>
              </a:spcBef>
              <a:defRPr sz="1800" b="0" i="0">
                <a:solidFill>
                  <a:schemeClr val="tx1"/>
                </a:solidFill>
                <a:latin typeface="IBM Plex Sans Light" panose="020B0403050203000203" pitchFamily="34" charset="0"/>
              </a:defRPr>
            </a:lvl1pPr>
            <a:lvl2pPr defTabSz="580434">
              <a:lnSpc>
                <a:spcPct val="100000"/>
              </a:lnSpc>
              <a:spcBef>
                <a:spcPts val="0"/>
              </a:spcBef>
              <a:defRPr sz="1800" b="0" i="0">
                <a:solidFill>
                  <a:schemeClr val="tx1"/>
                </a:solidFill>
                <a:latin typeface="IBM Plex Sans Light" panose="020B0403050203000203" pitchFamily="34" charset="0"/>
              </a:defRPr>
            </a:lvl2pPr>
            <a:lvl3pPr defTabSz="580434">
              <a:lnSpc>
                <a:spcPct val="100000"/>
              </a:lnSpc>
              <a:spcBef>
                <a:spcPts val="0"/>
              </a:spcBef>
              <a:defRPr sz="1800" b="0" i="0">
                <a:solidFill>
                  <a:schemeClr val="tx1"/>
                </a:solidFill>
                <a:latin typeface="IBM Plex Sans Light" panose="020B0403050203000203" pitchFamily="34" charset="0"/>
              </a:defRPr>
            </a:lvl3pPr>
            <a:lvl4pPr defTabSz="580434">
              <a:lnSpc>
                <a:spcPct val="100000"/>
              </a:lnSpc>
              <a:spcBef>
                <a:spcPts val="0"/>
              </a:spcBef>
              <a:defRPr sz="1800" b="0" i="0">
                <a:solidFill>
                  <a:schemeClr val="tx1"/>
                </a:solidFill>
                <a:latin typeface="IBM Plex Sans Light" panose="020B0403050203000203" pitchFamily="34" charset="0"/>
              </a:defRPr>
            </a:lvl4pPr>
            <a:lvl5pPr defTabSz="580434">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9398654" y="3333753"/>
            <a:ext cx="2481639" cy="2476500"/>
          </a:xfrm>
          <a:prstGeom prst="rect">
            <a:avLst/>
          </a:prstGeom>
        </p:spPr>
        <p:txBody>
          <a:bodyPr/>
          <a:lstStyle>
            <a:lvl1pPr defTabSz="580434">
              <a:lnSpc>
                <a:spcPct val="100000"/>
              </a:lnSpc>
              <a:spcBef>
                <a:spcPts val="0"/>
              </a:spcBef>
              <a:defRPr sz="1800" b="0" i="0">
                <a:solidFill>
                  <a:schemeClr val="tx1"/>
                </a:solidFill>
                <a:latin typeface="IBM Plex Sans Light" panose="020B0403050203000203" pitchFamily="34" charset="0"/>
              </a:defRPr>
            </a:lvl1pPr>
            <a:lvl2pPr defTabSz="580434">
              <a:lnSpc>
                <a:spcPct val="100000"/>
              </a:lnSpc>
              <a:spcBef>
                <a:spcPts val="0"/>
              </a:spcBef>
              <a:defRPr sz="1800" b="0" i="0">
                <a:solidFill>
                  <a:schemeClr val="tx1"/>
                </a:solidFill>
                <a:latin typeface="IBM Plex Sans Light" panose="020B0403050203000203" pitchFamily="34" charset="0"/>
              </a:defRPr>
            </a:lvl2pPr>
            <a:lvl3pPr defTabSz="580434">
              <a:lnSpc>
                <a:spcPct val="100000"/>
              </a:lnSpc>
              <a:spcBef>
                <a:spcPts val="0"/>
              </a:spcBef>
              <a:defRPr sz="1800" b="0" i="0">
                <a:solidFill>
                  <a:schemeClr val="tx1"/>
                </a:solidFill>
                <a:latin typeface="IBM Plex Sans Light" panose="020B0403050203000203" pitchFamily="34" charset="0"/>
              </a:defRPr>
            </a:lvl3pPr>
            <a:lvl4pPr defTabSz="580434">
              <a:lnSpc>
                <a:spcPct val="100000"/>
              </a:lnSpc>
              <a:spcBef>
                <a:spcPts val="0"/>
              </a:spcBef>
              <a:defRPr sz="1800" b="0" i="0">
                <a:solidFill>
                  <a:schemeClr val="tx1"/>
                </a:solidFill>
                <a:latin typeface="IBM Plex Sans Light" panose="020B0403050203000203" pitchFamily="34" charset="0"/>
              </a:defRPr>
            </a:lvl4pPr>
            <a:lvl5pPr defTabSz="580434">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702087798"/>
      </p:ext>
    </p:extLst>
  </p:cSld>
  <p:clrMapOvr>
    <a:masterClrMapping/>
  </p:clrMapOvr>
  <p:transition spd="med"/>
</p:sldLayout>
</file>

<file path=ppt/slideLayouts/slideLayout633.xml><?xml version="1.0" encoding="utf-8"?>
<p:sldLayout xmlns:a="http://schemas.openxmlformats.org/drawingml/2006/main" xmlns:r="http://schemas.openxmlformats.org/officeDocument/2006/relationships" xmlns:p="http://schemas.openxmlformats.org/presentationml/2006/main" userDrawn="1">
  <p:cSld name="5_Video or imagery, half,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8000" y="192602"/>
            <a:ext cx="2474591" cy="762795"/>
          </a:xfrm>
        </p:spPr>
        <p:txBody>
          <a:bodyPr/>
          <a:lstStyle>
            <a:lvl1pPr>
              <a:lnSpc>
                <a:spcPct val="100000"/>
              </a:lnSpc>
              <a:defRPr sz="3198"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endParaRPr lang="en-US"/>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6380921" y="284960"/>
            <a:ext cx="5523781" cy="6287295"/>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275973" y="1714502"/>
            <a:ext cx="2485921" cy="4286251"/>
          </a:xfrm>
          <a:prstGeom prst="rect">
            <a:avLst/>
          </a:prstGeom>
        </p:spPr>
        <p:txBody>
          <a:bodyPr/>
          <a:lstStyle>
            <a:lvl1pPr defTabSz="580434">
              <a:lnSpc>
                <a:spcPct val="100000"/>
              </a:lnSpc>
              <a:spcBef>
                <a:spcPts val="0"/>
              </a:spcBef>
              <a:defRPr sz="1800" b="0" i="0">
                <a:solidFill>
                  <a:schemeClr val="tx1"/>
                </a:solidFill>
                <a:latin typeface="IBM Plex Sans Light" panose="020B0403050203000203" pitchFamily="34" charset="0"/>
              </a:defRPr>
            </a:lvl1pPr>
            <a:lvl2pPr marL="163741" indent="-163741" defTabSz="580434">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281" indent="-163741" defTabSz="580434">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021" indent="-163741" defTabSz="580434">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434">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3334113" y="1714502"/>
            <a:ext cx="2485921" cy="4286251"/>
          </a:xfrm>
          <a:prstGeom prst="rect">
            <a:avLst/>
          </a:prstGeom>
        </p:spPr>
        <p:txBody>
          <a:bodyPr/>
          <a:lstStyle>
            <a:lvl1pPr defTabSz="580434">
              <a:lnSpc>
                <a:spcPct val="100000"/>
              </a:lnSpc>
              <a:spcBef>
                <a:spcPts val="0"/>
              </a:spcBef>
              <a:defRPr sz="1800" b="0" i="0">
                <a:solidFill>
                  <a:schemeClr val="tx1"/>
                </a:solidFill>
                <a:latin typeface="IBM Plex Sans Light" panose="020B0403050203000203" pitchFamily="34" charset="0"/>
              </a:defRPr>
            </a:lvl1pPr>
            <a:lvl2pPr marL="163741" indent="-163741" defTabSz="580434">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281" indent="-163741" defTabSz="580434">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021" indent="-163741" defTabSz="580434">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434">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914619327"/>
      </p:ext>
    </p:extLst>
  </p:cSld>
  <p:clrMapOvr>
    <a:masterClrMapping/>
  </p:clrMapOvr>
  <p:transition spd="med"/>
</p:sldLayout>
</file>

<file path=ppt/slideLayouts/slideLayout63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BA0899-AA88-E800-BB9C-DD5B82A00789}"/>
              </a:ext>
            </a:extLst>
          </p:cNvPr>
          <p:cNvSpPr>
            <a:spLocks noGrp="1"/>
          </p:cNvSpPr>
          <p:nvPr>
            <p:ph type="ctrTitle"/>
          </p:nvPr>
        </p:nvSpPr>
        <p:spPr>
          <a:xfrm>
            <a:off x="1524000" y="1122363"/>
            <a:ext cx="9144000" cy="2387600"/>
          </a:xfrm>
        </p:spPr>
        <p:txBody>
          <a:bodyPr anchor="b"/>
          <a:lstStyle>
            <a:lvl1pPr algn="ctr">
              <a:defRPr sz="5999"/>
            </a:lvl1pPr>
          </a:lstStyle>
          <a:p>
            <a:r>
              <a:rPr lang="en-US"/>
              <a:t>Click to edit Master title style</a:t>
            </a:r>
          </a:p>
        </p:txBody>
      </p:sp>
      <p:sp>
        <p:nvSpPr>
          <p:cNvPr id="3" name="Subtitle 2">
            <a:extLst>
              <a:ext uri="{FF2B5EF4-FFF2-40B4-BE49-F238E27FC236}">
                <a16:creationId xmlns:a16="http://schemas.microsoft.com/office/drawing/2014/main" id="{B75F31E8-36CA-EB17-F577-31F3FF610CA5}"/>
              </a:ext>
            </a:extLst>
          </p:cNvPr>
          <p:cNvSpPr>
            <a:spLocks noGrp="1"/>
          </p:cNvSpPr>
          <p:nvPr>
            <p:ph type="subTitle" idx="1"/>
          </p:nvPr>
        </p:nvSpPr>
        <p:spPr>
          <a:xfrm>
            <a:off x="1524000" y="3602038"/>
            <a:ext cx="9144000" cy="1655763"/>
          </a:xfrm>
        </p:spPr>
        <p:txBody>
          <a:bodyPr/>
          <a:lstStyle>
            <a:lvl1pPr marL="0" indent="0" algn="ctr">
              <a:buNone/>
              <a:defRPr sz="2400"/>
            </a:lvl1pPr>
            <a:lvl2pPr marL="457120" indent="0" algn="ctr">
              <a:buNone/>
              <a:defRPr sz="2000"/>
            </a:lvl2pPr>
            <a:lvl3pPr marL="914241" indent="0" algn="ctr">
              <a:buNone/>
              <a:defRPr sz="1800"/>
            </a:lvl3pPr>
            <a:lvl4pPr marL="1371360" indent="0" algn="ctr">
              <a:buNone/>
              <a:defRPr sz="1600"/>
            </a:lvl4pPr>
            <a:lvl5pPr marL="1828480" indent="0" algn="ctr">
              <a:buNone/>
              <a:defRPr sz="1600"/>
            </a:lvl5pPr>
            <a:lvl6pPr marL="2285599" indent="0" algn="ctr">
              <a:buNone/>
              <a:defRPr sz="1600"/>
            </a:lvl6pPr>
            <a:lvl7pPr marL="2742720" indent="0" algn="ctr">
              <a:buNone/>
              <a:defRPr sz="1600"/>
            </a:lvl7pPr>
            <a:lvl8pPr marL="3199840" indent="0" algn="ctr">
              <a:buNone/>
              <a:defRPr sz="1600"/>
            </a:lvl8pPr>
            <a:lvl9pPr marL="3656959"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69E5C44-879C-7EB6-28BA-C47E21A9B5F9}"/>
              </a:ext>
            </a:extLst>
          </p:cNvPr>
          <p:cNvSpPr>
            <a:spLocks noGrp="1"/>
          </p:cNvSpPr>
          <p:nvPr>
            <p:ph type="dt" sz="half" idx="10"/>
          </p:nvPr>
        </p:nvSpPr>
        <p:spPr/>
        <p:txBody>
          <a:bodyPr/>
          <a:lstStyle/>
          <a:p>
            <a:fld id="{DBC32AA6-0895-414B-B462-08D30670E10D}" type="datetimeFigureOut">
              <a:rPr lang="en-US" smtClean="0"/>
              <a:t>3/24/2025</a:t>
            </a:fld>
            <a:endParaRPr lang="en-US"/>
          </a:p>
        </p:txBody>
      </p:sp>
      <p:sp>
        <p:nvSpPr>
          <p:cNvPr id="5" name="Footer Placeholder 4">
            <a:extLst>
              <a:ext uri="{FF2B5EF4-FFF2-40B4-BE49-F238E27FC236}">
                <a16:creationId xmlns:a16="http://schemas.microsoft.com/office/drawing/2014/main" id="{F8761073-616D-EA5B-7F7E-2B18D5F86FF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7C2E0B7-1E1E-9B5D-9123-07CD18681B80}"/>
              </a:ext>
            </a:extLst>
          </p:cNvPr>
          <p:cNvSpPr>
            <a:spLocks noGrp="1"/>
          </p:cNvSpPr>
          <p:nvPr>
            <p:ph type="sldNum" sz="quarter" idx="12"/>
          </p:nvPr>
        </p:nvSpPr>
        <p:spPr/>
        <p:txBody>
          <a:bodyPr/>
          <a:lstStyle/>
          <a:p>
            <a:fld id="{F9B62E93-F610-E741-81D1-EB74B803E79D}" type="slidenum">
              <a:rPr lang="en-US" smtClean="0"/>
              <a:t>‹#›</a:t>
            </a:fld>
            <a:endParaRPr lang="en-US"/>
          </a:p>
        </p:txBody>
      </p:sp>
    </p:spTree>
    <p:extLst>
      <p:ext uri="{BB962C8B-B14F-4D97-AF65-F5344CB8AC3E}">
        <p14:creationId xmlns:p14="http://schemas.microsoft.com/office/powerpoint/2010/main" val="1193792107"/>
      </p:ext>
    </p:extLst>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userDrawn="1">
  <p:cSld name="4_Boxes, 4 stacked, larg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763525"/>
            <a:ext cx="5521400" cy="1138428"/>
          </a:xfrm>
        </p:spPr>
        <p:txBody>
          <a:bodyPr rIns="457200"/>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lvl1pPr>
              <a:defRPr b="0" i="0">
                <a:latin typeface="IBM Plex Sans Light" panose="020B0403050203000203" pitchFamily="34" charset="0"/>
              </a:defRPr>
            </a:lvl1pPr>
          </a:lstStyle>
          <a:p>
            <a:endParaRPr lang="en-US"/>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192601"/>
            <a:ext cx="2477765" cy="224028"/>
          </a:xfrm>
          <a:prstGeom prst="rect">
            <a:avLst/>
          </a:prstGeom>
        </p:spPr>
        <p:txBody>
          <a:bodyPr/>
          <a:lstStyle>
            <a:lvl1pPr>
              <a:lnSpc>
                <a:spcPct val="100000"/>
              </a:lnSpc>
              <a:defRPr sz="1400" b="0" i="0">
                <a:solidFill>
                  <a:schemeClr val="tx2"/>
                </a:solidFill>
                <a:latin typeface="IBM Plex Sans Light" panose="020B0403050203000203" pitchFamily="34" charset="0"/>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11769266" y="6469421"/>
            <a:ext cx="135436"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4" name="Text Placeholder 6">
            <a:extLst>
              <a:ext uri="{FF2B5EF4-FFF2-40B4-BE49-F238E27FC236}">
                <a16:creationId xmlns:a16="http://schemas.microsoft.com/office/drawing/2014/main" id="{BEE7923F-2C08-E17F-72B0-F41C361C5372}"/>
              </a:ext>
            </a:extLst>
          </p:cNvPr>
          <p:cNvSpPr>
            <a:spLocks noGrp="1"/>
          </p:cNvSpPr>
          <p:nvPr>
            <p:ph type="body" sz="quarter" idx="10"/>
          </p:nvPr>
        </p:nvSpPr>
        <p:spPr>
          <a:xfrm>
            <a:off x="6363187" y="288040"/>
            <a:ext cx="2481639" cy="2572543"/>
          </a:xfrm>
          <a:prstGeom prst="rect">
            <a:avLst/>
          </a:prstGeom>
        </p:spPr>
        <p:txBody>
          <a:bodyPr/>
          <a:lstStyle>
            <a:lvl1pPr defTabSz="580543">
              <a:lnSpc>
                <a:spcPct val="100000"/>
              </a:lnSpc>
              <a:spcBef>
                <a:spcPts val="0"/>
              </a:spcBef>
              <a:defRPr sz="1800" b="0" i="0">
                <a:solidFill>
                  <a:schemeClr val="tx1"/>
                </a:solidFill>
                <a:latin typeface="IBM Plex Sans Light" panose="020B0403050203000203" pitchFamily="34" charset="0"/>
              </a:defRPr>
            </a:lvl1pPr>
            <a:lvl2pPr defTabSz="580543">
              <a:lnSpc>
                <a:spcPct val="100000"/>
              </a:lnSpc>
              <a:spcBef>
                <a:spcPts val="0"/>
              </a:spcBef>
              <a:defRPr sz="1800" b="0" i="0">
                <a:solidFill>
                  <a:schemeClr val="tx1"/>
                </a:solidFill>
                <a:latin typeface="IBM Plex Sans Light" panose="020B0403050203000203" pitchFamily="34" charset="0"/>
              </a:defRPr>
            </a:lvl2pPr>
            <a:lvl3pPr defTabSz="580543">
              <a:lnSpc>
                <a:spcPct val="100000"/>
              </a:lnSpc>
              <a:spcBef>
                <a:spcPts val="0"/>
              </a:spcBef>
              <a:defRPr sz="1800" b="0" i="0">
                <a:solidFill>
                  <a:schemeClr val="tx1"/>
                </a:solidFill>
                <a:latin typeface="IBM Plex Sans Light" panose="020B0403050203000203" pitchFamily="34" charset="0"/>
              </a:defRPr>
            </a:lvl3pPr>
            <a:lvl4pPr defTabSz="580543">
              <a:lnSpc>
                <a:spcPct val="100000"/>
              </a:lnSpc>
              <a:spcBef>
                <a:spcPts val="0"/>
              </a:spcBef>
              <a:defRPr sz="1800" b="0" i="0">
                <a:solidFill>
                  <a:schemeClr val="tx1"/>
                </a:solidFill>
                <a:latin typeface="IBM Plex Sans Light" panose="020B0403050203000203" pitchFamily="34" charset="0"/>
              </a:defRPr>
            </a:lvl4pPr>
            <a:lvl5pPr defTabSz="58054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6">
            <a:extLst>
              <a:ext uri="{FF2B5EF4-FFF2-40B4-BE49-F238E27FC236}">
                <a16:creationId xmlns:a16="http://schemas.microsoft.com/office/drawing/2014/main" id="{4F52302E-5C35-DCB5-2D11-CC0BE75371AE}"/>
              </a:ext>
            </a:extLst>
          </p:cNvPr>
          <p:cNvSpPr>
            <a:spLocks noGrp="1"/>
          </p:cNvSpPr>
          <p:nvPr>
            <p:ph type="body" sz="quarter" idx="22"/>
          </p:nvPr>
        </p:nvSpPr>
        <p:spPr>
          <a:xfrm>
            <a:off x="9398651" y="288040"/>
            <a:ext cx="2481639" cy="2572543"/>
          </a:xfrm>
          <a:prstGeom prst="rect">
            <a:avLst/>
          </a:prstGeom>
        </p:spPr>
        <p:txBody>
          <a:bodyPr/>
          <a:lstStyle>
            <a:lvl1pPr defTabSz="580543">
              <a:lnSpc>
                <a:spcPct val="100000"/>
              </a:lnSpc>
              <a:spcBef>
                <a:spcPts val="0"/>
              </a:spcBef>
              <a:defRPr sz="1800" b="0" i="0">
                <a:solidFill>
                  <a:schemeClr val="tx1"/>
                </a:solidFill>
                <a:latin typeface="IBM Plex Sans Light" panose="020B0403050203000203" pitchFamily="34" charset="0"/>
              </a:defRPr>
            </a:lvl1pPr>
            <a:lvl2pPr defTabSz="580543">
              <a:lnSpc>
                <a:spcPct val="100000"/>
              </a:lnSpc>
              <a:spcBef>
                <a:spcPts val="0"/>
              </a:spcBef>
              <a:defRPr sz="1800" b="0" i="0">
                <a:solidFill>
                  <a:schemeClr val="tx1"/>
                </a:solidFill>
                <a:latin typeface="IBM Plex Sans Light" panose="020B0403050203000203" pitchFamily="34" charset="0"/>
              </a:defRPr>
            </a:lvl2pPr>
            <a:lvl3pPr defTabSz="580543">
              <a:lnSpc>
                <a:spcPct val="100000"/>
              </a:lnSpc>
              <a:spcBef>
                <a:spcPts val="0"/>
              </a:spcBef>
              <a:defRPr sz="1800" b="0" i="0">
                <a:solidFill>
                  <a:schemeClr val="tx1"/>
                </a:solidFill>
                <a:latin typeface="IBM Plex Sans Light" panose="020B0403050203000203" pitchFamily="34" charset="0"/>
              </a:defRPr>
            </a:lvl3pPr>
            <a:lvl4pPr defTabSz="580543">
              <a:lnSpc>
                <a:spcPct val="100000"/>
              </a:lnSpc>
              <a:spcBef>
                <a:spcPts val="0"/>
              </a:spcBef>
              <a:defRPr sz="1800" b="0" i="0">
                <a:solidFill>
                  <a:schemeClr val="tx1"/>
                </a:solidFill>
                <a:latin typeface="IBM Plex Sans Light" panose="020B0403050203000203" pitchFamily="34" charset="0"/>
              </a:defRPr>
            </a:lvl4pPr>
            <a:lvl5pPr defTabSz="58054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Text Placeholder 6">
            <a:extLst>
              <a:ext uri="{FF2B5EF4-FFF2-40B4-BE49-F238E27FC236}">
                <a16:creationId xmlns:a16="http://schemas.microsoft.com/office/drawing/2014/main" id="{644BCD2A-7E42-10EE-E251-907F955BFCEB}"/>
              </a:ext>
            </a:extLst>
          </p:cNvPr>
          <p:cNvSpPr>
            <a:spLocks noGrp="1"/>
          </p:cNvSpPr>
          <p:nvPr>
            <p:ph type="body" sz="quarter" idx="23"/>
          </p:nvPr>
        </p:nvSpPr>
        <p:spPr>
          <a:xfrm>
            <a:off x="6363187" y="3333752"/>
            <a:ext cx="2481639" cy="2476500"/>
          </a:xfrm>
          <a:prstGeom prst="rect">
            <a:avLst/>
          </a:prstGeom>
        </p:spPr>
        <p:txBody>
          <a:bodyPr/>
          <a:lstStyle>
            <a:lvl1pPr defTabSz="580543">
              <a:lnSpc>
                <a:spcPct val="100000"/>
              </a:lnSpc>
              <a:spcBef>
                <a:spcPts val="0"/>
              </a:spcBef>
              <a:defRPr sz="1800" b="0" i="0">
                <a:solidFill>
                  <a:schemeClr val="tx1"/>
                </a:solidFill>
                <a:latin typeface="IBM Plex Sans Light" panose="020B0403050203000203" pitchFamily="34" charset="0"/>
              </a:defRPr>
            </a:lvl1pPr>
            <a:lvl2pPr defTabSz="580543">
              <a:lnSpc>
                <a:spcPct val="100000"/>
              </a:lnSpc>
              <a:spcBef>
                <a:spcPts val="0"/>
              </a:spcBef>
              <a:defRPr sz="1800" b="0" i="0">
                <a:solidFill>
                  <a:schemeClr val="tx1"/>
                </a:solidFill>
                <a:latin typeface="IBM Plex Sans Light" panose="020B0403050203000203" pitchFamily="34" charset="0"/>
              </a:defRPr>
            </a:lvl2pPr>
            <a:lvl3pPr defTabSz="580543">
              <a:lnSpc>
                <a:spcPct val="100000"/>
              </a:lnSpc>
              <a:spcBef>
                <a:spcPts val="0"/>
              </a:spcBef>
              <a:defRPr sz="1800" b="0" i="0">
                <a:solidFill>
                  <a:schemeClr val="tx1"/>
                </a:solidFill>
                <a:latin typeface="IBM Plex Sans Light" panose="020B0403050203000203" pitchFamily="34" charset="0"/>
              </a:defRPr>
            </a:lvl3pPr>
            <a:lvl4pPr defTabSz="580543">
              <a:lnSpc>
                <a:spcPct val="100000"/>
              </a:lnSpc>
              <a:spcBef>
                <a:spcPts val="0"/>
              </a:spcBef>
              <a:defRPr sz="1800" b="0" i="0">
                <a:solidFill>
                  <a:schemeClr val="tx1"/>
                </a:solidFill>
                <a:latin typeface="IBM Plex Sans Light" panose="020B0403050203000203" pitchFamily="34" charset="0"/>
              </a:defRPr>
            </a:lvl4pPr>
            <a:lvl5pPr defTabSz="58054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6">
            <a:extLst>
              <a:ext uri="{FF2B5EF4-FFF2-40B4-BE49-F238E27FC236}">
                <a16:creationId xmlns:a16="http://schemas.microsoft.com/office/drawing/2014/main" id="{FEF5B836-0687-FE12-9EE1-7B2CB1124537}"/>
              </a:ext>
            </a:extLst>
          </p:cNvPr>
          <p:cNvSpPr>
            <a:spLocks noGrp="1"/>
          </p:cNvSpPr>
          <p:nvPr>
            <p:ph type="body" sz="quarter" idx="24"/>
          </p:nvPr>
        </p:nvSpPr>
        <p:spPr>
          <a:xfrm>
            <a:off x="9398651" y="3333752"/>
            <a:ext cx="2481639" cy="2476500"/>
          </a:xfrm>
          <a:prstGeom prst="rect">
            <a:avLst/>
          </a:prstGeom>
        </p:spPr>
        <p:txBody>
          <a:bodyPr/>
          <a:lstStyle>
            <a:lvl1pPr defTabSz="580543">
              <a:lnSpc>
                <a:spcPct val="100000"/>
              </a:lnSpc>
              <a:spcBef>
                <a:spcPts val="0"/>
              </a:spcBef>
              <a:defRPr sz="1800" b="0" i="0">
                <a:solidFill>
                  <a:schemeClr val="tx1"/>
                </a:solidFill>
                <a:latin typeface="IBM Plex Sans Light" panose="020B0403050203000203" pitchFamily="34" charset="0"/>
              </a:defRPr>
            </a:lvl1pPr>
            <a:lvl2pPr defTabSz="580543">
              <a:lnSpc>
                <a:spcPct val="100000"/>
              </a:lnSpc>
              <a:spcBef>
                <a:spcPts val="0"/>
              </a:spcBef>
              <a:defRPr sz="1800" b="0" i="0">
                <a:solidFill>
                  <a:schemeClr val="tx1"/>
                </a:solidFill>
                <a:latin typeface="IBM Plex Sans Light" panose="020B0403050203000203" pitchFamily="34" charset="0"/>
              </a:defRPr>
            </a:lvl2pPr>
            <a:lvl3pPr defTabSz="580543">
              <a:lnSpc>
                <a:spcPct val="100000"/>
              </a:lnSpc>
              <a:spcBef>
                <a:spcPts val="0"/>
              </a:spcBef>
              <a:defRPr sz="1800" b="0" i="0">
                <a:solidFill>
                  <a:schemeClr val="tx1"/>
                </a:solidFill>
                <a:latin typeface="IBM Plex Sans Light" panose="020B0403050203000203" pitchFamily="34" charset="0"/>
              </a:defRPr>
            </a:lvl3pPr>
            <a:lvl4pPr defTabSz="580543">
              <a:lnSpc>
                <a:spcPct val="100000"/>
              </a:lnSpc>
              <a:spcBef>
                <a:spcPts val="0"/>
              </a:spcBef>
              <a:defRPr sz="1800" b="0" i="0">
                <a:solidFill>
                  <a:schemeClr val="tx1"/>
                </a:solidFill>
                <a:latin typeface="IBM Plex Sans Light" panose="020B0403050203000203" pitchFamily="34" charset="0"/>
              </a:defRPr>
            </a:lvl4pPr>
            <a:lvl5pPr defTabSz="58054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685478485"/>
      </p:ext>
    </p:extLst>
  </p:cSld>
  <p:clrMapOvr>
    <a:masterClrMapping/>
  </p:clrMapOvr>
  <p:transition spd="med"/>
</p:sldLayout>
</file>

<file path=ppt/slideLayouts/slideLayout636.xml><?xml version="1.0" encoding="utf-8"?>
<p:sldLayout xmlns:a="http://schemas.openxmlformats.org/drawingml/2006/main" xmlns:r="http://schemas.openxmlformats.org/officeDocument/2006/relationships" xmlns:p="http://schemas.openxmlformats.org/presentationml/2006/main" userDrawn="1">
  <p:cSld name="3_Text, 4 columns, dividers, head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8000" y="192600"/>
            <a:ext cx="2474591" cy="762795"/>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8"/>
            <a:ext cx="2477765" cy="762794"/>
          </a:xfrm>
          <a:prstGeom prst="rect">
            <a:avLst/>
          </a:prstGeom>
        </p:spPr>
        <p:txBody>
          <a:bodyPr/>
          <a:lstStyle>
            <a:lvl1pPr>
              <a:lnSpc>
                <a:spcPct val="100000"/>
              </a:lnSpc>
              <a:spcBef>
                <a:spcPts val="0"/>
              </a:spcBef>
              <a:defRPr sz="2200" b="0" i="0">
                <a:solidFill>
                  <a:schemeClr val="tx1"/>
                </a:solidFill>
                <a:latin typeface="IBM Plex Sans Light" panose="020B0403050203000203" pitchFamily="34" charset="0"/>
              </a:defRPr>
            </a:lvl1pPr>
            <a:lvl2pPr marL="127993" indent="-127993">
              <a:lnSpc>
                <a:spcPct val="100000"/>
              </a:lnSpc>
              <a:spcBef>
                <a:spcPts val="0"/>
              </a:spcBef>
              <a:defRPr sz="2200" b="0" i="0">
                <a:solidFill>
                  <a:schemeClr val="tx1"/>
                </a:solidFill>
                <a:latin typeface="IBM Plex Sans Light" panose="020B0403050203000203" pitchFamily="34" charset="0"/>
              </a:defRPr>
            </a:lvl2pPr>
            <a:lvl3pPr marL="255987" indent="-127993">
              <a:lnSpc>
                <a:spcPct val="100000"/>
              </a:lnSpc>
              <a:spcBef>
                <a:spcPts val="0"/>
              </a:spcBef>
              <a:defRPr sz="2200" b="0" i="0">
                <a:solidFill>
                  <a:schemeClr val="tx1"/>
                </a:solidFill>
                <a:latin typeface="IBM Plex Sans Light" panose="020B0403050203000203" pitchFamily="34" charset="0"/>
              </a:defRPr>
            </a:lvl3pPr>
            <a:lvl4pPr marL="383981" indent="-127993">
              <a:lnSpc>
                <a:spcPct val="100000"/>
              </a:lnSpc>
              <a:spcBef>
                <a:spcPts val="0"/>
              </a:spcBef>
              <a:defRPr sz="2200" b="0" i="0">
                <a:solidFill>
                  <a:schemeClr val="tx1"/>
                </a:solidFill>
                <a:latin typeface="IBM Plex Sans Light" panose="020B0403050203000203" pitchFamily="34" charset="0"/>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8"/>
            <a:ext cx="2476178" cy="762794"/>
          </a:xfrm>
          <a:prstGeom prst="rect">
            <a:avLst/>
          </a:prstGeom>
        </p:spPr>
        <p:txBody>
          <a:bodyPr/>
          <a:lstStyle>
            <a:lvl1pPr>
              <a:lnSpc>
                <a:spcPct val="100000"/>
              </a:lnSpc>
              <a:spcBef>
                <a:spcPts val="0"/>
              </a:spcBef>
              <a:defRPr sz="2200" b="0" i="0">
                <a:solidFill>
                  <a:schemeClr val="tx1"/>
                </a:solidFill>
                <a:latin typeface="IBM Plex Sans Light" panose="020B0403050203000203" pitchFamily="34" charset="0"/>
              </a:defRPr>
            </a:lvl1pPr>
            <a:lvl2pPr marL="127993" indent="-127993">
              <a:lnSpc>
                <a:spcPct val="100000"/>
              </a:lnSpc>
              <a:spcBef>
                <a:spcPts val="0"/>
              </a:spcBef>
              <a:defRPr sz="2200" b="0" i="0">
                <a:solidFill>
                  <a:schemeClr val="tx1"/>
                </a:solidFill>
                <a:latin typeface="IBM Plex Sans Light" panose="020B0403050203000203" pitchFamily="34" charset="0"/>
              </a:defRPr>
            </a:lvl2pPr>
            <a:lvl3pPr marL="255987" indent="-127993">
              <a:lnSpc>
                <a:spcPct val="100000"/>
              </a:lnSpc>
              <a:spcBef>
                <a:spcPts val="0"/>
              </a:spcBef>
              <a:defRPr sz="2200" b="0" i="0">
                <a:solidFill>
                  <a:schemeClr val="tx1"/>
                </a:solidFill>
                <a:latin typeface="IBM Plex Sans Light" panose="020B0403050203000203" pitchFamily="34" charset="0"/>
              </a:defRPr>
            </a:lvl3pPr>
            <a:lvl4pPr marL="383981" indent="-127993">
              <a:lnSpc>
                <a:spcPct val="100000"/>
              </a:lnSpc>
              <a:spcBef>
                <a:spcPts val="0"/>
              </a:spcBef>
              <a:defRPr sz="2200" b="0" i="0">
                <a:solidFill>
                  <a:schemeClr val="tx1"/>
                </a:solidFill>
                <a:latin typeface="IBM Plex Sans Light" panose="020B0403050203000203" pitchFamily="34" charset="0"/>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3" y="288038"/>
            <a:ext cx="2479352" cy="762794"/>
          </a:xfrm>
          <a:prstGeom prst="rect">
            <a:avLst/>
          </a:prstGeom>
        </p:spPr>
        <p:txBody>
          <a:bodyPr/>
          <a:lstStyle>
            <a:lvl1pPr>
              <a:lnSpc>
                <a:spcPct val="100000"/>
              </a:lnSpc>
              <a:spcBef>
                <a:spcPts val="0"/>
              </a:spcBef>
              <a:defRPr sz="2200" b="0" i="0">
                <a:solidFill>
                  <a:schemeClr val="tx1"/>
                </a:solidFill>
                <a:latin typeface="IBM Plex Sans Light" panose="020B0403050203000203" pitchFamily="34" charset="0"/>
              </a:defRPr>
            </a:lvl1pPr>
            <a:lvl2pPr marL="127993" indent="-127993">
              <a:lnSpc>
                <a:spcPct val="100000"/>
              </a:lnSpc>
              <a:spcBef>
                <a:spcPts val="0"/>
              </a:spcBef>
              <a:defRPr sz="2200" b="0" i="0">
                <a:solidFill>
                  <a:schemeClr val="tx1"/>
                </a:solidFill>
                <a:latin typeface="IBM Plex Sans Light" panose="020B0403050203000203" pitchFamily="34" charset="0"/>
              </a:defRPr>
            </a:lvl2pPr>
            <a:lvl3pPr marL="255987" indent="-127993">
              <a:lnSpc>
                <a:spcPct val="100000"/>
              </a:lnSpc>
              <a:spcBef>
                <a:spcPts val="0"/>
              </a:spcBef>
              <a:defRPr sz="2200" b="0" i="0">
                <a:solidFill>
                  <a:schemeClr val="tx1"/>
                </a:solidFill>
                <a:latin typeface="IBM Plex Sans Light" panose="020B0403050203000203" pitchFamily="34" charset="0"/>
              </a:defRPr>
            </a:lvl3pPr>
            <a:lvl4pPr marL="383981" indent="-127993">
              <a:lnSpc>
                <a:spcPct val="100000"/>
              </a:lnSpc>
              <a:spcBef>
                <a:spcPts val="0"/>
              </a:spcBef>
              <a:defRPr sz="2200" b="0" i="0">
                <a:solidFill>
                  <a:schemeClr val="tx1"/>
                </a:solidFill>
                <a:latin typeface="IBM Plex Sans Light" panose="020B0403050203000203" pitchFamily="34" charset="0"/>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3047603" y="284959"/>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6093683" y="283466"/>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9142810" y="284959"/>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11769266" y="6469421"/>
            <a:ext cx="135436"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84126" y="6402120"/>
            <a:ext cx="2477765" cy="190500"/>
          </a:xfrm>
        </p:spPr>
        <p:txBody>
          <a:bodyPr/>
          <a:lstStyle>
            <a:lvl1pPr>
              <a:defRPr b="0" i="0">
                <a:latin typeface="IBM Plex Sans Light" panose="020B0403050203000203" pitchFamily="34" charset="0"/>
              </a:defRPr>
            </a:lvl1pPr>
          </a:lstStyle>
          <a:p>
            <a:endParaRPr lang="en-US"/>
          </a:p>
        </p:txBody>
      </p:sp>
      <p:sp>
        <p:nvSpPr>
          <p:cNvPr id="16" name="Text Placeholder 6">
            <a:extLst>
              <a:ext uri="{FF2B5EF4-FFF2-40B4-BE49-F238E27FC236}">
                <a16:creationId xmlns:a16="http://schemas.microsoft.com/office/drawing/2014/main" id="{F4F49B39-EB32-770F-5644-D3D938710775}"/>
              </a:ext>
            </a:extLst>
          </p:cNvPr>
          <p:cNvSpPr>
            <a:spLocks noGrp="1"/>
          </p:cNvSpPr>
          <p:nvPr>
            <p:ph type="body" sz="quarter" idx="10"/>
          </p:nvPr>
        </p:nvSpPr>
        <p:spPr>
          <a:xfrm>
            <a:off x="3333316" y="1714500"/>
            <a:ext cx="2481639" cy="4286251"/>
          </a:xfrm>
          <a:prstGeom prst="rect">
            <a:avLst/>
          </a:prstGeom>
        </p:spPr>
        <p:txBody>
          <a:bodyPr/>
          <a:lstStyle>
            <a:lvl1pPr defTabSz="580543">
              <a:lnSpc>
                <a:spcPct val="100000"/>
              </a:lnSpc>
              <a:spcBef>
                <a:spcPts val="0"/>
              </a:spcBef>
              <a:defRPr sz="1800" b="0" i="0">
                <a:solidFill>
                  <a:schemeClr val="tx1"/>
                </a:solidFill>
                <a:latin typeface="IBM Plex Sans Light" panose="020B0403050203000203" pitchFamily="34" charset="0"/>
              </a:defRPr>
            </a:lvl1pPr>
            <a:lvl2pPr defTabSz="580543">
              <a:lnSpc>
                <a:spcPct val="100000"/>
              </a:lnSpc>
              <a:spcBef>
                <a:spcPts val="0"/>
              </a:spcBef>
              <a:defRPr sz="1800" b="0" i="0">
                <a:solidFill>
                  <a:schemeClr val="tx1"/>
                </a:solidFill>
                <a:latin typeface="IBM Plex Sans Light" panose="020B0403050203000203" pitchFamily="34" charset="0"/>
              </a:defRPr>
            </a:lvl2pPr>
            <a:lvl3pPr defTabSz="580543">
              <a:lnSpc>
                <a:spcPct val="100000"/>
              </a:lnSpc>
              <a:spcBef>
                <a:spcPts val="0"/>
              </a:spcBef>
              <a:defRPr sz="1800" b="0" i="0">
                <a:solidFill>
                  <a:schemeClr val="tx1"/>
                </a:solidFill>
                <a:latin typeface="IBM Plex Sans Light" panose="020B0403050203000203" pitchFamily="34" charset="0"/>
              </a:defRPr>
            </a:lvl3pPr>
            <a:lvl4pPr defTabSz="580543">
              <a:lnSpc>
                <a:spcPct val="100000"/>
              </a:lnSpc>
              <a:spcBef>
                <a:spcPts val="0"/>
              </a:spcBef>
              <a:defRPr sz="1800" b="0" i="0">
                <a:solidFill>
                  <a:schemeClr val="tx1"/>
                </a:solidFill>
                <a:latin typeface="IBM Plex Sans Light" panose="020B0403050203000203" pitchFamily="34" charset="0"/>
              </a:defRPr>
            </a:lvl4pPr>
            <a:lvl5pPr defTabSz="58054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6">
            <a:extLst>
              <a:ext uri="{FF2B5EF4-FFF2-40B4-BE49-F238E27FC236}">
                <a16:creationId xmlns:a16="http://schemas.microsoft.com/office/drawing/2014/main" id="{5D25B5E4-5513-DB6F-04BF-4A2A85E85763}"/>
              </a:ext>
            </a:extLst>
          </p:cNvPr>
          <p:cNvSpPr>
            <a:spLocks noGrp="1"/>
          </p:cNvSpPr>
          <p:nvPr>
            <p:ph type="body" sz="quarter" idx="20"/>
          </p:nvPr>
        </p:nvSpPr>
        <p:spPr>
          <a:xfrm>
            <a:off x="6368782" y="1714500"/>
            <a:ext cx="2481639" cy="4286251"/>
          </a:xfrm>
          <a:prstGeom prst="rect">
            <a:avLst/>
          </a:prstGeom>
        </p:spPr>
        <p:txBody>
          <a:bodyPr/>
          <a:lstStyle>
            <a:lvl1pPr defTabSz="580543">
              <a:lnSpc>
                <a:spcPct val="100000"/>
              </a:lnSpc>
              <a:spcBef>
                <a:spcPts val="0"/>
              </a:spcBef>
              <a:defRPr sz="1800" b="0" i="0">
                <a:solidFill>
                  <a:schemeClr val="tx1"/>
                </a:solidFill>
                <a:latin typeface="IBM Plex Sans Light" panose="020B0403050203000203" pitchFamily="34" charset="0"/>
              </a:defRPr>
            </a:lvl1pPr>
            <a:lvl2pPr defTabSz="580543">
              <a:lnSpc>
                <a:spcPct val="100000"/>
              </a:lnSpc>
              <a:spcBef>
                <a:spcPts val="0"/>
              </a:spcBef>
              <a:defRPr sz="1800" b="0" i="0">
                <a:solidFill>
                  <a:schemeClr val="tx1"/>
                </a:solidFill>
                <a:latin typeface="IBM Plex Sans Light" panose="020B0403050203000203" pitchFamily="34" charset="0"/>
              </a:defRPr>
            </a:lvl2pPr>
            <a:lvl3pPr defTabSz="580543">
              <a:lnSpc>
                <a:spcPct val="100000"/>
              </a:lnSpc>
              <a:spcBef>
                <a:spcPts val="0"/>
              </a:spcBef>
              <a:defRPr sz="1800" b="0" i="0">
                <a:solidFill>
                  <a:schemeClr val="tx1"/>
                </a:solidFill>
                <a:latin typeface="IBM Plex Sans Light" panose="020B0403050203000203" pitchFamily="34" charset="0"/>
              </a:defRPr>
            </a:lvl3pPr>
            <a:lvl4pPr defTabSz="580543">
              <a:lnSpc>
                <a:spcPct val="100000"/>
              </a:lnSpc>
              <a:spcBef>
                <a:spcPts val="0"/>
              </a:spcBef>
              <a:defRPr sz="1800" b="0" i="0">
                <a:solidFill>
                  <a:schemeClr val="tx1"/>
                </a:solidFill>
                <a:latin typeface="IBM Plex Sans Light" panose="020B0403050203000203" pitchFamily="34" charset="0"/>
              </a:defRPr>
            </a:lvl4pPr>
            <a:lvl5pPr defTabSz="58054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6">
            <a:extLst>
              <a:ext uri="{FF2B5EF4-FFF2-40B4-BE49-F238E27FC236}">
                <a16:creationId xmlns:a16="http://schemas.microsoft.com/office/drawing/2014/main" id="{EC86775E-92B8-3897-2210-2993F34BA628}"/>
              </a:ext>
            </a:extLst>
          </p:cNvPr>
          <p:cNvSpPr>
            <a:spLocks noGrp="1"/>
          </p:cNvSpPr>
          <p:nvPr>
            <p:ph type="body" sz="quarter" idx="21"/>
          </p:nvPr>
        </p:nvSpPr>
        <p:spPr>
          <a:xfrm>
            <a:off x="9428524" y="1714500"/>
            <a:ext cx="2481639" cy="4286251"/>
          </a:xfrm>
          <a:prstGeom prst="rect">
            <a:avLst/>
          </a:prstGeom>
        </p:spPr>
        <p:txBody>
          <a:bodyPr/>
          <a:lstStyle>
            <a:lvl1pPr defTabSz="580543">
              <a:lnSpc>
                <a:spcPct val="100000"/>
              </a:lnSpc>
              <a:spcBef>
                <a:spcPts val="0"/>
              </a:spcBef>
              <a:defRPr sz="1800" b="0" i="0">
                <a:solidFill>
                  <a:schemeClr val="tx1"/>
                </a:solidFill>
                <a:latin typeface="IBM Plex Sans Light" panose="020B0403050203000203" pitchFamily="34" charset="0"/>
              </a:defRPr>
            </a:lvl1pPr>
            <a:lvl2pPr defTabSz="580543">
              <a:lnSpc>
                <a:spcPct val="100000"/>
              </a:lnSpc>
              <a:spcBef>
                <a:spcPts val="0"/>
              </a:spcBef>
              <a:defRPr sz="1800" b="0" i="0">
                <a:solidFill>
                  <a:schemeClr val="tx1"/>
                </a:solidFill>
                <a:latin typeface="IBM Plex Sans Light" panose="020B0403050203000203" pitchFamily="34" charset="0"/>
              </a:defRPr>
            </a:lvl2pPr>
            <a:lvl3pPr defTabSz="580543">
              <a:lnSpc>
                <a:spcPct val="100000"/>
              </a:lnSpc>
              <a:spcBef>
                <a:spcPts val="0"/>
              </a:spcBef>
              <a:defRPr sz="1800" b="0" i="0">
                <a:solidFill>
                  <a:schemeClr val="tx1"/>
                </a:solidFill>
                <a:latin typeface="IBM Plex Sans Light" panose="020B0403050203000203" pitchFamily="34" charset="0"/>
              </a:defRPr>
            </a:lvl3pPr>
            <a:lvl4pPr defTabSz="580543">
              <a:lnSpc>
                <a:spcPct val="100000"/>
              </a:lnSpc>
              <a:spcBef>
                <a:spcPts val="0"/>
              </a:spcBef>
              <a:defRPr sz="1800" b="0" i="0">
                <a:solidFill>
                  <a:schemeClr val="tx1"/>
                </a:solidFill>
                <a:latin typeface="IBM Plex Sans Light" panose="020B0403050203000203" pitchFamily="34" charset="0"/>
              </a:defRPr>
            </a:lvl4pPr>
            <a:lvl5pPr defTabSz="58054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216422067"/>
      </p:ext>
    </p:extLst>
  </p:cSld>
  <p:clrMapOvr>
    <a:masterClrMapping/>
  </p:clrMapOvr>
  <p:transition spd="med"/>
</p:sldLayout>
</file>

<file path=ppt/slideLayouts/slideLayout637.xml><?xml version="1.0" encoding="utf-8"?>
<p:sldLayout xmlns:a="http://schemas.openxmlformats.org/drawingml/2006/main" xmlns:r="http://schemas.openxmlformats.org/officeDocument/2006/relationships" xmlns:p="http://schemas.openxmlformats.org/presentationml/2006/main" userDrawn="1">
  <p:cSld name="4_Video or imagery, half, ins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8000" y="192600"/>
            <a:ext cx="2474591" cy="762795"/>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lvl1pPr>
              <a:defRPr b="0" i="0">
                <a:latin typeface="IBM Plex Sans Light" panose="020B0403050203000203" pitchFamily="34" charset="0"/>
              </a:defRPr>
            </a:lvl1pPr>
          </a:lstStyle>
          <a:p>
            <a:endParaRPr lang="en-US"/>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6380919" y="284958"/>
            <a:ext cx="5523781" cy="6287294"/>
          </a:xfrm>
          <a:prstGeom prst="rect">
            <a:avLst/>
          </a:prstGeom>
          <a:solidFill>
            <a:srgbClr val="E0E0E0"/>
          </a:solidFill>
        </p:spPr>
        <p:txBody>
          <a:bodyPr anchor="ctr"/>
          <a:lstStyle>
            <a:lvl1pPr algn="ctr">
              <a:defRPr b="0" i="0">
                <a:solidFill>
                  <a:schemeClr val="accent5"/>
                </a:solidFill>
                <a:latin typeface="IBM Plex Sans Light" panose="020B0403050203000203" pitchFamily="34" charset="0"/>
              </a:defRPr>
            </a:lvl1pPr>
          </a:lstStyle>
          <a:p>
            <a:r>
              <a:rPr lang="en-US"/>
              <a:t>Place imagery here</a:t>
            </a:r>
          </a:p>
        </p:txBody>
      </p:sp>
      <p:sp>
        <p:nvSpPr>
          <p:cNvPr id="6" name="Text Placeholder 6">
            <a:extLst>
              <a:ext uri="{FF2B5EF4-FFF2-40B4-BE49-F238E27FC236}">
                <a16:creationId xmlns:a16="http://schemas.microsoft.com/office/drawing/2014/main" id="{F97050FE-79BA-7876-7C87-1EBC54ABDE3B}"/>
              </a:ext>
            </a:extLst>
          </p:cNvPr>
          <p:cNvSpPr>
            <a:spLocks noGrp="1"/>
          </p:cNvSpPr>
          <p:nvPr>
            <p:ph type="body" sz="quarter" idx="21"/>
          </p:nvPr>
        </p:nvSpPr>
        <p:spPr>
          <a:xfrm>
            <a:off x="275972" y="1714500"/>
            <a:ext cx="2485921" cy="4286251"/>
          </a:xfrm>
          <a:prstGeom prst="rect">
            <a:avLst/>
          </a:prstGeom>
        </p:spPr>
        <p:txBody>
          <a:bodyPr/>
          <a:lstStyle>
            <a:lvl1pPr defTabSz="580543">
              <a:lnSpc>
                <a:spcPct val="100000"/>
              </a:lnSpc>
              <a:spcBef>
                <a:spcPts val="0"/>
              </a:spcBef>
              <a:defRPr sz="1800" b="0" i="0">
                <a:solidFill>
                  <a:schemeClr val="tx1"/>
                </a:solidFill>
                <a:latin typeface="IBM Plex Sans Light" panose="020B0403050203000203" pitchFamily="34" charset="0"/>
              </a:defRPr>
            </a:lvl1pPr>
            <a:lvl2pPr marL="163772" indent="-163772" defTabSz="580543">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42" indent="-163772" defTabSz="580543">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14" indent="-163772" defTabSz="580543">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4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0F1D7D74-3344-9F6B-7157-4A7E1AB48342}"/>
              </a:ext>
            </a:extLst>
          </p:cNvPr>
          <p:cNvSpPr>
            <a:spLocks noGrp="1"/>
          </p:cNvSpPr>
          <p:nvPr>
            <p:ph type="body" sz="quarter" idx="22"/>
          </p:nvPr>
        </p:nvSpPr>
        <p:spPr>
          <a:xfrm>
            <a:off x="3334110" y="1714500"/>
            <a:ext cx="2485921" cy="4286251"/>
          </a:xfrm>
          <a:prstGeom prst="rect">
            <a:avLst/>
          </a:prstGeom>
        </p:spPr>
        <p:txBody>
          <a:bodyPr/>
          <a:lstStyle>
            <a:lvl1pPr defTabSz="580543">
              <a:lnSpc>
                <a:spcPct val="100000"/>
              </a:lnSpc>
              <a:spcBef>
                <a:spcPts val="0"/>
              </a:spcBef>
              <a:defRPr sz="1800" b="0" i="0">
                <a:solidFill>
                  <a:schemeClr val="tx1"/>
                </a:solidFill>
                <a:latin typeface="IBM Plex Sans Light" panose="020B0403050203000203" pitchFamily="34" charset="0"/>
              </a:defRPr>
            </a:lvl1pPr>
            <a:lvl2pPr marL="163772" indent="-163772" defTabSz="580543">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2pPr>
            <a:lvl3pPr marL="329342" indent="-163772" defTabSz="580543">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3pPr>
            <a:lvl4pPr marL="493114" indent="-163772" defTabSz="580543">
              <a:lnSpc>
                <a:spcPct val="100000"/>
              </a:lnSpc>
              <a:spcBef>
                <a:spcPts val="0"/>
              </a:spcBef>
              <a:buFont typeface="Arial" panose="020B0604020202020204" pitchFamily="34" charset="0"/>
              <a:buChar char="•"/>
              <a:defRPr sz="1800" b="0" i="0">
                <a:solidFill>
                  <a:schemeClr val="tx1"/>
                </a:solidFill>
                <a:latin typeface="IBM Plex Sans Light" panose="020B0403050203000203" pitchFamily="34" charset="0"/>
              </a:defRPr>
            </a:lvl4pPr>
            <a:lvl5pPr defTabSz="580543">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161879533"/>
      </p:ext>
    </p:extLst>
  </p:cSld>
  <p:clrMapOvr>
    <a:masterClrMapping/>
  </p:clrMapOvr>
  <p:transition spd="med"/>
</p:sldLayout>
</file>

<file path=ppt/slideLayouts/slideLayout638.xml><?xml version="1.0" encoding="utf-8"?>
<p:sldLayout xmlns:a="http://schemas.openxmlformats.org/drawingml/2006/main" xmlns:r="http://schemas.openxmlformats.org/officeDocument/2006/relationships" xmlns:p="http://schemas.openxmlformats.org/presentationml/2006/main" showMasterSp="0" type="tx">
  <p:cSld name="5_Text, 4 columns ">
    <p:spTree>
      <p:nvGrpSpPr>
        <p:cNvPr id="1" name=""/>
        <p:cNvGrpSpPr/>
        <p:nvPr/>
      </p:nvGrpSpPr>
      <p:grpSpPr>
        <a:xfrm>
          <a:off x="0" y="0"/>
          <a:ext cx="0" cy="0"/>
          <a:chOff x="0" y="0"/>
          <a:chExt cx="0" cy="0"/>
        </a:xfrm>
      </p:grpSpPr>
      <p:sp>
        <p:nvSpPr>
          <p:cNvPr id="185" name="幻灯片编号"/>
          <p:cNvSpPr txBox="1">
            <a:spLocks noGrp="1"/>
          </p:cNvSpPr>
          <p:nvPr>
            <p:ph type="sldNum" sz="quarter" idx="2"/>
          </p:nvPr>
        </p:nvSpPr>
        <p:spPr>
          <a:xfrm>
            <a:off x="11769462" y="6475904"/>
            <a:ext cx="136791" cy="123111"/>
          </a:xfrm>
          <a:prstGeom prst="rect">
            <a:avLst/>
          </a:prstGeom>
        </p:spPr>
        <p:txBody>
          <a:bodyPr/>
          <a:lstStyle/>
          <a:p>
            <a:fld id="{86CB4B4D-7CA3-9044-876B-883B54F8677D}" type="slidenum">
              <a:rPr/>
              <a:t>‹#›</a:t>
            </a:fld>
            <a:endParaRPr/>
          </a:p>
        </p:txBody>
      </p:sp>
      <p:sp>
        <p:nvSpPr>
          <p:cNvPr id="186" name="Text Placeholder 3"/>
          <p:cNvSpPr>
            <a:spLocks noGrp="1"/>
          </p:cNvSpPr>
          <p:nvPr>
            <p:ph type="body" sz="quarter" idx="21"/>
          </p:nvPr>
        </p:nvSpPr>
        <p:spPr>
          <a:xfrm>
            <a:off x="3333753" y="1714500"/>
            <a:ext cx="2475707" cy="4286251"/>
          </a:xfrm>
          <a:prstGeom prst="rect">
            <a:avLst/>
          </a:prstGeom>
        </p:spPr>
        <p:txBody>
          <a:bodyPr/>
          <a:lstStyle/>
          <a:p>
            <a:pPr>
              <a:defRPr sz="2000">
                <a:latin typeface="+mj-lt"/>
                <a:ea typeface="+mj-ea"/>
                <a:cs typeface="+mj-cs"/>
                <a:sym typeface="IBM Plex Sans"/>
              </a:defRPr>
            </a:pPr>
            <a:r>
              <a:t>Lorem ipsum dolor sit amet, consectetur adipiscing elit. Sed at sem erat. Vivamus a pulvinar sapien. Orci varius natoque penatibus et magnis dis parturient montes, nascetur ridiculus mus. Quisque bibendum ornare urna sed elementum. Praesent sit amet lorem laoreet, efficitur nunc vel, tempus odio. Fusce aliquam tellus quis tortor sagittis luctus. Aliquam ac risus scelerisque, aliquam orci quis, iaculis urna. Proin dapibus porta mollis.</a:t>
            </a:r>
          </a:p>
          <a:p>
            <a:pPr>
              <a:defRPr sz="2000">
                <a:latin typeface="+mj-lt"/>
                <a:ea typeface="+mj-ea"/>
                <a:cs typeface="+mj-cs"/>
                <a:sym typeface="IBM Plex Sans"/>
              </a:defRPr>
            </a:pPr>
            <a:endParaRPr/>
          </a:p>
          <a:p>
            <a:pPr>
              <a:defRPr sz="2000">
                <a:latin typeface="+mj-lt"/>
                <a:ea typeface="+mj-ea"/>
                <a:cs typeface="+mj-cs"/>
                <a:sym typeface="IBM Plex Sans"/>
              </a:defRPr>
            </a:pPr>
            <a:r>
              <a:t>Efficitur scelerisque velit. Vestibulum viverra, ante ac placerat pulvinar, erat risus pellentesque urna, ac posuere nibh nulla eu mi. Fusce scelerisque ultrices eros quis dignissim. Pellentesque mollis nibh at nibh imperdiet, sed ullamcorper velit posuere. Integer et velit blandit.</a:t>
            </a:r>
          </a:p>
        </p:txBody>
      </p:sp>
      <p:sp>
        <p:nvSpPr>
          <p:cNvPr id="187" name="Text Placeholder 4"/>
          <p:cNvSpPr>
            <a:spLocks noGrp="1"/>
          </p:cNvSpPr>
          <p:nvPr>
            <p:ph type="body" sz="quarter" idx="22"/>
          </p:nvPr>
        </p:nvSpPr>
        <p:spPr>
          <a:xfrm>
            <a:off x="6381753" y="1714500"/>
            <a:ext cx="2476500" cy="4286251"/>
          </a:xfrm>
          <a:prstGeom prst="rect">
            <a:avLst/>
          </a:prstGeom>
        </p:spPr>
        <p:txBody>
          <a:bodyPr/>
          <a:lstStyle/>
          <a:p>
            <a:pPr>
              <a:defRPr sz="2000">
                <a:latin typeface="+mj-lt"/>
                <a:ea typeface="+mj-ea"/>
                <a:cs typeface="+mj-cs"/>
                <a:sym typeface="IBM Plex Sans"/>
              </a:defRPr>
            </a:pPr>
            <a:r>
              <a:t>Lorem ipsum dolor sit amet, consectetur adipiscing elit. Sed at sem erat. Vivamus a pulvinar sapien. Orci varius natoque penatibus et magnis dis parturient montes, nascetur ridiculus mus. </a:t>
            </a:r>
            <a:br/>
            <a:endParaRPr/>
          </a:p>
          <a:p>
            <a:pPr>
              <a:defRPr sz="2000">
                <a:latin typeface="+mj-lt"/>
                <a:ea typeface="+mj-ea"/>
                <a:cs typeface="+mj-cs"/>
                <a:sym typeface="IBM Plex Sans"/>
              </a:defRPr>
            </a:pPr>
            <a:r>
              <a:t>Ornare urna sed elementum. Praesent sit amet lorem laoreet, efficitur nunc vel, tempus odio. Fusce aliquam tellus quis tortor sagittis luctus. Aliquam ac risus scelerisque, aliquam orci quis, iaculis urna. Proin dapibus porta mollis.</a:t>
            </a:r>
          </a:p>
          <a:p>
            <a:pPr>
              <a:defRPr sz="2000">
                <a:latin typeface="+mj-lt"/>
                <a:ea typeface="+mj-ea"/>
                <a:cs typeface="+mj-cs"/>
                <a:sym typeface="IBM Plex Sans"/>
              </a:defRPr>
            </a:pPr>
            <a:endParaRPr/>
          </a:p>
          <a:p>
            <a:pPr>
              <a:defRPr sz="2000">
                <a:latin typeface="+mj-lt"/>
                <a:ea typeface="+mj-ea"/>
                <a:cs typeface="+mj-cs"/>
                <a:sym typeface="IBM Plex Sans"/>
              </a:defRPr>
            </a:pPr>
            <a:r>
              <a:t>Nulla eu mattis elit, efficitur scelerisque velit. Vestibulum viverra, ante ac placerat pulvinar, erat risus pellentesque urna, ac posuere nibh nulla eu mi. Fusce scelerisque ultrices eros quis dignissim. Pellentesque mollis nibh at nibh imperdiet, sed ullamcorper.</a:t>
            </a:r>
          </a:p>
        </p:txBody>
      </p:sp>
      <p:sp>
        <p:nvSpPr>
          <p:cNvPr id="188" name="Text Placeholder 5"/>
          <p:cNvSpPr>
            <a:spLocks noGrp="1"/>
          </p:cNvSpPr>
          <p:nvPr>
            <p:ph type="body" sz="quarter" idx="23"/>
          </p:nvPr>
        </p:nvSpPr>
        <p:spPr>
          <a:xfrm>
            <a:off x="9429753" y="1714500"/>
            <a:ext cx="2479675" cy="4286251"/>
          </a:xfrm>
          <a:prstGeom prst="rect">
            <a:avLst/>
          </a:prstGeom>
        </p:spPr>
        <p:txBody>
          <a:bodyPr/>
          <a:lstStyle/>
          <a:p>
            <a:pPr>
              <a:defRPr sz="2000">
                <a:latin typeface="+mj-lt"/>
                <a:ea typeface="+mj-ea"/>
                <a:cs typeface="+mj-cs"/>
                <a:sym typeface="IBM Plex Sans"/>
              </a:defRPr>
            </a:pPr>
            <a:r>
              <a:t>Lorem ipsum dolor sit amet, consectetur adipiscing elit. Sed at sem erat. Vivamus a pulvinar sapien. Orci varius natoque penatibus et magnis dis parturient montes, nascetur ridiculus mus. </a:t>
            </a:r>
          </a:p>
          <a:p>
            <a:pPr>
              <a:defRPr sz="2000">
                <a:latin typeface="+mj-lt"/>
                <a:ea typeface="+mj-ea"/>
                <a:cs typeface="+mj-cs"/>
                <a:sym typeface="IBM Plex Sans"/>
              </a:defRPr>
            </a:pPr>
            <a:endParaRPr/>
          </a:p>
          <a:p>
            <a:pPr>
              <a:defRPr sz="2000">
                <a:latin typeface="+mj-lt"/>
                <a:ea typeface="+mj-ea"/>
                <a:cs typeface="+mj-cs"/>
                <a:sym typeface="IBM Plex Sans"/>
              </a:defRPr>
            </a:pPr>
            <a:r>
              <a:t>Quisque bibendum ornare urna sed elementum. Praesent sit amet lorem laoreet, efficitur nunc vel, tempus odio. Fusce aliquam tellus quis tortor sagittis luctus. Aliquam ac risus scelerisque, aliquam orci quis, iaculis urna. Proin dapibus porta mollis.</a:t>
            </a:r>
          </a:p>
          <a:p>
            <a:pPr>
              <a:defRPr sz="2000">
                <a:latin typeface="+mj-lt"/>
                <a:ea typeface="+mj-ea"/>
                <a:cs typeface="+mj-cs"/>
                <a:sym typeface="IBM Plex Sans"/>
              </a:defRPr>
            </a:pPr>
            <a:endParaRPr/>
          </a:p>
          <a:p>
            <a:pPr>
              <a:defRPr sz="2000">
                <a:latin typeface="+mj-lt"/>
                <a:ea typeface="+mj-ea"/>
                <a:cs typeface="+mj-cs"/>
                <a:sym typeface="IBM Plex Sans"/>
              </a:defRPr>
            </a:pPr>
            <a:r>
              <a:t>Nulla eu mattis elit, efficitur scelerisque velit. Vestibulum viverra, ante ac placerat pulvinar, erat risus pellentesque urna, ac posuere nibh nulla eu mi. Fusce scelerisque ultrices eros quis dignissim.</a:t>
            </a:r>
          </a:p>
        </p:txBody>
      </p:sp>
      <p:sp>
        <p:nvSpPr>
          <p:cNvPr id="189" name="Title 1"/>
          <p:cNvSpPr txBox="1">
            <a:spLocks noGrp="1"/>
          </p:cNvSpPr>
          <p:nvPr>
            <p:ph type="body" sz="quarter" idx="24"/>
          </p:nvPr>
        </p:nvSpPr>
        <p:spPr>
          <a:xfrm>
            <a:off x="283470" y="284962"/>
            <a:ext cx="2474913" cy="762795"/>
          </a:xfrm>
          <a:prstGeom prst="rect">
            <a:avLst/>
          </a:prstGeom>
        </p:spPr>
        <p:txBody>
          <a:bodyPr/>
          <a:lstStyle>
            <a:lvl1pPr>
              <a:defRPr sz="1400"/>
            </a:lvl1pPr>
          </a:lstStyle>
          <a:p>
            <a:r>
              <a:t>28/36/44pt short headline, 3 lines maximum, sentence case</a:t>
            </a:r>
          </a:p>
        </p:txBody>
      </p:sp>
      <p:sp>
        <p:nvSpPr>
          <p:cNvPr id="190" name="Text Placeholder 2"/>
          <p:cNvSpPr txBox="1">
            <a:spLocks noGrp="1"/>
          </p:cNvSpPr>
          <p:nvPr>
            <p:ph type="body" sz="quarter" idx="25"/>
          </p:nvPr>
        </p:nvSpPr>
        <p:spPr>
          <a:xfrm>
            <a:off x="284169" y="1714500"/>
            <a:ext cx="2478087" cy="4286251"/>
          </a:xfrm>
          <a:prstGeom prst="rect">
            <a:avLst/>
          </a:prstGeom>
        </p:spPr>
        <p:txBody>
          <a:bodyPr/>
          <a:lstStyle/>
          <a:p>
            <a:pPr>
              <a:defRPr sz="2000">
                <a:latin typeface="+mj-lt"/>
                <a:ea typeface="+mj-ea"/>
                <a:cs typeface="+mj-cs"/>
                <a:sym typeface="IBM Plex Sans"/>
              </a:defRPr>
            </a:pPr>
            <a:r>
              <a:t>Lorem ipsum dolor sit amet, consectetur adipiscing elit. Sed at sem erat. Vivamus a pulvinar sapien. Orci varius natoque penatibus et magnis dis parturient montes, nascetur ridiculus mus. </a:t>
            </a:r>
          </a:p>
          <a:p>
            <a:pPr>
              <a:defRPr sz="2000">
                <a:latin typeface="+mj-lt"/>
                <a:ea typeface="+mj-ea"/>
                <a:cs typeface="+mj-cs"/>
                <a:sym typeface="IBM Plex Sans"/>
              </a:defRPr>
            </a:pPr>
            <a:endParaRPr/>
          </a:p>
          <a:p>
            <a:pPr>
              <a:defRPr sz="2000">
                <a:latin typeface="+mj-lt"/>
                <a:ea typeface="+mj-ea"/>
                <a:cs typeface="+mj-cs"/>
                <a:sym typeface="IBM Plex Sans"/>
              </a:defRPr>
            </a:pPr>
            <a:r>
              <a:t>Ornare urna sed elementum. Praesent sit amet lorem laoreet, efficitur nunc vel, tempus odio. Fusce aliquam tellus quis tortor sagittis luctus. Aliquam ac risus scelerisque, aliquam orci quis, iaculis urna. Proin dapibus porta mollis.</a:t>
            </a:r>
          </a:p>
          <a:p>
            <a:pPr>
              <a:defRPr sz="2000">
                <a:latin typeface="+mj-lt"/>
                <a:ea typeface="+mj-ea"/>
                <a:cs typeface="+mj-cs"/>
                <a:sym typeface="IBM Plex Sans"/>
              </a:defRPr>
            </a:pPr>
            <a:endParaRPr/>
          </a:p>
          <a:p>
            <a:pPr>
              <a:defRPr sz="2000">
                <a:latin typeface="+mj-lt"/>
                <a:ea typeface="+mj-ea"/>
                <a:cs typeface="+mj-cs"/>
                <a:sym typeface="IBM Plex Sans"/>
              </a:defRPr>
            </a:pPr>
            <a:r>
              <a:t>Nulla eu mattis elit, efficitur scelerisque velit. Vestibulum viverra, ante ac placerat pulvinar, erat risus pellentesque urna, ac posuere nibh nulla eu mi. Fusce scelerisque ultrices eros quis dignissim. Pellentesque mollis nibh at nibh imperdiet, sed ullamcorper.</a:t>
            </a:r>
          </a:p>
        </p:txBody>
      </p:sp>
      <p:sp>
        <p:nvSpPr>
          <p:cNvPr id="191" name="Footer Placeholder 4"/>
          <p:cNvSpPr txBox="1">
            <a:spLocks noGrp="1"/>
          </p:cNvSpPr>
          <p:nvPr>
            <p:ph type="body" sz="quarter" idx="26"/>
          </p:nvPr>
        </p:nvSpPr>
        <p:spPr>
          <a:xfrm>
            <a:off x="284168" y="6471081"/>
            <a:ext cx="4284663" cy="129876"/>
          </a:xfrm>
          <a:prstGeom prst="rect">
            <a:avLst/>
          </a:prstGeom>
        </p:spPr>
        <p:txBody>
          <a:bodyPr wrap="square" anchor="b">
            <a:spAutoFit/>
          </a:bodyPr>
          <a:lstStyle>
            <a:lvl1pPr defTabSz="913799">
              <a:lnSpc>
                <a:spcPct val="110000"/>
              </a:lnSpc>
              <a:defRPr sz="800">
                <a:latin typeface="+mj-lt"/>
                <a:ea typeface="+mj-ea"/>
                <a:cs typeface="+mj-cs"/>
                <a:sym typeface="IBM Plex Sans"/>
              </a:defRPr>
            </a:lvl1pPr>
          </a:lstStyle>
          <a:p>
            <a:r>
              <a:t>Footer text (optional)</a:t>
            </a:r>
          </a:p>
        </p:txBody>
      </p:sp>
    </p:spTree>
    <p:extLst>
      <p:ext uri="{BB962C8B-B14F-4D97-AF65-F5344CB8AC3E}">
        <p14:creationId xmlns:p14="http://schemas.microsoft.com/office/powerpoint/2010/main" val="869959953"/>
      </p:ext>
    </p:extLst>
  </p:cSld>
  <p:clrMapOvr>
    <a:masterClrMapping/>
  </p:clrMapOvr>
  <p:transition spd="med"/>
</p:sldLayout>
</file>

<file path=ppt/slideLayouts/slideLayout639.xml><?xml version="1.0" encoding="utf-8"?>
<p:sldLayout xmlns:a="http://schemas.openxmlformats.org/drawingml/2006/main" xmlns:r="http://schemas.openxmlformats.org/officeDocument/2006/relationships" xmlns:p="http://schemas.openxmlformats.org/presentationml/2006/main" userDrawn="1">
  <p:cSld name="1_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b="0" i="0">
                <a:solidFill>
                  <a:schemeClr val="accent2"/>
                </a:solidFill>
                <a:latin typeface="IBM Plex Sans Light" panose="020B0403050203000203" pitchFamily="34" charset="0"/>
              </a:defRPr>
            </a:lvl1pPr>
          </a:lstStyle>
          <a:p>
            <a:r>
              <a:rPr lang="en-US"/>
              <a:t>Click to edit Master title style</a:t>
            </a:r>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797" b="0" i="0">
                <a:solidFill>
                  <a:schemeClr val="accent2"/>
                </a:solidFill>
                <a:latin typeface="IBM Plex Sans Light" panose="020B0403050203000203" pitchFamily="34" charset="0"/>
              </a:defRPr>
            </a:lvl1pPr>
          </a:lstStyle>
          <a:p>
            <a:pPr lvl="0"/>
            <a:r>
              <a:rPr lang="en-US"/>
              <a:t>Click to edit Master text styles</a:t>
            </a:r>
          </a:p>
        </p:txBody>
      </p:sp>
      <p:sp>
        <p:nvSpPr>
          <p:cNvPr id="7" name="Picture Placeholder"/>
          <p:cNvSpPr>
            <a:spLocks noGrp="1"/>
          </p:cNvSpPr>
          <p:nvPr>
            <p:ph type="pic" sz="quarter" idx="13"/>
          </p:nvPr>
        </p:nvSpPr>
        <p:spPr>
          <a:xfrm>
            <a:off x="6096000" y="0"/>
            <a:ext cx="6096000" cy="6858000"/>
          </a:xfrm>
        </p:spPr>
        <p:txBody>
          <a:bodyPr lIns="91440" tIns="91440" rIns="91440" bIns="91440"/>
          <a:lstStyle>
            <a:lvl1pPr>
              <a:defRPr b="0" i="0" baseline="0">
                <a:solidFill>
                  <a:schemeClr val="tx1"/>
                </a:solidFill>
                <a:latin typeface="IBM Plex Sans Light" panose="020B0403050203000203" pitchFamily="34" charset="0"/>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pPr defTabSz="914485">
              <a:defRPr/>
            </a:pPr>
            <a:r>
              <a:rPr lang="en-US">
                <a:solidFill>
                  <a:srgbClr val="000000"/>
                </a:solidFill>
              </a:rPr>
              <a:t>IBM Confidential © 2022 IBM</a:t>
            </a:r>
          </a:p>
          <a:p>
            <a:pPr defTabSz="914485">
              <a:defRPr/>
            </a:pPr>
            <a:r>
              <a:rPr lang="en-US">
                <a:solidFill>
                  <a:srgbClr val="000000"/>
                </a:solidFill>
              </a:rPr>
              <a:t>
</a:t>
            </a:r>
          </a:p>
        </p:txBody>
      </p:sp>
      <p:sp>
        <p:nvSpPr>
          <p:cNvPr id="4" name="Slide Number Placeholder"/>
          <p:cNvSpPr>
            <a:spLocks noGrp="1"/>
          </p:cNvSpPr>
          <p:nvPr>
            <p:ph type="sldNum" sz="quarter" idx="11"/>
          </p:nvPr>
        </p:nvSpPr>
        <p:spPr/>
        <p:txBody>
          <a:bodyPr/>
          <a:lstStyle>
            <a:lvl1pPr>
              <a:defRPr>
                <a:solidFill>
                  <a:schemeClr val="tx1"/>
                </a:solidFill>
              </a:defRPr>
            </a:lvl1pPr>
          </a:lstStyle>
          <a:p>
            <a:pPr defTabSz="914485">
              <a:defRPr/>
            </a:pPr>
            <a:fld id="{59395FB3-9C97-154F-86B2-7E381B951268}" type="slidenum">
              <a:rPr lang="en-US" smtClean="0">
                <a:solidFill>
                  <a:srgbClr val="000000"/>
                </a:solidFill>
              </a:rPr>
              <a:pPr defTabSz="914485">
                <a:defRPr/>
              </a:pPr>
              <a:t>‹#›</a:t>
            </a:fld>
            <a:endParaRPr lang="en-US">
              <a:solidFill>
                <a:srgbClr val="000000"/>
              </a:solidFill>
            </a:endParaRPr>
          </a:p>
        </p:txBody>
      </p:sp>
    </p:spTree>
    <p:extLst>
      <p:ext uri="{BB962C8B-B14F-4D97-AF65-F5344CB8AC3E}">
        <p14:creationId xmlns:p14="http://schemas.microsoft.com/office/powerpoint/2010/main" val="193786994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63" y="192024"/>
            <a:ext cx="2477765" cy="1429544"/>
          </a:xfrm>
        </p:spPr>
        <p:txBody>
          <a:bodyPr/>
          <a:lstStyle>
            <a:lvl1pPr>
              <a:lnSpc>
                <a:spcPct val="100000"/>
              </a:lnSpc>
              <a:spcBef>
                <a:spcPts val="0"/>
              </a:spcBef>
              <a:defRPr sz="3399">
                <a:solidFill>
                  <a:schemeClr val="tx2"/>
                </a:solidFill>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a:t>Click to edit Master text styles</a:t>
            </a:r>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6389168" y="288000"/>
            <a:ext cx="2476178" cy="5812631"/>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8000"/>
            <a:ext cx="2476178" cy="5812631"/>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a:t>Copy and paste appropriate legal disclaimer text from one of the three options in the PDF guidance deck, found on pages 22-24. Always use the proper legal disclaimer for your presentation audience.</a:t>
            </a:r>
          </a:p>
        </p:txBody>
      </p:sp>
      <p:sp>
        <p:nvSpPr>
          <p:cNvPr id="3" name="Footer Placeholder 3">
            <a:extLst>
              <a:ext uri="{FF2B5EF4-FFF2-40B4-BE49-F238E27FC236}">
                <a16:creationId xmlns:a16="http://schemas.microsoft.com/office/drawing/2014/main" id="{F5CA4A6F-2777-D002-EE9E-92C246A4DA85}"/>
              </a:ext>
            </a:extLst>
          </p:cNvPr>
          <p:cNvSpPr>
            <a:spLocks noGrp="1"/>
          </p:cNvSpPr>
          <p:nvPr>
            <p:ph type="ftr" sz="quarter" idx="18"/>
          </p:nvPr>
        </p:nvSpPr>
        <p:spPr>
          <a:xfrm>
            <a:off x="287963" y="6408000"/>
            <a:ext cx="2477765" cy="190500"/>
          </a:xfrm>
        </p:spPr>
        <p:txBody>
          <a:bodyPr/>
          <a:lstStyle/>
          <a:p>
            <a:endParaRPr lang="en-US"/>
          </a:p>
        </p:txBody>
      </p:sp>
      <p:sp>
        <p:nvSpPr>
          <p:cNvPr id="8" name="Slide Number">
            <a:extLst>
              <a:ext uri="{FF2B5EF4-FFF2-40B4-BE49-F238E27FC236}">
                <a16:creationId xmlns:a16="http://schemas.microsoft.com/office/drawing/2014/main" id="{3FBFB86A-A7DC-B54C-4EEC-B69E1897903E}"/>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514302812"/>
      </p:ext>
    </p:extLst>
  </p:cSld>
  <p:clrMapOvr>
    <a:masterClrMapping/>
  </p:clrMapOvr>
  <p:transition spd="med"/>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600"/>
            <a:ext cx="2474590" cy="76279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762794"/>
          </a:xfrm>
          <a:prstGeom prst="rect">
            <a:avLst/>
          </a:prstGeom>
        </p:spPr>
        <p:txBody>
          <a:bodyPr/>
          <a:lstStyle>
            <a:lvl1pPr>
              <a:lnSpc>
                <a:spcPct val="100000"/>
              </a:lnSpc>
              <a:spcBef>
                <a:spcPts val="0"/>
              </a:spcBef>
              <a:defRPr sz="2200" b="0" i="0">
                <a:solidFill>
                  <a:schemeClr val="tx1"/>
                </a:solidFill>
                <a:latin typeface="IBM Plex Sans Light" panose="020B0403050203000203" pitchFamily="34" charset="0"/>
              </a:defRPr>
            </a:lvl1pPr>
            <a:lvl2pPr marL="127990" indent="-127990">
              <a:lnSpc>
                <a:spcPct val="100000"/>
              </a:lnSpc>
              <a:spcBef>
                <a:spcPts val="0"/>
              </a:spcBef>
              <a:defRPr sz="2200" b="0" i="0">
                <a:solidFill>
                  <a:schemeClr val="tx1"/>
                </a:solidFill>
                <a:latin typeface="IBM Plex Sans Light" panose="020B0403050203000203" pitchFamily="34" charset="0"/>
              </a:defRPr>
            </a:lvl2pPr>
            <a:lvl3pPr marL="255981" indent="-127990">
              <a:lnSpc>
                <a:spcPct val="100000"/>
              </a:lnSpc>
              <a:spcBef>
                <a:spcPts val="0"/>
              </a:spcBef>
              <a:defRPr sz="2200" b="0" i="0">
                <a:solidFill>
                  <a:schemeClr val="tx1"/>
                </a:solidFill>
                <a:latin typeface="IBM Plex Sans Light" panose="020B0403050203000203" pitchFamily="34" charset="0"/>
              </a:defRPr>
            </a:lvl3pPr>
            <a:lvl4pPr marL="383971" indent="-127990">
              <a:lnSpc>
                <a:spcPct val="100000"/>
              </a:lnSpc>
              <a:spcBef>
                <a:spcPts val="0"/>
              </a:spcBef>
              <a:defRPr sz="2200" b="0" i="0">
                <a:solidFill>
                  <a:schemeClr val="tx1"/>
                </a:solidFill>
                <a:latin typeface="IBM Plex Sans Light" panose="020B0403050203000203" pitchFamily="34" charset="0"/>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8" cy="762794"/>
          </a:xfrm>
          <a:prstGeom prst="rect">
            <a:avLst/>
          </a:prstGeom>
        </p:spPr>
        <p:txBody>
          <a:bodyPr/>
          <a:lstStyle>
            <a:lvl1pPr>
              <a:lnSpc>
                <a:spcPct val="100000"/>
              </a:lnSpc>
              <a:spcBef>
                <a:spcPts val="0"/>
              </a:spcBef>
              <a:defRPr sz="2200" b="0" i="0">
                <a:solidFill>
                  <a:schemeClr val="tx1"/>
                </a:solidFill>
                <a:latin typeface="IBM Plex Sans Light" panose="020B0403050203000203" pitchFamily="34" charset="0"/>
              </a:defRPr>
            </a:lvl1pPr>
            <a:lvl2pPr marL="127990" indent="-127990">
              <a:lnSpc>
                <a:spcPct val="100000"/>
              </a:lnSpc>
              <a:spcBef>
                <a:spcPts val="0"/>
              </a:spcBef>
              <a:defRPr sz="2200" b="0" i="0">
                <a:solidFill>
                  <a:schemeClr val="tx1"/>
                </a:solidFill>
                <a:latin typeface="IBM Plex Sans Light" panose="020B0403050203000203" pitchFamily="34" charset="0"/>
              </a:defRPr>
            </a:lvl2pPr>
            <a:lvl3pPr marL="255981" indent="-127990">
              <a:lnSpc>
                <a:spcPct val="100000"/>
              </a:lnSpc>
              <a:spcBef>
                <a:spcPts val="0"/>
              </a:spcBef>
              <a:defRPr sz="2200" b="0" i="0">
                <a:solidFill>
                  <a:schemeClr val="tx1"/>
                </a:solidFill>
                <a:latin typeface="IBM Plex Sans Light" panose="020B0403050203000203" pitchFamily="34" charset="0"/>
              </a:defRPr>
            </a:lvl3pPr>
            <a:lvl4pPr marL="383971" indent="-127990">
              <a:lnSpc>
                <a:spcPct val="100000"/>
              </a:lnSpc>
              <a:spcBef>
                <a:spcPts val="0"/>
              </a:spcBef>
              <a:defRPr sz="2200" b="0" i="0">
                <a:solidFill>
                  <a:schemeClr val="tx1"/>
                </a:solidFill>
                <a:latin typeface="IBM Plex Sans Light" panose="020B0403050203000203" pitchFamily="34" charset="0"/>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762794"/>
          </a:xfrm>
          <a:prstGeom prst="rect">
            <a:avLst/>
          </a:prstGeom>
        </p:spPr>
        <p:txBody>
          <a:bodyPr/>
          <a:lstStyle>
            <a:lvl1pPr>
              <a:lnSpc>
                <a:spcPct val="100000"/>
              </a:lnSpc>
              <a:spcBef>
                <a:spcPts val="0"/>
              </a:spcBef>
              <a:defRPr sz="2200" b="0" i="0">
                <a:solidFill>
                  <a:schemeClr val="tx1"/>
                </a:solidFill>
                <a:latin typeface="IBM Plex Sans Light" panose="020B0403050203000203" pitchFamily="34" charset="0"/>
              </a:defRPr>
            </a:lvl1pPr>
            <a:lvl2pPr marL="127990" indent="-127990">
              <a:lnSpc>
                <a:spcPct val="100000"/>
              </a:lnSpc>
              <a:spcBef>
                <a:spcPts val="0"/>
              </a:spcBef>
              <a:defRPr sz="2200" b="0" i="0">
                <a:solidFill>
                  <a:schemeClr val="tx1"/>
                </a:solidFill>
                <a:latin typeface="IBM Plex Sans Light" panose="020B0403050203000203" pitchFamily="34" charset="0"/>
              </a:defRPr>
            </a:lvl2pPr>
            <a:lvl3pPr marL="255981" indent="-127990">
              <a:lnSpc>
                <a:spcPct val="100000"/>
              </a:lnSpc>
              <a:spcBef>
                <a:spcPts val="0"/>
              </a:spcBef>
              <a:defRPr sz="2200" b="0" i="0">
                <a:solidFill>
                  <a:schemeClr val="tx1"/>
                </a:solidFill>
                <a:latin typeface="IBM Plex Sans Light" panose="020B0403050203000203" pitchFamily="34" charset="0"/>
              </a:defRPr>
            </a:lvl3pPr>
            <a:lvl4pPr marL="383971" indent="-127990">
              <a:lnSpc>
                <a:spcPct val="100000"/>
              </a:lnSpc>
              <a:spcBef>
                <a:spcPts val="0"/>
              </a:spcBef>
              <a:defRPr sz="2200" b="0" i="0">
                <a:solidFill>
                  <a:schemeClr val="tx1"/>
                </a:solidFill>
                <a:latin typeface="IBM Plex Sans Light" panose="020B0403050203000203" pitchFamily="34" charset="0"/>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84125" y="6402118"/>
            <a:ext cx="2477765" cy="190500"/>
          </a:xfrm>
        </p:spPr>
        <p:txBody>
          <a:bodyPr/>
          <a:lstStyle>
            <a:lvl1pPr>
              <a:defRPr b="0" i="0">
                <a:latin typeface="IBM Plex Sans Light" panose="020B0403050203000203" pitchFamily="34" charset="0"/>
              </a:defRPr>
            </a:lvl1pPr>
          </a:lstStyle>
          <a:p>
            <a:endParaRPr lang="en-US"/>
          </a:p>
        </p:txBody>
      </p:sp>
      <p:sp>
        <p:nvSpPr>
          <p:cNvPr id="16" name="Text Placeholder 6">
            <a:extLst>
              <a:ext uri="{FF2B5EF4-FFF2-40B4-BE49-F238E27FC236}">
                <a16:creationId xmlns:a16="http://schemas.microsoft.com/office/drawing/2014/main" id="{F4F49B39-EB32-770F-5644-D3D938710775}"/>
              </a:ext>
            </a:extLst>
          </p:cNvPr>
          <p:cNvSpPr>
            <a:spLocks noGrp="1"/>
          </p:cNvSpPr>
          <p:nvPr>
            <p:ph type="body" sz="quarter" idx="10"/>
          </p:nvPr>
        </p:nvSpPr>
        <p:spPr>
          <a:xfrm>
            <a:off x="3333316" y="1714500"/>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6">
            <a:extLst>
              <a:ext uri="{FF2B5EF4-FFF2-40B4-BE49-F238E27FC236}">
                <a16:creationId xmlns:a16="http://schemas.microsoft.com/office/drawing/2014/main" id="{5D25B5E4-5513-DB6F-04BF-4A2A85E85763}"/>
              </a:ext>
            </a:extLst>
          </p:cNvPr>
          <p:cNvSpPr>
            <a:spLocks noGrp="1"/>
          </p:cNvSpPr>
          <p:nvPr>
            <p:ph type="body" sz="quarter" idx="20"/>
          </p:nvPr>
        </p:nvSpPr>
        <p:spPr>
          <a:xfrm>
            <a:off x="6368781"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6">
            <a:extLst>
              <a:ext uri="{FF2B5EF4-FFF2-40B4-BE49-F238E27FC236}">
                <a16:creationId xmlns:a16="http://schemas.microsoft.com/office/drawing/2014/main" id="{EC86775E-92B8-3897-2210-2993F34BA628}"/>
              </a:ext>
            </a:extLst>
          </p:cNvPr>
          <p:cNvSpPr>
            <a:spLocks noGrp="1"/>
          </p:cNvSpPr>
          <p:nvPr>
            <p:ph type="body" sz="quarter" idx="21"/>
          </p:nvPr>
        </p:nvSpPr>
        <p:spPr>
          <a:xfrm>
            <a:off x="9428523" y="1714501"/>
            <a:ext cx="2481638" cy="428625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663895187"/>
      </p:ext>
    </p:extLst>
  </p:cSld>
  <p:clrMapOvr>
    <a:masterClrMapping/>
  </p:clrMapOvr>
  <p:transition spd="med"/>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Title, plain">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Title 1">
            <a:extLst>
              <a:ext uri="{FF2B5EF4-FFF2-40B4-BE49-F238E27FC236}">
                <a16:creationId xmlns:a16="http://schemas.microsoft.com/office/drawing/2014/main" id="{6733F7B7-5AD6-1E43-4FD9-3C700AC2CBD0}"/>
              </a:ext>
            </a:extLst>
          </p:cNvPr>
          <p:cNvSpPr>
            <a:spLocks noGrp="1"/>
          </p:cNvSpPr>
          <p:nvPr>
            <p:ph type="title"/>
          </p:nvPr>
        </p:nvSpPr>
        <p:spPr>
          <a:xfrm>
            <a:off x="269212" y="191937"/>
            <a:ext cx="7345034" cy="1429544"/>
          </a:xfrm>
        </p:spPr>
        <p:txBody>
          <a:bodyPr rIns="457200"/>
          <a:lstStyle>
            <a:lvl1pPr>
              <a:lnSpc>
                <a:spcPct val="100000"/>
              </a:lnSpc>
              <a:defRPr sz="3199">
                <a:solidFill>
                  <a:schemeClr val="tx2"/>
                </a:solidFill>
              </a:defRPr>
            </a:lvl1pPr>
          </a:lstStyle>
          <a:p>
            <a:r>
              <a:rPr lang="en-US"/>
              <a:t>Click to edit Master title style</a:t>
            </a:r>
          </a:p>
        </p:txBody>
      </p:sp>
      <p:sp>
        <p:nvSpPr>
          <p:cNvPr id="5" name="Footer Placeholder 1">
            <a:extLst>
              <a:ext uri="{FF2B5EF4-FFF2-40B4-BE49-F238E27FC236}">
                <a16:creationId xmlns:a16="http://schemas.microsoft.com/office/drawing/2014/main" id="{99C054CF-9453-850A-6B65-8421B4607965}"/>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 2024 IBM Corporation</a:t>
            </a:r>
          </a:p>
        </p:txBody>
      </p:sp>
    </p:spTree>
    <p:extLst>
      <p:ext uri="{BB962C8B-B14F-4D97-AF65-F5344CB8AC3E}">
        <p14:creationId xmlns:p14="http://schemas.microsoft.com/office/powerpoint/2010/main" val="1991464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Boxes, 6 stack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600"/>
            <a:ext cx="2474590" cy="2286794"/>
          </a:xfrm>
        </p:spPr>
        <p:txBody>
          <a:bodyPr/>
          <a:lstStyle>
            <a:lvl1pPr>
              <a:lnSpc>
                <a:spcPct val="100000"/>
              </a:lnSpc>
              <a:defRPr sz="3199" b="0" i="0">
                <a:solidFill>
                  <a:schemeClr val="tx2"/>
                </a:solidFill>
                <a:latin typeface="IBM Plex Sans Light" panose="020B0403050203000203"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lvl1pPr>
              <a:defRPr b="0" i="0">
                <a:latin typeface="IBM Plex Sans Light" panose="020B0403050203000203" pitchFamily="34" charset="0"/>
              </a:defRPr>
            </a:lvl1pPr>
          </a:lstStyle>
          <a:p>
            <a:endParaRPr lang="en-US"/>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19" name="Text Placeholder 6">
            <a:extLst>
              <a:ext uri="{FF2B5EF4-FFF2-40B4-BE49-F238E27FC236}">
                <a16:creationId xmlns:a16="http://schemas.microsoft.com/office/drawing/2014/main" id="{B74FE312-96C3-0801-8AFE-48C53A3855EF}"/>
              </a:ext>
            </a:extLst>
          </p:cNvPr>
          <p:cNvSpPr>
            <a:spLocks noGrp="1"/>
          </p:cNvSpPr>
          <p:nvPr>
            <p:ph type="body" sz="quarter" idx="10"/>
          </p:nvPr>
        </p:nvSpPr>
        <p:spPr>
          <a:xfrm>
            <a:off x="6363186"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6">
            <a:extLst>
              <a:ext uri="{FF2B5EF4-FFF2-40B4-BE49-F238E27FC236}">
                <a16:creationId xmlns:a16="http://schemas.microsoft.com/office/drawing/2014/main" id="{BFE072FD-410A-B1CF-4BD5-EFE459133BB6}"/>
              </a:ext>
            </a:extLst>
          </p:cNvPr>
          <p:cNvSpPr>
            <a:spLocks noGrp="1"/>
          </p:cNvSpPr>
          <p:nvPr>
            <p:ph type="body" sz="quarter" idx="23"/>
          </p:nvPr>
        </p:nvSpPr>
        <p:spPr>
          <a:xfrm>
            <a:off x="9398651" y="288037"/>
            <a:ext cx="2481638" cy="2572543"/>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6">
            <a:extLst>
              <a:ext uri="{FF2B5EF4-FFF2-40B4-BE49-F238E27FC236}">
                <a16:creationId xmlns:a16="http://schemas.microsoft.com/office/drawing/2014/main" id="{1C0822F6-B969-1E92-CC74-0CBB1126A9C8}"/>
              </a:ext>
            </a:extLst>
          </p:cNvPr>
          <p:cNvSpPr>
            <a:spLocks noGrp="1"/>
          </p:cNvSpPr>
          <p:nvPr>
            <p:ph type="body" sz="quarter" idx="24"/>
          </p:nvPr>
        </p:nvSpPr>
        <p:spPr>
          <a:xfrm>
            <a:off x="6363186"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6">
            <a:extLst>
              <a:ext uri="{FF2B5EF4-FFF2-40B4-BE49-F238E27FC236}">
                <a16:creationId xmlns:a16="http://schemas.microsoft.com/office/drawing/2014/main" id="{F9AB4B51-7CBC-4B83-F837-82517C33FEBA}"/>
              </a:ext>
            </a:extLst>
          </p:cNvPr>
          <p:cNvSpPr>
            <a:spLocks noGrp="1"/>
          </p:cNvSpPr>
          <p:nvPr>
            <p:ph type="body" sz="quarter" idx="25"/>
          </p:nvPr>
        </p:nvSpPr>
        <p:spPr>
          <a:xfrm>
            <a:off x="9398651" y="3333750"/>
            <a:ext cx="2481638" cy="2476500"/>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ext Placeholder 6">
            <a:extLst>
              <a:ext uri="{FF2B5EF4-FFF2-40B4-BE49-F238E27FC236}">
                <a16:creationId xmlns:a16="http://schemas.microsoft.com/office/drawing/2014/main" id="{4AB00072-45AF-510F-C146-BAC3B20406FD}"/>
              </a:ext>
            </a:extLst>
          </p:cNvPr>
          <p:cNvSpPr>
            <a:spLocks noGrp="1"/>
          </p:cNvSpPr>
          <p:nvPr>
            <p:ph type="body" sz="quarter" idx="26"/>
          </p:nvPr>
        </p:nvSpPr>
        <p:spPr>
          <a:xfrm>
            <a:off x="3332555" y="288036"/>
            <a:ext cx="2481638" cy="2572542"/>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Text Placeholder 6">
            <a:extLst>
              <a:ext uri="{FF2B5EF4-FFF2-40B4-BE49-F238E27FC236}">
                <a16:creationId xmlns:a16="http://schemas.microsoft.com/office/drawing/2014/main" id="{C4503F3E-D426-7E9E-BDBD-CDA2B731934A}"/>
              </a:ext>
            </a:extLst>
          </p:cNvPr>
          <p:cNvSpPr>
            <a:spLocks noGrp="1"/>
          </p:cNvSpPr>
          <p:nvPr>
            <p:ph type="body" sz="quarter" idx="27"/>
          </p:nvPr>
        </p:nvSpPr>
        <p:spPr>
          <a:xfrm>
            <a:off x="3332555" y="3333749"/>
            <a:ext cx="2481638" cy="2476499"/>
          </a:xfrm>
          <a:prstGeom prst="rect">
            <a:avLst/>
          </a:prstGeom>
        </p:spPr>
        <p:txBody>
          <a:bodyPr/>
          <a:lstStyle>
            <a:lvl1pPr defTabSz="580528">
              <a:lnSpc>
                <a:spcPct val="100000"/>
              </a:lnSpc>
              <a:spcBef>
                <a:spcPts val="0"/>
              </a:spcBef>
              <a:defRPr sz="1800" b="0" i="0">
                <a:solidFill>
                  <a:schemeClr val="tx1"/>
                </a:solidFill>
                <a:latin typeface="IBM Plex Sans Light" panose="020B0403050203000203" pitchFamily="34" charset="0"/>
              </a:defRPr>
            </a:lvl1pPr>
            <a:lvl2pPr defTabSz="580528">
              <a:lnSpc>
                <a:spcPct val="100000"/>
              </a:lnSpc>
              <a:spcBef>
                <a:spcPts val="0"/>
              </a:spcBef>
              <a:defRPr sz="1800" b="0" i="0">
                <a:solidFill>
                  <a:schemeClr val="tx1"/>
                </a:solidFill>
                <a:latin typeface="IBM Plex Sans Light" panose="020B0403050203000203" pitchFamily="34" charset="0"/>
              </a:defRPr>
            </a:lvl2pPr>
            <a:lvl3pPr defTabSz="580528">
              <a:lnSpc>
                <a:spcPct val="100000"/>
              </a:lnSpc>
              <a:spcBef>
                <a:spcPts val="0"/>
              </a:spcBef>
              <a:defRPr sz="1800" b="0" i="0">
                <a:solidFill>
                  <a:schemeClr val="tx1"/>
                </a:solidFill>
                <a:latin typeface="IBM Plex Sans Light" panose="020B0403050203000203" pitchFamily="34" charset="0"/>
              </a:defRPr>
            </a:lvl3pPr>
            <a:lvl4pPr defTabSz="580528">
              <a:lnSpc>
                <a:spcPct val="100000"/>
              </a:lnSpc>
              <a:spcBef>
                <a:spcPts val="0"/>
              </a:spcBef>
              <a:defRPr sz="1800" b="0" i="0">
                <a:solidFill>
                  <a:schemeClr val="tx1"/>
                </a:solidFill>
                <a:latin typeface="IBM Plex Sans Light" panose="020B0403050203000203" pitchFamily="34" charset="0"/>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723359249"/>
      </p:ext>
    </p:extLst>
  </p:cSld>
  <p:clrMapOvr>
    <a:masterClrMapping/>
  </p:clrMapOvr>
  <p:transition spd="med"/>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Left side text, white+cyan">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FF199AD-99F5-8A31-D55D-6EA7FE65BF0B}"/>
              </a:ext>
            </a:extLst>
          </p:cNvPr>
          <p:cNvSpPr>
            <a:spLocks noGrp="1"/>
          </p:cNvSpPr>
          <p:nvPr>
            <p:ph type="sldNum" sz="quarter" idx="10"/>
          </p:nvPr>
        </p:nvSpPr>
        <p:spPr/>
        <p:txBody>
          <a:bodyPr/>
          <a:lstStyle/>
          <a:p>
            <a:fld id="{86CB4B4D-7CA3-9044-876B-883B54F8677D}" type="slidenum">
              <a:rPr lang="en-US" smtClean="0"/>
              <a:pPr/>
              <a:t>‹#›</a:t>
            </a:fld>
            <a:endParaRPr lang="en-US"/>
          </a:p>
        </p:txBody>
      </p:sp>
      <p:sp>
        <p:nvSpPr>
          <p:cNvPr id="7" name="Text Placeholder 4">
            <a:extLst>
              <a:ext uri="{FF2B5EF4-FFF2-40B4-BE49-F238E27FC236}">
                <a16:creationId xmlns:a16="http://schemas.microsoft.com/office/drawing/2014/main" id="{B46CC3A1-4537-FC29-D1E2-9858E5E2B37B}"/>
              </a:ext>
            </a:extLst>
          </p:cNvPr>
          <p:cNvSpPr>
            <a:spLocks noGrp="1"/>
          </p:cNvSpPr>
          <p:nvPr>
            <p:ph type="body" sz="quarter" idx="12"/>
          </p:nvPr>
        </p:nvSpPr>
        <p:spPr>
          <a:xfrm>
            <a:off x="287999" y="1717768"/>
            <a:ext cx="2473891" cy="42862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itle 1">
            <a:extLst>
              <a:ext uri="{FF2B5EF4-FFF2-40B4-BE49-F238E27FC236}">
                <a16:creationId xmlns:a16="http://schemas.microsoft.com/office/drawing/2014/main" id="{D29BAF6E-9877-855F-9A5E-2AFA760A83B3}"/>
              </a:ext>
            </a:extLst>
          </p:cNvPr>
          <p:cNvSpPr>
            <a:spLocks noGrp="1"/>
          </p:cNvSpPr>
          <p:nvPr>
            <p:ph type="title"/>
          </p:nvPr>
        </p:nvSpPr>
        <p:spPr>
          <a:xfrm>
            <a:off x="269212" y="191937"/>
            <a:ext cx="2492678" cy="1429544"/>
          </a:xfrm>
        </p:spPr>
        <p:txBody>
          <a:bodyPr rIns="457200"/>
          <a:lstStyle>
            <a:lvl1pPr>
              <a:lnSpc>
                <a:spcPct val="100000"/>
              </a:lnSpc>
              <a:defRPr sz="3199">
                <a:solidFill>
                  <a:schemeClr val="tx2"/>
                </a:solidFill>
              </a:defRPr>
            </a:lvl1pPr>
          </a:lstStyle>
          <a:p>
            <a:r>
              <a:rPr lang="en-US"/>
              <a:t>Click to edit Master title style</a:t>
            </a:r>
          </a:p>
        </p:txBody>
      </p:sp>
      <p:sp>
        <p:nvSpPr>
          <p:cNvPr id="9" name="Footer Placeholder 1">
            <a:extLst>
              <a:ext uri="{FF2B5EF4-FFF2-40B4-BE49-F238E27FC236}">
                <a16:creationId xmlns:a16="http://schemas.microsoft.com/office/drawing/2014/main" id="{A0039F55-4DA1-0F76-E4F4-FC3FFABD733D}"/>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
        <p:nvSpPr>
          <p:cNvPr id="2" name="Rectangle 1">
            <a:extLst>
              <a:ext uri="{FF2B5EF4-FFF2-40B4-BE49-F238E27FC236}">
                <a16:creationId xmlns:a16="http://schemas.microsoft.com/office/drawing/2014/main" id="{32BE503C-A69C-5EFC-BA7A-97308B436F87}"/>
              </a:ext>
            </a:extLst>
          </p:cNvPr>
          <p:cNvSpPr/>
          <p:nvPr userDrawn="1"/>
        </p:nvSpPr>
        <p:spPr bwMode="auto">
          <a:xfrm>
            <a:off x="3047603" y="0"/>
            <a:ext cx="9144397" cy="6858001"/>
          </a:xfrm>
          <a:prstGeom prst="rect">
            <a:avLst/>
          </a:prstGeom>
          <a:solidFill>
            <a:schemeClr val="bg2"/>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60952" tIns="60952" rIns="60952" bIns="60952" numCol="1" rtlCol="0" anchor="t" anchorCtr="0" compatLnSpc="1">
            <a:prstTxWarp prst="textNoShape">
              <a:avLst/>
            </a:prstTxWarp>
          </a:bodyPr>
          <a:lstStyle/>
          <a:p>
            <a:pPr defTabSz="609463" fontAlgn="base">
              <a:spcBef>
                <a:spcPct val="0"/>
              </a:spcBef>
              <a:spcAft>
                <a:spcPct val="0"/>
              </a:spcAft>
            </a:pPr>
            <a:endParaRPr lang="en-US" sz="933">
              <a:solidFill>
                <a:schemeClr val="bg1"/>
              </a:solidFill>
            </a:endParaRPr>
          </a:p>
        </p:txBody>
      </p:sp>
      <p:sp>
        <p:nvSpPr>
          <p:cNvPr id="4" name="Slide Number Placeholder 2">
            <a:extLst>
              <a:ext uri="{FF2B5EF4-FFF2-40B4-BE49-F238E27FC236}">
                <a16:creationId xmlns:a16="http://schemas.microsoft.com/office/drawing/2014/main" id="{BDA953EC-0A9D-D7C9-44B5-8EE8D209213E}"/>
              </a:ext>
            </a:extLst>
          </p:cNvPr>
          <p:cNvSpPr txBox="1">
            <a:spLocks/>
          </p:cNvSpPr>
          <p:nvPr userDrawn="1"/>
        </p:nvSpPr>
        <p:spPr>
          <a:xfrm>
            <a:off x="11770048" y="6469507"/>
            <a:ext cx="134652" cy="123111"/>
          </a:xfrm>
          <a:prstGeom prst="rect">
            <a:avLst/>
          </a:prstGeom>
          <a:ln w="12700">
            <a:miter lim="400000"/>
          </a:ln>
        </p:spPr>
        <p:txBody>
          <a:bodyPr wrap="none" lIns="0" tIns="0" rIns="0" bIns="0" anchor="b" anchorCtr="0">
            <a:spAutoFit/>
          </a:bodyPr>
          <a:lstStyle>
            <a:defPPr>
              <a:defRPr lang="en-US"/>
            </a:defPPr>
            <a:lvl1pPr marL="0" algn="r" defTabSz="1829379" rtl="0" eaLnBrk="1" latinLnBrk="0" hangingPunct="1">
              <a:defRPr sz="1600" b="0" i="0" kern="1200">
                <a:solidFill>
                  <a:schemeClr val="tx1"/>
                </a:solidFill>
                <a:latin typeface="IBM Plex Sans" panose="020B0503050203000203" pitchFamily="34" charset="0"/>
                <a:ea typeface="+mn-ea"/>
                <a:cs typeface="+mn-cs"/>
                <a:sym typeface="IBM Plex San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fld id="{86CB4B4D-7CA3-9044-876B-883B54F8677D}" type="slidenum">
              <a:rPr lang="en-US" sz="800" smtClean="0"/>
              <a:pPr/>
              <a:t>‹#›</a:t>
            </a:fld>
            <a:endParaRPr lang="en-US" sz="800"/>
          </a:p>
        </p:txBody>
      </p:sp>
    </p:spTree>
    <p:extLst>
      <p:ext uri="{BB962C8B-B14F-4D97-AF65-F5344CB8AC3E}">
        <p14:creationId xmlns:p14="http://schemas.microsoft.com/office/powerpoint/2010/main" val="1248129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1_Blank slid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3913695"/>
      </p:ext>
    </p:extLst>
  </p:cSld>
  <p:clrMapOvr>
    <a:masterClrMapping/>
  </p:clrMapOvr>
  <p:transition spd="med"/>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3524"/>
          </a:xfrm>
        </p:spPr>
        <p:txBody>
          <a:bodyPr/>
          <a:lstStyle>
            <a:lvl1pPr>
              <a:lnSpc>
                <a:spcPct val="110000"/>
              </a:lnSpc>
              <a:defRPr sz="1400">
                <a:solidFill>
                  <a:schemeClr val="tx2"/>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11769264" y="6469419"/>
            <a:ext cx="135436" cy="123111"/>
          </a:xfrm>
          <a:prstGeom prst="rect">
            <a:avLst/>
          </a:prstGeom>
          <a:ln w="12700">
            <a:miter lim="400000"/>
          </a:ln>
        </p:spPr>
        <p:txBody>
          <a:bodyPr wrap="squar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298603328"/>
      </p:ext>
    </p:extLst>
  </p:cSld>
  <p:clrMapOvr>
    <a:masterClrMapping/>
  </p:clrMapOvr>
  <p:transition spd="med"/>
</p:sldLayout>
</file>

<file path=ppt/slideLayouts/slideLayout646.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endParaRPr lang="en-US"/>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511615314"/>
      </p:ext>
    </p:extLst>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p:cSld name="DEFAUL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4181063"/>
      </p:ext>
    </p:extLst>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userDrawn="1">
  <p:cSld name="2_Boxes, 4 horizontal, small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8002" y="192600"/>
            <a:ext cx="2477765" cy="2286794"/>
          </a:xfrm>
        </p:spPr>
        <p:txBody>
          <a:bodyPr/>
          <a:lstStyle>
            <a:lvl1pPr>
              <a:lnSpc>
                <a:spcPct val="100000"/>
              </a:lnSpc>
              <a:defRPr sz="2200" b="0" i="0">
                <a:solidFill>
                  <a:schemeClr val="tx2"/>
                </a:solidFill>
                <a:latin typeface="IBM Plex Sans Light" panose="020B0403050203000203" pitchFamily="34" charset="0"/>
              </a:defRPr>
            </a:lvl1pPr>
          </a:lstStyle>
          <a:p>
            <a:r>
              <a:rPr lang="en-US"/>
              <a:t>Click to edit Master title style</a:t>
            </a:r>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11769264" y="6469422"/>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7" name="Text Placeholder 6">
            <a:extLst>
              <a:ext uri="{FF2B5EF4-FFF2-40B4-BE49-F238E27FC236}">
                <a16:creationId xmlns:a16="http://schemas.microsoft.com/office/drawing/2014/main" id="{3E32141B-6D8C-ADDD-8D24-D2B360381383}"/>
              </a:ext>
            </a:extLst>
          </p:cNvPr>
          <p:cNvSpPr>
            <a:spLocks noGrp="1"/>
          </p:cNvSpPr>
          <p:nvPr>
            <p:ph type="body" sz="quarter" idx="23"/>
          </p:nvPr>
        </p:nvSpPr>
        <p:spPr>
          <a:xfrm>
            <a:off x="6363186" y="3328419"/>
            <a:ext cx="2481638" cy="2667125"/>
          </a:xfrm>
          <a:prstGeom prst="rect">
            <a:avLst/>
          </a:prstGeom>
        </p:spPr>
        <p:txBody>
          <a:bodyPr/>
          <a:lstStyle>
            <a:lvl1pPr defTabSz="580180">
              <a:lnSpc>
                <a:spcPct val="100000"/>
              </a:lnSpc>
              <a:spcBef>
                <a:spcPts val="0"/>
              </a:spcBef>
              <a:defRPr sz="1800" b="0" i="0">
                <a:solidFill>
                  <a:schemeClr val="tx1"/>
                </a:solidFill>
                <a:latin typeface="IBM Plex Sans Light" panose="020B0403050203000203" pitchFamily="34" charset="0"/>
              </a:defRPr>
            </a:lvl1pPr>
            <a:lvl2pPr defTabSz="580180">
              <a:lnSpc>
                <a:spcPct val="100000"/>
              </a:lnSpc>
              <a:spcBef>
                <a:spcPts val="0"/>
              </a:spcBef>
              <a:defRPr sz="1800" b="0" i="0">
                <a:solidFill>
                  <a:schemeClr val="tx1"/>
                </a:solidFill>
                <a:latin typeface="IBM Plex Sans Light" panose="020B0403050203000203" pitchFamily="34" charset="0"/>
              </a:defRPr>
            </a:lvl2pPr>
            <a:lvl3pPr defTabSz="580180">
              <a:lnSpc>
                <a:spcPct val="100000"/>
              </a:lnSpc>
              <a:spcBef>
                <a:spcPts val="0"/>
              </a:spcBef>
              <a:defRPr sz="1800" b="0" i="0">
                <a:solidFill>
                  <a:schemeClr val="tx1"/>
                </a:solidFill>
                <a:latin typeface="IBM Plex Sans Light" panose="020B0403050203000203" pitchFamily="34" charset="0"/>
              </a:defRPr>
            </a:lvl3pPr>
            <a:lvl4pPr defTabSz="580180">
              <a:lnSpc>
                <a:spcPct val="100000"/>
              </a:lnSpc>
              <a:spcBef>
                <a:spcPts val="0"/>
              </a:spcBef>
              <a:defRPr sz="1800" b="0" i="0">
                <a:solidFill>
                  <a:schemeClr val="tx1"/>
                </a:solidFill>
                <a:latin typeface="IBM Plex Sans Light" panose="020B0403050203000203" pitchFamily="34" charset="0"/>
              </a:defRPr>
            </a:lvl4pPr>
            <a:lvl5pPr defTabSz="580180">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7DBD6A3D-FB96-6A97-1F58-F61F03D37691}"/>
              </a:ext>
            </a:extLst>
          </p:cNvPr>
          <p:cNvSpPr>
            <a:spLocks noGrp="1"/>
          </p:cNvSpPr>
          <p:nvPr>
            <p:ph type="body" sz="quarter" idx="24"/>
          </p:nvPr>
        </p:nvSpPr>
        <p:spPr>
          <a:xfrm>
            <a:off x="9398651" y="3328419"/>
            <a:ext cx="2481638" cy="2667125"/>
          </a:xfrm>
          <a:prstGeom prst="rect">
            <a:avLst/>
          </a:prstGeom>
        </p:spPr>
        <p:txBody>
          <a:bodyPr/>
          <a:lstStyle>
            <a:lvl1pPr defTabSz="580180">
              <a:lnSpc>
                <a:spcPct val="100000"/>
              </a:lnSpc>
              <a:spcBef>
                <a:spcPts val="0"/>
              </a:spcBef>
              <a:defRPr sz="1800" b="0" i="0">
                <a:solidFill>
                  <a:schemeClr val="tx1"/>
                </a:solidFill>
                <a:latin typeface="IBM Plex Sans Light" panose="020B0403050203000203" pitchFamily="34" charset="0"/>
              </a:defRPr>
            </a:lvl1pPr>
            <a:lvl2pPr defTabSz="580180">
              <a:lnSpc>
                <a:spcPct val="100000"/>
              </a:lnSpc>
              <a:spcBef>
                <a:spcPts val="0"/>
              </a:spcBef>
              <a:defRPr sz="1800" b="0" i="0">
                <a:solidFill>
                  <a:schemeClr val="tx1"/>
                </a:solidFill>
                <a:latin typeface="IBM Plex Sans Light" panose="020B0403050203000203" pitchFamily="34" charset="0"/>
              </a:defRPr>
            </a:lvl2pPr>
            <a:lvl3pPr defTabSz="580180">
              <a:lnSpc>
                <a:spcPct val="100000"/>
              </a:lnSpc>
              <a:spcBef>
                <a:spcPts val="0"/>
              </a:spcBef>
              <a:defRPr sz="1800" b="0" i="0">
                <a:solidFill>
                  <a:schemeClr val="tx1"/>
                </a:solidFill>
                <a:latin typeface="IBM Plex Sans Light" panose="020B0403050203000203" pitchFamily="34" charset="0"/>
              </a:defRPr>
            </a:lvl3pPr>
            <a:lvl4pPr defTabSz="580180">
              <a:lnSpc>
                <a:spcPct val="100000"/>
              </a:lnSpc>
              <a:spcBef>
                <a:spcPts val="0"/>
              </a:spcBef>
              <a:defRPr sz="1800" b="0" i="0">
                <a:solidFill>
                  <a:schemeClr val="tx1"/>
                </a:solidFill>
                <a:latin typeface="IBM Plex Sans Light" panose="020B0403050203000203" pitchFamily="34" charset="0"/>
              </a:defRPr>
            </a:lvl4pPr>
            <a:lvl5pPr defTabSz="580180">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B54BA88F-5BD8-839D-33E8-DAC02350ACA1}"/>
              </a:ext>
            </a:extLst>
          </p:cNvPr>
          <p:cNvSpPr>
            <a:spLocks noGrp="1"/>
          </p:cNvSpPr>
          <p:nvPr>
            <p:ph type="body" sz="quarter" idx="25"/>
          </p:nvPr>
        </p:nvSpPr>
        <p:spPr>
          <a:xfrm>
            <a:off x="280252" y="3328419"/>
            <a:ext cx="2481638" cy="2667125"/>
          </a:xfrm>
          <a:prstGeom prst="rect">
            <a:avLst/>
          </a:prstGeom>
        </p:spPr>
        <p:txBody>
          <a:bodyPr/>
          <a:lstStyle>
            <a:lvl1pPr defTabSz="580180">
              <a:lnSpc>
                <a:spcPct val="100000"/>
              </a:lnSpc>
              <a:spcBef>
                <a:spcPts val="0"/>
              </a:spcBef>
              <a:defRPr sz="1800" b="0" i="0">
                <a:solidFill>
                  <a:schemeClr val="tx1"/>
                </a:solidFill>
                <a:latin typeface="IBM Plex Sans Light" panose="020B0403050203000203" pitchFamily="34" charset="0"/>
              </a:defRPr>
            </a:lvl1pPr>
            <a:lvl2pPr defTabSz="580180">
              <a:lnSpc>
                <a:spcPct val="100000"/>
              </a:lnSpc>
              <a:spcBef>
                <a:spcPts val="0"/>
              </a:spcBef>
              <a:defRPr sz="1800" b="0" i="0">
                <a:solidFill>
                  <a:schemeClr val="tx1"/>
                </a:solidFill>
                <a:latin typeface="IBM Plex Sans Light" panose="020B0403050203000203" pitchFamily="34" charset="0"/>
              </a:defRPr>
            </a:lvl2pPr>
            <a:lvl3pPr defTabSz="580180">
              <a:lnSpc>
                <a:spcPct val="100000"/>
              </a:lnSpc>
              <a:spcBef>
                <a:spcPts val="0"/>
              </a:spcBef>
              <a:defRPr sz="1800" b="0" i="0">
                <a:solidFill>
                  <a:schemeClr val="tx1"/>
                </a:solidFill>
                <a:latin typeface="IBM Plex Sans Light" panose="020B0403050203000203" pitchFamily="34" charset="0"/>
              </a:defRPr>
            </a:lvl3pPr>
            <a:lvl4pPr defTabSz="580180">
              <a:lnSpc>
                <a:spcPct val="100000"/>
              </a:lnSpc>
              <a:spcBef>
                <a:spcPts val="0"/>
              </a:spcBef>
              <a:defRPr sz="1800" b="0" i="0">
                <a:solidFill>
                  <a:schemeClr val="tx1"/>
                </a:solidFill>
                <a:latin typeface="IBM Plex Sans Light" panose="020B0403050203000203" pitchFamily="34" charset="0"/>
              </a:defRPr>
            </a:lvl4pPr>
            <a:lvl5pPr defTabSz="580180">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5BCA7C7E-4E8C-6B73-007A-21635527B083}"/>
              </a:ext>
            </a:extLst>
          </p:cNvPr>
          <p:cNvSpPr>
            <a:spLocks noGrp="1"/>
          </p:cNvSpPr>
          <p:nvPr>
            <p:ph type="body" sz="quarter" idx="26"/>
          </p:nvPr>
        </p:nvSpPr>
        <p:spPr>
          <a:xfrm>
            <a:off x="3315717" y="3328419"/>
            <a:ext cx="2481638" cy="2667125"/>
          </a:xfrm>
          <a:prstGeom prst="rect">
            <a:avLst/>
          </a:prstGeom>
        </p:spPr>
        <p:txBody>
          <a:bodyPr/>
          <a:lstStyle>
            <a:lvl1pPr defTabSz="580180">
              <a:lnSpc>
                <a:spcPct val="100000"/>
              </a:lnSpc>
              <a:spcBef>
                <a:spcPts val="0"/>
              </a:spcBef>
              <a:defRPr sz="1800" b="0" i="0">
                <a:solidFill>
                  <a:schemeClr val="tx1"/>
                </a:solidFill>
                <a:latin typeface="IBM Plex Sans Light" panose="020B0403050203000203" pitchFamily="34" charset="0"/>
              </a:defRPr>
            </a:lvl1pPr>
            <a:lvl2pPr defTabSz="580180">
              <a:lnSpc>
                <a:spcPct val="100000"/>
              </a:lnSpc>
              <a:spcBef>
                <a:spcPts val="0"/>
              </a:spcBef>
              <a:defRPr sz="1800" b="0" i="0">
                <a:solidFill>
                  <a:schemeClr val="tx1"/>
                </a:solidFill>
                <a:latin typeface="IBM Plex Sans Light" panose="020B0403050203000203" pitchFamily="34" charset="0"/>
              </a:defRPr>
            </a:lvl2pPr>
            <a:lvl3pPr defTabSz="580180">
              <a:lnSpc>
                <a:spcPct val="100000"/>
              </a:lnSpc>
              <a:spcBef>
                <a:spcPts val="0"/>
              </a:spcBef>
              <a:defRPr sz="1800" b="0" i="0">
                <a:solidFill>
                  <a:schemeClr val="tx1"/>
                </a:solidFill>
                <a:latin typeface="IBM Plex Sans Light" panose="020B0403050203000203" pitchFamily="34" charset="0"/>
              </a:defRPr>
            </a:lvl3pPr>
            <a:lvl4pPr defTabSz="580180">
              <a:lnSpc>
                <a:spcPct val="100000"/>
              </a:lnSpc>
              <a:spcBef>
                <a:spcPts val="0"/>
              </a:spcBef>
              <a:defRPr sz="1800" b="0" i="0">
                <a:solidFill>
                  <a:schemeClr val="tx1"/>
                </a:solidFill>
                <a:latin typeface="IBM Plex Sans Light" panose="020B0403050203000203" pitchFamily="34" charset="0"/>
              </a:defRPr>
            </a:lvl4pPr>
            <a:lvl5pPr defTabSz="580180">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268591796"/>
      </p:ext>
    </p:extLst>
  </p:cSld>
  <p:clrMapOvr>
    <a:masterClrMapping/>
  </p:clrMapOvr>
  <p:transition spd="med"/>
</p:sldLayout>
</file>

<file path=ppt/slideLayouts/slideLayout649.xml><?xml version="1.0" encoding="utf-8"?>
<p:sldLayout xmlns:a="http://schemas.openxmlformats.org/drawingml/2006/main" xmlns:r="http://schemas.openxmlformats.org/officeDocument/2006/relationships" xmlns:p="http://schemas.openxmlformats.org/presentationml/2006/main"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GB"/>
              <a:t>Click to edit Master title style</a:t>
            </a:r>
            <a:endParaRPr lang="en-US"/>
          </a:p>
        </p:txBody>
      </p:sp>
      <p:sp>
        <p:nvSpPr>
          <p:cNvPr id="8" name="Text Placeholder 1"/>
          <p:cNvSpPr>
            <a:spLocks noGrp="1"/>
          </p:cNvSpPr>
          <p:nvPr>
            <p:ph type="body" sz="quarter" idx="13"/>
          </p:nvPr>
        </p:nvSpPr>
        <p:spPr>
          <a:xfrm>
            <a:off x="292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ext Placeholder 2"/>
          <p:cNvSpPr>
            <a:spLocks noGrp="1"/>
          </p:cNvSpPr>
          <p:nvPr>
            <p:ph type="body" sz="quarter" idx="12"/>
          </p:nvPr>
        </p:nvSpPr>
        <p:spPr>
          <a:xfrm>
            <a:off x="6388609" y="1658112"/>
            <a:ext cx="5498501"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Data Gate service 3 Whats new / © 2022 IBM Corporation</a:t>
            </a:r>
          </a:p>
        </p:txBody>
      </p:sp>
      <p:sp>
        <p:nvSpPr>
          <p:cNvPr id="4" name="Slide Number Placeholder"/>
          <p:cNvSpPr>
            <a:spLocks noGrp="1"/>
          </p:cNvSpPr>
          <p:nvPr>
            <p:ph type="sldNum" sz="quarter" idx="11"/>
          </p:nvPr>
        </p:nvSpPr>
        <p:spPr>
          <a:xfrm>
            <a:off x="8210550" y="7102386"/>
            <a:ext cx="2743200" cy="365125"/>
          </a:xfrm>
        </p:spPr>
        <p:txBody>
          <a:bodyPr/>
          <a:lstStyle>
            <a:lvl1pPr>
              <a:defRPr>
                <a:solidFill>
                  <a:schemeClr val="tx1"/>
                </a:solidFill>
              </a:defRPr>
            </a:lvl1pPr>
          </a:lstStyle>
          <a:p>
            <a:fld id="{59395FB3-9C97-154F-86B2-7E381B951268}" type="slidenum">
              <a:rPr lang="en-US" smtClean="0"/>
              <a:pPr/>
              <a:t>‹#›</a:t>
            </a:fld>
            <a:endParaRPr lang="en-US"/>
          </a:p>
        </p:txBody>
      </p:sp>
      <p:sp>
        <p:nvSpPr>
          <p:cNvPr id="5" name="Slide Number Placeholder 32">
            <a:extLst>
              <a:ext uri="{FF2B5EF4-FFF2-40B4-BE49-F238E27FC236}">
                <a16:creationId xmlns:a16="http://schemas.microsoft.com/office/drawing/2014/main" id="{E460CABE-C614-C515-FCDE-3E2CA399FEFF}"/>
              </a:ext>
            </a:extLst>
          </p:cNvPr>
          <p:cNvSpPr txBox="1">
            <a:spLocks/>
          </p:cNvSpPr>
          <p:nvPr userDrawn="1"/>
        </p:nvSpPr>
        <p:spPr>
          <a:xfrm>
            <a:off x="9637223" y="6528550"/>
            <a:ext cx="2438309" cy="222249"/>
          </a:xfrm>
          <a:prstGeom prst="rect">
            <a:avLst/>
          </a:prstGeom>
        </p:spPr>
        <p:txBody>
          <a:bodyPr vert="horz" lIns="0" tIns="0" rIns="0" bIns="0" rtlCol="0" anchor="ctr"/>
          <a:lstStyle>
            <a:defPPr>
              <a:defRPr lang="en-US"/>
            </a:defPPr>
            <a:lvl1pPr marL="0" algn="r" defTabSz="914400" rtl="0" eaLnBrk="1" latinLnBrk="0" hangingPunct="1">
              <a:defRPr sz="800" b="0" i="0" kern="1200">
                <a:solidFill>
                  <a:schemeClr val="tx1"/>
                </a:solidFill>
                <a:latin typeface="IBM Plex Sans" panose="020B050305020300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621" rtl="0" eaLnBrk="1" fontAlgn="auto" latinLnBrk="0" hangingPunct="1">
              <a:lnSpc>
                <a:spcPct val="100000"/>
              </a:lnSpc>
              <a:spcBef>
                <a:spcPts val="0"/>
              </a:spcBef>
              <a:spcAft>
                <a:spcPts val="0"/>
              </a:spcAft>
              <a:buClrTx/>
              <a:buSzTx/>
              <a:buFontTx/>
              <a:buNone/>
              <a:tabLst/>
              <a:defRPr/>
            </a:pPr>
            <a:fld id="{59395FB3-9C97-154F-86B2-7E381B951268}" type="slidenum">
              <a:rPr kumimoji="0" lang="en-US" sz="800" b="0" i="0" u="none" strike="noStrike" kern="1200" cap="none" spc="0" normalizeH="0" baseline="0" noProof="0" smtClean="0">
                <a:ln>
                  <a:noFill/>
                </a:ln>
                <a:solidFill>
                  <a:srgbClr val="000000"/>
                </a:solidFill>
                <a:effectLst/>
                <a:uLnTx/>
                <a:uFillTx/>
                <a:latin typeface="IBM Plex Sans" panose="020B0503050203000203" pitchFamily="34" charset="0"/>
                <a:ea typeface="+mn-ea"/>
                <a:cs typeface="+mn-cs"/>
              </a:rPr>
              <a:pPr marL="0" marR="0" lvl="0" indent="0" algn="r" defTabSz="914621"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Tree>
    <p:extLst>
      <p:ext uri="{BB962C8B-B14F-4D97-AF65-F5344CB8AC3E}">
        <p14:creationId xmlns:p14="http://schemas.microsoft.com/office/powerpoint/2010/main" val="3808882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63" y="288036"/>
            <a:ext cx="2474590" cy="1234377"/>
          </a:xfrm>
        </p:spPr>
        <p:txBody>
          <a:bodyPr/>
          <a:lstStyle>
            <a:lvl1pPr>
              <a:lnSpc>
                <a:spcPct val="110000"/>
              </a:lnSpc>
              <a:defRPr sz="1400">
                <a:solidFill>
                  <a:schemeClr val="tx2"/>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a:xfrm>
            <a:off x="287963" y="6408000"/>
            <a:ext cx="2477765" cy="190500"/>
          </a:xfrm>
        </p:spPr>
        <p:txBody>
          <a:bodyPr/>
          <a:lstStyle/>
          <a:p>
            <a:endParaRPr lang="en-US"/>
          </a:p>
        </p:txBody>
      </p:sp>
      <p:sp>
        <p:nvSpPr>
          <p:cNvPr id="3" name="Slide Number">
            <a:extLst>
              <a:ext uri="{FF2B5EF4-FFF2-40B4-BE49-F238E27FC236}">
                <a16:creationId xmlns:a16="http://schemas.microsoft.com/office/drawing/2014/main" id="{B0435695-E156-66C6-5CE4-B0F751F125D2}"/>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979677835"/>
      </p:ext>
    </p:extLst>
  </p:cSld>
  <p:clrMapOvr>
    <a:masterClrMapping/>
  </p:clrMapOvr>
  <p:transition spd="med"/>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Section, callouts, big image with margi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50545"/>
            <a:ext cx="2474590" cy="762794"/>
          </a:xfrm>
        </p:spPr>
        <p:txBody>
          <a:bodyPr/>
          <a:lstStyle>
            <a:lvl1pPr>
              <a:lnSpc>
                <a:spcPct val="110000"/>
              </a:lnSpc>
              <a:defRPr sz="1400">
                <a:solidFill>
                  <a:schemeClr val="tx2"/>
                </a:solidFill>
              </a:defRPr>
            </a:lvl1pPr>
          </a:lstStyle>
          <a:p>
            <a:r>
              <a:rPr lang="en-US"/>
              <a:t>Click to edit Master title style</a:t>
            </a:r>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3333317" y="282576"/>
            <a:ext cx="8574559" cy="6289675"/>
          </a:xfrm>
          <a:solidFill>
            <a:srgbClr val="E0E0E0"/>
          </a:solidFill>
        </p:spPr>
        <p:txBody>
          <a:bodyPr anchor="ctr"/>
          <a:lstStyle>
            <a:lvl1pPr algn="ctr">
              <a:defRPr>
                <a:solidFill>
                  <a:schemeClr val="accent5"/>
                </a:solidFill>
              </a:defRPr>
            </a:lvl1pPr>
          </a:lstStyle>
          <a:p>
            <a:r>
              <a:rPr lang="en-US"/>
              <a:t>Place imagery here</a:t>
            </a:r>
          </a:p>
        </p:txBody>
      </p:sp>
      <p:sp>
        <p:nvSpPr>
          <p:cNvPr id="5" name="Text Placeholder 5">
            <a:extLst>
              <a:ext uri="{FF2B5EF4-FFF2-40B4-BE49-F238E27FC236}">
                <a16:creationId xmlns:a16="http://schemas.microsoft.com/office/drawing/2014/main" id="{2F1062D6-5670-E376-5181-FACE84388D3D}"/>
              </a:ext>
            </a:extLst>
          </p:cNvPr>
          <p:cNvSpPr>
            <a:spLocks noGrp="1"/>
          </p:cNvSpPr>
          <p:nvPr>
            <p:ph type="body" sz="quarter" idx="15"/>
          </p:nvPr>
        </p:nvSpPr>
        <p:spPr>
          <a:xfrm>
            <a:off x="288000" y="1670659"/>
            <a:ext cx="2477765" cy="4327710"/>
          </a:xfrm>
        </p:spPr>
        <p:txBody>
          <a:bodyPr/>
          <a:lstStyle>
            <a:lvl1pPr>
              <a:lnSpc>
                <a:spcPct val="110000"/>
              </a:lnSpc>
              <a:spcBef>
                <a:spcPts val="0"/>
              </a:spcBef>
              <a:spcAft>
                <a:spcPts val="1800"/>
              </a:spcAft>
              <a:defRPr sz="1800">
                <a:solidFill>
                  <a:schemeClr val="tx1"/>
                </a:solidFill>
              </a:defRPr>
            </a:lvl1pPr>
            <a:lvl2pPr marL="127964" indent="-127964">
              <a:lnSpc>
                <a:spcPct val="110000"/>
              </a:lnSpc>
              <a:spcBef>
                <a:spcPts val="0"/>
              </a:spcBef>
              <a:spcAft>
                <a:spcPts val="1800"/>
              </a:spcAft>
              <a:defRPr sz="1800">
                <a:solidFill>
                  <a:schemeClr val="tx1"/>
                </a:solidFill>
              </a:defRPr>
            </a:lvl2pPr>
            <a:lvl3pPr marL="255930" indent="-127964">
              <a:lnSpc>
                <a:spcPct val="110000"/>
              </a:lnSpc>
              <a:spcBef>
                <a:spcPts val="0"/>
              </a:spcBef>
              <a:spcAft>
                <a:spcPts val="1800"/>
              </a:spcAft>
              <a:defRPr sz="1800">
                <a:solidFill>
                  <a:schemeClr val="tx1"/>
                </a:solidFill>
              </a:defRPr>
            </a:lvl3pPr>
            <a:lvl4pPr marL="383894" indent="-127964">
              <a:lnSpc>
                <a:spcPct val="110000"/>
              </a:lnSpc>
              <a:spcBef>
                <a:spcPts val="0"/>
              </a:spcBef>
              <a:spcAft>
                <a:spcPts val="1800"/>
              </a:spcAft>
              <a:defRPr sz="18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1">
            <a:extLst>
              <a:ext uri="{FF2B5EF4-FFF2-40B4-BE49-F238E27FC236}">
                <a16:creationId xmlns:a16="http://schemas.microsoft.com/office/drawing/2014/main" id="{7A89EF34-F2E4-1534-281A-F12601CCE830}"/>
              </a:ext>
            </a:extLst>
          </p:cNvPr>
          <p:cNvSpPr>
            <a:spLocks noGrp="1"/>
          </p:cNvSpPr>
          <p:nvPr>
            <p:ph type="ftr" sz="quarter" idx="3"/>
          </p:nvPr>
        </p:nvSpPr>
        <p:spPr>
          <a:xfrm>
            <a:off x="284126"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TechXchange | © 2024 IBM Corporation</a:t>
            </a:r>
          </a:p>
        </p:txBody>
      </p:sp>
    </p:spTree>
    <p:extLst>
      <p:ext uri="{BB962C8B-B14F-4D97-AF65-F5344CB8AC3E}">
        <p14:creationId xmlns:p14="http://schemas.microsoft.com/office/powerpoint/2010/main" val="543835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1.xml><?xml version="1.0" encoding="utf-8"?>
<p:sldLayout xmlns:a="http://schemas.openxmlformats.org/drawingml/2006/main" xmlns:r="http://schemas.openxmlformats.org/officeDocument/2006/relationships" xmlns:p="http://schemas.openxmlformats.org/presentationml/2006/main" showMasterSp="0" type="tx">
  <p:cSld name="1_title, text (two columns)">
    <p:bg>
      <p:bgPr>
        <a:solidFill>
          <a:srgbClr val="F3F3F3"/>
        </a:solidFill>
        <a:effectLst/>
      </p:bgPr>
    </p:bg>
    <p:spTree>
      <p:nvGrpSpPr>
        <p:cNvPr id="1" name=""/>
        <p:cNvGrpSpPr/>
        <p:nvPr/>
      </p:nvGrpSpPr>
      <p:grpSpPr>
        <a:xfrm>
          <a:off x="0" y="0"/>
          <a:ext cx="0" cy="0"/>
          <a:chOff x="0" y="0"/>
          <a:chExt cx="0" cy="0"/>
        </a:xfrm>
      </p:grpSpPr>
      <p:grpSp>
        <p:nvGrpSpPr>
          <p:cNvPr id="5015" name="Group 58"/>
          <p:cNvGrpSpPr/>
          <p:nvPr/>
        </p:nvGrpSpPr>
        <p:grpSpPr>
          <a:xfrm>
            <a:off x="-146308" y="-146475"/>
            <a:ext cx="12485629" cy="7152643"/>
            <a:chOff x="0" y="0"/>
            <a:chExt cx="9364220" cy="5364480"/>
          </a:xfrm>
        </p:grpSpPr>
        <p:grpSp>
          <p:nvGrpSpPr>
            <p:cNvPr id="4982" name="Group 59"/>
            <p:cNvGrpSpPr/>
            <p:nvPr/>
          </p:nvGrpSpPr>
          <p:grpSpPr>
            <a:xfrm>
              <a:off x="338965" y="0"/>
              <a:ext cx="8686732" cy="91441"/>
              <a:chOff x="0" y="0"/>
              <a:chExt cx="8686732" cy="91440"/>
            </a:xfrm>
          </p:grpSpPr>
          <p:sp>
            <p:nvSpPr>
              <p:cNvPr id="4971" name="Straight Connector 92"/>
              <p:cNvSpPr/>
              <p:nvPr/>
            </p:nvSpPr>
            <p:spPr>
              <a:xfrm flipV="1">
                <a:off x="-1" y="0"/>
                <a:ext cx="2" cy="91441"/>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914620"/>
                <a:endParaRPr sz="1800"/>
              </a:p>
            </p:txBody>
          </p:sp>
          <p:sp>
            <p:nvSpPr>
              <p:cNvPr id="4972" name="Straight Connector 93"/>
              <p:cNvSpPr/>
              <p:nvPr/>
            </p:nvSpPr>
            <p:spPr>
              <a:xfrm flipV="1">
                <a:off x="1828800" y="0"/>
                <a:ext cx="1" cy="91441"/>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914620"/>
                <a:endParaRPr sz="1800"/>
              </a:p>
            </p:txBody>
          </p:sp>
          <p:sp>
            <p:nvSpPr>
              <p:cNvPr id="4973" name="Straight Connector 94"/>
              <p:cNvSpPr/>
              <p:nvPr/>
            </p:nvSpPr>
            <p:spPr>
              <a:xfrm flipV="1">
                <a:off x="2057400" y="0"/>
                <a:ext cx="1" cy="91441"/>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914620"/>
                <a:endParaRPr sz="1800"/>
              </a:p>
            </p:txBody>
          </p:sp>
          <p:sp>
            <p:nvSpPr>
              <p:cNvPr id="4974" name="Straight Connector 95"/>
              <p:cNvSpPr/>
              <p:nvPr/>
            </p:nvSpPr>
            <p:spPr>
              <a:xfrm flipV="1">
                <a:off x="2286000" y="0"/>
                <a:ext cx="1" cy="91441"/>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914620"/>
                <a:endParaRPr sz="1800"/>
              </a:p>
            </p:txBody>
          </p:sp>
          <p:sp>
            <p:nvSpPr>
              <p:cNvPr id="4975" name="Straight Connector 96"/>
              <p:cNvSpPr/>
              <p:nvPr/>
            </p:nvSpPr>
            <p:spPr>
              <a:xfrm flipV="1">
                <a:off x="4114799" y="0"/>
                <a:ext cx="1" cy="91441"/>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914620"/>
                <a:endParaRPr sz="1800"/>
              </a:p>
            </p:txBody>
          </p:sp>
          <p:sp>
            <p:nvSpPr>
              <p:cNvPr id="4976" name="Straight Connector 97"/>
              <p:cNvSpPr/>
              <p:nvPr/>
            </p:nvSpPr>
            <p:spPr>
              <a:xfrm flipV="1">
                <a:off x="4343399" y="0"/>
                <a:ext cx="1" cy="91441"/>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914620"/>
                <a:endParaRPr sz="1800"/>
              </a:p>
            </p:txBody>
          </p:sp>
          <p:sp>
            <p:nvSpPr>
              <p:cNvPr id="4977" name="Straight Connector 98"/>
              <p:cNvSpPr/>
              <p:nvPr/>
            </p:nvSpPr>
            <p:spPr>
              <a:xfrm flipV="1">
                <a:off x="4571999" y="0"/>
                <a:ext cx="1" cy="91441"/>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914620"/>
                <a:endParaRPr sz="1800"/>
              </a:p>
            </p:txBody>
          </p:sp>
          <p:sp>
            <p:nvSpPr>
              <p:cNvPr id="4978" name="Straight Connector 99"/>
              <p:cNvSpPr/>
              <p:nvPr/>
            </p:nvSpPr>
            <p:spPr>
              <a:xfrm flipV="1">
                <a:off x="6400799" y="0"/>
                <a:ext cx="1" cy="91441"/>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914620"/>
                <a:endParaRPr sz="1800"/>
              </a:p>
            </p:txBody>
          </p:sp>
          <p:sp>
            <p:nvSpPr>
              <p:cNvPr id="4979" name="Straight Connector 100"/>
              <p:cNvSpPr/>
              <p:nvPr/>
            </p:nvSpPr>
            <p:spPr>
              <a:xfrm flipV="1">
                <a:off x="6629400" y="0"/>
                <a:ext cx="1" cy="91441"/>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914620"/>
                <a:endParaRPr sz="1800"/>
              </a:p>
            </p:txBody>
          </p:sp>
          <p:sp>
            <p:nvSpPr>
              <p:cNvPr id="4980" name="Straight Connector 101"/>
              <p:cNvSpPr/>
              <p:nvPr/>
            </p:nvSpPr>
            <p:spPr>
              <a:xfrm flipV="1">
                <a:off x="6858000" y="0"/>
                <a:ext cx="1" cy="91441"/>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914620"/>
                <a:endParaRPr sz="1800"/>
              </a:p>
            </p:txBody>
          </p:sp>
          <p:sp>
            <p:nvSpPr>
              <p:cNvPr id="4981" name="Straight Connector 102"/>
              <p:cNvSpPr/>
              <p:nvPr/>
            </p:nvSpPr>
            <p:spPr>
              <a:xfrm flipV="1">
                <a:off x="8686732" y="0"/>
                <a:ext cx="1" cy="91441"/>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914620"/>
                <a:endParaRPr sz="1800"/>
              </a:p>
            </p:txBody>
          </p:sp>
        </p:grpSp>
        <p:grpSp>
          <p:nvGrpSpPr>
            <p:cNvPr id="4994" name="Group 60"/>
            <p:cNvGrpSpPr/>
            <p:nvPr/>
          </p:nvGrpSpPr>
          <p:grpSpPr>
            <a:xfrm>
              <a:off x="338965" y="5273040"/>
              <a:ext cx="8686732" cy="91441"/>
              <a:chOff x="0" y="0"/>
              <a:chExt cx="8686732" cy="91440"/>
            </a:xfrm>
          </p:grpSpPr>
          <p:sp>
            <p:nvSpPr>
              <p:cNvPr id="4983" name="Straight Connector 81"/>
              <p:cNvSpPr/>
              <p:nvPr/>
            </p:nvSpPr>
            <p:spPr>
              <a:xfrm flipV="1">
                <a:off x="-1" y="0"/>
                <a:ext cx="2" cy="91441"/>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914620"/>
                <a:endParaRPr sz="1800"/>
              </a:p>
            </p:txBody>
          </p:sp>
          <p:sp>
            <p:nvSpPr>
              <p:cNvPr id="4984" name="Straight Connector 82"/>
              <p:cNvSpPr/>
              <p:nvPr/>
            </p:nvSpPr>
            <p:spPr>
              <a:xfrm flipV="1">
                <a:off x="1828800" y="0"/>
                <a:ext cx="1" cy="91441"/>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914620"/>
                <a:endParaRPr sz="1800"/>
              </a:p>
            </p:txBody>
          </p:sp>
          <p:sp>
            <p:nvSpPr>
              <p:cNvPr id="4985" name="Straight Connector 83"/>
              <p:cNvSpPr/>
              <p:nvPr/>
            </p:nvSpPr>
            <p:spPr>
              <a:xfrm flipV="1">
                <a:off x="2057400" y="0"/>
                <a:ext cx="1" cy="91441"/>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914620"/>
                <a:endParaRPr sz="1800"/>
              </a:p>
            </p:txBody>
          </p:sp>
          <p:sp>
            <p:nvSpPr>
              <p:cNvPr id="4986" name="Straight Connector 84"/>
              <p:cNvSpPr/>
              <p:nvPr/>
            </p:nvSpPr>
            <p:spPr>
              <a:xfrm flipV="1">
                <a:off x="2286000" y="0"/>
                <a:ext cx="1" cy="91441"/>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914620"/>
                <a:endParaRPr sz="1800"/>
              </a:p>
            </p:txBody>
          </p:sp>
          <p:sp>
            <p:nvSpPr>
              <p:cNvPr id="4987" name="Straight Connector 85"/>
              <p:cNvSpPr/>
              <p:nvPr/>
            </p:nvSpPr>
            <p:spPr>
              <a:xfrm flipV="1">
                <a:off x="4114799" y="0"/>
                <a:ext cx="1" cy="91441"/>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914620"/>
                <a:endParaRPr sz="1800"/>
              </a:p>
            </p:txBody>
          </p:sp>
          <p:sp>
            <p:nvSpPr>
              <p:cNvPr id="4988" name="Straight Connector 86"/>
              <p:cNvSpPr/>
              <p:nvPr/>
            </p:nvSpPr>
            <p:spPr>
              <a:xfrm flipV="1">
                <a:off x="4343399" y="0"/>
                <a:ext cx="1" cy="91441"/>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914620"/>
                <a:endParaRPr sz="1800"/>
              </a:p>
            </p:txBody>
          </p:sp>
          <p:sp>
            <p:nvSpPr>
              <p:cNvPr id="4989" name="Straight Connector 87"/>
              <p:cNvSpPr/>
              <p:nvPr/>
            </p:nvSpPr>
            <p:spPr>
              <a:xfrm flipV="1">
                <a:off x="4571999" y="0"/>
                <a:ext cx="1" cy="91441"/>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914620"/>
                <a:endParaRPr sz="1800"/>
              </a:p>
            </p:txBody>
          </p:sp>
          <p:sp>
            <p:nvSpPr>
              <p:cNvPr id="4990" name="Straight Connector 88"/>
              <p:cNvSpPr/>
              <p:nvPr/>
            </p:nvSpPr>
            <p:spPr>
              <a:xfrm flipV="1">
                <a:off x="6400799" y="0"/>
                <a:ext cx="1" cy="91441"/>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914620"/>
                <a:endParaRPr sz="1800"/>
              </a:p>
            </p:txBody>
          </p:sp>
          <p:sp>
            <p:nvSpPr>
              <p:cNvPr id="4991" name="Straight Connector 89"/>
              <p:cNvSpPr/>
              <p:nvPr/>
            </p:nvSpPr>
            <p:spPr>
              <a:xfrm flipV="1">
                <a:off x="6629400" y="0"/>
                <a:ext cx="1" cy="91441"/>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914620"/>
                <a:endParaRPr sz="1800"/>
              </a:p>
            </p:txBody>
          </p:sp>
          <p:sp>
            <p:nvSpPr>
              <p:cNvPr id="4992" name="Straight Connector 90"/>
              <p:cNvSpPr/>
              <p:nvPr/>
            </p:nvSpPr>
            <p:spPr>
              <a:xfrm flipV="1">
                <a:off x="6858000" y="0"/>
                <a:ext cx="1" cy="91441"/>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914620"/>
                <a:endParaRPr sz="1800"/>
              </a:p>
            </p:txBody>
          </p:sp>
          <p:sp>
            <p:nvSpPr>
              <p:cNvPr id="4993" name="Straight Connector 91"/>
              <p:cNvSpPr/>
              <p:nvPr/>
            </p:nvSpPr>
            <p:spPr>
              <a:xfrm flipV="1">
                <a:off x="8686732" y="0"/>
                <a:ext cx="1" cy="91441"/>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914620"/>
                <a:endParaRPr sz="1800"/>
              </a:p>
            </p:txBody>
          </p:sp>
        </p:grpSp>
        <p:grpSp>
          <p:nvGrpSpPr>
            <p:cNvPr id="5004" name="Group 61"/>
            <p:cNvGrpSpPr/>
            <p:nvPr/>
          </p:nvGrpSpPr>
          <p:grpSpPr>
            <a:xfrm>
              <a:off x="0" y="347599"/>
              <a:ext cx="91441" cy="4664456"/>
              <a:chOff x="0" y="0"/>
              <a:chExt cx="91440" cy="4664456"/>
            </a:xfrm>
          </p:grpSpPr>
          <p:sp>
            <p:nvSpPr>
              <p:cNvPr id="4995" name="Straight Connector 72"/>
              <p:cNvSpPr/>
              <p:nvPr/>
            </p:nvSpPr>
            <p:spPr>
              <a:xfrm flipH="1">
                <a:off x="0" y="416051"/>
                <a:ext cx="91441" cy="1"/>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914620"/>
                <a:endParaRPr sz="1800"/>
              </a:p>
            </p:txBody>
          </p:sp>
          <p:sp>
            <p:nvSpPr>
              <p:cNvPr id="4996" name="Straight Connector 73"/>
              <p:cNvSpPr/>
              <p:nvPr/>
            </p:nvSpPr>
            <p:spPr>
              <a:xfrm flipH="1">
                <a:off x="0" y="1051559"/>
                <a:ext cx="91441" cy="1"/>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914620"/>
                <a:endParaRPr sz="1800"/>
              </a:p>
            </p:txBody>
          </p:sp>
          <p:sp>
            <p:nvSpPr>
              <p:cNvPr id="4997" name="Straight Connector 74"/>
              <p:cNvSpPr/>
              <p:nvPr/>
            </p:nvSpPr>
            <p:spPr>
              <a:xfrm flipH="1">
                <a:off x="0" y="1691639"/>
                <a:ext cx="91441" cy="1"/>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914620"/>
                <a:endParaRPr sz="1800"/>
              </a:p>
            </p:txBody>
          </p:sp>
          <p:sp>
            <p:nvSpPr>
              <p:cNvPr id="4998" name="Straight Connector 75"/>
              <p:cNvSpPr/>
              <p:nvPr/>
            </p:nvSpPr>
            <p:spPr>
              <a:xfrm flipH="1">
                <a:off x="0" y="2333245"/>
                <a:ext cx="91441" cy="1"/>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914620"/>
                <a:endParaRPr sz="1800"/>
              </a:p>
            </p:txBody>
          </p:sp>
          <p:sp>
            <p:nvSpPr>
              <p:cNvPr id="4999" name="Straight Connector 76"/>
              <p:cNvSpPr/>
              <p:nvPr/>
            </p:nvSpPr>
            <p:spPr>
              <a:xfrm flipH="1">
                <a:off x="0" y="2971800"/>
                <a:ext cx="91441" cy="0"/>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914620"/>
                <a:endParaRPr sz="1800"/>
              </a:p>
            </p:txBody>
          </p:sp>
          <p:sp>
            <p:nvSpPr>
              <p:cNvPr id="5000" name="Straight Connector 77"/>
              <p:cNvSpPr/>
              <p:nvPr/>
            </p:nvSpPr>
            <p:spPr>
              <a:xfrm flipH="1">
                <a:off x="0" y="3611879"/>
                <a:ext cx="91441" cy="1"/>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914620"/>
                <a:endParaRPr sz="1800"/>
              </a:p>
            </p:txBody>
          </p:sp>
          <p:sp>
            <p:nvSpPr>
              <p:cNvPr id="5001" name="Straight Connector 78"/>
              <p:cNvSpPr/>
              <p:nvPr/>
            </p:nvSpPr>
            <p:spPr>
              <a:xfrm flipH="1">
                <a:off x="0" y="4256532"/>
                <a:ext cx="91441" cy="1"/>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914620"/>
                <a:endParaRPr sz="1800"/>
              </a:p>
            </p:txBody>
          </p:sp>
          <p:sp>
            <p:nvSpPr>
              <p:cNvPr id="5002" name="Straight Connector 79"/>
              <p:cNvSpPr/>
              <p:nvPr/>
            </p:nvSpPr>
            <p:spPr>
              <a:xfrm flipH="1" flipV="1">
                <a:off x="0" y="-1"/>
                <a:ext cx="91441" cy="1"/>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914620"/>
                <a:endParaRPr sz="1800"/>
              </a:p>
            </p:txBody>
          </p:sp>
          <p:sp>
            <p:nvSpPr>
              <p:cNvPr id="5003" name="Straight Connector 80"/>
              <p:cNvSpPr/>
              <p:nvPr/>
            </p:nvSpPr>
            <p:spPr>
              <a:xfrm flipH="1">
                <a:off x="0" y="4664455"/>
                <a:ext cx="91441" cy="1"/>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914620"/>
                <a:endParaRPr sz="1800"/>
              </a:p>
            </p:txBody>
          </p:sp>
        </p:grpSp>
        <p:grpSp>
          <p:nvGrpSpPr>
            <p:cNvPr id="5014" name="Group 62"/>
            <p:cNvGrpSpPr/>
            <p:nvPr/>
          </p:nvGrpSpPr>
          <p:grpSpPr>
            <a:xfrm>
              <a:off x="9272780" y="347598"/>
              <a:ext cx="91441" cy="4663442"/>
              <a:chOff x="0" y="0"/>
              <a:chExt cx="91440" cy="4663440"/>
            </a:xfrm>
          </p:grpSpPr>
          <p:sp>
            <p:nvSpPr>
              <p:cNvPr id="5005" name="Straight Connector 63"/>
              <p:cNvSpPr/>
              <p:nvPr/>
            </p:nvSpPr>
            <p:spPr>
              <a:xfrm flipH="1">
                <a:off x="0" y="416052"/>
                <a:ext cx="91441" cy="1"/>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914620"/>
                <a:endParaRPr sz="1800"/>
              </a:p>
            </p:txBody>
          </p:sp>
          <p:sp>
            <p:nvSpPr>
              <p:cNvPr id="5006" name="Straight Connector 64"/>
              <p:cNvSpPr/>
              <p:nvPr/>
            </p:nvSpPr>
            <p:spPr>
              <a:xfrm flipH="1">
                <a:off x="0" y="1051560"/>
                <a:ext cx="91441" cy="1"/>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914620"/>
                <a:endParaRPr sz="1800"/>
              </a:p>
            </p:txBody>
          </p:sp>
          <p:sp>
            <p:nvSpPr>
              <p:cNvPr id="5007" name="Straight Connector 65"/>
              <p:cNvSpPr/>
              <p:nvPr/>
            </p:nvSpPr>
            <p:spPr>
              <a:xfrm flipH="1">
                <a:off x="0" y="1691640"/>
                <a:ext cx="91441" cy="1"/>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914620"/>
                <a:endParaRPr sz="1800"/>
              </a:p>
            </p:txBody>
          </p:sp>
          <p:sp>
            <p:nvSpPr>
              <p:cNvPr id="5008" name="Straight Connector 66"/>
              <p:cNvSpPr/>
              <p:nvPr/>
            </p:nvSpPr>
            <p:spPr>
              <a:xfrm flipH="1">
                <a:off x="0" y="2331720"/>
                <a:ext cx="91441" cy="1"/>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914620"/>
                <a:endParaRPr sz="1800"/>
              </a:p>
            </p:txBody>
          </p:sp>
          <p:sp>
            <p:nvSpPr>
              <p:cNvPr id="5009" name="Straight Connector 67"/>
              <p:cNvSpPr/>
              <p:nvPr/>
            </p:nvSpPr>
            <p:spPr>
              <a:xfrm flipH="1">
                <a:off x="0" y="2971800"/>
                <a:ext cx="91441" cy="0"/>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914620"/>
                <a:endParaRPr sz="1800"/>
              </a:p>
            </p:txBody>
          </p:sp>
          <p:sp>
            <p:nvSpPr>
              <p:cNvPr id="5010" name="Straight Connector 68"/>
              <p:cNvSpPr/>
              <p:nvPr/>
            </p:nvSpPr>
            <p:spPr>
              <a:xfrm flipH="1">
                <a:off x="0" y="3611879"/>
                <a:ext cx="91441" cy="1"/>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914620"/>
                <a:endParaRPr sz="1800"/>
              </a:p>
            </p:txBody>
          </p:sp>
          <p:sp>
            <p:nvSpPr>
              <p:cNvPr id="5011" name="Straight Connector 69"/>
              <p:cNvSpPr/>
              <p:nvPr/>
            </p:nvSpPr>
            <p:spPr>
              <a:xfrm flipH="1">
                <a:off x="0" y="4256532"/>
                <a:ext cx="91441" cy="1"/>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914620"/>
                <a:endParaRPr sz="1800"/>
              </a:p>
            </p:txBody>
          </p:sp>
          <p:sp>
            <p:nvSpPr>
              <p:cNvPr id="5012" name="Straight Connector 70"/>
              <p:cNvSpPr/>
              <p:nvPr/>
            </p:nvSpPr>
            <p:spPr>
              <a:xfrm flipH="1" flipV="1">
                <a:off x="0" y="0"/>
                <a:ext cx="91441" cy="1"/>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914620"/>
                <a:endParaRPr sz="1800"/>
              </a:p>
            </p:txBody>
          </p:sp>
          <p:sp>
            <p:nvSpPr>
              <p:cNvPr id="5013" name="Straight Connector 71"/>
              <p:cNvSpPr/>
              <p:nvPr/>
            </p:nvSpPr>
            <p:spPr>
              <a:xfrm flipH="1">
                <a:off x="0" y="4663440"/>
                <a:ext cx="91441" cy="1"/>
              </a:xfrm>
              <a:prstGeom prst="line">
                <a:avLst/>
              </a:prstGeom>
              <a:noFill/>
              <a:ln w="9525" cap="flat">
                <a:solidFill>
                  <a:srgbClr val="BEBEBE"/>
                </a:solidFill>
                <a:prstDash val="solid"/>
                <a:round/>
              </a:ln>
              <a:effectLst/>
            </p:spPr>
            <p:txBody>
              <a:bodyPr wrap="square" lIns="45718" tIns="45718" rIns="45718" bIns="45718" numCol="1" anchor="t">
                <a:noAutofit/>
              </a:bodyPr>
              <a:lstStyle/>
              <a:p>
                <a:pPr defTabSz="914620"/>
                <a:endParaRPr sz="1800"/>
              </a:p>
            </p:txBody>
          </p:sp>
        </p:grpSp>
      </p:grpSp>
      <p:sp>
        <p:nvSpPr>
          <p:cNvPr id="5016" name="Title Text"/>
          <p:cNvSpPr txBox="1">
            <a:spLocks noGrp="1"/>
          </p:cNvSpPr>
          <p:nvPr>
            <p:ph type="title"/>
          </p:nvPr>
        </p:nvSpPr>
        <p:spPr>
          <a:xfrm>
            <a:off x="280415" y="268225"/>
            <a:ext cx="5522979" cy="1072897"/>
          </a:xfrm>
          <a:prstGeom prst="rect">
            <a:avLst/>
          </a:prstGeom>
        </p:spPr>
        <p:txBody>
          <a:bodyPr>
            <a:normAutofit/>
          </a:bodyPr>
          <a:lstStyle>
            <a:lvl1pPr>
              <a:defRPr>
                <a:latin typeface="Arial"/>
                <a:ea typeface="Arial"/>
                <a:cs typeface="Arial"/>
                <a:sym typeface="Arial"/>
              </a:defRPr>
            </a:lvl1pPr>
          </a:lstStyle>
          <a:p>
            <a:r>
              <a:t>Title Text</a:t>
            </a:r>
          </a:p>
        </p:txBody>
      </p:sp>
      <p:sp>
        <p:nvSpPr>
          <p:cNvPr id="5017" name="Body Level One…"/>
          <p:cNvSpPr txBox="1">
            <a:spLocks noGrp="1"/>
          </p:cNvSpPr>
          <p:nvPr>
            <p:ph type="body" sz="half" idx="1"/>
          </p:nvPr>
        </p:nvSpPr>
        <p:spPr>
          <a:xfrm>
            <a:off x="292609" y="1658112"/>
            <a:ext cx="5498593" cy="4336289"/>
          </a:xfrm>
          <a:prstGeom prst="rect">
            <a:avLst/>
          </a:prstGeom>
        </p:spPr>
        <p:txBody>
          <a:bodyPr>
            <a:normAutofit/>
          </a:bodyPr>
          <a:lstStyle>
            <a:lvl1pPr>
              <a:defRPr>
                <a:latin typeface="Arial"/>
                <a:ea typeface="Arial"/>
                <a:cs typeface="Arial"/>
                <a:sym typeface="Arial"/>
              </a:defRPr>
            </a:lvl1pPr>
            <a:lvl2pPr>
              <a:defRPr>
                <a:latin typeface="Arial"/>
                <a:ea typeface="Arial"/>
                <a:cs typeface="Arial"/>
                <a:sym typeface="Arial"/>
              </a:defRPr>
            </a:lvl2pPr>
            <a:lvl3pPr>
              <a:defRPr>
                <a:latin typeface="Arial"/>
                <a:ea typeface="Arial"/>
                <a:cs typeface="Arial"/>
                <a:sym typeface="Arial"/>
              </a:defRPr>
            </a:lvl3pPr>
            <a:lvl4pPr>
              <a:defRPr>
                <a:latin typeface="Arial"/>
                <a:ea typeface="Arial"/>
                <a:cs typeface="Arial"/>
                <a:sym typeface="Arial"/>
              </a:defRPr>
            </a:lvl4pPr>
            <a:lvl5pPr>
              <a:defRPr>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5018" name="Text Placeholder 2"/>
          <p:cNvSpPr>
            <a:spLocks noGrp="1"/>
          </p:cNvSpPr>
          <p:nvPr>
            <p:ph type="body" sz="half" idx="21"/>
          </p:nvPr>
        </p:nvSpPr>
        <p:spPr>
          <a:xfrm>
            <a:off x="6388610" y="1658112"/>
            <a:ext cx="5498503" cy="4336289"/>
          </a:xfrm>
          <a:prstGeom prst="rect">
            <a:avLst/>
          </a:prstGeom>
        </p:spPr>
        <p:txBody>
          <a:bodyPr>
            <a:normAutofit/>
          </a:bodyPr>
          <a:lstStyle/>
          <a:p>
            <a:pPr>
              <a:defRPr>
                <a:latin typeface="Arial"/>
                <a:ea typeface="Arial"/>
                <a:cs typeface="Arial"/>
                <a:sym typeface="Arial"/>
              </a:defRPr>
            </a:pPr>
            <a:endParaRPr/>
          </a:p>
        </p:txBody>
      </p:sp>
      <p:sp>
        <p:nvSpPr>
          <p:cNvPr id="5019" name="Slide Number"/>
          <p:cNvSpPr txBox="1">
            <a:spLocks noGrp="1"/>
          </p:cNvSpPr>
          <p:nvPr>
            <p:ph type="sldNum" sz="quarter" idx="2"/>
          </p:nvPr>
        </p:nvSpPr>
        <p:spPr>
          <a:xfrm>
            <a:off x="11717777" y="6410325"/>
            <a:ext cx="169335" cy="169335"/>
          </a:xfrm>
          <a:prstGeom prst="rect">
            <a:avLst/>
          </a:prstGeom>
        </p:spPr>
        <p:txBody>
          <a:bodyPr/>
          <a:lstStyle>
            <a:lvl1pPr defTabSz="914620">
              <a:defRPr>
                <a:latin typeface="Arial"/>
                <a:ea typeface="Arial"/>
                <a:cs typeface="Arial"/>
                <a:sym typeface="Arial"/>
              </a:defRPr>
            </a:lvl1pPr>
          </a:lstStyle>
          <a:p>
            <a:fld id="{86CB4B4D-7CA3-9044-876B-883B54F8677D}" type="slidenum">
              <a:rPr/>
              <a:t>‹#›</a:t>
            </a:fld>
            <a:endParaRPr/>
          </a:p>
        </p:txBody>
      </p:sp>
      <p:sp>
        <p:nvSpPr>
          <p:cNvPr id="5020" name="Footer Placeholder"/>
          <p:cNvSpPr txBox="1"/>
          <p:nvPr/>
        </p:nvSpPr>
        <p:spPr>
          <a:xfrm>
            <a:off x="280416" y="6417097"/>
            <a:ext cx="5300533"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ctr">
            <a:spAutoFit/>
          </a:bodyPr>
          <a:lstStyle>
            <a:lvl1pPr defTabSz="685991">
              <a:defRPr sz="600">
                <a:solidFill>
                  <a:srgbClr val="000000"/>
                </a:solidFill>
                <a:latin typeface="IBM Plex Sans"/>
                <a:ea typeface="IBM Plex Sans"/>
                <a:cs typeface="IBM Plex Sans"/>
                <a:sym typeface="IBM Plex Sans"/>
              </a:defRPr>
            </a:lvl1pPr>
          </a:lstStyle>
          <a:p>
            <a:r>
              <a:rPr lang="en-US" sz="800"/>
              <a:t>Forrester Briefing - December 2024. © 2024 IBM Corporation</a:t>
            </a:r>
            <a:endParaRPr sz="800"/>
          </a:p>
        </p:txBody>
      </p:sp>
    </p:spTree>
    <p:extLst>
      <p:ext uri="{BB962C8B-B14F-4D97-AF65-F5344CB8AC3E}">
        <p14:creationId xmlns:p14="http://schemas.microsoft.com/office/powerpoint/2010/main" val="3124287928"/>
      </p:ext>
    </p:extLst>
  </p:cSld>
  <p:clrMapOvr>
    <a:masterClrMapping/>
  </p:clrMapOvr>
  <p:transition spd="med"/>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slide, no foot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63" y="288036"/>
            <a:ext cx="2474590" cy="1234377"/>
          </a:xfrm>
        </p:spPr>
        <p:txBody>
          <a:bodyPr/>
          <a:lstStyle>
            <a:lvl1pPr>
              <a:lnSpc>
                <a:spcPct val="110000"/>
              </a:lnSpc>
              <a:defRPr sz="1400">
                <a:solidFill>
                  <a:schemeClr val="tx2"/>
                </a:solidFill>
              </a:defRPr>
            </a:lvl1pPr>
          </a:lstStyle>
          <a:p>
            <a:r>
              <a:rPr lang="en-US"/>
              <a:t>Click to edit Master title style</a:t>
            </a:r>
          </a:p>
        </p:txBody>
      </p:sp>
      <p:sp>
        <p:nvSpPr>
          <p:cNvPr id="3" name="Slide Number">
            <a:extLst>
              <a:ext uri="{FF2B5EF4-FFF2-40B4-BE49-F238E27FC236}">
                <a16:creationId xmlns:a16="http://schemas.microsoft.com/office/drawing/2014/main" id="{B0435695-E156-66C6-5CE4-B0F751F125D2}"/>
              </a:ext>
            </a:extLst>
          </p:cNvPr>
          <p:cNvSpPr txBox="1">
            <a:spLocks noGrp="1"/>
          </p:cNvSpPr>
          <p:nvPr>
            <p:ph type="sldNum" sz="quarter" idx="4"/>
          </p:nvPr>
        </p:nvSpPr>
        <p:spPr>
          <a:xfrm>
            <a:off x="11769264" y="64757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026713952"/>
      </p:ext>
    </p:extLst>
  </p:cSld>
  <p:clrMapOvr>
    <a:masterClrMapping/>
  </p:clrMapOvr>
  <p:transition spd="med"/>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descr="IBM 8-bar logo">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5232004" y="3084230"/>
            <a:ext cx="1727991" cy="689541"/>
          </a:xfrm>
          <a:prstGeom prst="rect">
            <a:avLst/>
          </a:prstGeom>
        </p:spPr>
      </p:pic>
    </p:spTree>
    <p:extLst>
      <p:ext uri="{BB962C8B-B14F-4D97-AF65-F5344CB8AC3E}">
        <p14:creationId xmlns:p14="http://schemas.microsoft.com/office/powerpoint/2010/main" val="4114007970"/>
      </p:ext>
    </p:extLst>
  </p:cSld>
  <p:clrMapOvr>
    <a:masterClrMapping/>
  </p:clrMapOvr>
  <p:transition spd="med"/>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762794"/>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289681" y="1714500"/>
            <a:ext cx="2475384"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3047603" y="1714500"/>
            <a:ext cx="0" cy="42862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6093683"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9142810"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84125" y="6402118"/>
            <a:ext cx="2477765" cy="190500"/>
          </a:xfrm>
        </p:spPr>
        <p:txBody>
          <a:bodyPr/>
          <a:lstStyle/>
          <a:p>
            <a:r>
              <a:rPr lang="en-US"/>
              <a:t>IBM watsonx.data | © 2023 IBM Corporation</a:t>
            </a:r>
          </a:p>
        </p:txBody>
      </p:sp>
    </p:spTree>
    <p:extLst>
      <p:ext uri="{BB962C8B-B14F-4D97-AF65-F5344CB8AC3E}">
        <p14:creationId xmlns:p14="http://schemas.microsoft.com/office/powerpoint/2010/main" val="2601862412"/>
      </p:ext>
    </p:extLst>
  </p:cSld>
  <p:clrMapOvr>
    <a:masterClrMapping/>
  </p:clrMapOvr>
  <p:transition spd="med"/>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Cover, imagery">
    <p:spTree>
      <p:nvGrpSpPr>
        <p:cNvPr id="1" name=""/>
        <p:cNvGrpSpPr/>
        <p:nvPr/>
      </p:nvGrpSpPr>
      <p:grpSpPr>
        <a:xfrm>
          <a:off x="0" y="0"/>
          <a:ext cx="0" cy="0"/>
          <a:chOff x="0" y="0"/>
          <a:chExt cx="0" cy="0"/>
        </a:xfrm>
      </p:grpSpPr>
      <p:sp>
        <p:nvSpPr>
          <p:cNvPr id="2" name="Picture Placeholder 4" descr="Place imagery here">
            <a:extLst>
              <a:ext uri="{FF2B5EF4-FFF2-40B4-BE49-F238E27FC236}">
                <a16:creationId xmlns:a16="http://schemas.microsoft.com/office/drawing/2014/main" id="{D72D68CE-C180-63E0-A4F0-107D9233C5D5}"/>
              </a:ext>
            </a:extLst>
          </p:cNvPr>
          <p:cNvSpPr txBox="1">
            <a:spLocks noGrp="1"/>
          </p:cNvSpPr>
          <p:nvPr>
            <p:ph type="pic" idx="4294967295"/>
          </p:nvPr>
        </p:nvSpPr>
        <p:spPr>
          <a:xfrm>
            <a:off x="0" y="0"/>
            <a:ext cx="12192000" cy="6097590"/>
          </a:xfrm>
          <a:solidFill>
            <a:srgbClr val="E0E0E0"/>
          </a:solidFill>
        </p:spPr>
        <p:txBody>
          <a:bodyPr anchor="ctr" anchorCtr="1"/>
          <a:lstStyle>
            <a:lvl1pPr algn="ctr">
              <a:defRPr>
                <a:solidFill>
                  <a:srgbClr val="9F1853"/>
                </a:solidFill>
              </a:defRPr>
            </a:lvl1pPr>
          </a:lstStyle>
          <a:p>
            <a:pPr lvl="0"/>
            <a:r>
              <a:rPr lang="en-US"/>
              <a:t>Place imagery here</a:t>
            </a:r>
          </a:p>
        </p:txBody>
      </p:sp>
      <p:sp>
        <p:nvSpPr>
          <p:cNvPr id="3" name="Text Placeholder 6">
            <a:extLst>
              <a:ext uri="{FF2B5EF4-FFF2-40B4-BE49-F238E27FC236}">
                <a16:creationId xmlns:a16="http://schemas.microsoft.com/office/drawing/2014/main" id="{D02E15EC-D823-ADC4-D385-9713E6DD970E}"/>
              </a:ext>
            </a:extLst>
          </p:cNvPr>
          <p:cNvSpPr txBox="1">
            <a:spLocks noGrp="1"/>
          </p:cNvSpPr>
          <p:nvPr>
            <p:ph type="body" idx="4294967295"/>
          </p:nvPr>
        </p:nvSpPr>
        <p:spPr>
          <a:xfrm>
            <a:off x="287962" y="6083297"/>
            <a:ext cx="2470903" cy="537146"/>
          </a:xfrm>
        </p:spPr>
        <p:txBody>
          <a:bodyPr anchor="b"/>
          <a:lstStyle>
            <a:lvl1pPr>
              <a:defRPr sz="1200"/>
            </a:lvl1pPr>
            <a:lvl2pPr marL="127990" indent="-127990">
              <a:defRPr sz="1200"/>
            </a:lvl2pPr>
            <a:lvl3pPr marL="255981" indent="-127990">
              <a:defRPr sz="1200"/>
            </a:lvl3pPr>
            <a:lvl4pPr marL="383971" indent="-127990">
              <a:defRPr sz="12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 Placeholder 5">
            <a:extLst>
              <a:ext uri="{FF2B5EF4-FFF2-40B4-BE49-F238E27FC236}">
                <a16:creationId xmlns:a16="http://schemas.microsoft.com/office/drawing/2014/main" id="{85F8BC1A-9CF6-CFFF-D2B4-E34E3A51C952}"/>
              </a:ext>
            </a:extLst>
          </p:cNvPr>
          <p:cNvSpPr txBox="1">
            <a:spLocks noGrp="1"/>
          </p:cNvSpPr>
          <p:nvPr>
            <p:ph type="body" idx="4294967295"/>
          </p:nvPr>
        </p:nvSpPr>
        <p:spPr>
          <a:xfrm>
            <a:off x="3335315" y="6083302"/>
            <a:ext cx="2473386" cy="538508"/>
          </a:xfrm>
        </p:spPr>
        <p:txBody>
          <a:bodyPr anchor="b"/>
          <a:lstStyle>
            <a:lvl1pPr>
              <a:defRPr sz="1200"/>
            </a:lvl1pPr>
            <a:lvl2pPr marL="127990" indent="-127990">
              <a:defRPr sz="1200"/>
            </a:lvl2pPr>
            <a:lvl3pPr marL="255981" indent="-127990">
              <a:defRPr sz="1200"/>
            </a:lvl3pPr>
            <a:lvl4pPr marL="383971" indent="-127990">
              <a:defRPr sz="1200"/>
            </a:lvl4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5" name="Picture 3" descr="IBM 8-bar logo">
            <a:extLst>
              <a:ext uri="{FF2B5EF4-FFF2-40B4-BE49-F238E27FC236}">
                <a16:creationId xmlns:a16="http://schemas.microsoft.com/office/drawing/2014/main" id="{263DC520-3E6D-A9C6-E97B-10F1A93B4016}"/>
              </a:ext>
            </a:extLst>
          </p:cNvPr>
          <p:cNvPicPr>
            <a:picLocks noChangeAspect="1"/>
          </p:cNvPicPr>
          <p:nvPr/>
        </p:nvPicPr>
        <p:blipFill>
          <a:blip r:embed="rId2"/>
          <a:stretch>
            <a:fillRect/>
          </a:stretch>
        </p:blipFill>
        <p:spPr>
          <a:xfrm>
            <a:off x="11185445" y="6288882"/>
            <a:ext cx="769061" cy="286198"/>
          </a:xfrm>
          <a:prstGeom prst="rect">
            <a:avLst/>
          </a:prstGeom>
          <a:noFill/>
          <a:ln cap="flat">
            <a:noFill/>
          </a:ln>
        </p:spPr>
      </p:pic>
      <p:sp>
        <p:nvSpPr>
          <p:cNvPr id="6" name="Title 1">
            <a:extLst>
              <a:ext uri="{FF2B5EF4-FFF2-40B4-BE49-F238E27FC236}">
                <a16:creationId xmlns:a16="http://schemas.microsoft.com/office/drawing/2014/main" id="{2DED3365-4F65-884F-E6CD-41DEB3A8BEB5}"/>
              </a:ext>
            </a:extLst>
          </p:cNvPr>
          <p:cNvSpPr txBox="1">
            <a:spLocks noGrp="1"/>
          </p:cNvSpPr>
          <p:nvPr>
            <p:ph type="title"/>
          </p:nvPr>
        </p:nvSpPr>
        <p:spPr>
          <a:xfrm>
            <a:off x="287962" y="155576"/>
            <a:ext cx="5049880" cy="3654427"/>
          </a:xfrm>
        </p:spPr>
        <p:txBody>
          <a:bodyPr/>
          <a:lstStyle>
            <a:lvl1pPr>
              <a:lnSpc>
                <a:spcPct val="100000"/>
              </a:lnSpc>
              <a:defRPr sz="4199"/>
            </a:lvl1pPr>
          </a:lstStyle>
          <a:p>
            <a:pPr lvl="0"/>
            <a:r>
              <a:rPr lang="en-US"/>
              <a:t>Click to edit Master title style</a:t>
            </a:r>
          </a:p>
        </p:txBody>
      </p:sp>
    </p:spTree>
    <p:extLst>
      <p:ext uri="{BB962C8B-B14F-4D97-AF65-F5344CB8AC3E}">
        <p14:creationId xmlns:p14="http://schemas.microsoft.com/office/powerpoint/2010/main" val="8533036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6B6C380-AF41-0A4E-E601-3711A24419F9}"/>
              </a:ext>
            </a:extLst>
          </p:cNvPr>
          <p:cNvSpPr>
            <a:spLocks noGrp="1"/>
          </p:cNvSpPr>
          <p:nvPr>
            <p:ph type="dt" sz="half" idx="10"/>
          </p:nvPr>
        </p:nvSpPr>
        <p:spPr/>
        <p:txBody>
          <a:bodyPr/>
          <a:lstStyle/>
          <a:p>
            <a:fld id="{C1064F87-A3FE-7D41-BA7F-E073D7C6AC88}" type="datetimeFigureOut">
              <a:rPr lang="en-US" smtClean="0"/>
              <a:t>3/24/2025</a:t>
            </a:fld>
            <a:endParaRPr lang="en-US"/>
          </a:p>
        </p:txBody>
      </p:sp>
      <p:sp>
        <p:nvSpPr>
          <p:cNvPr id="3" name="Footer Placeholder 2">
            <a:extLst>
              <a:ext uri="{FF2B5EF4-FFF2-40B4-BE49-F238E27FC236}">
                <a16:creationId xmlns:a16="http://schemas.microsoft.com/office/drawing/2014/main" id="{BF912BAC-B6FC-A948-67BB-8BC694711DA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D04C0F0-07FF-EAD1-EB48-DB3E3C337CCD}"/>
              </a:ext>
            </a:extLst>
          </p:cNvPr>
          <p:cNvSpPr>
            <a:spLocks noGrp="1"/>
          </p:cNvSpPr>
          <p:nvPr>
            <p:ph type="sldNum" sz="quarter" idx="12"/>
          </p:nvPr>
        </p:nvSpPr>
        <p:spPr/>
        <p:txBody>
          <a:bodyPr/>
          <a:lstStyle/>
          <a:p>
            <a:fld id="{DED3338A-C6D4-DE4D-B610-199F7004D0E1}" type="slidenum">
              <a:rPr lang="en-US" smtClean="0"/>
              <a:t>‹#›</a:t>
            </a:fld>
            <a:endParaRPr lang="en-US"/>
          </a:p>
        </p:txBody>
      </p:sp>
    </p:spTree>
    <p:extLst>
      <p:ext uri="{BB962C8B-B14F-4D97-AF65-F5344CB8AC3E}">
        <p14:creationId xmlns:p14="http://schemas.microsoft.com/office/powerpoint/2010/main" val="204993206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Cover, cyan">
    <p:spTree>
      <p:nvGrpSpPr>
        <p:cNvPr id="1" name=""/>
        <p:cNvGrpSpPr/>
        <p:nvPr/>
      </p:nvGrpSpPr>
      <p:grpSpPr>
        <a:xfrm>
          <a:off x="0" y="0"/>
          <a:ext cx="0" cy="0"/>
          <a:chOff x="0" y="0"/>
          <a:chExt cx="0" cy="0"/>
        </a:xfrm>
      </p:grpSpPr>
      <p:sp>
        <p:nvSpPr>
          <p:cNvPr id="2" name="Rectangle 2" descr="Blue 10 full slide background ">
            <a:extLst>
              <a:ext uri="{FF2B5EF4-FFF2-40B4-BE49-F238E27FC236}">
                <a16:creationId xmlns:a16="http://schemas.microsoft.com/office/drawing/2014/main" id="{AFC5C58A-2B68-2C13-C9B4-4FB96F999DD9}"/>
              </a:ext>
            </a:extLst>
          </p:cNvPr>
          <p:cNvSpPr/>
          <p:nvPr/>
        </p:nvSpPr>
        <p:spPr>
          <a:xfrm>
            <a:off x="0" y="0"/>
            <a:ext cx="12192000" cy="6097590"/>
          </a:xfrm>
          <a:prstGeom prst="rect">
            <a:avLst/>
          </a:prstGeom>
          <a:solidFill>
            <a:srgbClr val="E5F6FF"/>
          </a:solidFill>
          <a:ln cap="flat">
            <a:noFill/>
            <a:prstDash val="solid"/>
          </a:ln>
        </p:spPr>
        <p:txBody>
          <a:bodyPr vert="horz" wrap="square" lIns="45714" tIns="45714" rIns="45714" bIns="45714" anchor="t" anchorCtr="0" compatLnSpc="1">
            <a:noAutofit/>
          </a:bodyPr>
          <a:lstStyle/>
          <a:p>
            <a:pPr marL="0" marR="0" lvl="0" indent="0" algn="l" defTabSz="457109"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700" b="0" i="0" u="none" strike="noStrike" kern="1200" cap="none" spc="0" baseline="0">
              <a:solidFill>
                <a:srgbClr val="FFFFFF"/>
              </a:solidFill>
              <a:uFillTx/>
              <a:latin typeface="IBM Plex Sans Light"/>
            </a:endParaRPr>
          </a:p>
        </p:txBody>
      </p:sp>
      <p:pic>
        <p:nvPicPr>
          <p:cNvPr id="3" name="Picture 6" descr="IBM 8-bar logo">
            <a:extLst>
              <a:ext uri="{FF2B5EF4-FFF2-40B4-BE49-F238E27FC236}">
                <a16:creationId xmlns:a16="http://schemas.microsoft.com/office/drawing/2014/main" id="{F869FEAF-628A-1E2E-AD64-742ACA686FCA}"/>
              </a:ext>
            </a:extLst>
          </p:cNvPr>
          <p:cNvPicPr>
            <a:picLocks noChangeAspect="1"/>
          </p:cNvPicPr>
          <p:nvPr/>
        </p:nvPicPr>
        <p:blipFill>
          <a:blip r:embed="rId2"/>
          <a:stretch>
            <a:fillRect/>
          </a:stretch>
        </p:blipFill>
        <p:spPr>
          <a:xfrm>
            <a:off x="11185445" y="6288882"/>
            <a:ext cx="769061" cy="286198"/>
          </a:xfrm>
          <a:prstGeom prst="rect">
            <a:avLst/>
          </a:prstGeom>
          <a:noFill/>
          <a:ln cap="flat">
            <a:noFill/>
          </a:ln>
        </p:spPr>
      </p:pic>
      <p:sp>
        <p:nvSpPr>
          <p:cNvPr id="4" name="Text Placeholder 6">
            <a:extLst>
              <a:ext uri="{FF2B5EF4-FFF2-40B4-BE49-F238E27FC236}">
                <a16:creationId xmlns:a16="http://schemas.microsoft.com/office/drawing/2014/main" id="{9EBA9100-0787-EEDD-2412-BF77F79AF8E1}"/>
              </a:ext>
            </a:extLst>
          </p:cNvPr>
          <p:cNvSpPr txBox="1">
            <a:spLocks noGrp="1"/>
          </p:cNvSpPr>
          <p:nvPr>
            <p:ph type="body" idx="4294967295"/>
          </p:nvPr>
        </p:nvSpPr>
        <p:spPr>
          <a:xfrm>
            <a:off x="287962" y="6083297"/>
            <a:ext cx="2470903" cy="537146"/>
          </a:xfrm>
        </p:spPr>
        <p:txBody>
          <a:bodyPr anchor="b"/>
          <a:lstStyle>
            <a:lvl1pPr>
              <a:defRPr sz="1200"/>
            </a:lvl1pPr>
            <a:lvl2pPr marL="127990" indent="-127990">
              <a:defRPr sz="1200"/>
            </a:lvl2pPr>
            <a:lvl3pPr marL="255981" indent="-127990">
              <a:defRPr sz="1200"/>
            </a:lvl3pPr>
            <a:lvl4pPr marL="383971" indent="-127990">
              <a:defRPr sz="12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5">
            <a:extLst>
              <a:ext uri="{FF2B5EF4-FFF2-40B4-BE49-F238E27FC236}">
                <a16:creationId xmlns:a16="http://schemas.microsoft.com/office/drawing/2014/main" id="{8C9DF575-D182-6EBB-1793-1B2E536049A7}"/>
              </a:ext>
            </a:extLst>
          </p:cNvPr>
          <p:cNvSpPr txBox="1">
            <a:spLocks noGrp="1"/>
          </p:cNvSpPr>
          <p:nvPr>
            <p:ph type="body" idx="4294967295"/>
          </p:nvPr>
        </p:nvSpPr>
        <p:spPr>
          <a:xfrm>
            <a:off x="3335315" y="6083302"/>
            <a:ext cx="2473386" cy="538508"/>
          </a:xfrm>
        </p:spPr>
        <p:txBody>
          <a:bodyPr anchor="b"/>
          <a:lstStyle>
            <a:lvl1pPr>
              <a:defRPr sz="1200"/>
            </a:lvl1pPr>
            <a:lvl2pPr marL="127990" indent="-127990">
              <a:defRPr sz="1200"/>
            </a:lvl2pPr>
            <a:lvl3pPr marL="255981" indent="-127990">
              <a:defRPr sz="1200"/>
            </a:lvl3pPr>
            <a:lvl4pPr marL="383971" indent="-127990">
              <a:defRPr sz="12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itle 1">
            <a:extLst>
              <a:ext uri="{FF2B5EF4-FFF2-40B4-BE49-F238E27FC236}">
                <a16:creationId xmlns:a16="http://schemas.microsoft.com/office/drawing/2014/main" id="{88AD5AFF-758B-92F7-19D0-87B4E8F2740D}"/>
              </a:ext>
            </a:extLst>
          </p:cNvPr>
          <p:cNvSpPr txBox="1">
            <a:spLocks noGrp="1"/>
          </p:cNvSpPr>
          <p:nvPr>
            <p:ph type="title"/>
          </p:nvPr>
        </p:nvSpPr>
        <p:spPr>
          <a:xfrm>
            <a:off x="287962" y="155576"/>
            <a:ext cx="5049880" cy="3654427"/>
          </a:xfrm>
        </p:spPr>
        <p:txBody>
          <a:bodyPr/>
          <a:lstStyle>
            <a:lvl1pPr>
              <a:lnSpc>
                <a:spcPct val="100000"/>
              </a:lnSpc>
              <a:defRPr sz="4199"/>
            </a:lvl1pPr>
          </a:lstStyle>
          <a:p>
            <a:pPr lvl="0"/>
            <a:r>
              <a:rPr lang="en-US"/>
              <a:t>Click to edit Master title style</a:t>
            </a:r>
          </a:p>
        </p:txBody>
      </p:sp>
    </p:spTree>
    <p:extLst>
      <p:ext uri="{BB962C8B-B14F-4D97-AF65-F5344CB8AC3E}">
        <p14:creationId xmlns:p14="http://schemas.microsoft.com/office/powerpoint/2010/main" val="409127571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Cover, plain">
    <p:bg>
      <p:bgPr>
        <a:solidFill>
          <a:srgbClr val="FFFFFF"/>
        </a:solidFill>
        <a:effectLst/>
      </p:bgPr>
    </p:bg>
    <p:spTree>
      <p:nvGrpSpPr>
        <p:cNvPr id="1" name=""/>
        <p:cNvGrpSpPr/>
        <p:nvPr/>
      </p:nvGrpSpPr>
      <p:grpSpPr>
        <a:xfrm>
          <a:off x="0" y="0"/>
          <a:ext cx="0" cy="0"/>
          <a:chOff x="0" y="0"/>
          <a:chExt cx="0" cy="0"/>
        </a:xfrm>
      </p:grpSpPr>
      <p:pic>
        <p:nvPicPr>
          <p:cNvPr id="2" name="Picture 3" descr="IBM 8-bar logo">
            <a:extLst>
              <a:ext uri="{FF2B5EF4-FFF2-40B4-BE49-F238E27FC236}">
                <a16:creationId xmlns:a16="http://schemas.microsoft.com/office/drawing/2014/main" id="{A4F4DE27-4D81-17C3-217E-3AC28856785C}"/>
              </a:ext>
            </a:extLst>
          </p:cNvPr>
          <p:cNvPicPr>
            <a:picLocks noChangeAspect="1"/>
          </p:cNvPicPr>
          <p:nvPr/>
        </p:nvPicPr>
        <p:blipFill>
          <a:blip r:embed="rId2"/>
          <a:stretch>
            <a:fillRect/>
          </a:stretch>
        </p:blipFill>
        <p:spPr>
          <a:xfrm>
            <a:off x="11185445" y="6288882"/>
            <a:ext cx="769061" cy="286198"/>
          </a:xfrm>
          <a:prstGeom prst="rect">
            <a:avLst/>
          </a:prstGeom>
          <a:noFill/>
          <a:ln cap="flat">
            <a:noFill/>
          </a:ln>
        </p:spPr>
      </p:pic>
      <p:sp>
        <p:nvSpPr>
          <p:cNvPr id="3" name="Title 1">
            <a:extLst>
              <a:ext uri="{FF2B5EF4-FFF2-40B4-BE49-F238E27FC236}">
                <a16:creationId xmlns:a16="http://schemas.microsoft.com/office/drawing/2014/main" id="{50BA78A0-BCE6-29E0-673F-D7363B853BC1}"/>
              </a:ext>
            </a:extLst>
          </p:cNvPr>
          <p:cNvSpPr txBox="1">
            <a:spLocks noGrp="1"/>
          </p:cNvSpPr>
          <p:nvPr>
            <p:ph type="title"/>
          </p:nvPr>
        </p:nvSpPr>
        <p:spPr>
          <a:xfrm>
            <a:off x="287962" y="155576"/>
            <a:ext cx="5049880" cy="5178426"/>
          </a:xfrm>
        </p:spPr>
        <p:txBody>
          <a:bodyPr/>
          <a:lstStyle>
            <a:lvl1pPr>
              <a:lnSpc>
                <a:spcPct val="100000"/>
              </a:lnSpc>
              <a:defRPr sz="4199"/>
            </a:lvl1pPr>
          </a:lstStyle>
          <a:p>
            <a:pPr lvl="0"/>
            <a:r>
              <a:rPr lang="en-US"/>
              <a:t>Click to edit Master title style</a:t>
            </a:r>
          </a:p>
        </p:txBody>
      </p:sp>
    </p:spTree>
    <p:extLst>
      <p:ext uri="{BB962C8B-B14F-4D97-AF65-F5344CB8AC3E}">
        <p14:creationId xmlns:p14="http://schemas.microsoft.com/office/powerpoint/2010/main" val="191485735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Cover, plain, label">
    <p:bg>
      <p:bgPr>
        <a:solidFill>
          <a:srgbClr val="FFFFFF"/>
        </a:solidFill>
        <a:effectLst/>
      </p:bgPr>
    </p:bg>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0950F7F6-2434-1156-7D65-C1A54E87E153}"/>
              </a:ext>
            </a:extLst>
          </p:cNvPr>
          <p:cNvSpPr txBox="1">
            <a:spLocks noGrp="1"/>
          </p:cNvSpPr>
          <p:nvPr>
            <p:ph type="body" idx="4294967295"/>
          </p:nvPr>
        </p:nvSpPr>
        <p:spPr>
          <a:xfrm>
            <a:off x="287962" y="6239573"/>
            <a:ext cx="5518503" cy="380998"/>
          </a:xfrm>
        </p:spPr>
        <p:txBody>
          <a:bodyPr anchor="b"/>
          <a:lstStyle>
            <a:lvl1pPr>
              <a:defRPr sz="1400"/>
            </a:lvl1pPr>
          </a:lstStyle>
          <a:p>
            <a:pPr lvl="0"/>
            <a:r>
              <a:rPr lang="en-US"/>
              <a:t>Click to edit Master text styles</a:t>
            </a:r>
          </a:p>
        </p:txBody>
      </p:sp>
      <p:pic>
        <p:nvPicPr>
          <p:cNvPr id="3" name="Picture 3" descr="IBM 8-bar logo">
            <a:extLst>
              <a:ext uri="{FF2B5EF4-FFF2-40B4-BE49-F238E27FC236}">
                <a16:creationId xmlns:a16="http://schemas.microsoft.com/office/drawing/2014/main" id="{CF2F65F9-03E6-56CE-593C-6BF28FC2D84D}"/>
              </a:ext>
            </a:extLst>
          </p:cNvPr>
          <p:cNvPicPr>
            <a:picLocks noChangeAspect="1"/>
          </p:cNvPicPr>
          <p:nvPr/>
        </p:nvPicPr>
        <p:blipFill>
          <a:blip r:embed="rId2"/>
          <a:stretch>
            <a:fillRect/>
          </a:stretch>
        </p:blipFill>
        <p:spPr>
          <a:xfrm>
            <a:off x="11185445" y="6288882"/>
            <a:ext cx="769061" cy="286198"/>
          </a:xfrm>
          <a:prstGeom prst="rect">
            <a:avLst/>
          </a:prstGeom>
          <a:noFill/>
          <a:ln cap="flat">
            <a:noFill/>
          </a:ln>
        </p:spPr>
      </p:pic>
      <p:sp>
        <p:nvSpPr>
          <p:cNvPr id="4" name="Title 1">
            <a:extLst>
              <a:ext uri="{FF2B5EF4-FFF2-40B4-BE49-F238E27FC236}">
                <a16:creationId xmlns:a16="http://schemas.microsoft.com/office/drawing/2014/main" id="{7626CF56-C882-086E-5962-FF1F44FC985A}"/>
              </a:ext>
            </a:extLst>
          </p:cNvPr>
          <p:cNvSpPr txBox="1">
            <a:spLocks noGrp="1"/>
          </p:cNvSpPr>
          <p:nvPr>
            <p:ph type="title"/>
          </p:nvPr>
        </p:nvSpPr>
        <p:spPr>
          <a:xfrm>
            <a:off x="287962" y="155576"/>
            <a:ext cx="5049880" cy="5178426"/>
          </a:xfrm>
        </p:spPr>
        <p:txBody>
          <a:bodyPr/>
          <a:lstStyle>
            <a:lvl1pPr>
              <a:lnSpc>
                <a:spcPct val="100000"/>
              </a:lnSpc>
              <a:defRPr sz="4199"/>
            </a:lvl1pPr>
          </a:lstStyle>
          <a:p>
            <a:pPr lvl="0"/>
            <a:r>
              <a:rPr lang="en-US"/>
              <a:t>Click to edit Master title style</a:t>
            </a:r>
          </a:p>
        </p:txBody>
      </p:sp>
    </p:spTree>
    <p:extLst>
      <p:ext uri="{BB962C8B-B14F-4D97-AF65-F5344CB8AC3E}">
        <p14:creationId xmlns:p14="http://schemas.microsoft.com/office/powerpoint/2010/main" val="207279697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Cover, imagery, half ">
    <p:bg>
      <p:bgPr>
        <a:solidFill>
          <a:srgbClr val="FFFFFF"/>
        </a:solidFill>
        <a:effectLst/>
      </p:bgPr>
    </p:bg>
    <p:spTree>
      <p:nvGrpSpPr>
        <p:cNvPr id="1" name=""/>
        <p:cNvGrpSpPr/>
        <p:nvPr/>
      </p:nvGrpSpPr>
      <p:grpSpPr>
        <a:xfrm>
          <a:off x="0" y="0"/>
          <a:ext cx="0" cy="0"/>
          <a:chOff x="0" y="0"/>
          <a:chExt cx="0" cy="0"/>
        </a:xfrm>
      </p:grpSpPr>
      <p:sp>
        <p:nvSpPr>
          <p:cNvPr id="2" name="Picture Placeholder 6" descr="Place imagery here">
            <a:extLst>
              <a:ext uri="{FF2B5EF4-FFF2-40B4-BE49-F238E27FC236}">
                <a16:creationId xmlns:a16="http://schemas.microsoft.com/office/drawing/2014/main" id="{A8486E5B-656F-CE46-F8C4-20B3C19180FC}"/>
              </a:ext>
            </a:extLst>
          </p:cNvPr>
          <p:cNvSpPr txBox="1">
            <a:spLocks noGrp="1"/>
          </p:cNvSpPr>
          <p:nvPr>
            <p:ph type="pic" idx="4294967295"/>
          </p:nvPr>
        </p:nvSpPr>
        <p:spPr>
          <a:xfrm>
            <a:off x="6380917" y="285750"/>
            <a:ext cx="5520849" cy="6289330"/>
          </a:xfrm>
          <a:solidFill>
            <a:srgbClr val="E0E0E0"/>
          </a:solidFill>
        </p:spPr>
        <p:txBody>
          <a:bodyPr anchor="ctr" anchorCtr="1"/>
          <a:lstStyle>
            <a:lvl1pPr algn="ctr">
              <a:defRPr>
                <a:solidFill>
                  <a:srgbClr val="9F1853"/>
                </a:solidFill>
              </a:defRPr>
            </a:lvl1pPr>
          </a:lstStyle>
          <a:p>
            <a:pPr lvl="0"/>
            <a:r>
              <a:rPr lang="en-US"/>
              <a:t>Place imagery here</a:t>
            </a:r>
          </a:p>
        </p:txBody>
      </p:sp>
      <p:pic>
        <p:nvPicPr>
          <p:cNvPr id="3" name="Picture 2" descr="IBM 8-bar logo">
            <a:extLst>
              <a:ext uri="{FF2B5EF4-FFF2-40B4-BE49-F238E27FC236}">
                <a16:creationId xmlns:a16="http://schemas.microsoft.com/office/drawing/2014/main" id="{5F086272-09F0-7379-70FC-1FD74A3BC538}"/>
              </a:ext>
            </a:extLst>
          </p:cNvPr>
          <p:cNvPicPr>
            <a:picLocks noChangeAspect="1"/>
          </p:cNvPicPr>
          <p:nvPr/>
        </p:nvPicPr>
        <p:blipFill>
          <a:blip r:embed="rId2"/>
          <a:stretch>
            <a:fillRect/>
          </a:stretch>
        </p:blipFill>
        <p:spPr>
          <a:xfrm>
            <a:off x="290005" y="6288882"/>
            <a:ext cx="769061" cy="286198"/>
          </a:xfrm>
          <a:prstGeom prst="rect">
            <a:avLst/>
          </a:prstGeom>
          <a:noFill/>
          <a:ln cap="flat">
            <a:noFill/>
          </a:ln>
        </p:spPr>
      </p:pic>
      <p:sp>
        <p:nvSpPr>
          <p:cNvPr id="4" name="Title 1">
            <a:extLst>
              <a:ext uri="{FF2B5EF4-FFF2-40B4-BE49-F238E27FC236}">
                <a16:creationId xmlns:a16="http://schemas.microsoft.com/office/drawing/2014/main" id="{628FADC0-6340-EAFB-93EA-C5FF41044BD1}"/>
              </a:ext>
            </a:extLst>
          </p:cNvPr>
          <p:cNvSpPr txBox="1">
            <a:spLocks noGrp="1"/>
          </p:cNvSpPr>
          <p:nvPr>
            <p:ph type="title"/>
          </p:nvPr>
        </p:nvSpPr>
        <p:spPr>
          <a:xfrm>
            <a:off x="287962" y="155576"/>
            <a:ext cx="5049880" cy="5178426"/>
          </a:xfrm>
        </p:spPr>
        <p:txBody>
          <a:bodyPr/>
          <a:lstStyle>
            <a:lvl1pPr>
              <a:lnSpc>
                <a:spcPct val="100000"/>
              </a:lnSpc>
              <a:defRPr sz="4199"/>
            </a:lvl1pPr>
          </a:lstStyle>
          <a:p>
            <a:pPr lvl="0"/>
            <a:r>
              <a:rPr lang="en-US"/>
              <a:t>Click to edit Master title style</a:t>
            </a:r>
          </a:p>
        </p:txBody>
      </p:sp>
    </p:spTree>
    <p:extLst>
      <p:ext uri="{BB962C8B-B14F-4D97-AF65-F5344CB8AC3E}">
        <p14:creationId xmlns:p14="http://schemas.microsoft.com/office/powerpoint/2010/main" val="114747323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Cover, imagery, half, label">
    <p:bg>
      <p:bgPr>
        <a:solidFill>
          <a:srgbClr val="FFFFFF"/>
        </a:solidFill>
        <a:effectLst/>
      </p:bgPr>
    </p:bg>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BA65D656-6E8F-B765-8B3D-2719D4C380BC}"/>
              </a:ext>
            </a:extLst>
          </p:cNvPr>
          <p:cNvSpPr txBox="1">
            <a:spLocks noGrp="1"/>
          </p:cNvSpPr>
          <p:nvPr>
            <p:ph type="body" idx="4294967295"/>
          </p:nvPr>
        </p:nvSpPr>
        <p:spPr>
          <a:xfrm>
            <a:off x="287961" y="288036"/>
            <a:ext cx="5049181" cy="285750"/>
          </a:xfrm>
        </p:spPr>
        <p:txBody>
          <a:bodyPr/>
          <a:lstStyle>
            <a:lvl1pPr>
              <a:defRPr sz="1400"/>
            </a:lvl1pPr>
          </a:lstStyle>
          <a:p>
            <a:pPr lvl="0"/>
            <a:r>
              <a:rPr lang="en-US"/>
              <a:t>Click to edit Master text styles</a:t>
            </a:r>
          </a:p>
        </p:txBody>
      </p:sp>
      <p:sp>
        <p:nvSpPr>
          <p:cNvPr id="3" name="Title 1">
            <a:extLst>
              <a:ext uri="{FF2B5EF4-FFF2-40B4-BE49-F238E27FC236}">
                <a16:creationId xmlns:a16="http://schemas.microsoft.com/office/drawing/2014/main" id="{5EDA8D4A-F2EE-DFAB-27E9-8C855B9F6767}"/>
              </a:ext>
            </a:extLst>
          </p:cNvPr>
          <p:cNvSpPr txBox="1">
            <a:spLocks noGrp="1"/>
          </p:cNvSpPr>
          <p:nvPr>
            <p:ph type="title"/>
          </p:nvPr>
        </p:nvSpPr>
        <p:spPr>
          <a:xfrm>
            <a:off x="287961" y="755998"/>
            <a:ext cx="5049181" cy="4573586"/>
          </a:xfrm>
        </p:spPr>
        <p:txBody>
          <a:bodyPr/>
          <a:lstStyle>
            <a:lvl1pPr>
              <a:lnSpc>
                <a:spcPct val="100000"/>
              </a:lnSpc>
              <a:defRPr sz="4199"/>
            </a:lvl1pPr>
          </a:lstStyle>
          <a:p>
            <a:pPr lvl="0"/>
            <a:r>
              <a:rPr lang="en-US"/>
              <a:t>Click to edit Master title style</a:t>
            </a:r>
          </a:p>
        </p:txBody>
      </p:sp>
      <p:pic>
        <p:nvPicPr>
          <p:cNvPr id="4" name="Picture 2" descr="IBM 8-bar logo">
            <a:extLst>
              <a:ext uri="{FF2B5EF4-FFF2-40B4-BE49-F238E27FC236}">
                <a16:creationId xmlns:a16="http://schemas.microsoft.com/office/drawing/2014/main" id="{78FDB096-458A-F218-2DA6-76E2281A5F48}"/>
              </a:ext>
            </a:extLst>
          </p:cNvPr>
          <p:cNvPicPr>
            <a:picLocks noChangeAspect="1"/>
          </p:cNvPicPr>
          <p:nvPr/>
        </p:nvPicPr>
        <p:blipFill>
          <a:blip r:embed="rId2"/>
          <a:stretch>
            <a:fillRect/>
          </a:stretch>
        </p:blipFill>
        <p:spPr>
          <a:xfrm>
            <a:off x="290005" y="6288882"/>
            <a:ext cx="769061" cy="286198"/>
          </a:xfrm>
          <a:prstGeom prst="rect">
            <a:avLst/>
          </a:prstGeom>
          <a:noFill/>
          <a:ln cap="flat">
            <a:noFill/>
          </a:ln>
        </p:spPr>
      </p:pic>
      <p:sp>
        <p:nvSpPr>
          <p:cNvPr id="5" name="Picture Placeholder 6" descr="Place imagery here">
            <a:extLst>
              <a:ext uri="{FF2B5EF4-FFF2-40B4-BE49-F238E27FC236}">
                <a16:creationId xmlns:a16="http://schemas.microsoft.com/office/drawing/2014/main" id="{459172DE-C736-0FC3-0353-F11BDF1E3BB8}"/>
              </a:ext>
            </a:extLst>
          </p:cNvPr>
          <p:cNvSpPr txBox="1">
            <a:spLocks noGrp="1"/>
          </p:cNvSpPr>
          <p:nvPr>
            <p:ph type="pic" idx="4294967295"/>
          </p:nvPr>
        </p:nvSpPr>
        <p:spPr>
          <a:xfrm>
            <a:off x="6380917" y="284954"/>
            <a:ext cx="5520849" cy="6290126"/>
          </a:xfrm>
          <a:solidFill>
            <a:srgbClr val="E0E0E0"/>
          </a:solidFill>
        </p:spPr>
        <p:txBody>
          <a:bodyPr anchor="ctr" anchorCtr="1"/>
          <a:lstStyle>
            <a:lvl1pPr algn="ctr">
              <a:defRPr>
                <a:solidFill>
                  <a:srgbClr val="9F1853"/>
                </a:solidFill>
              </a:defRPr>
            </a:lvl1pPr>
          </a:lstStyle>
          <a:p>
            <a:pPr lvl="0"/>
            <a:r>
              <a:rPr lang="en-US"/>
              <a:t>Place imagery here</a:t>
            </a:r>
          </a:p>
        </p:txBody>
      </p:sp>
    </p:spTree>
    <p:extLst>
      <p:ext uri="{BB962C8B-B14F-4D97-AF65-F5344CB8AC3E}">
        <p14:creationId xmlns:p14="http://schemas.microsoft.com/office/powerpoint/2010/main" val="243786670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Contents">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6AD329-D8A9-9FB5-9DA7-9672170C3D1F}"/>
              </a:ext>
            </a:extLst>
          </p:cNvPr>
          <p:cNvSpPr txBox="1">
            <a:spLocks noGrp="1"/>
          </p:cNvSpPr>
          <p:nvPr>
            <p:ph type="title"/>
          </p:nvPr>
        </p:nvSpPr>
        <p:spPr>
          <a:xfrm>
            <a:off x="287962" y="192024"/>
            <a:ext cx="2470716" cy="2105027"/>
          </a:xfrm>
        </p:spPr>
        <p:txBody>
          <a:bodyPr/>
          <a:lstStyle>
            <a:lvl1pPr>
              <a:lnSpc>
                <a:spcPct val="100000"/>
              </a:lnSpc>
              <a:defRPr sz="3399"/>
            </a:lvl1pPr>
          </a:lstStyle>
          <a:p>
            <a:pPr lvl="0"/>
            <a:r>
              <a:rPr lang="en-US"/>
              <a:t>Click to edit Master title style</a:t>
            </a:r>
          </a:p>
        </p:txBody>
      </p:sp>
      <p:sp>
        <p:nvSpPr>
          <p:cNvPr id="3" name="Text Placeholder 6">
            <a:extLst>
              <a:ext uri="{FF2B5EF4-FFF2-40B4-BE49-F238E27FC236}">
                <a16:creationId xmlns:a16="http://schemas.microsoft.com/office/drawing/2014/main" id="{80E428FD-5E46-3BFB-F4BF-71ACD1CFAA25}"/>
              </a:ext>
            </a:extLst>
          </p:cNvPr>
          <p:cNvSpPr txBox="1">
            <a:spLocks noGrp="1"/>
          </p:cNvSpPr>
          <p:nvPr>
            <p:ph type="body" idx="4294967295"/>
          </p:nvPr>
        </p:nvSpPr>
        <p:spPr>
          <a:xfrm>
            <a:off x="6382509" y="287336"/>
            <a:ext cx="2476179" cy="5808657"/>
          </a:xfrm>
        </p:spPr>
        <p:txBody>
          <a:bodyPr/>
          <a:lstStyle>
            <a:lvl1pPr defTabSz="580528">
              <a:defRPr/>
            </a:lvl1pPr>
            <a:lvl2pPr defTabSz="580528">
              <a:defRPr/>
            </a:lvl2pPr>
            <a:lvl3pPr defTabSz="580528">
              <a:defRPr/>
            </a:lvl3pPr>
            <a:lvl4pPr defTabSz="580528">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 Placeholder 9">
            <a:extLst>
              <a:ext uri="{FF2B5EF4-FFF2-40B4-BE49-F238E27FC236}">
                <a16:creationId xmlns:a16="http://schemas.microsoft.com/office/drawing/2014/main" id="{872A99A7-E0DB-D7AD-7698-4AE850C84428}"/>
              </a:ext>
            </a:extLst>
          </p:cNvPr>
          <p:cNvSpPr txBox="1">
            <a:spLocks noGrp="1"/>
          </p:cNvSpPr>
          <p:nvPr>
            <p:ph type="body" idx="4294967295"/>
          </p:nvPr>
        </p:nvSpPr>
        <p:spPr>
          <a:xfrm>
            <a:off x="9430108" y="287336"/>
            <a:ext cx="2470620" cy="5810248"/>
          </a:xfrm>
        </p:spPr>
        <p:txBody>
          <a:bodyPr/>
          <a:lstStyle>
            <a:lvl1pPr defTabSz="580528">
              <a:defRPr/>
            </a:lvl1pPr>
            <a:lvl2pPr defTabSz="580528">
              <a:defRPr/>
            </a:lvl2pPr>
            <a:lvl3pPr defTabSz="580528">
              <a:defRPr/>
            </a:lvl3pPr>
            <a:lvl4pPr defTabSz="580528">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63DDE39A-5C9C-5033-F78C-7D5DEE353E17}"/>
              </a:ext>
            </a:extLst>
          </p:cNvPr>
          <p:cNvSpPr txBox="1">
            <a:spLocks noGrp="1"/>
          </p:cNvSpPr>
          <p:nvPr>
            <p:ph type="ftr" sz="quarter" idx="9"/>
          </p:nvPr>
        </p:nvSpPr>
        <p:spPr>
          <a:xfrm>
            <a:off x="287962" y="6408001"/>
            <a:ext cx="2477765" cy="190502"/>
          </a:xfrm>
        </p:spPr>
        <p:txBody>
          <a:bodyPr/>
          <a:lstStyle>
            <a:lvl1pPr>
              <a:defRPr/>
            </a:lvl1pPr>
          </a:lstStyle>
          <a:p>
            <a:pPr lvl="0"/>
            <a:endParaRPr lang="en-US"/>
          </a:p>
        </p:txBody>
      </p:sp>
      <p:sp>
        <p:nvSpPr>
          <p:cNvPr id="6" name="Slide Number">
            <a:extLst>
              <a:ext uri="{FF2B5EF4-FFF2-40B4-BE49-F238E27FC236}">
                <a16:creationId xmlns:a16="http://schemas.microsoft.com/office/drawing/2014/main" id="{6A5292E0-9E66-35B0-2F98-6C8892C5489B}"/>
              </a:ext>
            </a:extLst>
          </p:cNvPr>
          <p:cNvSpPr txBox="1">
            <a:spLocks noGrp="1"/>
          </p:cNvSpPr>
          <p:nvPr>
            <p:ph type="sldNum" sz="quarter" idx="8"/>
          </p:nvPr>
        </p:nvSpPr>
        <p:spPr>
          <a:xfrm>
            <a:off x="11769264" y="6475767"/>
            <a:ext cx="135437" cy="123110"/>
          </a:xfrm>
        </p:spPr>
        <p:txBody>
          <a:bodyPr anchor="ctr"/>
          <a:lstStyle>
            <a:lvl1pPr>
              <a:defRPr/>
            </a:lvl1pPr>
          </a:lstStyle>
          <a:p>
            <a:pPr lvl="0"/>
            <a:fld id="{0BCF7474-92DE-5340-9872-A531F11B0CDC}" type="slidenum">
              <a:t>‹#›</a:t>
            </a:fld>
            <a:endParaRPr lang="en-US"/>
          </a:p>
        </p:txBody>
      </p:sp>
    </p:spTree>
    <p:extLst>
      <p:ext uri="{BB962C8B-B14F-4D97-AF65-F5344CB8AC3E}">
        <p14:creationId xmlns:p14="http://schemas.microsoft.com/office/powerpoint/2010/main" val="63853716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Section divider">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A1594-0B60-7236-0748-7FCBF8289916}"/>
              </a:ext>
            </a:extLst>
          </p:cNvPr>
          <p:cNvSpPr txBox="1">
            <a:spLocks noGrp="1"/>
          </p:cNvSpPr>
          <p:nvPr>
            <p:ph type="title"/>
          </p:nvPr>
        </p:nvSpPr>
        <p:spPr>
          <a:xfrm>
            <a:off x="287962" y="192024"/>
            <a:ext cx="5517525" cy="1331910"/>
          </a:xfrm>
        </p:spPr>
        <p:txBody>
          <a:bodyPr rIns="457200"/>
          <a:lstStyle>
            <a:lvl1pPr>
              <a:lnSpc>
                <a:spcPct val="100000"/>
              </a:lnSpc>
              <a:defRPr sz="3399"/>
            </a:lvl1pPr>
          </a:lstStyle>
          <a:p>
            <a:pPr lvl="0"/>
            <a:r>
              <a:rPr lang="en-US"/>
              <a:t>Click to edit Master title style</a:t>
            </a:r>
          </a:p>
        </p:txBody>
      </p:sp>
      <p:sp>
        <p:nvSpPr>
          <p:cNvPr id="3" name="Footer Placeholder 3">
            <a:extLst>
              <a:ext uri="{FF2B5EF4-FFF2-40B4-BE49-F238E27FC236}">
                <a16:creationId xmlns:a16="http://schemas.microsoft.com/office/drawing/2014/main" id="{301E7D3C-FC24-F329-C0E9-D258BEBBA89D}"/>
              </a:ext>
            </a:extLst>
          </p:cNvPr>
          <p:cNvSpPr txBox="1">
            <a:spLocks noGrp="1"/>
          </p:cNvSpPr>
          <p:nvPr>
            <p:ph type="ftr" sz="quarter" idx="9"/>
          </p:nvPr>
        </p:nvSpPr>
        <p:spPr>
          <a:xfrm>
            <a:off x="287962" y="6408001"/>
            <a:ext cx="2477765" cy="190502"/>
          </a:xfrm>
        </p:spPr>
        <p:txBody>
          <a:bodyPr/>
          <a:lstStyle>
            <a:lvl1pPr>
              <a:defRPr/>
            </a:lvl1pPr>
          </a:lstStyle>
          <a:p>
            <a:pPr lvl="0"/>
            <a:endParaRPr lang="en-US"/>
          </a:p>
        </p:txBody>
      </p:sp>
      <p:sp>
        <p:nvSpPr>
          <p:cNvPr id="4" name="Slide Number">
            <a:extLst>
              <a:ext uri="{FF2B5EF4-FFF2-40B4-BE49-F238E27FC236}">
                <a16:creationId xmlns:a16="http://schemas.microsoft.com/office/drawing/2014/main" id="{9C94564F-D10E-2293-AC87-BDCE40F19A16}"/>
              </a:ext>
            </a:extLst>
          </p:cNvPr>
          <p:cNvSpPr txBox="1">
            <a:spLocks noGrp="1"/>
          </p:cNvSpPr>
          <p:nvPr>
            <p:ph type="sldNum" sz="quarter" idx="8"/>
          </p:nvPr>
        </p:nvSpPr>
        <p:spPr>
          <a:xfrm>
            <a:off x="11769264" y="6475767"/>
            <a:ext cx="135437" cy="123110"/>
          </a:xfrm>
        </p:spPr>
        <p:txBody>
          <a:bodyPr anchor="ctr"/>
          <a:lstStyle>
            <a:lvl1pPr>
              <a:defRPr/>
            </a:lvl1pPr>
          </a:lstStyle>
          <a:p>
            <a:pPr lvl="0"/>
            <a:fld id="{85955742-D286-2E4E-9718-594ED21F11C6}" type="slidenum">
              <a:t>‹#›</a:t>
            </a:fld>
            <a:endParaRPr lang="en-US"/>
          </a:p>
        </p:txBody>
      </p:sp>
    </p:spTree>
    <p:extLst>
      <p:ext uri="{BB962C8B-B14F-4D97-AF65-F5344CB8AC3E}">
        <p14:creationId xmlns:p14="http://schemas.microsoft.com/office/powerpoint/2010/main" val="10926489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Large text">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6CCBF5-29CE-4CC5-9BFE-CEC058FBAADC}"/>
              </a:ext>
            </a:extLst>
          </p:cNvPr>
          <p:cNvSpPr txBox="1">
            <a:spLocks noGrp="1"/>
          </p:cNvSpPr>
          <p:nvPr>
            <p:ph type="title"/>
          </p:nvPr>
        </p:nvSpPr>
        <p:spPr>
          <a:xfrm>
            <a:off x="287962" y="154799"/>
            <a:ext cx="8569798" cy="4416424"/>
          </a:xfrm>
        </p:spPr>
        <p:txBody>
          <a:bodyPr/>
          <a:lstStyle>
            <a:lvl1pPr>
              <a:defRPr sz="8398">
                <a:latin typeface="IBM Plex Sans ExtLt" pitchFamily="34"/>
              </a:defRPr>
            </a:lvl1pPr>
          </a:lstStyle>
          <a:p>
            <a:pPr lvl="0"/>
            <a:r>
              <a:rPr lang="en-US"/>
              <a:t>Click to edit Master title style</a:t>
            </a:r>
          </a:p>
        </p:txBody>
      </p:sp>
      <p:sp>
        <p:nvSpPr>
          <p:cNvPr id="3" name="Footer Placeholder 3">
            <a:extLst>
              <a:ext uri="{FF2B5EF4-FFF2-40B4-BE49-F238E27FC236}">
                <a16:creationId xmlns:a16="http://schemas.microsoft.com/office/drawing/2014/main" id="{A6CA8082-9D23-78DB-D1B1-6C6E39FFA971}"/>
              </a:ext>
            </a:extLst>
          </p:cNvPr>
          <p:cNvSpPr txBox="1">
            <a:spLocks noGrp="1"/>
          </p:cNvSpPr>
          <p:nvPr>
            <p:ph type="ftr" sz="quarter" idx="9"/>
          </p:nvPr>
        </p:nvSpPr>
        <p:spPr>
          <a:xfrm>
            <a:off x="287962" y="6408001"/>
            <a:ext cx="2477765" cy="190502"/>
          </a:xfrm>
        </p:spPr>
        <p:txBody>
          <a:bodyPr/>
          <a:lstStyle>
            <a:lvl1pPr>
              <a:defRPr/>
            </a:lvl1pPr>
          </a:lstStyle>
          <a:p>
            <a:pPr lvl="0"/>
            <a:endParaRPr lang="en-US"/>
          </a:p>
        </p:txBody>
      </p:sp>
      <p:sp>
        <p:nvSpPr>
          <p:cNvPr id="4" name="Slide Number">
            <a:extLst>
              <a:ext uri="{FF2B5EF4-FFF2-40B4-BE49-F238E27FC236}">
                <a16:creationId xmlns:a16="http://schemas.microsoft.com/office/drawing/2014/main" id="{74916CC1-4062-98D1-62EC-ECE685281EB4}"/>
              </a:ext>
            </a:extLst>
          </p:cNvPr>
          <p:cNvSpPr txBox="1">
            <a:spLocks noGrp="1"/>
          </p:cNvSpPr>
          <p:nvPr>
            <p:ph type="sldNum" sz="quarter" idx="8"/>
          </p:nvPr>
        </p:nvSpPr>
        <p:spPr>
          <a:xfrm>
            <a:off x="11769264" y="6475767"/>
            <a:ext cx="135437" cy="123110"/>
          </a:xfrm>
        </p:spPr>
        <p:txBody>
          <a:bodyPr anchor="ctr"/>
          <a:lstStyle>
            <a:lvl1pPr>
              <a:defRPr/>
            </a:lvl1pPr>
          </a:lstStyle>
          <a:p>
            <a:pPr lvl="0"/>
            <a:fld id="{0DF0BAEA-1145-DB44-B5A4-BFE37F02CA9C}" type="slidenum">
              <a:t>‹#›</a:t>
            </a:fld>
            <a:endParaRPr lang="en-US"/>
          </a:p>
        </p:txBody>
      </p:sp>
    </p:spTree>
    <p:extLst>
      <p:ext uri="{BB962C8B-B14F-4D97-AF65-F5344CB8AC3E}">
        <p14:creationId xmlns:p14="http://schemas.microsoft.com/office/powerpoint/2010/main" val="255810793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Callout, headline">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50B28C-9861-F94F-8AF4-9C0AE48EAFCD}"/>
              </a:ext>
            </a:extLst>
          </p:cNvPr>
          <p:cNvSpPr txBox="1">
            <a:spLocks noGrp="1"/>
          </p:cNvSpPr>
          <p:nvPr>
            <p:ph type="title"/>
          </p:nvPr>
        </p:nvSpPr>
        <p:spPr>
          <a:xfrm>
            <a:off x="287962" y="192024"/>
            <a:ext cx="4953944" cy="2104835"/>
          </a:xfrm>
        </p:spPr>
        <p:txBody>
          <a:bodyPr/>
          <a:lstStyle>
            <a:lvl1pPr>
              <a:lnSpc>
                <a:spcPct val="100000"/>
              </a:lnSpc>
              <a:defRPr sz="3399"/>
            </a:lvl1pPr>
          </a:lstStyle>
          <a:p>
            <a:pPr lvl="0"/>
            <a:r>
              <a:rPr lang="en-US"/>
              <a:t>Click to edit Master title style</a:t>
            </a:r>
          </a:p>
        </p:txBody>
      </p:sp>
      <p:sp>
        <p:nvSpPr>
          <p:cNvPr id="3" name="Text Placeholder 3">
            <a:extLst>
              <a:ext uri="{FF2B5EF4-FFF2-40B4-BE49-F238E27FC236}">
                <a16:creationId xmlns:a16="http://schemas.microsoft.com/office/drawing/2014/main" id="{F21F301E-6098-03DC-5A36-0662F9718F75}"/>
              </a:ext>
            </a:extLst>
          </p:cNvPr>
          <p:cNvSpPr txBox="1">
            <a:spLocks noGrp="1"/>
          </p:cNvSpPr>
          <p:nvPr>
            <p:ph type="body" idx="4294967295"/>
          </p:nvPr>
        </p:nvSpPr>
        <p:spPr>
          <a:xfrm>
            <a:off x="6389169" y="192024"/>
            <a:ext cx="5520318" cy="4389248"/>
          </a:xfrm>
        </p:spPr>
        <p:txBody>
          <a:bodyPr/>
          <a:lstStyle>
            <a:lvl1pPr>
              <a:lnSpc>
                <a:spcPct val="100000"/>
              </a:lnSpc>
              <a:defRPr sz="3399"/>
            </a:lvl1pPr>
            <a:lvl2pPr marL="292549" indent="-292549">
              <a:lnSpc>
                <a:spcPct val="100000"/>
              </a:lnSpc>
              <a:defRPr sz="3399"/>
            </a:lvl2pPr>
            <a:lvl3pPr marL="548530" indent="-292549">
              <a:lnSpc>
                <a:spcPct val="100000"/>
              </a:lnSpc>
              <a:defRPr sz="3399"/>
            </a:lvl3pPr>
            <a:lvl4pPr marL="877648">
              <a:lnSpc>
                <a:spcPct val="100000"/>
              </a:lnSpc>
              <a:defRPr sz="3399"/>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DEFDB85F-4F93-0C9B-835D-57A56D57B23B}"/>
              </a:ext>
            </a:extLst>
          </p:cNvPr>
          <p:cNvSpPr txBox="1">
            <a:spLocks noGrp="1"/>
          </p:cNvSpPr>
          <p:nvPr>
            <p:ph type="ftr" sz="quarter" idx="9"/>
          </p:nvPr>
        </p:nvSpPr>
        <p:spPr>
          <a:xfrm>
            <a:off x="287962" y="6408001"/>
            <a:ext cx="2477765" cy="190502"/>
          </a:xfrm>
        </p:spPr>
        <p:txBody>
          <a:bodyPr/>
          <a:lstStyle>
            <a:lvl1pPr>
              <a:defRPr/>
            </a:lvl1pPr>
          </a:lstStyle>
          <a:p>
            <a:pPr lvl="0"/>
            <a:endParaRPr lang="en-US"/>
          </a:p>
        </p:txBody>
      </p:sp>
      <p:sp>
        <p:nvSpPr>
          <p:cNvPr id="5" name="Slide Number">
            <a:extLst>
              <a:ext uri="{FF2B5EF4-FFF2-40B4-BE49-F238E27FC236}">
                <a16:creationId xmlns:a16="http://schemas.microsoft.com/office/drawing/2014/main" id="{202F5229-81A2-5B57-2CF0-259B7FA6B93F}"/>
              </a:ext>
            </a:extLst>
          </p:cNvPr>
          <p:cNvSpPr txBox="1">
            <a:spLocks noGrp="1"/>
          </p:cNvSpPr>
          <p:nvPr>
            <p:ph type="sldNum" sz="quarter" idx="8"/>
          </p:nvPr>
        </p:nvSpPr>
        <p:spPr>
          <a:xfrm>
            <a:off x="11769264" y="6475767"/>
            <a:ext cx="135437" cy="123110"/>
          </a:xfrm>
        </p:spPr>
        <p:txBody>
          <a:bodyPr anchor="ctr"/>
          <a:lstStyle>
            <a:lvl1pPr>
              <a:defRPr/>
            </a:lvl1pPr>
          </a:lstStyle>
          <a:p>
            <a:pPr lvl="0"/>
            <a:fld id="{917AEAB5-A9A5-A347-9DF1-DD14DB4CF308}" type="slidenum">
              <a:t>‹#›</a:t>
            </a:fld>
            <a:endParaRPr lang="en-US"/>
          </a:p>
        </p:txBody>
      </p:sp>
    </p:spTree>
    <p:extLst>
      <p:ext uri="{BB962C8B-B14F-4D97-AF65-F5344CB8AC3E}">
        <p14:creationId xmlns:p14="http://schemas.microsoft.com/office/powerpoint/2010/main" val="303009710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Callout, stand alone">
    <p:bg>
      <p:bgPr>
        <a:solidFill>
          <a:srgbClr val="FFFFFF"/>
        </a:solidFill>
        <a:effectLst/>
      </p:bgPr>
    </p:bg>
    <p:spTree>
      <p:nvGrpSpPr>
        <p:cNvPr id="1" name=""/>
        <p:cNvGrpSpPr/>
        <p:nvPr/>
      </p:nvGrpSpPr>
      <p:grpSpPr>
        <a:xfrm>
          <a:off x="0" y="0"/>
          <a:ext cx="0" cy="0"/>
          <a:chOff x="0" y="0"/>
          <a:chExt cx="0" cy="0"/>
        </a:xfrm>
      </p:grpSpPr>
      <p:sp>
        <p:nvSpPr>
          <p:cNvPr id="2" name="Footer Placeholder 3">
            <a:extLst>
              <a:ext uri="{FF2B5EF4-FFF2-40B4-BE49-F238E27FC236}">
                <a16:creationId xmlns:a16="http://schemas.microsoft.com/office/drawing/2014/main" id="{7F1B2C57-22FC-A5AE-9DDE-5F3D5B0DFF4B}"/>
              </a:ext>
            </a:extLst>
          </p:cNvPr>
          <p:cNvSpPr txBox="1">
            <a:spLocks noGrp="1"/>
          </p:cNvSpPr>
          <p:nvPr>
            <p:ph type="ftr" sz="quarter" idx="9"/>
          </p:nvPr>
        </p:nvSpPr>
        <p:spPr>
          <a:xfrm>
            <a:off x="287962" y="6408001"/>
            <a:ext cx="2471416" cy="190502"/>
          </a:xfrm>
        </p:spPr>
        <p:txBody>
          <a:bodyPr/>
          <a:lstStyle>
            <a:lvl1pPr>
              <a:defRPr/>
            </a:lvl1pPr>
          </a:lstStyle>
          <a:p>
            <a:pPr lvl="0"/>
            <a:endParaRPr lang="en-US"/>
          </a:p>
        </p:txBody>
      </p:sp>
      <p:sp>
        <p:nvSpPr>
          <p:cNvPr id="3" name="Slide Number">
            <a:extLst>
              <a:ext uri="{FF2B5EF4-FFF2-40B4-BE49-F238E27FC236}">
                <a16:creationId xmlns:a16="http://schemas.microsoft.com/office/drawing/2014/main" id="{FC2430F6-87BE-AC3A-B81C-7129F2F8185E}"/>
              </a:ext>
            </a:extLst>
          </p:cNvPr>
          <p:cNvSpPr txBox="1">
            <a:spLocks noGrp="1"/>
          </p:cNvSpPr>
          <p:nvPr>
            <p:ph type="sldNum" sz="quarter" idx="8"/>
          </p:nvPr>
        </p:nvSpPr>
        <p:spPr>
          <a:xfrm>
            <a:off x="11769264" y="6475767"/>
            <a:ext cx="135437" cy="123110"/>
          </a:xfrm>
        </p:spPr>
        <p:txBody>
          <a:bodyPr anchor="ctr"/>
          <a:lstStyle>
            <a:lvl1pPr>
              <a:defRPr/>
            </a:lvl1pPr>
          </a:lstStyle>
          <a:p>
            <a:pPr lvl="0"/>
            <a:fld id="{0E53CAC9-22B5-9F43-BEEB-29BD16B4A62B}" type="slidenum">
              <a:t>‹#›</a:t>
            </a:fld>
            <a:endParaRPr lang="en-US"/>
          </a:p>
        </p:txBody>
      </p:sp>
      <p:sp>
        <p:nvSpPr>
          <p:cNvPr id="4" name="Text Placeholder 8">
            <a:extLst>
              <a:ext uri="{FF2B5EF4-FFF2-40B4-BE49-F238E27FC236}">
                <a16:creationId xmlns:a16="http://schemas.microsoft.com/office/drawing/2014/main" id="{9D2C1F44-44D4-CDEC-ADCE-35606F3AF751}"/>
              </a:ext>
            </a:extLst>
          </p:cNvPr>
          <p:cNvSpPr txBox="1">
            <a:spLocks noGrp="1"/>
          </p:cNvSpPr>
          <p:nvPr>
            <p:ph type="body" idx="4294967295"/>
          </p:nvPr>
        </p:nvSpPr>
        <p:spPr>
          <a:xfrm>
            <a:off x="287962" y="154799"/>
            <a:ext cx="7323769" cy="5178133"/>
          </a:xfrm>
        </p:spPr>
        <p:txBody>
          <a:bodyPr/>
          <a:lstStyle>
            <a:lvl1pPr>
              <a:lnSpc>
                <a:spcPct val="100000"/>
              </a:lnSpc>
              <a:defRPr sz="4199"/>
            </a:lvl1pPr>
          </a:lstStyle>
          <a:p>
            <a:pPr lvl="0"/>
            <a:r>
              <a:rPr lang="en-US"/>
              <a:t>Click to edit Master text styles</a:t>
            </a:r>
          </a:p>
        </p:txBody>
      </p:sp>
    </p:spTree>
    <p:extLst>
      <p:ext uri="{BB962C8B-B14F-4D97-AF65-F5344CB8AC3E}">
        <p14:creationId xmlns:p14="http://schemas.microsoft.com/office/powerpoint/2010/main" val="34744693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3A35D0-555E-2BDB-4215-C55E36EBE00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0683447-DC26-91A5-132F-0A4CE4C2DBC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6062469-9E61-EFCF-4086-3C5F5FA6723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5D9E13C-4421-9EE9-7FAA-5A5BA3075EF4}"/>
              </a:ext>
            </a:extLst>
          </p:cNvPr>
          <p:cNvSpPr>
            <a:spLocks noGrp="1"/>
          </p:cNvSpPr>
          <p:nvPr>
            <p:ph type="dt" sz="half" idx="10"/>
          </p:nvPr>
        </p:nvSpPr>
        <p:spPr/>
        <p:txBody>
          <a:bodyPr/>
          <a:lstStyle/>
          <a:p>
            <a:fld id="{C1064F87-A3FE-7D41-BA7F-E073D7C6AC88}" type="datetimeFigureOut">
              <a:rPr lang="en-US" smtClean="0"/>
              <a:t>3/24/2025</a:t>
            </a:fld>
            <a:endParaRPr lang="en-US"/>
          </a:p>
        </p:txBody>
      </p:sp>
      <p:sp>
        <p:nvSpPr>
          <p:cNvPr id="6" name="Footer Placeholder 5">
            <a:extLst>
              <a:ext uri="{FF2B5EF4-FFF2-40B4-BE49-F238E27FC236}">
                <a16:creationId xmlns:a16="http://schemas.microsoft.com/office/drawing/2014/main" id="{9FE51690-1503-3518-AC20-6D2653E1D84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D905E2E-D7A0-37A8-6DF8-AABA44564C17}"/>
              </a:ext>
            </a:extLst>
          </p:cNvPr>
          <p:cNvSpPr>
            <a:spLocks noGrp="1"/>
          </p:cNvSpPr>
          <p:nvPr>
            <p:ph type="sldNum" sz="quarter" idx="12"/>
          </p:nvPr>
        </p:nvSpPr>
        <p:spPr/>
        <p:txBody>
          <a:bodyPr/>
          <a:lstStyle/>
          <a:p>
            <a:fld id="{DED3338A-C6D4-DE4D-B610-199F7004D0E1}" type="slidenum">
              <a:rPr lang="en-US" smtClean="0"/>
              <a:t>‹#›</a:t>
            </a:fld>
            <a:endParaRPr lang="en-US"/>
          </a:p>
        </p:txBody>
      </p:sp>
    </p:spTree>
    <p:extLst>
      <p:ext uri="{BB962C8B-B14F-4D97-AF65-F5344CB8AC3E}">
        <p14:creationId xmlns:p14="http://schemas.microsoft.com/office/powerpoint/2010/main" val="377270212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Data, 2 callouts, vertical">
    <p:bg>
      <p:bgPr>
        <a:solidFill>
          <a:srgbClr val="FFFFFF"/>
        </a:solidFill>
        <a:effectLst/>
      </p:bgPr>
    </p:bg>
    <p:spTree>
      <p:nvGrpSpPr>
        <p:cNvPr id="1" name=""/>
        <p:cNvGrpSpPr/>
        <p:nvPr/>
      </p:nvGrpSpPr>
      <p:grpSpPr>
        <a:xfrm>
          <a:off x="0" y="0"/>
          <a:ext cx="0" cy="0"/>
          <a:chOff x="0" y="0"/>
          <a:chExt cx="0" cy="0"/>
        </a:xfrm>
      </p:grpSpPr>
      <p:sp>
        <p:nvSpPr>
          <p:cNvPr id="2" name="Text Placeholder 7">
            <a:extLst>
              <a:ext uri="{FF2B5EF4-FFF2-40B4-BE49-F238E27FC236}">
                <a16:creationId xmlns:a16="http://schemas.microsoft.com/office/drawing/2014/main" id="{2DF317E9-2E83-5394-98C6-F206A3A79AA1}"/>
              </a:ext>
            </a:extLst>
          </p:cNvPr>
          <p:cNvSpPr txBox="1">
            <a:spLocks noGrp="1"/>
          </p:cNvSpPr>
          <p:nvPr>
            <p:ph type="body" idx="4294967295"/>
          </p:nvPr>
        </p:nvSpPr>
        <p:spPr>
          <a:xfrm>
            <a:off x="287962" y="288036"/>
            <a:ext cx="3811093" cy="3521962"/>
          </a:xfrm>
        </p:spPr>
        <p:txBody>
          <a:bodyPr/>
          <a:lstStyle>
            <a:lvl1pPr>
              <a:lnSpc>
                <a:spcPct val="100000"/>
              </a:lnSpc>
              <a:defRPr sz="2100"/>
            </a:lvl1pPr>
            <a:lvl2pPr marL="201128" indent="-201128">
              <a:lnSpc>
                <a:spcPct val="100000"/>
              </a:lnSpc>
              <a:defRPr sz="2100"/>
            </a:lvl2pPr>
            <a:lvl3pPr marL="402256" indent="-201128">
              <a:lnSpc>
                <a:spcPct val="100000"/>
              </a:lnSpc>
              <a:defRPr sz="2100"/>
            </a:lvl3pPr>
            <a:lvl4pPr marL="557672" indent="-201128">
              <a:lnSpc>
                <a:spcPct val="100000"/>
              </a:lnSpc>
              <a:defRPr sz="21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ext Placeholder 9">
            <a:extLst>
              <a:ext uri="{FF2B5EF4-FFF2-40B4-BE49-F238E27FC236}">
                <a16:creationId xmlns:a16="http://schemas.microsoft.com/office/drawing/2014/main" id="{2530A851-989C-9BA8-0AE3-887FB488F4DD}"/>
              </a:ext>
            </a:extLst>
          </p:cNvPr>
          <p:cNvSpPr txBox="1">
            <a:spLocks noGrp="1"/>
          </p:cNvSpPr>
          <p:nvPr>
            <p:ph type="body" idx="4294967295"/>
          </p:nvPr>
        </p:nvSpPr>
        <p:spPr>
          <a:xfrm>
            <a:off x="287961" y="4814110"/>
            <a:ext cx="5524575" cy="1676534"/>
          </a:xfrm>
        </p:spPr>
        <p:txBody>
          <a:bodyPr anchor="b"/>
          <a:lstStyle>
            <a:lvl1pPr>
              <a:lnSpc>
                <a:spcPct val="90000"/>
              </a:lnSpc>
              <a:defRPr sz="12597">
                <a:solidFill>
                  <a:srgbClr val="0F62FE"/>
                </a:solidFill>
                <a:latin typeface="IBM Plex Sans ExtLt" pitchFamily="34"/>
              </a:defRPr>
            </a:lvl1pPr>
          </a:lstStyle>
          <a:p>
            <a:pPr lvl="0"/>
            <a:r>
              <a:rPr lang="en-US"/>
              <a:t>↗︎00M</a:t>
            </a:r>
          </a:p>
        </p:txBody>
      </p:sp>
      <p:cxnSp>
        <p:nvCxnSpPr>
          <p:cNvPr id="4" name="Straight Connector 8" descr="Vertical column divider">
            <a:extLst>
              <a:ext uri="{FF2B5EF4-FFF2-40B4-BE49-F238E27FC236}">
                <a16:creationId xmlns:a16="http://schemas.microsoft.com/office/drawing/2014/main" id="{CDE6BEF2-9475-2583-3E79-FA6845D5ACFF}"/>
              </a:ext>
            </a:extLst>
          </p:cNvPr>
          <p:cNvCxnSpPr/>
          <p:nvPr/>
        </p:nvCxnSpPr>
        <p:spPr>
          <a:xfrm>
            <a:off x="6096000" y="284954"/>
            <a:ext cx="0" cy="5812636"/>
          </a:xfrm>
          <a:prstGeom prst="straightConnector1">
            <a:avLst/>
          </a:prstGeom>
          <a:noFill/>
          <a:ln w="12701" cap="flat">
            <a:solidFill>
              <a:srgbClr val="000000"/>
            </a:solidFill>
            <a:prstDash val="solid"/>
          </a:ln>
        </p:spPr>
      </p:cxnSp>
      <p:sp>
        <p:nvSpPr>
          <p:cNvPr id="5" name="Text Placeholder 5">
            <a:extLst>
              <a:ext uri="{FF2B5EF4-FFF2-40B4-BE49-F238E27FC236}">
                <a16:creationId xmlns:a16="http://schemas.microsoft.com/office/drawing/2014/main" id="{3E544931-19E8-26ED-4BB0-0D8540ECEB06}"/>
              </a:ext>
            </a:extLst>
          </p:cNvPr>
          <p:cNvSpPr txBox="1">
            <a:spLocks noGrp="1"/>
          </p:cNvSpPr>
          <p:nvPr>
            <p:ph type="body" idx="4294967295"/>
          </p:nvPr>
        </p:nvSpPr>
        <p:spPr>
          <a:xfrm>
            <a:off x="6389169" y="288036"/>
            <a:ext cx="3809502" cy="3521962"/>
          </a:xfrm>
        </p:spPr>
        <p:txBody>
          <a:bodyPr/>
          <a:lstStyle>
            <a:lvl1pPr>
              <a:lnSpc>
                <a:spcPct val="100000"/>
              </a:lnSpc>
              <a:defRPr sz="2100"/>
            </a:lvl1pPr>
            <a:lvl2pPr marL="201128" indent="-201128">
              <a:lnSpc>
                <a:spcPct val="100000"/>
              </a:lnSpc>
              <a:defRPr sz="2100"/>
            </a:lvl2pPr>
            <a:lvl3pPr marL="402256" indent="-201128">
              <a:lnSpc>
                <a:spcPct val="100000"/>
              </a:lnSpc>
              <a:defRPr sz="2100"/>
            </a:lvl3pPr>
            <a:lvl4pPr marL="557672" indent="-201128">
              <a:lnSpc>
                <a:spcPct val="100000"/>
              </a:lnSpc>
              <a:defRPr sz="21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11">
            <a:extLst>
              <a:ext uri="{FF2B5EF4-FFF2-40B4-BE49-F238E27FC236}">
                <a16:creationId xmlns:a16="http://schemas.microsoft.com/office/drawing/2014/main" id="{6D90EE7A-08EE-CCB7-9AE3-B8C3854A5876}"/>
              </a:ext>
            </a:extLst>
          </p:cNvPr>
          <p:cNvSpPr txBox="1">
            <a:spLocks noGrp="1"/>
          </p:cNvSpPr>
          <p:nvPr>
            <p:ph type="body" idx="4294967295"/>
          </p:nvPr>
        </p:nvSpPr>
        <p:spPr>
          <a:xfrm>
            <a:off x="6389168" y="4814110"/>
            <a:ext cx="5523779" cy="1677147"/>
          </a:xfrm>
        </p:spPr>
        <p:txBody>
          <a:bodyPr anchor="b"/>
          <a:lstStyle>
            <a:lvl1pPr>
              <a:lnSpc>
                <a:spcPct val="90000"/>
              </a:lnSpc>
              <a:defRPr sz="12597">
                <a:solidFill>
                  <a:srgbClr val="0F62FE"/>
                </a:solidFill>
                <a:latin typeface="IBM Plex Sans ExtLt" pitchFamily="34"/>
              </a:defRPr>
            </a:lvl1pPr>
          </a:lstStyle>
          <a:p>
            <a:pPr lvl="0"/>
            <a:r>
              <a:rPr lang="en-US"/>
              <a:t>+00%</a:t>
            </a:r>
          </a:p>
        </p:txBody>
      </p:sp>
      <p:sp>
        <p:nvSpPr>
          <p:cNvPr id="7" name="Footer Placeholder 3">
            <a:extLst>
              <a:ext uri="{FF2B5EF4-FFF2-40B4-BE49-F238E27FC236}">
                <a16:creationId xmlns:a16="http://schemas.microsoft.com/office/drawing/2014/main" id="{6E847707-691D-18EA-8145-6748D0A5CC2B}"/>
              </a:ext>
            </a:extLst>
          </p:cNvPr>
          <p:cNvSpPr txBox="1">
            <a:spLocks noGrp="1"/>
          </p:cNvSpPr>
          <p:nvPr>
            <p:ph type="ftr" sz="quarter" idx="9"/>
          </p:nvPr>
        </p:nvSpPr>
        <p:spPr>
          <a:xfrm>
            <a:off x="287962" y="6408001"/>
            <a:ext cx="2477765" cy="190502"/>
          </a:xfrm>
        </p:spPr>
        <p:txBody>
          <a:bodyPr/>
          <a:lstStyle>
            <a:lvl1pPr>
              <a:defRPr/>
            </a:lvl1pPr>
          </a:lstStyle>
          <a:p>
            <a:pPr lvl="0"/>
            <a:endParaRPr lang="en-US"/>
          </a:p>
        </p:txBody>
      </p:sp>
      <p:sp>
        <p:nvSpPr>
          <p:cNvPr id="8" name="Slide Number">
            <a:extLst>
              <a:ext uri="{FF2B5EF4-FFF2-40B4-BE49-F238E27FC236}">
                <a16:creationId xmlns:a16="http://schemas.microsoft.com/office/drawing/2014/main" id="{D342A1B8-064C-2984-0C50-F0AE9C8666EB}"/>
              </a:ext>
            </a:extLst>
          </p:cNvPr>
          <p:cNvSpPr txBox="1">
            <a:spLocks noGrp="1"/>
          </p:cNvSpPr>
          <p:nvPr>
            <p:ph type="sldNum" sz="quarter" idx="8"/>
          </p:nvPr>
        </p:nvSpPr>
        <p:spPr>
          <a:xfrm>
            <a:off x="11769264" y="6475767"/>
            <a:ext cx="135437" cy="123110"/>
          </a:xfrm>
        </p:spPr>
        <p:txBody>
          <a:bodyPr anchor="ctr"/>
          <a:lstStyle>
            <a:lvl1pPr>
              <a:defRPr/>
            </a:lvl1pPr>
          </a:lstStyle>
          <a:p>
            <a:pPr lvl="0"/>
            <a:fld id="{2AB90561-91D3-2C42-A770-89D3DC556539}" type="slidenum">
              <a:t>‹#›</a:t>
            </a:fld>
            <a:endParaRPr lang="en-US"/>
          </a:p>
        </p:txBody>
      </p:sp>
    </p:spTree>
    <p:extLst>
      <p:ext uri="{BB962C8B-B14F-4D97-AF65-F5344CB8AC3E}">
        <p14:creationId xmlns:p14="http://schemas.microsoft.com/office/powerpoint/2010/main" val="197818189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Data, 3 callouts, vertical">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BAE2CC-E166-AD03-8F2F-5141AB30208D}"/>
              </a:ext>
            </a:extLst>
          </p:cNvPr>
          <p:cNvSpPr txBox="1">
            <a:spLocks noGrp="1"/>
          </p:cNvSpPr>
          <p:nvPr>
            <p:ph type="title"/>
          </p:nvPr>
        </p:nvSpPr>
        <p:spPr>
          <a:xfrm>
            <a:off x="287998" y="288036"/>
            <a:ext cx="2474588" cy="1642363"/>
          </a:xfrm>
        </p:spPr>
        <p:txBody>
          <a:bodyPr/>
          <a:lstStyle>
            <a:lvl1pPr>
              <a:lnSpc>
                <a:spcPct val="110000"/>
              </a:lnSpc>
              <a:defRPr sz="1800"/>
            </a:lvl1pPr>
          </a:lstStyle>
          <a:p>
            <a:pPr lvl="0"/>
            <a:r>
              <a:rPr lang="en-US"/>
              <a:t>Click to edit Master title style</a:t>
            </a:r>
          </a:p>
        </p:txBody>
      </p:sp>
      <p:sp>
        <p:nvSpPr>
          <p:cNvPr id="3" name="Text Placeholder 15">
            <a:extLst>
              <a:ext uri="{FF2B5EF4-FFF2-40B4-BE49-F238E27FC236}">
                <a16:creationId xmlns:a16="http://schemas.microsoft.com/office/drawing/2014/main" id="{E4E51338-7BBA-2D9A-7941-F66EB501B1EF}"/>
              </a:ext>
            </a:extLst>
          </p:cNvPr>
          <p:cNvSpPr txBox="1">
            <a:spLocks noGrp="1"/>
          </p:cNvSpPr>
          <p:nvPr>
            <p:ph type="body" idx="4294967295"/>
          </p:nvPr>
        </p:nvSpPr>
        <p:spPr>
          <a:xfrm>
            <a:off x="3333318" y="192600"/>
            <a:ext cx="2475383" cy="953957"/>
          </a:xfrm>
        </p:spPr>
        <p:txBody>
          <a:bodyPr/>
          <a:lstStyle>
            <a:lvl1pPr>
              <a:lnSpc>
                <a:spcPct val="90000"/>
              </a:lnSpc>
              <a:defRPr sz="6599">
                <a:solidFill>
                  <a:srgbClr val="0F62FE"/>
                </a:solidFill>
              </a:defRPr>
            </a:lvl1pPr>
          </a:lstStyle>
          <a:p>
            <a:pPr lvl="0"/>
            <a:r>
              <a:rPr lang="en-US"/>
              <a:t>00%</a:t>
            </a:r>
          </a:p>
        </p:txBody>
      </p:sp>
      <p:sp>
        <p:nvSpPr>
          <p:cNvPr id="4" name="Text Placeholder 6">
            <a:extLst>
              <a:ext uri="{FF2B5EF4-FFF2-40B4-BE49-F238E27FC236}">
                <a16:creationId xmlns:a16="http://schemas.microsoft.com/office/drawing/2014/main" id="{60E180AD-6734-BC29-E61D-7835966B6BCA}"/>
              </a:ext>
            </a:extLst>
          </p:cNvPr>
          <p:cNvSpPr txBox="1">
            <a:spLocks noGrp="1"/>
          </p:cNvSpPr>
          <p:nvPr>
            <p:ph type="body" idx="4294967295"/>
          </p:nvPr>
        </p:nvSpPr>
        <p:spPr>
          <a:xfrm>
            <a:off x="3333318" y="1166532"/>
            <a:ext cx="2475383" cy="4931053"/>
          </a:xfrm>
        </p:spPr>
        <p:txBody>
          <a:bodyPr/>
          <a:lstStyle>
            <a:lvl1pPr>
              <a:defRPr/>
            </a:lvl1pPr>
            <a:lvl2pPr>
              <a:defRPr/>
            </a:lvl2pPr>
            <a:lvl3pPr>
              <a:defRPr/>
            </a:lvl3pPr>
            <a:lvl4pPr>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7">
            <a:extLst>
              <a:ext uri="{FF2B5EF4-FFF2-40B4-BE49-F238E27FC236}">
                <a16:creationId xmlns:a16="http://schemas.microsoft.com/office/drawing/2014/main" id="{76B2CFDE-92A5-434F-3685-B5298A23E604}"/>
              </a:ext>
            </a:extLst>
          </p:cNvPr>
          <p:cNvSpPr txBox="1">
            <a:spLocks noGrp="1"/>
          </p:cNvSpPr>
          <p:nvPr>
            <p:ph type="body" idx="4294967295"/>
          </p:nvPr>
        </p:nvSpPr>
        <p:spPr>
          <a:xfrm>
            <a:off x="6389168" y="192600"/>
            <a:ext cx="2474588" cy="953294"/>
          </a:xfrm>
        </p:spPr>
        <p:txBody>
          <a:bodyPr/>
          <a:lstStyle>
            <a:lvl1pPr>
              <a:lnSpc>
                <a:spcPct val="90000"/>
              </a:lnSpc>
              <a:defRPr sz="6599">
                <a:solidFill>
                  <a:srgbClr val="0F62FE"/>
                </a:solidFill>
              </a:defRPr>
            </a:lvl1pPr>
          </a:lstStyle>
          <a:p>
            <a:pPr lvl="0"/>
            <a:r>
              <a:rPr lang="en-US"/>
              <a:t>00%</a:t>
            </a:r>
          </a:p>
        </p:txBody>
      </p:sp>
      <p:sp>
        <p:nvSpPr>
          <p:cNvPr id="6" name="Text Placeholder 8">
            <a:extLst>
              <a:ext uri="{FF2B5EF4-FFF2-40B4-BE49-F238E27FC236}">
                <a16:creationId xmlns:a16="http://schemas.microsoft.com/office/drawing/2014/main" id="{C3F0E99C-6036-0D75-C81A-4C5A5800BDDD}"/>
              </a:ext>
            </a:extLst>
          </p:cNvPr>
          <p:cNvSpPr txBox="1">
            <a:spLocks noGrp="1"/>
          </p:cNvSpPr>
          <p:nvPr>
            <p:ph type="body" idx="4294967295"/>
          </p:nvPr>
        </p:nvSpPr>
        <p:spPr>
          <a:xfrm>
            <a:off x="6389169" y="1167328"/>
            <a:ext cx="2476179" cy="4931053"/>
          </a:xfrm>
        </p:spPr>
        <p:txBody>
          <a:bodyPr/>
          <a:lstStyle>
            <a:lvl1pPr>
              <a:defRPr/>
            </a:lvl1pPr>
            <a:lvl2pPr>
              <a:defRPr/>
            </a:lvl2pPr>
            <a:lvl3pPr>
              <a:defRPr/>
            </a:lvl3pPr>
            <a:lvl4pPr>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19">
            <a:extLst>
              <a:ext uri="{FF2B5EF4-FFF2-40B4-BE49-F238E27FC236}">
                <a16:creationId xmlns:a16="http://schemas.microsoft.com/office/drawing/2014/main" id="{598311A6-5C76-2773-78EC-87282EBC5A28}"/>
              </a:ext>
            </a:extLst>
          </p:cNvPr>
          <p:cNvSpPr txBox="1">
            <a:spLocks noGrp="1"/>
          </p:cNvSpPr>
          <p:nvPr>
            <p:ph type="body" idx="4294967295"/>
          </p:nvPr>
        </p:nvSpPr>
        <p:spPr>
          <a:xfrm>
            <a:off x="9428522" y="192600"/>
            <a:ext cx="2474588" cy="951708"/>
          </a:xfrm>
        </p:spPr>
        <p:txBody>
          <a:bodyPr/>
          <a:lstStyle>
            <a:lvl1pPr>
              <a:lnSpc>
                <a:spcPct val="90000"/>
              </a:lnSpc>
              <a:defRPr sz="6599">
                <a:solidFill>
                  <a:srgbClr val="0F62FE"/>
                </a:solidFill>
              </a:defRPr>
            </a:lvl1pPr>
          </a:lstStyle>
          <a:p>
            <a:pPr lvl="0"/>
            <a:r>
              <a:rPr lang="en-US"/>
              <a:t>00%</a:t>
            </a:r>
          </a:p>
        </p:txBody>
      </p:sp>
      <p:sp>
        <p:nvSpPr>
          <p:cNvPr id="8" name="Text Placeholder 10">
            <a:extLst>
              <a:ext uri="{FF2B5EF4-FFF2-40B4-BE49-F238E27FC236}">
                <a16:creationId xmlns:a16="http://schemas.microsoft.com/office/drawing/2014/main" id="{48994D69-4C15-2230-1C39-200471A6084A}"/>
              </a:ext>
            </a:extLst>
          </p:cNvPr>
          <p:cNvSpPr txBox="1">
            <a:spLocks noGrp="1"/>
          </p:cNvSpPr>
          <p:nvPr>
            <p:ph type="body" idx="4294967295"/>
          </p:nvPr>
        </p:nvSpPr>
        <p:spPr>
          <a:xfrm>
            <a:off x="9428523" y="1166532"/>
            <a:ext cx="2476179" cy="4931053"/>
          </a:xfrm>
        </p:spPr>
        <p:txBody>
          <a:bodyPr/>
          <a:lstStyle>
            <a:lvl1pPr>
              <a:defRPr/>
            </a:lvl1pPr>
            <a:lvl2pPr>
              <a:defRPr/>
            </a:lvl2pPr>
            <a:lvl3pPr>
              <a:defRPr/>
            </a:lvl3pPr>
            <a:lvl4pPr>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FA5D08C-3CA5-82AC-DF58-4BE0A61AFA2E}"/>
              </a:ext>
            </a:extLst>
          </p:cNvPr>
          <p:cNvSpPr txBox="1">
            <a:spLocks noGrp="1"/>
          </p:cNvSpPr>
          <p:nvPr>
            <p:ph type="body" idx="4294967295"/>
          </p:nvPr>
        </p:nvSpPr>
        <p:spPr>
          <a:xfrm>
            <a:off x="3334904" y="6029325"/>
            <a:ext cx="2475383" cy="571500"/>
          </a:xfrm>
        </p:spPr>
        <p:txBody>
          <a:bodyPr anchor="b"/>
          <a:lstStyle>
            <a:lvl1pPr>
              <a:lnSpc>
                <a:spcPct val="120000"/>
              </a:lnSpc>
              <a:defRPr sz="800">
                <a:latin typeface="IBM Plex Sans" pitchFamily="34"/>
              </a:defRPr>
            </a:lvl1pPr>
            <a:lvl2pPr marL="73137" indent="-73137">
              <a:lnSpc>
                <a:spcPct val="120000"/>
              </a:lnSpc>
              <a:defRPr sz="800">
                <a:latin typeface="IBM Plex Sans" pitchFamily="34"/>
              </a:defRPr>
            </a:lvl2pPr>
            <a:lvl3pPr marL="146275" indent="-73137">
              <a:lnSpc>
                <a:spcPct val="120000"/>
              </a:lnSpc>
              <a:defRPr sz="800">
                <a:latin typeface="IBM Plex Sans" pitchFamily="34"/>
              </a:defRPr>
            </a:lvl3pPr>
            <a:lvl4pPr marL="219412" indent="-73137">
              <a:lnSpc>
                <a:spcPct val="120000"/>
              </a:lnSpc>
              <a:defRPr sz="800">
                <a:latin typeface="IBM Plex Sans"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Footer Placeholder 3">
            <a:extLst>
              <a:ext uri="{FF2B5EF4-FFF2-40B4-BE49-F238E27FC236}">
                <a16:creationId xmlns:a16="http://schemas.microsoft.com/office/drawing/2014/main" id="{2EA5D9F2-9F2C-375C-65D3-931EB9F4FA52}"/>
              </a:ext>
            </a:extLst>
          </p:cNvPr>
          <p:cNvSpPr txBox="1">
            <a:spLocks noGrp="1"/>
          </p:cNvSpPr>
          <p:nvPr>
            <p:ph type="ftr" sz="quarter" idx="9"/>
          </p:nvPr>
        </p:nvSpPr>
        <p:spPr>
          <a:xfrm>
            <a:off x="287962" y="6408001"/>
            <a:ext cx="2477765" cy="190502"/>
          </a:xfrm>
        </p:spPr>
        <p:txBody>
          <a:bodyPr/>
          <a:lstStyle>
            <a:lvl1pPr>
              <a:defRPr/>
            </a:lvl1pPr>
          </a:lstStyle>
          <a:p>
            <a:pPr lvl="0"/>
            <a:endParaRPr lang="en-US"/>
          </a:p>
        </p:txBody>
      </p:sp>
      <p:sp>
        <p:nvSpPr>
          <p:cNvPr id="11" name="Slide Number">
            <a:extLst>
              <a:ext uri="{FF2B5EF4-FFF2-40B4-BE49-F238E27FC236}">
                <a16:creationId xmlns:a16="http://schemas.microsoft.com/office/drawing/2014/main" id="{30CBA02A-9801-2097-B996-5F4738DB5399}"/>
              </a:ext>
            </a:extLst>
          </p:cNvPr>
          <p:cNvSpPr txBox="1">
            <a:spLocks noGrp="1"/>
          </p:cNvSpPr>
          <p:nvPr>
            <p:ph type="sldNum" sz="quarter" idx="8"/>
          </p:nvPr>
        </p:nvSpPr>
        <p:spPr>
          <a:xfrm>
            <a:off x="11769264" y="6475767"/>
            <a:ext cx="135437" cy="123110"/>
          </a:xfrm>
        </p:spPr>
        <p:txBody>
          <a:bodyPr anchor="ctr"/>
          <a:lstStyle>
            <a:lvl1pPr>
              <a:defRPr/>
            </a:lvl1pPr>
          </a:lstStyle>
          <a:p>
            <a:pPr lvl="0"/>
            <a:fld id="{CD10F68A-AFD8-5241-9A33-76E46E484E7B}" type="slidenum">
              <a:t>‹#›</a:t>
            </a:fld>
            <a:endParaRPr lang="en-US"/>
          </a:p>
        </p:txBody>
      </p:sp>
    </p:spTree>
    <p:extLst>
      <p:ext uri="{BB962C8B-B14F-4D97-AF65-F5344CB8AC3E}">
        <p14:creationId xmlns:p14="http://schemas.microsoft.com/office/powerpoint/2010/main" val="196766984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Data, 2 callouts, horizontal">
    <p:bg>
      <p:bgPr>
        <a:solidFill>
          <a:srgbClr val="FFFFFF"/>
        </a:solidFill>
        <a:effectLst/>
      </p:bgPr>
    </p:bg>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B0238518-9F90-10EC-CC29-A8F0CDF966E9}"/>
              </a:ext>
            </a:extLst>
          </p:cNvPr>
          <p:cNvSpPr txBox="1">
            <a:spLocks noGrp="1"/>
          </p:cNvSpPr>
          <p:nvPr>
            <p:ph type="body" idx="4294967295"/>
          </p:nvPr>
        </p:nvSpPr>
        <p:spPr>
          <a:xfrm>
            <a:off x="3333317" y="3297240"/>
            <a:ext cx="5522257" cy="2670048"/>
          </a:xfrm>
        </p:spPr>
        <p:txBody>
          <a:bodyPr/>
          <a:lstStyle>
            <a:lvl1pPr>
              <a:lnSpc>
                <a:spcPct val="100000"/>
              </a:lnSpc>
              <a:defRPr sz="4199"/>
            </a:lvl1pPr>
            <a:lvl2pPr marL="393113" indent="-393113">
              <a:lnSpc>
                <a:spcPct val="100000"/>
              </a:lnSpc>
              <a:defRPr sz="4199"/>
            </a:lvl2pPr>
            <a:lvl3pPr marL="749658" indent="-393113">
              <a:lnSpc>
                <a:spcPct val="100000"/>
              </a:lnSpc>
              <a:defRPr sz="4199"/>
            </a:lvl3pPr>
            <a:lvl4pPr marL="1142771" indent="-393113">
              <a:lnSpc>
                <a:spcPct val="100000"/>
              </a:lnSpc>
              <a:defRPr sz="4199"/>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itle 1">
            <a:extLst>
              <a:ext uri="{FF2B5EF4-FFF2-40B4-BE49-F238E27FC236}">
                <a16:creationId xmlns:a16="http://schemas.microsoft.com/office/drawing/2014/main" id="{2E724FF3-CD98-F13A-3466-7BA78DA65E39}"/>
              </a:ext>
            </a:extLst>
          </p:cNvPr>
          <p:cNvSpPr txBox="1">
            <a:spLocks noGrp="1"/>
          </p:cNvSpPr>
          <p:nvPr>
            <p:ph type="title"/>
          </p:nvPr>
        </p:nvSpPr>
        <p:spPr>
          <a:xfrm>
            <a:off x="287961" y="154798"/>
            <a:ext cx="2474588" cy="2667794"/>
          </a:xfrm>
        </p:spPr>
        <p:txBody>
          <a:bodyPr/>
          <a:lstStyle>
            <a:lvl1pPr>
              <a:lnSpc>
                <a:spcPct val="100000"/>
              </a:lnSpc>
              <a:defRPr sz="4199">
                <a:solidFill>
                  <a:srgbClr val="0F62FE"/>
                </a:solidFill>
              </a:defRPr>
            </a:lvl1pPr>
          </a:lstStyle>
          <a:p>
            <a:pPr lvl="0"/>
            <a:r>
              <a:rPr lang="en-US"/>
              <a:t>+000%</a:t>
            </a:r>
          </a:p>
        </p:txBody>
      </p:sp>
      <p:sp>
        <p:nvSpPr>
          <p:cNvPr id="4" name="Text Placeholder 4">
            <a:extLst>
              <a:ext uri="{FF2B5EF4-FFF2-40B4-BE49-F238E27FC236}">
                <a16:creationId xmlns:a16="http://schemas.microsoft.com/office/drawing/2014/main" id="{31700A20-98A4-86E4-5FE7-41DA7D2B47C0}"/>
              </a:ext>
            </a:extLst>
          </p:cNvPr>
          <p:cNvSpPr txBox="1">
            <a:spLocks noGrp="1"/>
          </p:cNvSpPr>
          <p:nvPr>
            <p:ph type="body" idx="4294967295"/>
          </p:nvPr>
        </p:nvSpPr>
        <p:spPr>
          <a:xfrm>
            <a:off x="3333317" y="154798"/>
            <a:ext cx="5523779" cy="2667794"/>
          </a:xfrm>
        </p:spPr>
        <p:txBody>
          <a:bodyPr/>
          <a:lstStyle>
            <a:lvl1pPr>
              <a:lnSpc>
                <a:spcPct val="100000"/>
              </a:lnSpc>
              <a:defRPr sz="4199"/>
            </a:lvl1pPr>
            <a:lvl2pPr marL="393113" indent="-393113">
              <a:lnSpc>
                <a:spcPct val="100000"/>
              </a:lnSpc>
              <a:defRPr sz="4199"/>
            </a:lvl2pPr>
            <a:lvl3pPr marL="749658" indent="-393113">
              <a:lnSpc>
                <a:spcPct val="100000"/>
              </a:lnSpc>
              <a:defRPr sz="4199"/>
            </a:lvl3pPr>
            <a:lvl4pPr marL="1142771" indent="-393113">
              <a:lnSpc>
                <a:spcPct val="100000"/>
              </a:lnSpc>
              <a:defRPr sz="4199"/>
            </a:lvl4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5" name="Straight Connector 9" descr="Horizontal row divider">
            <a:extLst>
              <a:ext uri="{FF2B5EF4-FFF2-40B4-BE49-F238E27FC236}">
                <a16:creationId xmlns:a16="http://schemas.microsoft.com/office/drawing/2014/main" id="{0C354690-5684-0602-5A53-C07DB80B2F1F}"/>
              </a:ext>
            </a:extLst>
          </p:cNvPr>
          <p:cNvCxnSpPr/>
          <p:nvPr/>
        </p:nvCxnSpPr>
        <p:spPr>
          <a:xfrm>
            <a:off x="288885" y="3048866"/>
            <a:ext cx="11615817" cy="0"/>
          </a:xfrm>
          <a:prstGeom prst="straightConnector1">
            <a:avLst/>
          </a:prstGeom>
          <a:noFill/>
          <a:ln w="12701" cap="flat">
            <a:solidFill>
              <a:srgbClr val="000000"/>
            </a:solidFill>
            <a:prstDash val="solid"/>
          </a:ln>
        </p:spPr>
      </p:cxnSp>
      <p:sp>
        <p:nvSpPr>
          <p:cNvPr id="6" name="Text Placeholder 8">
            <a:extLst>
              <a:ext uri="{FF2B5EF4-FFF2-40B4-BE49-F238E27FC236}">
                <a16:creationId xmlns:a16="http://schemas.microsoft.com/office/drawing/2014/main" id="{C2C758BC-3F43-5F20-38FE-CA90A23521D2}"/>
              </a:ext>
            </a:extLst>
          </p:cNvPr>
          <p:cNvSpPr txBox="1">
            <a:spLocks noGrp="1"/>
          </p:cNvSpPr>
          <p:nvPr>
            <p:ph type="body" idx="4294967295"/>
          </p:nvPr>
        </p:nvSpPr>
        <p:spPr>
          <a:xfrm>
            <a:off x="287961" y="3297240"/>
            <a:ext cx="2473130" cy="2670048"/>
          </a:xfrm>
        </p:spPr>
        <p:txBody>
          <a:bodyPr/>
          <a:lstStyle>
            <a:lvl1pPr>
              <a:lnSpc>
                <a:spcPct val="100000"/>
              </a:lnSpc>
              <a:defRPr sz="4199">
                <a:solidFill>
                  <a:srgbClr val="0F62FE"/>
                </a:solidFill>
              </a:defRPr>
            </a:lvl1pPr>
          </a:lstStyle>
          <a:p>
            <a:pPr lvl="0"/>
            <a:r>
              <a:rPr lang="en-US"/>
              <a:t>+000M</a:t>
            </a:r>
          </a:p>
        </p:txBody>
      </p:sp>
      <p:sp>
        <p:nvSpPr>
          <p:cNvPr id="7" name="Footer Placeholder 3">
            <a:extLst>
              <a:ext uri="{FF2B5EF4-FFF2-40B4-BE49-F238E27FC236}">
                <a16:creationId xmlns:a16="http://schemas.microsoft.com/office/drawing/2014/main" id="{199F1EFD-882B-BDD6-2D6D-B8F4619504CF}"/>
              </a:ext>
            </a:extLst>
          </p:cNvPr>
          <p:cNvSpPr txBox="1">
            <a:spLocks noGrp="1"/>
          </p:cNvSpPr>
          <p:nvPr>
            <p:ph type="ftr" sz="quarter" idx="9"/>
          </p:nvPr>
        </p:nvSpPr>
        <p:spPr>
          <a:xfrm>
            <a:off x="287962" y="6408001"/>
            <a:ext cx="2477765" cy="190502"/>
          </a:xfrm>
        </p:spPr>
        <p:txBody>
          <a:bodyPr/>
          <a:lstStyle>
            <a:lvl1pPr>
              <a:defRPr/>
            </a:lvl1pPr>
          </a:lstStyle>
          <a:p>
            <a:pPr lvl="0"/>
            <a:endParaRPr lang="en-US"/>
          </a:p>
        </p:txBody>
      </p:sp>
      <p:sp>
        <p:nvSpPr>
          <p:cNvPr id="8" name="Slide Number">
            <a:extLst>
              <a:ext uri="{FF2B5EF4-FFF2-40B4-BE49-F238E27FC236}">
                <a16:creationId xmlns:a16="http://schemas.microsoft.com/office/drawing/2014/main" id="{636B6DDB-D480-CB32-7266-A08FC4C5E35F}"/>
              </a:ext>
            </a:extLst>
          </p:cNvPr>
          <p:cNvSpPr txBox="1">
            <a:spLocks noGrp="1"/>
          </p:cNvSpPr>
          <p:nvPr>
            <p:ph type="sldNum" sz="quarter" idx="8"/>
          </p:nvPr>
        </p:nvSpPr>
        <p:spPr>
          <a:xfrm>
            <a:off x="11769264" y="6475767"/>
            <a:ext cx="135437" cy="123110"/>
          </a:xfrm>
        </p:spPr>
        <p:txBody>
          <a:bodyPr anchor="ctr"/>
          <a:lstStyle>
            <a:lvl1pPr>
              <a:defRPr/>
            </a:lvl1pPr>
          </a:lstStyle>
          <a:p>
            <a:pPr lvl="0"/>
            <a:fld id="{28773425-9A5F-7C4A-A0D6-7078E2CFFB4C}" type="slidenum">
              <a:t>‹#›</a:t>
            </a:fld>
            <a:endParaRPr lang="en-US"/>
          </a:p>
        </p:txBody>
      </p:sp>
    </p:spTree>
    <p:extLst>
      <p:ext uri="{BB962C8B-B14F-4D97-AF65-F5344CB8AC3E}">
        <p14:creationId xmlns:p14="http://schemas.microsoft.com/office/powerpoint/2010/main" val="48413800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Data, 3 callouts, horizontal">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089D2C-89D2-51DA-BBBD-C3A6CB66FCD8}"/>
              </a:ext>
            </a:extLst>
          </p:cNvPr>
          <p:cNvSpPr txBox="1">
            <a:spLocks noGrp="1"/>
          </p:cNvSpPr>
          <p:nvPr>
            <p:ph type="title"/>
          </p:nvPr>
        </p:nvSpPr>
        <p:spPr>
          <a:xfrm>
            <a:off x="287998" y="288036"/>
            <a:ext cx="2474588" cy="1642363"/>
          </a:xfrm>
        </p:spPr>
        <p:txBody>
          <a:bodyPr/>
          <a:lstStyle>
            <a:lvl1pPr>
              <a:lnSpc>
                <a:spcPct val="110000"/>
              </a:lnSpc>
              <a:defRPr sz="1800"/>
            </a:lvl1pPr>
          </a:lstStyle>
          <a:p>
            <a:pPr lvl="0"/>
            <a:r>
              <a:rPr lang="en-US"/>
              <a:t>Click to edit Master title style</a:t>
            </a:r>
          </a:p>
        </p:txBody>
      </p:sp>
      <p:sp>
        <p:nvSpPr>
          <p:cNvPr id="3" name="Text Placeholder 15">
            <a:extLst>
              <a:ext uri="{FF2B5EF4-FFF2-40B4-BE49-F238E27FC236}">
                <a16:creationId xmlns:a16="http://schemas.microsoft.com/office/drawing/2014/main" id="{636797CB-6A71-38CE-5BD1-961459653FCC}"/>
              </a:ext>
            </a:extLst>
          </p:cNvPr>
          <p:cNvSpPr txBox="1">
            <a:spLocks noGrp="1"/>
          </p:cNvSpPr>
          <p:nvPr>
            <p:ph type="body" idx="4294967295"/>
          </p:nvPr>
        </p:nvSpPr>
        <p:spPr>
          <a:xfrm>
            <a:off x="3333318" y="192024"/>
            <a:ext cx="2475383" cy="1429546"/>
          </a:xfrm>
        </p:spPr>
        <p:txBody>
          <a:bodyPr/>
          <a:lstStyle>
            <a:lvl1pPr>
              <a:lnSpc>
                <a:spcPct val="90000"/>
              </a:lnSpc>
              <a:defRPr sz="6599">
                <a:solidFill>
                  <a:srgbClr val="0F62FE"/>
                </a:solidFill>
              </a:defRPr>
            </a:lvl1pPr>
          </a:lstStyle>
          <a:p>
            <a:pPr lvl="0"/>
            <a:r>
              <a:rPr lang="en-US"/>
              <a:t>00%</a:t>
            </a:r>
          </a:p>
        </p:txBody>
      </p:sp>
      <p:sp>
        <p:nvSpPr>
          <p:cNvPr id="4" name="Text Placeholder 6">
            <a:extLst>
              <a:ext uri="{FF2B5EF4-FFF2-40B4-BE49-F238E27FC236}">
                <a16:creationId xmlns:a16="http://schemas.microsoft.com/office/drawing/2014/main" id="{26FE8B3D-DCFA-03DD-40D5-0C6C032FC404}"/>
              </a:ext>
            </a:extLst>
          </p:cNvPr>
          <p:cNvSpPr txBox="1">
            <a:spLocks noGrp="1"/>
          </p:cNvSpPr>
          <p:nvPr>
            <p:ph type="body" idx="4294967295"/>
          </p:nvPr>
        </p:nvSpPr>
        <p:spPr>
          <a:xfrm>
            <a:off x="6380917" y="286450"/>
            <a:ext cx="3809502" cy="1429546"/>
          </a:xfrm>
        </p:spPr>
        <p:txBody>
          <a:bodyPr/>
          <a:lstStyle>
            <a:lvl1pPr>
              <a:defRPr/>
            </a:lvl1pPr>
            <a:lvl2pPr>
              <a:defRPr/>
            </a:lvl2pPr>
            <a:lvl3pPr>
              <a:defRPr/>
            </a:lvl3pPr>
            <a:lvl4pPr>
              <a:defRPr/>
            </a:lvl4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5" name="Straight Connector 16" descr="Horizontal row divider">
            <a:extLst>
              <a:ext uri="{FF2B5EF4-FFF2-40B4-BE49-F238E27FC236}">
                <a16:creationId xmlns:a16="http://schemas.microsoft.com/office/drawing/2014/main" id="{D485489D-2E47-D304-74E4-58144BC61615}"/>
              </a:ext>
            </a:extLst>
          </p:cNvPr>
          <p:cNvCxnSpPr/>
          <p:nvPr/>
        </p:nvCxnSpPr>
        <p:spPr>
          <a:xfrm>
            <a:off x="3333317" y="2287586"/>
            <a:ext cx="8571384" cy="0"/>
          </a:xfrm>
          <a:prstGeom prst="straightConnector1">
            <a:avLst/>
          </a:prstGeom>
          <a:noFill/>
          <a:ln w="12701" cap="flat">
            <a:solidFill>
              <a:srgbClr val="000000"/>
            </a:solidFill>
            <a:prstDash val="solid"/>
          </a:ln>
        </p:spPr>
      </p:cxnSp>
      <p:sp>
        <p:nvSpPr>
          <p:cNvPr id="6" name="Text Placeholder 17">
            <a:extLst>
              <a:ext uri="{FF2B5EF4-FFF2-40B4-BE49-F238E27FC236}">
                <a16:creationId xmlns:a16="http://schemas.microsoft.com/office/drawing/2014/main" id="{EE85740B-77EF-088E-FAD1-3C9E50FBF1C8}"/>
              </a:ext>
            </a:extLst>
          </p:cNvPr>
          <p:cNvSpPr txBox="1">
            <a:spLocks noGrp="1"/>
          </p:cNvSpPr>
          <p:nvPr>
            <p:ph type="body" idx="4294967295"/>
          </p:nvPr>
        </p:nvSpPr>
        <p:spPr>
          <a:xfrm>
            <a:off x="3333318" y="2478911"/>
            <a:ext cx="2475383" cy="1428755"/>
          </a:xfrm>
        </p:spPr>
        <p:txBody>
          <a:bodyPr/>
          <a:lstStyle>
            <a:lvl1pPr>
              <a:lnSpc>
                <a:spcPct val="90000"/>
              </a:lnSpc>
              <a:defRPr sz="6599">
                <a:solidFill>
                  <a:srgbClr val="0F62FE"/>
                </a:solidFill>
              </a:defRPr>
            </a:lvl1pPr>
          </a:lstStyle>
          <a:p>
            <a:pPr lvl="0"/>
            <a:r>
              <a:rPr lang="en-US"/>
              <a:t>00%</a:t>
            </a:r>
          </a:p>
        </p:txBody>
      </p:sp>
      <p:sp>
        <p:nvSpPr>
          <p:cNvPr id="7" name="Text Placeholder 8">
            <a:extLst>
              <a:ext uri="{FF2B5EF4-FFF2-40B4-BE49-F238E27FC236}">
                <a16:creationId xmlns:a16="http://schemas.microsoft.com/office/drawing/2014/main" id="{14CC8BA8-3A8D-4110-113A-8C6666DE86F2}"/>
              </a:ext>
            </a:extLst>
          </p:cNvPr>
          <p:cNvSpPr txBox="1">
            <a:spLocks noGrp="1"/>
          </p:cNvSpPr>
          <p:nvPr>
            <p:ph type="body" idx="4294967295"/>
          </p:nvPr>
        </p:nvSpPr>
        <p:spPr>
          <a:xfrm>
            <a:off x="6380917" y="2562985"/>
            <a:ext cx="3809502" cy="1428750"/>
          </a:xfrm>
        </p:spPr>
        <p:txBody>
          <a:bodyPr/>
          <a:lstStyle>
            <a:lvl1pPr>
              <a:defRPr/>
            </a:lvl1pPr>
            <a:lvl2pPr>
              <a:defRPr/>
            </a:lvl2pPr>
            <a:lvl3pPr>
              <a:defRPr/>
            </a:lvl3pPr>
            <a:lvl4pPr>
              <a:defRPr/>
            </a:lvl4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8" name="Straight Connector 14" descr="Horizontal row divider">
            <a:extLst>
              <a:ext uri="{FF2B5EF4-FFF2-40B4-BE49-F238E27FC236}">
                <a16:creationId xmlns:a16="http://schemas.microsoft.com/office/drawing/2014/main" id="{A43E2DFE-42E5-A924-BE6E-F738721FBC29}"/>
              </a:ext>
            </a:extLst>
          </p:cNvPr>
          <p:cNvCxnSpPr/>
          <p:nvPr/>
        </p:nvCxnSpPr>
        <p:spPr>
          <a:xfrm>
            <a:off x="3333317" y="4570414"/>
            <a:ext cx="8571384" cy="0"/>
          </a:xfrm>
          <a:prstGeom prst="straightConnector1">
            <a:avLst/>
          </a:prstGeom>
          <a:noFill/>
          <a:ln w="12701" cap="flat">
            <a:solidFill>
              <a:srgbClr val="000000"/>
            </a:solidFill>
            <a:prstDash val="solid"/>
          </a:ln>
        </p:spPr>
      </p:cxnSp>
      <p:sp>
        <p:nvSpPr>
          <p:cNvPr id="9" name="Text Placeholder 19">
            <a:extLst>
              <a:ext uri="{FF2B5EF4-FFF2-40B4-BE49-F238E27FC236}">
                <a16:creationId xmlns:a16="http://schemas.microsoft.com/office/drawing/2014/main" id="{4F65DE26-61D3-2A8E-023E-4294EBFAF685}"/>
              </a:ext>
            </a:extLst>
          </p:cNvPr>
          <p:cNvSpPr txBox="1">
            <a:spLocks noGrp="1"/>
          </p:cNvSpPr>
          <p:nvPr>
            <p:ph type="body" idx="4294967295"/>
          </p:nvPr>
        </p:nvSpPr>
        <p:spPr>
          <a:xfrm>
            <a:off x="3333318" y="4763324"/>
            <a:ext cx="2475383" cy="1334265"/>
          </a:xfrm>
        </p:spPr>
        <p:txBody>
          <a:bodyPr/>
          <a:lstStyle>
            <a:lvl1pPr>
              <a:lnSpc>
                <a:spcPct val="90000"/>
              </a:lnSpc>
              <a:defRPr sz="6599">
                <a:solidFill>
                  <a:srgbClr val="0F62FE"/>
                </a:solidFill>
              </a:defRPr>
            </a:lvl1pPr>
          </a:lstStyle>
          <a:p>
            <a:pPr lvl="0"/>
            <a:r>
              <a:rPr lang="en-US"/>
              <a:t>00%</a:t>
            </a:r>
          </a:p>
        </p:txBody>
      </p:sp>
      <p:sp>
        <p:nvSpPr>
          <p:cNvPr id="10" name="Text Placeholder 10">
            <a:extLst>
              <a:ext uri="{FF2B5EF4-FFF2-40B4-BE49-F238E27FC236}">
                <a16:creationId xmlns:a16="http://schemas.microsoft.com/office/drawing/2014/main" id="{84616552-D4F6-52CB-9951-76859A69BCD9}"/>
              </a:ext>
            </a:extLst>
          </p:cNvPr>
          <p:cNvSpPr txBox="1">
            <a:spLocks noGrp="1"/>
          </p:cNvSpPr>
          <p:nvPr>
            <p:ph type="body" idx="4294967295"/>
          </p:nvPr>
        </p:nvSpPr>
        <p:spPr>
          <a:xfrm>
            <a:off x="6380917" y="4835205"/>
            <a:ext cx="3809502" cy="1262384"/>
          </a:xfrm>
        </p:spPr>
        <p:txBody>
          <a:bodyPr/>
          <a:lstStyle>
            <a:lvl1pPr>
              <a:defRPr/>
            </a:lvl1pPr>
            <a:lvl2pPr>
              <a:defRPr/>
            </a:lvl2pPr>
            <a:lvl3pPr>
              <a:defRPr/>
            </a:lvl3pPr>
            <a:lvl4pPr>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4">
            <a:extLst>
              <a:ext uri="{FF2B5EF4-FFF2-40B4-BE49-F238E27FC236}">
                <a16:creationId xmlns:a16="http://schemas.microsoft.com/office/drawing/2014/main" id="{C607A4F1-84A3-30F9-B520-C1044742B033}"/>
              </a:ext>
            </a:extLst>
          </p:cNvPr>
          <p:cNvSpPr txBox="1">
            <a:spLocks noGrp="1"/>
          </p:cNvSpPr>
          <p:nvPr>
            <p:ph type="body" idx="4294967295"/>
          </p:nvPr>
        </p:nvSpPr>
        <p:spPr>
          <a:xfrm>
            <a:off x="3333318" y="6029325"/>
            <a:ext cx="2475383" cy="571500"/>
          </a:xfrm>
        </p:spPr>
        <p:txBody>
          <a:bodyPr anchor="b"/>
          <a:lstStyle>
            <a:lvl1pPr>
              <a:lnSpc>
                <a:spcPct val="120000"/>
              </a:lnSpc>
              <a:defRPr sz="800">
                <a:latin typeface="IBM Plex Sans" pitchFamily="34"/>
              </a:defRPr>
            </a:lvl1pPr>
            <a:lvl2pPr>
              <a:lnSpc>
                <a:spcPct val="120000"/>
              </a:lnSpc>
              <a:defRPr sz="800">
                <a:latin typeface="IBM Plex Sans" pitchFamily="34"/>
              </a:defRPr>
            </a:lvl2pPr>
            <a:lvl3pPr>
              <a:lnSpc>
                <a:spcPct val="120000"/>
              </a:lnSpc>
              <a:defRPr sz="800">
                <a:latin typeface="IBM Plex Sans" pitchFamily="34"/>
              </a:defRPr>
            </a:lvl3pPr>
            <a:lvl4pPr>
              <a:lnSpc>
                <a:spcPct val="120000"/>
              </a:lnSpc>
              <a:defRPr sz="800">
                <a:latin typeface="IBM Plex Sans"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Footer Placeholder 3">
            <a:extLst>
              <a:ext uri="{FF2B5EF4-FFF2-40B4-BE49-F238E27FC236}">
                <a16:creationId xmlns:a16="http://schemas.microsoft.com/office/drawing/2014/main" id="{703F7EF6-D418-A363-337D-9F96905FDE8D}"/>
              </a:ext>
            </a:extLst>
          </p:cNvPr>
          <p:cNvSpPr txBox="1">
            <a:spLocks noGrp="1"/>
          </p:cNvSpPr>
          <p:nvPr>
            <p:ph type="ftr" sz="quarter" idx="9"/>
          </p:nvPr>
        </p:nvSpPr>
        <p:spPr>
          <a:xfrm>
            <a:off x="287962" y="6408001"/>
            <a:ext cx="2477765" cy="190502"/>
          </a:xfrm>
        </p:spPr>
        <p:txBody>
          <a:bodyPr/>
          <a:lstStyle>
            <a:lvl1pPr>
              <a:defRPr/>
            </a:lvl1pPr>
          </a:lstStyle>
          <a:p>
            <a:pPr lvl="0"/>
            <a:endParaRPr lang="en-US"/>
          </a:p>
        </p:txBody>
      </p:sp>
      <p:sp>
        <p:nvSpPr>
          <p:cNvPr id="13" name="Slide Number">
            <a:extLst>
              <a:ext uri="{FF2B5EF4-FFF2-40B4-BE49-F238E27FC236}">
                <a16:creationId xmlns:a16="http://schemas.microsoft.com/office/drawing/2014/main" id="{578EF6AE-8F76-85E2-CC9E-738DD7A88CA1}"/>
              </a:ext>
            </a:extLst>
          </p:cNvPr>
          <p:cNvSpPr txBox="1">
            <a:spLocks noGrp="1"/>
          </p:cNvSpPr>
          <p:nvPr>
            <p:ph type="sldNum" sz="quarter" idx="8"/>
          </p:nvPr>
        </p:nvSpPr>
        <p:spPr>
          <a:xfrm>
            <a:off x="11769264" y="6475767"/>
            <a:ext cx="135437" cy="123110"/>
          </a:xfrm>
        </p:spPr>
        <p:txBody>
          <a:bodyPr anchor="ctr"/>
          <a:lstStyle>
            <a:lvl1pPr>
              <a:defRPr/>
            </a:lvl1pPr>
          </a:lstStyle>
          <a:p>
            <a:pPr lvl="0"/>
            <a:fld id="{11B427B4-84EB-4244-A18B-5E2770F3FC79}" type="slidenum">
              <a:t>‹#›</a:t>
            </a:fld>
            <a:endParaRPr lang="en-US"/>
          </a:p>
        </p:txBody>
      </p:sp>
    </p:spTree>
    <p:extLst>
      <p:ext uri="{BB962C8B-B14F-4D97-AF65-F5344CB8AC3E}">
        <p14:creationId xmlns:p14="http://schemas.microsoft.com/office/powerpoint/2010/main" val="135221043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ext, 4 columns ">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F2517C-B28D-E4A3-305A-E77E01C24A01}"/>
              </a:ext>
            </a:extLst>
          </p:cNvPr>
          <p:cNvSpPr txBox="1">
            <a:spLocks noGrp="1"/>
          </p:cNvSpPr>
          <p:nvPr>
            <p:ph type="title"/>
          </p:nvPr>
        </p:nvSpPr>
        <p:spPr>
          <a:xfrm>
            <a:off x="287962" y="288036"/>
            <a:ext cx="2470716" cy="762792"/>
          </a:xfrm>
        </p:spPr>
        <p:txBody>
          <a:bodyPr/>
          <a:lstStyle>
            <a:lvl1pPr>
              <a:lnSpc>
                <a:spcPct val="110000"/>
              </a:lnSpc>
              <a:defRPr sz="1400"/>
            </a:lvl1pPr>
          </a:lstStyle>
          <a:p>
            <a:pPr lvl="0"/>
            <a:r>
              <a:rPr lang="en-US"/>
              <a:t>Click to edit Master title style</a:t>
            </a:r>
          </a:p>
        </p:txBody>
      </p:sp>
      <p:sp>
        <p:nvSpPr>
          <p:cNvPr id="3" name="Text Placeholder 4">
            <a:extLst>
              <a:ext uri="{FF2B5EF4-FFF2-40B4-BE49-F238E27FC236}">
                <a16:creationId xmlns:a16="http://schemas.microsoft.com/office/drawing/2014/main" id="{98593698-DAC3-0B94-71D0-AC9DE6A04494}"/>
              </a:ext>
            </a:extLst>
          </p:cNvPr>
          <p:cNvSpPr txBox="1">
            <a:spLocks noGrp="1"/>
          </p:cNvSpPr>
          <p:nvPr>
            <p:ph type="body" idx="4294967295"/>
          </p:nvPr>
        </p:nvSpPr>
        <p:spPr>
          <a:xfrm>
            <a:off x="287962" y="1523998"/>
            <a:ext cx="2477765" cy="4576764"/>
          </a:xfrm>
        </p:spPr>
        <p:txBody>
          <a:bodyPr/>
          <a:lstStyle>
            <a:lvl1pPr>
              <a:defRPr sz="1000">
                <a:latin typeface="IBM Plex Sans" pitchFamily="34"/>
              </a:defRPr>
            </a:lvl1pPr>
            <a:lvl2pPr marL="91422" indent="-91422">
              <a:defRPr sz="1000">
                <a:latin typeface="IBM Plex Sans" pitchFamily="34"/>
              </a:defRPr>
            </a:lvl2pPr>
            <a:lvl3pPr marL="182843" indent="-91422">
              <a:defRPr sz="1000">
                <a:latin typeface="IBM Plex Sans" pitchFamily="34"/>
              </a:defRPr>
            </a:lvl3pPr>
            <a:lvl4pPr marL="274265" indent="-91422">
              <a:defRPr sz="1000">
                <a:latin typeface="IBM Plex Sans"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 Placeholder 6">
            <a:extLst>
              <a:ext uri="{FF2B5EF4-FFF2-40B4-BE49-F238E27FC236}">
                <a16:creationId xmlns:a16="http://schemas.microsoft.com/office/drawing/2014/main" id="{52D7CFD3-25D2-159B-8740-A82802E2898A}"/>
              </a:ext>
            </a:extLst>
          </p:cNvPr>
          <p:cNvSpPr txBox="1">
            <a:spLocks noGrp="1"/>
          </p:cNvSpPr>
          <p:nvPr>
            <p:ph type="body" idx="4294967295"/>
          </p:nvPr>
        </p:nvSpPr>
        <p:spPr>
          <a:xfrm>
            <a:off x="3334904" y="1523998"/>
            <a:ext cx="2475383" cy="4576764"/>
          </a:xfrm>
        </p:spPr>
        <p:txBody>
          <a:bodyPr/>
          <a:lstStyle>
            <a:lvl1pPr>
              <a:defRPr sz="1000">
                <a:latin typeface="IBM Plex Sans" pitchFamily="34"/>
              </a:defRPr>
            </a:lvl1pPr>
            <a:lvl2pPr marL="91422" indent="-91422">
              <a:defRPr sz="1000">
                <a:latin typeface="IBM Plex Sans" pitchFamily="34"/>
              </a:defRPr>
            </a:lvl2pPr>
            <a:lvl3pPr marL="182843" indent="-91422">
              <a:defRPr sz="1000">
                <a:latin typeface="IBM Plex Sans" pitchFamily="34"/>
              </a:defRPr>
            </a:lvl3pPr>
            <a:lvl4pPr marL="274265" indent="-91422">
              <a:defRPr sz="1000">
                <a:latin typeface="IBM Plex Sans"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8">
            <a:extLst>
              <a:ext uri="{FF2B5EF4-FFF2-40B4-BE49-F238E27FC236}">
                <a16:creationId xmlns:a16="http://schemas.microsoft.com/office/drawing/2014/main" id="{79D55028-D2B2-3258-6809-5A8E76B89F99}"/>
              </a:ext>
            </a:extLst>
          </p:cNvPr>
          <p:cNvSpPr txBox="1">
            <a:spLocks noGrp="1"/>
          </p:cNvSpPr>
          <p:nvPr>
            <p:ph type="body" idx="4294967295"/>
          </p:nvPr>
        </p:nvSpPr>
        <p:spPr>
          <a:xfrm>
            <a:off x="6389169" y="1523998"/>
            <a:ext cx="2476179" cy="4576764"/>
          </a:xfrm>
        </p:spPr>
        <p:txBody>
          <a:bodyPr/>
          <a:lstStyle>
            <a:lvl1pPr>
              <a:defRPr sz="1000">
                <a:latin typeface="IBM Plex Sans" pitchFamily="34"/>
              </a:defRPr>
            </a:lvl1pPr>
            <a:lvl2pPr marL="91422" indent="-91422">
              <a:defRPr sz="1000">
                <a:latin typeface="IBM Plex Sans" pitchFamily="34"/>
              </a:defRPr>
            </a:lvl2pPr>
            <a:lvl3pPr marL="182843" indent="-91422">
              <a:defRPr sz="1000">
                <a:latin typeface="IBM Plex Sans" pitchFamily="34"/>
              </a:defRPr>
            </a:lvl3pPr>
            <a:lvl4pPr marL="274265" indent="-91422">
              <a:defRPr sz="1000">
                <a:latin typeface="IBM Plex Sans"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10">
            <a:extLst>
              <a:ext uri="{FF2B5EF4-FFF2-40B4-BE49-F238E27FC236}">
                <a16:creationId xmlns:a16="http://schemas.microsoft.com/office/drawing/2014/main" id="{30FFBC24-E3E0-BB64-60F2-8DE5B5E3E7BD}"/>
              </a:ext>
            </a:extLst>
          </p:cNvPr>
          <p:cNvSpPr txBox="1">
            <a:spLocks noGrp="1"/>
          </p:cNvSpPr>
          <p:nvPr>
            <p:ph type="body" idx="4294967295"/>
          </p:nvPr>
        </p:nvSpPr>
        <p:spPr>
          <a:xfrm>
            <a:off x="9430108" y="1523998"/>
            <a:ext cx="2479351" cy="4576764"/>
          </a:xfrm>
        </p:spPr>
        <p:txBody>
          <a:bodyPr/>
          <a:lstStyle>
            <a:lvl1pPr>
              <a:defRPr sz="1000">
                <a:latin typeface="IBM Plex Sans" pitchFamily="34"/>
              </a:defRPr>
            </a:lvl1pPr>
            <a:lvl2pPr marL="91422" indent="-91422">
              <a:defRPr sz="1000">
                <a:latin typeface="IBM Plex Sans" pitchFamily="34"/>
              </a:defRPr>
            </a:lvl2pPr>
            <a:lvl3pPr marL="182843" indent="-91422">
              <a:defRPr sz="1000">
                <a:latin typeface="IBM Plex Sans" pitchFamily="34"/>
              </a:defRPr>
            </a:lvl3pPr>
            <a:lvl4pPr marL="274265" indent="-91422">
              <a:defRPr sz="1000">
                <a:latin typeface="IBM Plex Sans"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Footer Placeholder 3">
            <a:extLst>
              <a:ext uri="{FF2B5EF4-FFF2-40B4-BE49-F238E27FC236}">
                <a16:creationId xmlns:a16="http://schemas.microsoft.com/office/drawing/2014/main" id="{DE80F2B9-C77E-EDDC-3CFD-6D787E5F56F8}"/>
              </a:ext>
            </a:extLst>
          </p:cNvPr>
          <p:cNvSpPr txBox="1">
            <a:spLocks noGrp="1"/>
          </p:cNvSpPr>
          <p:nvPr>
            <p:ph type="ftr" sz="quarter" idx="9"/>
          </p:nvPr>
        </p:nvSpPr>
        <p:spPr>
          <a:xfrm>
            <a:off x="287962" y="6408001"/>
            <a:ext cx="2477765" cy="190502"/>
          </a:xfrm>
        </p:spPr>
        <p:txBody>
          <a:bodyPr/>
          <a:lstStyle>
            <a:lvl1pPr>
              <a:defRPr/>
            </a:lvl1pPr>
          </a:lstStyle>
          <a:p>
            <a:pPr lvl="0"/>
            <a:endParaRPr lang="en-US"/>
          </a:p>
        </p:txBody>
      </p:sp>
      <p:sp>
        <p:nvSpPr>
          <p:cNvPr id="8" name="Slide Number">
            <a:extLst>
              <a:ext uri="{FF2B5EF4-FFF2-40B4-BE49-F238E27FC236}">
                <a16:creationId xmlns:a16="http://schemas.microsoft.com/office/drawing/2014/main" id="{BA08AC05-90D4-A8D0-C6D2-35DC5F0B5CCB}"/>
              </a:ext>
            </a:extLst>
          </p:cNvPr>
          <p:cNvSpPr txBox="1">
            <a:spLocks noGrp="1"/>
          </p:cNvSpPr>
          <p:nvPr>
            <p:ph type="sldNum" sz="quarter" idx="8"/>
          </p:nvPr>
        </p:nvSpPr>
        <p:spPr>
          <a:xfrm>
            <a:off x="11769264" y="6475767"/>
            <a:ext cx="135437" cy="123110"/>
          </a:xfrm>
        </p:spPr>
        <p:txBody>
          <a:bodyPr anchor="ctr"/>
          <a:lstStyle>
            <a:lvl1pPr>
              <a:defRPr/>
            </a:lvl1pPr>
          </a:lstStyle>
          <a:p>
            <a:pPr lvl="0"/>
            <a:fld id="{7D15DB6F-B4EA-1848-A161-2C26546E1A4C}" type="slidenum">
              <a:t>‹#›</a:t>
            </a:fld>
            <a:endParaRPr lang="en-US"/>
          </a:p>
        </p:txBody>
      </p:sp>
    </p:spTree>
    <p:extLst>
      <p:ext uri="{BB962C8B-B14F-4D97-AF65-F5344CB8AC3E}">
        <p14:creationId xmlns:p14="http://schemas.microsoft.com/office/powerpoint/2010/main" val="7377528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ext, 4 columns, short dividers">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4CF9D6-C693-BD92-E86C-2B2746E02C1F}"/>
              </a:ext>
            </a:extLst>
          </p:cNvPr>
          <p:cNvSpPr txBox="1">
            <a:spLocks noGrp="1"/>
          </p:cNvSpPr>
          <p:nvPr>
            <p:ph type="title"/>
          </p:nvPr>
        </p:nvSpPr>
        <p:spPr>
          <a:xfrm>
            <a:off x="287961" y="288036"/>
            <a:ext cx="2474588" cy="762792"/>
          </a:xfrm>
        </p:spPr>
        <p:txBody>
          <a:bodyPr/>
          <a:lstStyle>
            <a:lvl1pPr>
              <a:lnSpc>
                <a:spcPct val="110000"/>
              </a:lnSpc>
              <a:defRPr sz="1400"/>
            </a:lvl1pPr>
          </a:lstStyle>
          <a:p>
            <a:pPr lvl="0"/>
            <a:r>
              <a:rPr lang="en-US"/>
              <a:t>Click to edit Master title style</a:t>
            </a:r>
          </a:p>
        </p:txBody>
      </p:sp>
      <p:sp>
        <p:nvSpPr>
          <p:cNvPr id="3" name="Text Placeholder 5">
            <a:extLst>
              <a:ext uri="{FF2B5EF4-FFF2-40B4-BE49-F238E27FC236}">
                <a16:creationId xmlns:a16="http://schemas.microsoft.com/office/drawing/2014/main" id="{2EA410AA-7636-E8F3-3EEB-01E4360BC6E0}"/>
              </a:ext>
            </a:extLst>
          </p:cNvPr>
          <p:cNvSpPr txBox="1">
            <a:spLocks noGrp="1"/>
          </p:cNvSpPr>
          <p:nvPr>
            <p:ph type="body" idx="4294967295"/>
          </p:nvPr>
        </p:nvSpPr>
        <p:spPr>
          <a:xfrm>
            <a:off x="3334904" y="288036"/>
            <a:ext cx="2477765" cy="762792"/>
          </a:xfrm>
        </p:spPr>
        <p:txBody>
          <a:bodyPr/>
          <a:lstStyle>
            <a:lvl1pPr>
              <a:defRPr sz="1000">
                <a:latin typeface="IBM Plex Sans" pitchFamily="34"/>
              </a:defRPr>
            </a:lvl1pPr>
            <a:lvl2pPr marL="91422" indent="-91422">
              <a:defRPr sz="1000">
                <a:latin typeface="IBM Plex Sans" pitchFamily="34"/>
              </a:defRPr>
            </a:lvl2pPr>
            <a:lvl3pPr marL="182843" indent="-91422">
              <a:defRPr sz="1000">
                <a:latin typeface="IBM Plex Sans" pitchFamily="34"/>
              </a:defRPr>
            </a:lvl3pPr>
            <a:lvl4pPr marL="274265" indent="-91422">
              <a:defRPr sz="1000">
                <a:latin typeface="IBM Plex Sans"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4" name="Straight Connector 19" descr="Vertical column divider">
            <a:extLst>
              <a:ext uri="{FF2B5EF4-FFF2-40B4-BE49-F238E27FC236}">
                <a16:creationId xmlns:a16="http://schemas.microsoft.com/office/drawing/2014/main" id="{2D0ECF45-BCB4-AD94-6FDF-FFC69FEDEB14}"/>
              </a:ext>
            </a:extLst>
          </p:cNvPr>
          <p:cNvCxnSpPr/>
          <p:nvPr/>
        </p:nvCxnSpPr>
        <p:spPr>
          <a:xfrm>
            <a:off x="3047605" y="1522412"/>
            <a:ext cx="0" cy="4572737"/>
          </a:xfrm>
          <a:prstGeom prst="straightConnector1">
            <a:avLst/>
          </a:prstGeom>
          <a:noFill/>
          <a:ln w="12701" cap="flat">
            <a:solidFill>
              <a:srgbClr val="000000"/>
            </a:solidFill>
            <a:prstDash val="solid"/>
          </a:ln>
        </p:spPr>
      </p:cxnSp>
      <p:cxnSp>
        <p:nvCxnSpPr>
          <p:cNvPr id="5" name="Straight Connector 20" descr="Vertical column divider">
            <a:extLst>
              <a:ext uri="{FF2B5EF4-FFF2-40B4-BE49-F238E27FC236}">
                <a16:creationId xmlns:a16="http://schemas.microsoft.com/office/drawing/2014/main" id="{D5AD6C94-F301-AE0C-F85A-FB97025111B3}"/>
              </a:ext>
            </a:extLst>
          </p:cNvPr>
          <p:cNvCxnSpPr/>
          <p:nvPr/>
        </p:nvCxnSpPr>
        <p:spPr>
          <a:xfrm>
            <a:off x="6093683" y="1522412"/>
            <a:ext cx="0" cy="4575178"/>
          </a:xfrm>
          <a:prstGeom prst="straightConnector1">
            <a:avLst/>
          </a:prstGeom>
          <a:noFill/>
          <a:ln w="12701" cap="flat">
            <a:solidFill>
              <a:srgbClr val="000000"/>
            </a:solidFill>
            <a:prstDash val="solid"/>
          </a:ln>
        </p:spPr>
      </p:cxnSp>
      <p:cxnSp>
        <p:nvCxnSpPr>
          <p:cNvPr id="6" name="Straight Connector 21" descr="Vertical column divider">
            <a:extLst>
              <a:ext uri="{FF2B5EF4-FFF2-40B4-BE49-F238E27FC236}">
                <a16:creationId xmlns:a16="http://schemas.microsoft.com/office/drawing/2014/main" id="{10F0E323-8512-04CE-F158-14DD46AF525A}"/>
              </a:ext>
            </a:extLst>
          </p:cNvPr>
          <p:cNvCxnSpPr/>
          <p:nvPr/>
        </p:nvCxnSpPr>
        <p:spPr>
          <a:xfrm>
            <a:off x="9142810" y="1522412"/>
            <a:ext cx="0" cy="4575178"/>
          </a:xfrm>
          <a:prstGeom prst="straightConnector1">
            <a:avLst/>
          </a:prstGeom>
          <a:noFill/>
          <a:ln w="12701" cap="flat">
            <a:solidFill>
              <a:srgbClr val="000000"/>
            </a:solidFill>
            <a:prstDash val="solid"/>
          </a:ln>
        </p:spPr>
      </p:cxnSp>
      <p:sp>
        <p:nvSpPr>
          <p:cNvPr id="7" name="Footer Placeholder 3">
            <a:extLst>
              <a:ext uri="{FF2B5EF4-FFF2-40B4-BE49-F238E27FC236}">
                <a16:creationId xmlns:a16="http://schemas.microsoft.com/office/drawing/2014/main" id="{ECAC140C-208A-DEDA-7396-781240917DEF}"/>
              </a:ext>
            </a:extLst>
          </p:cNvPr>
          <p:cNvSpPr txBox="1">
            <a:spLocks noGrp="1"/>
          </p:cNvSpPr>
          <p:nvPr>
            <p:ph type="ftr" sz="quarter" idx="9"/>
          </p:nvPr>
        </p:nvSpPr>
        <p:spPr>
          <a:xfrm>
            <a:off x="287962" y="6408001"/>
            <a:ext cx="2477765" cy="190502"/>
          </a:xfrm>
        </p:spPr>
        <p:txBody>
          <a:bodyPr/>
          <a:lstStyle>
            <a:lvl1pPr>
              <a:defRPr/>
            </a:lvl1pPr>
          </a:lstStyle>
          <a:p>
            <a:pPr lvl="0"/>
            <a:endParaRPr lang="en-US"/>
          </a:p>
        </p:txBody>
      </p:sp>
      <p:sp>
        <p:nvSpPr>
          <p:cNvPr id="8" name="Slide Number">
            <a:extLst>
              <a:ext uri="{FF2B5EF4-FFF2-40B4-BE49-F238E27FC236}">
                <a16:creationId xmlns:a16="http://schemas.microsoft.com/office/drawing/2014/main" id="{8F24FA9D-D1F3-1BD6-0003-98854C860C7E}"/>
              </a:ext>
            </a:extLst>
          </p:cNvPr>
          <p:cNvSpPr txBox="1">
            <a:spLocks noGrp="1"/>
          </p:cNvSpPr>
          <p:nvPr>
            <p:ph type="sldNum" sz="quarter" idx="8"/>
          </p:nvPr>
        </p:nvSpPr>
        <p:spPr>
          <a:xfrm>
            <a:off x="11769264" y="6475767"/>
            <a:ext cx="135437" cy="123110"/>
          </a:xfrm>
        </p:spPr>
        <p:txBody>
          <a:bodyPr anchor="ctr"/>
          <a:lstStyle>
            <a:lvl1pPr>
              <a:defRPr/>
            </a:lvl1pPr>
          </a:lstStyle>
          <a:p>
            <a:pPr lvl="0"/>
            <a:fld id="{7A1FEAC9-A30B-CD49-AE53-1BE270777C95}" type="slidenum">
              <a:t>‹#›</a:t>
            </a:fld>
            <a:endParaRPr lang="en-US"/>
          </a:p>
        </p:txBody>
      </p:sp>
      <p:sp>
        <p:nvSpPr>
          <p:cNvPr id="9" name="Text Placeholder 4">
            <a:extLst>
              <a:ext uri="{FF2B5EF4-FFF2-40B4-BE49-F238E27FC236}">
                <a16:creationId xmlns:a16="http://schemas.microsoft.com/office/drawing/2014/main" id="{D81A6626-911D-2F93-F24E-806D137E03C6}"/>
              </a:ext>
            </a:extLst>
          </p:cNvPr>
          <p:cNvSpPr txBox="1">
            <a:spLocks noGrp="1"/>
          </p:cNvSpPr>
          <p:nvPr>
            <p:ph type="body" idx="4294967295"/>
          </p:nvPr>
        </p:nvSpPr>
        <p:spPr>
          <a:xfrm>
            <a:off x="291171" y="1523998"/>
            <a:ext cx="2477765" cy="4576764"/>
          </a:xfrm>
        </p:spPr>
        <p:txBody>
          <a:bodyPr/>
          <a:lstStyle>
            <a:lvl1pPr>
              <a:defRPr sz="1000">
                <a:latin typeface="IBM Plex Sans" pitchFamily="34"/>
              </a:defRPr>
            </a:lvl1pPr>
            <a:lvl2pPr marL="91422" indent="-91422">
              <a:defRPr sz="1000">
                <a:latin typeface="IBM Plex Sans" pitchFamily="34"/>
              </a:defRPr>
            </a:lvl2pPr>
            <a:lvl3pPr marL="182843" indent="-91422">
              <a:defRPr sz="1000">
                <a:latin typeface="IBM Plex Sans" pitchFamily="34"/>
              </a:defRPr>
            </a:lvl3pPr>
            <a:lvl4pPr marL="274265" indent="-91422">
              <a:defRPr sz="1000">
                <a:latin typeface="IBM Plex Sans"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2FB482A1-68D7-CE13-B753-3B9D40FD9E19}"/>
              </a:ext>
            </a:extLst>
          </p:cNvPr>
          <p:cNvSpPr txBox="1">
            <a:spLocks noGrp="1"/>
          </p:cNvSpPr>
          <p:nvPr>
            <p:ph type="body" idx="4294967295"/>
          </p:nvPr>
        </p:nvSpPr>
        <p:spPr>
          <a:xfrm>
            <a:off x="3334904" y="1523998"/>
            <a:ext cx="2475383" cy="4576764"/>
          </a:xfrm>
        </p:spPr>
        <p:txBody>
          <a:bodyPr/>
          <a:lstStyle>
            <a:lvl1pPr>
              <a:defRPr sz="1000">
                <a:latin typeface="IBM Plex Sans" pitchFamily="34"/>
              </a:defRPr>
            </a:lvl1pPr>
            <a:lvl2pPr marL="91422" indent="-91422">
              <a:defRPr sz="1000">
                <a:latin typeface="IBM Plex Sans" pitchFamily="34"/>
              </a:defRPr>
            </a:lvl2pPr>
            <a:lvl3pPr marL="182843" indent="-91422">
              <a:defRPr sz="1000">
                <a:latin typeface="IBM Plex Sans" pitchFamily="34"/>
              </a:defRPr>
            </a:lvl3pPr>
            <a:lvl4pPr marL="274265" indent="-91422">
              <a:defRPr sz="1000">
                <a:latin typeface="IBM Plex Sans"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8">
            <a:extLst>
              <a:ext uri="{FF2B5EF4-FFF2-40B4-BE49-F238E27FC236}">
                <a16:creationId xmlns:a16="http://schemas.microsoft.com/office/drawing/2014/main" id="{68AD8427-7887-E086-3701-11B6B742B42B}"/>
              </a:ext>
            </a:extLst>
          </p:cNvPr>
          <p:cNvSpPr txBox="1">
            <a:spLocks noGrp="1"/>
          </p:cNvSpPr>
          <p:nvPr>
            <p:ph type="body" idx="4294967295"/>
          </p:nvPr>
        </p:nvSpPr>
        <p:spPr>
          <a:xfrm>
            <a:off x="6389169" y="1523998"/>
            <a:ext cx="2476179" cy="4576764"/>
          </a:xfrm>
        </p:spPr>
        <p:txBody>
          <a:bodyPr/>
          <a:lstStyle>
            <a:lvl1pPr>
              <a:defRPr sz="1000">
                <a:latin typeface="IBM Plex Sans" pitchFamily="34"/>
              </a:defRPr>
            </a:lvl1pPr>
            <a:lvl2pPr marL="91422" indent="-91422">
              <a:defRPr sz="1000">
                <a:latin typeface="IBM Plex Sans" pitchFamily="34"/>
              </a:defRPr>
            </a:lvl2pPr>
            <a:lvl3pPr marL="182843" indent="-91422">
              <a:defRPr sz="1000">
                <a:latin typeface="IBM Plex Sans" pitchFamily="34"/>
              </a:defRPr>
            </a:lvl3pPr>
            <a:lvl4pPr marL="274265" indent="-91422">
              <a:defRPr sz="1000">
                <a:latin typeface="IBM Plex Sans"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D3B3B9C2-0D78-6A7E-5C43-4833F3F50D98}"/>
              </a:ext>
            </a:extLst>
          </p:cNvPr>
          <p:cNvSpPr txBox="1">
            <a:spLocks noGrp="1"/>
          </p:cNvSpPr>
          <p:nvPr>
            <p:ph type="body" idx="4294967295"/>
          </p:nvPr>
        </p:nvSpPr>
        <p:spPr>
          <a:xfrm>
            <a:off x="9430108" y="1523998"/>
            <a:ext cx="2479351" cy="4576764"/>
          </a:xfrm>
        </p:spPr>
        <p:txBody>
          <a:bodyPr/>
          <a:lstStyle>
            <a:lvl1pPr>
              <a:defRPr sz="1000">
                <a:latin typeface="IBM Plex Sans" pitchFamily="34"/>
              </a:defRPr>
            </a:lvl1pPr>
            <a:lvl2pPr marL="91422" indent="-91422">
              <a:defRPr sz="1000">
                <a:latin typeface="IBM Plex Sans" pitchFamily="34"/>
              </a:defRPr>
            </a:lvl2pPr>
            <a:lvl3pPr marL="182843" indent="-91422">
              <a:defRPr sz="1000">
                <a:latin typeface="IBM Plex Sans" pitchFamily="34"/>
              </a:defRPr>
            </a:lvl3pPr>
            <a:lvl4pPr marL="274265" indent="-91422">
              <a:defRPr sz="1000">
                <a:latin typeface="IBM Plex Sans"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58341303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ext, 4 columns, dividers, headlines">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EB4ECD-9A3A-B18F-71DC-80DE7283F986}"/>
              </a:ext>
            </a:extLst>
          </p:cNvPr>
          <p:cNvSpPr txBox="1">
            <a:spLocks noGrp="1"/>
          </p:cNvSpPr>
          <p:nvPr>
            <p:ph type="title"/>
          </p:nvPr>
        </p:nvSpPr>
        <p:spPr>
          <a:xfrm>
            <a:off x="287961" y="288036"/>
            <a:ext cx="2474588" cy="1234376"/>
          </a:xfrm>
        </p:spPr>
        <p:txBody>
          <a:bodyPr/>
          <a:lstStyle>
            <a:lvl1pPr>
              <a:lnSpc>
                <a:spcPct val="110000"/>
              </a:lnSpc>
              <a:defRPr sz="1400"/>
            </a:lvl1pPr>
          </a:lstStyle>
          <a:p>
            <a:pPr lvl="0"/>
            <a:r>
              <a:rPr lang="en-US"/>
              <a:t>Click to edit Master title style</a:t>
            </a:r>
          </a:p>
        </p:txBody>
      </p:sp>
      <p:sp>
        <p:nvSpPr>
          <p:cNvPr id="3" name="Text Placeholder 5">
            <a:extLst>
              <a:ext uri="{FF2B5EF4-FFF2-40B4-BE49-F238E27FC236}">
                <a16:creationId xmlns:a16="http://schemas.microsoft.com/office/drawing/2014/main" id="{5C7F0950-8B53-AF08-1E8F-B392B8C1BEAB}"/>
              </a:ext>
            </a:extLst>
          </p:cNvPr>
          <p:cNvSpPr txBox="1">
            <a:spLocks noGrp="1"/>
          </p:cNvSpPr>
          <p:nvPr>
            <p:ph type="body" idx="4294967295"/>
          </p:nvPr>
        </p:nvSpPr>
        <p:spPr>
          <a:xfrm>
            <a:off x="3333318" y="288036"/>
            <a:ext cx="2477765" cy="921519"/>
          </a:xfrm>
        </p:spPr>
        <p:txBody>
          <a:bodyPr/>
          <a:lstStyle>
            <a:lvl1pPr>
              <a:defRPr sz="1400"/>
            </a:lvl1pPr>
            <a:lvl2pPr marL="127990" indent="-127990">
              <a:defRPr sz="1400"/>
            </a:lvl2pPr>
            <a:lvl3pPr marL="255981" indent="-127990">
              <a:defRPr sz="1400"/>
            </a:lvl3pPr>
            <a:lvl4pPr marL="383971" indent="-127990">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 Placeholder 6">
            <a:extLst>
              <a:ext uri="{FF2B5EF4-FFF2-40B4-BE49-F238E27FC236}">
                <a16:creationId xmlns:a16="http://schemas.microsoft.com/office/drawing/2014/main" id="{B02B8E5B-D1C7-720A-BCF5-39DAEB0D8A0F}"/>
              </a:ext>
            </a:extLst>
          </p:cNvPr>
          <p:cNvSpPr txBox="1">
            <a:spLocks noGrp="1"/>
          </p:cNvSpPr>
          <p:nvPr>
            <p:ph type="body" idx="4294967295"/>
          </p:nvPr>
        </p:nvSpPr>
        <p:spPr>
          <a:xfrm>
            <a:off x="3333318" y="1523998"/>
            <a:ext cx="2475383" cy="4578351"/>
          </a:xfrm>
        </p:spPr>
        <p:txBody>
          <a:bodyPr/>
          <a:lstStyle>
            <a:lvl1pPr>
              <a:defRPr sz="1000">
                <a:latin typeface="IBM Plex Sans" pitchFamily="34"/>
              </a:defRPr>
            </a:lvl1pPr>
            <a:lvl2pPr marL="91422" indent="-91422">
              <a:defRPr sz="1000">
                <a:latin typeface="IBM Plex Sans" pitchFamily="34"/>
              </a:defRPr>
            </a:lvl2pPr>
            <a:lvl3pPr marL="182843" indent="-91422">
              <a:defRPr sz="1000">
                <a:latin typeface="IBM Plex Sans" pitchFamily="34"/>
              </a:defRPr>
            </a:lvl3pPr>
            <a:lvl4pPr marL="274265" indent="-91422">
              <a:defRPr sz="1000">
                <a:latin typeface="IBM Plex Sans"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9">
            <a:extLst>
              <a:ext uri="{FF2B5EF4-FFF2-40B4-BE49-F238E27FC236}">
                <a16:creationId xmlns:a16="http://schemas.microsoft.com/office/drawing/2014/main" id="{E0069CED-4752-27D3-E139-8B3AD0865560}"/>
              </a:ext>
            </a:extLst>
          </p:cNvPr>
          <p:cNvSpPr txBox="1">
            <a:spLocks noGrp="1"/>
          </p:cNvSpPr>
          <p:nvPr>
            <p:ph type="body" idx="4294967295"/>
          </p:nvPr>
        </p:nvSpPr>
        <p:spPr>
          <a:xfrm>
            <a:off x="6389169" y="288036"/>
            <a:ext cx="2476179" cy="921519"/>
          </a:xfrm>
        </p:spPr>
        <p:txBody>
          <a:bodyPr/>
          <a:lstStyle>
            <a:lvl1pPr>
              <a:defRPr sz="1400"/>
            </a:lvl1pPr>
            <a:lvl2pPr marL="127990" indent="-127990">
              <a:defRPr sz="1400"/>
            </a:lvl2pPr>
            <a:lvl3pPr marL="255981" indent="-127990">
              <a:defRPr sz="1400"/>
            </a:lvl3pPr>
            <a:lvl4pPr marL="383971" indent="-127990">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8">
            <a:extLst>
              <a:ext uri="{FF2B5EF4-FFF2-40B4-BE49-F238E27FC236}">
                <a16:creationId xmlns:a16="http://schemas.microsoft.com/office/drawing/2014/main" id="{33B87FF3-CE75-88DF-475F-A2D765AE61BB}"/>
              </a:ext>
            </a:extLst>
          </p:cNvPr>
          <p:cNvSpPr txBox="1">
            <a:spLocks noGrp="1"/>
          </p:cNvSpPr>
          <p:nvPr>
            <p:ph type="body" idx="4294967295"/>
          </p:nvPr>
        </p:nvSpPr>
        <p:spPr>
          <a:xfrm>
            <a:off x="6389169" y="1523998"/>
            <a:ext cx="2476179" cy="4578351"/>
          </a:xfrm>
        </p:spPr>
        <p:txBody>
          <a:bodyPr/>
          <a:lstStyle>
            <a:lvl1pPr>
              <a:defRPr sz="1000">
                <a:latin typeface="IBM Plex Sans" pitchFamily="34"/>
              </a:defRPr>
            </a:lvl1pPr>
            <a:lvl2pPr marL="91422" indent="-91422">
              <a:defRPr sz="1000">
                <a:latin typeface="IBM Plex Sans" pitchFamily="34"/>
              </a:defRPr>
            </a:lvl2pPr>
            <a:lvl3pPr marL="182843" indent="-91422">
              <a:defRPr sz="1000">
                <a:latin typeface="IBM Plex Sans" pitchFamily="34"/>
              </a:defRPr>
            </a:lvl3pPr>
            <a:lvl4pPr marL="274265" indent="-91422">
              <a:defRPr sz="1000">
                <a:latin typeface="IBM Plex Sans"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7" name="Straight Connector 13" descr="Vertical column divider">
            <a:extLst>
              <a:ext uri="{FF2B5EF4-FFF2-40B4-BE49-F238E27FC236}">
                <a16:creationId xmlns:a16="http://schemas.microsoft.com/office/drawing/2014/main" id="{2C927BCE-1B4B-6403-6476-673D044B8967}"/>
              </a:ext>
            </a:extLst>
          </p:cNvPr>
          <p:cNvCxnSpPr/>
          <p:nvPr/>
        </p:nvCxnSpPr>
        <p:spPr>
          <a:xfrm>
            <a:off x="3047605" y="285050"/>
            <a:ext cx="0" cy="5811040"/>
          </a:xfrm>
          <a:prstGeom prst="straightConnector1">
            <a:avLst/>
          </a:prstGeom>
          <a:noFill/>
          <a:ln w="12701" cap="flat">
            <a:solidFill>
              <a:srgbClr val="000000"/>
            </a:solidFill>
            <a:prstDash val="solid"/>
          </a:ln>
        </p:spPr>
      </p:cxnSp>
      <p:cxnSp>
        <p:nvCxnSpPr>
          <p:cNvPr id="8" name="Straight Connector 17" descr="Vertical column divider">
            <a:extLst>
              <a:ext uri="{FF2B5EF4-FFF2-40B4-BE49-F238E27FC236}">
                <a16:creationId xmlns:a16="http://schemas.microsoft.com/office/drawing/2014/main" id="{7462059A-18F2-92B4-C225-3573A965F213}"/>
              </a:ext>
            </a:extLst>
          </p:cNvPr>
          <p:cNvCxnSpPr/>
          <p:nvPr/>
        </p:nvCxnSpPr>
        <p:spPr>
          <a:xfrm>
            <a:off x="6093683" y="285050"/>
            <a:ext cx="0" cy="5812540"/>
          </a:xfrm>
          <a:prstGeom prst="straightConnector1">
            <a:avLst/>
          </a:prstGeom>
          <a:noFill/>
          <a:ln w="12701" cap="flat">
            <a:solidFill>
              <a:srgbClr val="000000"/>
            </a:solidFill>
            <a:prstDash val="solid"/>
          </a:ln>
        </p:spPr>
      </p:cxnSp>
      <p:cxnSp>
        <p:nvCxnSpPr>
          <p:cNvPr id="9" name="Straight Connector 18" descr="Vertical column divider">
            <a:extLst>
              <a:ext uri="{FF2B5EF4-FFF2-40B4-BE49-F238E27FC236}">
                <a16:creationId xmlns:a16="http://schemas.microsoft.com/office/drawing/2014/main" id="{137E44D7-92A7-EDC6-C564-21CA53833CC3}"/>
              </a:ext>
            </a:extLst>
          </p:cNvPr>
          <p:cNvCxnSpPr/>
          <p:nvPr/>
        </p:nvCxnSpPr>
        <p:spPr>
          <a:xfrm>
            <a:off x="9142810" y="285050"/>
            <a:ext cx="0" cy="5811040"/>
          </a:xfrm>
          <a:prstGeom prst="straightConnector1">
            <a:avLst/>
          </a:prstGeom>
          <a:noFill/>
          <a:ln w="12701" cap="flat">
            <a:solidFill>
              <a:srgbClr val="000000"/>
            </a:solidFill>
            <a:prstDash val="solid"/>
          </a:ln>
        </p:spPr>
      </p:cxnSp>
      <p:sp>
        <p:nvSpPr>
          <p:cNvPr id="10" name="Text Placeholder 12">
            <a:extLst>
              <a:ext uri="{FF2B5EF4-FFF2-40B4-BE49-F238E27FC236}">
                <a16:creationId xmlns:a16="http://schemas.microsoft.com/office/drawing/2014/main" id="{9FA29707-90A2-BCC2-79E8-786DA4A54F87}"/>
              </a:ext>
            </a:extLst>
          </p:cNvPr>
          <p:cNvSpPr txBox="1">
            <a:spLocks noGrp="1"/>
          </p:cNvSpPr>
          <p:nvPr>
            <p:ph type="body" idx="4294967295"/>
          </p:nvPr>
        </p:nvSpPr>
        <p:spPr>
          <a:xfrm>
            <a:off x="9428522" y="288036"/>
            <a:ext cx="2479351" cy="921519"/>
          </a:xfrm>
        </p:spPr>
        <p:txBody>
          <a:bodyPr/>
          <a:lstStyle>
            <a:lvl1pPr>
              <a:defRPr sz="1400"/>
            </a:lvl1pPr>
            <a:lvl2pPr marL="127990" indent="-127990">
              <a:defRPr sz="1400"/>
            </a:lvl2pPr>
            <a:lvl3pPr marL="255981" indent="-127990">
              <a:defRPr sz="1400"/>
            </a:lvl3pPr>
            <a:lvl4pPr marL="383971" indent="-127990">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86A97727-CEDD-9ED5-DE0B-A0AF14E960E1}"/>
              </a:ext>
            </a:extLst>
          </p:cNvPr>
          <p:cNvSpPr txBox="1">
            <a:spLocks noGrp="1"/>
          </p:cNvSpPr>
          <p:nvPr>
            <p:ph type="body" idx="4294967295"/>
          </p:nvPr>
        </p:nvSpPr>
        <p:spPr>
          <a:xfrm>
            <a:off x="9428522" y="1523998"/>
            <a:ext cx="2479351" cy="4578351"/>
          </a:xfrm>
        </p:spPr>
        <p:txBody>
          <a:bodyPr/>
          <a:lstStyle>
            <a:lvl1pPr>
              <a:defRPr sz="1000">
                <a:latin typeface="IBM Plex Sans" pitchFamily="34"/>
              </a:defRPr>
            </a:lvl1pPr>
            <a:lvl2pPr marL="91422" indent="-91422">
              <a:defRPr sz="1000">
                <a:latin typeface="IBM Plex Sans" pitchFamily="34"/>
              </a:defRPr>
            </a:lvl2pPr>
            <a:lvl3pPr marL="182843" indent="-91422">
              <a:defRPr sz="1000">
                <a:latin typeface="IBM Plex Sans" pitchFamily="34"/>
              </a:defRPr>
            </a:lvl3pPr>
            <a:lvl4pPr marL="274265" indent="-91422">
              <a:defRPr sz="1000">
                <a:latin typeface="IBM Plex Sans"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Footer Placeholder 3">
            <a:extLst>
              <a:ext uri="{FF2B5EF4-FFF2-40B4-BE49-F238E27FC236}">
                <a16:creationId xmlns:a16="http://schemas.microsoft.com/office/drawing/2014/main" id="{B09788BC-CD95-F108-5900-E383BDE2D512}"/>
              </a:ext>
            </a:extLst>
          </p:cNvPr>
          <p:cNvSpPr txBox="1">
            <a:spLocks noGrp="1"/>
          </p:cNvSpPr>
          <p:nvPr>
            <p:ph type="ftr" sz="quarter" idx="9"/>
          </p:nvPr>
        </p:nvSpPr>
        <p:spPr>
          <a:xfrm>
            <a:off x="287962" y="6408001"/>
            <a:ext cx="2477765" cy="190502"/>
          </a:xfrm>
        </p:spPr>
        <p:txBody>
          <a:bodyPr/>
          <a:lstStyle>
            <a:lvl1pPr>
              <a:defRPr/>
            </a:lvl1pPr>
          </a:lstStyle>
          <a:p>
            <a:pPr lvl="0"/>
            <a:endParaRPr lang="en-US"/>
          </a:p>
        </p:txBody>
      </p:sp>
      <p:sp>
        <p:nvSpPr>
          <p:cNvPr id="13" name="Slide Number">
            <a:extLst>
              <a:ext uri="{FF2B5EF4-FFF2-40B4-BE49-F238E27FC236}">
                <a16:creationId xmlns:a16="http://schemas.microsoft.com/office/drawing/2014/main" id="{A38DEADB-1B69-8103-2084-DB0F11C92FBB}"/>
              </a:ext>
            </a:extLst>
          </p:cNvPr>
          <p:cNvSpPr txBox="1">
            <a:spLocks noGrp="1"/>
          </p:cNvSpPr>
          <p:nvPr>
            <p:ph type="sldNum" sz="quarter" idx="8"/>
          </p:nvPr>
        </p:nvSpPr>
        <p:spPr>
          <a:xfrm>
            <a:off x="11769264" y="6475767"/>
            <a:ext cx="135437" cy="123110"/>
          </a:xfrm>
        </p:spPr>
        <p:txBody>
          <a:bodyPr anchor="ctr"/>
          <a:lstStyle>
            <a:lvl1pPr>
              <a:defRPr/>
            </a:lvl1pPr>
          </a:lstStyle>
          <a:p>
            <a:pPr lvl="0"/>
            <a:fld id="{F72DDED5-4AB2-F249-A3EC-7807A0BBD17C}" type="slidenum">
              <a:t>‹#›</a:t>
            </a:fld>
            <a:endParaRPr lang="en-US"/>
          </a:p>
        </p:txBody>
      </p:sp>
    </p:spTree>
    <p:extLst>
      <p:ext uri="{BB962C8B-B14F-4D97-AF65-F5344CB8AC3E}">
        <p14:creationId xmlns:p14="http://schemas.microsoft.com/office/powerpoint/2010/main" val="207155417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ext, 4 columns, dividers, pictograms">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9F3B2E-4720-BA69-1A36-AC4A368F17C8}"/>
              </a:ext>
            </a:extLst>
          </p:cNvPr>
          <p:cNvSpPr txBox="1">
            <a:spLocks noGrp="1"/>
          </p:cNvSpPr>
          <p:nvPr>
            <p:ph type="title"/>
          </p:nvPr>
        </p:nvSpPr>
        <p:spPr>
          <a:xfrm>
            <a:off x="287998" y="288036"/>
            <a:ext cx="2474588" cy="1048542"/>
          </a:xfrm>
        </p:spPr>
        <p:txBody>
          <a:bodyPr/>
          <a:lstStyle>
            <a:lvl1pPr>
              <a:lnSpc>
                <a:spcPct val="110000"/>
              </a:lnSpc>
              <a:defRPr sz="1200"/>
            </a:lvl1pPr>
          </a:lstStyle>
          <a:p>
            <a:pPr lvl="0"/>
            <a:r>
              <a:rPr lang="en-US"/>
              <a:t>Click to edit Master title style</a:t>
            </a:r>
          </a:p>
        </p:txBody>
      </p:sp>
      <p:sp>
        <p:nvSpPr>
          <p:cNvPr id="3" name="Text Placeholder 4">
            <a:extLst>
              <a:ext uri="{FF2B5EF4-FFF2-40B4-BE49-F238E27FC236}">
                <a16:creationId xmlns:a16="http://schemas.microsoft.com/office/drawing/2014/main" id="{F8F33713-D0CA-4D60-DE66-24C85A5E4C1E}"/>
              </a:ext>
            </a:extLst>
          </p:cNvPr>
          <p:cNvSpPr txBox="1">
            <a:spLocks noGrp="1"/>
          </p:cNvSpPr>
          <p:nvPr>
            <p:ph type="body" idx="4294967295"/>
          </p:nvPr>
        </p:nvSpPr>
        <p:spPr>
          <a:xfrm>
            <a:off x="287962" y="1523998"/>
            <a:ext cx="2470716" cy="2289173"/>
          </a:xfrm>
        </p:spPr>
        <p:txBody>
          <a:bodyPr/>
          <a:lstStyle>
            <a:lvl1pPr>
              <a:lnSpc>
                <a:spcPct val="100000"/>
              </a:lnSpc>
              <a:defRPr/>
            </a:lvl1pPr>
          </a:lstStyle>
          <a:p>
            <a:pPr lvl="0"/>
            <a:r>
              <a:rPr lang="en-US"/>
              <a:t>Click to edit Master text styles</a:t>
            </a:r>
          </a:p>
        </p:txBody>
      </p:sp>
      <p:sp>
        <p:nvSpPr>
          <p:cNvPr id="4" name="Picture Placeholder 13" descr="Place pictogram here">
            <a:extLst>
              <a:ext uri="{FF2B5EF4-FFF2-40B4-BE49-F238E27FC236}">
                <a16:creationId xmlns:a16="http://schemas.microsoft.com/office/drawing/2014/main" id="{68FE6E17-23F6-868C-7067-FD518068361C}"/>
              </a:ext>
            </a:extLst>
          </p:cNvPr>
          <p:cNvSpPr txBox="1">
            <a:spLocks noGrp="1"/>
          </p:cNvSpPr>
          <p:nvPr>
            <p:ph type="pic" idx="4294967295"/>
          </p:nvPr>
        </p:nvSpPr>
        <p:spPr>
          <a:xfrm>
            <a:off x="3333317" y="288036"/>
            <a:ext cx="607997" cy="608076"/>
          </a:xfrm>
        </p:spPr>
        <p:txBody>
          <a:bodyPr anchor="ctr" anchorCtr="1"/>
          <a:lstStyle>
            <a:lvl1pPr algn="ctr">
              <a:defRPr sz="800"/>
            </a:lvl1pPr>
          </a:lstStyle>
          <a:p>
            <a:pPr lvl="0"/>
            <a:r>
              <a:rPr lang="en-US"/>
              <a:t>Pictogram</a:t>
            </a:r>
          </a:p>
        </p:txBody>
      </p:sp>
      <p:sp>
        <p:nvSpPr>
          <p:cNvPr id="5" name="Text Placeholder 9">
            <a:extLst>
              <a:ext uri="{FF2B5EF4-FFF2-40B4-BE49-F238E27FC236}">
                <a16:creationId xmlns:a16="http://schemas.microsoft.com/office/drawing/2014/main" id="{B492DC28-1569-9A07-EF42-DE8EA7B3D106}"/>
              </a:ext>
            </a:extLst>
          </p:cNvPr>
          <p:cNvSpPr txBox="1">
            <a:spLocks noGrp="1"/>
          </p:cNvSpPr>
          <p:nvPr>
            <p:ph type="body" idx="4294967295"/>
          </p:nvPr>
        </p:nvSpPr>
        <p:spPr>
          <a:xfrm>
            <a:off x="3334904" y="1523998"/>
            <a:ext cx="2475383" cy="4576764"/>
          </a:xfrm>
        </p:spPr>
        <p:txBody>
          <a:bodyPr/>
          <a:lstStyle>
            <a:lvl1pPr>
              <a:defRPr sz="1200"/>
            </a:lvl1pPr>
            <a:lvl2pPr marL="109706" indent="-109706">
              <a:defRPr sz="1200"/>
            </a:lvl2pPr>
            <a:lvl3pPr marL="219412" indent="-109706">
              <a:defRPr sz="1200"/>
            </a:lvl3pPr>
            <a:lvl4pPr marL="329118" indent="-109706">
              <a:defRPr sz="12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Picture Placeholder 13" descr="Place pictogram here">
            <a:extLst>
              <a:ext uri="{FF2B5EF4-FFF2-40B4-BE49-F238E27FC236}">
                <a16:creationId xmlns:a16="http://schemas.microsoft.com/office/drawing/2014/main" id="{C2124856-1A62-7964-7047-D7F5753421CB}"/>
              </a:ext>
            </a:extLst>
          </p:cNvPr>
          <p:cNvSpPr txBox="1">
            <a:spLocks noGrp="1"/>
          </p:cNvSpPr>
          <p:nvPr>
            <p:ph type="pic" idx="4294967295"/>
          </p:nvPr>
        </p:nvSpPr>
        <p:spPr>
          <a:xfrm>
            <a:off x="6389168" y="288036"/>
            <a:ext cx="607997" cy="608076"/>
          </a:xfrm>
        </p:spPr>
        <p:txBody>
          <a:bodyPr anchor="ctr" anchorCtr="1"/>
          <a:lstStyle>
            <a:lvl1pPr algn="ctr">
              <a:defRPr sz="800"/>
            </a:lvl1pPr>
          </a:lstStyle>
          <a:p>
            <a:pPr lvl="0"/>
            <a:r>
              <a:rPr lang="en-US"/>
              <a:t>Pictogram</a:t>
            </a:r>
          </a:p>
        </p:txBody>
      </p:sp>
      <p:sp>
        <p:nvSpPr>
          <p:cNvPr id="7" name="Text Placeholder 9">
            <a:extLst>
              <a:ext uri="{FF2B5EF4-FFF2-40B4-BE49-F238E27FC236}">
                <a16:creationId xmlns:a16="http://schemas.microsoft.com/office/drawing/2014/main" id="{6F421949-280F-739B-3ADB-D7E7BAF728DD}"/>
              </a:ext>
            </a:extLst>
          </p:cNvPr>
          <p:cNvSpPr txBox="1">
            <a:spLocks noGrp="1"/>
          </p:cNvSpPr>
          <p:nvPr>
            <p:ph type="body" idx="4294967295"/>
          </p:nvPr>
        </p:nvSpPr>
        <p:spPr>
          <a:xfrm>
            <a:off x="6389169" y="1523998"/>
            <a:ext cx="2470739" cy="4576764"/>
          </a:xfrm>
        </p:spPr>
        <p:txBody>
          <a:bodyPr/>
          <a:lstStyle>
            <a:lvl1pPr>
              <a:defRPr sz="1200"/>
            </a:lvl1pPr>
            <a:lvl2pPr marL="109706" indent="-109706">
              <a:defRPr sz="1200"/>
            </a:lvl2pPr>
            <a:lvl3pPr marL="219412" indent="-109706">
              <a:defRPr sz="1200"/>
            </a:lvl3pPr>
            <a:lvl4pPr marL="329118" indent="-109706">
              <a:defRPr sz="12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Picture Placeholder 13" descr="Place pictogram here">
            <a:extLst>
              <a:ext uri="{FF2B5EF4-FFF2-40B4-BE49-F238E27FC236}">
                <a16:creationId xmlns:a16="http://schemas.microsoft.com/office/drawing/2014/main" id="{B9328F5D-565F-1B6D-6D7B-DFB229763ECD}"/>
              </a:ext>
            </a:extLst>
          </p:cNvPr>
          <p:cNvSpPr txBox="1">
            <a:spLocks noGrp="1"/>
          </p:cNvSpPr>
          <p:nvPr>
            <p:ph type="pic" idx="4294967295"/>
          </p:nvPr>
        </p:nvSpPr>
        <p:spPr>
          <a:xfrm>
            <a:off x="9428522" y="288036"/>
            <a:ext cx="607997" cy="608076"/>
          </a:xfrm>
        </p:spPr>
        <p:txBody>
          <a:bodyPr anchor="ctr" anchorCtr="1"/>
          <a:lstStyle>
            <a:lvl1pPr algn="ctr">
              <a:defRPr sz="800"/>
            </a:lvl1pPr>
          </a:lstStyle>
          <a:p>
            <a:pPr lvl="0"/>
            <a:r>
              <a:rPr lang="en-US"/>
              <a:t>Pictogram</a:t>
            </a:r>
          </a:p>
        </p:txBody>
      </p:sp>
      <p:sp>
        <p:nvSpPr>
          <p:cNvPr id="9" name="Text Placeholder 9">
            <a:extLst>
              <a:ext uri="{FF2B5EF4-FFF2-40B4-BE49-F238E27FC236}">
                <a16:creationId xmlns:a16="http://schemas.microsoft.com/office/drawing/2014/main" id="{2593AA3A-FF9F-D5CF-4358-0C263966F6C2}"/>
              </a:ext>
            </a:extLst>
          </p:cNvPr>
          <p:cNvSpPr txBox="1">
            <a:spLocks noGrp="1"/>
          </p:cNvSpPr>
          <p:nvPr>
            <p:ph type="body" idx="4294967295"/>
          </p:nvPr>
        </p:nvSpPr>
        <p:spPr>
          <a:xfrm>
            <a:off x="9430108" y="1523998"/>
            <a:ext cx="2470620" cy="4576764"/>
          </a:xfrm>
        </p:spPr>
        <p:txBody>
          <a:bodyPr/>
          <a:lstStyle>
            <a:lvl1pPr>
              <a:defRPr sz="1200"/>
            </a:lvl1pPr>
            <a:lvl2pPr marL="109706" indent="-109706">
              <a:defRPr sz="1200"/>
            </a:lvl2pPr>
            <a:lvl3pPr marL="219412" indent="-109706">
              <a:defRPr sz="1200"/>
            </a:lvl3pPr>
            <a:lvl4pPr marL="329118" indent="-109706">
              <a:defRPr sz="12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Footer Placeholder 3">
            <a:extLst>
              <a:ext uri="{FF2B5EF4-FFF2-40B4-BE49-F238E27FC236}">
                <a16:creationId xmlns:a16="http://schemas.microsoft.com/office/drawing/2014/main" id="{FEA4D69D-62D9-6B39-B93B-50D52DD4EFA7}"/>
              </a:ext>
            </a:extLst>
          </p:cNvPr>
          <p:cNvSpPr txBox="1">
            <a:spLocks noGrp="1"/>
          </p:cNvSpPr>
          <p:nvPr>
            <p:ph type="ftr" sz="quarter" idx="9"/>
          </p:nvPr>
        </p:nvSpPr>
        <p:spPr>
          <a:xfrm>
            <a:off x="287962" y="6408001"/>
            <a:ext cx="2477765" cy="190502"/>
          </a:xfrm>
        </p:spPr>
        <p:txBody>
          <a:bodyPr/>
          <a:lstStyle>
            <a:lvl1pPr>
              <a:defRPr/>
            </a:lvl1pPr>
          </a:lstStyle>
          <a:p>
            <a:pPr lvl="0"/>
            <a:endParaRPr lang="en-US"/>
          </a:p>
        </p:txBody>
      </p:sp>
      <p:sp>
        <p:nvSpPr>
          <p:cNvPr id="11" name="Slide Number">
            <a:extLst>
              <a:ext uri="{FF2B5EF4-FFF2-40B4-BE49-F238E27FC236}">
                <a16:creationId xmlns:a16="http://schemas.microsoft.com/office/drawing/2014/main" id="{033957D2-83E3-BF69-66F8-E9FA5E7DB6C1}"/>
              </a:ext>
            </a:extLst>
          </p:cNvPr>
          <p:cNvSpPr txBox="1">
            <a:spLocks noGrp="1"/>
          </p:cNvSpPr>
          <p:nvPr>
            <p:ph type="sldNum" sz="quarter" idx="8"/>
          </p:nvPr>
        </p:nvSpPr>
        <p:spPr>
          <a:xfrm>
            <a:off x="11769264" y="6475767"/>
            <a:ext cx="135437" cy="123110"/>
          </a:xfrm>
        </p:spPr>
        <p:txBody>
          <a:bodyPr anchor="ctr"/>
          <a:lstStyle>
            <a:lvl1pPr>
              <a:defRPr/>
            </a:lvl1pPr>
          </a:lstStyle>
          <a:p>
            <a:pPr lvl="0"/>
            <a:fld id="{DE1FFA73-6721-314E-B91F-ED6613A7F2FF}" type="slidenum">
              <a:t>‹#›</a:t>
            </a:fld>
            <a:endParaRPr lang="en-US"/>
          </a:p>
        </p:txBody>
      </p:sp>
      <p:cxnSp>
        <p:nvCxnSpPr>
          <p:cNvPr id="12" name="Straight Connector 3" descr="Vertical column divider">
            <a:extLst>
              <a:ext uri="{FF2B5EF4-FFF2-40B4-BE49-F238E27FC236}">
                <a16:creationId xmlns:a16="http://schemas.microsoft.com/office/drawing/2014/main" id="{02B68CEB-11B1-C071-D098-13FFA8D576A8}"/>
              </a:ext>
            </a:extLst>
          </p:cNvPr>
          <p:cNvCxnSpPr/>
          <p:nvPr/>
        </p:nvCxnSpPr>
        <p:spPr>
          <a:xfrm>
            <a:off x="3047605" y="285050"/>
            <a:ext cx="0" cy="5815713"/>
          </a:xfrm>
          <a:prstGeom prst="straightConnector1">
            <a:avLst/>
          </a:prstGeom>
          <a:noFill/>
          <a:ln w="12701" cap="flat">
            <a:solidFill>
              <a:srgbClr val="000000"/>
            </a:solidFill>
            <a:prstDash val="solid"/>
          </a:ln>
        </p:spPr>
      </p:cxnSp>
      <p:cxnSp>
        <p:nvCxnSpPr>
          <p:cNvPr id="13" name="Straight Connector 5" descr="Vertical column divider">
            <a:extLst>
              <a:ext uri="{FF2B5EF4-FFF2-40B4-BE49-F238E27FC236}">
                <a16:creationId xmlns:a16="http://schemas.microsoft.com/office/drawing/2014/main" id="{1D320A83-D440-7D91-8A7F-F5E62134A956}"/>
              </a:ext>
            </a:extLst>
          </p:cNvPr>
          <p:cNvCxnSpPr/>
          <p:nvPr/>
        </p:nvCxnSpPr>
        <p:spPr>
          <a:xfrm>
            <a:off x="6095268" y="285050"/>
            <a:ext cx="0" cy="5812540"/>
          </a:xfrm>
          <a:prstGeom prst="straightConnector1">
            <a:avLst/>
          </a:prstGeom>
          <a:noFill/>
          <a:ln w="12701" cap="flat">
            <a:solidFill>
              <a:srgbClr val="000000"/>
            </a:solidFill>
            <a:prstDash val="solid"/>
          </a:ln>
        </p:spPr>
      </p:cxnSp>
      <p:cxnSp>
        <p:nvCxnSpPr>
          <p:cNvPr id="14" name="Straight Connector 7" descr="Vertical column divider">
            <a:extLst>
              <a:ext uri="{FF2B5EF4-FFF2-40B4-BE49-F238E27FC236}">
                <a16:creationId xmlns:a16="http://schemas.microsoft.com/office/drawing/2014/main" id="{A6A85D07-455D-54EF-7294-048748793385}"/>
              </a:ext>
            </a:extLst>
          </p:cNvPr>
          <p:cNvCxnSpPr/>
          <p:nvPr/>
        </p:nvCxnSpPr>
        <p:spPr>
          <a:xfrm>
            <a:off x="9142810" y="285050"/>
            <a:ext cx="0" cy="5811040"/>
          </a:xfrm>
          <a:prstGeom prst="straightConnector1">
            <a:avLst/>
          </a:prstGeom>
          <a:noFill/>
          <a:ln w="12701" cap="flat">
            <a:solidFill>
              <a:srgbClr val="000000"/>
            </a:solidFill>
            <a:prstDash val="solid"/>
          </a:ln>
        </p:spPr>
      </p:cxnSp>
    </p:spTree>
    <p:extLst>
      <p:ext uri="{BB962C8B-B14F-4D97-AF65-F5344CB8AC3E}">
        <p14:creationId xmlns:p14="http://schemas.microsoft.com/office/powerpoint/2010/main" val="276863885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ext, 1 wide column, divider">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5D6960-589C-BB01-0AF7-08DE9D0295BF}"/>
              </a:ext>
            </a:extLst>
          </p:cNvPr>
          <p:cNvSpPr txBox="1">
            <a:spLocks noGrp="1"/>
          </p:cNvSpPr>
          <p:nvPr>
            <p:ph type="title"/>
          </p:nvPr>
        </p:nvSpPr>
        <p:spPr>
          <a:xfrm>
            <a:off x="287962" y="192024"/>
            <a:ext cx="2470716" cy="1558988"/>
          </a:xfrm>
        </p:spPr>
        <p:txBody>
          <a:bodyPr/>
          <a:lstStyle>
            <a:lvl1pPr>
              <a:lnSpc>
                <a:spcPct val="100000"/>
              </a:lnSpc>
              <a:defRPr sz="3399"/>
            </a:lvl1pPr>
          </a:lstStyle>
          <a:p>
            <a:pPr lvl="0"/>
            <a:r>
              <a:rPr lang="en-US"/>
              <a:t>Click to edit Master title style</a:t>
            </a:r>
          </a:p>
        </p:txBody>
      </p:sp>
      <p:sp>
        <p:nvSpPr>
          <p:cNvPr id="3" name="Text Placeholder 5">
            <a:extLst>
              <a:ext uri="{FF2B5EF4-FFF2-40B4-BE49-F238E27FC236}">
                <a16:creationId xmlns:a16="http://schemas.microsoft.com/office/drawing/2014/main" id="{FEA80D3B-D823-62E6-6DE4-B15100FED854}"/>
              </a:ext>
            </a:extLst>
          </p:cNvPr>
          <p:cNvSpPr txBox="1">
            <a:spLocks noGrp="1"/>
          </p:cNvSpPr>
          <p:nvPr>
            <p:ph type="body" idx="4294967295"/>
          </p:nvPr>
        </p:nvSpPr>
        <p:spPr>
          <a:xfrm>
            <a:off x="3334140" y="192024"/>
            <a:ext cx="2475383" cy="1100636"/>
          </a:xfrm>
        </p:spPr>
        <p:txBody>
          <a:bodyPr/>
          <a:lstStyle>
            <a:lvl1pPr>
              <a:lnSpc>
                <a:spcPct val="100000"/>
              </a:lnSpc>
              <a:defRPr sz="3399"/>
            </a:lvl1pPr>
          </a:lstStyle>
          <a:p>
            <a:pPr lvl="0"/>
            <a:r>
              <a:rPr lang="en-US"/>
              <a:t>Click to edit Master text styles</a:t>
            </a:r>
          </a:p>
        </p:txBody>
      </p:sp>
      <p:sp>
        <p:nvSpPr>
          <p:cNvPr id="4" name="Text Placeholder 6">
            <a:extLst>
              <a:ext uri="{FF2B5EF4-FFF2-40B4-BE49-F238E27FC236}">
                <a16:creationId xmlns:a16="http://schemas.microsoft.com/office/drawing/2014/main" id="{336BE0EA-34E1-7146-8EAB-DA5A79A73FAB}"/>
              </a:ext>
            </a:extLst>
          </p:cNvPr>
          <p:cNvSpPr txBox="1">
            <a:spLocks noGrp="1"/>
          </p:cNvSpPr>
          <p:nvPr>
            <p:ph type="body" idx="4294967295"/>
          </p:nvPr>
        </p:nvSpPr>
        <p:spPr>
          <a:xfrm>
            <a:off x="3334140" y="1523998"/>
            <a:ext cx="2475383" cy="4576764"/>
          </a:xfrm>
        </p:spPr>
        <p:txBody>
          <a:bodyPr/>
          <a:lstStyle>
            <a:lvl1pPr>
              <a:defRPr sz="1400">
                <a:latin typeface="IBM Plex Sans Light" pitchFamily="34"/>
              </a:defRPr>
            </a:lvl1pPr>
            <a:lvl2pPr marL="127990" indent="-127990">
              <a:defRPr sz="1400">
                <a:latin typeface="IBM Plex Sans Light" pitchFamily="34"/>
              </a:defRPr>
            </a:lvl2pPr>
            <a:lvl3pPr marL="255981" indent="-127990">
              <a:defRPr sz="1400">
                <a:latin typeface="IBM Plex Sans Light" pitchFamily="34"/>
              </a:defRPr>
            </a:lvl3pPr>
            <a:lvl4pPr marL="383971" indent="-127990">
              <a:defRPr sz="1400">
                <a:latin typeface="IBM Plex Sans Light"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8">
            <a:extLst>
              <a:ext uri="{FF2B5EF4-FFF2-40B4-BE49-F238E27FC236}">
                <a16:creationId xmlns:a16="http://schemas.microsoft.com/office/drawing/2014/main" id="{4AD025A5-F90F-AFD0-01C7-B5CE82F1BFA9}"/>
              </a:ext>
            </a:extLst>
          </p:cNvPr>
          <p:cNvSpPr txBox="1">
            <a:spLocks noGrp="1"/>
          </p:cNvSpPr>
          <p:nvPr>
            <p:ph type="body" idx="4294967295"/>
          </p:nvPr>
        </p:nvSpPr>
        <p:spPr>
          <a:xfrm>
            <a:off x="6381745" y="1523998"/>
            <a:ext cx="5047594" cy="4576764"/>
          </a:xfrm>
        </p:spPr>
        <p:txBody>
          <a:bodyPr/>
          <a:lstStyle>
            <a:lvl1pPr>
              <a:defRPr sz="1400">
                <a:latin typeface="IBM Plex Sans Light" pitchFamily="34"/>
              </a:defRPr>
            </a:lvl1pPr>
            <a:lvl2pPr marL="127990" indent="-127990">
              <a:defRPr sz="1400">
                <a:latin typeface="IBM Plex Sans Light" pitchFamily="34"/>
              </a:defRPr>
            </a:lvl2pPr>
            <a:lvl3pPr marL="255981" indent="-127990">
              <a:defRPr sz="1400">
                <a:latin typeface="IBM Plex Sans Light" pitchFamily="34"/>
              </a:defRPr>
            </a:lvl3pPr>
            <a:lvl4pPr marL="383971" indent="-127990">
              <a:defRPr sz="1400">
                <a:latin typeface="IBM Plex Sans Light"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3">
            <a:extLst>
              <a:ext uri="{FF2B5EF4-FFF2-40B4-BE49-F238E27FC236}">
                <a16:creationId xmlns:a16="http://schemas.microsoft.com/office/drawing/2014/main" id="{23A494C3-E292-3A9F-5597-74583CFFE335}"/>
              </a:ext>
            </a:extLst>
          </p:cNvPr>
          <p:cNvSpPr txBox="1">
            <a:spLocks noGrp="1"/>
          </p:cNvSpPr>
          <p:nvPr>
            <p:ph type="ftr" sz="quarter" idx="9"/>
          </p:nvPr>
        </p:nvSpPr>
        <p:spPr>
          <a:xfrm>
            <a:off x="287962" y="6408001"/>
            <a:ext cx="2477765" cy="190502"/>
          </a:xfrm>
        </p:spPr>
        <p:txBody>
          <a:bodyPr/>
          <a:lstStyle>
            <a:lvl1pPr>
              <a:defRPr/>
            </a:lvl1pPr>
          </a:lstStyle>
          <a:p>
            <a:pPr lvl="0"/>
            <a:endParaRPr lang="en-US"/>
          </a:p>
        </p:txBody>
      </p:sp>
      <p:sp>
        <p:nvSpPr>
          <p:cNvPr id="7" name="Slide Number">
            <a:extLst>
              <a:ext uri="{FF2B5EF4-FFF2-40B4-BE49-F238E27FC236}">
                <a16:creationId xmlns:a16="http://schemas.microsoft.com/office/drawing/2014/main" id="{AFDB76DB-FC6F-CE81-4853-BF48F2E9BAF5}"/>
              </a:ext>
            </a:extLst>
          </p:cNvPr>
          <p:cNvSpPr txBox="1">
            <a:spLocks noGrp="1"/>
          </p:cNvSpPr>
          <p:nvPr>
            <p:ph type="sldNum" sz="quarter" idx="8"/>
          </p:nvPr>
        </p:nvSpPr>
        <p:spPr>
          <a:xfrm>
            <a:off x="11769264" y="6475767"/>
            <a:ext cx="135437" cy="123110"/>
          </a:xfrm>
        </p:spPr>
        <p:txBody>
          <a:bodyPr anchor="ctr"/>
          <a:lstStyle>
            <a:lvl1pPr>
              <a:defRPr/>
            </a:lvl1pPr>
          </a:lstStyle>
          <a:p>
            <a:pPr lvl="0"/>
            <a:fld id="{EA95878F-C0DF-8B40-A319-5142238C1AAE}" type="slidenum">
              <a:t>‹#›</a:t>
            </a:fld>
            <a:endParaRPr lang="en-US"/>
          </a:p>
        </p:txBody>
      </p:sp>
    </p:spTree>
    <p:extLst>
      <p:ext uri="{BB962C8B-B14F-4D97-AF65-F5344CB8AC3E}">
        <p14:creationId xmlns:p14="http://schemas.microsoft.com/office/powerpoint/2010/main" val="93763034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ext, 2 wide columns">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B4C105-A0B6-97A2-709F-71FFB8FDDB8E}"/>
              </a:ext>
            </a:extLst>
          </p:cNvPr>
          <p:cNvSpPr txBox="1">
            <a:spLocks noGrp="1"/>
          </p:cNvSpPr>
          <p:nvPr>
            <p:ph type="title"/>
          </p:nvPr>
        </p:nvSpPr>
        <p:spPr>
          <a:xfrm>
            <a:off x="287962" y="288036"/>
            <a:ext cx="3711980" cy="953294"/>
          </a:xfrm>
        </p:spPr>
        <p:txBody>
          <a:bodyPr/>
          <a:lstStyle>
            <a:lvl1pPr>
              <a:lnSpc>
                <a:spcPct val="110000"/>
              </a:lnSpc>
              <a:defRPr sz="1800"/>
            </a:lvl1pPr>
          </a:lstStyle>
          <a:p>
            <a:pPr lvl="0"/>
            <a:r>
              <a:rPr lang="en-US"/>
              <a:t>Click to edit Master title style</a:t>
            </a:r>
          </a:p>
        </p:txBody>
      </p:sp>
      <p:sp>
        <p:nvSpPr>
          <p:cNvPr id="3" name="Text Placeholder 4">
            <a:extLst>
              <a:ext uri="{FF2B5EF4-FFF2-40B4-BE49-F238E27FC236}">
                <a16:creationId xmlns:a16="http://schemas.microsoft.com/office/drawing/2014/main" id="{9BEB2C2B-81CF-EF18-97E5-8FCB9437A1D9}"/>
              </a:ext>
            </a:extLst>
          </p:cNvPr>
          <p:cNvSpPr txBox="1">
            <a:spLocks noGrp="1"/>
          </p:cNvSpPr>
          <p:nvPr>
            <p:ph type="body" idx="4294967295"/>
          </p:nvPr>
        </p:nvSpPr>
        <p:spPr>
          <a:xfrm>
            <a:off x="287961" y="1523998"/>
            <a:ext cx="5049181" cy="4576764"/>
          </a:xfrm>
        </p:spPr>
        <p:txBody>
          <a:bodyPr/>
          <a:lstStyle>
            <a:lvl1pPr>
              <a:defRPr/>
            </a:lvl1pPr>
            <a:lvl2pPr>
              <a:defRPr/>
            </a:lvl2pPr>
            <a:lvl3pPr>
              <a:defRPr/>
            </a:lvl3pPr>
            <a:lvl4pPr>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 Placeholder 4">
            <a:extLst>
              <a:ext uri="{FF2B5EF4-FFF2-40B4-BE49-F238E27FC236}">
                <a16:creationId xmlns:a16="http://schemas.microsoft.com/office/drawing/2014/main" id="{C1D685FC-D4A8-8C75-931E-36B431B1AB45}"/>
              </a:ext>
            </a:extLst>
          </p:cNvPr>
          <p:cNvSpPr txBox="1">
            <a:spLocks noGrp="1"/>
          </p:cNvSpPr>
          <p:nvPr>
            <p:ph type="body" idx="4294967295"/>
          </p:nvPr>
        </p:nvSpPr>
        <p:spPr>
          <a:xfrm>
            <a:off x="6389169" y="1523998"/>
            <a:ext cx="5047594" cy="4576764"/>
          </a:xfrm>
        </p:spPr>
        <p:txBody>
          <a:bodyPr/>
          <a:lstStyle>
            <a:lvl1pPr>
              <a:defRPr/>
            </a:lvl1pPr>
            <a:lvl2pPr>
              <a:defRPr/>
            </a:lvl2pPr>
            <a:lvl3pPr>
              <a:defRPr/>
            </a:lvl3pPr>
            <a:lvl4pPr>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C5B015E6-BF5A-807A-DF91-387C06FE39FF}"/>
              </a:ext>
            </a:extLst>
          </p:cNvPr>
          <p:cNvSpPr txBox="1">
            <a:spLocks noGrp="1"/>
          </p:cNvSpPr>
          <p:nvPr>
            <p:ph type="ftr" sz="quarter" idx="9"/>
          </p:nvPr>
        </p:nvSpPr>
        <p:spPr>
          <a:xfrm>
            <a:off x="287962" y="6408001"/>
            <a:ext cx="2477765" cy="190502"/>
          </a:xfrm>
        </p:spPr>
        <p:txBody>
          <a:bodyPr/>
          <a:lstStyle>
            <a:lvl1pPr>
              <a:defRPr/>
            </a:lvl1pPr>
          </a:lstStyle>
          <a:p>
            <a:pPr lvl="0"/>
            <a:endParaRPr lang="en-US"/>
          </a:p>
        </p:txBody>
      </p:sp>
      <p:sp>
        <p:nvSpPr>
          <p:cNvPr id="6" name="Slide Number">
            <a:extLst>
              <a:ext uri="{FF2B5EF4-FFF2-40B4-BE49-F238E27FC236}">
                <a16:creationId xmlns:a16="http://schemas.microsoft.com/office/drawing/2014/main" id="{854B7C11-6E41-8503-78FA-4FBBA6230891}"/>
              </a:ext>
            </a:extLst>
          </p:cNvPr>
          <p:cNvSpPr txBox="1">
            <a:spLocks noGrp="1"/>
          </p:cNvSpPr>
          <p:nvPr>
            <p:ph type="sldNum" sz="quarter" idx="8"/>
          </p:nvPr>
        </p:nvSpPr>
        <p:spPr>
          <a:xfrm>
            <a:off x="11769264" y="6475767"/>
            <a:ext cx="135437" cy="123110"/>
          </a:xfrm>
        </p:spPr>
        <p:txBody>
          <a:bodyPr anchor="ctr"/>
          <a:lstStyle>
            <a:lvl1pPr>
              <a:defRPr/>
            </a:lvl1pPr>
          </a:lstStyle>
          <a:p>
            <a:pPr lvl="0"/>
            <a:fld id="{0EF66F60-CBA1-3345-A488-8A4A30EF11C8}" type="slidenum">
              <a:t>‹#›</a:t>
            </a:fld>
            <a:endParaRPr lang="en-US"/>
          </a:p>
        </p:txBody>
      </p:sp>
    </p:spTree>
    <p:extLst>
      <p:ext uri="{BB962C8B-B14F-4D97-AF65-F5344CB8AC3E}">
        <p14:creationId xmlns:p14="http://schemas.microsoft.com/office/powerpoint/2010/main" val="15929600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B25136-AB8A-E04C-6B3C-B2D5283D781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42E166F-0FED-87D4-0F60-95A30FD8B6B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F931B84-68B8-D355-C74E-8E55FE97FD8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BBAD835-74E4-795C-DC08-31C4F5B43E1A}"/>
              </a:ext>
            </a:extLst>
          </p:cNvPr>
          <p:cNvSpPr>
            <a:spLocks noGrp="1"/>
          </p:cNvSpPr>
          <p:nvPr>
            <p:ph type="dt" sz="half" idx="10"/>
          </p:nvPr>
        </p:nvSpPr>
        <p:spPr/>
        <p:txBody>
          <a:bodyPr/>
          <a:lstStyle/>
          <a:p>
            <a:fld id="{C1064F87-A3FE-7D41-BA7F-E073D7C6AC88}" type="datetimeFigureOut">
              <a:rPr lang="en-US" smtClean="0"/>
              <a:t>3/24/2025</a:t>
            </a:fld>
            <a:endParaRPr lang="en-US"/>
          </a:p>
        </p:txBody>
      </p:sp>
      <p:sp>
        <p:nvSpPr>
          <p:cNvPr id="6" name="Footer Placeholder 5">
            <a:extLst>
              <a:ext uri="{FF2B5EF4-FFF2-40B4-BE49-F238E27FC236}">
                <a16:creationId xmlns:a16="http://schemas.microsoft.com/office/drawing/2014/main" id="{080DB75C-8312-34AA-0CC2-0D696A9881A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88B0FD5-A929-54DB-6A0A-17BB47370BA6}"/>
              </a:ext>
            </a:extLst>
          </p:cNvPr>
          <p:cNvSpPr>
            <a:spLocks noGrp="1"/>
          </p:cNvSpPr>
          <p:nvPr>
            <p:ph type="sldNum" sz="quarter" idx="12"/>
          </p:nvPr>
        </p:nvSpPr>
        <p:spPr/>
        <p:txBody>
          <a:bodyPr/>
          <a:lstStyle/>
          <a:p>
            <a:fld id="{DED3338A-C6D4-DE4D-B610-199F7004D0E1}" type="slidenum">
              <a:rPr lang="en-US" smtClean="0"/>
              <a:t>‹#›</a:t>
            </a:fld>
            <a:endParaRPr lang="en-US"/>
          </a:p>
        </p:txBody>
      </p:sp>
    </p:spTree>
    <p:extLst>
      <p:ext uri="{BB962C8B-B14F-4D97-AF65-F5344CB8AC3E}">
        <p14:creationId xmlns:p14="http://schemas.microsoft.com/office/powerpoint/2010/main" val="367557600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ext, 2 columns, large title">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6F98A6-825B-FE9C-B214-9155C611EA92}"/>
              </a:ext>
            </a:extLst>
          </p:cNvPr>
          <p:cNvSpPr txBox="1">
            <a:spLocks noGrp="1"/>
          </p:cNvSpPr>
          <p:nvPr>
            <p:ph type="title"/>
          </p:nvPr>
        </p:nvSpPr>
        <p:spPr>
          <a:xfrm>
            <a:off x="287962" y="192024"/>
            <a:ext cx="5517525" cy="2105091"/>
          </a:xfrm>
        </p:spPr>
        <p:txBody>
          <a:bodyPr rIns="457200"/>
          <a:lstStyle>
            <a:lvl1pPr>
              <a:lnSpc>
                <a:spcPct val="100000"/>
              </a:lnSpc>
              <a:defRPr sz="3399"/>
            </a:lvl1pPr>
          </a:lstStyle>
          <a:p>
            <a:pPr lvl="0"/>
            <a:r>
              <a:rPr lang="en-US"/>
              <a:t>Click to edit Master title style</a:t>
            </a:r>
          </a:p>
        </p:txBody>
      </p:sp>
      <p:sp>
        <p:nvSpPr>
          <p:cNvPr id="3" name="Text Placeholder 4">
            <a:extLst>
              <a:ext uri="{FF2B5EF4-FFF2-40B4-BE49-F238E27FC236}">
                <a16:creationId xmlns:a16="http://schemas.microsoft.com/office/drawing/2014/main" id="{A89ADE3D-0B31-DDA6-F179-E440B08E9A48}"/>
              </a:ext>
            </a:extLst>
          </p:cNvPr>
          <p:cNvSpPr txBox="1">
            <a:spLocks noGrp="1"/>
          </p:cNvSpPr>
          <p:nvPr>
            <p:ph type="body" idx="4294967295"/>
          </p:nvPr>
        </p:nvSpPr>
        <p:spPr>
          <a:xfrm>
            <a:off x="6382508" y="288036"/>
            <a:ext cx="2474588" cy="5809554"/>
          </a:xfrm>
        </p:spPr>
        <p:txBody>
          <a:bodyPr/>
          <a:lstStyle>
            <a:lvl1pPr>
              <a:defRPr sz="1400"/>
            </a:lvl1pPr>
            <a:lvl2pPr marL="127990" indent="-127990">
              <a:defRPr sz="1400"/>
            </a:lvl2pPr>
            <a:lvl3pPr marL="255981" indent="-127990">
              <a:defRPr sz="1400"/>
            </a:lvl3pPr>
            <a:lvl4pPr marL="383971" indent="-127990">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 Placeholder 4">
            <a:extLst>
              <a:ext uri="{FF2B5EF4-FFF2-40B4-BE49-F238E27FC236}">
                <a16:creationId xmlns:a16="http://schemas.microsoft.com/office/drawing/2014/main" id="{6F501E00-DAC4-1140-7376-26BAF990A7A1}"/>
              </a:ext>
            </a:extLst>
          </p:cNvPr>
          <p:cNvSpPr txBox="1">
            <a:spLocks noGrp="1"/>
          </p:cNvSpPr>
          <p:nvPr>
            <p:ph type="body" idx="4294967295"/>
          </p:nvPr>
        </p:nvSpPr>
        <p:spPr>
          <a:xfrm>
            <a:off x="9430108" y="288036"/>
            <a:ext cx="2470620" cy="5809554"/>
          </a:xfrm>
        </p:spPr>
        <p:txBody>
          <a:bodyPr/>
          <a:lstStyle>
            <a:lvl1pPr>
              <a:defRPr sz="1400"/>
            </a:lvl1pPr>
            <a:lvl2pPr marL="127990" indent="-127990">
              <a:defRPr sz="1400"/>
            </a:lvl2pPr>
            <a:lvl3pPr marL="255981" indent="-127990">
              <a:defRPr sz="1400"/>
            </a:lvl3pPr>
            <a:lvl4pPr marL="383971" indent="-127990">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B5E9D36F-A9A7-73D6-572E-B46DFBB32BE5}"/>
              </a:ext>
            </a:extLst>
          </p:cNvPr>
          <p:cNvSpPr txBox="1">
            <a:spLocks noGrp="1"/>
          </p:cNvSpPr>
          <p:nvPr>
            <p:ph type="ftr" sz="quarter" idx="9"/>
          </p:nvPr>
        </p:nvSpPr>
        <p:spPr>
          <a:xfrm>
            <a:off x="287962" y="6408001"/>
            <a:ext cx="2477765" cy="190502"/>
          </a:xfrm>
        </p:spPr>
        <p:txBody>
          <a:bodyPr/>
          <a:lstStyle>
            <a:lvl1pPr>
              <a:defRPr/>
            </a:lvl1pPr>
          </a:lstStyle>
          <a:p>
            <a:pPr lvl="0"/>
            <a:endParaRPr lang="en-US"/>
          </a:p>
        </p:txBody>
      </p:sp>
      <p:sp>
        <p:nvSpPr>
          <p:cNvPr id="6" name="Slide Number">
            <a:extLst>
              <a:ext uri="{FF2B5EF4-FFF2-40B4-BE49-F238E27FC236}">
                <a16:creationId xmlns:a16="http://schemas.microsoft.com/office/drawing/2014/main" id="{D3E6A5D7-4A57-4DFE-84EA-6FCFC3577E68}"/>
              </a:ext>
            </a:extLst>
          </p:cNvPr>
          <p:cNvSpPr txBox="1">
            <a:spLocks noGrp="1"/>
          </p:cNvSpPr>
          <p:nvPr>
            <p:ph type="sldNum" sz="quarter" idx="8"/>
          </p:nvPr>
        </p:nvSpPr>
        <p:spPr>
          <a:xfrm>
            <a:off x="11769264" y="6475767"/>
            <a:ext cx="135437" cy="123110"/>
          </a:xfrm>
        </p:spPr>
        <p:txBody>
          <a:bodyPr anchor="ctr"/>
          <a:lstStyle>
            <a:lvl1pPr>
              <a:defRPr/>
            </a:lvl1pPr>
          </a:lstStyle>
          <a:p>
            <a:pPr lvl="0"/>
            <a:fld id="{E10D4166-01F4-874A-91A2-CC1674E9BDCC}" type="slidenum">
              <a:t>‹#›</a:t>
            </a:fld>
            <a:endParaRPr lang="en-US"/>
          </a:p>
        </p:txBody>
      </p:sp>
    </p:spTree>
    <p:extLst>
      <p:ext uri="{BB962C8B-B14F-4D97-AF65-F5344CB8AC3E}">
        <p14:creationId xmlns:p14="http://schemas.microsoft.com/office/powerpoint/2010/main" val="358638326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ext, 2 columns, small title">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2000F-B9D1-1A68-9C99-1B7BB029AE30}"/>
              </a:ext>
            </a:extLst>
          </p:cNvPr>
          <p:cNvSpPr txBox="1">
            <a:spLocks noGrp="1"/>
          </p:cNvSpPr>
          <p:nvPr>
            <p:ph type="title"/>
          </p:nvPr>
        </p:nvSpPr>
        <p:spPr>
          <a:xfrm>
            <a:off x="287962" y="288036"/>
            <a:ext cx="2470716" cy="1997964"/>
          </a:xfrm>
        </p:spPr>
        <p:txBody>
          <a:bodyPr/>
          <a:lstStyle>
            <a:lvl1pPr>
              <a:lnSpc>
                <a:spcPct val="110000"/>
              </a:lnSpc>
              <a:defRPr sz="1800"/>
            </a:lvl1pPr>
          </a:lstStyle>
          <a:p>
            <a:pPr lvl="0"/>
            <a:r>
              <a:rPr lang="en-US"/>
              <a:t>Click to edit Master title style</a:t>
            </a:r>
          </a:p>
        </p:txBody>
      </p:sp>
      <p:sp>
        <p:nvSpPr>
          <p:cNvPr id="3" name="Text Placeholder 4">
            <a:extLst>
              <a:ext uri="{FF2B5EF4-FFF2-40B4-BE49-F238E27FC236}">
                <a16:creationId xmlns:a16="http://schemas.microsoft.com/office/drawing/2014/main" id="{43ED4DDE-E2F2-B32C-84E9-0526893F62CB}"/>
              </a:ext>
            </a:extLst>
          </p:cNvPr>
          <p:cNvSpPr txBox="1">
            <a:spLocks noGrp="1"/>
          </p:cNvSpPr>
          <p:nvPr>
            <p:ph type="body" idx="4294967295"/>
          </p:nvPr>
        </p:nvSpPr>
        <p:spPr>
          <a:xfrm>
            <a:off x="6389169" y="287999"/>
            <a:ext cx="2476179" cy="5811044"/>
          </a:xfrm>
        </p:spPr>
        <p:txBody>
          <a:bodyPr/>
          <a:lstStyle>
            <a:lvl1pPr>
              <a:defRPr sz="1400"/>
            </a:lvl1pPr>
            <a:lvl2pPr marL="127990" indent="-127990">
              <a:defRPr sz="1400"/>
            </a:lvl2pPr>
            <a:lvl3pPr marL="255981" indent="-127990">
              <a:defRPr sz="1400"/>
            </a:lvl3pPr>
            <a:lvl4pPr marL="383971" indent="-127990">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 Placeholder 4">
            <a:extLst>
              <a:ext uri="{FF2B5EF4-FFF2-40B4-BE49-F238E27FC236}">
                <a16:creationId xmlns:a16="http://schemas.microsoft.com/office/drawing/2014/main" id="{66423569-DC62-FE31-D87E-BBFFC6B95841}"/>
              </a:ext>
            </a:extLst>
          </p:cNvPr>
          <p:cNvSpPr txBox="1">
            <a:spLocks noGrp="1"/>
          </p:cNvSpPr>
          <p:nvPr>
            <p:ph type="body" idx="4294967295"/>
          </p:nvPr>
        </p:nvSpPr>
        <p:spPr>
          <a:xfrm>
            <a:off x="9430108" y="287999"/>
            <a:ext cx="2470620" cy="5811044"/>
          </a:xfrm>
        </p:spPr>
        <p:txBody>
          <a:bodyPr/>
          <a:lstStyle>
            <a:lvl1pPr>
              <a:defRPr sz="1400"/>
            </a:lvl1pPr>
            <a:lvl2pPr marL="127990" indent="-127990">
              <a:defRPr sz="1400"/>
            </a:lvl2pPr>
            <a:lvl3pPr marL="255981" indent="-127990">
              <a:defRPr sz="1400"/>
            </a:lvl3pPr>
            <a:lvl4pPr marL="383971" indent="-127990">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3">
            <a:extLst>
              <a:ext uri="{FF2B5EF4-FFF2-40B4-BE49-F238E27FC236}">
                <a16:creationId xmlns:a16="http://schemas.microsoft.com/office/drawing/2014/main" id="{CF319231-4301-B518-9B0F-93B813088620}"/>
              </a:ext>
            </a:extLst>
          </p:cNvPr>
          <p:cNvSpPr txBox="1">
            <a:spLocks noGrp="1"/>
          </p:cNvSpPr>
          <p:nvPr>
            <p:ph type="ftr" sz="quarter" idx="9"/>
          </p:nvPr>
        </p:nvSpPr>
        <p:spPr>
          <a:xfrm>
            <a:off x="287962" y="6408001"/>
            <a:ext cx="2477765" cy="190502"/>
          </a:xfrm>
        </p:spPr>
        <p:txBody>
          <a:bodyPr/>
          <a:lstStyle>
            <a:lvl1pPr>
              <a:defRPr/>
            </a:lvl1pPr>
          </a:lstStyle>
          <a:p>
            <a:pPr lvl="0"/>
            <a:endParaRPr lang="en-US"/>
          </a:p>
        </p:txBody>
      </p:sp>
      <p:sp>
        <p:nvSpPr>
          <p:cNvPr id="6" name="Slide Number">
            <a:extLst>
              <a:ext uri="{FF2B5EF4-FFF2-40B4-BE49-F238E27FC236}">
                <a16:creationId xmlns:a16="http://schemas.microsoft.com/office/drawing/2014/main" id="{7E496267-7B48-D708-6C28-9D851A0054C4}"/>
              </a:ext>
            </a:extLst>
          </p:cNvPr>
          <p:cNvSpPr txBox="1">
            <a:spLocks noGrp="1"/>
          </p:cNvSpPr>
          <p:nvPr>
            <p:ph type="sldNum" sz="quarter" idx="8"/>
          </p:nvPr>
        </p:nvSpPr>
        <p:spPr>
          <a:xfrm>
            <a:off x="11769264" y="6475767"/>
            <a:ext cx="135437" cy="123110"/>
          </a:xfrm>
        </p:spPr>
        <p:txBody>
          <a:bodyPr anchor="ctr"/>
          <a:lstStyle>
            <a:lvl1pPr>
              <a:defRPr/>
            </a:lvl1pPr>
          </a:lstStyle>
          <a:p>
            <a:pPr lvl="0"/>
            <a:fld id="{7C8C2643-6FC7-714D-AD12-4CE1BB5DA18B}" type="slidenum">
              <a:t>‹#›</a:t>
            </a:fld>
            <a:endParaRPr lang="en-US"/>
          </a:p>
        </p:txBody>
      </p:sp>
    </p:spTree>
    <p:extLst>
      <p:ext uri="{BB962C8B-B14F-4D97-AF65-F5344CB8AC3E}">
        <p14:creationId xmlns:p14="http://schemas.microsoft.com/office/powerpoint/2010/main" val="20575605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ext, 2 columns, dividers, large title">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4A58CD-E334-F9E9-8D62-0009969FD401}"/>
              </a:ext>
            </a:extLst>
          </p:cNvPr>
          <p:cNvSpPr txBox="1">
            <a:spLocks noGrp="1"/>
          </p:cNvSpPr>
          <p:nvPr>
            <p:ph type="title"/>
          </p:nvPr>
        </p:nvSpPr>
        <p:spPr>
          <a:xfrm>
            <a:off x="287962" y="192024"/>
            <a:ext cx="5519020" cy="2105086"/>
          </a:xfrm>
        </p:spPr>
        <p:txBody>
          <a:bodyPr rIns="457200"/>
          <a:lstStyle>
            <a:lvl1pPr>
              <a:lnSpc>
                <a:spcPct val="100000"/>
              </a:lnSpc>
              <a:defRPr sz="3399"/>
            </a:lvl1pPr>
          </a:lstStyle>
          <a:p>
            <a:pPr lvl="0"/>
            <a:r>
              <a:rPr lang="en-US"/>
              <a:t>Click to edit Master title style</a:t>
            </a:r>
          </a:p>
        </p:txBody>
      </p:sp>
      <p:sp>
        <p:nvSpPr>
          <p:cNvPr id="3" name="Text Placeholder 9">
            <a:extLst>
              <a:ext uri="{FF2B5EF4-FFF2-40B4-BE49-F238E27FC236}">
                <a16:creationId xmlns:a16="http://schemas.microsoft.com/office/drawing/2014/main" id="{E121879A-2644-558B-4240-FEAE2A0045EC}"/>
              </a:ext>
            </a:extLst>
          </p:cNvPr>
          <p:cNvSpPr txBox="1">
            <a:spLocks noGrp="1"/>
          </p:cNvSpPr>
          <p:nvPr>
            <p:ph type="body" idx="4294967295"/>
          </p:nvPr>
        </p:nvSpPr>
        <p:spPr>
          <a:xfrm>
            <a:off x="6389169" y="288036"/>
            <a:ext cx="2476179" cy="938878"/>
          </a:xfrm>
        </p:spPr>
        <p:txBody>
          <a:bodyPr/>
          <a:lstStyle>
            <a:lvl1pPr>
              <a:defRPr sz="1400"/>
            </a:lvl1pPr>
            <a:lvl2pPr marL="127990" indent="-127990">
              <a:defRPr sz="1400"/>
            </a:lvl2pPr>
            <a:lvl3pPr marL="255981" indent="-127990">
              <a:defRPr sz="1400"/>
            </a:lvl3pPr>
            <a:lvl4pPr marL="383971" indent="-127990">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 Placeholder 8">
            <a:extLst>
              <a:ext uri="{FF2B5EF4-FFF2-40B4-BE49-F238E27FC236}">
                <a16:creationId xmlns:a16="http://schemas.microsoft.com/office/drawing/2014/main" id="{3B010DCD-7213-F70A-1A65-52825DC664CA}"/>
              </a:ext>
            </a:extLst>
          </p:cNvPr>
          <p:cNvSpPr txBox="1">
            <a:spLocks noGrp="1"/>
          </p:cNvSpPr>
          <p:nvPr>
            <p:ph type="body" idx="4294967295"/>
          </p:nvPr>
        </p:nvSpPr>
        <p:spPr>
          <a:xfrm>
            <a:off x="6389169" y="1523998"/>
            <a:ext cx="2476179" cy="4576764"/>
          </a:xfrm>
        </p:spPr>
        <p:txBody>
          <a:bodyPr/>
          <a:lstStyle>
            <a:lvl1pPr>
              <a:defRPr sz="1000">
                <a:latin typeface="IBM Plex Sans" pitchFamily="34"/>
              </a:defRPr>
            </a:lvl1pPr>
            <a:lvl2pPr marL="91422" indent="-91422">
              <a:defRPr sz="1000">
                <a:latin typeface="IBM Plex Sans" pitchFamily="34"/>
              </a:defRPr>
            </a:lvl2pPr>
            <a:lvl3pPr marL="182843" indent="-91422">
              <a:defRPr sz="1000">
                <a:latin typeface="IBM Plex Sans" pitchFamily="34"/>
              </a:defRPr>
            </a:lvl3pPr>
            <a:lvl4pPr marL="274265" indent="-91422">
              <a:defRPr sz="1000">
                <a:latin typeface="IBM Plex Sans"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812AEE26-C400-E3A4-396B-C43D9386F758}"/>
              </a:ext>
            </a:extLst>
          </p:cNvPr>
          <p:cNvSpPr txBox="1">
            <a:spLocks noGrp="1"/>
          </p:cNvSpPr>
          <p:nvPr>
            <p:ph type="body" idx="4294967295"/>
          </p:nvPr>
        </p:nvSpPr>
        <p:spPr>
          <a:xfrm>
            <a:off x="9428522" y="288036"/>
            <a:ext cx="2479351" cy="938878"/>
          </a:xfrm>
        </p:spPr>
        <p:txBody>
          <a:bodyPr/>
          <a:lstStyle>
            <a:lvl1pPr>
              <a:defRPr sz="1400"/>
            </a:lvl1pPr>
            <a:lvl2pPr marL="127990" indent="-127990">
              <a:defRPr sz="1400"/>
            </a:lvl2pPr>
            <a:lvl3pPr marL="255981" indent="-127990">
              <a:defRPr sz="1400"/>
            </a:lvl3pPr>
            <a:lvl4pPr marL="383971" indent="-127990">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8">
            <a:extLst>
              <a:ext uri="{FF2B5EF4-FFF2-40B4-BE49-F238E27FC236}">
                <a16:creationId xmlns:a16="http://schemas.microsoft.com/office/drawing/2014/main" id="{2F25F270-C23B-CFBB-990E-E2B1C027442E}"/>
              </a:ext>
            </a:extLst>
          </p:cNvPr>
          <p:cNvSpPr txBox="1">
            <a:spLocks noGrp="1"/>
          </p:cNvSpPr>
          <p:nvPr>
            <p:ph type="body" idx="4294967295"/>
          </p:nvPr>
        </p:nvSpPr>
        <p:spPr>
          <a:xfrm>
            <a:off x="9430108" y="1523998"/>
            <a:ext cx="2476179" cy="4576764"/>
          </a:xfrm>
        </p:spPr>
        <p:txBody>
          <a:bodyPr/>
          <a:lstStyle>
            <a:lvl1pPr>
              <a:defRPr sz="1000">
                <a:latin typeface="IBM Plex Sans" pitchFamily="34"/>
              </a:defRPr>
            </a:lvl1pPr>
            <a:lvl2pPr marL="91422" indent="-91422">
              <a:defRPr sz="1000">
                <a:latin typeface="IBM Plex Sans" pitchFamily="34"/>
              </a:defRPr>
            </a:lvl2pPr>
            <a:lvl3pPr marL="182843" indent="-91422">
              <a:defRPr sz="1000">
                <a:latin typeface="IBM Plex Sans" pitchFamily="34"/>
              </a:defRPr>
            </a:lvl3pPr>
            <a:lvl4pPr marL="274265" indent="-91422">
              <a:defRPr sz="1000">
                <a:latin typeface="IBM Plex Sans"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Footer Placeholder 3">
            <a:extLst>
              <a:ext uri="{FF2B5EF4-FFF2-40B4-BE49-F238E27FC236}">
                <a16:creationId xmlns:a16="http://schemas.microsoft.com/office/drawing/2014/main" id="{B10AD999-BF7B-4BF1-74EB-8A8FA5E54196}"/>
              </a:ext>
            </a:extLst>
          </p:cNvPr>
          <p:cNvSpPr txBox="1">
            <a:spLocks noGrp="1"/>
          </p:cNvSpPr>
          <p:nvPr>
            <p:ph type="ftr" sz="quarter" idx="9"/>
          </p:nvPr>
        </p:nvSpPr>
        <p:spPr>
          <a:xfrm>
            <a:off x="287962" y="6408001"/>
            <a:ext cx="2477765" cy="190502"/>
          </a:xfrm>
        </p:spPr>
        <p:txBody>
          <a:bodyPr/>
          <a:lstStyle>
            <a:lvl1pPr>
              <a:defRPr/>
            </a:lvl1pPr>
          </a:lstStyle>
          <a:p>
            <a:pPr lvl="0"/>
            <a:endParaRPr lang="en-US"/>
          </a:p>
        </p:txBody>
      </p:sp>
      <p:sp>
        <p:nvSpPr>
          <p:cNvPr id="8" name="Slide Number">
            <a:extLst>
              <a:ext uri="{FF2B5EF4-FFF2-40B4-BE49-F238E27FC236}">
                <a16:creationId xmlns:a16="http://schemas.microsoft.com/office/drawing/2014/main" id="{7F062304-98C5-F6A9-ED95-99EF2585FF98}"/>
              </a:ext>
            </a:extLst>
          </p:cNvPr>
          <p:cNvSpPr txBox="1">
            <a:spLocks noGrp="1"/>
          </p:cNvSpPr>
          <p:nvPr>
            <p:ph type="sldNum" sz="quarter" idx="8"/>
          </p:nvPr>
        </p:nvSpPr>
        <p:spPr>
          <a:xfrm>
            <a:off x="11769264" y="6475767"/>
            <a:ext cx="135437" cy="123110"/>
          </a:xfrm>
        </p:spPr>
        <p:txBody>
          <a:bodyPr anchor="ctr"/>
          <a:lstStyle>
            <a:lvl1pPr>
              <a:defRPr/>
            </a:lvl1pPr>
          </a:lstStyle>
          <a:p>
            <a:pPr lvl="0"/>
            <a:fld id="{B1B630EC-6EC8-D147-8AED-285B186D01D5}" type="slidenum">
              <a:t>‹#›</a:t>
            </a:fld>
            <a:endParaRPr lang="en-US"/>
          </a:p>
        </p:txBody>
      </p:sp>
    </p:spTree>
    <p:extLst>
      <p:ext uri="{BB962C8B-B14F-4D97-AF65-F5344CB8AC3E}">
        <p14:creationId xmlns:p14="http://schemas.microsoft.com/office/powerpoint/2010/main" val="188323298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ext, 2 columns, dividers, small title">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412E1E-917D-2DE7-9B9B-6A122E0DB8A5}"/>
              </a:ext>
            </a:extLst>
          </p:cNvPr>
          <p:cNvSpPr txBox="1">
            <a:spLocks noGrp="1"/>
          </p:cNvSpPr>
          <p:nvPr>
            <p:ph type="title"/>
          </p:nvPr>
        </p:nvSpPr>
        <p:spPr>
          <a:xfrm>
            <a:off x="287961" y="288036"/>
            <a:ext cx="2474593" cy="1997964"/>
          </a:xfrm>
        </p:spPr>
        <p:txBody>
          <a:bodyPr/>
          <a:lstStyle>
            <a:lvl1pPr>
              <a:lnSpc>
                <a:spcPct val="110000"/>
              </a:lnSpc>
              <a:defRPr sz="1400"/>
            </a:lvl1pPr>
          </a:lstStyle>
          <a:p>
            <a:pPr lvl="0"/>
            <a:r>
              <a:rPr lang="en-US"/>
              <a:t>Click to edit Master title style</a:t>
            </a:r>
          </a:p>
        </p:txBody>
      </p:sp>
      <p:sp>
        <p:nvSpPr>
          <p:cNvPr id="3" name="Text Placeholder 9">
            <a:extLst>
              <a:ext uri="{FF2B5EF4-FFF2-40B4-BE49-F238E27FC236}">
                <a16:creationId xmlns:a16="http://schemas.microsoft.com/office/drawing/2014/main" id="{75428DFB-182E-C926-4F5F-7AF28D22E31E}"/>
              </a:ext>
            </a:extLst>
          </p:cNvPr>
          <p:cNvSpPr txBox="1">
            <a:spLocks noGrp="1"/>
          </p:cNvSpPr>
          <p:nvPr>
            <p:ph type="body" idx="4294967295"/>
          </p:nvPr>
        </p:nvSpPr>
        <p:spPr>
          <a:xfrm>
            <a:off x="6389169" y="288036"/>
            <a:ext cx="2476179" cy="938878"/>
          </a:xfrm>
        </p:spPr>
        <p:txBody>
          <a:bodyPr/>
          <a:lstStyle>
            <a:lvl1pPr>
              <a:defRPr sz="1400"/>
            </a:lvl1pPr>
            <a:lvl2pPr marL="127990" indent="-127990">
              <a:defRPr sz="1400"/>
            </a:lvl2pPr>
            <a:lvl3pPr marL="255981" indent="-127990">
              <a:defRPr sz="1400"/>
            </a:lvl3pPr>
            <a:lvl4pPr marL="383971" indent="-127990">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 Placeholder 8">
            <a:extLst>
              <a:ext uri="{FF2B5EF4-FFF2-40B4-BE49-F238E27FC236}">
                <a16:creationId xmlns:a16="http://schemas.microsoft.com/office/drawing/2014/main" id="{9458AE1D-9D4C-B668-2477-494AA631B675}"/>
              </a:ext>
            </a:extLst>
          </p:cNvPr>
          <p:cNvSpPr txBox="1">
            <a:spLocks noGrp="1"/>
          </p:cNvSpPr>
          <p:nvPr>
            <p:ph type="body" idx="4294967295"/>
          </p:nvPr>
        </p:nvSpPr>
        <p:spPr>
          <a:xfrm>
            <a:off x="6389169" y="1523998"/>
            <a:ext cx="2476179" cy="4576764"/>
          </a:xfrm>
        </p:spPr>
        <p:txBody>
          <a:bodyPr/>
          <a:lstStyle>
            <a:lvl1pPr>
              <a:defRPr sz="1000">
                <a:latin typeface="IBM Plex Sans" pitchFamily="34"/>
              </a:defRPr>
            </a:lvl1pPr>
            <a:lvl2pPr marL="91422" indent="-91422">
              <a:defRPr sz="1000">
                <a:latin typeface="IBM Plex Sans" pitchFamily="34"/>
              </a:defRPr>
            </a:lvl2pPr>
            <a:lvl3pPr marL="182843" indent="-91422">
              <a:defRPr sz="1000">
                <a:latin typeface="IBM Plex Sans" pitchFamily="34"/>
              </a:defRPr>
            </a:lvl3pPr>
            <a:lvl4pPr marL="274265" indent="-91422">
              <a:defRPr sz="1000">
                <a:latin typeface="IBM Plex Sans"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541AD686-7EF9-7C52-E688-A84CC36F71FC}"/>
              </a:ext>
            </a:extLst>
          </p:cNvPr>
          <p:cNvSpPr txBox="1">
            <a:spLocks noGrp="1"/>
          </p:cNvSpPr>
          <p:nvPr>
            <p:ph type="body" idx="4294967295"/>
          </p:nvPr>
        </p:nvSpPr>
        <p:spPr>
          <a:xfrm>
            <a:off x="9430108" y="288036"/>
            <a:ext cx="2470716" cy="938878"/>
          </a:xfrm>
        </p:spPr>
        <p:txBody>
          <a:bodyPr/>
          <a:lstStyle>
            <a:lvl1pPr>
              <a:defRPr sz="1400"/>
            </a:lvl1pPr>
            <a:lvl2pPr marL="127990" indent="-127990">
              <a:defRPr sz="1400"/>
            </a:lvl2pPr>
            <a:lvl3pPr marL="255981" indent="-127990">
              <a:defRPr sz="1400"/>
            </a:lvl3pPr>
            <a:lvl4pPr marL="383971" indent="-127990">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8">
            <a:extLst>
              <a:ext uri="{FF2B5EF4-FFF2-40B4-BE49-F238E27FC236}">
                <a16:creationId xmlns:a16="http://schemas.microsoft.com/office/drawing/2014/main" id="{24569930-B365-E23A-ADF8-381872DD0D5F}"/>
              </a:ext>
            </a:extLst>
          </p:cNvPr>
          <p:cNvSpPr txBox="1">
            <a:spLocks noGrp="1"/>
          </p:cNvSpPr>
          <p:nvPr>
            <p:ph type="body" idx="4294967295"/>
          </p:nvPr>
        </p:nvSpPr>
        <p:spPr>
          <a:xfrm>
            <a:off x="9430108" y="1523998"/>
            <a:ext cx="2476179" cy="4576764"/>
          </a:xfrm>
        </p:spPr>
        <p:txBody>
          <a:bodyPr/>
          <a:lstStyle>
            <a:lvl1pPr>
              <a:defRPr sz="1000">
                <a:latin typeface="IBM Plex Sans" pitchFamily="34"/>
              </a:defRPr>
            </a:lvl1pPr>
            <a:lvl2pPr marL="91422" indent="-91422">
              <a:defRPr sz="1000">
                <a:latin typeface="IBM Plex Sans" pitchFamily="34"/>
              </a:defRPr>
            </a:lvl2pPr>
            <a:lvl3pPr marL="182843" indent="-91422">
              <a:defRPr sz="1000">
                <a:latin typeface="IBM Plex Sans" pitchFamily="34"/>
              </a:defRPr>
            </a:lvl3pPr>
            <a:lvl4pPr marL="274265" indent="-91422">
              <a:defRPr sz="1000">
                <a:latin typeface="IBM Plex Sans"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Footer Placeholder 3">
            <a:extLst>
              <a:ext uri="{FF2B5EF4-FFF2-40B4-BE49-F238E27FC236}">
                <a16:creationId xmlns:a16="http://schemas.microsoft.com/office/drawing/2014/main" id="{EFC9CA0D-BF45-068C-BECF-3C2237D3D4DE}"/>
              </a:ext>
            </a:extLst>
          </p:cNvPr>
          <p:cNvSpPr txBox="1">
            <a:spLocks noGrp="1"/>
          </p:cNvSpPr>
          <p:nvPr>
            <p:ph type="ftr" sz="quarter" idx="9"/>
          </p:nvPr>
        </p:nvSpPr>
        <p:spPr>
          <a:xfrm>
            <a:off x="287962" y="6408001"/>
            <a:ext cx="2477765" cy="190502"/>
          </a:xfrm>
        </p:spPr>
        <p:txBody>
          <a:bodyPr/>
          <a:lstStyle>
            <a:lvl1pPr>
              <a:defRPr/>
            </a:lvl1pPr>
          </a:lstStyle>
          <a:p>
            <a:pPr lvl="0"/>
            <a:endParaRPr lang="en-US"/>
          </a:p>
        </p:txBody>
      </p:sp>
      <p:sp>
        <p:nvSpPr>
          <p:cNvPr id="8" name="Slide Number">
            <a:extLst>
              <a:ext uri="{FF2B5EF4-FFF2-40B4-BE49-F238E27FC236}">
                <a16:creationId xmlns:a16="http://schemas.microsoft.com/office/drawing/2014/main" id="{08494BC7-A08C-EDEB-6AAA-0B41C133737B}"/>
              </a:ext>
            </a:extLst>
          </p:cNvPr>
          <p:cNvSpPr txBox="1">
            <a:spLocks noGrp="1"/>
          </p:cNvSpPr>
          <p:nvPr>
            <p:ph type="sldNum" sz="quarter" idx="8"/>
          </p:nvPr>
        </p:nvSpPr>
        <p:spPr>
          <a:xfrm>
            <a:off x="11769264" y="6475767"/>
            <a:ext cx="135437" cy="123110"/>
          </a:xfrm>
        </p:spPr>
        <p:txBody>
          <a:bodyPr anchor="ctr"/>
          <a:lstStyle>
            <a:lvl1pPr>
              <a:defRPr/>
            </a:lvl1pPr>
          </a:lstStyle>
          <a:p>
            <a:pPr lvl="0"/>
            <a:fld id="{046D8418-E022-1F49-81B3-C58ACB52A77B}" type="slidenum">
              <a:t>‹#›</a:t>
            </a:fld>
            <a:endParaRPr lang="en-US"/>
          </a:p>
        </p:txBody>
      </p:sp>
    </p:spTree>
    <p:extLst>
      <p:ext uri="{BB962C8B-B14F-4D97-AF65-F5344CB8AC3E}">
        <p14:creationId xmlns:p14="http://schemas.microsoft.com/office/powerpoint/2010/main" val="241405599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ext, 2 columns, dividers, pictograms">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65C45A-4371-DE5A-AC1D-715325B0A282}"/>
              </a:ext>
            </a:extLst>
          </p:cNvPr>
          <p:cNvSpPr txBox="1">
            <a:spLocks noGrp="1"/>
          </p:cNvSpPr>
          <p:nvPr>
            <p:ph type="title"/>
          </p:nvPr>
        </p:nvSpPr>
        <p:spPr>
          <a:xfrm>
            <a:off x="287961" y="192024"/>
            <a:ext cx="2474588" cy="2105091"/>
          </a:xfrm>
        </p:spPr>
        <p:txBody>
          <a:bodyPr/>
          <a:lstStyle>
            <a:lvl1pPr>
              <a:lnSpc>
                <a:spcPct val="100000"/>
              </a:lnSpc>
              <a:defRPr sz="3399"/>
            </a:lvl1pPr>
          </a:lstStyle>
          <a:p>
            <a:pPr lvl="0"/>
            <a:r>
              <a:rPr lang="en-US"/>
              <a:t>Click to edit Master title style</a:t>
            </a:r>
          </a:p>
        </p:txBody>
      </p:sp>
      <p:sp>
        <p:nvSpPr>
          <p:cNvPr id="3" name="Text Placeholder 5">
            <a:extLst>
              <a:ext uri="{FF2B5EF4-FFF2-40B4-BE49-F238E27FC236}">
                <a16:creationId xmlns:a16="http://schemas.microsoft.com/office/drawing/2014/main" id="{9F945311-92B2-62A1-591E-C7A9AA754C70}"/>
              </a:ext>
            </a:extLst>
          </p:cNvPr>
          <p:cNvSpPr txBox="1">
            <a:spLocks noGrp="1"/>
          </p:cNvSpPr>
          <p:nvPr>
            <p:ph type="body" idx="4294967295"/>
          </p:nvPr>
        </p:nvSpPr>
        <p:spPr>
          <a:xfrm>
            <a:off x="3334140" y="192024"/>
            <a:ext cx="2477765" cy="1555289"/>
          </a:xfrm>
        </p:spPr>
        <p:txBody>
          <a:bodyPr/>
          <a:lstStyle>
            <a:lvl1pPr>
              <a:lnSpc>
                <a:spcPct val="100000"/>
              </a:lnSpc>
              <a:defRPr sz="3399"/>
            </a:lvl1pPr>
          </a:lstStyle>
          <a:p>
            <a:pPr lvl="0"/>
            <a:r>
              <a:rPr lang="en-US"/>
              <a:t>Click to edit Master text styles</a:t>
            </a:r>
          </a:p>
        </p:txBody>
      </p:sp>
      <p:sp>
        <p:nvSpPr>
          <p:cNvPr id="4" name="Text Placeholder 6">
            <a:extLst>
              <a:ext uri="{FF2B5EF4-FFF2-40B4-BE49-F238E27FC236}">
                <a16:creationId xmlns:a16="http://schemas.microsoft.com/office/drawing/2014/main" id="{A12CFE49-B0AE-2691-A0F7-6057776B3593}"/>
              </a:ext>
            </a:extLst>
          </p:cNvPr>
          <p:cNvSpPr txBox="1">
            <a:spLocks noGrp="1"/>
          </p:cNvSpPr>
          <p:nvPr>
            <p:ph type="body" idx="4294967295"/>
          </p:nvPr>
        </p:nvSpPr>
        <p:spPr>
          <a:xfrm>
            <a:off x="3334904" y="1508394"/>
            <a:ext cx="2475383" cy="4594293"/>
          </a:xfrm>
        </p:spPr>
        <p:txBody>
          <a:bodyPr/>
          <a:lstStyle>
            <a:lvl1pPr>
              <a:defRPr sz="1400">
                <a:latin typeface="IBM Plex Sans Light" pitchFamily="34"/>
              </a:defRPr>
            </a:lvl1pPr>
            <a:lvl2pPr marL="127990" indent="-127990">
              <a:defRPr sz="1400">
                <a:latin typeface="IBM Plex Sans Light" pitchFamily="34"/>
              </a:defRPr>
            </a:lvl2pPr>
            <a:lvl3pPr marL="255981" indent="-127990">
              <a:defRPr sz="1400">
                <a:latin typeface="IBM Plex Sans Light" pitchFamily="34"/>
              </a:defRPr>
            </a:lvl3pPr>
            <a:lvl4pPr marL="383971" indent="-127990">
              <a:defRPr sz="1400">
                <a:latin typeface="IBM Plex Sans Light"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Picture Placeholder 4" descr="Place pictogram here">
            <a:extLst>
              <a:ext uri="{FF2B5EF4-FFF2-40B4-BE49-F238E27FC236}">
                <a16:creationId xmlns:a16="http://schemas.microsoft.com/office/drawing/2014/main" id="{95725600-FC43-A441-715E-C5124313EE70}"/>
              </a:ext>
            </a:extLst>
          </p:cNvPr>
          <p:cNvSpPr txBox="1">
            <a:spLocks noGrp="1"/>
          </p:cNvSpPr>
          <p:nvPr>
            <p:ph type="pic" idx="4294967295"/>
          </p:nvPr>
        </p:nvSpPr>
        <p:spPr>
          <a:xfrm>
            <a:off x="6389168" y="288036"/>
            <a:ext cx="607997" cy="607230"/>
          </a:xfrm>
        </p:spPr>
        <p:txBody>
          <a:bodyPr anchor="ctr" anchorCtr="1"/>
          <a:lstStyle>
            <a:lvl1pPr algn="ctr">
              <a:defRPr sz="800"/>
            </a:lvl1pPr>
          </a:lstStyle>
          <a:p>
            <a:pPr lvl="0"/>
            <a:r>
              <a:rPr lang="en-US"/>
              <a:t>Pictogram</a:t>
            </a:r>
          </a:p>
        </p:txBody>
      </p:sp>
      <p:sp>
        <p:nvSpPr>
          <p:cNvPr id="6" name="Text Placeholder 8">
            <a:extLst>
              <a:ext uri="{FF2B5EF4-FFF2-40B4-BE49-F238E27FC236}">
                <a16:creationId xmlns:a16="http://schemas.microsoft.com/office/drawing/2014/main" id="{1595748A-4602-7B05-CE4E-740366D6113A}"/>
              </a:ext>
            </a:extLst>
          </p:cNvPr>
          <p:cNvSpPr txBox="1">
            <a:spLocks noGrp="1"/>
          </p:cNvSpPr>
          <p:nvPr>
            <p:ph type="body" idx="4294967295"/>
          </p:nvPr>
        </p:nvSpPr>
        <p:spPr>
          <a:xfrm>
            <a:off x="6389169" y="1523998"/>
            <a:ext cx="2476179" cy="4576764"/>
          </a:xfrm>
        </p:spPr>
        <p:txBody>
          <a:bodyPr/>
          <a:lstStyle>
            <a:lvl1pPr>
              <a:defRPr sz="1000">
                <a:latin typeface="IBM Plex Sans" pitchFamily="34"/>
              </a:defRPr>
            </a:lvl1pPr>
            <a:lvl2pPr marL="91422" indent="-91422">
              <a:defRPr sz="1000">
                <a:latin typeface="IBM Plex Sans" pitchFamily="34"/>
              </a:defRPr>
            </a:lvl2pPr>
            <a:lvl3pPr marL="182843" indent="-91422">
              <a:defRPr sz="1000">
                <a:latin typeface="IBM Plex Sans" pitchFamily="34"/>
              </a:defRPr>
            </a:lvl3pPr>
            <a:lvl4pPr marL="274265" indent="-91422">
              <a:defRPr sz="1000">
                <a:latin typeface="IBM Plex Sans"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Picture Placeholder 11" descr="Place pictogram here">
            <a:extLst>
              <a:ext uri="{FF2B5EF4-FFF2-40B4-BE49-F238E27FC236}">
                <a16:creationId xmlns:a16="http://schemas.microsoft.com/office/drawing/2014/main" id="{6619DFB1-75C8-DF20-08BD-7F7932751EB9}"/>
              </a:ext>
            </a:extLst>
          </p:cNvPr>
          <p:cNvSpPr txBox="1">
            <a:spLocks noGrp="1"/>
          </p:cNvSpPr>
          <p:nvPr>
            <p:ph type="pic" idx="4294967295"/>
          </p:nvPr>
        </p:nvSpPr>
        <p:spPr>
          <a:xfrm>
            <a:off x="9428523" y="288036"/>
            <a:ext cx="608842" cy="608076"/>
          </a:xfrm>
        </p:spPr>
        <p:txBody>
          <a:bodyPr anchor="ctr" anchorCtr="1"/>
          <a:lstStyle>
            <a:lvl1pPr algn="ctr">
              <a:defRPr sz="800"/>
            </a:lvl1pPr>
          </a:lstStyle>
          <a:p>
            <a:pPr lvl="0"/>
            <a:r>
              <a:rPr lang="en-US"/>
              <a:t>Pictogram</a:t>
            </a:r>
          </a:p>
        </p:txBody>
      </p:sp>
      <p:sp>
        <p:nvSpPr>
          <p:cNvPr id="8" name="Text Placeholder 10">
            <a:extLst>
              <a:ext uri="{FF2B5EF4-FFF2-40B4-BE49-F238E27FC236}">
                <a16:creationId xmlns:a16="http://schemas.microsoft.com/office/drawing/2014/main" id="{4BAD9BB3-FA4C-3B18-4DC1-F217346CC4E4}"/>
              </a:ext>
            </a:extLst>
          </p:cNvPr>
          <p:cNvSpPr txBox="1">
            <a:spLocks noGrp="1"/>
          </p:cNvSpPr>
          <p:nvPr>
            <p:ph type="body" idx="4294967295"/>
          </p:nvPr>
        </p:nvSpPr>
        <p:spPr>
          <a:xfrm>
            <a:off x="9428522" y="1523998"/>
            <a:ext cx="2479351" cy="4576764"/>
          </a:xfrm>
        </p:spPr>
        <p:txBody>
          <a:bodyPr/>
          <a:lstStyle>
            <a:lvl1pPr>
              <a:defRPr sz="1000">
                <a:latin typeface="IBM Plex Sans" pitchFamily="34"/>
              </a:defRPr>
            </a:lvl1pPr>
            <a:lvl2pPr marL="91422" indent="-91422">
              <a:defRPr sz="1000">
                <a:latin typeface="IBM Plex Sans" pitchFamily="34"/>
              </a:defRPr>
            </a:lvl2pPr>
            <a:lvl3pPr marL="182843" indent="-91422">
              <a:defRPr sz="1000">
                <a:latin typeface="IBM Plex Sans" pitchFamily="34"/>
              </a:defRPr>
            </a:lvl3pPr>
            <a:lvl4pPr marL="274265" indent="-91422">
              <a:defRPr sz="1000">
                <a:latin typeface="IBM Plex Sans"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Footer Placeholder 3">
            <a:extLst>
              <a:ext uri="{FF2B5EF4-FFF2-40B4-BE49-F238E27FC236}">
                <a16:creationId xmlns:a16="http://schemas.microsoft.com/office/drawing/2014/main" id="{54BFB88B-1A2C-1C68-A1B6-F9B05EB103B9}"/>
              </a:ext>
            </a:extLst>
          </p:cNvPr>
          <p:cNvSpPr txBox="1">
            <a:spLocks noGrp="1"/>
          </p:cNvSpPr>
          <p:nvPr>
            <p:ph type="ftr" sz="quarter" idx="9"/>
          </p:nvPr>
        </p:nvSpPr>
        <p:spPr>
          <a:xfrm>
            <a:off x="290476" y="6411645"/>
            <a:ext cx="2477765" cy="190502"/>
          </a:xfrm>
        </p:spPr>
        <p:txBody>
          <a:bodyPr/>
          <a:lstStyle>
            <a:lvl1pPr>
              <a:defRPr/>
            </a:lvl1pPr>
          </a:lstStyle>
          <a:p>
            <a:pPr lvl="0"/>
            <a:endParaRPr lang="en-US"/>
          </a:p>
        </p:txBody>
      </p:sp>
      <p:sp>
        <p:nvSpPr>
          <p:cNvPr id="10" name="Slide Number">
            <a:extLst>
              <a:ext uri="{FF2B5EF4-FFF2-40B4-BE49-F238E27FC236}">
                <a16:creationId xmlns:a16="http://schemas.microsoft.com/office/drawing/2014/main" id="{07E07EA8-F5CA-8548-D6AE-25ABE5FB99ED}"/>
              </a:ext>
            </a:extLst>
          </p:cNvPr>
          <p:cNvSpPr txBox="1">
            <a:spLocks noGrp="1"/>
          </p:cNvSpPr>
          <p:nvPr>
            <p:ph type="sldNum" sz="quarter" idx="8"/>
          </p:nvPr>
        </p:nvSpPr>
        <p:spPr>
          <a:xfrm>
            <a:off x="11769264" y="6475767"/>
            <a:ext cx="135437" cy="123110"/>
          </a:xfrm>
        </p:spPr>
        <p:txBody>
          <a:bodyPr anchor="ctr"/>
          <a:lstStyle>
            <a:lvl1pPr>
              <a:defRPr/>
            </a:lvl1pPr>
          </a:lstStyle>
          <a:p>
            <a:pPr lvl="0"/>
            <a:fld id="{3080BC16-4EF7-8B4B-B245-51333186C238}" type="slidenum">
              <a:t>‹#›</a:t>
            </a:fld>
            <a:endParaRPr lang="en-US"/>
          </a:p>
        </p:txBody>
      </p:sp>
      <p:cxnSp>
        <p:nvCxnSpPr>
          <p:cNvPr id="11" name="Straight Connector 7" descr="Vertical column divider">
            <a:extLst>
              <a:ext uri="{FF2B5EF4-FFF2-40B4-BE49-F238E27FC236}">
                <a16:creationId xmlns:a16="http://schemas.microsoft.com/office/drawing/2014/main" id="{D997D5CD-9504-4226-76BB-6E866D117412}"/>
              </a:ext>
            </a:extLst>
          </p:cNvPr>
          <p:cNvCxnSpPr/>
          <p:nvPr/>
        </p:nvCxnSpPr>
        <p:spPr>
          <a:xfrm>
            <a:off x="6095268" y="285050"/>
            <a:ext cx="0" cy="5812540"/>
          </a:xfrm>
          <a:prstGeom prst="straightConnector1">
            <a:avLst/>
          </a:prstGeom>
          <a:noFill/>
          <a:ln w="12701" cap="flat">
            <a:solidFill>
              <a:srgbClr val="000000"/>
            </a:solidFill>
            <a:prstDash val="solid"/>
          </a:ln>
        </p:spPr>
      </p:cxnSp>
      <p:cxnSp>
        <p:nvCxnSpPr>
          <p:cNvPr id="12" name="Straight Connector 14" descr="Vertical column divider">
            <a:extLst>
              <a:ext uri="{FF2B5EF4-FFF2-40B4-BE49-F238E27FC236}">
                <a16:creationId xmlns:a16="http://schemas.microsoft.com/office/drawing/2014/main" id="{C505E108-4A30-1A75-29CC-08EF72ACD887}"/>
              </a:ext>
            </a:extLst>
          </p:cNvPr>
          <p:cNvCxnSpPr/>
          <p:nvPr/>
        </p:nvCxnSpPr>
        <p:spPr>
          <a:xfrm>
            <a:off x="9142810" y="285050"/>
            <a:ext cx="0" cy="5812540"/>
          </a:xfrm>
          <a:prstGeom prst="straightConnector1">
            <a:avLst/>
          </a:prstGeom>
          <a:noFill/>
          <a:ln w="12701" cap="flat">
            <a:solidFill>
              <a:srgbClr val="000000"/>
            </a:solidFill>
            <a:prstDash val="solid"/>
          </a:ln>
        </p:spPr>
      </p:cxnSp>
    </p:spTree>
    <p:extLst>
      <p:ext uri="{BB962C8B-B14F-4D97-AF65-F5344CB8AC3E}">
        <p14:creationId xmlns:p14="http://schemas.microsoft.com/office/powerpoint/2010/main" val="187396861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Boxes, 4 stacked wide, pictograms">
    <p:bg>
      <p:bgPr>
        <a:solidFill>
          <a:srgbClr val="FFFFFF"/>
        </a:solidFill>
        <a:effectLst/>
      </p:bgPr>
    </p:bg>
    <p:spTree>
      <p:nvGrpSpPr>
        <p:cNvPr id="1" name=""/>
        <p:cNvGrpSpPr/>
        <p:nvPr/>
      </p:nvGrpSpPr>
      <p:grpSpPr>
        <a:xfrm>
          <a:off x="0" y="0"/>
          <a:ext cx="0" cy="0"/>
          <a:chOff x="0" y="0"/>
          <a:chExt cx="0" cy="0"/>
        </a:xfrm>
      </p:grpSpPr>
      <p:sp>
        <p:nvSpPr>
          <p:cNvPr id="2" name="Picture Placeholder 12" descr="Place pictogram here">
            <a:extLst>
              <a:ext uri="{FF2B5EF4-FFF2-40B4-BE49-F238E27FC236}">
                <a16:creationId xmlns:a16="http://schemas.microsoft.com/office/drawing/2014/main" id="{F3B61B48-1B5E-A301-60EF-AB38A07D5687}"/>
              </a:ext>
            </a:extLst>
          </p:cNvPr>
          <p:cNvSpPr txBox="1">
            <a:spLocks noGrp="1"/>
          </p:cNvSpPr>
          <p:nvPr>
            <p:ph type="pic" idx="4294967295"/>
          </p:nvPr>
        </p:nvSpPr>
        <p:spPr>
          <a:xfrm>
            <a:off x="287998" y="288036"/>
            <a:ext cx="607997" cy="608076"/>
          </a:xfrm>
        </p:spPr>
        <p:txBody>
          <a:bodyPr anchor="ctr" anchorCtr="1"/>
          <a:lstStyle>
            <a:lvl1pPr algn="ctr">
              <a:defRPr sz="800"/>
            </a:lvl1pPr>
          </a:lstStyle>
          <a:p>
            <a:pPr lvl="0"/>
            <a:r>
              <a:rPr lang="en-US"/>
              <a:t>Pictogram</a:t>
            </a:r>
          </a:p>
        </p:txBody>
      </p:sp>
      <p:sp>
        <p:nvSpPr>
          <p:cNvPr id="3" name="Text Placeholder 4">
            <a:extLst>
              <a:ext uri="{FF2B5EF4-FFF2-40B4-BE49-F238E27FC236}">
                <a16:creationId xmlns:a16="http://schemas.microsoft.com/office/drawing/2014/main" id="{1D0A1E54-E50C-E4B7-38BB-853441E3EDD5}"/>
              </a:ext>
            </a:extLst>
          </p:cNvPr>
          <p:cNvSpPr txBox="1">
            <a:spLocks noGrp="1"/>
          </p:cNvSpPr>
          <p:nvPr>
            <p:ph type="body" idx="4294967295"/>
          </p:nvPr>
        </p:nvSpPr>
        <p:spPr>
          <a:xfrm>
            <a:off x="287998" y="1239012"/>
            <a:ext cx="3334904" cy="1523998"/>
          </a:xfrm>
        </p:spPr>
        <p:txBody>
          <a:bodyPr/>
          <a:lstStyle>
            <a:lvl1pPr>
              <a:lnSpc>
                <a:spcPct val="100000"/>
              </a:lnSpc>
              <a:defRPr sz="2100"/>
            </a:lvl1pPr>
            <a:lvl2pPr marL="201128" indent="-201128">
              <a:lnSpc>
                <a:spcPct val="100000"/>
              </a:lnSpc>
              <a:defRPr sz="2100"/>
            </a:lvl2pPr>
            <a:lvl3pPr marL="402256" indent="-201128">
              <a:lnSpc>
                <a:spcPct val="100000"/>
              </a:lnSpc>
              <a:defRPr sz="2100"/>
            </a:lvl3pPr>
            <a:lvl4pPr marL="557672" indent="-201128">
              <a:lnSpc>
                <a:spcPct val="100000"/>
              </a:lnSpc>
              <a:defRPr sz="21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Picture Placeholder 14" descr="Place pictogram here">
            <a:extLst>
              <a:ext uri="{FF2B5EF4-FFF2-40B4-BE49-F238E27FC236}">
                <a16:creationId xmlns:a16="http://schemas.microsoft.com/office/drawing/2014/main" id="{7E0A2A9D-591A-E54E-7480-A6239DB07250}"/>
              </a:ext>
            </a:extLst>
          </p:cNvPr>
          <p:cNvSpPr txBox="1">
            <a:spLocks noGrp="1"/>
          </p:cNvSpPr>
          <p:nvPr>
            <p:ph type="pic" idx="4294967295"/>
          </p:nvPr>
        </p:nvSpPr>
        <p:spPr>
          <a:xfrm>
            <a:off x="6389168" y="288036"/>
            <a:ext cx="607997" cy="608076"/>
          </a:xfrm>
        </p:spPr>
        <p:txBody>
          <a:bodyPr anchor="ctr" anchorCtr="1"/>
          <a:lstStyle>
            <a:lvl1pPr algn="ctr">
              <a:defRPr sz="800"/>
            </a:lvl1pPr>
          </a:lstStyle>
          <a:p>
            <a:pPr lvl="0"/>
            <a:r>
              <a:rPr lang="en-US"/>
              <a:t>Pictogram</a:t>
            </a:r>
          </a:p>
        </p:txBody>
      </p:sp>
      <p:sp>
        <p:nvSpPr>
          <p:cNvPr id="5" name="Text Placeholder 6">
            <a:extLst>
              <a:ext uri="{FF2B5EF4-FFF2-40B4-BE49-F238E27FC236}">
                <a16:creationId xmlns:a16="http://schemas.microsoft.com/office/drawing/2014/main" id="{0494540A-BD61-9E90-C80B-DE6DD1BCD668}"/>
              </a:ext>
            </a:extLst>
          </p:cNvPr>
          <p:cNvSpPr txBox="1">
            <a:spLocks noGrp="1"/>
          </p:cNvSpPr>
          <p:nvPr>
            <p:ph type="body" idx="4294967295"/>
          </p:nvPr>
        </p:nvSpPr>
        <p:spPr>
          <a:xfrm>
            <a:off x="6389169" y="1238248"/>
            <a:ext cx="3337125" cy="1523998"/>
          </a:xfrm>
        </p:spPr>
        <p:txBody>
          <a:bodyPr/>
          <a:lstStyle>
            <a:lvl1pPr>
              <a:lnSpc>
                <a:spcPct val="100000"/>
              </a:lnSpc>
              <a:defRPr sz="2100"/>
            </a:lvl1pPr>
            <a:lvl2pPr marL="201128" indent="-201128">
              <a:lnSpc>
                <a:spcPct val="100000"/>
              </a:lnSpc>
              <a:defRPr sz="2100"/>
            </a:lvl2pPr>
            <a:lvl3pPr marL="402256" indent="-201128">
              <a:lnSpc>
                <a:spcPct val="100000"/>
              </a:lnSpc>
              <a:defRPr sz="2100"/>
            </a:lvl3pPr>
            <a:lvl4pPr marL="557672" indent="-201128">
              <a:lnSpc>
                <a:spcPct val="100000"/>
              </a:lnSpc>
              <a:defRPr sz="2100"/>
            </a:lvl4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6" name="Straight Connector 15" descr="Horizontal row divider">
            <a:extLst>
              <a:ext uri="{FF2B5EF4-FFF2-40B4-BE49-F238E27FC236}">
                <a16:creationId xmlns:a16="http://schemas.microsoft.com/office/drawing/2014/main" id="{F6234CF3-2C40-16D6-2340-E6E217AC6A21}"/>
              </a:ext>
              <a:ext uri="{C183D7F6-B498-43B3-948B-1728B52AA6E4}">
                <adec:decorative xmlns:adec="http://schemas.microsoft.com/office/drawing/2017/decorative" val="0"/>
              </a:ext>
            </a:extLst>
          </p:cNvPr>
          <p:cNvCxnSpPr/>
          <p:nvPr/>
        </p:nvCxnSpPr>
        <p:spPr>
          <a:xfrm>
            <a:off x="287999" y="3048002"/>
            <a:ext cx="11616703" cy="0"/>
          </a:xfrm>
          <a:prstGeom prst="straightConnector1">
            <a:avLst/>
          </a:prstGeom>
          <a:noFill/>
          <a:ln w="12701" cap="flat">
            <a:solidFill>
              <a:srgbClr val="000000"/>
            </a:solidFill>
            <a:prstDash val="solid"/>
          </a:ln>
        </p:spPr>
      </p:cxnSp>
      <p:sp>
        <p:nvSpPr>
          <p:cNvPr id="7" name="Picture Placeholder 16" descr="Place pictogram here">
            <a:extLst>
              <a:ext uri="{FF2B5EF4-FFF2-40B4-BE49-F238E27FC236}">
                <a16:creationId xmlns:a16="http://schemas.microsoft.com/office/drawing/2014/main" id="{6C75D023-1D87-5DF6-EA62-35C02BE6E48C}"/>
              </a:ext>
            </a:extLst>
          </p:cNvPr>
          <p:cNvSpPr txBox="1">
            <a:spLocks noGrp="1"/>
          </p:cNvSpPr>
          <p:nvPr>
            <p:ph type="pic" idx="4294967295"/>
          </p:nvPr>
        </p:nvSpPr>
        <p:spPr>
          <a:xfrm>
            <a:off x="287998" y="3236976"/>
            <a:ext cx="607997" cy="608076"/>
          </a:xfrm>
        </p:spPr>
        <p:txBody>
          <a:bodyPr anchor="ctr" anchorCtr="1"/>
          <a:lstStyle>
            <a:lvl1pPr algn="ctr">
              <a:defRPr sz="800"/>
            </a:lvl1pPr>
          </a:lstStyle>
          <a:p>
            <a:pPr lvl="0"/>
            <a:r>
              <a:rPr lang="en-US"/>
              <a:t>Pictogram</a:t>
            </a:r>
          </a:p>
        </p:txBody>
      </p:sp>
      <p:sp>
        <p:nvSpPr>
          <p:cNvPr id="8" name="Text Placeholder 8">
            <a:extLst>
              <a:ext uri="{FF2B5EF4-FFF2-40B4-BE49-F238E27FC236}">
                <a16:creationId xmlns:a16="http://schemas.microsoft.com/office/drawing/2014/main" id="{60F3217E-74FC-DB77-8E0C-FA0824841EEB}"/>
              </a:ext>
            </a:extLst>
          </p:cNvPr>
          <p:cNvSpPr txBox="1">
            <a:spLocks noGrp="1"/>
          </p:cNvSpPr>
          <p:nvPr>
            <p:ph type="body" idx="4294967295"/>
          </p:nvPr>
        </p:nvSpPr>
        <p:spPr>
          <a:xfrm>
            <a:off x="287998" y="4192524"/>
            <a:ext cx="3334904" cy="1523998"/>
          </a:xfrm>
        </p:spPr>
        <p:txBody>
          <a:bodyPr/>
          <a:lstStyle>
            <a:lvl1pPr>
              <a:lnSpc>
                <a:spcPct val="100000"/>
              </a:lnSpc>
              <a:defRPr sz="2100"/>
            </a:lvl1pPr>
            <a:lvl2pPr marL="201128" indent="-201128">
              <a:lnSpc>
                <a:spcPct val="100000"/>
              </a:lnSpc>
              <a:defRPr sz="2100"/>
            </a:lvl2pPr>
            <a:lvl3pPr marL="402256" indent="-201128">
              <a:lnSpc>
                <a:spcPct val="100000"/>
              </a:lnSpc>
              <a:defRPr sz="2100"/>
            </a:lvl3pPr>
            <a:lvl4pPr marL="557672" indent="-201128">
              <a:lnSpc>
                <a:spcPct val="100000"/>
              </a:lnSpc>
              <a:defRPr sz="21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Picture Placeholder 18" descr="Place pictogram here">
            <a:extLst>
              <a:ext uri="{FF2B5EF4-FFF2-40B4-BE49-F238E27FC236}">
                <a16:creationId xmlns:a16="http://schemas.microsoft.com/office/drawing/2014/main" id="{A9392EEF-3576-C755-4974-0AAD02C4BD77}"/>
              </a:ext>
            </a:extLst>
          </p:cNvPr>
          <p:cNvSpPr txBox="1">
            <a:spLocks noGrp="1"/>
          </p:cNvSpPr>
          <p:nvPr>
            <p:ph type="pic" idx="4294967295"/>
          </p:nvPr>
        </p:nvSpPr>
        <p:spPr>
          <a:xfrm>
            <a:off x="6389168" y="3238498"/>
            <a:ext cx="607997" cy="608076"/>
          </a:xfrm>
        </p:spPr>
        <p:txBody>
          <a:bodyPr anchor="ctr" anchorCtr="1"/>
          <a:lstStyle>
            <a:lvl1pPr algn="ctr">
              <a:defRPr sz="800"/>
            </a:lvl1pPr>
          </a:lstStyle>
          <a:p>
            <a:pPr lvl="0"/>
            <a:r>
              <a:rPr lang="en-US"/>
              <a:t>Pictogram</a:t>
            </a:r>
          </a:p>
        </p:txBody>
      </p:sp>
      <p:sp>
        <p:nvSpPr>
          <p:cNvPr id="10" name="Text Placeholder 10">
            <a:extLst>
              <a:ext uri="{FF2B5EF4-FFF2-40B4-BE49-F238E27FC236}">
                <a16:creationId xmlns:a16="http://schemas.microsoft.com/office/drawing/2014/main" id="{E9FB1FBD-6D79-27BC-6FB7-C86328A67F4C}"/>
              </a:ext>
            </a:extLst>
          </p:cNvPr>
          <p:cNvSpPr txBox="1">
            <a:spLocks noGrp="1"/>
          </p:cNvSpPr>
          <p:nvPr>
            <p:ph type="body" idx="4294967295"/>
          </p:nvPr>
        </p:nvSpPr>
        <p:spPr>
          <a:xfrm>
            <a:off x="6389169" y="4191002"/>
            <a:ext cx="3337125" cy="1523998"/>
          </a:xfrm>
        </p:spPr>
        <p:txBody>
          <a:bodyPr/>
          <a:lstStyle>
            <a:lvl1pPr>
              <a:lnSpc>
                <a:spcPct val="100000"/>
              </a:lnSpc>
              <a:defRPr sz="2100"/>
            </a:lvl1pPr>
            <a:lvl2pPr marL="201128" indent="-201128">
              <a:lnSpc>
                <a:spcPct val="100000"/>
              </a:lnSpc>
              <a:defRPr sz="2100"/>
            </a:lvl2pPr>
            <a:lvl3pPr marL="402256" indent="-201128">
              <a:lnSpc>
                <a:spcPct val="100000"/>
              </a:lnSpc>
              <a:defRPr sz="2100"/>
            </a:lvl3pPr>
            <a:lvl4pPr marL="557672" indent="-201128">
              <a:lnSpc>
                <a:spcPct val="100000"/>
              </a:lnSpc>
              <a:defRPr sz="21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Footer Placeholder 3">
            <a:extLst>
              <a:ext uri="{FF2B5EF4-FFF2-40B4-BE49-F238E27FC236}">
                <a16:creationId xmlns:a16="http://schemas.microsoft.com/office/drawing/2014/main" id="{95DBE6BE-EC0B-D22A-41CE-5E9C0EEBF3CC}"/>
              </a:ext>
            </a:extLst>
          </p:cNvPr>
          <p:cNvSpPr txBox="1">
            <a:spLocks noGrp="1"/>
          </p:cNvSpPr>
          <p:nvPr>
            <p:ph type="ftr" sz="quarter" idx="9"/>
          </p:nvPr>
        </p:nvSpPr>
        <p:spPr>
          <a:xfrm>
            <a:off x="287962" y="6408001"/>
            <a:ext cx="2477765" cy="190502"/>
          </a:xfrm>
        </p:spPr>
        <p:txBody>
          <a:bodyPr/>
          <a:lstStyle>
            <a:lvl1pPr>
              <a:defRPr/>
            </a:lvl1pPr>
          </a:lstStyle>
          <a:p>
            <a:pPr lvl="0"/>
            <a:endParaRPr lang="en-US"/>
          </a:p>
        </p:txBody>
      </p:sp>
      <p:sp>
        <p:nvSpPr>
          <p:cNvPr id="12" name="Slide Number">
            <a:extLst>
              <a:ext uri="{FF2B5EF4-FFF2-40B4-BE49-F238E27FC236}">
                <a16:creationId xmlns:a16="http://schemas.microsoft.com/office/drawing/2014/main" id="{CE7F611A-ED7B-1C54-8DF1-AD06A681FF6B}"/>
              </a:ext>
            </a:extLst>
          </p:cNvPr>
          <p:cNvSpPr txBox="1">
            <a:spLocks noGrp="1"/>
          </p:cNvSpPr>
          <p:nvPr>
            <p:ph type="sldNum" sz="quarter" idx="8"/>
          </p:nvPr>
        </p:nvSpPr>
        <p:spPr>
          <a:xfrm>
            <a:off x="11769264" y="6475767"/>
            <a:ext cx="135437" cy="123110"/>
          </a:xfrm>
        </p:spPr>
        <p:txBody>
          <a:bodyPr anchor="ctr"/>
          <a:lstStyle>
            <a:lvl1pPr>
              <a:defRPr/>
            </a:lvl1pPr>
          </a:lstStyle>
          <a:p>
            <a:pPr lvl="0"/>
            <a:fld id="{83ED44B9-4F31-4443-9EF8-503D08D6CD1B}" type="slidenum">
              <a:t>‹#›</a:t>
            </a:fld>
            <a:endParaRPr lang="en-US"/>
          </a:p>
        </p:txBody>
      </p:sp>
      <p:cxnSp>
        <p:nvCxnSpPr>
          <p:cNvPr id="13" name="Straight Connector 3" descr="Vertical column divider">
            <a:extLst>
              <a:ext uri="{FF2B5EF4-FFF2-40B4-BE49-F238E27FC236}">
                <a16:creationId xmlns:a16="http://schemas.microsoft.com/office/drawing/2014/main" id="{27C58622-0483-AC48-4C5C-FC5C0AE8BA79}"/>
              </a:ext>
            </a:extLst>
          </p:cNvPr>
          <p:cNvCxnSpPr/>
          <p:nvPr/>
        </p:nvCxnSpPr>
        <p:spPr>
          <a:xfrm>
            <a:off x="6095268" y="285050"/>
            <a:ext cx="0" cy="5812540"/>
          </a:xfrm>
          <a:prstGeom prst="straightConnector1">
            <a:avLst/>
          </a:prstGeom>
          <a:noFill/>
          <a:ln w="12701" cap="flat">
            <a:solidFill>
              <a:srgbClr val="000000"/>
            </a:solidFill>
            <a:prstDash val="solid"/>
          </a:ln>
        </p:spPr>
      </p:cxnSp>
    </p:spTree>
    <p:extLst>
      <p:ext uri="{BB962C8B-B14F-4D97-AF65-F5344CB8AC3E}">
        <p14:creationId xmlns:p14="http://schemas.microsoft.com/office/powerpoint/2010/main" val="59761449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Boxes, 4 stacked, small title">
    <p:bg>
      <p:bgPr>
        <a:solidFill>
          <a:srgbClr val="FFFFFF"/>
        </a:solidFill>
        <a:effectLst/>
      </p:bgPr>
    </p:bg>
    <p:spTree>
      <p:nvGrpSpPr>
        <p:cNvPr id="1" name=""/>
        <p:cNvGrpSpPr/>
        <p:nvPr/>
      </p:nvGrpSpPr>
      <p:grpSpPr>
        <a:xfrm>
          <a:off x="0" y="0"/>
          <a:ext cx="0" cy="0"/>
          <a:chOff x="0" y="0"/>
          <a:chExt cx="0" cy="0"/>
        </a:xfrm>
      </p:grpSpPr>
      <p:sp>
        <p:nvSpPr>
          <p:cNvPr id="2" name="Text Placeholder 6">
            <a:extLst>
              <a:ext uri="{FF2B5EF4-FFF2-40B4-BE49-F238E27FC236}">
                <a16:creationId xmlns:a16="http://schemas.microsoft.com/office/drawing/2014/main" id="{098461C1-B84C-C85B-CF09-54A784F24343}"/>
              </a:ext>
            </a:extLst>
          </p:cNvPr>
          <p:cNvSpPr txBox="1">
            <a:spLocks noGrp="1"/>
          </p:cNvSpPr>
          <p:nvPr>
            <p:ph type="body" idx="4294967295"/>
          </p:nvPr>
        </p:nvSpPr>
        <p:spPr>
          <a:xfrm>
            <a:off x="287962" y="288036"/>
            <a:ext cx="2480243" cy="231078"/>
          </a:xfrm>
        </p:spPr>
        <p:txBody>
          <a:bodyPr/>
          <a:lstStyle>
            <a:lvl1pPr>
              <a:defRPr sz="1400"/>
            </a:lvl1pPr>
          </a:lstStyle>
          <a:p>
            <a:pPr lvl="0"/>
            <a:r>
              <a:rPr lang="en-US"/>
              <a:t>Click to edit Master text styles</a:t>
            </a:r>
          </a:p>
        </p:txBody>
      </p:sp>
      <p:sp>
        <p:nvSpPr>
          <p:cNvPr id="3" name="Title 1">
            <a:extLst>
              <a:ext uri="{FF2B5EF4-FFF2-40B4-BE49-F238E27FC236}">
                <a16:creationId xmlns:a16="http://schemas.microsoft.com/office/drawing/2014/main" id="{44CE765E-658E-A210-A9EF-1EAF30135590}"/>
              </a:ext>
            </a:extLst>
          </p:cNvPr>
          <p:cNvSpPr txBox="1">
            <a:spLocks noGrp="1"/>
          </p:cNvSpPr>
          <p:nvPr>
            <p:ph type="title"/>
          </p:nvPr>
        </p:nvSpPr>
        <p:spPr>
          <a:xfrm>
            <a:off x="287962" y="762002"/>
            <a:ext cx="2473893" cy="1523998"/>
          </a:xfrm>
        </p:spPr>
        <p:txBody>
          <a:bodyPr/>
          <a:lstStyle>
            <a:lvl1pPr>
              <a:lnSpc>
                <a:spcPct val="110000"/>
              </a:lnSpc>
              <a:defRPr sz="1800"/>
            </a:lvl1pPr>
          </a:lstStyle>
          <a:p>
            <a:pPr lvl="0"/>
            <a:r>
              <a:rPr lang="en-US"/>
              <a:t>Click to edit Master title style</a:t>
            </a:r>
          </a:p>
        </p:txBody>
      </p:sp>
      <p:sp>
        <p:nvSpPr>
          <p:cNvPr id="4" name="Text Placeholder 9">
            <a:extLst>
              <a:ext uri="{FF2B5EF4-FFF2-40B4-BE49-F238E27FC236}">
                <a16:creationId xmlns:a16="http://schemas.microsoft.com/office/drawing/2014/main" id="{A02F2D61-3A5A-EDB5-82E9-4508D89F3C5A}"/>
              </a:ext>
            </a:extLst>
          </p:cNvPr>
          <p:cNvSpPr txBox="1">
            <a:spLocks noGrp="1"/>
          </p:cNvSpPr>
          <p:nvPr>
            <p:ph type="body" idx="4294967295"/>
          </p:nvPr>
        </p:nvSpPr>
        <p:spPr>
          <a:xfrm>
            <a:off x="6389169" y="288036"/>
            <a:ext cx="2476179" cy="2474216"/>
          </a:xfrm>
        </p:spPr>
        <p:txBody>
          <a:bodyPr/>
          <a:lstStyle>
            <a:lvl1pPr>
              <a:defRPr sz="1400">
                <a:latin typeface="IBM Plex Sans Light" pitchFamily="34"/>
              </a:defRPr>
            </a:lvl1pPr>
            <a:lvl2pPr marL="127990" indent="-127990">
              <a:defRPr sz="1400">
                <a:latin typeface="IBM Plex Sans Light" pitchFamily="34"/>
              </a:defRPr>
            </a:lvl2pPr>
            <a:lvl3pPr marL="255981" indent="-127990">
              <a:defRPr sz="1400">
                <a:latin typeface="IBM Plex Sans Light" pitchFamily="34"/>
              </a:defRPr>
            </a:lvl3pPr>
            <a:lvl4pPr marL="383971" indent="-127990">
              <a:defRPr sz="1400">
                <a:latin typeface="IBM Plex Sans Light"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F29B1B4B-0490-02A6-9387-69C48E05C9B2}"/>
              </a:ext>
            </a:extLst>
          </p:cNvPr>
          <p:cNvSpPr txBox="1">
            <a:spLocks noGrp="1"/>
          </p:cNvSpPr>
          <p:nvPr>
            <p:ph type="body" idx="4294967295"/>
          </p:nvPr>
        </p:nvSpPr>
        <p:spPr>
          <a:xfrm>
            <a:off x="9430108" y="288036"/>
            <a:ext cx="2479351" cy="2474216"/>
          </a:xfrm>
        </p:spPr>
        <p:txBody>
          <a:bodyPr/>
          <a:lstStyle>
            <a:lvl1pPr>
              <a:defRPr sz="1400">
                <a:latin typeface="IBM Plex Sans Light" pitchFamily="34"/>
              </a:defRPr>
            </a:lvl1pPr>
            <a:lvl2pPr marL="127990" indent="-127990">
              <a:defRPr sz="1400">
                <a:latin typeface="IBM Plex Sans Light" pitchFamily="34"/>
              </a:defRPr>
            </a:lvl2pPr>
            <a:lvl3pPr marL="255981" indent="-127990">
              <a:defRPr sz="1400">
                <a:latin typeface="IBM Plex Sans Light" pitchFamily="34"/>
              </a:defRPr>
            </a:lvl3pPr>
            <a:lvl4pPr marL="383971" indent="-127990">
              <a:defRPr sz="1400">
                <a:latin typeface="IBM Plex Sans Light"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686111CB-79D1-0972-3EF5-1EEDE1747529}"/>
              </a:ext>
            </a:extLst>
          </p:cNvPr>
          <p:cNvSpPr txBox="1">
            <a:spLocks noGrp="1"/>
          </p:cNvSpPr>
          <p:nvPr>
            <p:ph type="body" idx="4294967295"/>
          </p:nvPr>
        </p:nvSpPr>
        <p:spPr>
          <a:xfrm>
            <a:off x="6389169" y="3335338"/>
            <a:ext cx="2476179" cy="2474216"/>
          </a:xfrm>
        </p:spPr>
        <p:txBody>
          <a:bodyPr/>
          <a:lstStyle>
            <a:lvl1pPr>
              <a:defRPr sz="1400">
                <a:latin typeface="IBM Plex Sans Light" pitchFamily="34"/>
              </a:defRPr>
            </a:lvl1pPr>
            <a:lvl2pPr marL="127990" indent="-127990">
              <a:defRPr sz="1400">
                <a:latin typeface="IBM Plex Sans Light" pitchFamily="34"/>
              </a:defRPr>
            </a:lvl2pPr>
            <a:lvl3pPr marL="255981" indent="-127990">
              <a:defRPr sz="1400">
                <a:latin typeface="IBM Plex Sans Light" pitchFamily="34"/>
              </a:defRPr>
            </a:lvl3pPr>
            <a:lvl4pPr marL="383971" indent="-127990">
              <a:defRPr sz="1400">
                <a:latin typeface="IBM Plex Sans Light"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11">
            <a:extLst>
              <a:ext uri="{FF2B5EF4-FFF2-40B4-BE49-F238E27FC236}">
                <a16:creationId xmlns:a16="http://schemas.microsoft.com/office/drawing/2014/main" id="{3F9953E9-163C-E08D-1FFC-171B5642A9EF}"/>
              </a:ext>
            </a:extLst>
          </p:cNvPr>
          <p:cNvSpPr txBox="1">
            <a:spLocks noGrp="1"/>
          </p:cNvSpPr>
          <p:nvPr>
            <p:ph type="body" idx="4294967295"/>
          </p:nvPr>
        </p:nvSpPr>
        <p:spPr>
          <a:xfrm>
            <a:off x="9430108" y="3335338"/>
            <a:ext cx="2476179" cy="2474216"/>
          </a:xfrm>
        </p:spPr>
        <p:txBody>
          <a:bodyPr/>
          <a:lstStyle>
            <a:lvl1pPr>
              <a:defRPr sz="1400">
                <a:latin typeface="IBM Plex Sans Light" pitchFamily="34"/>
              </a:defRPr>
            </a:lvl1pPr>
            <a:lvl2pPr marL="127990" indent="-127990">
              <a:defRPr sz="1400">
                <a:latin typeface="IBM Plex Sans Light" pitchFamily="34"/>
              </a:defRPr>
            </a:lvl2pPr>
            <a:lvl3pPr marL="255981" indent="-127990">
              <a:defRPr sz="1400">
                <a:latin typeface="IBM Plex Sans Light" pitchFamily="34"/>
              </a:defRPr>
            </a:lvl3pPr>
            <a:lvl4pPr marL="383971" indent="-127990">
              <a:defRPr sz="1400">
                <a:latin typeface="IBM Plex Sans Light"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Footer Placeholder 3">
            <a:extLst>
              <a:ext uri="{FF2B5EF4-FFF2-40B4-BE49-F238E27FC236}">
                <a16:creationId xmlns:a16="http://schemas.microsoft.com/office/drawing/2014/main" id="{0E58AB10-B9F5-66CD-4607-44E800CD0491}"/>
              </a:ext>
            </a:extLst>
          </p:cNvPr>
          <p:cNvSpPr txBox="1">
            <a:spLocks noGrp="1"/>
          </p:cNvSpPr>
          <p:nvPr>
            <p:ph type="ftr" sz="quarter" idx="9"/>
          </p:nvPr>
        </p:nvSpPr>
        <p:spPr>
          <a:xfrm>
            <a:off x="287962" y="6408001"/>
            <a:ext cx="2477765" cy="190502"/>
          </a:xfrm>
        </p:spPr>
        <p:txBody>
          <a:bodyPr/>
          <a:lstStyle>
            <a:lvl1pPr>
              <a:defRPr/>
            </a:lvl1pPr>
          </a:lstStyle>
          <a:p>
            <a:pPr lvl="0"/>
            <a:endParaRPr lang="en-US"/>
          </a:p>
        </p:txBody>
      </p:sp>
      <p:sp>
        <p:nvSpPr>
          <p:cNvPr id="9" name="Slide Number">
            <a:extLst>
              <a:ext uri="{FF2B5EF4-FFF2-40B4-BE49-F238E27FC236}">
                <a16:creationId xmlns:a16="http://schemas.microsoft.com/office/drawing/2014/main" id="{B545D5EE-0997-0FBA-3BD6-E3A0DCEF4A8A}"/>
              </a:ext>
            </a:extLst>
          </p:cNvPr>
          <p:cNvSpPr txBox="1">
            <a:spLocks noGrp="1"/>
          </p:cNvSpPr>
          <p:nvPr>
            <p:ph type="sldNum" sz="quarter" idx="8"/>
          </p:nvPr>
        </p:nvSpPr>
        <p:spPr>
          <a:xfrm>
            <a:off x="11769264" y="6475767"/>
            <a:ext cx="135437" cy="123110"/>
          </a:xfrm>
        </p:spPr>
        <p:txBody>
          <a:bodyPr anchor="ctr"/>
          <a:lstStyle>
            <a:lvl1pPr>
              <a:defRPr/>
            </a:lvl1pPr>
          </a:lstStyle>
          <a:p>
            <a:pPr lvl="0"/>
            <a:fld id="{5BFD8F53-0176-CE4D-9A12-1387601FC3E8}" type="slidenum">
              <a:t>‹#›</a:t>
            </a:fld>
            <a:endParaRPr lang="en-US"/>
          </a:p>
        </p:txBody>
      </p:sp>
    </p:spTree>
    <p:extLst>
      <p:ext uri="{BB962C8B-B14F-4D97-AF65-F5344CB8AC3E}">
        <p14:creationId xmlns:p14="http://schemas.microsoft.com/office/powerpoint/2010/main" val="231709716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Boxes, 4 stacked, large title">
    <p:bg>
      <p:bgPr>
        <a:solidFill>
          <a:srgbClr val="FFFFFF"/>
        </a:solidFill>
        <a:effectLst/>
      </p:bgPr>
    </p:bg>
    <p:spTree>
      <p:nvGrpSpPr>
        <p:cNvPr id="1" name=""/>
        <p:cNvGrpSpPr/>
        <p:nvPr/>
      </p:nvGrpSpPr>
      <p:grpSpPr>
        <a:xfrm>
          <a:off x="0" y="0"/>
          <a:ext cx="0" cy="0"/>
          <a:chOff x="0" y="0"/>
          <a:chExt cx="0" cy="0"/>
        </a:xfrm>
      </p:grpSpPr>
      <p:sp>
        <p:nvSpPr>
          <p:cNvPr id="2" name="Text Placeholder 6">
            <a:extLst>
              <a:ext uri="{FF2B5EF4-FFF2-40B4-BE49-F238E27FC236}">
                <a16:creationId xmlns:a16="http://schemas.microsoft.com/office/drawing/2014/main" id="{65126732-AEEC-D8F9-77AD-F310D874AF88}"/>
              </a:ext>
            </a:extLst>
          </p:cNvPr>
          <p:cNvSpPr txBox="1">
            <a:spLocks noGrp="1"/>
          </p:cNvSpPr>
          <p:nvPr>
            <p:ph type="body" idx="4294967295"/>
          </p:nvPr>
        </p:nvSpPr>
        <p:spPr>
          <a:xfrm>
            <a:off x="287962" y="288036"/>
            <a:ext cx="2480243" cy="231078"/>
          </a:xfrm>
        </p:spPr>
        <p:txBody>
          <a:bodyPr/>
          <a:lstStyle>
            <a:lvl1pPr>
              <a:defRPr sz="1400"/>
            </a:lvl1pPr>
          </a:lstStyle>
          <a:p>
            <a:pPr lvl="0"/>
            <a:r>
              <a:rPr lang="en-US"/>
              <a:t>Click to edit Master text styles</a:t>
            </a:r>
          </a:p>
        </p:txBody>
      </p:sp>
      <p:sp>
        <p:nvSpPr>
          <p:cNvPr id="3" name="Text Placeholder 9">
            <a:extLst>
              <a:ext uri="{FF2B5EF4-FFF2-40B4-BE49-F238E27FC236}">
                <a16:creationId xmlns:a16="http://schemas.microsoft.com/office/drawing/2014/main" id="{8A541346-E99B-5A4E-40F4-17289D70F751}"/>
              </a:ext>
            </a:extLst>
          </p:cNvPr>
          <p:cNvSpPr txBox="1">
            <a:spLocks noGrp="1"/>
          </p:cNvSpPr>
          <p:nvPr>
            <p:ph type="body" idx="4294967295"/>
          </p:nvPr>
        </p:nvSpPr>
        <p:spPr>
          <a:xfrm>
            <a:off x="6389169" y="288036"/>
            <a:ext cx="2476179" cy="2474216"/>
          </a:xfrm>
        </p:spPr>
        <p:txBody>
          <a:bodyPr/>
          <a:lstStyle>
            <a:lvl1pPr>
              <a:defRPr sz="1400">
                <a:latin typeface="IBM Plex Sans Light" pitchFamily="34"/>
              </a:defRPr>
            </a:lvl1pPr>
            <a:lvl2pPr marL="127990" indent="-127990">
              <a:defRPr sz="1400">
                <a:latin typeface="IBM Plex Sans Light" pitchFamily="34"/>
              </a:defRPr>
            </a:lvl2pPr>
            <a:lvl3pPr marL="255981" indent="-127990">
              <a:defRPr sz="1400">
                <a:latin typeface="IBM Plex Sans Light" pitchFamily="34"/>
              </a:defRPr>
            </a:lvl3pPr>
            <a:lvl4pPr marL="383971" indent="-127990">
              <a:defRPr sz="1400">
                <a:latin typeface="IBM Plex Sans Light"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 Placeholder 12">
            <a:extLst>
              <a:ext uri="{FF2B5EF4-FFF2-40B4-BE49-F238E27FC236}">
                <a16:creationId xmlns:a16="http://schemas.microsoft.com/office/drawing/2014/main" id="{E427CE19-7B80-8669-CDEE-1142AFA4D8CF}"/>
              </a:ext>
            </a:extLst>
          </p:cNvPr>
          <p:cNvSpPr txBox="1">
            <a:spLocks noGrp="1"/>
          </p:cNvSpPr>
          <p:nvPr>
            <p:ph type="body" idx="4294967295"/>
          </p:nvPr>
        </p:nvSpPr>
        <p:spPr>
          <a:xfrm>
            <a:off x="9430108" y="288036"/>
            <a:ext cx="2479351" cy="2474216"/>
          </a:xfrm>
        </p:spPr>
        <p:txBody>
          <a:bodyPr/>
          <a:lstStyle>
            <a:lvl1pPr>
              <a:defRPr sz="1400">
                <a:latin typeface="IBM Plex Sans Light" pitchFamily="34"/>
              </a:defRPr>
            </a:lvl1pPr>
            <a:lvl2pPr marL="127990" indent="-127990">
              <a:defRPr sz="1400">
                <a:latin typeface="IBM Plex Sans Light" pitchFamily="34"/>
              </a:defRPr>
            </a:lvl2pPr>
            <a:lvl3pPr marL="255981" indent="-127990">
              <a:defRPr sz="1400">
                <a:latin typeface="IBM Plex Sans Light" pitchFamily="34"/>
              </a:defRPr>
            </a:lvl3pPr>
            <a:lvl4pPr marL="383971" indent="-127990">
              <a:defRPr sz="1400">
                <a:latin typeface="IBM Plex Sans Light"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158C90F2-4653-DC80-976F-174140C9BA68}"/>
              </a:ext>
            </a:extLst>
          </p:cNvPr>
          <p:cNvSpPr txBox="1">
            <a:spLocks noGrp="1"/>
          </p:cNvSpPr>
          <p:nvPr>
            <p:ph type="body" idx="4294967295"/>
          </p:nvPr>
        </p:nvSpPr>
        <p:spPr>
          <a:xfrm>
            <a:off x="6389169" y="3335338"/>
            <a:ext cx="2476179" cy="2474216"/>
          </a:xfrm>
        </p:spPr>
        <p:txBody>
          <a:bodyPr/>
          <a:lstStyle>
            <a:lvl1pPr>
              <a:defRPr sz="1400">
                <a:latin typeface="IBM Plex Sans Light" pitchFamily="34"/>
              </a:defRPr>
            </a:lvl1pPr>
            <a:lvl2pPr marL="127990" indent="-127990">
              <a:defRPr sz="1400">
                <a:latin typeface="IBM Plex Sans Light" pitchFamily="34"/>
              </a:defRPr>
            </a:lvl2pPr>
            <a:lvl3pPr marL="255981" indent="-127990">
              <a:defRPr sz="1400">
                <a:latin typeface="IBM Plex Sans Light" pitchFamily="34"/>
              </a:defRPr>
            </a:lvl3pPr>
            <a:lvl4pPr marL="383971" indent="-127990">
              <a:defRPr sz="1400">
                <a:latin typeface="IBM Plex Sans Light"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11">
            <a:extLst>
              <a:ext uri="{FF2B5EF4-FFF2-40B4-BE49-F238E27FC236}">
                <a16:creationId xmlns:a16="http://schemas.microsoft.com/office/drawing/2014/main" id="{BEE9C66E-BA55-CCC1-4EBC-03B0E780AC6C}"/>
              </a:ext>
            </a:extLst>
          </p:cNvPr>
          <p:cNvSpPr txBox="1">
            <a:spLocks noGrp="1"/>
          </p:cNvSpPr>
          <p:nvPr>
            <p:ph type="body" idx="4294967295"/>
          </p:nvPr>
        </p:nvSpPr>
        <p:spPr>
          <a:xfrm>
            <a:off x="9430108" y="3335338"/>
            <a:ext cx="2476179" cy="2474216"/>
          </a:xfrm>
        </p:spPr>
        <p:txBody>
          <a:bodyPr/>
          <a:lstStyle>
            <a:lvl1pPr>
              <a:defRPr sz="1400">
                <a:latin typeface="IBM Plex Sans Light" pitchFamily="34"/>
              </a:defRPr>
            </a:lvl1pPr>
            <a:lvl2pPr marL="127990" indent="-127990">
              <a:defRPr sz="1400">
                <a:latin typeface="IBM Plex Sans Light" pitchFamily="34"/>
              </a:defRPr>
            </a:lvl2pPr>
            <a:lvl3pPr marL="255981" indent="-127990">
              <a:defRPr sz="1400">
                <a:latin typeface="IBM Plex Sans Light" pitchFamily="34"/>
              </a:defRPr>
            </a:lvl3pPr>
            <a:lvl4pPr marL="383971" indent="-127990">
              <a:defRPr sz="1400">
                <a:latin typeface="IBM Plex Sans Light" pitchFamily="34"/>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Footer Placeholder 3">
            <a:extLst>
              <a:ext uri="{FF2B5EF4-FFF2-40B4-BE49-F238E27FC236}">
                <a16:creationId xmlns:a16="http://schemas.microsoft.com/office/drawing/2014/main" id="{67A87E5B-A6DA-5939-8F3F-09B7DAB591B9}"/>
              </a:ext>
            </a:extLst>
          </p:cNvPr>
          <p:cNvSpPr txBox="1">
            <a:spLocks noGrp="1"/>
          </p:cNvSpPr>
          <p:nvPr>
            <p:ph type="ftr" sz="quarter" idx="9"/>
          </p:nvPr>
        </p:nvSpPr>
        <p:spPr>
          <a:xfrm>
            <a:off x="287962" y="6408001"/>
            <a:ext cx="2477765" cy="190502"/>
          </a:xfrm>
        </p:spPr>
        <p:txBody>
          <a:bodyPr/>
          <a:lstStyle>
            <a:lvl1pPr>
              <a:defRPr/>
            </a:lvl1pPr>
          </a:lstStyle>
          <a:p>
            <a:pPr lvl="0"/>
            <a:endParaRPr lang="en-US"/>
          </a:p>
        </p:txBody>
      </p:sp>
      <p:sp>
        <p:nvSpPr>
          <p:cNvPr id="8" name="Slide Number">
            <a:extLst>
              <a:ext uri="{FF2B5EF4-FFF2-40B4-BE49-F238E27FC236}">
                <a16:creationId xmlns:a16="http://schemas.microsoft.com/office/drawing/2014/main" id="{C614C8D1-4F3B-E1A9-CBCC-B77FE48EAA22}"/>
              </a:ext>
            </a:extLst>
          </p:cNvPr>
          <p:cNvSpPr txBox="1">
            <a:spLocks noGrp="1"/>
          </p:cNvSpPr>
          <p:nvPr>
            <p:ph type="sldNum" sz="quarter" idx="8"/>
          </p:nvPr>
        </p:nvSpPr>
        <p:spPr>
          <a:xfrm>
            <a:off x="11769264" y="6475767"/>
            <a:ext cx="135437" cy="123110"/>
          </a:xfrm>
        </p:spPr>
        <p:txBody>
          <a:bodyPr anchor="ctr"/>
          <a:lstStyle>
            <a:lvl1pPr>
              <a:defRPr/>
            </a:lvl1pPr>
          </a:lstStyle>
          <a:p>
            <a:pPr lvl="0"/>
            <a:fld id="{CD6EC773-7DBC-3746-AB3D-8474B34CF85E}" type="slidenum">
              <a:t>‹#›</a:t>
            </a:fld>
            <a:endParaRPr lang="en-US"/>
          </a:p>
        </p:txBody>
      </p:sp>
      <p:sp>
        <p:nvSpPr>
          <p:cNvPr id="9" name="Title 1">
            <a:extLst>
              <a:ext uri="{FF2B5EF4-FFF2-40B4-BE49-F238E27FC236}">
                <a16:creationId xmlns:a16="http://schemas.microsoft.com/office/drawing/2014/main" id="{FABC0F60-C60C-C4FA-BDA4-637C4FE349D8}"/>
              </a:ext>
            </a:extLst>
          </p:cNvPr>
          <p:cNvSpPr txBox="1">
            <a:spLocks noGrp="1"/>
          </p:cNvSpPr>
          <p:nvPr>
            <p:ph type="title"/>
          </p:nvPr>
        </p:nvSpPr>
        <p:spPr>
          <a:xfrm>
            <a:off x="287962" y="761938"/>
            <a:ext cx="5521402" cy="2286064"/>
          </a:xfrm>
        </p:spPr>
        <p:txBody>
          <a:bodyPr rIns="457200"/>
          <a:lstStyle>
            <a:lvl1pPr>
              <a:lnSpc>
                <a:spcPct val="110000"/>
              </a:lnSpc>
              <a:defRPr sz="3399"/>
            </a:lvl1pPr>
          </a:lstStyle>
          <a:p>
            <a:pPr lvl="0"/>
            <a:r>
              <a:rPr lang="en-US"/>
              <a:t>Click to edit Master title style</a:t>
            </a:r>
          </a:p>
        </p:txBody>
      </p:sp>
    </p:spTree>
    <p:extLst>
      <p:ext uri="{BB962C8B-B14F-4D97-AF65-F5344CB8AC3E}">
        <p14:creationId xmlns:p14="http://schemas.microsoft.com/office/powerpoint/2010/main" val="80043210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Boxes, 4 horizontal, small title">
    <p:bg>
      <p:bgPr>
        <a:solidFill>
          <a:srgbClr val="FFFFFF"/>
        </a:solidFill>
        <a:effectLst/>
      </p:bgPr>
    </p:bg>
    <p:spTree>
      <p:nvGrpSpPr>
        <p:cNvPr id="1" name=""/>
        <p:cNvGrpSpPr/>
        <p:nvPr/>
      </p:nvGrpSpPr>
      <p:grpSpPr>
        <a:xfrm>
          <a:off x="0" y="0"/>
          <a:ext cx="0" cy="0"/>
          <a:chOff x="0" y="0"/>
          <a:chExt cx="0" cy="0"/>
        </a:xfrm>
      </p:grpSpPr>
      <p:sp>
        <p:nvSpPr>
          <p:cNvPr id="2" name="Text Placeholder 10">
            <a:extLst>
              <a:ext uri="{FF2B5EF4-FFF2-40B4-BE49-F238E27FC236}">
                <a16:creationId xmlns:a16="http://schemas.microsoft.com/office/drawing/2014/main" id="{A4FAC398-8E8A-178E-0577-D3C6F83A9441}"/>
              </a:ext>
            </a:extLst>
          </p:cNvPr>
          <p:cNvSpPr txBox="1">
            <a:spLocks noGrp="1"/>
          </p:cNvSpPr>
          <p:nvPr>
            <p:ph type="body" idx="4294967295"/>
          </p:nvPr>
        </p:nvSpPr>
        <p:spPr>
          <a:xfrm>
            <a:off x="287998" y="3337939"/>
            <a:ext cx="2474588" cy="2759645"/>
          </a:xfrm>
        </p:spPr>
        <p:txBody>
          <a:bodyPr/>
          <a:lstStyle>
            <a:lvl1pPr>
              <a:defRPr sz="1400"/>
            </a:lvl1pPr>
            <a:lvl2pPr marL="127990" indent="-127990">
              <a:defRPr sz="1400"/>
            </a:lvl2pPr>
            <a:lvl3pPr marL="255981" indent="-127990">
              <a:defRPr sz="1400"/>
            </a:lvl3pPr>
            <a:lvl4pPr marL="383971" indent="-127990">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ext Placeholder 10">
            <a:extLst>
              <a:ext uri="{FF2B5EF4-FFF2-40B4-BE49-F238E27FC236}">
                <a16:creationId xmlns:a16="http://schemas.microsoft.com/office/drawing/2014/main" id="{51C3ACAC-18A6-C2AE-7726-493DF5D354BE}"/>
              </a:ext>
            </a:extLst>
          </p:cNvPr>
          <p:cNvSpPr txBox="1">
            <a:spLocks noGrp="1"/>
          </p:cNvSpPr>
          <p:nvPr>
            <p:ph type="body" idx="4294967295"/>
          </p:nvPr>
        </p:nvSpPr>
        <p:spPr>
          <a:xfrm>
            <a:off x="3331187" y="3336924"/>
            <a:ext cx="2474588" cy="2760660"/>
          </a:xfrm>
        </p:spPr>
        <p:txBody>
          <a:bodyPr/>
          <a:lstStyle>
            <a:lvl1pPr>
              <a:defRPr sz="1400"/>
            </a:lvl1pPr>
            <a:lvl2pPr marL="127990" indent="-127990">
              <a:defRPr sz="1400"/>
            </a:lvl2pPr>
            <a:lvl3pPr marL="255981" indent="-127990">
              <a:defRPr sz="1400"/>
            </a:lvl3pPr>
            <a:lvl4pPr marL="383971" indent="-127990">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 Placeholder 10">
            <a:extLst>
              <a:ext uri="{FF2B5EF4-FFF2-40B4-BE49-F238E27FC236}">
                <a16:creationId xmlns:a16="http://schemas.microsoft.com/office/drawing/2014/main" id="{C348BCCA-0CBA-BC93-B8FE-D4635067755D}"/>
              </a:ext>
            </a:extLst>
          </p:cNvPr>
          <p:cNvSpPr txBox="1">
            <a:spLocks noGrp="1"/>
          </p:cNvSpPr>
          <p:nvPr>
            <p:ph type="body" idx="4294967295"/>
          </p:nvPr>
        </p:nvSpPr>
        <p:spPr>
          <a:xfrm>
            <a:off x="6383048" y="3336924"/>
            <a:ext cx="2474588" cy="2760660"/>
          </a:xfrm>
        </p:spPr>
        <p:txBody>
          <a:bodyPr/>
          <a:lstStyle>
            <a:lvl1pPr>
              <a:defRPr sz="1400"/>
            </a:lvl1pPr>
            <a:lvl2pPr marL="127990" indent="-127990">
              <a:defRPr sz="1400"/>
            </a:lvl2pPr>
            <a:lvl3pPr marL="255981" indent="-127990">
              <a:defRPr sz="1400"/>
            </a:lvl3pPr>
            <a:lvl4pPr marL="383971" indent="-127990">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0">
            <a:extLst>
              <a:ext uri="{FF2B5EF4-FFF2-40B4-BE49-F238E27FC236}">
                <a16:creationId xmlns:a16="http://schemas.microsoft.com/office/drawing/2014/main" id="{EDAB9A65-2757-2A85-C030-A3582E2B383E}"/>
              </a:ext>
            </a:extLst>
          </p:cNvPr>
          <p:cNvSpPr txBox="1">
            <a:spLocks noGrp="1"/>
          </p:cNvSpPr>
          <p:nvPr>
            <p:ph type="body" idx="4294967295"/>
          </p:nvPr>
        </p:nvSpPr>
        <p:spPr>
          <a:xfrm>
            <a:off x="9428522" y="3336924"/>
            <a:ext cx="2474588" cy="2760660"/>
          </a:xfrm>
        </p:spPr>
        <p:txBody>
          <a:bodyPr/>
          <a:lstStyle>
            <a:lvl1pPr>
              <a:defRPr sz="1400"/>
            </a:lvl1pPr>
            <a:lvl2pPr marL="127990" indent="-127990">
              <a:defRPr sz="1400"/>
            </a:lvl2pPr>
            <a:lvl3pPr marL="255981" indent="-127990">
              <a:defRPr sz="1400"/>
            </a:lvl3pPr>
            <a:lvl4pPr marL="383971" indent="-127990">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3">
            <a:extLst>
              <a:ext uri="{FF2B5EF4-FFF2-40B4-BE49-F238E27FC236}">
                <a16:creationId xmlns:a16="http://schemas.microsoft.com/office/drawing/2014/main" id="{0B39A458-695C-2671-6632-5C3CD83FB73C}"/>
              </a:ext>
            </a:extLst>
          </p:cNvPr>
          <p:cNvSpPr txBox="1">
            <a:spLocks noGrp="1"/>
          </p:cNvSpPr>
          <p:nvPr>
            <p:ph type="ftr" sz="quarter" idx="9"/>
          </p:nvPr>
        </p:nvSpPr>
        <p:spPr>
          <a:xfrm>
            <a:off x="287962" y="6408001"/>
            <a:ext cx="2477765" cy="190502"/>
          </a:xfrm>
        </p:spPr>
        <p:txBody>
          <a:bodyPr/>
          <a:lstStyle>
            <a:lvl1pPr>
              <a:defRPr/>
            </a:lvl1pPr>
          </a:lstStyle>
          <a:p>
            <a:pPr lvl="0"/>
            <a:endParaRPr lang="en-US"/>
          </a:p>
        </p:txBody>
      </p:sp>
      <p:sp>
        <p:nvSpPr>
          <p:cNvPr id="7" name="Slide Number">
            <a:extLst>
              <a:ext uri="{FF2B5EF4-FFF2-40B4-BE49-F238E27FC236}">
                <a16:creationId xmlns:a16="http://schemas.microsoft.com/office/drawing/2014/main" id="{C9702365-EC74-D6A6-99C4-9E27BFC991F9}"/>
              </a:ext>
            </a:extLst>
          </p:cNvPr>
          <p:cNvSpPr txBox="1">
            <a:spLocks noGrp="1"/>
          </p:cNvSpPr>
          <p:nvPr>
            <p:ph type="sldNum" sz="quarter" idx="8"/>
          </p:nvPr>
        </p:nvSpPr>
        <p:spPr>
          <a:xfrm>
            <a:off x="11769264" y="6475767"/>
            <a:ext cx="135437" cy="123110"/>
          </a:xfrm>
        </p:spPr>
        <p:txBody>
          <a:bodyPr anchor="ctr"/>
          <a:lstStyle>
            <a:lvl1pPr>
              <a:defRPr/>
            </a:lvl1pPr>
          </a:lstStyle>
          <a:p>
            <a:pPr lvl="0"/>
            <a:fld id="{B1F85A04-8EAD-0544-AEF8-D3A2902A0958}" type="slidenum">
              <a:t>‹#›</a:t>
            </a:fld>
            <a:endParaRPr lang="en-US"/>
          </a:p>
        </p:txBody>
      </p:sp>
      <p:sp>
        <p:nvSpPr>
          <p:cNvPr id="8" name="Text Placeholder 6">
            <a:extLst>
              <a:ext uri="{FF2B5EF4-FFF2-40B4-BE49-F238E27FC236}">
                <a16:creationId xmlns:a16="http://schemas.microsoft.com/office/drawing/2014/main" id="{683B628A-0E51-D893-2A6B-0942D9F410AB}"/>
              </a:ext>
            </a:extLst>
          </p:cNvPr>
          <p:cNvSpPr txBox="1">
            <a:spLocks noGrp="1"/>
          </p:cNvSpPr>
          <p:nvPr>
            <p:ph type="body" idx="4294967295"/>
          </p:nvPr>
        </p:nvSpPr>
        <p:spPr>
          <a:xfrm>
            <a:off x="287962" y="288036"/>
            <a:ext cx="2470716" cy="1997964"/>
          </a:xfrm>
        </p:spPr>
        <p:txBody>
          <a:bodyPr/>
          <a:lstStyle>
            <a:lvl1pPr>
              <a:defRPr sz="1400"/>
            </a:lvl1pPr>
          </a:lstStyle>
          <a:p>
            <a:pPr lvl="0"/>
            <a:r>
              <a:rPr lang="en-US"/>
              <a:t>Click to edit Master text styles</a:t>
            </a:r>
          </a:p>
        </p:txBody>
      </p:sp>
    </p:spTree>
    <p:extLst>
      <p:ext uri="{BB962C8B-B14F-4D97-AF65-F5344CB8AC3E}">
        <p14:creationId xmlns:p14="http://schemas.microsoft.com/office/powerpoint/2010/main" val="48829274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Boxes, 4 horizontal, large title">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9D4FEF-F282-5AFF-BD48-942FA464D5D3}"/>
              </a:ext>
            </a:extLst>
          </p:cNvPr>
          <p:cNvSpPr txBox="1">
            <a:spLocks noGrp="1"/>
          </p:cNvSpPr>
          <p:nvPr>
            <p:ph type="title"/>
          </p:nvPr>
        </p:nvSpPr>
        <p:spPr>
          <a:xfrm>
            <a:off x="287961" y="192024"/>
            <a:ext cx="5517777" cy="2105091"/>
          </a:xfrm>
        </p:spPr>
        <p:txBody>
          <a:bodyPr rIns="457200"/>
          <a:lstStyle>
            <a:lvl1pPr>
              <a:lnSpc>
                <a:spcPct val="100000"/>
              </a:lnSpc>
              <a:defRPr sz="3399"/>
            </a:lvl1pPr>
          </a:lstStyle>
          <a:p>
            <a:pPr lvl="0"/>
            <a:r>
              <a:rPr lang="en-US"/>
              <a:t>Click to edit Master title style</a:t>
            </a:r>
          </a:p>
        </p:txBody>
      </p:sp>
      <p:sp>
        <p:nvSpPr>
          <p:cNvPr id="3" name="Footer Placeholder 3">
            <a:extLst>
              <a:ext uri="{FF2B5EF4-FFF2-40B4-BE49-F238E27FC236}">
                <a16:creationId xmlns:a16="http://schemas.microsoft.com/office/drawing/2014/main" id="{234DF9DD-79DE-348D-433D-6244E69CB689}"/>
              </a:ext>
            </a:extLst>
          </p:cNvPr>
          <p:cNvSpPr txBox="1">
            <a:spLocks noGrp="1"/>
          </p:cNvSpPr>
          <p:nvPr>
            <p:ph type="ftr" sz="quarter" idx="9"/>
          </p:nvPr>
        </p:nvSpPr>
        <p:spPr>
          <a:xfrm>
            <a:off x="290476" y="6411645"/>
            <a:ext cx="2477765" cy="190502"/>
          </a:xfrm>
        </p:spPr>
        <p:txBody>
          <a:bodyPr/>
          <a:lstStyle>
            <a:lvl1pPr>
              <a:defRPr/>
            </a:lvl1pPr>
          </a:lstStyle>
          <a:p>
            <a:pPr lvl="0"/>
            <a:endParaRPr lang="en-US"/>
          </a:p>
        </p:txBody>
      </p:sp>
      <p:sp>
        <p:nvSpPr>
          <p:cNvPr id="4" name="Slide Number">
            <a:extLst>
              <a:ext uri="{FF2B5EF4-FFF2-40B4-BE49-F238E27FC236}">
                <a16:creationId xmlns:a16="http://schemas.microsoft.com/office/drawing/2014/main" id="{F6D61620-B663-F659-9B1A-460F03FF4267}"/>
              </a:ext>
            </a:extLst>
          </p:cNvPr>
          <p:cNvSpPr txBox="1">
            <a:spLocks noGrp="1"/>
          </p:cNvSpPr>
          <p:nvPr>
            <p:ph type="sldNum" sz="quarter" idx="8"/>
          </p:nvPr>
        </p:nvSpPr>
        <p:spPr>
          <a:xfrm>
            <a:off x="11769264" y="6475767"/>
            <a:ext cx="135437" cy="123110"/>
          </a:xfrm>
        </p:spPr>
        <p:txBody>
          <a:bodyPr anchor="ctr"/>
          <a:lstStyle>
            <a:lvl1pPr>
              <a:defRPr/>
            </a:lvl1pPr>
          </a:lstStyle>
          <a:p>
            <a:pPr lvl="0"/>
            <a:fld id="{026A9752-07F3-BE4F-ACD3-62FCC829410E}" type="slidenum">
              <a:t>‹#›</a:t>
            </a:fld>
            <a:endParaRPr lang="en-US"/>
          </a:p>
        </p:txBody>
      </p:sp>
      <p:sp>
        <p:nvSpPr>
          <p:cNvPr id="5" name="Text Placeholder 10">
            <a:extLst>
              <a:ext uri="{FF2B5EF4-FFF2-40B4-BE49-F238E27FC236}">
                <a16:creationId xmlns:a16="http://schemas.microsoft.com/office/drawing/2014/main" id="{03DB5AE9-1584-0217-FF9F-79903208251F}"/>
              </a:ext>
            </a:extLst>
          </p:cNvPr>
          <p:cNvSpPr txBox="1">
            <a:spLocks noGrp="1"/>
          </p:cNvSpPr>
          <p:nvPr>
            <p:ph type="body" idx="4294967295"/>
          </p:nvPr>
        </p:nvSpPr>
        <p:spPr>
          <a:xfrm>
            <a:off x="287998" y="3337939"/>
            <a:ext cx="2474588" cy="2759645"/>
          </a:xfrm>
        </p:spPr>
        <p:txBody>
          <a:bodyPr/>
          <a:lstStyle>
            <a:lvl1pPr>
              <a:defRPr sz="1400"/>
            </a:lvl1pPr>
            <a:lvl2pPr marL="127990" indent="-127990">
              <a:defRPr sz="1400"/>
            </a:lvl2pPr>
            <a:lvl3pPr marL="255981" indent="-127990">
              <a:defRPr sz="1400"/>
            </a:lvl3pPr>
            <a:lvl4pPr marL="383971" indent="-127990">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10">
            <a:extLst>
              <a:ext uri="{FF2B5EF4-FFF2-40B4-BE49-F238E27FC236}">
                <a16:creationId xmlns:a16="http://schemas.microsoft.com/office/drawing/2014/main" id="{264DC45E-C55A-4A41-FFF0-8EF110C86860}"/>
              </a:ext>
            </a:extLst>
          </p:cNvPr>
          <p:cNvSpPr txBox="1">
            <a:spLocks noGrp="1"/>
          </p:cNvSpPr>
          <p:nvPr>
            <p:ph type="body" idx="4294967295"/>
          </p:nvPr>
        </p:nvSpPr>
        <p:spPr>
          <a:xfrm>
            <a:off x="3331187" y="3336924"/>
            <a:ext cx="2474588" cy="2760660"/>
          </a:xfrm>
        </p:spPr>
        <p:txBody>
          <a:bodyPr/>
          <a:lstStyle>
            <a:lvl1pPr>
              <a:defRPr sz="1400"/>
            </a:lvl1pPr>
            <a:lvl2pPr marL="127990" indent="-127990">
              <a:defRPr sz="1400"/>
            </a:lvl2pPr>
            <a:lvl3pPr marL="255981" indent="-127990">
              <a:defRPr sz="1400"/>
            </a:lvl3pPr>
            <a:lvl4pPr marL="383971" indent="-127990">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10">
            <a:extLst>
              <a:ext uri="{FF2B5EF4-FFF2-40B4-BE49-F238E27FC236}">
                <a16:creationId xmlns:a16="http://schemas.microsoft.com/office/drawing/2014/main" id="{80CD8B75-550D-56F4-CA43-30B4A020775D}"/>
              </a:ext>
            </a:extLst>
          </p:cNvPr>
          <p:cNvSpPr txBox="1">
            <a:spLocks noGrp="1"/>
          </p:cNvSpPr>
          <p:nvPr>
            <p:ph type="body" idx="4294967295"/>
          </p:nvPr>
        </p:nvSpPr>
        <p:spPr>
          <a:xfrm>
            <a:off x="6383048" y="3336924"/>
            <a:ext cx="2474588" cy="2760660"/>
          </a:xfrm>
        </p:spPr>
        <p:txBody>
          <a:bodyPr/>
          <a:lstStyle>
            <a:lvl1pPr>
              <a:defRPr sz="1400"/>
            </a:lvl1pPr>
            <a:lvl2pPr marL="127990" indent="-127990">
              <a:defRPr sz="1400"/>
            </a:lvl2pPr>
            <a:lvl3pPr marL="255981" indent="-127990">
              <a:defRPr sz="1400"/>
            </a:lvl3pPr>
            <a:lvl4pPr marL="383971" indent="-127990">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10">
            <a:extLst>
              <a:ext uri="{FF2B5EF4-FFF2-40B4-BE49-F238E27FC236}">
                <a16:creationId xmlns:a16="http://schemas.microsoft.com/office/drawing/2014/main" id="{909A1FA9-BEA4-19F2-7020-029D42A6A9E9}"/>
              </a:ext>
            </a:extLst>
          </p:cNvPr>
          <p:cNvSpPr txBox="1">
            <a:spLocks noGrp="1"/>
          </p:cNvSpPr>
          <p:nvPr>
            <p:ph type="body" idx="4294967295"/>
          </p:nvPr>
        </p:nvSpPr>
        <p:spPr>
          <a:xfrm>
            <a:off x="9428522" y="3336924"/>
            <a:ext cx="2474588" cy="2760660"/>
          </a:xfrm>
        </p:spPr>
        <p:txBody>
          <a:bodyPr/>
          <a:lstStyle>
            <a:lvl1pPr>
              <a:defRPr sz="1400"/>
            </a:lvl1pPr>
            <a:lvl2pPr marL="127990" indent="-127990">
              <a:defRPr sz="1400"/>
            </a:lvl2pPr>
            <a:lvl3pPr marL="255981" indent="-127990">
              <a:defRPr sz="1400"/>
            </a:lvl3pPr>
            <a:lvl4pPr marL="383971" indent="-127990">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207004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430.xml"/><Relationship Id="rId18" Type="http://schemas.openxmlformats.org/officeDocument/2006/relationships/slideLayout" Target="../slideLayouts/slideLayout435.xml"/><Relationship Id="rId26" Type="http://schemas.openxmlformats.org/officeDocument/2006/relationships/slideLayout" Target="../slideLayouts/slideLayout443.xml"/><Relationship Id="rId39" Type="http://schemas.openxmlformats.org/officeDocument/2006/relationships/slideLayout" Target="../slideLayouts/slideLayout456.xml"/><Relationship Id="rId21" Type="http://schemas.openxmlformats.org/officeDocument/2006/relationships/slideLayout" Target="../slideLayouts/slideLayout438.xml"/><Relationship Id="rId34" Type="http://schemas.openxmlformats.org/officeDocument/2006/relationships/slideLayout" Target="../slideLayouts/slideLayout451.xml"/><Relationship Id="rId42" Type="http://schemas.openxmlformats.org/officeDocument/2006/relationships/slideLayout" Target="../slideLayouts/slideLayout459.xml"/><Relationship Id="rId47" Type="http://schemas.openxmlformats.org/officeDocument/2006/relationships/slideLayout" Target="../slideLayouts/slideLayout464.xml"/><Relationship Id="rId50" Type="http://schemas.openxmlformats.org/officeDocument/2006/relationships/slideLayout" Target="../slideLayouts/slideLayout467.xml"/><Relationship Id="rId7" Type="http://schemas.openxmlformats.org/officeDocument/2006/relationships/slideLayout" Target="../slideLayouts/slideLayout424.xml"/><Relationship Id="rId2" Type="http://schemas.openxmlformats.org/officeDocument/2006/relationships/slideLayout" Target="../slideLayouts/slideLayout419.xml"/><Relationship Id="rId16" Type="http://schemas.openxmlformats.org/officeDocument/2006/relationships/slideLayout" Target="../slideLayouts/slideLayout433.xml"/><Relationship Id="rId29" Type="http://schemas.openxmlformats.org/officeDocument/2006/relationships/slideLayout" Target="../slideLayouts/slideLayout446.xml"/><Relationship Id="rId11" Type="http://schemas.openxmlformats.org/officeDocument/2006/relationships/slideLayout" Target="../slideLayouts/slideLayout428.xml"/><Relationship Id="rId24" Type="http://schemas.openxmlformats.org/officeDocument/2006/relationships/slideLayout" Target="../slideLayouts/slideLayout441.xml"/><Relationship Id="rId32" Type="http://schemas.openxmlformats.org/officeDocument/2006/relationships/slideLayout" Target="../slideLayouts/slideLayout449.xml"/><Relationship Id="rId37" Type="http://schemas.openxmlformats.org/officeDocument/2006/relationships/slideLayout" Target="../slideLayouts/slideLayout454.xml"/><Relationship Id="rId40" Type="http://schemas.openxmlformats.org/officeDocument/2006/relationships/slideLayout" Target="../slideLayouts/slideLayout457.xml"/><Relationship Id="rId45" Type="http://schemas.openxmlformats.org/officeDocument/2006/relationships/slideLayout" Target="../slideLayouts/slideLayout462.xml"/><Relationship Id="rId5" Type="http://schemas.openxmlformats.org/officeDocument/2006/relationships/slideLayout" Target="../slideLayouts/slideLayout422.xml"/><Relationship Id="rId15" Type="http://schemas.openxmlformats.org/officeDocument/2006/relationships/slideLayout" Target="../slideLayouts/slideLayout432.xml"/><Relationship Id="rId23" Type="http://schemas.openxmlformats.org/officeDocument/2006/relationships/slideLayout" Target="../slideLayouts/slideLayout440.xml"/><Relationship Id="rId28" Type="http://schemas.openxmlformats.org/officeDocument/2006/relationships/slideLayout" Target="../slideLayouts/slideLayout445.xml"/><Relationship Id="rId36" Type="http://schemas.openxmlformats.org/officeDocument/2006/relationships/slideLayout" Target="../slideLayouts/slideLayout453.xml"/><Relationship Id="rId49" Type="http://schemas.openxmlformats.org/officeDocument/2006/relationships/slideLayout" Target="../slideLayouts/slideLayout466.xml"/><Relationship Id="rId10" Type="http://schemas.openxmlformats.org/officeDocument/2006/relationships/slideLayout" Target="../slideLayouts/slideLayout427.xml"/><Relationship Id="rId19" Type="http://schemas.openxmlformats.org/officeDocument/2006/relationships/slideLayout" Target="../slideLayouts/slideLayout436.xml"/><Relationship Id="rId31" Type="http://schemas.openxmlformats.org/officeDocument/2006/relationships/slideLayout" Target="../slideLayouts/slideLayout448.xml"/><Relationship Id="rId44" Type="http://schemas.openxmlformats.org/officeDocument/2006/relationships/slideLayout" Target="../slideLayouts/slideLayout461.xml"/><Relationship Id="rId52" Type="http://schemas.openxmlformats.org/officeDocument/2006/relationships/theme" Target="../theme/theme10.xml"/><Relationship Id="rId4" Type="http://schemas.openxmlformats.org/officeDocument/2006/relationships/slideLayout" Target="../slideLayouts/slideLayout421.xml"/><Relationship Id="rId9" Type="http://schemas.openxmlformats.org/officeDocument/2006/relationships/slideLayout" Target="../slideLayouts/slideLayout426.xml"/><Relationship Id="rId14" Type="http://schemas.openxmlformats.org/officeDocument/2006/relationships/slideLayout" Target="../slideLayouts/slideLayout431.xml"/><Relationship Id="rId22" Type="http://schemas.openxmlformats.org/officeDocument/2006/relationships/slideLayout" Target="../slideLayouts/slideLayout439.xml"/><Relationship Id="rId27" Type="http://schemas.openxmlformats.org/officeDocument/2006/relationships/slideLayout" Target="../slideLayouts/slideLayout444.xml"/><Relationship Id="rId30" Type="http://schemas.openxmlformats.org/officeDocument/2006/relationships/slideLayout" Target="../slideLayouts/slideLayout447.xml"/><Relationship Id="rId35" Type="http://schemas.openxmlformats.org/officeDocument/2006/relationships/slideLayout" Target="../slideLayouts/slideLayout452.xml"/><Relationship Id="rId43" Type="http://schemas.openxmlformats.org/officeDocument/2006/relationships/slideLayout" Target="../slideLayouts/slideLayout460.xml"/><Relationship Id="rId48" Type="http://schemas.openxmlformats.org/officeDocument/2006/relationships/slideLayout" Target="../slideLayouts/slideLayout465.xml"/><Relationship Id="rId8" Type="http://schemas.openxmlformats.org/officeDocument/2006/relationships/slideLayout" Target="../slideLayouts/slideLayout425.xml"/><Relationship Id="rId51" Type="http://schemas.openxmlformats.org/officeDocument/2006/relationships/slideLayout" Target="../slideLayouts/slideLayout468.xml"/><Relationship Id="rId3" Type="http://schemas.openxmlformats.org/officeDocument/2006/relationships/slideLayout" Target="../slideLayouts/slideLayout420.xml"/><Relationship Id="rId12" Type="http://schemas.openxmlformats.org/officeDocument/2006/relationships/slideLayout" Target="../slideLayouts/slideLayout429.xml"/><Relationship Id="rId17" Type="http://schemas.openxmlformats.org/officeDocument/2006/relationships/slideLayout" Target="../slideLayouts/slideLayout434.xml"/><Relationship Id="rId25" Type="http://schemas.openxmlformats.org/officeDocument/2006/relationships/slideLayout" Target="../slideLayouts/slideLayout442.xml"/><Relationship Id="rId33" Type="http://schemas.openxmlformats.org/officeDocument/2006/relationships/slideLayout" Target="../slideLayouts/slideLayout450.xml"/><Relationship Id="rId38" Type="http://schemas.openxmlformats.org/officeDocument/2006/relationships/slideLayout" Target="../slideLayouts/slideLayout455.xml"/><Relationship Id="rId46" Type="http://schemas.openxmlformats.org/officeDocument/2006/relationships/slideLayout" Target="../slideLayouts/slideLayout463.xml"/><Relationship Id="rId20" Type="http://schemas.openxmlformats.org/officeDocument/2006/relationships/slideLayout" Target="../slideLayouts/slideLayout437.xml"/><Relationship Id="rId41" Type="http://schemas.openxmlformats.org/officeDocument/2006/relationships/slideLayout" Target="../slideLayouts/slideLayout458.xml"/><Relationship Id="rId1" Type="http://schemas.openxmlformats.org/officeDocument/2006/relationships/slideLayout" Target="../slideLayouts/slideLayout418.xml"/><Relationship Id="rId6" Type="http://schemas.openxmlformats.org/officeDocument/2006/relationships/slideLayout" Target="../slideLayouts/slideLayout423.xml"/></Relationships>
</file>

<file path=ppt/slideMasters/_rels/slideMaster11.xml.rels><?xml version="1.0" encoding="UTF-8" standalone="yes"?>
<Relationships xmlns="http://schemas.openxmlformats.org/package/2006/relationships"><Relationship Id="rId117" Type="http://schemas.openxmlformats.org/officeDocument/2006/relationships/slideLayout" Target="../slideLayouts/slideLayout585.xml"/><Relationship Id="rId21" Type="http://schemas.openxmlformats.org/officeDocument/2006/relationships/slideLayout" Target="../slideLayouts/slideLayout489.xml"/><Relationship Id="rId42" Type="http://schemas.openxmlformats.org/officeDocument/2006/relationships/slideLayout" Target="../slideLayouts/slideLayout510.xml"/><Relationship Id="rId63" Type="http://schemas.openxmlformats.org/officeDocument/2006/relationships/slideLayout" Target="../slideLayouts/slideLayout531.xml"/><Relationship Id="rId84" Type="http://schemas.openxmlformats.org/officeDocument/2006/relationships/slideLayout" Target="../slideLayouts/slideLayout552.xml"/><Relationship Id="rId138" Type="http://schemas.openxmlformats.org/officeDocument/2006/relationships/slideLayout" Target="../slideLayouts/slideLayout606.xml"/><Relationship Id="rId159" Type="http://schemas.openxmlformats.org/officeDocument/2006/relationships/slideLayout" Target="../slideLayouts/slideLayout627.xml"/><Relationship Id="rId170" Type="http://schemas.openxmlformats.org/officeDocument/2006/relationships/slideLayout" Target="../slideLayouts/slideLayout638.xml"/><Relationship Id="rId107" Type="http://schemas.openxmlformats.org/officeDocument/2006/relationships/slideLayout" Target="../slideLayouts/slideLayout575.xml"/><Relationship Id="rId11" Type="http://schemas.openxmlformats.org/officeDocument/2006/relationships/slideLayout" Target="../slideLayouts/slideLayout479.xml"/><Relationship Id="rId32" Type="http://schemas.openxmlformats.org/officeDocument/2006/relationships/slideLayout" Target="../slideLayouts/slideLayout500.xml"/><Relationship Id="rId53" Type="http://schemas.openxmlformats.org/officeDocument/2006/relationships/slideLayout" Target="../slideLayouts/slideLayout521.xml"/><Relationship Id="rId74" Type="http://schemas.openxmlformats.org/officeDocument/2006/relationships/slideLayout" Target="../slideLayouts/slideLayout542.xml"/><Relationship Id="rId128" Type="http://schemas.openxmlformats.org/officeDocument/2006/relationships/slideLayout" Target="../slideLayouts/slideLayout596.xml"/><Relationship Id="rId149" Type="http://schemas.openxmlformats.org/officeDocument/2006/relationships/slideLayout" Target="../slideLayouts/slideLayout617.xml"/><Relationship Id="rId5" Type="http://schemas.openxmlformats.org/officeDocument/2006/relationships/slideLayout" Target="../slideLayouts/slideLayout473.xml"/><Relationship Id="rId95" Type="http://schemas.openxmlformats.org/officeDocument/2006/relationships/slideLayout" Target="../slideLayouts/slideLayout563.xml"/><Relationship Id="rId160" Type="http://schemas.openxmlformats.org/officeDocument/2006/relationships/slideLayout" Target="../slideLayouts/slideLayout628.xml"/><Relationship Id="rId181" Type="http://schemas.openxmlformats.org/officeDocument/2006/relationships/slideLayout" Target="../slideLayouts/slideLayout649.xml"/><Relationship Id="rId22" Type="http://schemas.openxmlformats.org/officeDocument/2006/relationships/slideLayout" Target="../slideLayouts/slideLayout490.xml"/><Relationship Id="rId43" Type="http://schemas.openxmlformats.org/officeDocument/2006/relationships/slideLayout" Target="../slideLayouts/slideLayout511.xml"/><Relationship Id="rId64" Type="http://schemas.openxmlformats.org/officeDocument/2006/relationships/slideLayout" Target="../slideLayouts/slideLayout532.xml"/><Relationship Id="rId118" Type="http://schemas.openxmlformats.org/officeDocument/2006/relationships/slideLayout" Target="../slideLayouts/slideLayout586.xml"/><Relationship Id="rId139" Type="http://schemas.openxmlformats.org/officeDocument/2006/relationships/slideLayout" Target="../slideLayouts/slideLayout607.xml"/><Relationship Id="rId85" Type="http://schemas.openxmlformats.org/officeDocument/2006/relationships/slideLayout" Target="../slideLayouts/slideLayout553.xml"/><Relationship Id="rId150" Type="http://schemas.openxmlformats.org/officeDocument/2006/relationships/slideLayout" Target="../slideLayouts/slideLayout618.xml"/><Relationship Id="rId171" Type="http://schemas.openxmlformats.org/officeDocument/2006/relationships/slideLayout" Target="../slideLayouts/slideLayout639.xml"/><Relationship Id="rId12" Type="http://schemas.openxmlformats.org/officeDocument/2006/relationships/slideLayout" Target="../slideLayouts/slideLayout480.xml"/><Relationship Id="rId33" Type="http://schemas.openxmlformats.org/officeDocument/2006/relationships/slideLayout" Target="../slideLayouts/slideLayout501.xml"/><Relationship Id="rId108" Type="http://schemas.openxmlformats.org/officeDocument/2006/relationships/slideLayout" Target="../slideLayouts/slideLayout576.xml"/><Relationship Id="rId129" Type="http://schemas.openxmlformats.org/officeDocument/2006/relationships/slideLayout" Target="../slideLayouts/slideLayout597.xml"/><Relationship Id="rId54" Type="http://schemas.openxmlformats.org/officeDocument/2006/relationships/slideLayout" Target="../slideLayouts/slideLayout522.xml"/><Relationship Id="rId75" Type="http://schemas.openxmlformats.org/officeDocument/2006/relationships/slideLayout" Target="../slideLayouts/slideLayout543.xml"/><Relationship Id="rId96" Type="http://schemas.openxmlformats.org/officeDocument/2006/relationships/slideLayout" Target="../slideLayouts/slideLayout564.xml"/><Relationship Id="rId140" Type="http://schemas.openxmlformats.org/officeDocument/2006/relationships/slideLayout" Target="../slideLayouts/slideLayout608.xml"/><Relationship Id="rId161" Type="http://schemas.openxmlformats.org/officeDocument/2006/relationships/slideLayout" Target="../slideLayouts/slideLayout629.xml"/><Relationship Id="rId182" Type="http://schemas.openxmlformats.org/officeDocument/2006/relationships/slideLayout" Target="../slideLayouts/slideLayout650.xml"/><Relationship Id="rId6" Type="http://schemas.openxmlformats.org/officeDocument/2006/relationships/slideLayout" Target="../slideLayouts/slideLayout474.xml"/><Relationship Id="rId23" Type="http://schemas.openxmlformats.org/officeDocument/2006/relationships/slideLayout" Target="../slideLayouts/slideLayout491.xml"/><Relationship Id="rId119" Type="http://schemas.openxmlformats.org/officeDocument/2006/relationships/slideLayout" Target="../slideLayouts/slideLayout587.xml"/><Relationship Id="rId44" Type="http://schemas.openxmlformats.org/officeDocument/2006/relationships/slideLayout" Target="../slideLayouts/slideLayout512.xml"/><Relationship Id="rId60" Type="http://schemas.openxmlformats.org/officeDocument/2006/relationships/slideLayout" Target="../slideLayouts/slideLayout528.xml"/><Relationship Id="rId65" Type="http://schemas.openxmlformats.org/officeDocument/2006/relationships/slideLayout" Target="../slideLayouts/slideLayout533.xml"/><Relationship Id="rId81" Type="http://schemas.openxmlformats.org/officeDocument/2006/relationships/slideLayout" Target="../slideLayouts/slideLayout549.xml"/><Relationship Id="rId86" Type="http://schemas.openxmlformats.org/officeDocument/2006/relationships/slideLayout" Target="../slideLayouts/slideLayout554.xml"/><Relationship Id="rId130" Type="http://schemas.openxmlformats.org/officeDocument/2006/relationships/slideLayout" Target="../slideLayouts/slideLayout598.xml"/><Relationship Id="rId135" Type="http://schemas.openxmlformats.org/officeDocument/2006/relationships/slideLayout" Target="../slideLayouts/slideLayout603.xml"/><Relationship Id="rId151" Type="http://schemas.openxmlformats.org/officeDocument/2006/relationships/slideLayout" Target="../slideLayouts/slideLayout619.xml"/><Relationship Id="rId156" Type="http://schemas.openxmlformats.org/officeDocument/2006/relationships/slideLayout" Target="../slideLayouts/slideLayout624.xml"/><Relationship Id="rId177" Type="http://schemas.openxmlformats.org/officeDocument/2006/relationships/slideLayout" Target="../slideLayouts/slideLayout645.xml"/><Relationship Id="rId172" Type="http://schemas.openxmlformats.org/officeDocument/2006/relationships/slideLayout" Target="../slideLayouts/slideLayout640.xml"/><Relationship Id="rId13" Type="http://schemas.openxmlformats.org/officeDocument/2006/relationships/slideLayout" Target="../slideLayouts/slideLayout481.xml"/><Relationship Id="rId18" Type="http://schemas.openxmlformats.org/officeDocument/2006/relationships/slideLayout" Target="../slideLayouts/slideLayout486.xml"/><Relationship Id="rId39" Type="http://schemas.openxmlformats.org/officeDocument/2006/relationships/slideLayout" Target="../slideLayouts/slideLayout507.xml"/><Relationship Id="rId109" Type="http://schemas.openxmlformats.org/officeDocument/2006/relationships/slideLayout" Target="../slideLayouts/slideLayout577.xml"/><Relationship Id="rId34" Type="http://schemas.openxmlformats.org/officeDocument/2006/relationships/slideLayout" Target="../slideLayouts/slideLayout502.xml"/><Relationship Id="rId50" Type="http://schemas.openxmlformats.org/officeDocument/2006/relationships/slideLayout" Target="../slideLayouts/slideLayout518.xml"/><Relationship Id="rId55" Type="http://schemas.openxmlformats.org/officeDocument/2006/relationships/slideLayout" Target="../slideLayouts/slideLayout523.xml"/><Relationship Id="rId76" Type="http://schemas.openxmlformats.org/officeDocument/2006/relationships/slideLayout" Target="../slideLayouts/slideLayout544.xml"/><Relationship Id="rId97" Type="http://schemas.openxmlformats.org/officeDocument/2006/relationships/slideLayout" Target="../slideLayouts/slideLayout565.xml"/><Relationship Id="rId104" Type="http://schemas.openxmlformats.org/officeDocument/2006/relationships/slideLayout" Target="../slideLayouts/slideLayout572.xml"/><Relationship Id="rId120" Type="http://schemas.openxmlformats.org/officeDocument/2006/relationships/slideLayout" Target="../slideLayouts/slideLayout588.xml"/><Relationship Id="rId125" Type="http://schemas.openxmlformats.org/officeDocument/2006/relationships/slideLayout" Target="../slideLayouts/slideLayout593.xml"/><Relationship Id="rId141" Type="http://schemas.openxmlformats.org/officeDocument/2006/relationships/slideLayout" Target="../slideLayouts/slideLayout609.xml"/><Relationship Id="rId146" Type="http://schemas.openxmlformats.org/officeDocument/2006/relationships/slideLayout" Target="../slideLayouts/slideLayout614.xml"/><Relationship Id="rId167" Type="http://schemas.openxmlformats.org/officeDocument/2006/relationships/slideLayout" Target="../slideLayouts/slideLayout635.xml"/><Relationship Id="rId7" Type="http://schemas.openxmlformats.org/officeDocument/2006/relationships/slideLayout" Target="../slideLayouts/slideLayout475.xml"/><Relationship Id="rId71" Type="http://schemas.openxmlformats.org/officeDocument/2006/relationships/slideLayout" Target="../slideLayouts/slideLayout539.xml"/><Relationship Id="rId92" Type="http://schemas.openxmlformats.org/officeDocument/2006/relationships/slideLayout" Target="../slideLayouts/slideLayout560.xml"/><Relationship Id="rId162" Type="http://schemas.openxmlformats.org/officeDocument/2006/relationships/slideLayout" Target="../slideLayouts/slideLayout630.xml"/><Relationship Id="rId183" Type="http://schemas.openxmlformats.org/officeDocument/2006/relationships/slideLayout" Target="../slideLayouts/slideLayout651.xml"/><Relationship Id="rId2" Type="http://schemas.openxmlformats.org/officeDocument/2006/relationships/slideLayout" Target="../slideLayouts/slideLayout470.xml"/><Relationship Id="rId29" Type="http://schemas.openxmlformats.org/officeDocument/2006/relationships/slideLayout" Target="../slideLayouts/slideLayout497.xml"/><Relationship Id="rId24" Type="http://schemas.openxmlformats.org/officeDocument/2006/relationships/slideLayout" Target="../slideLayouts/slideLayout492.xml"/><Relationship Id="rId40" Type="http://schemas.openxmlformats.org/officeDocument/2006/relationships/slideLayout" Target="../slideLayouts/slideLayout508.xml"/><Relationship Id="rId45" Type="http://schemas.openxmlformats.org/officeDocument/2006/relationships/slideLayout" Target="../slideLayouts/slideLayout513.xml"/><Relationship Id="rId66" Type="http://schemas.openxmlformats.org/officeDocument/2006/relationships/slideLayout" Target="../slideLayouts/slideLayout534.xml"/><Relationship Id="rId87" Type="http://schemas.openxmlformats.org/officeDocument/2006/relationships/slideLayout" Target="../slideLayouts/slideLayout555.xml"/><Relationship Id="rId110" Type="http://schemas.openxmlformats.org/officeDocument/2006/relationships/slideLayout" Target="../slideLayouts/slideLayout578.xml"/><Relationship Id="rId115" Type="http://schemas.openxmlformats.org/officeDocument/2006/relationships/slideLayout" Target="../slideLayouts/slideLayout583.xml"/><Relationship Id="rId131" Type="http://schemas.openxmlformats.org/officeDocument/2006/relationships/slideLayout" Target="../slideLayouts/slideLayout599.xml"/><Relationship Id="rId136" Type="http://schemas.openxmlformats.org/officeDocument/2006/relationships/slideLayout" Target="../slideLayouts/slideLayout604.xml"/><Relationship Id="rId157" Type="http://schemas.openxmlformats.org/officeDocument/2006/relationships/slideLayout" Target="../slideLayouts/slideLayout625.xml"/><Relationship Id="rId178" Type="http://schemas.openxmlformats.org/officeDocument/2006/relationships/slideLayout" Target="../slideLayouts/slideLayout646.xml"/><Relationship Id="rId61" Type="http://schemas.openxmlformats.org/officeDocument/2006/relationships/slideLayout" Target="../slideLayouts/slideLayout529.xml"/><Relationship Id="rId82" Type="http://schemas.openxmlformats.org/officeDocument/2006/relationships/slideLayout" Target="../slideLayouts/slideLayout550.xml"/><Relationship Id="rId152" Type="http://schemas.openxmlformats.org/officeDocument/2006/relationships/slideLayout" Target="../slideLayouts/slideLayout620.xml"/><Relationship Id="rId173" Type="http://schemas.openxmlformats.org/officeDocument/2006/relationships/slideLayout" Target="../slideLayouts/slideLayout641.xml"/><Relationship Id="rId19" Type="http://schemas.openxmlformats.org/officeDocument/2006/relationships/slideLayout" Target="../slideLayouts/slideLayout487.xml"/><Relationship Id="rId14" Type="http://schemas.openxmlformats.org/officeDocument/2006/relationships/slideLayout" Target="../slideLayouts/slideLayout482.xml"/><Relationship Id="rId30" Type="http://schemas.openxmlformats.org/officeDocument/2006/relationships/slideLayout" Target="../slideLayouts/slideLayout498.xml"/><Relationship Id="rId35" Type="http://schemas.openxmlformats.org/officeDocument/2006/relationships/slideLayout" Target="../slideLayouts/slideLayout503.xml"/><Relationship Id="rId56" Type="http://schemas.openxmlformats.org/officeDocument/2006/relationships/slideLayout" Target="../slideLayouts/slideLayout524.xml"/><Relationship Id="rId77" Type="http://schemas.openxmlformats.org/officeDocument/2006/relationships/slideLayout" Target="../slideLayouts/slideLayout545.xml"/><Relationship Id="rId100" Type="http://schemas.openxmlformats.org/officeDocument/2006/relationships/slideLayout" Target="../slideLayouts/slideLayout568.xml"/><Relationship Id="rId105" Type="http://schemas.openxmlformats.org/officeDocument/2006/relationships/slideLayout" Target="../slideLayouts/slideLayout573.xml"/><Relationship Id="rId126" Type="http://schemas.openxmlformats.org/officeDocument/2006/relationships/slideLayout" Target="../slideLayouts/slideLayout594.xml"/><Relationship Id="rId147" Type="http://schemas.openxmlformats.org/officeDocument/2006/relationships/slideLayout" Target="../slideLayouts/slideLayout615.xml"/><Relationship Id="rId168" Type="http://schemas.openxmlformats.org/officeDocument/2006/relationships/slideLayout" Target="../slideLayouts/slideLayout636.xml"/><Relationship Id="rId8" Type="http://schemas.openxmlformats.org/officeDocument/2006/relationships/slideLayout" Target="../slideLayouts/slideLayout476.xml"/><Relationship Id="rId51" Type="http://schemas.openxmlformats.org/officeDocument/2006/relationships/slideLayout" Target="../slideLayouts/slideLayout519.xml"/><Relationship Id="rId72" Type="http://schemas.openxmlformats.org/officeDocument/2006/relationships/slideLayout" Target="../slideLayouts/slideLayout540.xml"/><Relationship Id="rId93" Type="http://schemas.openxmlformats.org/officeDocument/2006/relationships/slideLayout" Target="../slideLayouts/slideLayout561.xml"/><Relationship Id="rId98" Type="http://schemas.openxmlformats.org/officeDocument/2006/relationships/slideLayout" Target="../slideLayouts/slideLayout566.xml"/><Relationship Id="rId121" Type="http://schemas.openxmlformats.org/officeDocument/2006/relationships/slideLayout" Target="../slideLayouts/slideLayout589.xml"/><Relationship Id="rId142" Type="http://schemas.openxmlformats.org/officeDocument/2006/relationships/slideLayout" Target="../slideLayouts/slideLayout610.xml"/><Relationship Id="rId163" Type="http://schemas.openxmlformats.org/officeDocument/2006/relationships/slideLayout" Target="../slideLayouts/slideLayout631.xml"/><Relationship Id="rId184" Type="http://schemas.openxmlformats.org/officeDocument/2006/relationships/theme" Target="../theme/theme11.xml"/><Relationship Id="rId3" Type="http://schemas.openxmlformats.org/officeDocument/2006/relationships/slideLayout" Target="../slideLayouts/slideLayout471.xml"/><Relationship Id="rId25" Type="http://schemas.openxmlformats.org/officeDocument/2006/relationships/slideLayout" Target="../slideLayouts/slideLayout493.xml"/><Relationship Id="rId46" Type="http://schemas.openxmlformats.org/officeDocument/2006/relationships/slideLayout" Target="../slideLayouts/slideLayout514.xml"/><Relationship Id="rId67" Type="http://schemas.openxmlformats.org/officeDocument/2006/relationships/slideLayout" Target="../slideLayouts/slideLayout535.xml"/><Relationship Id="rId116" Type="http://schemas.openxmlformats.org/officeDocument/2006/relationships/slideLayout" Target="../slideLayouts/slideLayout584.xml"/><Relationship Id="rId137" Type="http://schemas.openxmlformats.org/officeDocument/2006/relationships/slideLayout" Target="../slideLayouts/slideLayout605.xml"/><Relationship Id="rId158" Type="http://schemas.openxmlformats.org/officeDocument/2006/relationships/slideLayout" Target="../slideLayouts/slideLayout626.xml"/><Relationship Id="rId20" Type="http://schemas.openxmlformats.org/officeDocument/2006/relationships/slideLayout" Target="../slideLayouts/slideLayout488.xml"/><Relationship Id="rId41" Type="http://schemas.openxmlformats.org/officeDocument/2006/relationships/slideLayout" Target="../slideLayouts/slideLayout509.xml"/><Relationship Id="rId62" Type="http://schemas.openxmlformats.org/officeDocument/2006/relationships/slideLayout" Target="../slideLayouts/slideLayout530.xml"/><Relationship Id="rId83" Type="http://schemas.openxmlformats.org/officeDocument/2006/relationships/slideLayout" Target="../slideLayouts/slideLayout551.xml"/><Relationship Id="rId88" Type="http://schemas.openxmlformats.org/officeDocument/2006/relationships/slideLayout" Target="../slideLayouts/slideLayout556.xml"/><Relationship Id="rId111" Type="http://schemas.openxmlformats.org/officeDocument/2006/relationships/slideLayout" Target="../slideLayouts/slideLayout579.xml"/><Relationship Id="rId132" Type="http://schemas.openxmlformats.org/officeDocument/2006/relationships/slideLayout" Target="../slideLayouts/slideLayout600.xml"/><Relationship Id="rId153" Type="http://schemas.openxmlformats.org/officeDocument/2006/relationships/slideLayout" Target="../slideLayouts/slideLayout621.xml"/><Relationship Id="rId174" Type="http://schemas.openxmlformats.org/officeDocument/2006/relationships/slideLayout" Target="../slideLayouts/slideLayout642.xml"/><Relationship Id="rId179" Type="http://schemas.openxmlformats.org/officeDocument/2006/relationships/slideLayout" Target="../slideLayouts/slideLayout647.xml"/><Relationship Id="rId15" Type="http://schemas.openxmlformats.org/officeDocument/2006/relationships/slideLayout" Target="../slideLayouts/slideLayout483.xml"/><Relationship Id="rId36" Type="http://schemas.openxmlformats.org/officeDocument/2006/relationships/slideLayout" Target="../slideLayouts/slideLayout504.xml"/><Relationship Id="rId57" Type="http://schemas.openxmlformats.org/officeDocument/2006/relationships/slideLayout" Target="../slideLayouts/slideLayout525.xml"/><Relationship Id="rId106" Type="http://schemas.openxmlformats.org/officeDocument/2006/relationships/slideLayout" Target="../slideLayouts/slideLayout574.xml"/><Relationship Id="rId127" Type="http://schemas.openxmlformats.org/officeDocument/2006/relationships/slideLayout" Target="../slideLayouts/slideLayout595.xml"/><Relationship Id="rId10" Type="http://schemas.openxmlformats.org/officeDocument/2006/relationships/slideLayout" Target="../slideLayouts/slideLayout478.xml"/><Relationship Id="rId31" Type="http://schemas.openxmlformats.org/officeDocument/2006/relationships/slideLayout" Target="../slideLayouts/slideLayout499.xml"/><Relationship Id="rId52" Type="http://schemas.openxmlformats.org/officeDocument/2006/relationships/slideLayout" Target="../slideLayouts/slideLayout520.xml"/><Relationship Id="rId73" Type="http://schemas.openxmlformats.org/officeDocument/2006/relationships/slideLayout" Target="../slideLayouts/slideLayout541.xml"/><Relationship Id="rId78" Type="http://schemas.openxmlformats.org/officeDocument/2006/relationships/slideLayout" Target="../slideLayouts/slideLayout546.xml"/><Relationship Id="rId94" Type="http://schemas.openxmlformats.org/officeDocument/2006/relationships/slideLayout" Target="../slideLayouts/slideLayout562.xml"/><Relationship Id="rId99" Type="http://schemas.openxmlformats.org/officeDocument/2006/relationships/slideLayout" Target="../slideLayouts/slideLayout567.xml"/><Relationship Id="rId101" Type="http://schemas.openxmlformats.org/officeDocument/2006/relationships/slideLayout" Target="../slideLayouts/slideLayout569.xml"/><Relationship Id="rId122" Type="http://schemas.openxmlformats.org/officeDocument/2006/relationships/slideLayout" Target="../slideLayouts/slideLayout590.xml"/><Relationship Id="rId143" Type="http://schemas.openxmlformats.org/officeDocument/2006/relationships/slideLayout" Target="../slideLayouts/slideLayout611.xml"/><Relationship Id="rId148" Type="http://schemas.openxmlformats.org/officeDocument/2006/relationships/slideLayout" Target="../slideLayouts/slideLayout616.xml"/><Relationship Id="rId164" Type="http://schemas.openxmlformats.org/officeDocument/2006/relationships/slideLayout" Target="../slideLayouts/slideLayout632.xml"/><Relationship Id="rId169" Type="http://schemas.openxmlformats.org/officeDocument/2006/relationships/slideLayout" Target="../slideLayouts/slideLayout637.xml"/><Relationship Id="rId4" Type="http://schemas.openxmlformats.org/officeDocument/2006/relationships/slideLayout" Target="../slideLayouts/slideLayout472.xml"/><Relationship Id="rId9" Type="http://schemas.openxmlformats.org/officeDocument/2006/relationships/slideLayout" Target="../slideLayouts/slideLayout477.xml"/><Relationship Id="rId180" Type="http://schemas.openxmlformats.org/officeDocument/2006/relationships/slideLayout" Target="../slideLayouts/slideLayout648.xml"/><Relationship Id="rId26" Type="http://schemas.openxmlformats.org/officeDocument/2006/relationships/slideLayout" Target="../slideLayouts/slideLayout494.xml"/><Relationship Id="rId47" Type="http://schemas.openxmlformats.org/officeDocument/2006/relationships/slideLayout" Target="../slideLayouts/slideLayout515.xml"/><Relationship Id="rId68" Type="http://schemas.openxmlformats.org/officeDocument/2006/relationships/slideLayout" Target="../slideLayouts/slideLayout536.xml"/><Relationship Id="rId89" Type="http://schemas.openxmlformats.org/officeDocument/2006/relationships/slideLayout" Target="../slideLayouts/slideLayout557.xml"/><Relationship Id="rId112" Type="http://schemas.openxmlformats.org/officeDocument/2006/relationships/slideLayout" Target="../slideLayouts/slideLayout580.xml"/><Relationship Id="rId133" Type="http://schemas.openxmlformats.org/officeDocument/2006/relationships/slideLayout" Target="../slideLayouts/slideLayout601.xml"/><Relationship Id="rId154" Type="http://schemas.openxmlformats.org/officeDocument/2006/relationships/slideLayout" Target="../slideLayouts/slideLayout622.xml"/><Relationship Id="rId175" Type="http://schemas.openxmlformats.org/officeDocument/2006/relationships/slideLayout" Target="../slideLayouts/slideLayout643.xml"/><Relationship Id="rId16" Type="http://schemas.openxmlformats.org/officeDocument/2006/relationships/slideLayout" Target="../slideLayouts/slideLayout484.xml"/><Relationship Id="rId37" Type="http://schemas.openxmlformats.org/officeDocument/2006/relationships/slideLayout" Target="../slideLayouts/slideLayout505.xml"/><Relationship Id="rId58" Type="http://schemas.openxmlformats.org/officeDocument/2006/relationships/slideLayout" Target="../slideLayouts/slideLayout526.xml"/><Relationship Id="rId79" Type="http://schemas.openxmlformats.org/officeDocument/2006/relationships/slideLayout" Target="../slideLayouts/slideLayout547.xml"/><Relationship Id="rId102" Type="http://schemas.openxmlformats.org/officeDocument/2006/relationships/slideLayout" Target="../slideLayouts/slideLayout570.xml"/><Relationship Id="rId123" Type="http://schemas.openxmlformats.org/officeDocument/2006/relationships/slideLayout" Target="../slideLayouts/slideLayout591.xml"/><Relationship Id="rId144" Type="http://schemas.openxmlformats.org/officeDocument/2006/relationships/slideLayout" Target="../slideLayouts/slideLayout612.xml"/><Relationship Id="rId90" Type="http://schemas.openxmlformats.org/officeDocument/2006/relationships/slideLayout" Target="../slideLayouts/slideLayout558.xml"/><Relationship Id="rId165" Type="http://schemas.openxmlformats.org/officeDocument/2006/relationships/slideLayout" Target="../slideLayouts/slideLayout633.xml"/><Relationship Id="rId27" Type="http://schemas.openxmlformats.org/officeDocument/2006/relationships/slideLayout" Target="../slideLayouts/slideLayout495.xml"/><Relationship Id="rId48" Type="http://schemas.openxmlformats.org/officeDocument/2006/relationships/slideLayout" Target="../slideLayouts/slideLayout516.xml"/><Relationship Id="rId69" Type="http://schemas.openxmlformats.org/officeDocument/2006/relationships/slideLayout" Target="../slideLayouts/slideLayout537.xml"/><Relationship Id="rId113" Type="http://schemas.openxmlformats.org/officeDocument/2006/relationships/slideLayout" Target="../slideLayouts/slideLayout581.xml"/><Relationship Id="rId134" Type="http://schemas.openxmlformats.org/officeDocument/2006/relationships/slideLayout" Target="../slideLayouts/slideLayout602.xml"/><Relationship Id="rId80" Type="http://schemas.openxmlformats.org/officeDocument/2006/relationships/slideLayout" Target="../slideLayouts/slideLayout548.xml"/><Relationship Id="rId155" Type="http://schemas.openxmlformats.org/officeDocument/2006/relationships/slideLayout" Target="../slideLayouts/slideLayout623.xml"/><Relationship Id="rId176" Type="http://schemas.openxmlformats.org/officeDocument/2006/relationships/slideLayout" Target="../slideLayouts/slideLayout644.xml"/><Relationship Id="rId17" Type="http://schemas.openxmlformats.org/officeDocument/2006/relationships/slideLayout" Target="../slideLayouts/slideLayout485.xml"/><Relationship Id="rId38" Type="http://schemas.openxmlformats.org/officeDocument/2006/relationships/slideLayout" Target="../slideLayouts/slideLayout506.xml"/><Relationship Id="rId59" Type="http://schemas.openxmlformats.org/officeDocument/2006/relationships/slideLayout" Target="../slideLayouts/slideLayout527.xml"/><Relationship Id="rId103" Type="http://schemas.openxmlformats.org/officeDocument/2006/relationships/slideLayout" Target="../slideLayouts/slideLayout571.xml"/><Relationship Id="rId124" Type="http://schemas.openxmlformats.org/officeDocument/2006/relationships/slideLayout" Target="../slideLayouts/slideLayout592.xml"/><Relationship Id="rId70" Type="http://schemas.openxmlformats.org/officeDocument/2006/relationships/slideLayout" Target="../slideLayouts/slideLayout538.xml"/><Relationship Id="rId91" Type="http://schemas.openxmlformats.org/officeDocument/2006/relationships/slideLayout" Target="../slideLayouts/slideLayout559.xml"/><Relationship Id="rId145" Type="http://schemas.openxmlformats.org/officeDocument/2006/relationships/slideLayout" Target="../slideLayouts/slideLayout613.xml"/><Relationship Id="rId166" Type="http://schemas.openxmlformats.org/officeDocument/2006/relationships/slideLayout" Target="../slideLayouts/slideLayout634.xml"/><Relationship Id="rId1" Type="http://schemas.openxmlformats.org/officeDocument/2006/relationships/slideLayout" Target="../slideLayouts/slideLayout469.xml"/><Relationship Id="rId28" Type="http://schemas.openxmlformats.org/officeDocument/2006/relationships/slideLayout" Target="../slideLayouts/slideLayout496.xml"/><Relationship Id="rId49" Type="http://schemas.openxmlformats.org/officeDocument/2006/relationships/slideLayout" Target="../slideLayouts/slideLayout517.xml"/><Relationship Id="rId114" Type="http://schemas.openxmlformats.org/officeDocument/2006/relationships/slideLayout" Target="../slideLayouts/slideLayout58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slideLayout" Target="../slideLayouts/slideLayout45.xml"/><Relationship Id="rId39" Type="http://schemas.openxmlformats.org/officeDocument/2006/relationships/slideLayout" Target="../slideLayouts/slideLayout58.xml"/><Relationship Id="rId21" Type="http://schemas.openxmlformats.org/officeDocument/2006/relationships/slideLayout" Target="../slideLayouts/slideLayout40.xml"/><Relationship Id="rId34" Type="http://schemas.openxmlformats.org/officeDocument/2006/relationships/slideLayout" Target="../slideLayouts/slideLayout53.xml"/><Relationship Id="rId42" Type="http://schemas.openxmlformats.org/officeDocument/2006/relationships/slideLayout" Target="../slideLayouts/slideLayout61.xml"/><Relationship Id="rId47" Type="http://schemas.openxmlformats.org/officeDocument/2006/relationships/slideLayout" Target="../slideLayouts/slideLayout66.xml"/><Relationship Id="rId50" Type="http://schemas.openxmlformats.org/officeDocument/2006/relationships/theme" Target="../theme/theme2.xml"/><Relationship Id="rId7" Type="http://schemas.openxmlformats.org/officeDocument/2006/relationships/slideLayout" Target="../slideLayouts/slideLayout2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9" Type="http://schemas.openxmlformats.org/officeDocument/2006/relationships/slideLayout" Target="../slideLayouts/slideLayout48.xml"/><Relationship Id="rId11" Type="http://schemas.openxmlformats.org/officeDocument/2006/relationships/slideLayout" Target="../slideLayouts/slideLayout30.xml"/><Relationship Id="rId24" Type="http://schemas.openxmlformats.org/officeDocument/2006/relationships/slideLayout" Target="../slideLayouts/slideLayout43.xml"/><Relationship Id="rId32" Type="http://schemas.openxmlformats.org/officeDocument/2006/relationships/slideLayout" Target="../slideLayouts/slideLayout51.xml"/><Relationship Id="rId37" Type="http://schemas.openxmlformats.org/officeDocument/2006/relationships/slideLayout" Target="../slideLayouts/slideLayout56.xml"/><Relationship Id="rId40" Type="http://schemas.openxmlformats.org/officeDocument/2006/relationships/slideLayout" Target="../slideLayouts/slideLayout59.xml"/><Relationship Id="rId45" Type="http://schemas.openxmlformats.org/officeDocument/2006/relationships/slideLayout" Target="../slideLayouts/slideLayout64.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28" Type="http://schemas.openxmlformats.org/officeDocument/2006/relationships/slideLayout" Target="../slideLayouts/slideLayout47.xml"/><Relationship Id="rId36" Type="http://schemas.openxmlformats.org/officeDocument/2006/relationships/slideLayout" Target="../slideLayouts/slideLayout55.xml"/><Relationship Id="rId49" Type="http://schemas.openxmlformats.org/officeDocument/2006/relationships/slideLayout" Target="../slideLayouts/slideLayout68.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31" Type="http://schemas.openxmlformats.org/officeDocument/2006/relationships/slideLayout" Target="../slideLayouts/slideLayout50.xml"/><Relationship Id="rId44" Type="http://schemas.openxmlformats.org/officeDocument/2006/relationships/slideLayout" Target="../slideLayouts/slideLayout63.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slideLayout" Target="../slideLayouts/slideLayout41.xml"/><Relationship Id="rId27" Type="http://schemas.openxmlformats.org/officeDocument/2006/relationships/slideLayout" Target="../slideLayouts/slideLayout46.xml"/><Relationship Id="rId30" Type="http://schemas.openxmlformats.org/officeDocument/2006/relationships/slideLayout" Target="../slideLayouts/slideLayout49.xml"/><Relationship Id="rId35" Type="http://schemas.openxmlformats.org/officeDocument/2006/relationships/slideLayout" Target="../slideLayouts/slideLayout54.xml"/><Relationship Id="rId43" Type="http://schemas.openxmlformats.org/officeDocument/2006/relationships/slideLayout" Target="../slideLayouts/slideLayout62.xml"/><Relationship Id="rId48" Type="http://schemas.openxmlformats.org/officeDocument/2006/relationships/slideLayout" Target="../slideLayouts/slideLayout67.xml"/><Relationship Id="rId8" Type="http://schemas.openxmlformats.org/officeDocument/2006/relationships/slideLayout" Target="../slideLayouts/slideLayout27.xml"/><Relationship Id="rId3" Type="http://schemas.openxmlformats.org/officeDocument/2006/relationships/slideLayout" Target="../slideLayouts/slideLayout22.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slideLayout" Target="../slideLayouts/slideLayout44.xml"/><Relationship Id="rId33" Type="http://schemas.openxmlformats.org/officeDocument/2006/relationships/slideLayout" Target="../slideLayouts/slideLayout52.xml"/><Relationship Id="rId38" Type="http://schemas.openxmlformats.org/officeDocument/2006/relationships/slideLayout" Target="../slideLayouts/slideLayout57.xml"/><Relationship Id="rId46" Type="http://schemas.openxmlformats.org/officeDocument/2006/relationships/slideLayout" Target="../slideLayouts/slideLayout65.xml"/><Relationship Id="rId20" Type="http://schemas.openxmlformats.org/officeDocument/2006/relationships/slideLayout" Target="../slideLayouts/slideLayout39.xml"/><Relationship Id="rId41" Type="http://schemas.openxmlformats.org/officeDocument/2006/relationships/slideLayout" Target="../slideLayouts/slideLayout60.xml"/><Relationship Id="rId1" Type="http://schemas.openxmlformats.org/officeDocument/2006/relationships/slideLayout" Target="../slideLayouts/slideLayout20.xml"/><Relationship Id="rId6"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1.xml"/><Relationship Id="rId18" Type="http://schemas.openxmlformats.org/officeDocument/2006/relationships/slideLayout" Target="../slideLayouts/slideLayout86.xml"/><Relationship Id="rId26" Type="http://schemas.openxmlformats.org/officeDocument/2006/relationships/slideLayout" Target="../slideLayouts/slideLayout94.xml"/><Relationship Id="rId39" Type="http://schemas.openxmlformats.org/officeDocument/2006/relationships/slideLayout" Target="../slideLayouts/slideLayout107.xml"/><Relationship Id="rId21" Type="http://schemas.openxmlformats.org/officeDocument/2006/relationships/slideLayout" Target="../slideLayouts/slideLayout89.xml"/><Relationship Id="rId34" Type="http://schemas.openxmlformats.org/officeDocument/2006/relationships/slideLayout" Target="../slideLayouts/slideLayout102.xml"/><Relationship Id="rId42" Type="http://schemas.openxmlformats.org/officeDocument/2006/relationships/slideLayout" Target="../slideLayouts/slideLayout110.xml"/><Relationship Id="rId47" Type="http://schemas.openxmlformats.org/officeDocument/2006/relationships/slideLayout" Target="../slideLayouts/slideLayout115.xml"/><Relationship Id="rId50" Type="http://schemas.openxmlformats.org/officeDocument/2006/relationships/theme" Target="../theme/theme3.xml"/><Relationship Id="rId7" Type="http://schemas.openxmlformats.org/officeDocument/2006/relationships/slideLayout" Target="../slideLayouts/slideLayout75.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9" Type="http://schemas.openxmlformats.org/officeDocument/2006/relationships/slideLayout" Target="../slideLayouts/slideLayout97.xml"/><Relationship Id="rId11" Type="http://schemas.openxmlformats.org/officeDocument/2006/relationships/slideLayout" Target="../slideLayouts/slideLayout79.xml"/><Relationship Id="rId24" Type="http://schemas.openxmlformats.org/officeDocument/2006/relationships/slideLayout" Target="../slideLayouts/slideLayout92.xml"/><Relationship Id="rId32" Type="http://schemas.openxmlformats.org/officeDocument/2006/relationships/slideLayout" Target="../slideLayouts/slideLayout100.xml"/><Relationship Id="rId37" Type="http://schemas.openxmlformats.org/officeDocument/2006/relationships/slideLayout" Target="../slideLayouts/slideLayout105.xml"/><Relationship Id="rId40" Type="http://schemas.openxmlformats.org/officeDocument/2006/relationships/slideLayout" Target="../slideLayouts/slideLayout108.xml"/><Relationship Id="rId45" Type="http://schemas.openxmlformats.org/officeDocument/2006/relationships/slideLayout" Target="../slideLayouts/slideLayout113.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slideLayout" Target="../slideLayouts/slideLayout91.xml"/><Relationship Id="rId28" Type="http://schemas.openxmlformats.org/officeDocument/2006/relationships/slideLayout" Target="../slideLayouts/slideLayout96.xml"/><Relationship Id="rId36" Type="http://schemas.openxmlformats.org/officeDocument/2006/relationships/slideLayout" Target="../slideLayouts/slideLayout104.xml"/><Relationship Id="rId49" Type="http://schemas.openxmlformats.org/officeDocument/2006/relationships/slideLayout" Target="../slideLayouts/slideLayout117.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31" Type="http://schemas.openxmlformats.org/officeDocument/2006/relationships/slideLayout" Target="../slideLayouts/slideLayout99.xml"/><Relationship Id="rId44" Type="http://schemas.openxmlformats.org/officeDocument/2006/relationships/slideLayout" Target="../slideLayouts/slideLayout112.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slideLayout" Target="../slideLayouts/slideLayout90.xml"/><Relationship Id="rId27" Type="http://schemas.openxmlformats.org/officeDocument/2006/relationships/slideLayout" Target="../slideLayouts/slideLayout95.xml"/><Relationship Id="rId30" Type="http://schemas.openxmlformats.org/officeDocument/2006/relationships/slideLayout" Target="../slideLayouts/slideLayout98.xml"/><Relationship Id="rId35" Type="http://schemas.openxmlformats.org/officeDocument/2006/relationships/slideLayout" Target="../slideLayouts/slideLayout103.xml"/><Relationship Id="rId43" Type="http://schemas.openxmlformats.org/officeDocument/2006/relationships/slideLayout" Target="../slideLayouts/slideLayout111.xml"/><Relationship Id="rId48" Type="http://schemas.openxmlformats.org/officeDocument/2006/relationships/slideLayout" Target="../slideLayouts/slideLayout116.xml"/><Relationship Id="rId8" Type="http://schemas.openxmlformats.org/officeDocument/2006/relationships/slideLayout" Target="../slideLayouts/slideLayout76.xml"/><Relationship Id="rId3" Type="http://schemas.openxmlformats.org/officeDocument/2006/relationships/slideLayout" Target="../slideLayouts/slideLayout71.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5" Type="http://schemas.openxmlformats.org/officeDocument/2006/relationships/slideLayout" Target="../slideLayouts/slideLayout93.xml"/><Relationship Id="rId33" Type="http://schemas.openxmlformats.org/officeDocument/2006/relationships/slideLayout" Target="../slideLayouts/slideLayout101.xml"/><Relationship Id="rId38" Type="http://schemas.openxmlformats.org/officeDocument/2006/relationships/slideLayout" Target="../slideLayouts/slideLayout106.xml"/><Relationship Id="rId46" Type="http://schemas.openxmlformats.org/officeDocument/2006/relationships/slideLayout" Target="../slideLayouts/slideLayout114.xml"/><Relationship Id="rId20" Type="http://schemas.openxmlformats.org/officeDocument/2006/relationships/slideLayout" Target="../slideLayouts/slideLayout88.xml"/><Relationship Id="rId41" Type="http://schemas.openxmlformats.org/officeDocument/2006/relationships/slideLayout" Target="../slideLayouts/slideLayout109.xml"/><Relationship Id="rId1" Type="http://schemas.openxmlformats.org/officeDocument/2006/relationships/slideLayout" Target="../slideLayouts/slideLayout69.xml"/><Relationship Id="rId6" Type="http://schemas.openxmlformats.org/officeDocument/2006/relationships/slideLayout" Target="../slideLayouts/slideLayout74.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slideLayout" Target="../slideLayouts/slideLayout143.xml"/><Relationship Id="rId39" Type="http://schemas.openxmlformats.org/officeDocument/2006/relationships/slideLayout" Target="../slideLayouts/slideLayout156.xml"/><Relationship Id="rId21" Type="http://schemas.openxmlformats.org/officeDocument/2006/relationships/slideLayout" Target="../slideLayouts/slideLayout138.xml"/><Relationship Id="rId34" Type="http://schemas.openxmlformats.org/officeDocument/2006/relationships/slideLayout" Target="../slideLayouts/slideLayout151.xml"/><Relationship Id="rId42" Type="http://schemas.openxmlformats.org/officeDocument/2006/relationships/slideLayout" Target="../slideLayouts/slideLayout159.xml"/><Relationship Id="rId47" Type="http://schemas.openxmlformats.org/officeDocument/2006/relationships/slideLayout" Target="../slideLayouts/slideLayout164.xml"/><Relationship Id="rId50" Type="http://schemas.openxmlformats.org/officeDocument/2006/relationships/slideLayout" Target="../slideLayouts/slideLayout167.xml"/><Relationship Id="rId7" Type="http://schemas.openxmlformats.org/officeDocument/2006/relationships/slideLayout" Target="../slideLayouts/slideLayout124.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9" Type="http://schemas.openxmlformats.org/officeDocument/2006/relationships/slideLayout" Target="../slideLayouts/slideLayout146.xml"/><Relationship Id="rId11" Type="http://schemas.openxmlformats.org/officeDocument/2006/relationships/slideLayout" Target="../slideLayouts/slideLayout128.xml"/><Relationship Id="rId24" Type="http://schemas.openxmlformats.org/officeDocument/2006/relationships/slideLayout" Target="../slideLayouts/slideLayout141.xml"/><Relationship Id="rId32" Type="http://schemas.openxmlformats.org/officeDocument/2006/relationships/slideLayout" Target="../slideLayouts/slideLayout149.xml"/><Relationship Id="rId37" Type="http://schemas.openxmlformats.org/officeDocument/2006/relationships/slideLayout" Target="../slideLayouts/slideLayout154.xml"/><Relationship Id="rId40" Type="http://schemas.openxmlformats.org/officeDocument/2006/relationships/slideLayout" Target="../slideLayouts/slideLayout157.xml"/><Relationship Id="rId45" Type="http://schemas.openxmlformats.org/officeDocument/2006/relationships/slideLayout" Target="../slideLayouts/slideLayout162.xml"/><Relationship Id="rId53" Type="http://schemas.openxmlformats.org/officeDocument/2006/relationships/slideLayout" Target="../slideLayouts/slideLayout170.xml"/><Relationship Id="rId5" Type="http://schemas.openxmlformats.org/officeDocument/2006/relationships/slideLayout" Target="../slideLayouts/slideLayout122.xml"/><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31" Type="http://schemas.openxmlformats.org/officeDocument/2006/relationships/slideLayout" Target="../slideLayouts/slideLayout148.xml"/><Relationship Id="rId44" Type="http://schemas.openxmlformats.org/officeDocument/2006/relationships/slideLayout" Target="../slideLayouts/slideLayout161.xml"/><Relationship Id="rId52" Type="http://schemas.openxmlformats.org/officeDocument/2006/relationships/slideLayout" Target="../slideLayouts/slideLayout169.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slideLayout" Target="../slideLayouts/slideLayout144.xml"/><Relationship Id="rId30" Type="http://schemas.openxmlformats.org/officeDocument/2006/relationships/slideLayout" Target="../slideLayouts/slideLayout147.xml"/><Relationship Id="rId35" Type="http://schemas.openxmlformats.org/officeDocument/2006/relationships/slideLayout" Target="../slideLayouts/slideLayout152.xml"/><Relationship Id="rId43" Type="http://schemas.openxmlformats.org/officeDocument/2006/relationships/slideLayout" Target="../slideLayouts/slideLayout160.xml"/><Relationship Id="rId48" Type="http://schemas.openxmlformats.org/officeDocument/2006/relationships/slideLayout" Target="../slideLayouts/slideLayout165.xml"/><Relationship Id="rId8" Type="http://schemas.openxmlformats.org/officeDocument/2006/relationships/slideLayout" Target="../slideLayouts/slideLayout125.xml"/><Relationship Id="rId51" Type="http://schemas.openxmlformats.org/officeDocument/2006/relationships/slideLayout" Target="../slideLayouts/slideLayout168.xml"/><Relationship Id="rId3" Type="http://schemas.openxmlformats.org/officeDocument/2006/relationships/slideLayout" Target="../slideLayouts/slideLayout120.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slideLayout" Target="../slideLayouts/slideLayout142.xml"/><Relationship Id="rId33" Type="http://schemas.openxmlformats.org/officeDocument/2006/relationships/slideLayout" Target="../slideLayouts/slideLayout150.xml"/><Relationship Id="rId38" Type="http://schemas.openxmlformats.org/officeDocument/2006/relationships/slideLayout" Target="../slideLayouts/slideLayout155.xml"/><Relationship Id="rId46" Type="http://schemas.openxmlformats.org/officeDocument/2006/relationships/slideLayout" Target="../slideLayouts/slideLayout163.xml"/><Relationship Id="rId20" Type="http://schemas.openxmlformats.org/officeDocument/2006/relationships/slideLayout" Target="../slideLayouts/slideLayout137.xml"/><Relationship Id="rId41" Type="http://schemas.openxmlformats.org/officeDocument/2006/relationships/slideLayout" Target="../slideLayouts/slideLayout158.xml"/><Relationship Id="rId54" Type="http://schemas.openxmlformats.org/officeDocument/2006/relationships/theme" Target="../theme/theme4.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28" Type="http://schemas.openxmlformats.org/officeDocument/2006/relationships/slideLayout" Target="../slideLayouts/slideLayout145.xml"/><Relationship Id="rId36" Type="http://schemas.openxmlformats.org/officeDocument/2006/relationships/slideLayout" Target="../slideLayouts/slideLayout153.xml"/><Relationship Id="rId49" Type="http://schemas.openxmlformats.org/officeDocument/2006/relationships/slideLayout" Target="../slideLayouts/slideLayout166.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83.xml"/><Relationship Id="rId18" Type="http://schemas.openxmlformats.org/officeDocument/2006/relationships/slideLayout" Target="../slideLayouts/slideLayout188.xml"/><Relationship Id="rId26" Type="http://schemas.openxmlformats.org/officeDocument/2006/relationships/slideLayout" Target="../slideLayouts/slideLayout196.xml"/><Relationship Id="rId39" Type="http://schemas.openxmlformats.org/officeDocument/2006/relationships/slideLayout" Target="../slideLayouts/slideLayout209.xml"/><Relationship Id="rId21" Type="http://schemas.openxmlformats.org/officeDocument/2006/relationships/slideLayout" Target="../slideLayouts/slideLayout191.xml"/><Relationship Id="rId34" Type="http://schemas.openxmlformats.org/officeDocument/2006/relationships/slideLayout" Target="../slideLayouts/slideLayout204.xml"/><Relationship Id="rId42" Type="http://schemas.openxmlformats.org/officeDocument/2006/relationships/slideLayout" Target="../slideLayouts/slideLayout212.xml"/><Relationship Id="rId47" Type="http://schemas.openxmlformats.org/officeDocument/2006/relationships/slideLayout" Target="../slideLayouts/slideLayout217.xml"/><Relationship Id="rId7" Type="http://schemas.openxmlformats.org/officeDocument/2006/relationships/slideLayout" Target="../slideLayouts/slideLayout177.xml"/><Relationship Id="rId2" Type="http://schemas.openxmlformats.org/officeDocument/2006/relationships/slideLayout" Target="../slideLayouts/slideLayout172.xml"/><Relationship Id="rId16" Type="http://schemas.openxmlformats.org/officeDocument/2006/relationships/slideLayout" Target="../slideLayouts/slideLayout186.xml"/><Relationship Id="rId29" Type="http://schemas.openxmlformats.org/officeDocument/2006/relationships/slideLayout" Target="../slideLayouts/slideLayout199.xml"/><Relationship Id="rId11" Type="http://schemas.openxmlformats.org/officeDocument/2006/relationships/slideLayout" Target="../slideLayouts/slideLayout181.xml"/><Relationship Id="rId24" Type="http://schemas.openxmlformats.org/officeDocument/2006/relationships/slideLayout" Target="../slideLayouts/slideLayout194.xml"/><Relationship Id="rId32" Type="http://schemas.openxmlformats.org/officeDocument/2006/relationships/slideLayout" Target="../slideLayouts/slideLayout202.xml"/><Relationship Id="rId37" Type="http://schemas.openxmlformats.org/officeDocument/2006/relationships/slideLayout" Target="../slideLayouts/slideLayout207.xml"/><Relationship Id="rId40" Type="http://schemas.openxmlformats.org/officeDocument/2006/relationships/slideLayout" Target="../slideLayouts/slideLayout210.xml"/><Relationship Id="rId45" Type="http://schemas.openxmlformats.org/officeDocument/2006/relationships/slideLayout" Target="../slideLayouts/slideLayout215.xml"/><Relationship Id="rId5" Type="http://schemas.openxmlformats.org/officeDocument/2006/relationships/slideLayout" Target="../slideLayouts/slideLayout175.xml"/><Relationship Id="rId15" Type="http://schemas.openxmlformats.org/officeDocument/2006/relationships/slideLayout" Target="../slideLayouts/slideLayout185.xml"/><Relationship Id="rId23" Type="http://schemas.openxmlformats.org/officeDocument/2006/relationships/slideLayout" Target="../slideLayouts/slideLayout193.xml"/><Relationship Id="rId28" Type="http://schemas.openxmlformats.org/officeDocument/2006/relationships/slideLayout" Target="../slideLayouts/slideLayout198.xml"/><Relationship Id="rId36" Type="http://schemas.openxmlformats.org/officeDocument/2006/relationships/slideLayout" Target="../slideLayouts/slideLayout206.xml"/><Relationship Id="rId49" Type="http://schemas.openxmlformats.org/officeDocument/2006/relationships/theme" Target="../theme/theme5.xml"/><Relationship Id="rId10" Type="http://schemas.openxmlformats.org/officeDocument/2006/relationships/slideLayout" Target="../slideLayouts/slideLayout180.xml"/><Relationship Id="rId19" Type="http://schemas.openxmlformats.org/officeDocument/2006/relationships/slideLayout" Target="../slideLayouts/slideLayout189.xml"/><Relationship Id="rId31" Type="http://schemas.openxmlformats.org/officeDocument/2006/relationships/slideLayout" Target="../slideLayouts/slideLayout201.xml"/><Relationship Id="rId44" Type="http://schemas.openxmlformats.org/officeDocument/2006/relationships/slideLayout" Target="../slideLayouts/slideLayout214.xml"/><Relationship Id="rId4" Type="http://schemas.openxmlformats.org/officeDocument/2006/relationships/slideLayout" Target="../slideLayouts/slideLayout174.xml"/><Relationship Id="rId9" Type="http://schemas.openxmlformats.org/officeDocument/2006/relationships/slideLayout" Target="../slideLayouts/slideLayout179.xml"/><Relationship Id="rId14" Type="http://schemas.openxmlformats.org/officeDocument/2006/relationships/slideLayout" Target="../slideLayouts/slideLayout184.xml"/><Relationship Id="rId22" Type="http://schemas.openxmlformats.org/officeDocument/2006/relationships/slideLayout" Target="../slideLayouts/slideLayout192.xml"/><Relationship Id="rId27" Type="http://schemas.openxmlformats.org/officeDocument/2006/relationships/slideLayout" Target="../slideLayouts/slideLayout197.xml"/><Relationship Id="rId30" Type="http://schemas.openxmlformats.org/officeDocument/2006/relationships/slideLayout" Target="../slideLayouts/slideLayout200.xml"/><Relationship Id="rId35" Type="http://schemas.openxmlformats.org/officeDocument/2006/relationships/slideLayout" Target="../slideLayouts/slideLayout205.xml"/><Relationship Id="rId43" Type="http://schemas.openxmlformats.org/officeDocument/2006/relationships/slideLayout" Target="../slideLayouts/slideLayout213.xml"/><Relationship Id="rId48" Type="http://schemas.openxmlformats.org/officeDocument/2006/relationships/slideLayout" Target="../slideLayouts/slideLayout218.xml"/><Relationship Id="rId8" Type="http://schemas.openxmlformats.org/officeDocument/2006/relationships/slideLayout" Target="../slideLayouts/slideLayout178.xml"/><Relationship Id="rId3" Type="http://schemas.openxmlformats.org/officeDocument/2006/relationships/slideLayout" Target="../slideLayouts/slideLayout173.xml"/><Relationship Id="rId12" Type="http://schemas.openxmlformats.org/officeDocument/2006/relationships/slideLayout" Target="../slideLayouts/slideLayout182.xml"/><Relationship Id="rId17" Type="http://schemas.openxmlformats.org/officeDocument/2006/relationships/slideLayout" Target="../slideLayouts/slideLayout187.xml"/><Relationship Id="rId25" Type="http://schemas.openxmlformats.org/officeDocument/2006/relationships/slideLayout" Target="../slideLayouts/slideLayout195.xml"/><Relationship Id="rId33" Type="http://schemas.openxmlformats.org/officeDocument/2006/relationships/slideLayout" Target="../slideLayouts/slideLayout203.xml"/><Relationship Id="rId38" Type="http://schemas.openxmlformats.org/officeDocument/2006/relationships/slideLayout" Target="../slideLayouts/slideLayout208.xml"/><Relationship Id="rId46" Type="http://schemas.openxmlformats.org/officeDocument/2006/relationships/slideLayout" Target="../slideLayouts/slideLayout216.xml"/><Relationship Id="rId20" Type="http://schemas.openxmlformats.org/officeDocument/2006/relationships/slideLayout" Target="../slideLayouts/slideLayout190.xml"/><Relationship Id="rId41" Type="http://schemas.openxmlformats.org/officeDocument/2006/relationships/slideLayout" Target="../slideLayouts/slideLayout211.xml"/><Relationship Id="rId1" Type="http://schemas.openxmlformats.org/officeDocument/2006/relationships/slideLayout" Target="../slideLayouts/slideLayout171.xml"/><Relationship Id="rId6" Type="http://schemas.openxmlformats.org/officeDocument/2006/relationships/slideLayout" Target="../slideLayouts/slideLayout176.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31.xml"/><Relationship Id="rId18" Type="http://schemas.openxmlformats.org/officeDocument/2006/relationships/slideLayout" Target="../slideLayouts/slideLayout236.xml"/><Relationship Id="rId26" Type="http://schemas.openxmlformats.org/officeDocument/2006/relationships/slideLayout" Target="../slideLayouts/slideLayout244.xml"/><Relationship Id="rId39" Type="http://schemas.openxmlformats.org/officeDocument/2006/relationships/slideLayout" Target="../slideLayouts/slideLayout257.xml"/><Relationship Id="rId21" Type="http://schemas.openxmlformats.org/officeDocument/2006/relationships/slideLayout" Target="../slideLayouts/slideLayout239.xml"/><Relationship Id="rId34" Type="http://schemas.openxmlformats.org/officeDocument/2006/relationships/slideLayout" Target="../slideLayouts/slideLayout252.xml"/><Relationship Id="rId42" Type="http://schemas.openxmlformats.org/officeDocument/2006/relationships/slideLayout" Target="../slideLayouts/slideLayout260.xml"/><Relationship Id="rId47" Type="http://schemas.openxmlformats.org/officeDocument/2006/relationships/slideLayout" Target="../slideLayouts/slideLayout265.xml"/><Relationship Id="rId50" Type="http://schemas.openxmlformats.org/officeDocument/2006/relationships/slideLayout" Target="../slideLayouts/slideLayout268.xml"/><Relationship Id="rId7" Type="http://schemas.openxmlformats.org/officeDocument/2006/relationships/slideLayout" Target="../slideLayouts/slideLayout225.xml"/><Relationship Id="rId2" Type="http://schemas.openxmlformats.org/officeDocument/2006/relationships/slideLayout" Target="../slideLayouts/slideLayout220.xml"/><Relationship Id="rId16" Type="http://schemas.openxmlformats.org/officeDocument/2006/relationships/slideLayout" Target="../slideLayouts/slideLayout234.xml"/><Relationship Id="rId29" Type="http://schemas.openxmlformats.org/officeDocument/2006/relationships/slideLayout" Target="../slideLayouts/slideLayout247.xml"/><Relationship Id="rId11" Type="http://schemas.openxmlformats.org/officeDocument/2006/relationships/slideLayout" Target="../slideLayouts/slideLayout229.xml"/><Relationship Id="rId24" Type="http://schemas.openxmlformats.org/officeDocument/2006/relationships/slideLayout" Target="../slideLayouts/slideLayout242.xml"/><Relationship Id="rId32" Type="http://schemas.openxmlformats.org/officeDocument/2006/relationships/slideLayout" Target="../slideLayouts/slideLayout250.xml"/><Relationship Id="rId37" Type="http://schemas.openxmlformats.org/officeDocument/2006/relationships/slideLayout" Target="../slideLayouts/slideLayout255.xml"/><Relationship Id="rId40" Type="http://schemas.openxmlformats.org/officeDocument/2006/relationships/slideLayout" Target="../slideLayouts/slideLayout258.xml"/><Relationship Id="rId45" Type="http://schemas.openxmlformats.org/officeDocument/2006/relationships/slideLayout" Target="../slideLayouts/slideLayout263.xml"/><Relationship Id="rId53" Type="http://schemas.openxmlformats.org/officeDocument/2006/relationships/theme" Target="../theme/theme6.xml"/><Relationship Id="rId5" Type="http://schemas.openxmlformats.org/officeDocument/2006/relationships/slideLayout" Target="../slideLayouts/slideLayout223.xml"/><Relationship Id="rId10" Type="http://schemas.openxmlformats.org/officeDocument/2006/relationships/slideLayout" Target="../slideLayouts/slideLayout228.xml"/><Relationship Id="rId19" Type="http://schemas.openxmlformats.org/officeDocument/2006/relationships/slideLayout" Target="../slideLayouts/slideLayout237.xml"/><Relationship Id="rId31" Type="http://schemas.openxmlformats.org/officeDocument/2006/relationships/slideLayout" Target="../slideLayouts/slideLayout249.xml"/><Relationship Id="rId44" Type="http://schemas.openxmlformats.org/officeDocument/2006/relationships/slideLayout" Target="../slideLayouts/slideLayout262.xml"/><Relationship Id="rId52" Type="http://schemas.openxmlformats.org/officeDocument/2006/relationships/slideLayout" Target="../slideLayouts/slideLayout270.xml"/><Relationship Id="rId4" Type="http://schemas.openxmlformats.org/officeDocument/2006/relationships/slideLayout" Target="../slideLayouts/slideLayout222.xml"/><Relationship Id="rId9" Type="http://schemas.openxmlformats.org/officeDocument/2006/relationships/slideLayout" Target="../slideLayouts/slideLayout227.xml"/><Relationship Id="rId14" Type="http://schemas.openxmlformats.org/officeDocument/2006/relationships/slideLayout" Target="../slideLayouts/slideLayout232.xml"/><Relationship Id="rId22" Type="http://schemas.openxmlformats.org/officeDocument/2006/relationships/slideLayout" Target="../slideLayouts/slideLayout240.xml"/><Relationship Id="rId27" Type="http://schemas.openxmlformats.org/officeDocument/2006/relationships/slideLayout" Target="../slideLayouts/slideLayout245.xml"/><Relationship Id="rId30" Type="http://schemas.openxmlformats.org/officeDocument/2006/relationships/slideLayout" Target="../slideLayouts/slideLayout248.xml"/><Relationship Id="rId35" Type="http://schemas.openxmlformats.org/officeDocument/2006/relationships/slideLayout" Target="../slideLayouts/slideLayout253.xml"/><Relationship Id="rId43" Type="http://schemas.openxmlformats.org/officeDocument/2006/relationships/slideLayout" Target="../slideLayouts/slideLayout261.xml"/><Relationship Id="rId48" Type="http://schemas.openxmlformats.org/officeDocument/2006/relationships/slideLayout" Target="../slideLayouts/slideLayout266.xml"/><Relationship Id="rId8" Type="http://schemas.openxmlformats.org/officeDocument/2006/relationships/slideLayout" Target="../slideLayouts/slideLayout226.xml"/><Relationship Id="rId51" Type="http://schemas.openxmlformats.org/officeDocument/2006/relationships/slideLayout" Target="../slideLayouts/slideLayout269.xml"/><Relationship Id="rId3" Type="http://schemas.openxmlformats.org/officeDocument/2006/relationships/slideLayout" Target="../slideLayouts/slideLayout221.xml"/><Relationship Id="rId12" Type="http://schemas.openxmlformats.org/officeDocument/2006/relationships/slideLayout" Target="../slideLayouts/slideLayout230.xml"/><Relationship Id="rId17" Type="http://schemas.openxmlformats.org/officeDocument/2006/relationships/slideLayout" Target="../slideLayouts/slideLayout235.xml"/><Relationship Id="rId25" Type="http://schemas.openxmlformats.org/officeDocument/2006/relationships/slideLayout" Target="../slideLayouts/slideLayout243.xml"/><Relationship Id="rId33" Type="http://schemas.openxmlformats.org/officeDocument/2006/relationships/slideLayout" Target="../slideLayouts/slideLayout251.xml"/><Relationship Id="rId38" Type="http://schemas.openxmlformats.org/officeDocument/2006/relationships/slideLayout" Target="../slideLayouts/slideLayout256.xml"/><Relationship Id="rId46" Type="http://schemas.openxmlformats.org/officeDocument/2006/relationships/slideLayout" Target="../slideLayouts/slideLayout264.xml"/><Relationship Id="rId20" Type="http://schemas.openxmlformats.org/officeDocument/2006/relationships/slideLayout" Target="../slideLayouts/slideLayout238.xml"/><Relationship Id="rId41" Type="http://schemas.openxmlformats.org/officeDocument/2006/relationships/slideLayout" Target="../slideLayouts/slideLayout259.xml"/><Relationship Id="rId1" Type="http://schemas.openxmlformats.org/officeDocument/2006/relationships/slideLayout" Target="../slideLayouts/slideLayout219.xml"/><Relationship Id="rId6" Type="http://schemas.openxmlformats.org/officeDocument/2006/relationships/slideLayout" Target="../slideLayouts/slideLayout224.xml"/><Relationship Id="rId15" Type="http://schemas.openxmlformats.org/officeDocument/2006/relationships/slideLayout" Target="../slideLayouts/slideLayout233.xml"/><Relationship Id="rId23" Type="http://schemas.openxmlformats.org/officeDocument/2006/relationships/slideLayout" Target="../slideLayouts/slideLayout241.xml"/><Relationship Id="rId28" Type="http://schemas.openxmlformats.org/officeDocument/2006/relationships/slideLayout" Target="../slideLayouts/slideLayout246.xml"/><Relationship Id="rId36" Type="http://schemas.openxmlformats.org/officeDocument/2006/relationships/slideLayout" Target="../slideLayouts/slideLayout254.xml"/><Relationship Id="rId49" Type="http://schemas.openxmlformats.org/officeDocument/2006/relationships/slideLayout" Target="../slideLayouts/slideLayout267.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83.xml"/><Relationship Id="rId18" Type="http://schemas.openxmlformats.org/officeDocument/2006/relationships/slideLayout" Target="../slideLayouts/slideLayout288.xml"/><Relationship Id="rId26" Type="http://schemas.openxmlformats.org/officeDocument/2006/relationships/slideLayout" Target="../slideLayouts/slideLayout296.xml"/><Relationship Id="rId39" Type="http://schemas.openxmlformats.org/officeDocument/2006/relationships/slideLayout" Target="../slideLayouts/slideLayout309.xml"/><Relationship Id="rId21" Type="http://schemas.openxmlformats.org/officeDocument/2006/relationships/slideLayout" Target="../slideLayouts/slideLayout291.xml"/><Relationship Id="rId34" Type="http://schemas.openxmlformats.org/officeDocument/2006/relationships/slideLayout" Target="../slideLayouts/slideLayout304.xml"/><Relationship Id="rId42" Type="http://schemas.openxmlformats.org/officeDocument/2006/relationships/slideLayout" Target="../slideLayouts/slideLayout312.xml"/><Relationship Id="rId47" Type="http://schemas.openxmlformats.org/officeDocument/2006/relationships/slideLayout" Target="../slideLayouts/slideLayout317.xml"/><Relationship Id="rId7" Type="http://schemas.openxmlformats.org/officeDocument/2006/relationships/slideLayout" Target="../slideLayouts/slideLayout277.xml"/><Relationship Id="rId2" Type="http://schemas.openxmlformats.org/officeDocument/2006/relationships/slideLayout" Target="../slideLayouts/slideLayout272.xml"/><Relationship Id="rId16" Type="http://schemas.openxmlformats.org/officeDocument/2006/relationships/slideLayout" Target="../slideLayouts/slideLayout286.xml"/><Relationship Id="rId29" Type="http://schemas.openxmlformats.org/officeDocument/2006/relationships/slideLayout" Target="../slideLayouts/slideLayout299.xml"/><Relationship Id="rId11" Type="http://schemas.openxmlformats.org/officeDocument/2006/relationships/slideLayout" Target="../slideLayouts/slideLayout281.xml"/><Relationship Id="rId24" Type="http://schemas.openxmlformats.org/officeDocument/2006/relationships/slideLayout" Target="../slideLayouts/slideLayout294.xml"/><Relationship Id="rId32" Type="http://schemas.openxmlformats.org/officeDocument/2006/relationships/slideLayout" Target="../slideLayouts/slideLayout302.xml"/><Relationship Id="rId37" Type="http://schemas.openxmlformats.org/officeDocument/2006/relationships/slideLayout" Target="../slideLayouts/slideLayout307.xml"/><Relationship Id="rId40" Type="http://schemas.openxmlformats.org/officeDocument/2006/relationships/slideLayout" Target="../slideLayouts/slideLayout310.xml"/><Relationship Id="rId45" Type="http://schemas.openxmlformats.org/officeDocument/2006/relationships/slideLayout" Target="../slideLayouts/slideLayout315.xml"/><Relationship Id="rId5" Type="http://schemas.openxmlformats.org/officeDocument/2006/relationships/slideLayout" Target="../slideLayouts/slideLayout275.xml"/><Relationship Id="rId15" Type="http://schemas.openxmlformats.org/officeDocument/2006/relationships/slideLayout" Target="../slideLayouts/slideLayout285.xml"/><Relationship Id="rId23" Type="http://schemas.openxmlformats.org/officeDocument/2006/relationships/slideLayout" Target="../slideLayouts/slideLayout293.xml"/><Relationship Id="rId28" Type="http://schemas.openxmlformats.org/officeDocument/2006/relationships/slideLayout" Target="../slideLayouts/slideLayout298.xml"/><Relationship Id="rId36" Type="http://schemas.openxmlformats.org/officeDocument/2006/relationships/slideLayout" Target="../slideLayouts/slideLayout306.xml"/><Relationship Id="rId49" Type="http://schemas.openxmlformats.org/officeDocument/2006/relationships/theme" Target="../theme/theme7.xml"/><Relationship Id="rId10" Type="http://schemas.openxmlformats.org/officeDocument/2006/relationships/slideLayout" Target="../slideLayouts/slideLayout280.xml"/><Relationship Id="rId19" Type="http://schemas.openxmlformats.org/officeDocument/2006/relationships/slideLayout" Target="../slideLayouts/slideLayout289.xml"/><Relationship Id="rId31" Type="http://schemas.openxmlformats.org/officeDocument/2006/relationships/slideLayout" Target="../slideLayouts/slideLayout301.xml"/><Relationship Id="rId44" Type="http://schemas.openxmlformats.org/officeDocument/2006/relationships/slideLayout" Target="../slideLayouts/slideLayout314.xml"/><Relationship Id="rId4" Type="http://schemas.openxmlformats.org/officeDocument/2006/relationships/slideLayout" Target="../slideLayouts/slideLayout274.xml"/><Relationship Id="rId9" Type="http://schemas.openxmlformats.org/officeDocument/2006/relationships/slideLayout" Target="../slideLayouts/slideLayout279.xml"/><Relationship Id="rId14" Type="http://schemas.openxmlformats.org/officeDocument/2006/relationships/slideLayout" Target="../slideLayouts/slideLayout284.xml"/><Relationship Id="rId22" Type="http://schemas.openxmlformats.org/officeDocument/2006/relationships/slideLayout" Target="../slideLayouts/slideLayout292.xml"/><Relationship Id="rId27" Type="http://schemas.openxmlformats.org/officeDocument/2006/relationships/slideLayout" Target="../slideLayouts/slideLayout297.xml"/><Relationship Id="rId30" Type="http://schemas.openxmlformats.org/officeDocument/2006/relationships/slideLayout" Target="../slideLayouts/slideLayout300.xml"/><Relationship Id="rId35" Type="http://schemas.openxmlformats.org/officeDocument/2006/relationships/slideLayout" Target="../slideLayouts/slideLayout305.xml"/><Relationship Id="rId43" Type="http://schemas.openxmlformats.org/officeDocument/2006/relationships/slideLayout" Target="../slideLayouts/slideLayout313.xml"/><Relationship Id="rId48" Type="http://schemas.openxmlformats.org/officeDocument/2006/relationships/slideLayout" Target="../slideLayouts/slideLayout318.xml"/><Relationship Id="rId8" Type="http://schemas.openxmlformats.org/officeDocument/2006/relationships/slideLayout" Target="../slideLayouts/slideLayout278.xml"/><Relationship Id="rId3" Type="http://schemas.openxmlformats.org/officeDocument/2006/relationships/slideLayout" Target="../slideLayouts/slideLayout273.xml"/><Relationship Id="rId12" Type="http://schemas.openxmlformats.org/officeDocument/2006/relationships/slideLayout" Target="../slideLayouts/slideLayout282.xml"/><Relationship Id="rId17" Type="http://schemas.openxmlformats.org/officeDocument/2006/relationships/slideLayout" Target="../slideLayouts/slideLayout287.xml"/><Relationship Id="rId25" Type="http://schemas.openxmlformats.org/officeDocument/2006/relationships/slideLayout" Target="../slideLayouts/slideLayout295.xml"/><Relationship Id="rId33" Type="http://schemas.openxmlformats.org/officeDocument/2006/relationships/slideLayout" Target="../slideLayouts/slideLayout303.xml"/><Relationship Id="rId38" Type="http://schemas.openxmlformats.org/officeDocument/2006/relationships/slideLayout" Target="../slideLayouts/slideLayout308.xml"/><Relationship Id="rId46" Type="http://schemas.openxmlformats.org/officeDocument/2006/relationships/slideLayout" Target="../slideLayouts/slideLayout316.xml"/><Relationship Id="rId20" Type="http://schemas.openxmlformats.org/officeDocument/2006/relationships/slideLayout" Target="../slideLayouts/slideLayout290.xml"/><Relationship Id="rId41" Type="http://schemas.openxmlformats.org/officeDocument/2006/relationships/slideLayout" Target="../slideLayouts/slideLayout311.xml"/><Relationship Id="rId1" Type="http://schemas.openxmlformats.org/officeDocument/2006/relationships/slideLayout" Target="../slideLayouts/slideLayout271.xml"/><Relationship Id="rId6" Type="http://schemas.openxmlformats.org/officeDocument/2006/relationships/slideLayout" Target="../slideLayouts/slideLayout276.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331.xml"/><Relationship Id="rId18" Type="http://schemas.openxmlformats.org/officeDocument/2006/relationships/slideLayout" Target="../slideLayouts/slideLayout336.xml"/><Relationship Id="rId26" Type="http://schemas.openxmlformats.org/officeDocument/2006/relationships/slideLayout" Target="../slideLayouts/slideLayout344.xml"/><Relationship Id="rId39" Type="http://schemas.openxmlformats.org/officeDocument/2006/relationships/slideLayout" Target="../slideLayouts/slideLayout357.xml"/><Relationship Id="rId21" Type="http://schemas.openxmlformats.org/officeDocument/2006/relationships/slideLayout" Target="../slideLayouts/slideLayout339.xml"/><Relationship Id="rId34" Type="http://schemas.openxmlformats.org/officeDocument/2006/relationships/slideLayout" Target="../slideLayouts/slideLayout352.xml"/><Relationship Id="rId42" Type="http://schemas.openxmlformats.org/officeDocument/2006/relationships/slideLayout" Target="../slideLayouts/slideLayout360.xml"/><Relationship Id="rId47" Type="http://schemas.openxmlformats.org/officeDocument/2006/relationships/slideLayout" Target="../slideLayouts/slideLayout365.xml"/><Relationship Id="rId50" Type="http://schemas.openxmlformats.org/officeDocument/2006/relationships/slideLayout" Target="../slideLayouts/slideLayout368.xml"/><Relationship Id="rId7" Type="http://schemas.openxmlformats.org/officeDocument/2006/relationships/slideLayout" Target="../slideLayouts/slideLayout325.xml"/><Relationship Id="rId2" Type="http://schemas.openxmlformats.org/officeDocument/2006/relationships/slideLayout" Target="../slideLayouts/slideLayout320.xml"/><Relationship Id="rId16" Type="http://schemas.openxmlformats.org/officeDocument/2006/relationships/slideLayout" Target="../slideLayouts/slideLayout334.xml"/><Relationship Id="rId29" Type="http://schemas.openxmlformats.org/officeDocument/2006/relationships/slideLayout" Target="../slideLayouts/slideLayout347.xml"/><Relationship Id="rId11" Type="http://schemas.openxmlformats.org/officeDocument/2006/relationships/slideLayout" Target="../slideLayouts/slideLayout329.xml"/><Relationship Id="rId24" Type="http://schemas.openxmlformats.org/officeDocument/2006/relationships/slideLayout" Target="../slideLayouts/slideLayout342.xml"/><Relationship Id="rId32" Type="http://schemas.openxmlformats.org/officeDocument/2006/relationships/slideLayout" Target="../slideLayouts/slideLayout350.xml"/><Relationship Id="rId37" Type="http://schemas.openxmlformats.org/officeDocument/2006/relationships/slideLayout" Target="../slideLayouts/slideLayout355.xml"/><Relationship Id="rId40" Type="http://schemas.openxmlformats.org/officeDocument/2006/relationships/slideLayout" Target="../slideLayouts/slideLayout358.xml"/><Relationship Id="rId45" Type="http://schemas.openxmlformats.org/officeDocument/2006/relationships/slideLayout" Target="../slideLayouts/slideLayout363.xml"/><Relationship Id="rId53" Type="http://schemas.openxmlformats.org/officeDocument/2006/relationships/theme" Target="../theme/theme8.xml"/><Relationship Id="rId5" Type="http://schemas.openxmlformats.org/officeDocument/2006/relationships/slideLayout" Target="../slideLayouts/slideLayout323.xml"/><Relationship Id="rId10" Type="http://schemas.openxmlformats.org/officeDocument/2006/relationships/slideLayout" Target="../slideLayouts/slideLayout328.xml"/><Relationship Id="rId19" Type="http://schemas.openxmlformats.org/officeDocument/2006/relationships/slideLayout" Target="../slideLayouts/slideLayout337.xml"/><Relationship Id="rId31" Type="http://schemas.openxmlformats.org/officeDocument/2006/relationships/slideLayout" Target="../slideLayouts/slideLayout349.xml"/><Relationship Id="rId44" Type="http://schemas.openxmlformats.org/officeDocument/2006/relationships/slideLayout" Target="../slideLayouts/slideLayout362.xml"/><Relationship Id="rId52" Type="http://schemas.openxmlformats.org/officeDocument/2006/relationships/slideLayout" Target="../slideLayouts/slideLayout370.xml"/><Relationship Id="rId4" Type="http://schemas.openxmlformats.org/officeDocument/2006/relationships/slideLayout" Target="../slideLayouts/slideLayout322.xml"/><Relationship Id="rId9" Type="http://schemas.openxmlformats.org/officeDocument/2006/relationships/slideLayout" Target="../slideLayouts/slideLayout327.xml"/><Relationship Id="rId14" Type="http://schemas.openxmlformats.org/officeDocument/2006/relationships/slideLayout" Target="../slideLayouts/slideLayout332.xml"/><Relationship Id="rId22" Type="http://schemas.openxmlformats.org/officeDocument/2006/relationships/slideLayout" Target="../slideLayouts/slideLayout340.xml"/><Relationship Id="rId27" Type="http://schemas.openxmlformats.org/officeDocument/2006/relationships/slideLayout" Target="../slideLayouts/slideLayout345.xml"/><Relationship Id="rId30" Type="http://schemas.openxmlformats.org/officeDocument/2006/relationships/slideLayout" Target="../slideLayouts/slideLayout348.xml"/><Relationship Id="rId35" Type="http://schemas.openxmlformats.org/officeDocument/2006/relationships/slideLayout" Target="../slideLayouts/slideLayout353.xml"/><Relationship Id="rId43" Type="http://schemas.openxmlformats.org/officeDocument/2006/relationships/slideLayout" Target="../slideLayouts/slideLayout361.xml"/><Relationship Id="rId48" Type="http://schemas.openxmlformats.org/officeDocument/2006/relationships/slideLayout" Target="../slideLayouts/slideLayout366.xml"/><Relationship Id="rId8" Type="http://schemas.openxmlformats.org/officeDocument/2006/relationships/slideLayout" Target="../slideLayouts/slideLayout326.xml"/><Relationship Id="rId51" Type="http://schemas.openxmlformats.org/officeDocument/2006/relationships/slideLayout" Target="../slideLayouts/slideLayout369.xml"/><Relationship Id="rId3" Type="http://schemas.openxmlformats.org/officeDocument/2006/relationships/slideLayout" Target="../slideLayouts/slideLayout321.xml"/><Relationship Id="rId12" Type="http://schemas.openxmlformats.org/officeDocument/2006/relationships/slideLayout" Target="../slideLayouts/slideLayout330.xml"/><Relationship Id="rId17" Type="http://schemas.openxmlformats.org/officeDocument/2006/relationships/slideLayout" Target="../slideLayouts/slideLayout335.xml"/><Relationship Id="rId25" Type="http://schemas.openxmlformats.org/officeDocument/2006/relationships/slideLayout" Target="../slideLayouts/slideLayout343.xml"/><Relationship Id="rId33" Type="http://schemas.openxmlformats.org/officeDocument/2006/relationships/slideLayout" Target="../slideLayouts/slideLayout351.xml"/><Relationship Id="rId38" Type="http://schemas.openxmlformats.org/officeDocument/2006/relationships/slideLayout" Target="../slideLayouts/slideLayout356.xml"/><Relationship Id="rId46" Type="http://schemas.openxmlformats.org/officeDocument/2006/relationships/slideLayout" Target="../slideLayouts/slideLayout364.xml"/><Relationship Id="rId20" Type="http://schemas.openxmlformats.org/officeDocument/2006/relationships/slideLayout" Target="../slideLayouts/slideLayout338.xml"/><Relationship Id="rId41" Type="http://schemas.openxmlformats.org/officeDocument/2006/relationships/slideLayout" Target="../slideLayouts/slideLayout359.xml"/><Relationship Id="rId1" Type="http://schemas.openxmlformats.org/officeDocument/2006/relationships/slideLayout" Target="../slideLayouts/slideLayout319.xml"/><Relationship Id="rId6" Type="http://schemas.openxmlformats.org/officeDocument/2006/relationships/slideLayout" Target="../slideLayouts/slideLayout324.xml"/><Relationship Id="rId15" Type="http://schemas.openxmlformats.org/officeDocument/2006/relationships/slideLayout" Target="../slideLayouts/slideLayout333.xml"/><Relationship Id="rId23" Type="http://schemas.openxmlformats.org/officeDocument/2006/relationships/slideLayout" Target="../slideLayouts/slideLayout341.xml"/><Relationship Id="rId28" Type="http://schemas.openxmlformats.org/officeDocument/2006/relationships/slideLayout" Target="../slideLayouts/slideLayout346.xml"/><Relationship Id="rId36" Type="http://schemas.openxmlformats.org/officeDocument/2006/relationships/slideLayout" Target="../slideLayouts/slideLayout354.xml"/><Relationship Id="rId49" Type="http://schemas.openxmlformats.org/officeDocument/2006/relationships/slideLayout" Target="../slideLayouts/slideLayout367.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383.xml"/><Relationship Id="rId18" Type="http://schemas.openxmlformats.org/officeDocument/2006/relationships/slideLayout" Target="../slideLayouts/slideLayout388.xml"/><Relationship Id="rId26" Type="http://schemas.openxmlformats.org/officeDocument/2006/relationships/slideLayout" Target="../slideLayouts/slideLayout396.xml"/><Relationship Id="rId39" Type="http://schemas.openxmlformats.org/officeDocument/2006/relationships/slideLayout" Target="../slideLayouts/slideLayout409.xml"/><Relationship Id="rId21" Type="http://schemas.openxmlformats.org/officeDocument/2006/relationships/slideLayout" Target="../slideLayouts/slideLayout391.xml"/><Relationship Id="rId34" Type="http://schemas.openxmlformats.org/officeDocument/2006/relationships/slideLayout" Target="../slideLayouts/slideLayout404.xml"/><Relationship Id="rId42" Type="http://schemas.openxmlformats.org/officeDocument/2006/relationships/slideLayout" Target="../slideLayouts/slideLayout412.xml"/><Relationship Id="rId47" Type="http://schemas.openxmlformats.org/officeDocument/2006/relationships/slideLayout" Target="../slideLayouts/slideLayout417.xml"/><Relationship Id="rId7" Type="http://schemas.openxmlformats.org/officeDocument/2006/relationships/slideLayout" Target="../slideLayouts/slideLayout377.xml"/><Relationship Id="rId2" Type="http://schemas.openxmlformats.org/officeDocument/2006/relationships/slideLayout" Target="../slideLayouts/slideLayout372.xml"/><Relationship Id="rId16" Type="http://schemas.openxmlformats.org/officeDocument/2006/relationships/slideLayout" Target="../slideLayouts/slideLayout386.xml"/><Relationship Id="rId29" Type="http://schemas.openxmlformats.org/officeDocument/2006/relationships/slideLayout" Target="../slideLayouts/slideLayout399.xml"/><Relationship Id="rId1" Type="http://schemas.openxmlformats.org/officeDocument/2006/relationships/slideLayout" Target="../slideLayouts/slideLayout371.xml"/><Relationship Id="rId6" Type="http://schemas.openxmlformats.org/officeDocument/2006/relationships/slideLayout" Target="../slideLayouts/slideLayout376.xml"/><Relationship Id="rId11" Type="http://schemas.openxmlformats.org/officeDocument/2006/relationships/slideLayout" Target="../slideLayouts/slideLayout381.xml"/><Relationship Id="rId24" Type="http://schemas.openxmlformats.org/officeDocument/2006/relationships/slideLayout" Target="../slideLayouts/slideLayout394.xml"/><Relationship Id="rId32" Type="http://schemas.openxmlformats.org/officeDocument/2006/relationships/slideLayout" Target="../slideLayouts/slideLayout402.xml"/><Relationship Id="rId37" Type="http://schemas.openxmlformats.org/officeDocument/2006/relationships/slideLayout" Target="../slideLayouts/slideLayout407.xml"/><Relationship Id="rId40" Type="http://schemas.openxmlformats.org/officeDocument/2006/relationships/slideLayout" Target="../slideLayouts/slideLayout410.xml"/><Relationship Id="rId45" Type="http://schemas.openxmlformats.org/officeDocument/2006/relationships/slideLayout" Target="../slideLayouts/slideLayout415.xml"/><Relationship Id="rId5" Type="http://schemas.openxmlformats.org/officeDocument/2006/relationships/slideLayout" Target="../slideLayouts/slideLayout375.xml"/><Relationship Id="rId15" Type="http://schemas.openxmlformats.org/officeDocument/2006/relationships/slideLayout" Target="../slideLayouts/slideLayout385.xml"/><Relationship Id="rId23" Type="http://schemas.openxmlformats.org/officeDocument/2006/relationships/slideLayout" Target="../slideLayouts/slideLayout393.xml"/><Relationship Id="rId28" Type="http://schemas.openxmlformats.org/officeDocument/2006/relationships/slideLayout" Target="../slideLayouts/slideLayout398.xml"/><Relationship Id="rId36" Type="http://schemas.openxmlformats.org/officeDocument/2006/relationships/slideLayout" Target="../slideLayouts/slideLayout406.xml"/><Relationship Id="rId10" Type="http://schemas.openxmlformats.org/officeDocument/2006/relationships/slideLayout" Target="../slideLayouts/slideLayout380.xml"/><Relationship Id="rId19" Type="http://schemas.openxmlformats.org/officeDocument/2006/relationships/slideLayout" Target="../slideLayouts/slideLayout389.xml"/><Relationship Id="rId31" Type="http://schemas.openxmlformats.org/officeDocument/2006/relationships/slideLayout" Target="../slideLayouts/slideLayout401.xml"/><Relationship Id="rId44" Type="http://schemas.openxmlformats.org/officeDocument/2006/relationships/slideLayout" Target="../slideLayouts/slideLayout414.xml"/><Relationship Id="rId4" Type="http://schemas.openxmlformats.org/officeDocument/2006/relationships/slideLayout" Target="../slideLayouts/slideLayout374.xml"/><Relationship Id="rId9" Type="http://schemas.openxmlformats.org/officeDocument/2006/relationships/slideLayout" Target="../slideLayouts/slideLayout379.xml"/><Relationship Id="rId14" Type="http://schemas.openxmlformats.org/officeDocument/2006/relationships/slideLayout" Target="../slideLayouts/slideLayout384.xml"/><Relationship Id="rId22" Type="http://schemas.openxmlformats.org/officeDocument/2006/relationships/slideLayout" Target="../slideLayouts/slideLayout392.xml"/><Relationship Id="rId27" Type="http://schemas.openxmlformats.org/officeDocument/2006/relationships/slideLayout" Target="../slideLayouts/slideLayout397.xml"/><Relationship Id="rId30" Type="http://schemas.openxmlformats.org/officeDocument/2006/relationships/slideLayout" Target="../slideLayouts/slideLayout400.xml"/><Relationship Id="rId35" Type="http://schemas.openxmlformats.org/officeDocument/2006/relationships/slideLayout" Target="../slideLayouts/slideLayout405.xml"/><Relationship Id="rId43" Type="http://schemas.openxmlformats.org/officeDocument/2006/relationships/slideLayout" Target="../slideLayouts/slideLayout413.xml"/><Relationship Id="rId48" Type="http://schemas.openxmlformats.org/officeDocument/2006/relationships/theme" Target="../theme/theme9.xml"/><Relationship Id="rId8" Type="http://schemas.openxmlformats.org/officeDocument/2006/relationships/slideLayout" Target="../slideLayouts/slideLayout378.xml"/><Relationship Id="rId3" Type="http://schemas.openxmlformats.org/officeDocument/2006/relationships/slideLayout" Target="../slideLayouts/slideLayout373.xml"/><Relationship Id="rId12" Type="http://schemas.openxmlformats.org/officeDocument/2006/relationships/slideLayout" Target="../slideLayouts/slideLayout382.xml"/><Relationship Id="rId17" Type="http://schemas.openxmlformats.org/officeDocument/2006/relationships/slideLayout" Target="../slideLayouts/slideLayout387.xml"/><Relationship Id="rId25" Type="http://schemas.openxmlformats.org/officeDocument/2006/relationships/slideLayout" Target="../slideLayouts/slideLayout395.xml"/><Relationship Id="rId33" Type="http://schemas.openxmlformats.org/officeDocument/2006/relationships/slideLayout" Target="../slideLayouts/slideLayout403.xml"/><Relationship Id="rId38" Type="http://schemas.openxmlformats.org/officeDocument/2006/relationships/slideLayout" Target="../slideLayouts/slideLayout408.xml"/><Relationship Id="rId46" Type="http://schemas.openxmlformats.org/officeDocument/2006/relationships/slideLayout" Target="../slideLayouts/slideLayout416.xml"/><Relationship Id="rId20" Type="http://schemas.openxmlformats.org/officeDocument/2006/relationships/slideLayout" Target="../slideLayouts/slideLayout390.xml"/><Relationship Id="rId41" Type="http://schemas.openxmlformats.org/officeDocument/2006/relationships/slideLayout" Target="../slideLayouts/slideLayout41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F96FDB6-1423-9244-B280-CEC8D0A8A1F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C6D9D34-787C-D930-44B9-4A684CC48C7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F151152-4EED-5164-6162-425AAEE0FC7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1064F87-A3FE-7D41-BA7F-E073D7C6AC88}" type="datetimeFigureOut">
              <a:rPr lang="en-US" smtClean="0"/>
              <a:t>3/24/2025</a:t>
            </a:fld>
            <a:endParaRPr lang="en-US"/>
          </a:p>
        </p:txBody>
      </p:sp>
      <p:sp>
        <p:nvSpPr>
          <p:cNvPr id="5" name="Footer Placeholder 4">
            <a:extLst>
              <a:ext uri="{FF2B5EF4-FFF2-40B4-BE49-F238E27FC236}">
                <a16:creationId xmlns:a16="http://schemas.microsoft.com/office/drawing/2014/main" id="{BF6F5EE8-50C1-81DF-73BD-CDA7F5F230F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CB1A671-BFC7-2611-0782-27834FB740B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ED3338A-C6D4-DE4D-B610-199F7004D0E1}" type="slidenum">
              <a:rPr lang="en-US" smtClean="0"/>
              <a:t>‹#›</a:t>
            </a:fld>
            <a:endParaRPr lang="en-US"/>
          </a:p>
        </p:txBody>
      </p:sp>
    </p:spTree>
    <p:extLst>
      <p:ext uri="{BB962C8B-B14F-4D97-AF65-F5344CB8AC3E}">
        <p14:creationId xmlns:p14="http://schemas.microsoft.com/office/powerpoint/2010/main" val="112009258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4" r:id="rId13"/>
    <p:sldLayoutId id="2147483675" r:id="rId14"/>
    <p:sldLayoutId id="2147483676" r:id="rId15"/>
    <p:sldLayoutId id="2147483678" r:id="rId16"/>
    <p:sldLayoutId id="2147483680" r:id="rId17"/>
    <p:sldLayoutId id="2147483681" r:id="rId18"/>
    <p:sldLayoutId id="2147484095"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11769264" y="6475857"/>
            <a:ext cx="135436" cy="123111"/>
          </a:xfrm>
          <a:prstGeom prst="rect">
            <a:avLst/>
          </a:prstGeom>
          <a:ln w="12700">
            <a:miter lim="400000"/>
          </a:ln>
        </p:spPr>
        <p:txBody>
          <a:bodyPr wrap="none" lIns="0" tIns="0" rIns="0" bIns="0" anchor="b" anchorCtr="0">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8" name="Title Text"/>
          <p:cNvSpPr txBox="1">
            <a:spLocks noGrp="1"/>
          </p:cNvSpPr>
          <p:nvPr>
            <p:ph type="title"/>
          </p:nvPr>
        </p:nvSpPr>
        <p:spPr>
          <a:xfrm>
            <a:off x="287999" y="288036"/>
            <a:ext cx="11293592" cy="1234377"/>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p>
            <a:r>
              <a:t>Title Text</a:t>
            </a:r>
          </a:p>
        </p:txBody>
      </p:sp>
      <p:sp>
        <p:nvSpPr>
          <p:cNvPr id="49" name="Body Level One…"/>
          <p:cNvSpPr txBox="1">
            <a:spLocks noGrp="1"/>
          </p:cNvSpPr>
          <p:nvPr>
            <p:ph type="body" idx="1"/>
          </p:nvPr>
        </p:nvSpPr>
        <p:spPr>
          <a:xfrm>
            <a:off x="287300" y="1663699"/>
            <a:ext cx="11293592" cy="443388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p>
            <a:r>
              <a:t>Body Level One</a:t>
            </a:r>
          </a:p>
          <a:p>
            <a:pPr lvl="1"/>
            <a:r>
              <a:t>Body Level Two</a:t>
            </a:r>
          </a:p>
          <a:p>
            <a:pPr lvl="2"/>
            <a:r>
              <a:t>Body Level Three</a:t>
            </a:r>
          </a:p>
          <a:p>
            <a:pPr lvl="3"/>
            <a:r>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87963" y="6411643"/>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Data Intelligence</a:t>
            </a:r>
          </a:p>
        </p:txBody>
      </p:sp>
    </p:spTree>
    <p:extLst>
      <p:ext uri="{BB962C8B-B14F-4D97-AF65-F5344CB8AC3E}">
        <p14:creationId xmlns:p14="http://schemas.microsoft.com/office/powerpoint/2010/main" val="456513459"/>
      </p:ext>
    </p:extLst>
  </p:cSld>
  <p:clrMap bg1="dk1" tx1="lt1" bg2="dk2" tx2="lt2" accent1="accent1" accent2="accent2" accent3="accent3" accent4="accent4" accent5="accent5" accent6="accent6" hlink="hlink" folHlink="folHlink"/>
  <p:sldLayoutIdLst>
    <p:sldLayoutId id="2147484097" r:id="rId1"/>
    <p:sldLayoutId id="2147484098" r:id="rId2"/>
    <p:sldLayoutId id="2147484099" r:id="rId3"/>
    <p:sldLayoutId id="2147484100" r:id="rId4"/>
    <p:sldLayoutId id="2147484101" r:id="rId5"/>
    <p:sldLayoutId id="2147484102" r:id="rId6"/>
    <p:sldLayoutId id="2147484103" r:id="rId7"/>
    <p:sldLayoutId id="2147484104" r:id="rId8"/>
    <p:sldLayoutId id="2147484105" r:id="rId9"/>
    <p:sldLayoutId id="2147484106" r:id="rId10"/>
    <p:sldLayoutId id="2147484107" r:id="rId11"/>
    <p:sldLayoutId id="2147484108" r:id="rId12"/>
    <p:sldLayoutId id="2147484109" r:id="rId13"/>
    <p:sldLayoutId id="2147484110" r:id="rId14"/>
    <p:sldLayoutId id="2147484111" r:id="rId15"/>
    <p:sldLayoutId id="2147484112" r:id="rId16"/>
    <p:sldLayoutId id="2147484113" r:id="rId17"/>
    <p:sldLayoutId id="2147484114" r:id="rId18"/>
    <p:sldLayoutId id="2147484115" r:id="rId19"/>
    <p:sldLayoutId id="2147484116" r:id="rId20"/>
    <p:sldLayoutId id="2147484117" r:id="rId21"/>
    <p:sldLayoutId id="2147484118" r:id="rId22"/>
    <p:sldLayoutId id="2147484119" r:id="rId23"/>
    <p:sldLayoutId id="2147484120" r:id="rId24"/>
    <p:sldLayoutId id="2147484121" r:id="rId25"/>
    <p:sldLayoutId id="2147484122" r:id="rId26"/>
    <p:sldLayoutId id="2147484123" r:id="rId27"/>
    <p:sldLayoutId id="2147484124" r:id="rId28"/>
    <p:sldLayoutId id="2147484125" r:id="rId29"/>
    <p:sldLayoutId id="2147484126" r:id="rId30"/>
    <p:sldLayoutId id="2147484127" r:id="rId31"/>
    <p:sldLayoutId id="2147484128" r:id="rId32"/>
    <p:sldLayoutId id="2147484129" r:id="rId33"/>
    <p:sldLayoutId id="2147484130" r:id="rId34"/>
    <p:sldLayoutId id="2147484131" r:id="rId35"/>
    <p:sldLayoutId id="2147484132" r:id="rId36"/>
    <p:sldLayoutId id="2147484133" r:id="rId37"/>
    <p:sldLayoutId id="2147484134" r:id="rId38"/>
    <p:sldLayoutId id="2147484135" r:id="rId39"/>
    <p:sldLayoutId id="2147484136" r:id="rId40"/>
    <p:sldLayoutId id="2147484137" r:id="rId41"/>
    <p:sldLayoutId id="2147484138" r:id="rId42"/>
    <p:sldLayoutId id="2147484139" r:id="rId43"/>
    <p:sldLayoutId id="2147484140" r:id="rId44"/>
    <p:sldLayoutId id="2147484141" r:id="rId45"/>
    <p:sldLayoutId id="2147484142" r:id="rId46"/>
    <p:sldLayoutId id="2147484143" r:id="rId47"/>
    <p:sldLayoutId id="2147484144" r:id="rId48"/>
    <p:sldLayoutId id="2147484145" r:id="rId49"/>
    <p:sldLayoutId id="2147484146" r:id="rId50"/>
    <p:sldLayoutId id="2147484147" r:id="rId51"/>
  </p:sldLayoutIdLst>
  <p:transition spd="med"/>
  <p:hf hdr="0" dt="0"/>
  <p:txStyles>
    <p:titleStyle>
      <a:lvl1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chemeClr val="tx2"/>
          </a:solidFill>
          <a:uFillTx/>
          <a:latin typeface="+mj-lt"/>
          <a:ea typeface="+mj-ea"/>
          <a:cs typeface="+mj-cs"/>
          <a:sym typeface="IBM Plex Sans Light"/>
        </a:defRPr>
      </a:lvl1pPr>
      <a:lvl2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8"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7"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4"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93"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p:titleStyle>
    <p:bodyStyle>
      <a:lvl1pPr marL="0" marR="0" indent="0" algn="l" defTabSz="1218956"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59"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18"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77"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86" marR="0" indent="-228554" algn="l" defTabSz="1218956" rtl="0" eaLnBrk="1" latinLnBrk="0" hangingPunct="1">
        <a:lnSpc>
          <a:spcPct val="110000"/>
        </a:lnSpc>
        <a:spcBef>
          <a:spcPts val="1450"/>
        </a:spcBef>
        <a:spcAft>
          <a:spcPts val="0"/>
        </a:spcAft>
        <a:buClrTx/>
        <a:buSzPct val="100000"/>
        <a:buFont typeface="IBM Plex Sans"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p:bodyStyle>
    <p:otherStyle>
      <a:lvl1pPr marL="0" marR="0" indent="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1pPr>
      <a:lvl2pPr marL="0" marR="0" indent="17146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2pPr>
      <a:lvl3pPr marL="0" marR="0" indent="342922"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3pPr>
      <a:lvl4pPr marL="0" marR="0" indent="514384"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4pPr>
      <a:lvl5pPr marL="0" marR="0" indent="685845"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5pPr>
      <a:lvl6pPr marL="0" marR="0" indent="857307"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6pPr>
      <a:lvl7pPr marL="0" marR="0" indent="1028768"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7pPr>
      <a:lvl8pPr marL="0" marR="0" indent="120023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8pPr>
      <a:lvl9pPr marL="0" marR="0" indent="137169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9" orient="horz" pos="3840">
          <p15:clr>
            <a:srgbClr val="EE5396"/>
          </p15:clr>
        </p15:guide>
        <p15:guide id="20" orient="horz" pos="958">
          <p15:clr>
            <a:srgbClr val="EE5396"/>
          </p15:clr>
        </p15:guide>
        <p15:guide id="25" orient="horz" pos="7682">
          <p15:clr>
            <a:srgbClr val="EE5396"/>
          </p15:clr>
        </p15:guide>
        <p15:guide id="26" pos="7680">
          <p15:clr>
            <a:srgbClr val="0F62FE"/>
          </p15:clr>
        </p15:guide>
        <p15:guide id="27" pos="11520">
          <p15:clr>
            <a:srgbClr val="0F62FE"/>
          </p15:clr>
        </p15:guide>
        <p15:guide id="30" orient="horz" pos="1918">
          <p15:clr>
            <a:srgbClr val="EE5396"/>
          </p15:clr>
        </p15:guide>
        <p15:guide id="32" orient="horz" pos="6720">
          <p15:clr>
            <a:srgbClr val="EE5396"/>
          </p15:clr>
        </p15:guide>
        <p15:guide id="33" orient="horz" pos="2880">
          <p15:clr>
            <a:srgbClr val="EE5396"/>
          </p15:clr>
        </p15:guide>
        <p15:guide id="34" orient="horz" pos="4800">
          <p15:clr>
            <a:srgbClr val="EE5396"/>
          </p15:clr>
        </p15:guide>
        <p15:guide id="35" orient="horz" pos="5758">
          <p15:clr>
            <a:srgbClr val="EE5396"/>
          </p15:clr>
        </p15:guide>
        <p15:guide id="36" orient="horz" pos="8284">
          <p15:clr>
            <a:srgbClr val="9FCC3B"/>
          </p15:clr>
        </p15:guide>
        <p15:guide id="37" orient="horz" pos="360">
          <p15:clr>
            <a:srgbClr val="9FCC3B"/>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11767910" y="6469508"/>
            <a:ext cx="136791" cy="123111"/>
          </a:xfrm>
          <a:prstGeom prst="rect">
            <a:avLst/>
          </a:prstGeom>
          <a:ln w="12700">
            <a:miter lim="400000"/>
          </a:ln>
        </p:spPr>
        <p:txBody>
          <a:bodyPr wrap="square" lIns="0" tIns="0" rIns="0" bIns="0" anchor="b" anchorCtr="0">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8" name="Title Text"/>
          <p:cNvSpPr txBox="1">
            <a:spLocks noGrp="1"/>
          </p:cNvSpPr>
          <p:nvPr>
            <p:ph type="title"/>
          </p:nvPr>
        </p:nvSpPr>
        <p:spPr>
          <a:xfrm>
            <a:off x="287999" y="288036"/>
            <a:ext cx="11293592" cy="13255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t>Title Text</a:t>
            </a:r>
          </a:p>
        </p:txBody>
      </p:sp>
      <p:sp>
        <p:nvSpPr>
          <p:cNvPr id="49" name="Body Level One…"/>
          <p:cNvSpPr txBox="1">
            <a:spLocks noGrp="1"/>
          </p:cNvSpPr>
          <p:nvPr>
            <p:ph type="body" idx="1"/>
          </p:nvPr>
        </p:nvSpPr>
        <p:spPr>
          <a:xfrm>
            <a:off x="287300" y="1663700"/>
            <a:ext cx="11293592" cy="433467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t>Body Level One</a:t>
            </a:r>
          </a:p>
          <a:p>
            <a:pPr lvl="1"/>
            <a:r>
              <a:t>Body Level Two</a:t>
            </a:r>
          </a:p>
          <a:p>
            <a:pPr lvl="2"/>
            <a:r>
              <a:t>Body Level Three</a:t>
            </a:r>
          </a:p>
          <a:p>
            <a:pPr lvl="3"/>
            <a:r>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84126"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Footer text (optional)</a:t>
            </a:r>
          </a:p>
        </p:txBody>
      </p:sp>
    </p:spTree>
    <p:extLst>
      <p:ext uri="{BB962C8B-B14F-4D97-AF65-F5344CB8AC3E}">
        <p14:creationId xmlns:p14="http://schemas.microsoft.com/office/powerpoint/2010/main" val="823539050"/>
      </p:ext>
    </p:extLst>
  </p:cSld>
  <p:clrMap bg1="dk1" tx1="lt1" bg2="dk2" tx2="lt2" accent1="accent1" accent2="accent2" accent3="accent3" accent4="accent4" accent5="accent5" accent6="accent6" hlink="hlink" folHlink="folHlink"/>
  <p:sldLayoutIdLst>
    <p:sldLayoutId id="2147484201" r:id="rId1"/>
    <p:sldLayoutId id="2147484202" r:id="rId2"/>
    <p:sldLayoutId id="2147484203" r:id="rId3"/>
    <p:sldLayoutId id="2147484204" r:id="rId4"/>
    <p:sldLayoutId id="2147484205" r:id="rId5"/>
    <p:sldLayoutId id="2147484206" r:id="rId6"/>
    <p:sldLayoutId id="2147484207" r:id="rId7"/>
    <p:sldLayoutId id="2147484208" r:id="rId8"/>
    <p:sldLayoutId id="2147484209" r:id="rId9"/>
    <p:sldLayoutId id="2147484210" r:id="rId10"/>
    <p:sldLayoutId id="2147484211" r:id="rId11"/>
    <p:sldLayoutId id="2147484212" r:id="rId12"/>
    <p:sldLayoutId id="2147484213" r:id="rId13"/>
    <p:sldLayoutId id="2147484214" r:id="rId14"/>
    <p:sldLayoutId id="2147484215" r:id="rId15"/>
    <p:sldLayoutId id="2147484216" r:id="rId16"/>
    <p:sldLayoutId id="2147484217" r:id="rId17"/>
    <p:sldLayoutId id="2147484218" r:id="rId18"/>
    <p:sldLayoutId id="2147484219" r:id="rId19"/>
    <p:sldLayoutId id="2147484220" r:id="rId20"/>
    <p:sldLayoutId id="2147484221" r:id="rId21"/>
    <p:sldLayoutId id="2147484222" r:id="rId22"/>
    <p:sldLayoutId id="2147484223" r:id="rId23"/>
    <p:sldLayoutId id="2147484224" r:id="rId24"/>
    <p:sldLayoutId id="2147484225" r:id="rId25"/>
    <p:sldLayoutId id="2147484226" r:id="rId26"/>
    <p:sldLayoutId id="2147484227" r:id="rId27"/>
    <p:sldLayoutId id="2147484228" r:id="rId28"/>
    <p:sldLayoutId id="2147484229" r:id="rId29"/>
    <p:sldLayoutId id="2147484230" r:id="rId30"/>
    <p:sldLayoutId id="2147484231" r:id="rId31"/>
    <p:sldLayoutId id="2147484232" r:id="rId32"/>
    <p:sldLayoutId id="2147484233" r:id="rId33"/>
    <p:sldLayoutId id="2147484234" r:id="rId34"/>
    <p:sldLayoutId id="2147484235" r:id="rId35"/>
    <p:sldLayoutId id="2147484236" r:id="rId36"/>
    <p:sldLayoutId id="2147484237" r:id="rId37"/>
    <p:sldLayoutId id="2147484238" r:id="rId38"/>
    <p:sldLayoutId id="2147484239" r:id="rId39"/>
    <p:sldLayoutId id="2147484240" r:id="rId40"/>
    <p:sldLayoutId id="2147484241" r:id="rId41"/>
    <p:sldLayoutId id="2147484242" r:id="rId42"/>
    <p:sldLayoutId id="2147484243" r:id="rId43"/>
    <p:sldLayoutId id="2147484244" r:id="rId44"/>
    <p:sldLayoutId id="2147484245" r:id="rId45"/>
    <p:sldLayoutId id="2147484246" r:id="rId46"/>
    <p:sldLayoutId id="2147484247" r:id="rId47"/>
    <p:sldLayoutId id="2147484248" r:id="rId48"/>
    <p:sldLayoutId id="2147484249" r:id="rId49"/>
    <p:sldLayoutId id="2147484250" r:id="rId50"/>
    <p:sldLayoutId id="2147484251" r:id="rId51"/>
    <p:sldLayoutId id="2147484252" r:id="rId52"/>
    <p:sldLayoutId id="2147484253" r:id="rId53"/>
    <p:sldLayoutId id="2147484254" r:id="rId54"/>
    <p:sldLayoutId id="2147484255" r:id="rId55"/>
    <p:sldLayoutId id="2147484256" r:id="rId56"/>
    <p:sldLayoutId id="2147484257" r:id="rId57"/>
    <p:sldLayoutId id="2147484258" r:id="rId58"/>
    <p:sldLayoutId id="2147484259" r:id="rId59"/>
    <p:sldLayoutId id="2147484260" r:id="rId60"/>
    <p:sldLayoutId id="2147484261" r:id="rId61"/>
    <p:sldLayoutId id="2147484262" r:id="rId62"/>
    <p:sldLayoutId id="2147484263" r:id="rId63"/>
    <p:sldLayoutId id="2147484264" r:id="rId64"/>
    <p:sldLayoutId id="2147484265" r:id="rId65"/>
    <p:sldLayoutId id="2147484266" r:id="rId66"/>
    <p:sldLayoutId id="2147484267" r:id="rId67"/>
    <p:sldLayoutId id="2147484268" r:id="rId68"/>
    <p:sldLayoutId id="2147484269" r:id="rId69"/>
    <p:sldLayoutId id="2147484270" r:id="rId70"/>
    <p:sldLayoutId id="2147484271" r:id="rId71"/>
    <p:sldLayoutId id="2147484272" r:id="rId72"/>
    <p:sldLayoutId id="2147484273" r:id="rId73"/>
    <p:sldLayoutId id="2147484274" r:id="rId74"/>
    <p:sldLayoutId id="2147484275" r:id="rId75"/>
    <p:sldLayoutId id="2147484276" r:id="rId76"/>
    <p:sldLayoutId id="2147484277" r:id="rId77"/>
    <p:sldLayoutId id="2147484278" r:id="rId78"/>
    <p:sldLayoutId id="2147484279" r:id="rId79"/>
    <p:sldLayoutId id="2147484280" r:id="rId80"/>
    <p:sldLayoutId id="2147484281" r:id="rId81"/>
    <p:sldLayoutId id="2147484282" r:id="rId82"/>
    <p:sldLayoutId id="2147484283" r:id="rId83"/>
    <p:sldLayoutId id="2147484284" r:id="rId84"/>
    <p:sldLayoutId id="2147484285" r:id="rId85"/>
    <p:sldLayoutId id="2147484286" r:id="rId86"/>
    <p:sldLayoutId id="2147484287" r:id="rId87"/>
    <p:sldLayoutId id="2147484288" r:id="rId88"/>
    <p:sldLayoutId id="2147484289" r:id="rId89"/>
    <p:sldLayoutId id="2147484290" r:id="rId90"/>
    <p:sldLayoutId id="2147484291" r:id="rId91"/>
    <p:sldLayoutId id="2147484292" r:id="rId92"/>
    <p:sldLayoutId id="2147484293" r:id="rId93"/>
    <p:sldLayoutId id="2147484294" r:id="rId94"/>
    <p:sldLayoutId id="2147484295" r:id="rId95"/>
    <p:sldLayoutId id="2147484296" r:id="rId96"/>
    <p:sldLayoutId id="2147484297" r:id="rId97"/>
    <p:sldLayoutId id="2147484298" r:id="rId98"/>
    <p:sldLayoutId id="2147484299" r:id="rId99"/>
    <p:sldLayoutId id="2147484300" r:id="rId100"/>
    <p:sldLayoutId id="2147484301" r:id="rId101"/>
    <p:sldLayoutId id="2147484302" r:id="rId102"/>
    <p:sldLayoutId id="2147484303" r:id="rId103"/>
    <p:sldLayoutId id="2147484304" r:id="rId104"/>
    <p:sldLayoutId id="2147484305" r:id="rId105"/>
    <p:sldLayoutId id="2147484306" r:id="rId106"/>
    <p:sldLayoutId id="2147484307" r:id="rId107"/>
    <p:sldLayoutId id="2147484308" r:id="rId108"/>
    <p:sldLayoutId id="2147484309" r:id="rId109"/>
    <p:sldLayoutId id="2147484310" r:id="rId110"/>
    <p:sldLayoutId id="2147484311" r:id="rId111"/>
    <p:sldLayoutId id="2147484312" r:id="rId112"/>
    <p:sldLayoutId id="2147484313" r:id="rId113"/>
    <p:sldLayoutId id="2147484314" r:id="rId114"/>
    <p:sldLayoutId id="2147484315" r:id="rId115"/>
    <p:sldLayoutId id="2147484316" r:id="rId116"/>
    <p:sldLayoutId id="2147484317" r:id="rId117"/>
    <p:sldLayoutId id="2147484318" r:id="rId118"/>
    <p:sldLayoutId id="2147484319" r:id="rId119"/>
    <p:sldLayoutId id="2147484320" r:id="rId120"/>
    <p:sldLayoutId id="2147484321" r:id="rId121"/>
    <p:sldLayoutId id="2147484322" r:id="rId122"/>
    <p:sldLayoutId id="2147484323" r:id="rId123"/>
    <p:sldLayoutId id="2147484324" r:id="rId124"/>
    <p:sldLayoutId id="2147484325" r:id="rId125"/>
    <p:sldLayoutId id="2147484326" r:id="rId126"/>
    <p:sldLayoutId id="2147484327" r:id="rId127"/>
    <p:sldLayoutId id="2147484328" r:id="rId128"/>
    <p:sldLayoutId id="2147484329" r:id="rId129"/>
    <p:sldLayoutId id="2147484330" r:id="rId130"/>
    <p:sldLayoutId id="2147484331" r:id="rId131"/>
    <p:sldLayoutId id="2147484332" r:id="rId132"/>
    <p:sldLayoutId id="2147484333" r:id="rId133"/>
    <p:sldLayoutId id="2147484334" r:id="rId134"/>
    <p:sldLayoutId id="2147484335" r:id="rId135"/>
    <p:sldLayoutId id="2147484336" r:id="rId136"/>
    <p:sldLayoutId id="2147484337" r:id="rId137"/>
    <p:sldLayoutId id="2147484338" r:id="rId138"/>
    <p:sldLayoutId id="2147484339" r:id="rId139"/>
    <p:sldLayoutId id="2147484340" r:id="rId140"/>
    <p:sldLayoutId id="2147484341" r:id="rId141"/>
    <p:sldLayoutId id="2147484342" r:id="rId142"/>
    <p:sldLayoutId id="2147484343" r:id="rId143"/>
    <p:sldLayoutId id="2147484344" r:id="rId144"/>
    <p:sldLayoutId id="2147484345" r:id="rId145"/>
    <p:sldLayoutId id="2147484346" r:id="rId146"/>
    <p:sldLayoutId id="2147484347" r:id="rId147"/>
    <p:sldLayoutId id="2147484348" r:id="rId148"/>
    <p:sldLayoutId id="2147484349" r:id="rId149"/>
    <p:sldLayoutId id="2147484350" r:id="rId150"/>
    <p:sldLayoutId id="2147484351" r:id="rId151"/>
    <p:sldLayoutId id="2147484352" r:id="rId152"/>
    <p:sldLayoutId id="2147484353" r:id="rId153"/>
    <p:sldLayoutId id="2147484354" r:id="rId154"/>
    <p:sldLayoutId id="2147484355" r:id="rId155"/>
    <p:sldLayoutId id="2147484356" r:id="rId156"/>
    <p:sldLayoutId id="2147484357" r:id="rId157"/>
    <p:sldLayoutId id="2147484358" r:id="rId158"/>
    <p:sldLayoutId id="2147484359" r:id="rId159"/>
    <p:sldLayoutId id="2147484360" r:id="rId160"/>
    <p:sldLayoutId id="2147484361" r:id="rId161"/>
    <p:sldLayoutId id="2147484362" r:id="rId162"/>
    <p:sldLayoutId id="2147484363" r:id="rId163"/>
    <p:sldLayoutId id="2147484364" r:id="rId164"/>
    <p:sldLayoutId id="2147484365" r:id="rId165"/>
    <p:sldLayoutId id="2147484366" r:id="rId166"/>
    <p:sldLayoutId id="2147484367" r:id="rId167"/>
    <p:sldLayoutId id="2147484368" r:id="rId168"/>
    <p:sldLayoutId id="2147484369" r:id="rId169"/>
    <p:sldLayoutId id="2147484370" r:id="rId170"/>
    <p:sldLayoutId id="2147484371" r:id="rId171"/>
    <p:sldLayoutId id="2147484372" r:id="rId172"/>
    <p:sldLayoutId id="2147484373" r:id="rId173"/>
    <p:sldLayoutId id="2147484374" r:id="rId174"/>
    <p:sldLayoutId id="2147484375" r:id="rId175"/>
    <p:sldLayoutId id="2147484376" r:id="rId176"/>
    <p:sldLayoutId id="2147484377" r:id="rId177"/>
    <p:sldLayoutId id="2147484378" r:id="rId178"/>
    <p:sldLayoutId id="2147484379" r:id="rId179"/>
    <p:sldLayoutId id="2147484380" r:id="rId180"/>
    <p:sldLayoutId id="2147484381" r:id="rId181"/>
    <p:sldLayoutId id="2147484382" r:id="rId182"/>
    <p:sldLayoutId id="2147484383" r:id="rId183"/>
  </p:sldLayoutIdLst>
  <p:transition spd="med"/>
  <p:hf hdr="0" dt="0"/>
  <p:txStyles>
    <p:titleStyle>
      <a:lvl1pPr marL="0" marR="0" indent="0" algn="l" defTabSz="2438430" rtl="0" eaLnBrk="1" latinLnBrk="0" hangingPunct="1">
        <a:lnSpc>
          <a:spcPct val="90000"/>
        </a:lnSpc>
        <a:spcBef>
          <a:spcPts val="0"/>
        </a:spcBef>
        <a:spcAft>
          <a:spcPts val="0"/>
        </a:spcAft>
        <a:buClrTx/>
        <a:buSzTx/>
        <a:buFontTx/>
        <a:buNone/>
        <a:tabLst/>
        <a:defRPr sz="6400" b="0" i="0" u="none" strike="noStrike" cap="none" spc="0" baseline="0">
          <a:solidFill>
            <a:schemeClr val="tx2"/>
          </a:solidFill>
          <a:uFillTx/>
          <a:latin typeface="+mj-lt"/>
          <a:ea typeface="+mj-ea"/>
          <a:cs typeface="+mj-cs"/>
          <a:sym typeface="IBM Plex Sans Light"/>
        </a:defRPr>
      </a:lvl1pPr>
      <a:lvl2pPr marL="0" marR="0" indent="0"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73"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48"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20"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95" algn="l" defTabSz="243843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p:titleStyle>
    <p:bodyStyle>
      <a:lvl1pPr marL="0" marR="0" indent="0" algn="l" defTabSz="243843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8" marR="0" indent="-329188" algn="l" defTabSz="243843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76" marR="0" indent="-329188" algn="l" defTabSz="243843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64" marR="0" indent="-329188" algn="l" defTabSz="243843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14" marR="0" indent="-457206" algn="l" defTabSz="2438430" rtl="0" eaLnBrk="1" latinLnBrk="0" hangingPunct="1">
        <a:lnSpc>
          <a:spcPct val="110000"/>
        </a:lnSpc>
        <a:spcBef>
          <a:spcPts val="2901"/>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84" marR="0" indent="-389013" algn="l" defTabSz="2438430" rtl="0" eaLnBrk="1" latinLnBrk="0" hangingPunct="1">
        <a:lnSpc>
          <a:spcPct val="100000"/>
        </a:lnSpc>
        <a:spcBef>
          <a:spcPts val="2901"/>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60" marR="0" indent="-389013" algn="l" defTabSz="2438430" rtl="0" eaLnBrk="1" latinLnBrk="0" hangingPunct="1">
        <a:lnSpc>
          <a:spcPct val="100000"/>
        </a:lnSpc>
        <a:spcBef>
          <a:spcPts val="2901"/>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32" marR="0" indent="-389013" algn="l" defTabSz="2438430" rtl="0" eaLnBrk="1" latinLnBrk="0" hangingPunct="1">
        <a:lnSpc>
          <a:spcPct val="100000"/>
        </a:lnSpc>
        <a:spcBef>
          <a:spcPts val="2901"/>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805" marR="0" indent="-389013" algn="l" defTabSz="2438430" rtl="0" eaLnBrk="1" latinLnBrk="0" hangingPunct="1">
        <a:lnSpc>
          <a:spcPct val="100000"/>
        </a:lnSpc>
        <a:spcBef>
          <a:spcPts val="2901"/>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p:bodyStyle>
    <p:otherStyle>
      <a:lvl1pPr marL="0" marR="0" indent="0"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1pPr>
      <a:lvl2pPr marL="0" marR="0" indent="342996"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2pPr>
      <a:lvl3pPr marL="0" marR="0" indent="685990"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3pPr>
      <a:lvl4pPr marL="0" marR="0" indent="1028986"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4pPr>
      <a:lvl5pPr marL="0" marR="0" indent="1371982"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5pPr>
      <a:lvl6pPr marL="0" marR="0" indent="1714979"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6pPr>
      <a:lvl7pPr marL="0" marR="0" indent="2057975"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7pPr>
      <a:lvl8pPr marL="0" marR="0" indent="2400971"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8pPr>
      <a:lvl9pPr marL="0" marR="0" indent="2743965" algn="r" defTabSz="1829311" rtl="0" eaLnBrk="1" latinLnBrk="0" hangingPunct="1">
        <a:lnSpc>
          <a:spcPct val="100000"/>
        </a:lnSpc>
        <a:spcBef>
          <a:spcPts val="0"/>
        </a:spcBef>
        <a:spcAft>
          <a:spcPts val="0"/>
        </a:spcAft>
        <a:buClrTx/>
        <a:buSzTx/>
        <a:buFontTx/>
        <a:buNone/>
        <a:tabLst/>
        <a:defRPr sz="16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810">
          <p15:clr>
            <a:srgbClr val="0F62FE"/>
          </p15:clr>
        </p15:guide>
        <p15:guide id="3" pos="68">
          <p15:clr>
            <a:srgbClr val="EE5396"/>
          </p15:clr>
        </p15:guide>
        <p15:guide id="4" pos="720">
          <p15:clr>
            <a:srgbClr val="0F62FE"/>
          </p15:clr>
        </p15:guide>
        <p15:guide id="5" pos="359">
          <p15:clr>
            <a:srgbClr val="EE5396"/>
          </p15:clr>
        </p15:guide>
        <p15:guide id="6" pos="1079">
          <p15:clr>
            <a:srgbClr val="EE5396"/>
          </p15:clr>
        </p15:guide>
        <p15:guide id="7" pos="1372">
          <p15:clr>
            <a:srgbClr val="EE5396"/>
          </p15:clr>
        </p15:guide>
        <p15:guide id="8" pos="1507">
          <p15:clr>
            <a:srgbClr val="EE5396"/>
          </p15:clr>
        </p15:guide>
        <p15:guide id="9" pos="787">
          <p15:clr>
            <a:srgbClr val="EE5396"/>
          </p15:clr>
        </p15:guide>
        <p15:guide id="10" pos="652">
          <p15:clr>
            <a:srgbClr val="EE5396"/>
          </p15:clr>
        </p15:guide>
        <p15:guide id="11" pos="1798">
          <p15:clr>
            <a:srgbClr val="EE5396"/>
          </p15:clr>
        </p15:guide>
        <p15:guide id="13" pos="2092">
          <p15:clr>
            <a:srgbClr val="EE5396"/>
          </p15:clr>
        </p15:guide>
        <p15:guide id="14" pos="2227">
          <p15:clr>
            <a:srgbClr val="EE5396"/>
          </p15:clr>
        </p15:guide>
        <p15:guide id="15" pos="2519">
          <p15:clr>
            <a:srgbClr val="EE5396"/>
          </p15:clr>
        </p15:guide>
        <p15:guide id="16" pos="2811">
          <p15:clr>
            <a:srgbClr val="EE5396"/>
          </p15:clr>
        </p15:guide>
        <p15:guide id="17" orient="horz" pos="405">
          <p15:clr>
            <a:srgbClr val="0F62FE"/>
          </p15:clr>
        </p15:guide>
        <p15:guide id="19" orient="horz" pos="608">
          <p15:clr>
            <a:srgbClr val="EE5396"/>
          </p15:clr>
        </p15:guide>
        <p15:guide id="20" orient="horz" pos="203">
          <p15:clr>
            <a:srgbClr val="EE5396"/>
          </p15:clr>
        </p15:guide>
        <p15:guide id="21" orient="horz" pos="69">
          <p15:clr>
            <a:srgbClr val="EE5396"/>
          </p15:clr>
        </p15:guide>
        <p15:guide id="22" orient="horz" pos="1013">
          <p15:clr>
            <a:srgbClr val="EE5396"/>
          </p15:clr>
        </p15:guide>
        <p15:guide id="24" orient="horz" pos="1417">
          <p15:clr>
            <a:srgbClr val="EE5396"/>
          </p15:clr>
        </p15:guide>
        <p15:guide id="25" orient="horz" pos="1551">
          <p15:clr>
            <a:srgbClr val="EE5396"/>
          </p15:clr>
        </p15:guide>
        <p15:guide id="26" pos="1440">
          <p15:clr>
            <a:srgbClr val="0F62FE"/>
          </p15:clr>
        </p15:guide>
        <p15:guide id="27" pos="2159">
          <p15:clr>
            <a:srgbClr val="0F62FE"/>
          </p15:clr>
        </p15:guide>
        <p15:guide id="28" orient="horz" pos="1215">
          <p15:clr>
            <a:srgbClr val="0F62FE"/>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11769264" y="6475857"/>
            <a:ext cx="135436" cy="123111"/>
          </a:xfrm>
          <a:prstGeom prst="rect">
            <a:avLst/>
          </a:prstGeom>
          <a:ln w="12700">
            <a:miter lim="400000"/>
          </a:ln>
        </p:spPr>
        <p:txBody>
          <a:bodyPr wrap="none" lIns="0" tIns="0" rIns="0" bIns="0" anchor="b" anchorCtr="0">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8" name="Title Text"/>
          <p:cNvSpPr txBox="1">
            <a:spLocks noGrp="1"/>
          </p:cNvSpPr>
          <p:nvPr>
            <p:ph type="title"/>
          </p:nvPr>
        </p:nvSpPr>
        <p:spPr>
          <a:xfrm>
            <a:off x="287999" y="288036"/>
            <a:ext cx="11293592" cy="1234377"/>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p>
            <a:r>
              <a:t>Title Text</a:t>
            </a:r>
          </a:p>
        </p:txBody>
      </p:sp>
      <p:sp>
        <p:nvSpPr>
          <p:cNvPr id="49" name="Body Level One…"/>
          <p:cNvSpPr txBox="1">
            <a:spLocks noGrp="1"/>
          </p:cNvSpPr>
          <p:nvPr>
            <p:ph type="body" idx="1"/>
          </p:nvPr>
        </p:nvSpPr>
        <p:spPr>
          <a:xfrm>
            <a:off x="287300" y="1663699"/>
            <a:ext cx="11293592" cy="443388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p>
            <a:r>
              <a:t>Body Level One</a:t>
            </a:r>
          </a:p>
          <a:p>
            <a:pPr lvl="1"/>
            <a:r>
              <a:t>Body Level Two</a:t>
            </a:r>
          </a:p>
          <a:p>
            <a:pPr lvl="2"/>
            <a:r>
              <a:t>Body Level Three</a:t>
            </a:r>
          </a:p>
          <a:p>
            <a:pPr lvl="3"/>
            <a:r>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87963" y="6411643"/>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Footer text (optional)</a:t>
            </a:r>
          </a:p>
        </p:txBody>
      </p:sp>
    </p:spTree>
    <p:extLst>
      <p:ext uri="{BB962C8B-B14F-4D97-AF65-F5344CB8AC3E}">
        <p14:creationId xmlns:p14="http://schemas.microsoft.com/office/powerpoint/2010/main" val="4216119454"/>
      </p:ext>
    </p:extLst>
  </p:cSld>
  <p:clrMap bg1="dk1" tx1="lt1" bg2="dk2" tx2="lt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 id="2147483700" r:id="rId17"/>
    <p:sldLayoutId id="2147483701" r:id="rId18"/>
    <p:sldLayoutId id="2147483702" r:id="rId19"/>
    <p:sldLayoutId id="2147483703" r:id="rId20"/>
    <p:sldLayoutId id="2147483704" r:id="rId21"/>
    <p:sldLayoutId id="2147483705" r:id="rId22"/>
    <p:sldLayoutId id="2147483706" r:id="rId23"/>
    <p:sldLayoutId id="2147483707" r:id="rId24"/>
    <p:sldLayoutId id="2147483708" r:id="rId25"/>
    <p:sldLayoutId id="2147483709" r:id="rId26"/>
    <p:sldLayoutId id="2147483710" r:id="rId27"/>
    <p:sldLayoutId id="2147483711" r:id="rId28"/>
    <p:sldLayoutId id="2147483712" r:id="rId29"/>
    <p:sldLayoutId id="2147483713" r:id="rId30"/>
    <p:sldLayoutId id="2147483714" r:id="rId31"/>
    <p:sldLayoutId id="2147483715" r:id="rId32"/>
    <p:sldLayoutId id="2147483716" r:id="rId33"/>
    <p:sldLayoutId id="2147483717" r:id="rId34"/>
    <p:sldLayoutId id="2147483718" r:id="rId35"/>
    <p:sldLayoutId id="2147483719" r:id="rId36"/>
    <p:sldLayoutId id="2147483720" r:id="rId37"/>
    <p:sldLayoutId id="2147483721" r:id="rId38"/>
    <p:sldLayoutId id="2147483722" r:id="rId39"/>
    <p:sldLayoutId id="2147483723" r:id="rId40"/>
    <p:sldLayoutId id="2147483724" r:id="rId41"/>
    <p:sldLayoutId id="2147483725" r:id="rId42"/>
    <p:sldLayoutId id="2147483726" r:id="rId43"/>
    <p:sldLayoutId id="2147483727" r:id="rId44"/>
    <p:sldLayoutId id="2147483728" r:id="rId45"/>
    <p:sldLayoutId id="2147483729" r:id="rId46"/>
    <p:sldLayoutId id="2147483730" r:id="rId47"/>
    <p:sldLayoutId id="2147483731" r:id="rId48"/>
    <p:sldLayoutId id="2147483733" r:id="rId49"/>
  </p:sldLayoutIdLst>
  <p:transition spd="med"/>
  <p:hf hdr="0" dt="0"/>
  <p:txStyles>
    <p:titleStyle>
      <a:lvl1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chemeClr val="tx2"/>
          </a:solidFill>
          <a:uFillTx/>
          <a:latin typeface="+mj-lt"/>
          <a:ea typeface="+mj-ea"/>
          <a:cs typeface="+mj-cs"/>
          <a:sym typeface="IBM Plex Sans Light"/>
        </a:defRPr>
      </a:lvl1pPr>
      <a:lvl2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8"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7"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4"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93"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p:titleStyle>
    <p:bodyStyle>
      <a:lvl1pPr marL="0" marR="0" indent="0" algn="l" defTabSz="1218956"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59"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18"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77"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86" marR="0" indent="-228554" algn="l" defTabSz="1218956" rtl="0" eaLnBrk="1" latinLnBrk="0" hangingPunct="1">
        <a:lnSpc>
          <a:spcPct val="110000"/>
        </a:lnSpc>
        <a:spcBef>
          <a:spcPts val="1450"/>
        </a:spcBef>
        <a:spcAft>
          <a:spcPts val="0"/>
        </a:spcAft>
        <a:buClrTx/>
        <a:buSzPct val="100000"/>
        <a:buFont typeface="IBM Plex Sans"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p:bodyStyle>
    <p:otherStyle>
      <a:lvl1pPr marL="0" marR="0" indent="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1pPr>
      <a:lvl2pPr marL="0" marR="0" indent="17146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2pPr>
      <a:lvl3pPr marL="0" marR="0" indent="342922"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3pPr>
      <a:lvl4pPr marL="0" marR="0" indent="514384"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4pPr>
      <a:lvl5pPr marL="0" marR="0" indent="685845"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5pPr>
      <a:lvl6pPr marL="0" marR="0" indent="857307"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6pPr>
      <a:lvl7pPr marL="0" marR="0" indent="1028768"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7pPr>
      <a:lvl8pPr marL="0" marR="0" indent="120023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8pPr>
      <a:lvl9pPr marL="0" marR="0" indent="137169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9" orient="horz" pos="3840">
          <p15:clr>
            <a:srgbClr val="EE5396"/>
          </p15:clr>
        </p15:guide>
        <p15:guide id="20" orient="horz" pos="958">
          <p15:clr>
            <a:srgbClr val="EE5396"/>
          </p15:clr>
        </p15:guide>
        <p15:guide id="25" orient="horz" pos="7682">
          <p15:clr>
            <a:srgbClr val="EE5396"/>
          </p15:clr>
        </p15:guide>
        <p15:guide id="26" pos="7680">
          <p15:clr>
            <a:srgbClr val="0F62FE"/>
          </p15:clr>
        </p15:guide>
        <p15:guide id="27" pos="11520">
          <p15:clr>
            <a:srgbClr val="0F62FE"/>
          </p15:clr>
        </p15:guide>
        <p15:guide id="30" orient="horz" pos="1918">
          <p15:clr>
            <a:srgbClr val="EE5396"/>
          </p15:clr>
        </p15:guide>
        <p15:guide id="32" orient="horz" pos="6720">
          <p15:clr>
            <a:srgbClr val="EE5396"/>
          </p15:clr>
        </p15:guide>
        <p15:guide id="33" orient="horz" pos="2880">
          <p15:clr>
            <a:srgbClr val="EE5396"/>
          </p15:clr>
        </p15:guide>
        <p15:guide id="34" orient="horz" pos="4800">
          <p15:clr>
            <a:srgbClr val="EE5396"/>
          </p15:clr>
        </p15:guide>
        <p15:guide id="35" orient="horz" pos="5758">
          <p15:clr>
            <a:srgbClr val="EE5396"/>
          </p15:clr>
        </p15:guide>
        <p15:guide id="36" orient="horz" pos="8284">
          <p15:clr>
            <a:srgbClr val="9FCC3B"/>
          </p15:clr>
        </p15:guide>
        <p15:guide id="37" orient="horz" pos="360">
          <p15:clr>
            <a:srgbClr val="9FCC3B"/>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Slide Number">
            <a:extLst>
              <a:ext uri="{FF2B5EF4-FFF2-40B4-BE49-F238E27FC236}">
                <a16:creationId xmlns:a16="http://schemas.microsoft.com/office/drawing/2014/main" id="{E1EE0838-E3D9-F68D-8105-0D2B772A149E}"/>
              </a:ext>
            </a:extLst>
          </p:cNvPr>
          <p:cNvSpPr txBox="1">
            <a:spLocks noGrp="1"/>
          </p:cNvSpPr>
          <p:nvPr>
            <p:ph type="sldNum" sz="quarter" idx="4"/>
          </p:nvPr>
        </p:nvSpPr>
        <p:spPr>
          <a:xfrm>
            <a:off x="11769264" y="6475859"/>
            <a:ext cx="135437" cy="123110"/>
          </a:xfrm>
          <a:prstGeom prst="rect">
            <a:avLst/>
          </a:prstGeom>
          <a:noFill/>
          <a:ln>
            <a:noFill/>
          </a:ln>
        </p:spPr>
        <p:txBody>
          <a:bodyPr vert="horz" wrap="none" lIns="0" tIns="0" rIns="0" bIns="0" anchor="b" anchorCtr="0" compatLnSpc="1">
            <a:spAutoFit/>
          </a:bodyPr>
          <a:lstStyle>
            <a:lvl1pPr marL="0" marR="0" lvl="0" indent="0" algn="r" defTabSz="914505" rtl="0" fontAlgn="auto" hangingPunct="1">
              <a:lnSpc>
                <a:spcPct val="100000"/>
              </a:lnSpc>
              <a:spcBef>
                <a:spcPts val="0"/>
              </a:spcBef>
              <a:spcAft>
                <a:spcPts val="0"/>
              </a:spcAft>
              <a:buNone/>
              <a:tabLst/>
              <a:defRPr lang="en-US" sz="800" b="0" i="0" u="none" strike="noStrike" kern="1200" cap="none" spc="0" baseline="0">
                <a:solidFill>
                  <a:srgbClr val="000000"/>
                </a:solidFill>
                <a:uFillTx/>
                <a:latin typeface="IBM Plex Sans" pitchFamily="34"/>
              </a:defRPr>
            </a:lvl1pPr>
          </a:lstStyle>
          <a:p>
            <a:pPr lvl="0"/>
            <a:fld id="{22C6EE82-586E-9E40-8DDC-59486D09BDDA}" type="slidenum">
              <a:t>‹#›</a:t>
            </a:fld>
            <a:endParaRPr lang="en-US"/>
          </a:p>
        </p:txBody>
      </p:sp>
      <p:sp>
        <p:nvSpPr>
          <p:cNvPr id="3" name="Title Text">
            <a:extLst>
              <a:ext uri="{FF2B5EF4-FFF2-40B4-BE49-F238E27FC236}">
                <a16:creationId xmlns:a16="http://schemas.microsoft.com/office/drawing/2014/main" id="{913E053C-BC68-7E14-8D18-27CAA2A88473}"/>
              </a:ext>
            </a:extLst>
          </p:cNvPr>
          <p:cNvSpPr txBox="1">
            <a:spLocks noGrp="1"/>
          </p:cNvSpPr>
          <p:nvPr>
            <p:ph type="title"/>
          </p:nvPr>
        </p:nvSpPr>
        <p:spPr>
          <a:xfrm>
            <a:off x="287999" y="288036"/>
            <a:ext cx="11293591" cy="1234376"/>
          </a:xfrm>
          <a:prstGeom prst="rect">
            <a:avLst/>
          </a:prstGeom>
          <a:noFill/>
          <a:ln>
            <a:noFill/>
          </a:ln>
        </p:spPr>
        <p:txBody>
          <a:bodyPr vert="horz" wrap="square" lIns="0" tIns="0" rIns="0" bIns="0" anchor="t" anchorCtr="0" compatLnSpc="1">
            <a:noAutofit/>
          </a:bodyPr>
          <a:lstStyle/>
          <a:p>
            <a:pPr lvl="0"/>
            <a:r>
              <a:rPr lang="en-US"/>
              <a:t>Title Text</a:t>
            </a:r>
          </a:p>
        </p:txBody>
      </p:sp>
      <p:sp>
        <p:nvSpPr>
          <p:cNvPr id="4" name="Body Level One…">
            <a:extLst>
              <a:ext uri="{FF2B5EF4-FFF2-40B4-BE49-F238E27FC236}">
                <a16:creationId xmlns:a16="http://schemas.microsoft.com/office/drawing/2014/main" id="{40A56100-8A25-17AA-A80E-852CA4D2D5EE}"/>
              </a:ext>
            </a:extLst>
          </p:cNvPr>
          <p:cNvSpPr txBox="1">
            <a:spLocks noGrp="1"/>
          </p:cNvSpPr>
          <p:nvPr>
            <p:ph type="body" idx="1"/>
          </p:nvPr>
        </p:nvSpPr>
        <p:spPr>
          <a:xfrm>
            <a:off x="287299" y="1663701"/>
            <a:ext cx="11293591" cy="4433889"/>
          </a:xfrm>
          <a:prstGeom prst="rect">
            <a:avLst/>
          </a:prstGeom>
          <a:noFill/>
          <a:ln>
            <a:noFill/>
          </a:ln>
        </p:spPr>
        <p:txBody>
          <a:bodyPr vert="horz" wrap="square" lIns="0" tIns="0" rIns="0" bIns="0" anchor="t" anchorCtr="0" compatLnSpc="1">
            <a:noAutofit/>
          </a:bodyPr>
          <a:lstStyle/>
          <a:p>
            <a:pPr lvl="0"/>
            <a:r>
              <a:rPr lang="en-US"/>
              <a:t>Body Level One</a:t>
            </a:r>
          </a:p>
          <a:p>
            <a:pPr lvl="1"/>
            <a:r>
              <a:rPr lang="en-US"/>
              <a:t>Body Level Two</a:t>
            </a:r>
          </a:p>
          <a:p>
            <a:pPr lvl="2"/>
            <a:r>
              <a:rPr lang="en-US"/>
              <a:t>Body Level Three</a:t>
            </a:r>
          </a:p>
          <a:p>
            <a:pPr lvl="3"/>
            <a:r>
              <a:rPr lang="en-US"/>
              <a:t>Body Level Four</a:t>
            </a:r>
          </a:p>
        </p:txBody>
      </p:sp>
      <p:sp>
        <p:nvSpPr>
          <p:cNvPr id="5" name="Footer Placeholder 1">
            <a:extLst>
              <a:ext uri="{FF2B5EF4-FFF2-40B4-BE49-F238E27FC236}">
                <a16:creationId xmlns:a16="http://schemas.microsoft.com/office/drawing/2014/main" id="{DFD538F1-4D45-226F-8326-437CAD5BF677}"/>
              </a:ext>
            </a:extLst>
          </p:cNvPr>
          <p:cNvSpPr txBox="1">
            <a:spLocks noGrp="1"/>
          </p:cNvSpPr>
          <p:nvPr>
            <p:ph type="ftr" sz="quarter" idx="3"/>
          </p:nvPr>
        </p:nvSpPr>
        <p:spPr>
          <a:xfrm>
            <a:off x="287962" y="6411645"/>
            <a:ext cx="2477765" cy="190502"/>
          </a:xfrm>
          <a:prstGeom prst="rect">
            <a:avLst/>
          </a:prstGeom>
          <a:noFill/>
          <a:ln>
            <a:noFill/>
          </a:ln>
        </p:spPr>
        <p:txBody>
          <a:bodyPr vert="horz" wrap="square" lIns="0" tIns="0" rIns="0" bIns="0" anchor="b" anchorCtr="0" compatLnSpc="1">
            <a:noAutofit/>
          </a:bodyPr>
          <a:lstStyle>
            <a:lvl1pPr marL="0" marR="0" lvl="0" indent="0" algn="l" defTabSz="914505" rtl="0" fontAlgn="auto" hangingPunct="1">
              <a:lnSpc>
                <a:spcPct val="100000"/>
              </a:lnSpc>
              <a:spcBef>
                <a:spcPts val="0"/>
              </a:spcBef>
              <a:spcAft>
                <a:spcPts val="0"/>
              </a:spcAft>
              <a:buNone/>
              <a:tabLst/>
              <a:defRPr lang="en-US" sz="800" b="0" i="0" u="none" strike="noStrike" kern="1200" cap="none" spc="0" baseline="0">
                <a:solidFill>
                  <a:srgbClr val="000000"/>
                </a:solidFill>
                <a:uFillTx/>
                <a:latin typeface="IBM Plex Sans" pitchFamily="34"/>
              </a:defRPr>
            </a:lvl1pPr>
          </a:lstStyle>
          <a:p>
            <a:pPr lvl="0"/>
            <a:r>
              <a:rPr lang="en-US"/>
              <a:t>Footer text (optional)</a:t>
            </a:r>
          </a:p>
        </p:txBody>
      </p:sp>
    </p:spTree>
    <p:extLst>
      <p:ext uri="{BB962C8B-B14F-4D97-AF65-F5344CB8AC3E}">
        <p14:creationId xmlns:p14="http://schemas.microsoft.com/office/powerpoint/2010/main" val="2164724012"/>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 id="2147483745" r:id="rId11"/>
    <p:sldLayoutId id="2147483746" r:id="rId12"/>
    <p:sldLayoutId id="2147483747" r:id="rId13"/>
    <p:sldLayoutId id="2147483748" r:id="rId14"/>
    <p:sldLayoutId id="2147483749" r:id="rId15"/>
    <p:sldLayoutId id="2147483750" r:id="rId16"/>
    <p:sldLayoutId id="2147483751" r:id="rId17"/>
    <p:sldLayoutId id="2147483752" r:id="rId18"/>
    <p:sldLayoutId id="2147483753" r:id="rId19"/>
    <p:sldLayoutId id="2147483754" r:id="rId20"/>
    <p:sldLayoutId id="2147483755" r:id="rId21"/>
    <p:sldLayoutId id="2147483756" r:id="rId22"/>
    <p:sldLayoutId id="2147483757" r:id="rId23"/>
    <p:sldLayoutId id="2147483758" r:id="rId24"/>
    <p:sldLayoutId id="2147483759" r:id="rId25"/>
    <p:sldLayoutId id="2147483760" r:id="rId26"/>
    <p:sldLayoutId id="2147483761" r:id="rId27"/>
    <p:sldLayoutId id="2147483762" r:id="rId28"/>
    <p:sldLayoutId id="2147483763" r:id="rId29"/>
    <p:sldLayoutId id="2147483764" r:id="rId30"/>
    <p:sldLayoutId id="2147483765" r:id="rId31"/>
    <p:sldLayoutId id="2147483766" r:id="rId32"/>
    <p:sldLayoutId id="2147483767" r:id="rId33"/>
    <p:sldLayoutId id="2147483768" r:id="rId34"/>
    <p:sldLayoutId id="2147483769" r:id="rId35"/>
    <p:sldLayoutId id="2147483770" r:id="rId36"/>
    <p:sldLayoutId id="2147483771" r:id="rId37"/>
    <p:sldLayoutId id="2147483772" r:id="rId38"/>
    <p:sldLayoutId id="2147483773" r:id="rId39"/>
    <p:sldLayoutId id="2147483774" r:id="rId40"/>
    <p:sldLayoutId id="2147483775" r:id="rId41"/>
    <p:sldLayoutId id="2147483776" r:id="rId42"/>
    <p:sldLayoutId id="2147483777" r:id="rId43"/>
    <p:sldLayoutId id="2147483778" r:id="rId44"/>
    <p:sldLayoutId id="2147483779" r:id="rId45"/>
    <p:sldLayoutId id="2147483780" r:id="rId46"/>
    <p:sldLayoutId id="2147483781" r:id="rId47"/>
    <p:sldLayoutId id="2147483782" r:id="rId48"/>
    <p:sldLayoutId id="2147483783" r:id="rId49"/>
  </p:sldLayoutIdLst>
  <p:txStyles>
    <p:titleStyle>
      <a:lvl1pPr marL="0" marR="0" lvl="0" indent="0" algn="l" defTabSz="1218958" rtl="0" fontAlgn="auto" hangingPunct="1">
        <a:lnSpc>
          <a:spcPct val="90000"/>
        </a:lnSpc>
        <a:spcBef>
          <a:spcPts val="0"/>
        </a:spcBef>
        <a:spcAft>
          <a:spcPts val="0"/>
        </a:spcAft>
        <a:buNone/>
        <a:tabLst/>
        <a:defRPr lang="en-US" sz="3199" b="0" i="0" u="none" strike="noStrike" kern="0" cap="none" spc="0" baseline="0">
          <a:solidFill>
            <a:srgbClr val="000000"/>
          </a:solidFill>
          <a:uFillTx/>
          <a:latin typeface="IBM Plex Sans Light"/>
        </a:defRPr>
      </a:lvl1pPr>
    </p:titleStyle>
    <p:bodyStyle>
      <a:lvl1pPr marL="0" marR="0" lvl="0" indent="0" algn="l" defTabSz="1218958" rtl="0" fontAlgn="auto" hangingPunct="1">
        <a:lnSpc>
          <a:spcPct val="110000"/>
        </a:lnSpc>
        <a:spcBef>
          <a:spcPts val="0"/>
        </a:spcBef>
        <a:spcAft>
          <a:spcPts val="0"/>
        </a:spcAft>
        <a:buNone/>
        <a:tabLst/>
        <a:defRPr lang="en-US" sz="1800" b="0" i="0" u="none" strike="noStrike" kern="0" cap="none" spc="0" baseline="0">
          <a:solidFill>
            <a:srgbClr val="000000"/>
          </a:solidFill>
          <a:uFillTx/>
          <a:latin typeface="IBM Plex Sans Light"/>
        </a:defRPr>
      </a:lvl1pPr>
      <a:lvl2pPr marL="164559" marR="0" lvl="1" indent="-164559" algn="l" defTabSz="1218958" rtl="0" fontAlgn="auto" hangingPunct="1">
        <a:lnSpc>
          <a:spcPct val="110000"/>
        </a:lnSpc>
        <a:spcBef>
          <a:spcPts val="0"/>
        </a:spcBef>
        <a:spcAft>
          <a:spcPts val="0"/>
        </a:spcAft>
        <a:buSzPct val="100000"/>
        <a:buChar char="–"/>
        <a:tabLst/>
        <a:defRPr lang="en-US" sz="1800" b="0" i="0" u="none" strike="noStrike" kern="0" cap="none" spc="0" baseline="0">
          <a:solidFill>
            <a:srgbClr val="000000"/>
          </a:solidFill>
          <a:uFillTx/>
          <a:latin typeface="IBM Plex Sans Light"/>
        </a:defRPr>
      </a:lvl2pPr>
      <a:lvl3pPr marL="329118" marR="0" lvl="2" indent="-164559" algn="l" defTabSz="1218958" rtl="0" fontAlgn="auto" hangingPunct="1">
        <a:lnSpc>
          <a:spcPct val="110000"/>
        </a:lnSpc>
        <a:spcBef>
          <a:spcPts val="0"/>
        </a:spcBef>
        <a:spcAft>
          <a:spcPts val="0"/>
        </a:spcAft>
        <a:buSzPct val="100000"/>
        <a:buChar char="•"/>
        <a:tabLst/>
        <a:defRPr lang="en-US" sz="1800" b="0" i="0" u="none" strike="noStrike" kern="0" cap="none" spc="0" baseline="0">
          <a:solidFill>
            <a:srgbClr val="000000"/>
          </a:solidFill>
          <a:uFillTx/>
          <a:latin typeface="IBM Plex Sans Light"/>
        </a:defRPr>
      </a:lvl3pPr>
      <a:lvl4pPr marL="493677" marR="0" lvl="3" indent="-164559" algn="l" defTabSz="1218958" rtl="0" fontAlgn="auto" hangingPunct="1">
        <a:lnSpc>
          <a:spcPct val="110000"/>
        </a:lnSpc>
        <a:spcBef>
          <a:spcPts val="0"/>
        </a:spcBef>
        <a:spcAft>
          <a:spcPts val="0"/>
        </a:spcAft>
        <a:buSzPct val="100000"/>
        <a:buChar char="–"/>
        <a:tabLst/>
        <a:defRPr lang="en-US" sz="1800" b="0" i="0" u="none" strike="noStrike" kern="0" cap="none" spc="0" baseline="0">
          <a:solidFill>
            <a:srgbClr val="000000"/>
          </a:solidFill>
          <a:uFillTx/>
          <a:latin typeface="IBM Plex Sans Light"/>
        </a:defRPr>
      </a:lvl4pPr>
      <a:lvl5pPr marL="1028494"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5pPr>
      <a:lvl6pPr marL="1257049"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6pPr>
      <a:lvl7pPr marL="1485603"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7pPr>
      <a:lvl8pPr marL="1714157"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8pPr>
      <a:lvl9pPr marL="1942711" indent="-114277" algn="l" defTabSz="457109" rtl="0" eaLnBrk="1" latinLnBrk="0" hangingPunct="1">
        <a:lnSpc>
          <a:spcPct val="90000"/>
        </a:lnSpc>
        <a:spcBef>
          <a:spcPts val="250"/>
        </a:spcBef>
        <a:buFont typeface="Arial" panose="020B0604020202020204" pitchFamily="34" charset="0"/>
        <a:buChar char="•"/>
        <a:defRPr sz="900" kern="1200">
          <a:solidFill>
            <a:schemeClr val="tx1"/>
          </a:solidFill>
          <a:latin typeface="+mn-lt"/>
          <a:ea typeface="+mn-ea"/>
          <a:cs typeface="+mn-cs"/>
        </a:defRPr>
      </a:lvl9pPr>
    </p:bodyStyle>
    <p:otherStyle>
      <a:defPPr>
        <a:defRPr lang="en-US"/>
      </a:defPPr>
      <a:lvl1pPr marL="0" algn="l" defTabSz="457109" rtl="0" eaLnBrk="1" latinLnBrk="0" hangingPunct="1">
        <a:defRPr sz="900" kern="1200">
          <a:solidFill>
            <a:schemeClr val="tx1"/>
          </a:solidFill>
          <a:latin typeface="+mn-lt"/>
          <a:ea typeface="+mn-ea"/>
          <a:cs typeface="+mn-cs"/>
        </a:defRPr>
      </a:lvl1pPr>
      <a:lvl2pPr marL="228554" algn="l" defTabSz="457109" rtl="0" eaLnBrk="1" latinLnBrk="0" hangingPunct="1">
        <a:defRPr sz="900" kern="1200">
          <a:solidFill>
            <a:schemeClr val="tx1"/>
          </a:solidFill>
          <a:latin typeface="+mn-lt"/>
          <a:ea typeface="+mn-ea"/>
          <a:cs typeface="+mn-cs"/>
        </a:defRPr>
      </a:lvl2pPr>
      <a:lvl3pPr marL="457109" algn="l" defTabSz="457109" rtl="0" eaLnBrk="1" latinLnBrk="0" hangingPunct="1">
        <a:defRPr sz="900" kern="1200">
          <a:solidFill>
            <a:schemeClr val="tx1"/>
          </a:solidFill>
          <a:latin typeface="+mn-lt"/>
          <a:ea typeface="+mn-ea"/>
          <a:cs typeface="+mn-cs"/>
        </a:defRPr>
      </a:lvl3pPr>
      <a:lvl4pPr marL="685663" algn="l" defTabSz="457109" rtl="0" eaLnBrk="1" latinLnBrk="0" hangingPunct="1">
        <a:defRPr sz="900" kern="1200">
          <a:solidFill>
            <a:schemeClr val="tx1"/>
          </a:solidFill>
          <a:latin typeface="+mn-lt"/>
          <a:ea typeface="+mn-ea"/>
          <a:cs typeface="+mn-cs"/>
        </a:defRPr>
      </a:lvl4pPr>
      <a:lvl5pPr marL="914217" algn="l" defTabSz="457109" rtl="0" eaLnBrk="1" latinLnBrk="0" hangingPunct="1">
        <a:defRPr sz="900" kern="1200">
          <a:solidFill>
            <a:schemeClr val="tx1"/>
          </a:solidFill>
          <a:latin typeface="+mn-lt"/>
          <a:ea typeface="+mn-ea"/>
          <a:cs typeface="+mn-cs"/>
        </a:defRPr>
      </a:lvl5pPr>
      <a:lvl6pPr marL="1142771" algn="l" defTabSz="457109" rtl="0" eaLnBrk="1" latinLnBrk="0" hangingPunct="1">
        <a:defRPr sz="900" kern="1200">
          <a:solidFill>
            <a:schemeClr val="tx1"/>
          </a:solidFill>
          <a:latin typeface="+mn-lt"/>
          <a:ea typeface="+mn-ea"/>
          <a:cs typeface="+mn-cs"/>
        </a:defRPr>
      </a:lvl6pPr>
      <a:lvl7pPr marL="1371326" algn="l" defTabSz="457109" rtl="0" eaLnBrk="1" latinLnBrk="0" hangingPunct="1">
        <a:defRPr sz="900" kern="1200">
          <a:solidFill>
            <a:schemeClr val="tx1"/>
          </a:solidFill>
          <a:latin typeface="+mn-lt"/>
          <a:ea typeface="+mn-ea"/>
          <a:cs typeface="+mn-cs"/>
        </a:defRPr>
      </a:lvl7pPr>
      <a:lvl8pPr marL="1599880" algn="l" defTabSz="457109" rtl="0" eaLnBrk="1" latinLnBrk="0" hangingPunct="1">
        <a:defRPr sz="900" kern="1200">
          <a:solidFill>
            <a:schemeClr val="tx1"/>
          </a:solidFill>
          <a:latin typeface="+mn-lt"/>
          <a:ea typeface="+mn-ea"/>
          <a:cs typeface="+mn-cs"/>
        </a:defRPr>
      </a:lvl8pPr>
      <a:lvl9pPr marL="1828434" algn="l" defTabSz="457109" rtl="0" eaLnBrk="1" latinLnBrk="0" hangingPunct="1">
        <a:defRPr sz="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11769264" y="6469507"/>
            <a:ext cx="135436" cy="123111"/>
          </a:xfrm>
          <a:prstGeom prst="rect">
            <a:avLst/>
          </a:prstGeom>
          <a:ln w="12700">
            <a:miter lim="400000"/>
          </a:ln>
        </p:spPr>
        <p:txBody>
          <a:bodyPr wrap="none" lIns="0" tIns="0" rIns="0" bIns="0" anchor="b" anchorCtr="0">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8" name="Title Text"/>
          <p:cNvSpPr txBox="1">
            <a:spLocks noGrp="1"/>
          </p:cNvSpPr>
          <p:nvPr>
            <p:ph type="title"/>
          </p:nvPr>
        </p:nvSpPr>
        <p:spPr>
          <a:xfrm>
            <a:off x="287999" y="288036"/>
            <a:ext cx="11293592" cy="1325563"/>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p>
            <a:r>
              <a:t>Title Text</a:t>
            </a:r>
          </a:p>
        </p:txBody>
      </p:sp>
      <p:sp>
        <p:nvSpPr>
          <p:cNvPr id="49" name="Body Level One…"/>
          <p:cNvSpPr txBox="1">
            <a:spLocks noGrp="1"/>
          </p:cNvSpPr>
          <p:nvPr>
            <p:ph type="body" idx="1"/>
          </p:nvPr>
        </p:nvSpPr>
        <p:spPr>
          <a:xfrm>
            <a:off x="287300" y="1663700"/>
            <a:ext cx="11293592" cy="433467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p>
            <a:r>
              <a:t>Body Level One</a:t>
            </a:r>
          </a:p>
          <a:p>
            <a:pPr lvl="1"/>
            <a:r>
              <a:t>Body Level Two</a:t>
            </a:r>
          </a:p>
          <a:p>
            <a:pPr lvl="2"/>
            <a:r>
              <a:t>Body Level Three</a:t>
            </a:r>
          </a:p>
          <a:p>
            <a:pPr lvl="3"/>
            <a:r>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Data Integration / © 2024 IBM Corporation</a:t>
            </a:r>
          </a:p>
        </p:txBody>
      </p:sp>
    </p:spTree>
    <p:extLst>
      <p:ext uri="{BB962C8B-B14F-4D97-AF65-F5344CB8AC3E}">
        <p14:creationId xmlns:p14="http://schemas.microsoft.com/office/powerpoint/2010/main" val="1831022420"/>
      </p:ext>
    </p:extLst>
  </p:cSld>
  <p:clrMap bg1="dk1" tx1="lt1" bg2="dk2" tx2="lt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 id="2147483796" r:id="rId12"/>
    <p:sldLayoutId id="2147483797" r:id="rId13"/>
    <p:sldLayoutId id="2147483798" r:id="rId14"/>
    <p:sldLayoutId id="2147483799" r:id="rId15"/>
    <p:sldLayoutId id="2147483800" r:id="rId16"/>
    <p:sldLayoutId id="2147483801" r:id="rId17"/>
    <p:sldLayoutId id="2147483802" r:id="rId18"/>
    <p:sldLayoutId id="2147483803" r:id="rId19"/>
    <p:sldLayoutId id="2147483804" r:id="rId20"/>
    <p:sldLayoutId id="2147483805" r:id="rId21"/>
    <p:sldLayoutId id="2147483806" r:id="rId22"/>
    <p:sldLayoutId id="2147483807" r:id="rId23"/>
    <p:sldLayoutId id="2147483808" r:id="rId24"/>
    <p:sldLayoutId id="2147483809" r:id="rId25"/>
    <p:sldLayoutId id="2147483810" r:id="rId26"/>
    <p:sldLayoutId id="2147483811" r:id="rId27"/>
    <p:sldLayoutId id="2147483812" r:id="rId28"/>
    <p:sldLayoutId id="2147483813" r:id="rId29"/>
    <p:sldLayoutId id="2147483814" r:id="rId30"/>
    <p:sldLayoutId id="2147483815" r:id="rId31"/>
    <p:sldLayoutId id="2147483816" r:id="rId32"/>
    <p:sldLayoutId id="2147483817" r:id="rId33"/>
    <p:sldLayoutId id="2147483818" r:id="rId34"/>
    <p:sldLayoutId id="2147483819" r:id="rId35"/>
    <p:sldLayoutId id="2147483820" r:id="rId36"/>
    <p:sldLayoutId id="2147483821" r:id="rId37"/>
    <p:sldLayoutId id="2147483822" r:id="rId38"/>
    <p:sldLayoutId id="2147483823" r:id="rId39"/>
    <p:sldLayoutId id="2147483824" r:id="rId40"/>
    <p:sldLayoutId id="2147483825" r:id="rId41"/>
    <p:sldLayoutId id="2147483826" r:id="rId42"/>
    <p:sldLayoutId id="2147483827" r:id="rId43"/>
    <p:sldLayoutId id="2147483828" r:id="rId44"/>
    <p:sldLayoutId id="2147483829" r:id="rId45"/>
    <p:sldLayoutId id="2147483830" r:id="rId46"/>
    <p:sldLayoutId id="2147483831" r:id="rId47"/>
    <p:sldLayoutId id="2147483832" r:id="rId48"/>
    <p:sldLayoutId id="2147483833" r:id="rId49"/>
    <p:sldLayoutId id="2147483835" r:id="rId50"/>
    <p:sldLayoutId id="2147483836" r:id="rId51"/>
    <p:sldLayoutId id="2147483837" r:id="rId52"/>
    <p:sldLayoutId id="2147483838" r:id="rId53"/>
  </p:sldLayoutIdLst>
  <p:transition spd="med"/>
  <p:hf hdr="0" dt="0"/>
  <p:txStyles>
    <p:titleStyle>
      <a:lvl1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chemeClr val="tx2"/>
          </a:solidFill>
          <a:uFillTx/>
          <a:latin typeface="+mj-lt"/>
          <a:ea typeface="+mj-ea"/>
          <a:cs typeface="+mj-cs"/>
          <a:sym typeface="IBM Plex Sans Light"/>
        </a:defRPr>
      </a:lvl1pPr>
      <a:lvl2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8"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7"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4"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93"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p:titleStyle>
    <p:bodyStyle>
      <a:lvl1pPr marL="0" marR="0" indent="0" algn="l" defTabSz="1218956"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59"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18"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77"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86" marR="0" indent="-228554" algn="l" defTabSz="1218956"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p:bodyStyle>
    <p:otherStyle>
      <a:lvl1pPr marL="0" marR="0" indent="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1pPr>
      <a:lvl2pPr marL="0" marR="0" indent="17146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2pPr>
      <a:lvl3pPr marL="0" marR="0" indent="342922"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3pPr>
      <a:lvl4pPr marL="0" marR="0" indent="514384"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4pPr>
      <a:lvl5pPr marL="0" marR="0" indent="685845"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5pPr>
      <a:lvl6pPr marL="0" marR="0" indent="857307"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6pPr>
      <a:lvl7pPr marL="0" marR="0" indent="1028768"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7pPr>
      <a:lvl8pPr marL="0" marR="0" indent="120023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8pPr>
      <a:lvl9pPr marL="0" marR="0" indent="137169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56">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11769264" y="6469507"/>
            <a:ext cx="135436" cy="123111"/>
          </a:xfrm>
          <a:prstGeom prst="rect">
            <a:avLst/>
          </a:prstGeom>
          <a:ln w="12700">
            <a:miter lim="400000"/>
          </a:ln>
        </p:spPr>
        <p:txBody>
          <a:bodyPr wrap="none" lIns="0" tIns="0" rIns="0" bIns="0" anchor="b" anchorCtr="0">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8" name="Title Text"/>
          <p:cNvSpPr txBox="1">
            <a:spLocks noGrp="1"/>
          </p:cNvSpPr>
          <p:nvPr>
            <p:ph type="title"/>
          </p:nvPr>
        </p:nvSpPr>
        <p:spPr>
          <a:xfrm>
            <a:off x="287999" y="244195"/>
            <a:ext cx="11293592" cy="1325563"/>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p>
            <a:r>
              <a:t>Title Text</a:t>
            </a:r>
          </a:p>
        </p:txBody>
      </p:sp>
      <p:sp>
        <p:nvSpPr>
          <p:cNvPr id="49" name="Body Level One…"/>
          <p:cNvSpPr txBox="1">
            <a:spLocks noGrp="1"/>
          </p:cNvSpPr>
          <p:nvPr>
            <p:ph type="body" idx="1"/>
          </p:nvPr>
        </p:nvSpPr>
        <p:spPr>
          <a:xfrm>
            <a:off x="287300" y="1657437"/>
            <a:ext cx="11293592" cy="433467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p>
            <a:r>
              <a:t>Body Level One</a:t>
            </a:r>
          </a:p>
          <a:p>
            <a:pPr lvl="1"/>
            <a:r>
              <a:t>Body Level Two</a:t>
            </a:r>
          </a:p>
          <a:p>
            <a:pPr lvl="2"/>
            <a:r>
              <a:t>Body Level Three</a:t>
            </a:r>
          </a:p>
          <a:p>
            <a:pPr lvl="3"/>
            <a:r>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a:t>
            </a:r>
            <a:r>
              <a:rPr lang="uk-UA"/>
              <a:t> </a:t>
            </a:r>
            <a:r>
              <a:rPr lang="en-US"/>
              <a:t>TechXchange | © 2024 IBM Corporation</a:t>
            </a:r>
          </a:p>
        </p:txBody>
      </p:sp>
    </p:spTree>
    <p:extLst>
      <p:ext uri="{BB962C8B-B14F-4D97-AF65-F5344CB8AC3E}">
        <p14:creationId xmlns:p14="http://schemas.microsoft.com/office/powerpoint/2010/main" val="702063393"/>
      </p:ext>
    </p:extLst>
  </p:cSld>
  <p:clrMap bg1="dk1" tx1="lt1" bg2="dk2" tx2="lt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 id="2147483848" r:id="rId8"/>
    <p:sldLayoutId id="2147483849" r:id="rId9"/>
    <p:sldLayoutId id="2147483850" r:id="rId10"/>
    <p:sldLayoutId id="2147483851" r:id="rId11"/>
    <p:sldLayoutId id="2147483852" r:id="rId12"/>
    <p:sldLayoutId id="2147483853" r:id="rId13"/>
    <p:sldLayoutId id="2147483854" r:id="rId14"/>
    <p:sldLayoutId id="2147483855" r:id="rId15"/>
    <p:sldLayoutId id="2147483856" r:id="rId16"/>
    <p:sldLayoutId id="2147483857" r:id="rId17"/>
    <p:sldLayoutId id="2147483858" r:id="rId18"/>
    <p:sldLayoutId id="2147483859" r:id="rId19"/>
    <p:sldLayoutId id="2147483860" r:id="rId20"/>
    <p:sldLayoutId id="2147483861" r:id="rId21"/>
    <p:sldLayoutId id="2147483862" r:id="rId22"/>
    <p:sldLayoutId id="2147483863" r:id="rId23"/>
    <p:sldLayoutId id="2147483864" r:id="rId24"/>
    <p:sldLayoutId id="2147483865" r:id="rId25"/>
    <p:sldLayoutId id="2147483866" r:id="rId26"/>
    <p:sldLayoutId id="2147483867" r:id="rId27"/>
    <p:sldLayoutId id="2147483868" r:id="rId28"/>
    <p:sldLayoutId id="2147483869" r:id="rId29"/>
    <p:sldLayoutId id="2147483870" r:id="rId30"/>
    <p:sldLayoutId id="2147483871" r:id="rId31"/>
    <p:sldLayoutId id="2147483872" r:id="rId32"/>
    <p:sldLayoutId id="2147483873" r:id="rId33"/>
    <p:sldLayoutId id="2147483874" r:id="rId34"/>
    <p:sldLayoutId id="2147483875" r:id="rId35"/>
    <p:sldLayoutId id="2147483876" r:id="rId36"/>
    <p:sldLayoutId id="2147483877" r:id="rId37"/>
    <p:sldLayoutId id="2147483878" r:id="rId38"/>
    <p:sldLayoutId id="2147483879" r:id="rId39"/>
    <p:sldLayoutId id="2147483880" r:id="rId40"/>
    <p:sldLayoutId id="2147483881" r:id="rId41"/>
    <p:sldLayoutId id="2147483882" r:id="rId42"/>
    <p:sldLayoutId id="2147483883" r:id="rId43"/>
    <p:sldLayoutId id="2147483884" r:id="rId44"/>
    <p:sldLayoutId id="2147483885" r:id="rId45"/>
    <p:sldLayoutId id="2147483886" r:id="rId46"/>
    <p:sldLayoutId id="2147483887" r:id="rId47"/>
    <p:sldLayoutId id="2147483888" r:id="rId4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chemeClr val="tx2"/>
          </a:solidFill>
          <a:uFillTx/>
          <a:latin typeface="+mj-lt"/>
          <a:ea typeface="+mj-ea"/>
          <a:cs typeface="+mj-cs"/>
          <a:sym typeface="IBM Plex Sans Light"/>
        </a:defRPr>
      </a:lvl1pPr>
      <a:lvl2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8"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7"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4"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93"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p:titleStyle>
    <p:bodyStyle>
      <a:lvl1pPr marL="0" marR="0" indent="0" algn="l" defTabSz="1218956"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59" marR="0" indent="-164559" algn="l" defTabSz="1218956" rtl="0" eaLnBrk="1" latinLnBrk="0" hangingPunct="1">
        <a:lnSpc>
          <a:spcPct val="110000"/>
        </a:lnSpc>
        <a:spcBef>
          <a:spcPts val="0"/>
        </a:spcBef>
        <a:spcAft>
          <a:spcPts val="0"/>
        </a:spcAft>
        <a:buClrTx/>
        <a:buSzPct val="100000"/>
        <a:buFont typeface="Arial" panose="020B0604020202020204" pitchFamily="34" charset="0"/>
        <a:buChar char="•"/>
        <a:tabLst/>
        <a:defRPr sz="1800" b="0" i="0" u="none" strike="noStrike" cap="none" spc="0" baseline="0">
          <a:solidFill>
            <a:schemeClr val="tx1"/>
          </a:solidFill>
          <a:uFillTx/>
          <a:latin typeface="+mj-lt"/>
          <a:ea typeface="+mj-ea"/>
          <a:cs typeface="+mj-cs"/>
          <a:sym typeface="IBM Plex Sans Light"/>
        </a:defRPr>
      </a:lvl2pPr>
      <a:lvl3pPr marL="329118"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77" marR="0" indent="-164559" algn="l" defTabSz="1218956" rtl="0" eaLnBrk="1" latinLnBrk="0" hangingPunct="1">
        <a:lnSpc>
          <a:spcPct val="110000"/>
        </a:lnSpc>
        <a:spcBef>
          <a:spcPts val="0"/>
        </a:spcBef>
        <a:spcAft>
          <a:spcPts val="0"/>
        </a:spcAft>
        <a:buClrTx/>
        <a:buSzPct val="100000"/>
        <a:buFont typeface="Arial" panose="020B0604020202020204" pitchFamily="34" charset="0"/>
        <a:buChar char="•"/>
        <a:tabLst/>
        <a:defRPr sz="1800" b="0" i="0" u="none" strike="noStrike" cap="none" spc="0" baseline="0">
          <a:solidFill>
            <a:schemeClr val="tx1"/>
          </a:solidFill>
          <a:uFillTx/>
          <a:latin typeface="+mj-lt"/>
          <a:ea typeface="+mj-ea"/>
          <a:cs typeface="+mj-cs"/>
          <a:sym typeface="IBM Plex Sans Light"/>
        </a:defRPr>
      </a:lvl4pPr>
      <a:lvl5pPr marL="571386" marR="0" indent="-228554" algn="l" defTabSz="1218956"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p:bodyStyle>
    <p:otherStyle>
      <a:lvl1pPr marL="0" marR="0" indent="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1pPr>
      <a:lvl2pPr marL="0" marR="0" indent="17146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2pPr>
      <a:lvl3pPr marL="0" marR="0" indent="342922"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3pPr>
      <a:lvl4pPr marL="0" marR="0" indent="514384"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4pPr>
      <a:lvl5pPr marL="0" marR="0" indent="685845"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5pPr>
      <a:lvl6pPr marL="0" marR="0" indent="857307"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6pPr>
      <a:lvl7pPr marL="0" marR="0" indent="1028768"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7pPr>
      <a:lvl8pPr marL="0" marR="0" indent="120023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8pPr>
      <a:lvl9pPr marL="0" marR="0" indent="137169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56">
          <p15:clr>
            <a:srgbClr val="EE5396"/>
          </p15:clr>
        </p15:guide>
        <p15:guide id="21" orient="horz" pos="336">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11769264" y="6469507"/>
            <a:ext cx="135436" cy="123111"/>
          </a:xfrm>
          <a:prstGeom prst="rect">
            <a:avLst/>
          </a:prstGeom>
          <a:ln w="12700">
            <a:miter lim="400000"/>
          </a:ln>
        </p:spPr>
        <p:txBody>
          <a:bodyPr wrap="none" lIns="0" tIns="0" rIns="0" bIns="0" anchor="b" anchorCtr="0">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8" name="Title Text"/>
          <p:cNvSpPr txBox="1">
            <a:spLocks noGrp="1"/>
          </p:cNvSpPr>
          <p:nvPr>
            <p:ph type="title"/>
          </p:nvPr>
        </p:nvSpPr>
        <p:spPr>
          <a:xfrm>
            <a:off x="287999" y="288036"/>
            <a:ext cx="11293592" cy="1325563"/>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p>
            <a:r>
              <a:t>Title Text</a:t>
            </a:r>
          </a:p>
        </p:txBody>
      </p:sp>
      <p:sp>
        <p:nvSpPr>
          <p:cNvPr id="49" name="Body Level One…"/>
          <p:cNvSpPr txBox="1">
            <a:spLocks noGrp="1"/>
          </p:cNvSpPr>
          <p:nvPr>
            <p:ph type="body" idx="1"/>
          </p:nvPr>
        </p:nvSpPr>
        <p:spPr>
          <a:xfrm>
            <a:off x="287300" y="1663700"/>
            <a:ext cx="11293592" cy="433467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p>
            <a:r>
              <a:t>Body Level One</a:t>
            </a:r>
          </a:p>
          <a:p>
            <a:pPr lvl="1"/>
            <a:r>
              <a:t>Body Level Two</a:t>
            </a:r>
          </a:p>
          <a:p>
            <a:pPr lvl="2"/>
            <a:r>
              <a:t>Body Level Three</a:t>
            </a:r>
          </a:p>
          <a:p>
            <a:pPr lvl="3"/>
            <a:r>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Footer text (optional)</a:t>
            </a:r>
          </a:p>
        </p:txBody>
      </p:sp>
    </p:spTree>
    <p:extLst>
      <p:ext uri="{BB962C8B-B14F-4D97-AF65-F5344CB8AC3E}">
        <p14:creationId xmlns:p14="http://schemas.microsoft.com/office/powerpoint/2010/main" val="2703949495"/>
      </p:ext>
    </p:extLst>
  </p:cSld>
  <p:clrMap bg1="dk1" tx1="lt1" bg2="dk2" tx2="lt2" accent1="accent1" accent2="accent2" accent3="accent3" accent4="accent4" accent5="accent5" accent6="accent6" hlink="hlink" folHlink="folHlink"/>
  <p:sldLayoutIdLst>
    <p:sldLayoutId id="2147483890" r:id="rId1"/>
    <p:sldLayoutId id="2147483891" r:id="rId2"/>
    <p:sldLayoutId id="2147483892" r:id="rId3"/>
    <p:sldLayoutId id="2147483893" r:id="rId4"/>
    <p:sldLayoutId id="2147483894" r:id="rId5"/>
    <p:sldLayoutId id="2147483895" r:id="rId6"/>
    <p:sldLayoutId id="2147483896" r:id="rId7"/>
    <p:sldLayoutId id="2147483897" r:id="rId8"/>
    <p:sldLayoutId id="2147483898" r:id="rId9"/>
    <p:sldLayoutId id="2147483899" r:id="rId10"/>
    <p:sldLayoutId id="2147483900" r:id="rId11"/>
    <p:sldLayoutId id="2147483901" r:id="rId12"/>
    <p:sldLayoutId id="2147483902" r:id="rId13"/>
    <p:sldLayoutId id="2147483903" r:id="rId14"/>
    <p:sldLayoutId id="2147483904" r:id="rId15"/>
    <p:sldLayoutId id="2147483905" r:id="rId16"/>
    <p:sldLayoutId id="2147483906" r:id="rId17"/>
    <p:sldLayoutId id="2147483907" r:id="rId18"/>
    <p:sldLayoutId id="2147483908" r:id="rId19"/>
    <p:sldLayoutId id="2147483909" r:id="rId20"/>
    <p:sldLayoutId id="2147483910" r:id="rId21"/>
    <p:sldLayoutId id="2147483911" r:id="rId22"/>
    <p:sldLayoutId id="2147483912" r:id="rId23"/>
    <p:sldLayoutId id="2147483913" r:id="rId24"/>
    <p:sldLayoutId id="2147483914" r:id="rId25"/>
    <p:sldLayoutId id="2147483915" r:id="rId26"/>
    <p:sldLayoutId id="2147483916" r:id="rId27"/>
    <p:sldLayoutId id="2147483917" r:id="rId28"/>
    <p:sldLayoutId id="2147483918" r:id="rId29"/>
    <p:sldLayoutId id="2147483919" r:id="rId30"/>
    <p:sldLayoutId id="2147483920" r:id="rId31"/>
    <p:sldLayoutId id="2147483921" r:id="rId32"/>
    <p:sldLayoutId id="2147483922" r:id="rId33"/>
    <p:sldLayoutId id="2147483923" r:id="rId34"/>
    <p:sldLayoutId id="2147483924" r:id="rId35"/>
    <p:sldLayoutId id="2147483925" r:id="rId36"/>
    <p:sldLayoutId id="2147483926" r:id="rId37"/>
    <p:sldLayoutId id="2147483927" r:id="rId38"/>
    <p:sldLayoutId id="2147483928" r:id="rId39"/>
    <p:sldLayoutId id="2147483929" r:id="rId40"/>
    <p:sldLayoutId id="2147483930" r:id="rId41"/>
    <p:sldLayoutId id="2147483931" r:id="rId42"/>
    <p:sldLayoutId id="2147483932" r:id="rId43"/>
    <p:sldLayoutId id="2147483933" r:id="rId44"/>
    <p:sldLayoutId id="2147483934" r:id="rId45"/>
    <p:sldLayoutId id="2147483935" r:id="rId46"/>
    <p:sldLayoutId id="2147483936" r:id="rId47"/>
    <p:sldLayoutId id="2147483937" r:id="rId48"/>
    <p:sldLayoutId id="2147483938" r:id="rId49"/>
    <p:sldLayoutId id="2147483939" r:id="rId50"/>
    <p:sldLayoutId id="2147483940" r:id="rId51"/>
    <p:sldLayoutId id="2147483941" r:id="rId52"/>
  </p:sldLayoutIdLst>
  <p:hf hdr="0" dt="0"/>
  <p:txStyles>
    <p:titleStyle>
      <a:lvl1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chemeClr val="tx2"/>
          </a:solidFill>
          <a:uFillTx/>
          <a:latin typeface="+mj-lt"/>
          <a:ea typeface="+mj-ea"/>
          <a:cs typeface="+mj-cs"/>
          <a:sym typeface="IBM Plex Sans Light"/>
        </a:defRPr>
      </a:lvl1pPr>
      <a:lvl2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8"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7"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4"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93"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p:titleStyle>
    <p:bodyStyle>
      <a:lvl1pPr marL="0" marR="0" indent="0" algn="l" defTabSz="1218956"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59"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18"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77"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86" marR="0" indent="-228554" algn="l" defTabSz="1218956"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p:bodyStyle>
    <p:otherStyle>
      <a:lvl1pPr marL="0" marR="0" indent="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1pPr>
      <a:lvl2pPr marL="0" marR="0" indent="17146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2pPr>
      <a:lvl3pPr marL="0" marR="0" indent="342922"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3pPr>
      <a:lvl4pPr marL="0" marR="0" indent="514384"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4pPr>
      <a:lvl5pPr marL="0" marR="0" indent="685845"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5pPr>
      <a:lvl6pPr marL="0" marR="0" indent="857307"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6pPr>
      <a:lvl7pPr marL="0" marR="0" indent="1028768"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7pPr>
      <a:lvl8pPr marL="0" marR="0" indent="120023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8pPr>
      <a:lvl9pPr marL="0" marR="0" indent="137169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11769264" y="6469507"/>
            <a:ext cx="135436" cy="123111"/>
          </a:xfrm>
          <a:prstGeom prst="rect">
            <a:avLst/>
          </a:prstGeom>
          <a:ln w="12700">
            <a:miter lim="400000"/>
          </a:ln>
        </p:spPr>
        <p:txBody>
          <a:bodyPr wrap="none" lIns="0" tIns="0" rIns="0" bIns="0" anchor="b" anchorCtr="0">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8" name="Title Text"/>
          <p:cNvSpPr txBox="1">
            <a:spLocks noGrp="1"/>
          </p:cNvSpPr>
          <p:nvPr>
            <p:ph type="title"/>
          </p:nvPr>
        </p:nvSpPr>
        <p:spPr>
          <a:xfrm>
            <a:off x="287999" y="244195"/>
            <a:ext cx="11293592" cy="1325563"/>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p>
            <a:r>
              <a:t>Title Text</a:t>
            </a:r>
          </a:p>
        </p:txBody>
      </p:sp>
      <p:sp>
        <p:nvSpPr>
          <p:cNvPr id="49" name="Body Level One…"/>
          <p:cNvSpPr txBox="1">
            <a:spLocks noGrp="1"/>
          </p:cNvSpPr>
          <p:nvPr>
            <p:ph type="body" idx="1"/>
          </p:nvPr>
        </p:nvSpPr>
        <p:spPr>
          <a:xfrm>
            <a:off x="287300" y="1657437"/>
            <a:ext cx="11293592" cy="433467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p>
            <a:r>
              <a:t>Body Level One</a:t>
            </a:r>
          </a:p>
          <a:p>
            <a:pPr lvl="1"/>
            <a:r>
              <a:t>Body Level Two</a:t>
            </a:r>
          </a:p>
          <a:p>
            <a:pPr lvl="2"/>
            <a:r>
              <a:t>Body Level Three</a:t>
            </a:r>
          </a:p>
          <a:p>
            <a:pPr lvl="3"/>
            <a:r>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 2024 IBM Corporation</a:t>
            </a:r>
          </a:p>
        </p:txBody>
      </p:sp>
    </p:spTree>
    <p:extLst>
      <p:ext uri="{BB962C8B-B14F-4D97-AF65-F5344CB8AC3E}">
        <p14:creationId xmlns:p14="http://schemas.microsoft.com/office/powerpoint/2010/main" val="3668182096"/>
      </p:ext>
    </p:extLst>
  </p:cSld>
  <p:clrMap bg1="dk1" tx1="lt1" bg2="dk2" tx2="lt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1" r:id="rId8"/>
    <p:sldLayoutId id="2147483952" r:id="rId9"/>
    <p:sldLayoutId id="2147483953" r:id="rId10"/>
    <p:sldLayoutId id="2147483954" r:id="rId11"/>
    <p:sldLayoutId id="2147483955" r:id="rId12"/>
    <p:sldLayoutId id="2147483956" r:id="rId13"/>
    <p:sldLayoutId id="2147483957" r:id="rId14"/>
    <p:sldLayoutId id="2147483958" r:id="rId15"/>
    <p:sldLayoutId id="2147483959" r:id="rId16"/>
    <p:sldLayoutId id="2147483960" r:id="rId17"/>
    <p:sldLayoutId id="2147483961" r:id="rId18"/>
    <p:sldLayoutId id="2147483962" r:id="rId19"/>
    <p:sldLayoutId id="2147483963" r:id="rId20"/>
    <p:sldLayoutId id="2147483964" r:id="rId21"/>
    <p:sldLayoutId id="2147483965" r:id="rId22"/>
    <p:sldLayoutId id="2147483966" r:id="rId23"/>
    <p:sldLayoutId id="2147483967" r:id="rId24"/>
    <p:sldLayoutId id="2147483968" r:id="rId25"/>
    <p:sldLayoutId id="2147483969" r:id="rId26"/>
    <p:sldLayoutId id="2147483970" r:id="rId27"/>
    <p:sldLayoutId id="2147483971" r:id="rId28"/>
    <p:sldLayoutId id="2147483972" r:id="rId29"/>
    <p:sldLayoutId id="2147483973" r:id="rId30"/>
    <p:sldLayoutId id="2147483974" r:id="rId31"/>
    <p:sldLayoutId id="2147483975" r:id="rId32"/>
    <p:sldLayoutId id="2147483976" r:id="rId33"/>
    <p:sldLayoutId id="2147483977" r:id="rId34"/>
    <p:sldLayoutId id="2147483978" r:id="rId35"/>
    <p:sldLayoutId id="2147483979" r:id="rId36"/>
    <p:sldLayoutId id="2147483980" r:id="rId37"/>
    <p:sldLayoutId id="2147483981" r:id="rId38"/>
    <p:sldLayoutId id="2147483982" r:id="rId39"/>
    <p:sldLayoutId id="2147483983" r:id="rId40"/>
    <p:sldLayoutId id="2147483984" r:id="rId41"/>
    <p:sldLayoutId id="2147483985" r:id="rId42"/>
    <p:sldLayoutId id="2147483986" r:id="rId43"/>
    <p:sldLayoutId id="2147483987" r:id="rId44"/>
    <p:sldLayoutId id="2147483988" r:id="rId45"/>
    <p:sldLayoutId id="2147483989" r:id="rId46"/>
    <p:sldLayoutId id="2147483990" r:id="rId47"/>
    <p:sldLayoutId id="2147483991" r:id="rId4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chemeClr val="tx2"/>
          </a:solidFill>
          <a:uFillTx/>
          <a:latin typeface="+mj-lt"/>
          <a:ea typeface="+mj-ea"/>
          <a:cs typeface="+mj-cs"/>
          <a:sym typeface="IBM Plex Sans Light"/>
        </a:defRPr>
      </a:lvl1pPr>
      <a:lvl2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8"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7"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4"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93"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p:titleStyle>
    <p:bodyStyle>
      <a:lvl1pPr marL="0" marR="0" indent="0" algn="l" defTabSz="1218956"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59" marR="0" indent="-164559" algn="l" defTabSz="1218956" rtl="0" eaLnBrk="1" latinLnBrk="0" hangingPunct="1">
        <a:lnSpc>
          <a:spcPct val="110000"/>
        </a:lnSpc>
        <a:spcBef>
          <a:spcPts val="0"/>
        </a:spcBef>
        <a:spcAft>
          <a:spcPts val="0"/>
        </a:spcAft>
        <a:buClrTx/>
        <a:buSzPct val="100000"/>
        <a:buFont typeface="Arial" panose="020B0604020202020204" pitchFamily="34" charset="0"/>
        <a:buChar char="•"/>
        <a:tabLst/>
        <a:defRPr sz="1800" b="0" i="0" u="none" strike="noStrike" cap="none" spc="0" baseline="0">
          <a:solidFill>
            <a:schemeClr val="tx1"/>
          </a:solidFill>
          <a:uFillTx/>
          <a:latin typeface="+mj-lt"/>
          <a:ea typeface="+mj-ea"/>
          <a:cs typeface="+mj-cs"/>
          <a:sym typeface="IBM Plex Sans Light"/>
        </a:defRPr>
      </a:lvl2pPr>
      <a:lvl3pPr marL="329118"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77" marR="0" indent="-164559" algn="l" defTabSz="1218956" rtl="0" eaLnBrk="1" latinLnBrk="0" hangingPunct="1">
        <a:lnSpc>
          <a:spcPct val="110000"/>
        </a:lnSpc>
        <a:spcBef>
          <a:spcPts val="0"/>
        </a:spcBef>
        <a:spcAft>
          <a:spcPts val="0"/>
        </a:spcAft>
        <a:buClrTx/>
        <a:buSzPct val="100000"/>
        <a:buFont typeface="Arial" panose="020B0604020202020204" pitchFamily="34" charset="0"/>
        <a:buChar char="•"/>
        <a:tabLst/>
        <a:defRPr sz="1800" b="0" i="0" u="none" strike="noStrike" cap="none" spc="0" baseline="0">
          <a:solidFill>
            <a:schemeClr val="tx1"/>
          </a:solidFill>
          <a:uFillTx/>
          <a:latin typeface="+mj-lt"/>
          <a:ea typeface="+mj-ea"/>
          <a:cs typeface="+mj-cs"/>
          <a:sym typeface="IBM Plex Sans Light"/>
        </a:defRPr>
      </a:lvl4pPr>
      <a:lvl5pPr marL="571386" marR="0" indent="-228554" algn="l" defTabSz="1218956"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p:bodyStyle>
    <p:otherStyle>
      <a:lvl1pPr marL="0" marR="0" indent="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1pPr>
      <a:lvl2pPr marL="0" marR="0" indent="17146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2pPr>
      <a:lvl3pPr marL="0" marR="0" indent="342922"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3pPr>
      <a:lvl4pPr marL="0" marR="0" indent="514384"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4pPr>
      <a:lvl5pPr marL="0" marR="0" indent="685845"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5pPr>
      <a:lvl6pPr marL="0" marR="0" indent="857307"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6pPr>
      <a:lvl7pPr marL="0" marR="0" indent="1028768"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7pPr>
      <a:lvl8pPr marL="0" marR="0" indent="120023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8pPr>
      <a:lvl9pPr marL="0" marR="0" indent="137169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56">
          <p15:clr>
            <a:srgbClr val="EE5396"/>
          </p15:clr>
        </p15:guide>
        <p15:guide id="21" orient="horz" pos="336">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8" name="Title Text"/>
          <p:cNvSpPr txBox="1">
            <a:spLocks noGrp="1"/>
          </p:cNvSpPr>
          <p:nvPr>
            <p:ph type="title"/>
          </p:nvPr>
        </p:nvSpPr>
        <p:spPr>
          <a:xfrm>
            <a:off x="287300" y="288925"/>
            <a:ext cx="11293592" cy="1325563"/>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p>
            <a:r>
              <a:t>Title Text</a:t>
            </a:r>
          </a:p>
        </p:txBody>
      </p:sp>
      <p:sp>
        <p:nvSpPr>
          <p:cNvPr id="49" name="Body Level One…"/>
          <p:cNvSpPr txBox="1">
            <a:spLocks noGrp="1"/>
          </p:cNvSpPr>
          <p:nvPr>
            <p:ph type="body" idx="1"/>
          </p:nvPr>
        </p:nvSpPr>
        <p:spPr>
          <a:xfrm>
            <a:off x="287300" y="1663700"/>
            <a:ext cx="11293592" cy="433467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p>
            <a:r>
              <a:t>Body Level One</a:t>
            </a:r>
          </a:p>
          <a:p>
            <a:pPr lvl="1"/>
            <a:r>
              <a:t>Body Level Two</a:t>
            </a:r>
          </a:p>
          <a:p>
            <a:pPr lvl="2"/>
            <a:r>
              <a:t>Body Level Three</a:t>
            </a:r>
          </a:p>
          <a:p>
            <a:pPr lvl="3"/>
            <a:r>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Footer text (optional)</a:t>
            </a:r>
          </a:p>
        </p:txBody>
      </p:sp>
      <p:sp>
        <p:nvSpPr>
          <p:cNvPr id="47" name="Slide Number"/>
          <p:cNvSpPr txBox="1">
            <a:spLocks noGrp="1"/>
          </p:cNvSpPr>
          <p:nvPr>
            <p:ph type="sldNum" sz="quarter" idx="2"/>
          </p:nvPr>
        </p:nvSpPr>
        <p:spPr>
          <a:xfrm>
            <a:off x="11769264" y="6469380"/>
            <a:ext cx="135436" cy="123111"/>
          </a:xfrm>
          <a:prstGeom prst="rect">
            <a:avLst/>
          </a:prstGeom>
          <a:ln w="12700">
            <a:miter lim="400000"/>
          </a:ln>
        </p:spPr>
        <p:txBody>
          <a:bodyPr wrap="none" lIns="0" tIns="0" rIns="0" bIns="0" anchor="b" anchorCtr="0">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511846714"/>
      </p:ext>
    </p:extLst>
  </p:cSld>
  <p:clrMap bg1="dk1" tx1="lt1" bg2="dk2" tx2="lt2" accent1="accent1" accent2="accent2" accent3="accent3" accent4="accent4" accent5="accent5" accent6="accent6" hlink="hlink" folHlink="folHlink"/>
  <p:sldLayoutIdLst>
    <p:sldLayoutId id="2147483996" r:id="rId1"/>
    <p:sldLayoutId id="2147483997" r:id="rId2"/>
    <p:sldLayoutId id="2147483998" r:id="rId3"/>
    <p:sldLayoutId id="2147483999" r:id="rId4"/>
    <p:sldLayoutId id="2147484000" r:id="rId5"/>
    <p:sldLayoutId id="2147484001" r:id="rId6"/>
    <p:sldLayoutId id="2147484002" r:id="rId7"/>
    <p:sldLayoutId id="2147484003" r:id="rId8"/>
    <p:sldLayoutId id="2147484004" r:id="rId9"/>
    <p:sldLayoutId id="2147484005" r:id="rId10"/>
    <p:sldLayoutId id="2147484006" r:id="rId11"/>
    <p:sldLayoutId id="2147484007" r:id="rId12"/>
    <p:sldLayoutId id="2147484008" r:id="rId13"/>
    <p:sldLayoutId id="2147484009" r:id="rId14"/>
    <p:sldLayoutId id="2147484010" r:id="rId15"/>
    <p:sldLayoutId id="2147484011" r:id="rId16"/>
    <p:sldLayoutId id="2147484012" r:id="rId17"/>
    <p:sldLayoutId id="2147484013" r:id="rId18"/>
    <p:sldLayoutId id="2147484014" r:id="rId19"/>
    <p:sldLayoutId id="2147484015" r:id="rId20"/>
    <p:sldLayoutId id="2147484016" r:id="rId21"/>
    <p:sldLayoutId id="2147484017" r:id="rId22"/>
    <p:sldLayoutId id="2147484018" r:id="rId23"/>
    <p:sldLayoutId id="2147484019" r:id="rId24"/>
    <p:sldLayoutId id="2147484020" r:id="rId25"/>
    <p:sldLayoutId id="2147484021" r:id="rId26"/>
    <p:sldLayoutId id="2147484022" r:id="rId27"/>
    <p:sldLayoutId id="2147484023" r:id="rId28"/>
    <p:sldLayoutId id="2147484024" r:id="rId29"/>
    <p:sldLayoutId id="2147484025" r:id="rId30"/>
    <p:sldLayoutId id="2147484026" r:id="rId31"/>
    <p:sldLayoutId id="2147484027" r:id="rId32"/>
    <p:sldLayoutId id="2147484028" r:id="rId33"/>
    <p:sldLayoutId id="2147484029" r:id="rId34"/>
    <p:sldLayoutId id="2147484030" r:id="rId35"/>
    <p:sldLayoutId id="2147484031" r:id="rId36"/>
    <p:sldLayoutId id="2147484032" r:id="rId37"/>
    <p:sldLayoutId id="2147484033" r:id="rId38"/>
    <p:sldLayoutId id="2147484034" r:id="rId39"/>
    <p:sldLayoutId id="2147484035" r:id="rId40"/>
    <p:sldLayoutId id="2147484036" r:id="rId41"/>
    <p:sldLayoutId id="2147484037" r:id="rId42"/>
    <p:sldLayoutId id="2147484038" r:id="rId43"/>
    <p:sldLayoutId id="2147484039" r:id="rId44"/>
    <p:sldLayoutId id="2147484040" r:id="rId45"/>
    <p:sldLayoutId id="2147484041" r:id="rId46"/>
    <p:sldLayoutId id="2147484042" r:id="rId47"/>
    <p:sldLayoutId id="2147484043" r:id="rId48"/>
    <p:sldLayoutId id="2147484045" r:id="rId49"/>
    <p:sldLayoutId id="2147484046" r:id="rId50"/>
    <p:sldLayoutId id="2147484197" r:id="rId51"/>
    <p:sldLayoutId id="2147484199" r:id="rId52"/>
  </p:sldLayoutIdLst>
  <p:transition spd="med"/>
  <p:hf hdr="0" dt="0"/>
  <p:txStyles>
    <p:titleStyle>
      <a:lvl1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chemeClr val="tx2"/>
          </a:solidFill>
          <a:uFillTx/>
          <a:latin typeface="+mj-lt"/>
          <a:ea typeface="+mj-ea"/>
          <a:cs typeface="+mj-cs"/>
          <a:sym typeface="IBM Plex Sans Light"/>
        </a:defRPr>
      </a:lvl1pPr>
      <a:lvl2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8"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7"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4"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93"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p:titleStyle>
    <p:bodyStyle>
      <a:lvl1pPr marL="0" marR="0" indent="0" algn="l" defTabSz="1218956"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59"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18"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77"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86" marR="0" indent="-228554" algn="l" defTabSz="1218956"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p:bodyStyle>
    <p:otherStyle>
      <a:lvl1pPr marL="0" marR="0" indent="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1pPr>
      <a:lvl2pPr marL="0" marR="0" indent="17146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2pPr>
      <a:lvl3pPr marL="0" marR="0" indent="342922"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3pPr>
      <a:lvl4pPr marL="0" marR="0" indent="514384"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4pPr>
      <a:lvl5pPr marL="0" marR="0" indent="685845"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5pPr>
      <a:lvl6pPr marL="0" marR="0" indent="857307"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6pPr>
      <a:lvl7pPr marL="0" marR="0" indent="1028768"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7pPr>
      <a:lvl8pPr marL="0" marR="0" indent="120023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8pPr>
      <a:lvl9pPr marL="0" marR="0" indent="137169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11769264" y="6469507"/>
            <a:ext cx="135436" cy="123111"/>
          </a:xfrm>
          <a:prstGeom prst="rect">
            <a:avLst/>
          </a:prstGeom>
          <a:ln w="12700">
            <a:miter lim="400000"/>
          </a:ln>
        </p:spPr>
        <p:txBody>
          <a:bodyPr wrap="none" lIns="0" tIns="0" rIns="0" bIns="0" anchor="b" anchorCtr="0">
            <a:spAutoFit/>
          </a:bodyPr>
          <a:lstStyle>
            <a:lvl1pPr algn="r">
              <a:defRPr sz="800" b="0" i="0">
                <a:solidFill>
                  <a:schemeClr val="tx1"/>
                </a:solidFill>
                <a:latin typeface="IBM Plex Sans Light" panose="020B0403050203000203" pitchFamily="34" charset="0"/>
                <a:ea typeface="+mn-ea"/>
                <a:cs typeface="+mn-cs"/>
                <a:sym typeface="IBM Plex Sans"/>
              </a:defRPr>
            </a:lvl1pPr>
          </a:lstStyle>
          <a:p>
            <a:fld id="{86CB4B4D-7CA3-9044-876B-883B54F8677D}" type="slidenum">
              <a:rPr lang="en-US" smtClean="0"/>
              <a:pPr/>
              <a:t>‹#›</a:t>
            </a:fld>
            <a:endParaRPr lang="en-US"/>
          </a:p>
        </p:txBody>
      </p:sp>
      <p:sp>
        <p:nvSpPr>
          <p:cNvPr id="48" name="Title Text"/>
          <p:cNvSpPr txBox="1">
            <a:spLocks noGrp="1"/>
          </p:cNvSpPr>
          <p:nvPr>
            <p:ph type="title"/>
          </p:nvPr>
        </p:nvSpPr>
        <p:spPr>
          <a:xfrm>
            <a:off x="287999" y="288036"/>
            <a:ext cx="11293592" cy="13255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t>Title Text</a:t>
            </a:r>
          </a:p>
        </p:txBody>
      </p:sp>
      <p:sp>
        <p:nvSpPr>
          <p:cNvPr id="49" name="Body Level One…"/>
          <p:cNvSpPr txBox="1">
            <a:spLocks noGrp="1"/>
          </p:cNvSpPr>
          <p:nvPr>
            <p:ph type="body" idx="1"/>
          </p:nvPr>
        </p:nvSpPr>
        <p:spPr>
          <a:xfrm>
            <a:off x="287300" y="1663700"/>
            <a:ext cx="11293592" cy="433467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t>Body Level One</a:t>
            </a:r>
          </a:p>
          <a:p>
            <a:pPr lvl="1"/>
            <a:r>
              <a:t>Body Level Two</a:t>
            </a:r>
            <a:endParaRPr lang="en-CA"/>
          </a:p>
          <a:p>
            <a:pPr lvl="2"/>
            <a:r>
              <a:rPr lang="en-CA"/>
              <a:t>Body Level Three</a:t>
            </a:r>
          </a:p>
          <a:p>
            <a:pPr lvl="3"/>
            <a:r>
              <a:rPr lang="en-CA"/>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Light" panose="020B0403050203000203" pitchFamily="34" charset="0"/>
              </a:defRPr>
            </a:lvl1pPr>
          </a:lstStyle>
          <a:p>
            <a:endParaRPr lang="en-US"/>
          </a:p>
        </p:txBody>
      </p:sp>
    </p:spTree>
    <p:extLst>
      <p:ext uri="{BB962C8B-B14F-4D97-AF65-F5344CB8AC3E}">
        <p14:creationId xmlns:p14="http://schemas.microsoft.com/office/powerpoint/2010/main" val="905866187"/>
      </p:ext>
    </p:extLst>
  </p:cSld>
  <p:clrMap bg1="dk1" tx1="lt1" bg2="dk2" tx2="lt2" accent1="accent1" accent2="accent2" accent3="accent3" accent4="accent4" accent5="accent5" accent6="accent6" hlink="hlink" folHlink="folHlink"/>
  <p:sldLayoutIdLst>
    <p:sldLayoutId id="2147484048" r:id="rId1"/>
    <p:sldLayoutId id="2147484049" r:id="rId2"/>
    <p:sldLayoutId id="2147484050" r:id="rId3"/>
    <p:sldLayoutId id="2147484051" r:id="rId4"/>
    <p:sldLayoutId id="2147484052" r:id="rId5"/>
    <p:sldLayoutId id="2147484053" r:id="rId6"/>
    <p:sldLayoutId id="2147484054" r:id="rId7"/>
    <p:sldLayoutId id="2147484055" r:id="rId8"/>
    <p:sldLayoutId id="2147484056" r:id="rId9"/>
    <p:sldLayoutId id="2147484057" r:id="rId10"/>
    <p:sldLayoutId id="2147484058" r:id="rId11"/>
    <p:sldLayoutId id="2147484059" r:id="rId12"/>
    <p:sldLayoutId id="2147484060" r:id="rId13"/>
    <p:sldLayoutId id="2147484061" r:id="rId14"/>
    <p:sldLayoutId id="2147484062" r:id="rId15"/>
    <p:sldLayoutId id="2147484063" r:id="rId16"/>
    <p:sldLayoutId id="2147484064" r:id="rId17"/>
    <p:sldLayoutId id="2147484065" r:id="rId18"/>
    <p:sldLayoutId id="2147484066" r:id="rId19"/>
    <p:sldLayoutId id="2147484067" r:id="rId20"/>
    <p:sldLayoutId id="2147484068" r:id="rId21"/>
    <p:sldLayoutId id="2147484069" r:id="rId22"/>
    <p:sldLayoutId id="2147484070" r:id="rId23"/>
    <p:sldLayoutId id="2147484071" r:id="rId24"/>
    <p:sldLayoutId id="2147484072" r:id="rId25"/>
    <p:sldLayoutId id="2147484073" r:id="rId26"/>
    <p:sldLayoutId id="2147484074" r:id="rId27"/>
    <p:sldLayoutId id="2147484075" r:id="rId28"/>
    <p:sldLayoutId id="2147484076" r:id="rId29"/>
    <p:sldLayoutId id="2147484077" r:id="rId30"/>
    <p:sldLayoutId id="2147484078" r:id="rId31"/>
    <p:sldLayoutId id="2147484079" r:id="rId32"/>
    <p:sldLayoutId id="2147484080" r:id="rId33"/>
    <p:sldLayoutId id="2147484081" r:id="rId34"/>
    <p:sldLayoutId id="2147484082" r:id="rId35"/>
    <p:sldLayoutId id="2147484083" r:id="rId36"/>
    <p:sldLayoutId id="2147484084" r:id="rId37"/>
    <p:sldLayoutId id="2147484085" r:id="rId38"/>
    <p:sldLayoutId id="2147484086" r:id="rId39"/>
    <p:sldLayoutId id="2147484087" r:id="rId40"/>
    <p:sldLayoutId id="2147484088" r:id="rId41"/>
    <p:sldLayoutId id="2147484089" r:id="rId42"/>
    <p:sldLayoutId id="2147484090" r:id="rId43"/>
    <p:sldLayoutId id="2147484091" r:id="rId44"/>
    <p:sldLayoutId id="2147484092" r:id="rId45"/>
    <p:sldLayoutId id="2147484093" r:id="rId46"/>
    <p:sldLayoutId id="2147484094" r:id="rId47"/>
  </p:sldLayoutIdLst>
  <p:transition spd="med"/>
  <p:hf sldNum="0" hdr="0" ftr="0" dt="0"/>
  <p:txStyles>
    <p:titleStyle>
      <a:lvl1pPr marL="0" marR="0" indent="0" algn="l" defTabSz="1218956" rtl="0" eaLnBrk="1" latinLnBrk="0" hangingPunct="1">
        <a:lnSpc>
          <a:spcPct val="100000"/>
        </a:lnSpc>
        <a:spcBef>
          <a:spcPts val="0"/>
        </a:spcBef>
        <a:spcAft>
          <a:spcPts val="0"/>
        </a:spcAft>
        <a:buClrTx/>
        <a:buSzTx/>
        <a:buFontTx/>
        <a:buNone/>
        <a:tabLst/>
        <a:defRPr sz="3199" b="0" i="0" u="none" strike="noStrike" cap="none" spc="0" baseline="0">
          <a:solidFill>
            <a:schemeClr val="tx2"/>
          </a:solidFill>
          <a:uFillTx/>
          <a:latin typeface="IBM Plex Sans Light" panose="020B0403050203000203" pitchFamily="34" charset="0"/>
          <a:ea typeface="+mj-ea"/>
          <a:cs typeface="+mj-cs"/>
          <a:sym typeface="IBM Plex Sans Light"/>
        </a:defRPr>
      </a:lvl1pPr>
      <a:lvl2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8"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7"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4"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93"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p:titleStyle>
    <p:bodyStyle>
      <a:lvl1pPr marL="0" marR="0" indent="0" algn="l" defTabSz="1218956" rtl="0" eaLnBrk="1" latinLnBrk="0" hangingPunct="1">
        <a:lnSpc>
          <a:spcPct val="100000"/>
        </a:lnSpc>
        <a:spcBef>
          <a:spcPts val="0"/>
        </a:spcBef>
        <a:spcAft>
          <a:spcPts val="0"/>
        </a:spcAft>
        <a:buClr>
          <a:schemeClr val="tx1"/>
        </a:buClr>
        <a:buSzTx/>
        <a:buFont typeface="Arial" panose="020B0604020202020204" pitchFamily="34" charset="0"/>
        <a:buNone/>
        <a:tabLst/>
        <a:defRPr sz="1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163767" marR="0" indent="-163767" algn="l" defTabSz="1218956"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1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329334" marR="0" indent="-163767" algn="l" defTabSz="1218956"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1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493101" marR="0" indent="-163767" algn="l" defTabSz="1218956"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1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342831" marR="0" indent="0" algn="l" defTabSz="1218956" rtl="0" eaLnBrk="1" latinLnBrk="0" hangingPunct="1">
        <a:lnSpc>
          <a:spcPct val="110000"/>
        </a:lnSpc>
        <a:spcBef>
          <a:spcPts val="1450"/>
        </a:spcBef>
        <a:spcAft>
          <a:spcPts val="0"/>
        </a:spcAft>
        <a:buClrTx/>
        <a:buSzPct val="100000"/>
        <a:buFont typeface="Arial" panose="020B0604020202020204" pitchFamily="34" charset="0"/>
        <a:buNone/>
        <a:tabLst/>
        <a:defRPr sz="1800" b="0" i="0" u="none" strike="noStrike" cap="none" spc="0" baseline="0">
          <a:solidFill>
            <a:srgbClr val="000000"/>
          </a:solidFill>
          <a:uFillTx/>
          <a:latin typeface="+mj-lt"/>
          <a:ea typeface="+mj-ea"/>
          <a:cs typeface="+mj-cs"/>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p:bodyStyle>
    <p:otherStyle>
      <a:lvl1pPr marL="0" marR="0" indent="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1pPr>
      <a:lvl2pPr marL="0" marR="0" indent="17146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2pPr>
      <a:lvl3pPr marL="0" marR="0" indent="342922"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3pPr>
      <a:lvl4pPr marL="0" marR="0" indent="514384"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4pPr>
      <a:lvl5pPr marL="0" marR="0" indent="685845"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5pPr>
      <a:lvl6pPr marL="0" marR="0" indent="857307"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6pPr>
      <a:lvl7pPr marL="0" marR="0" indent="1028768"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7pPr>
      <a:lvl8pPr marL="0" marR="0" indent="120023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8pPr>
      <a:lvl9pPr marL="0" marR="0" indent="137169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9.xml"/><Relationship Id="rId1" Type="http://schemas.openxmlformats.org/officeDocument/2006/relationships/slideLayout" Target="../slideLayouts/slideLayout19.xml"/><Relationship Id="rId6" Type="http://schemas.openxmlformats.org/officeDocument/2006/relationships/image" Target="../media/image144.png"/><Relationship Id="rId5" Type="http://schemas.openxmlformats.org/officeDocument/2006/relationships/image" Target="../media/image143.png"/><Relationship Id="rId4" Type="http://schemas.openxmlformats.org/officeDocument/2006/relationships/image" Target="../media/image142.png"/></Relationships>
</file>

<file path=ppt/slides/_rels/slide11.xml.rels><?xml version="1.0" encoding="UTF-8" standalone="yes"?>
<Relationships xmlns="http://schemas.openxmlformats.org/package/2006/relationships"><Relationship Id="rId8" Type="http://schemas.openxmlformats.org/officeDocument/2006/relationships/image" Target="../media/image150.svg"/><Relationship Id="rId13" Type="http://schemas.openxmlformats.org/officeDocument/2006/relationships/image" Target="../media/image155.png"/><Relationship Id="rId3" Type="http://schemas.openxmlformats.org/officeDocument/2006/relationships/image" Target="../media/image145.png"/><Relationship Id="rId7" Type="http://schemas.openxmlformats.org/officeDocument/2006/relationships/image" Target="../media/image149.png"/><Relationship Id="rId12" Type="http://schemas.openxmlformats.org/officeDocument/2006/relationships/image" Target="../media/image154.jpeg"/><Relationship Id="rId2" Type="http://schemas.openxmlformats.org/officeDocument/2006/relationships/notesSlide" Target="../notesSlides/notesSlide10.xml"/><Relationship Id="rId16" Type="http://schemas.openxmlformats.org/officeDocument/2006/relationships/image" Target="../media/image29.png"/><Relationship Id="rId1" Type="http://schemas.openxmlformats.org/officeDocument/2006/relationships/slideLayout" Target="../slideLayouts/slideLayout213.xml"/><Relationship Id="rId6" Type="http://schemas.openxmlformats.org/officeDocument/2006/relationships/image" Target="../media/image148.svg"/><Relationship Id="rId11" Type="http://schemas.openxmlformats.org/officeDocument/2006/relationships/image" Target="../media/image153.png"/><Relationship Id="rId5" Type="http://schemas.openxmlformats.org/officeDocument/2006/relationships/image" Target="../media/image147.png"/><Relationship Id="rId15" Type="http://schemas.openxmlformats.org/officeDocument/2006/relationships/image" Target="../media/image157.png"/><Relationship Id="rId10" Type="http://schemas.openxmlformats.org/officeDocument/2006/relationships/image" Target="../media/image152.png"/><Relationship Id="rId4" Type="http://schemas.openxmlformats.org/officeDocument/2006/relationships/image" Target="../media/image146.svg"/><Relationship Id="rId9" Type="http://schemas.openxmlformats.org/officeDocument/2006/relationships/image" Target="../media/image151.jpeg"/><Relationship Id="rId14" Type="http://schemas.openxmlformats.org/officeDocument/2006/relationships/image" Target="../media/image156.png"/></Relationships>
</file>

<file path=ppt/slides/_rels/slide12.xml.rels><?xml version="1.0" encoding="UTF-8" standalone="yes"?>
<Relationships xmlns="http://schemas.openxmlformats.org/package/2006/relationships"><Relationship Id="rId8" Type="http://schemas.openxmlformats.org/officeDocument/2006/relationships/image" Target="../media/image150.svg"/><Relationship Id="rId13" Type="http://schemas.openxmlformats.org/officeDocument/2006/relationships/image" Target="../media/image155.png"/><Relationship Id="rId3" Type="http://schemas.openxmlformats.org/officeDocument/2006/relationships/image" Target="../media/image145.png"/><Relationship Id="rId7" Type="http://schemas.openxmlformats.org/officeDocument/2006/relationships/image" Target="../media/image149.png"/><Relationship Id="rId12" Type="http://schemas.openxmlformats.org/officeDocument/2006/relationships/image" Target="../media/image154.jpeg"/><Relationship Id="rId17" Type="http://schemas.openxmlformats.org/officeDocument/2006/relationships/image" Target="../media/image158.png"/><Relationship Id="rId2" Type="http://schemas.openxmlformats.org/officeDocument/2006/relationships/notesSlide" Target="../notesSlides/notesSlide11.xml"/><Relationship Id="rId16" Type="http://schemas.openxmlformats.org/officeDocument/2006/relationships/image" Target="../media/image29.png"/><Relationship Id="rId1" Type="http://schemas.openxmlformats.org/officeDocument/2006/relationships/slideLayout" Target="../slideLayouts/slideLayout213.xml"/><Relationship Id="rId6" Type="http://schemas.openxmlformats.org/officeDocument/2006/relationships/image" Target="../media/image148.svg"/><Relationship Id="rId11" Type="http://schemas.openxmlformats.org/officeDocument/2006/relationships/image" Target="../media/image153.png"/><Relationship Id="rId5" Type="http://schemas.openxmlformats.org/officeDocument/2006/relationships/image" Target="../media/image147.png"/><Relationship Id="rId15" Type="http://schemas.openxmlformats.org/officeDocument/2006/relationships/image" Target="../media/image157.png"/><Relationship Id="rId10" Type="http://schemas.openxmlformats.org/officeDocument/2006/relationships/image" Target="../media/image152.png"/><Relationship Id="rId4" Type="http://schemas.openxmlformats.org/officeDocument/2006/relationships/image" Target="../media/image146.svg"/><Relationship Id="rId9" Type="http://schemas.openxmlformats.org/officeDocument/2006/relationships/image" Target="../media/image151.jpeg"/><Relationship Id="rId14" Type="http://schemas.openxmlformats.org/officeDocument/2006/relationships/image" Target="../media/image156.png"/></Relationships>
</file>

<file path=ppt/slides/_rels/slide13.xml.rels><?xml version="1.0" encoding="UTF-8" standalone="yes"?>
<Relationships xmlns="http://schemas.openxmlformats.org/package/2006/relationships"><Relationship Id="rId3" Type="http://schemas.openxmlformats.org/officeDocument/2006/relationships/image" Target="../media/image159.png"/><Relationship Id="rId7" Type="http://schemas.openxmlformats.org/officeDocument/2006/relationships/image" Target="../media/image163.svg"/><Relationship Id="rId2" Type="http://schemas.openxmlformats.org/officeDocument/2006/relationships/notesSlide" Target="../notesSlides/notesSlide12.xml"/><Relationship Id="rId1" Type="http://schemas.openxmlformats.org/officeDocument/2006/relationships/slideLayout" Target="../slideLayouts/slideLayout269.xml"/><Relationship Id="rId6" Type="http://schemas.openxmlformats.org/officeDocument/2006/relationships/image" Target="../media/image162.png"/><Relationship Id="rId5" Type="http://schemas.openxmlformats.org/officeDocument/2006/relationships/image" Target="../media/image161.png"/><Relationship Id="rId4" Type="http://schemas.openxmlformats.org/officeDocument/2006/relationships/image" Target="../media/image160.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video" Target="../media/media2.mp4"/><Relationship Id="rId1" Type="http://schemas.microsoft.com/office/2007/relationships/media" Target="../media/media2.mp4"/><Relationship Id="rId6" Type="http://schemas.openxmlformats.org/officeDocument/2006/relationships/image" Target="../media/image165.png"/><Relationship Id="rId5" Type="http://schemas.openxmlformats.org/officeDocument/2006/relationships/image" Target="../media/image164.png"/><Relationship Id="rId4" Type="http://schemas.openxmlformats.org/officeDocument/2006/relationships/notesSlide" Target="../notesSlides/notesSlide13.xml"/></Relationships>
</file>

<file path=ppt/slides/_rels/slide15.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14.xml"/><Relationship Id="rId1" Type="http://schemas.openxmlformats.org/officeDocument/2006/relationships/slideLayout" Target="../slideLayouts/slideLayout5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36.xml"/></Relationships>
</file>

<file path=ppt/slides/_rels/slide3.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hyperlink" Target="https://images.g2crowd.com/uploads/attachment/file/1350731/IDC-Unstructured-Data-White-Paper.pdf" TargetMode="External"/><Relationship Id="rId7" Type="http://schemas.openxmlformats.org/officeDocument/2006/relationships/image" Target="../media/image22.svg"/><Relationship Id="rId2" Type="http://schemas.openxmlformats.org/officeDocument/2006/relationships/notesSlide" Target="../notesSlides/notesSlide2.xml"/><Relationship Id="rId1" Type="http://schemas.openxmlformats.org/officeDocument/2006/relationships/slideLayout" Target="../slideLayouts/slideLayout311.xml"/><Relationship Id="rId6" Type="http://schemas.openxmlformats.org/officeDocument/2006/relationships/image" Target="../media/image21.png"/><Relationship Id="rId11" Type="http://schemas.openxmlformats.org/officeDocument/2006/relationships/image" Target="../media/image26.svg"/><Relationship Id="rId5" Type="http://schemas.openxmlformats.org/officeDocument/2006/relationships/image" Target="../media/image20.svg"/><Relationship Id="rId10" Type="http://schemas.openxmlformats.org/officeDocument/2006/relationships/image" Target="../media/image25.png"/><Relationship Id="rId4" Type="http://schemas.openxmlformats.org/officeDocument/2006/relationships/image" Target="../media/image19.png"/><Relationship Id="rId9" Type="http://schemas.openxmlformats.org/officeDocument/2006/relationships/image" Target="../media/image24.svg"/></Relationships>
</file>

<file path=ppt/slides/_rels/slide4.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3.xml"/><Relationship Id="rId1" Type="http://schemas.openxmlformats.org/officeDocument/2006/relationships/slideLayout" Target="../slideLayouts/slideLayout326.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 Id="rId9" Type="http://schemas.openxmlformats.org/officeDocument/2006/relationships/image" Target="../media/image33.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notesSlide" Target="../notesSlides/notesSlide5.xml"/><Relationship Id="rId1" Type="http://schemas.openxmlformats.org/officeDocument/2006/relationships/slideLayout" Target="../slideLayouts/slideLayout35.xml"/><Relationship Id="rId6" Type="http://schemas.openxmlformats.org/officeDocument/2006/relationships/image" Target="../media/image37.jpeg"/><Relationship Id="rId5" Type="http://schemas.openxmlformats.org/officeDocument/2006/relationships/image" Target="../media/image36.png"/><Relationship Id="rId4" Type="http://schemas.openxmlformats.org/officeDocument/2006/relationships/image" Target="../media/image35.jpeg"/></Relationships>
</file>

<file path=ppt/slides/_rels/slide7.xml.rels><?xml version="1.0" encoding="UTF-8" standalone="yes"?>
<Relationships xmlns="http://schemas.openxmlformats.org/package/2006/relationships"><Relationship Id="rId8" Type="http://schemas.openxmlformats.org/officeDocument/2006/relationships/image" Target="../media/image42.svg"/><Relationship Id="rId13" Type="http://schemas.openxmlformats.org/officeDocument/2006/relationships/image" Target="../media/image47.png"/><Relationship Id="rId3" Type="http://schemas.openxmlformats.org/officeDocument/2006/relationships/slideLayout" Target="../slideLayouts/slideLayout81.xml"/><Relationship Id="rId7" Type="http://schemas.openxmlformats.org/officeDocument/2006/relationships/image" Target="../media/image41.png"/><Relationship Id="rId12" Type="http://schemas.openxmlformats.org/officeDocument/2006/relationships/image" Target="../media/image46.sv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40.svg"/><Relationship Id="rId11" Type="http://schemas.openxmlformats.org/officeDocument/2006/relationships/image" Target="../media/image45.png"/><Relationship Id="rId5" Type="http://schemas.openxmlformats.org/officeDocument/2006/relationships/image" Target="../media/image39.png"/><Relationship Id="rId15" Type="http://schemas.openxmlformats.org/officeDocument/2006/relationships/image" Target="../media/image49.png"/><Relationship Id="rId10" Type="http://schemas.openxmlformats.org/officeDocument/2006/relationships/image" Target="../media/image44.svg"/><Relationship Id="rId4" Type="http://schemas.openxmlformats.org/officeDocument/2006/relationships/notesSlide" Target="../notesSlides/notesSlide6.xml"/><Relationship Id="rId9" Type="http://schemas.openxmlformats.org/officeDocument/2006/relationships/image" Target="../media/image43.png"/><Relationship Id="rId14" Type="http://schemas.openxmlformats.org/officeDocument/2006/relationships/image" Target="../media/image48.svg"/></Relationships>
</file>

<file path=ppt/slides/_rels/slide8.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50.png"/><Relationship Id="rId7" Type="http://schemas.openxmlformats.org/officeDocument/2006/relationships/image" Target="../media/image54.png"/><Relationship Id="rId12" Type="http://schemas.openxmlformats.org/officeDocument/2006/relationships/image" Target="../media/image59.png"/><Relationship Id="rId2" Type="http://schemas.openxmlformats.org/officeDocument/2006/relationships/notesSlide" Target="../notesSlides/notesSlide7.xml"/><Relationship Id="rId1" Type="http://schemas.openxmlformats.org/officeDocument/2006/relationships/slideLayout" Target="../slideLayouts/slideLayout100.xml"/><Relationship Id="rId6" Type="http://schemas.openxmlformats.org/officeDocument/2006/relationships/image" Target="../media/image53.png"/><Relationship Id="rId11" Type="http://schemas.openxmlformats.org/officeDocument/2006/relationships/image" Target="../media/image58.png"/><Relationship Id="rId5" Type="http://schemas.openxmlformats.org/officeDocument/2006/relationships/image" Target="../media/image52.png"/><Relationship Id="rId10" Type="http://schemas.openxmlformats.org/officeDocument/2006/relationships/image" Target="../media/image57.png"/><Relationship Id="rId4" Type="http://schemas.openxmlformats.org/officeDocument/2006/relationships/image" Target="../media/image51.png"/><Relationship Id="rId9" Type="http://schemas.openxmlformats.org/officeDocument/2006/relationships/image" Target="../media/image56.png"/></Relationships>
</file>

<file path=ppt/slides/_rels/slide9.xml.rels><?xml version="1.0" encoding="UTF-8" standalone="yes"?>
<Relationships xmlns="http://schemas.openxmlformats.org/package/2006/relationships"><Relationship Id="rId26" Type="http://schemas.openxmlformats.org/officeDocument/2006/relationships/image" Target="../media/image83.svg"/><Relationship Id="rId21" Type="http://schemas.openxmlformats.org/officeDocument/2006/relationships/image" Target="../media/image78.png"/><Relationship Id="rId42" Type="http://schemas.openxmlformats.org/officeDocument/2006/relationships/image" Target="../media/image99.svg"/><Relationship Id="rId47" Type="http://schemas.openxmlformats.org/officeDocument/2006/relationships/image" Target="../media/image104.svg"/><Relationship Id="rId63" Type="http://schemas.openxmlformats.org/officeDocument/2006/relationships/image" Target="../media/image120.svg"/><Relationship Id="rId68" Type="http://schemas.openxmlformats.org/officeDocument/2006/relationships/image" Target="../media/image125.png"/><Relationship Id="rId16" Type="http://schemas.openxmlformats.org/officeDocument/2006/relationships/image" Target="../media/image73.png"/><Relationship Id="rId11" Type="http://schemas.openxmlformats.org/officeDocument/2006/relationships/image" Target="../media/image68.svg"/><Relationship Id="rId32" Type="http://schemas.openxmlformats.org/officeDocument/2006/relationships/image" Target="../media/image89.png"/><Relationship Id="rId37" Type="http://schemas.openxmlformats.org/officeDocument/2006/relationships/image" Target="../media/image94.png"/><Relationship Id="rId53" Type="http://schemas.openxmlformats.org/officeDocument/2006/relationships/image" Target="../media/image110.png"/><Relationship Id="rId58" Type="http://schemas.openxmlformats.org/officeDocument/2006/relationships/image" Target="../media/image115.svg"/><Relationship Id="rId74" Type="http://schemas.openxmlformats.org/officeDocument/2006/relationships/image" Target="../media/image131.png"/><Relationship Id="rId79" Type="http://schemas.openxmlformats.org/officeDocument/2006/relationships/image" Target="../media/image136.svg"/><Relationship Id="rId5" Type="http://schemas.openxmlformats.org/officeDocument/2006/relationships/image" Target="../media/image62.png"/><Relationship Id="rId61" Type="http://schemas.openxmlformats.org/officeDocument/2006/relationships/image" Target="../media/image118.png"/><Relationship Id="rId82" Type="http://schemas.openxmlformats.org/officeDocument/2006/relationships/image" Target="../media/image139.png"/><Relationship Id="rId19" Type="http://schemas.openxmlformats.org/officeDocument/2006/relationships/image" Target="../media/image76.svg"/><Relationship Id="rId14" Type="http://schemas.openxmlformats.org/officeDocument/2006/relationships/image" Target="../media/image71.png"/><Relationship Id="rId22" Type="http://schemas.openxmlformats.org/officeDocument/2006/relationships/image" Target="../media/image79.svg"/><Relationship Id="rId27" Type="http://schemas.openxmlformats.org/officeDocument/2006/relationships/image" Target="../media/image84.png"/><Relationship Id="rId30" Type="http://schemas.openxmlformats.org/officeDocument/2006/relationships/image" Target="../media/image87.svg"/><Relationship Id="rId35" Type="http://schemas.openxmlformats.org/officeDocument/2006/relationships/image" Target="../media/image92.png"/><Relationship Id="rId43" Type="http://schemas.openxmlformats.org/officeDocument/2006/relationships/image" Target="../media/image100.png"/><Relationship Id="rId48" Type="http://schemas.openxmlformats.org/officeDocument/2006/relationships/image" Target="../media/image105.png"/><Relationship Id="rId56" Type="http://schemas.openxmlformats.org/officeDocument/2006/relationships/image" Target="../media/image113.svg"/><Relationship Id="rId64" Type="http://schemas.openxmlformats.org/officeDocument/2006/relationships/image" Target="../media/image121.png"/><Relationship Id="rId69" Type="http://schemas.openxmlformats.org/officeDocument/2006/relationships/image" Target="../media/image126.png"/><Relationship Id="rId77" Type="http://schemas.openxmlformats.org/officeDocument/2006/relationships/image" Target="../media/image134.svg"/><Relationship Id="rId8" Type="http://schemas.openxmlformats.org/officeDocument/2006/relationships/image" Target="../media/image65.svg"/><Relationship Id="rId51" Type="http://schemas.openxmlformats.org/officeDocument/2006/relationships/image" Target="../media/image108.png"/><Relationship Id="rId72" Type="http://schemas.openxmlformats.org/officeDocument/2006/relationships/image" Target="../media/image129.png"/><Relationship Id="rId80" Type="http://schemas.openxmlformats.org/officeDocument/2006/relationships/image" Target="../media/image137.png"/><Relationship Id="rId3" Type="http://schemas.openxmlformats.org/officeDocument/2006/relationships/image" Target="../media/image60.png"/><Relationship Id="rId12" Type="http://schemas.openxmlformats.org/officeDocument/2006/relationships/image" Target="../media/image69.png"/><Relationship Id="rId17" Type="http://schemas.openxmlformats.org/officeDocument/2006/relationships/image" Target="../media/image74.svg"/><Relationship Id="rId25" Type="http://schemas.openxmlformats.org/officeDocument/2006/relationships/image" Target="../media/image82.png"/><Relationship Id="rId33" Type="http://schemas.openxmlformats.org/officeDocument/2006/relationships/image" Target="../media/image90.png"/><Relationship Id="rId38" Type="http://schemas.openxmlformats.org/officeDocument/2006/relationships/image" Target="../media/image95.svg"/><Relationship Id="rId46" Type="http://schemas.openxmlformats.org/officeDocument/2006/relationships/image" Target="../media/image103.svg"/><Relationship Id="rId59" Type="http://schemas.openxmlformats.org/officeDocument/2006/relationships/image" Target="../media/image116.png"/><Relationship Id="rId67" Type="http://schemas.openxmlformats.org/officeDocument/2006/relationships/image" Target="../media/image124.png"/><Relationship Id="rId20" Type="http://schemas.openxmlformats.org/officeDocument/2006/relationships/image" Target="../media/image77.png"/><Relationship Id="rId41" Type="http://schemas.openxmlformats.org/officeDocument/2006/relationships/image" Target="../media/image98.png"/><Relationship Id="rId54" Type="http://schemas.openxmlformats.org/officeDocument/2006/relationships/image" Target="../media/image111.svg"/><Relationship Id="rId62" Type="http://schemas.openxmlformats.org/officeDocument/2006/relationships/image" Target="../media/image119.png"/><Relationship Id="rId70" Type="http://schemas.openxmlformats.org/officeDocument/2006/relationships/image" Target="../media/image127.png"/><Relationship Id="rId75" Type="http://schemas.openxmlformats.org/officeDocument/2006/relationships/image" Target="../media/image132.svg"/><Relationship Id="rId83" Type="http://schemas.openxmlformats.org/officeDocument/2006/relationships/image" Target="../media/image140.svg"/><Relationship Id="rId1" Type="http://schemas.openxmlformats.org/officeDocument/2006/relationships/slideLayout" Target="../slideLayouts/slideLayout16.xml"/><Relationship Id="rId6" Type="http://schemas.openxmlformats.org/officeDocument/2006/relationships/image" Target="../media/image63.svg"/><Relationship Id="rId15" Type="http://schemas.openxmlformats.org/officeDocument/2006/relationships/image" Target="../media/image72.svg"/><Relationship Id="rId23" Type="http://schemas.openxmlformats.org/officeDocument/2006/relationships/image" Target="../media/image80.png"/><Relationship Id="rId28" Type="http://schemas.openxmlformats.org/officeDocument/2006/relationships/image" Target="../media/image85.png"/><Relationship Id="rId36" Type="http://schemas.openxmlformats.org/officeDocument/2006/relationships/image" Target="../media/image93.png"/><Relationship Id="rId49" Type="http://schemas.openxmlformats.org/officeDocument/2006/relationships/image" Target="../media/image106.svg"/><Relationship Id="rId57" Type="http://schemas.openxmlformats.org/officeDocument/2006/relationships/image" Target="../media/image114.png"/><Relationship Id="rId10" Type="http://schemas.openxmlformats.org/officeDocument/2006/relationships/image" Target="../media/image67.png"/><Relationship Id="rId31" Type="http://schemas.openxmlformats.org/officeDocument/2006/relationships/image" Target="../media/image88.png"/><Relationship Id="rId44" Type="http://schemas.openxmlformats.org/officeDocument/2006/relationships/image" Target="../media/image101.svg"/><Relationship Id="rId52" Type="http://schemas.openxmlformats.org/officeDocument/2006/relationships/image" Target="../media/image109.svg"/><Relationship Id="rId60" Type="http://schemas.openxmlformats.org/officeDocument/2006/relationships/image" Target="../media/image117.svg"/><Relationship Id="rId65" Type="http://schemas.openxmlformats.org/officeDocument/2006/relationships/image" Target="../media/image122.png"/><Relationship Id="rId73" Type="http://schemas.openxmlformats.org/officeDocument/2006/relationships/image" Target="../media/image130.svg"/><Relationship Id="rId78" Type="http://schemas.openxmlformats.org/officeDocument/2006/relationships/image" Target="../media/image135.png"/><Relationship Id="rId81" Type="http://schemas.openxmlformats.org/officeDocument/2006/relationships/image" Target="../media/image138.svg"/><Relationship Id="rId4" Type="http://schemas.openxmlformats.org/officeDocument/2006/relationships/image" Target="../media/image61.png"/><Relationship Id="rId9" Type="http://schemas.openxmlformats.org/officeDocument/2006/relationships/image" Target="../media/image66.png"/><Relationship Id="rId13" Type="http://schemas.openxmlformats.org/officeDocument/2006/relationships/image" Target="../media/image70.svg"/><Relationship Id="rId18" Type="http://schemas.openxmlformats.org/officeDocument/2006/relationships/image" Target="../media/image75.png"/><Relationship Id="rId39" Type="http://schemas.openxmlformats.org/officeDocument/2006/relationships/image" Target="../media/image96.png"/><Relationship Id="rId34" Type="http://schemas.openxmlformats.org/officeDocument/2006/relationships/image" Target="../media/image91.svg"/><Relationship Id="rId50" Type="http://schemas.openxmlformats.org/officeDocument/2006/relationships/image" Target="../media/image107.png"/><Relationship Id="rId55" Type="http://schemas.openxmlformats.org/officeDocument/2006/relationships/image" Target="../media/image112.png"/><Relationship Id="rId76" Type="http://schemas.openxmlformats.org/officeDocument/2006/relationships/image" Target="../media/image133.png"/><Relationship Id="rId7" Type="http://schemas.openxmlformats.org/officeDocument/2006/relationships/image" Target="../media/image64.png"/><Relationship Id="rId71" Type="http://schemas.openxmlformats.org/officeDocument/2006/relationships/image" Target="../media/image128.svg"/><Relationship Id="rId2" Type="http://schemas.openxmlformats.org/officeDocument/2006/relationships/notesSlide" Target="../notesSlides/notesSlide8.xml"/><Relationship Id="rId29" Type="http://schemas.openxmlformats.org/officeDocument/2006/relationships/image" Target="../media/image86.png"/><Relationship Id="rId24" Type="http://schemas.openxmlformats.org/officeDocument/2006/relationships/image" Target="../media/image81.svg"/><Relationship Id="rId40" Type="http://schemas.openxmlformats.org/officeDocument/2006/relationships/image" Target="../media/image97.png"/><Relationship Id="rId45" Type="http://schemas.openxmlformats.org/officeDocument/2006/relationships/image" Target="../media/image102.png"/><Relationship Id="rId66" Type="http://schemas.openxmlformats.org/officeDocument/2006/relationships/image" Target="../media/image123.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55F1FC-9EFE-CFBC-9DFE-611F0F4BC88A}"/>
              </a:ext>
            </a:extLst>
          </p:cNvPr>
          <p:cNvSpPr>
            <a:spLocks noGrp="1"/>
          </p:cNvSpPr>
          <p:nvPr>
            <p:ph type="ctrTitle"/>
          </p:nvPr>
        </p:nvSpPr>
        <p:spPr/>
        <p:txBody>
          <a:bodyPr/>
          <a:lstStyle/>
          <a:p>
            <a:endParaRPr lang="en-US"/>
          </a:p>
        </p:txBody>
      </p:sp>
      <p:sp>
        <p:nvSpPr>
          <p:cNvPr id="3" name="Subtitle 2">
            <a:extLst>
              <a:ext uri="{FF2B5EF4-FFF2-40B4-BE49-F238E27FC236}">
                <a16:creationId xmlns:a16="http://schemas.microsoft.com/office/drawing/2014/main" id="{199DC01C-DEA2-F549-809E-55F5F01D10B5}"/>
              </a:ext>
            </a:extLst>
          </p:cNvPr>
          <p:cNvSpPr>
            <a:spLocks noGrp="1"/>
          </p:cNvSpPr>
          <p:nvPr>
            <p:ph type="subTitle" idx="1"/>
          </p:nvPr>
        </p:nvSpPr>
        <p:spPr/>
        <p:txBody>
          <a:bodyPr/>
          <a:lstStyle/>
          <a:p>
            <a:endParaRPr lang="en-US"/>
          </a:p>
        </p:txBody>
      </p:sp>
      <p:pic>
        <p:nvPicPr>
          <p:cNvPr id="4" name="Picture 3">
            <a:extLst>
              <a:ext uri="{FF2B5EF4-FFF2-40B4-BE49-F238E27FC236}">
                <a16:creationId xmlns:a16="http://schemas.microsoft.com/office/drawing/2014/main" id="{77F173FB-1C52-39E0-88B9-5F2DBA038B00}"/>
              </a:ext>
            </a:extLst>
          </p:cNvPr>
          <p:cNvPicPr>
            <a:picLocks noChangeAspect="1"/>
          </p:cNvPicPr>
          <p:nvPr/>
        </p:nvPicPr>
        <p:blipFill rotWithShape="1">
          <a:blip r:embed="rId3"/>
          <a:srcRect l="3795" t="16045" r="28295" b="16045"/>
          <a:stretch/>
        </p:blipFill>
        <p:spPr>
          <a:xfrm>
            <a:off x="-10530" y="-12292"/>
            <a:ext cx="12213059" cy="6869845"/>
          </a:xfrm>
          <a:prstGeom prst="rect">
            <a:avLst/>
          </a:prstGeom>
        </p:spPr>
      </p:pic>
      <p:sp>
        <p:nvSpPr>
          <p:cNvPr id="6" name="Title 2">
            <a:extLst>
              <a:ext uri="{FF2B5EF4-FFF2-40B4-BE49-F238E27FC236}">
                <a16:creationId xmlns:a16="http://schemas.microsoft.com/office/drawing/2014/main" id="{6C6D4A86-5698-1075-5A75-5534EC81BD64}"/>
              </a:ext>
            </a:extLst>
          </p:cNvPr>
          <p:cNvSpPr txBox="1">
            <a:spLocks/>
          </p:cNvSpPr>
          <p:nvPr/>
        </p:nvSpPr>
        <p:spPr>
          <a:xfrm>
            <a:off x="294526" y="1420476"/>
            <a:ext cx="4014004" cy="543707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lstStyle>
            <a:lvl1pPr marL="0" marR="0" indent="0" algn="l" defTabSz="2438400" rtl="0" eaLnBrk="1" latinLnBrk="0" hangingPunct="1">
              <a:lnSpc>
                <a:spcPct val="100000"/>
              </a:lnSpc>
              <a:spcBef>
                <a:spcPts val="0"/>
              </a:spcBef>
              <a:spcAft>
                <a:spcPts val="0"/>
              </a:spcAft>
              <a:buClrTx/>
              <a:buSzTx/>
              <a:buFontTx/>
              <a:buNone/>
              <a:tabLst/>
              <a:defRPr sz="6400" b="0" i="0" u="none" strike="noStrike" cap="none" spc="0" baseline="0">
                <a:solidFill>
                  <a:schemeClr val="tx2"/>
                </a:solidFill>
                <a:uFillTx/>
                <a:latin typeface="IBM Plex Sans Light" panose="020B0403050203000203" pitchFamily="34" charset="0"/>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defTabSz="1829013">
              <a:defRPr/>
            </a:pPr>
            <a:r>
              <a:rPr lang="en-US" sz="3000" b="1">
                <a:solidFill>
                  <a:schemeClr val="tx1"/>
                </a:solidFill>
                <a:latin typeface="IBM Plex Sans Thin"/>
              </a:rPr>
              <a:t>Is your data AI-ready? Prepare and deliver high-quality, governed data for AI</a:t>
            </a:r>
            <a:endParaRPr lang="en-US">
              <a:solidFill>
                <a:schemeClr val="tx1"/>
              </a:solidFill>
            </a:endParaRPr>
          </a:p>
          <a:p>
            <a:pPr defTabSz="1829013">
              <a:defRPr/>
            </a:pPr>
            <a:endParaRPr lang="en-US" sz="3000" b="1">
              <a:solidFill>
                <a:schemeClr val="tx1"/>
              </a:solidFill>
              <a:latin typeface="IBM Plex Sans Thin"/>
            </a:endParaRPr>
          </a:p>
          <a:p>
            <a:pPr defTabSz="1829013">
              <a:defRPr/>
            </a:pPr>
            <a:endParaRPr lang="en-US" sz="2400" b="1">
              <a:solidFill>
                <a:schemeClr val="tx1"/>
              </a:solidFill>
              <a:latin typeface="IBM Plex Sans Thin"/>
            </a:endParaRPr>
          </a:p>
          <a:p>
            <a:pPr fontAlgn="base"/>
            <a:endParaRPr lang="en-US" sz="2400">
              <a:solidFill>
                <a:schemeClr val="tx1"/>
              </a:solidFill>
              <a:latin typeface="IBM Plex Sans Medm"/>
            </a:endParaRPr>
          </a:p>
          <a:p>
            <a:pPr fontAlgn="base"/>
            <a:r>
              <a:rPr lang="en-US" sz="2400">
                <a:solidFill>
                  <a:schemeClr val="tx1"/>
                </a:solidFill>
                <a:latin typeface="IBM Plex Sans Medm"/>
              </a:rPr>
              <a:t>Edward </a:t>
            </a:r>
            <a:r>
              <a:rPr lang="en-US" sz="2400" err="1">
                <a:solidFill>
                  <a:schemeClr val="tx1"/>
                </a:solidFill>
                <a:latin typeface="IBM Plex Sans Medm"/>
              </a:rPr>
              <a:t>Calvesbert</a:t>
            </a:r>
            <a:br>
              <a:rPr lang="en-US" sz="2400" b="1">
                <a:latin typeface="IBM Plex Sans Thin"/>
              </a:rPr>
            </a:br>
            <a:r>
              <a:rPr lang="en-US" sz="2400" b="1">
                <a:solidFill>
                  <a:schemeClr val="tx1"/>
                </a:solidFill>
                <a:latin typeface="IBM Plex Sans Thin"/>
              </a:rPr>
              <a:t>VP, Product Management, </a:t>
            </a:r>
            <a:r>
              <a:rPr lang="en-US" sz="2400" b="1" err="1">
                <a:solidFill>
                  <a:schemeClr val="tx1"/>
                </a:solidFill>
                <a:latin typeface="IBM Plex Sans Thin"/>
              </a:rPr>
              <a:t>watsonx</a:t>
            </a:r>
          </a:p>
          <a:p>
            <a:pPr defTabSz="1829013">
              <a:defRPr/>
            </a:pPr>
            <a:endParaRPr lang="en-US" sz="2999" kern="0">
              <a:solidFill>
                <a:srgbClr val="000000"/>
              </a:solidFill>
            </a:endParaRPr>
          </a:p>
        </p:txBody>
      </p:sp>
      <p:sp>
        <p:nvSpPr>
          <p:cNvPr id="8" name="Title 1">
            <a:extLst>
              <a:ext uri="{FF2B5EF4-FFF2-40B4-BE49-F238E27FC236}">
                <a16:creationId xmlns:a16="http://schemas.microsoft.com/office/drawing/2014/main" id="{44269A65-6A5C-C32D-D1A3-1036415ADE19}"/>
              </a:ext>
            </a:extLst>
          </p:cNvPr>
          <p:cNvSpPr txBox="1"/>
          <p:nvPr/>
        </p:nvSpPr>
        <p:spPr>
          <a:xfrm>
            <a:off x="294525" y="218284"/>
            <a:ext cx="6490650" cy="73853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spAutoFit/>
          </a:bodyPr>
          <a:lstStyle/>
          <a:p>
            <a:pPr defTabSz="2437449">
              <a:defRPr sz="6400" b="1">
                <a:solidFill>
                  <a:srgbClr val="000000"/>
                </a:solidFill>
                <a:latin typeface="IBM Plex Sans"/>
                <a:ea typeface="IBM Plex Sans"/>
                <a:cs typeface="IBM Plex Sans"/>
                <a:sym typeface="IBM Plex Sans"/>
              </a:defRPr>
            </a:pPr>
            <a:r>
              <a:rPr sz="4799" b="1">
                <a:solidFill>
                  <a:srgbClr val="000000"/>
                </a:solidFill>
                <a:latin typeface="IBM Plex Sans SmBld" panose="020B0503050203000203" pitchFamily="34" charset="0"/>
                <a:ea typeface="IBM Plex Sans"/>
                <a:cs typeface="IBM Plex Sans"/>
                <a:sym typeface="IBM Plex Sans"/>
              </a:rPr>
              <a:t>watson</a:t>
            </a:r>
            <a:r>
              <a:rPr sz="4799" b="1">
                <a:solidFill>
                  <a:srgbClr val="0F62FE"/>
                </a:solidFill>
                <a:latin typeface="IBM Plex Sans SmBld" panose="020B0503050203000203" pitchFamily="34" charset="0"/>
                <a:ea typeface="IBM Plex Sans"/>
                <a:cs typeface="IBM Plex Sans"/>
                <a:sym typeface="IBM Plex Sans"/>
              </a:rPr>
              <a:t>x</a:t>
            </a:r>
            <a:endParaRPr sz="4799" b="1">
              <a:solidFill>
                <a:srgbClr val="000000"/>
              </a:solidFill>
              <a:latin typeface="IBM Plex Sans SmBld" panose="020B0503050203000203" pitchFamily="34" charset="0"/>
              <a:ea typeface="IBM Plex Sans"/>
              <a:cs typeface="IBM Plex Sans"/>
              <a:sym typeface="IBM Plex Sans"/>
            </a:endParaRPr>
          </a:p>
        </p:txBody>
      </p:sp>
    </p:spTree>
    <p:extLst>
      <p:ext uri="{BB962C8B-B14F-4D97-AF65-F5344CB8AC3E}">
        <p14:creationId xmlns:p14="http://schemas.microsoft.com/office/powerpoint/2010/main" val="4020166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7BE081-B9EB-AE9C-878C-487F56AFAB20}"/>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498C0A72-5EC9-554D-09F2-149FA5A706DB}"/>
              </a:ext>
            </a:extLst>
          </p:cNvPr>
          <p:cNvSpPr>
            <a:spLocks noGrp="1"/>
          </p:cNvSpPr>
          <p:nvPr>
            <p:ph type="title"/>
          </p:nvPr>
        </p:nvSpPr>
        <p:spPr>
          <a:xfrm>
            <a:off x="287998" y="288036"/>
            <a:ext cx="2459290" cy="1429544"/>
          </a:xfrm>
        </p:spPr>
        <p:txBody>
          <a:bodyPr vert="horz" lIns="0" tIns="0" rIns="0" bIns="0" rtlCol="0" anchor="t">
            <a:normAutofit/>
          </a:bodyPr>
          <a:lstStyle/>
          <a:p>
            <a:r>
              <a:rPr lang="en-US" sz="2400">
                <a:solidFill>
                  <a:schemeClr val="tx1"/>
                </a:solidFill>
                <a:latin typeface="IBM Plex Sans Light"/>
              </a:rPr>
              <a:t>Our approach to </a:t>
            </a:r>
            <a:r>
              <a:rPr lang="en-US" sz="2400" b="1">
                <a:solidFill>
                  <a:schemeClr val="tx1"/>
                </a:solidFill>
                <a:latin typeface="IBM Plex Sans Light"/>
              </a:rPr>
              <a:t>all data users</a:t>
            </a:r>
          </a:p>
        </p:txBody>
      </p:sp>
      <p:grpSp>
        <p:nvGrpSpPr>
          <p:cNvPr id="10" name="Group 9">
            <a:extLst>
              <a:ext uri="{FF2B5EF4-FFF2-40B4-BE49-F238E27FC236}">
                <a16:creationId xmlns:a16="http://schemas.microsoft.com/office/drawing/2014/main" id="{10755409-7E0F-AC52-0376-1D2683F92A92}"/>
              </a:ext>
            </a:extLst>
          </p:cNvPr>
          <p:cNvGrpSpPr/>
          <p:nvPr/>
        </p:nvGrpSpPr>
        <p:grpSpPr>
          <a:xfrm>
            <a:off x="3431267" y="634676"/>
            <a:ext cx="8538049" cy="5588647"/>
            <a:chOff x="6732778" y="1586189"/>
            <a:chExt cx="17078325" cy="11178751"/>
          </a:xfrm>
        </p:grpSpPr>
        <p:sp>
          <p:nvSpPr>
            <p:cNvPr id="12" name="Text Placeholder 17">
              <a:extLst>
                <a:ext uri="{FF2B5EF4-FFF2-40B4-BE49-F238E27FC236}">
                  <a16:creationId xmlns:a16="http://schemas.microsoft.com/office/drawing/2014/main" id="{A0E7583B-1E28-33B0-8126-3EDA546D1194}"/>
                </a:ext>
              </a:extLst>
            </p:cNvPr>
            <p:cNvSpPr txBox="1">
              <a:spLocks/>
            </p:cNvSpPr>
            <p:nvPr/>
          </p:nvSpPr>
          <p:spPr>
            <a:xfrm>
              <a:off x="7418578" y="1586189"/>
              <a:ext cx="4211717" cy="220868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r>
                <a:rPr lang="en-US" sz="2200" kern="0">
                  <a:solidFill>
                    <a:srgbClr val="0E61FF"/>
                  </a:solidFill>
                  <a:latin typeface="IBM Plex Sans Light" panose="020B0403050203000203" pitchFamily="34" charset="0"/>
                </a:rPr>
                <a:t>No-Code</a:t>
              </a:r>
            </a:p>
            <a:p>
              <a:r>
                <a:rPr lang="en-US" sz="1400" kern="0">
                  <a:solidFill>
                    <a:srgbClr val="000000"/>
                  </a:solidFill>
                  <a:latin typeface="IBM Plex Sans Light" panose="020B0403050203000203" pitchFamily="34" charset="0"/>
                </a:rPr>
                <a:t>Templates for business users who need simple source-target “load and go” solutions</a:t>
              </a:r>
            </a:p>
          </p:txBody>
        </p:sp>
        <p:cxnSp>
          <p:nvCxnSpPr>
            <p:cNvPr id="14" name="Straight Connector 13" descr="Vertical column divider line">
              <a:extLst>
                <a:ext uri="{FF2B5EF4-FFF2-40B4-BE49-F238E27FC236}">
                  <a16:creationId xmlns:a16="http://schemas.microsoft.com/office/drawing/2014/main" id="{7BCD0EF5-5C7E-01E8-39BD-91CA332ED583}"/>
                </a:ext>
              </a:extLst>
            </p:cNvPr>
            <p:cNvCxnSpPr>
              <a:cxnSpLocks/>
            </p:cNvCxnSpPr>
            <p:nvPr/>
          </p:nvCxnSpPr>
          <p:spPr bwMode="auto">
            <a:xfrm>
              <a:off x="7418578" y="5142440"/>
              <a:ext cx="1639252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7">
              <a:extLst>
                <a:ext uri="{FF2B5EF4-FFF2-40B4-BE49-F238E27FC236}">
                  <a16:creationId xmlns:a16="http://schemas.microsoft.com/office/drawing/2014/main" id="{D1F49BB5-EAC0-0AC4-FBEB-EA580DFA9F9A}"/>
                </a:ext>
              </a:extLst>
            </p:cNvPr>
            <p:cNvSpPr txBox="1">
              <a:spLocks/>
            </p:cNvSpPr>
            <p:nvPr/>
          </p:nvSpPr>
          <p:spPr>
            <a:xfrm>
              <a:off x="7406800" y="5599593"/>
              <a:ext cx="4213068" cy="2694958"/>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lstStyle>
              <a:lvl1pPr marL="0" marR="0" indent="0" algn="l" defTabSz="2438400" rtl="0" latinLnBrk="0">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r>
                <a:rPr lang="en-US" sz="2200">
                  <a:solidFill>
                    <a:srgbClr val="0E61FF"/>
                  </a:solidFill>
                  <a:latin typeface="IBM Plex Sans Light" panose="020B0403050203000203" pitchFamily="34" charset="0"/>
                </a:rPr>
                <a:t>Low-Code</a:t>
              </a:r>
            </a:p>
            <a:p>
              <a:r>
                <a:rPr lang="en-US" sz="1400" kern="0">
                  <a:solidFill>
                    <a:srgbClr val="000000"/>
                  </a:solidFill>
                  <a:latin typeface="IBM Plex Sans Light" panose="020B0403050203000203" pitchFamily="34" charset="0"/>
                </a:rPr>
                <a:t>Drag-and-drop user experiences that provide invocation points for more advanced features </a:t>
              </a:r>
            </a:p>
          </p:txBody>
        </p:sp>
        <p:sp>
          <p:nvSpPr>
            <p:cNvPr id="19" name="Text Placeholder 17">
              <a:extLst>
                <a:ext uri="{FF2B5EF4-FFF2-40B4-BE49-F238E27FC236}">
                  <a16:creationId xmlns:a16="http://schemas.microsoft.com/office/drawing/2014/main" id="{75882F2E-920A-8445-F275-06F795DFDEB0}"/>
                </a:ext>
              </a:extLst>
            </p:cNvPr>
            <p:cNvSpPr txBox="1">
              <a:spLocks/>
            </p:cNvSpPr>
            <p:nvPr/>
          </p:nvSpPr>
          <p:spPr>
            <a:xfrm>
              <a:off x="7406799" y="9642122"/>
              <a:ext cx="4213068" cy="298672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lstStyle>
              <a:lvl1pPr marL="0" marR="0" indent="0" algn="l" defTabSz="2438400" rtl="0" latinLnBrk="0">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444465" marR="0" indent="-446749" algn="l" defTabSz="2438400" rtl="0" latinLnBrk="0">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15918" marR="0" indent="-446749" algn="l" defTabSz="2438400" rtl="0" latinLnBrk="0">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01671" marR="0" indent="-446749" algn="l" defTabSz="2438400" rtl="0" latinLnBrk="0">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076298" marR="0" indent="-446749" algn="l" defTabSz="2438400" rtl="0" latinLnBrk="0">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5pPr>
              <a:lvl6pPr marL="184306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latinLnBrk="0">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r>
                <a:rPr lang="en-US" sz="2200">
                  <a:solidFill>
                    <a:srgbClr val="0E61FF"/>
                  </a:solidFill>
                  <a:latin typeface="IBM Plex Sans Light" panose="020B0403050203000203" pitchFamily="34" charset="0"/>
                </a:rPr>
                <a:t>Programmatic</a:t>
              </a:r>
            </a:p>
            <a:p>
              <a:r>
                <a:rPr lang="en-US" sz="1400">
                  <a:solidFill>
                    <a:srgbClr val="000000"/>
                  </a:solidFill>
                  <a:latin typeface="IBM Plex Sans Light" panose="020B0403050203000203" pitchFamily="34" charset="0"/>
                </a:rPr>
                <a:t>SDKs and APIs, leveraging industry standard developer tools</a:t>
              </a:r>
            </a:p>
          </p:txBody>
        </p:sp>
        <p:pic>
          <p:nvPicPr>
            <p:cNvPr id="5" name="Picture 4" descr="A screenshot of a computer&#10;&#10;Description automatically generated">
              <a:extLst>
                <a:ext uri="{FF2B5EF4-FFF2-40B4-BE49-F238E27FC236}">
                  <a16:creationId xmlns:a16="http://schemas.microsoft.com/office/drawing/2014/main" id="{FB35EB35-6E5A-4310-6EDC-0EC37AED1F18}"/>
                </a:ext>
              </a:extLst>
            </p:cNvPr>
            <p:cNvPicPr>
              <a:picLocks noChangeAspect="1"/>
            </p:cNvPicPr>
            <p:nvPr/>
          </p:nvPicPr>
          <p:blipFill>
            <a:blip r:embed="rId3"/>
            <a:stretch>
              <a:fillRect/>
            </a:stretch>
          </p:blipFill>
          <p:spPr>
            <a:xfrm>
              <a:off x="19525377" y="5614714"/>
              <a:ext cx="4285726" cy="3143345"/>
            </a:xfrm>
            <a:prstGeom prst="rect">
              <a:avLst/>
            </a:prstGeom>
            <a:ln>
              <a:solidFill>
                <a:schemeClr val="tx1"/>
              </a:solidFill>
            </a:ln>
          </p:spPr>
        </p:pic>
        <p:pic>
          <p:nvPicPr>
            <p:cNvPr id="21" name="Picture 20" descr="A screenshot of a computer program&#10;&#10;Description automatically generated">
              <a:extLst>
                <a:ext uri="{FF2B5EF4-FFF2-40B4-BE49-F238E27FC236}">
                  <a16:creationId xmlns:a16="http://schemas.microsoft.com/office/drawing/2014/main" id="{6B51FAFA-1607-663C-82A2-D222A923E5A6}"/>
                </a:ext>
              </a:extLst>
            </p:cNvPr>
            <p:cNvPicPr>
              <a:picLocks noChangeAspect="1"/>
            </p:cNvPicPr>
            <p:nvPr/>
          </p:nvPicPr>
          <p:blipFill>
            <a:blip r:embed="rId4"/>
            <a:srcRect l="3787" r="31410" b="18052"/>
            <a:stretch/>
          </p:blipFill>
          <p:spPr>
            <a:xfrm>
              <a:off x="19525377" y="9492966"/>
              <a:ext cx="4285726" cy="3271974"/>
            </a:xfrm>
            <a:prstGeom prst="rect">
              <a:avLst/>
            </a:prstGeom>
          </p:spPr>
        </p:pic>
        <p:cxnSp>
          <p:nvCxnSpPr>
            <p:cNvPr id="28" name="Straight Connector 27" descr="Vertical column divider line">
              <a:extLst>
                <a:ext uri="{FF2B5EF4-FFF2-40B4-BE49-F238E27FC236}">
                  <a16:creationId xmlns:a16="http://schemas.microsoft.com/office/drawing/2014/main" id="{4BBE534D-C9C0-8614-FCD0-EBD8EA9FC891}"/>
                </a:ext>
              </a:extLst>
            </p:cNvPr>
            <p:cNvCxnSpPr>
              <a:cxnSpLocks/>
            </p:cNvCxnSpPr>
            <p:nvPr/>
          </p:nvCxnSpPr>
          <p:spPr bwMode="auto">
            <a:xfrm>
              <a:off x="7418578" y="9200090"/>
              <a:ext cx="16392525"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 name="Straight Connector 29" descr="Vertical column divider line">
              <a:extLst>
                <a:ext uri="{FF2B5EF4-FFF2-40B4-BE49-F238E27FC236}">
                  <a16:creationId xmlns:a16="http://schemas.microsoft.com/office/drawing/2014/main" id="{A433CE53-A6E2-466E-14E8-E56184BB1FF0}"/>
                </a:ext>
              </a:extLst>
            </p:cNvPr>
            <p:cNvCxnSpPr>
              <a:cxnSpLocks/>
            </p:cNvCxnSpPr>
            <p:nvPr/>
          </p:nvCxnSpPr>
          <p:spPr bwMode="auto">
            <a:xfrm>
              <a:off x="6732778" y="1692666"/>
              <a:ext cx="0" cy="11072274"/>
            </a:xfrm>
            <a:prstGeom prst="line">
              <a:avLst/>
            </a:prstGeom>
            <a:ln w="12700">
              <a:solidFill>
                <a:schemeClr val="tx1"/>
              </a:solidFill>
              <a:headEnd type="arrow" w="lg" len="lg"/>
              <a:tailEnd type="arrow" w="lg" len="lg"/>
            </a:ln>
            <a:effectLst/>
          </p:spPr>
          <p:style>
            <a:lnRef idx="1">
              <a:schemeClr val="dk1"/>
            </a:lnRef>
            <a:fillRef idx="0">
              <a:schemeClr val="dk1"/>
            </a:fillRef>
            <a:effectRef idx="0">
              <a:schemeClr val="dk1"/>
            </a:effectRef>
            <a:fontRef idx="minor">
              <a:schemeClr val="tx1"/>
            </a:fontRef>
          </p:style>
        </p:cxnSp>
        <p:pic>
          <p:nvPicPr>
            <p:cNvPr id="34" name="Picture 33" descr="A screenshot of a computer&#10;&#10;Description automatically generated">
              <a:extLst>
                <a:ext uri="{FF2B5EF4-FFF2-40B4-BE49-F238E27FC236}">
                  <a16:creationId xmlns:a16="http://schemas.microsoft.com/office/drawing/2014/main" id="{135A8054-D4BD-CA76-23F0-10E1859C64AF}"/>
                </a:ext>
              </a:extLst>
            </p:cNvPr>
            <p:cNvPicPr>
              <a:picLocks noChangeAspect="1"/>
            </p:cNvPicPr>
            <p:nvPr/>
          </p:nvPicPr>
          <p:blipFill>
            <a:blip r:embed="rId5"/>
            <a:srcRect b="14085"/>
            <a:stretch/>
          </p:blipFill>
          <p:spPr>
            <a:xfrm>
              <a:off x="19525377" y="1586189"/>
              <a:ext cx="4285726" cy="3143343"/>
            </a:xfrm>
            <a:prstGeom prst="rect">
              <a:avLst/>
            </a:prstGeom>
            <a:ln>
              <a:solidFill>
                <a:schemeClr val="tx1"/>
              </a:solidFill>
            </a:ln>
          </p:spPr>
        </p:pic>
      </p:grpSp>
      <p:grpSp>
        <p:nvGrpSpPr>
          <p:cNvPr id="6" name="Group 5">
            <a:extLst>
              <a:ext uri="{FF2B5EF4-FFF2-40B4-BE49-F238E27FC236}">
                <a16:creationId xmlns:a16="http://schemas.microsoft.com/office/drawing/2014/main" id="{4CDD0DD3-3F7B-086D-C852-691B5656B119}"/>
              </a:ext>
            </a:extLst>
          </p:cNvPr>
          <p:cNvGrpSpPr/>
          <p:nvPr/>
        </p:nvGrpSpPr>
        <p:grpSpPr>
          <a:xfrm>
            <a:off x="593489" y="2412569"/>
            <a:ext cx="2429909" cy="1952866"/>
            <a:chOff x="1487614" y="4381302"/>
            <a:chExt cx="4860451" cy="3906242"/>
          </a:xfrm>
        </p:grpSpPr>
        <p:sp>
          <p:nvSpPr>
            <p:cNvPr id="29" name="Text Placeholder 17">
              <a:extLst>
                <a:ext uri="{FF2B5EF4-FFF2-40B4-BE49-F238E27FC236}">
                  <a16:creationId xmlns:a16="http://schemas.microsoft.com/office/drawing/2014/main" id="{5A20E42F-E68B-3C2A-928D-891EEA176BA7}"/>
                </a:ext>
              </a:extLst>
            </p:cNvPr>
            <p:cNvSpPr txBox="1">
              <a:spLocks/>
            </p:cNvSpPr>
            <p:nvPr/>
          </p:nvSpPr>
          <p:spPr>
            <a:xfrm>
              <a:off x="1746410" y="4381302"/>
              <a:ext cx="4010182" cy="72816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3600" b="0" i="0" u="none" strike="noStrike" cap="none" spc="0" baseline="0">
                  <a:solidFill>
                    <a:schemeClr val="tx1"/>
                  </a:solidFill>
                  <a:uFillTx/>
                  <a:latin typeface="+mj-lt"/>
                  <a:ea typeface="+mj-ea"/>
                  <a:cs typeface="+mj-cs"/>
                  <a:sym typeface="IBM Plex Sans Light"/>
                </a:defRPr>
              </a:lvl1pPr>
              <a:lvl2pPr marL="329184"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2pPr>
              <a:lvl3pPr marL="658368"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3pPr>
              <a:lvl4pPr marL="987552" marR="0" indent="-329184" algn="l" defTabSz="2438400" rtl="0" eaLnBrk="1" latinLnBrk="0" hangingPunct="1">
                <a:lnSpc>
                  <a:spcPct val="110000"/>
                </a:lnSpc>
                <a:spcBef>
                  <a:spcPts val="0"/>
                </a:spcBef>
                <a:spcAft>
                  <a:spcPts val="0"/>
                </a:spcAft>
                <a:buClrTx/>
                <a:buSzPct val="100000"/>
                <a:buFontTx/>
                <a:buChar char="–"/>
                <a:tabLst/>
                <a:defRPr sz="36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2900"/>
                </a:spcBef>
                <a:spcAft>
                  <a:spcPts val="0"/>
                </a:spcAft>
                <a:buClrTx/>
                <a:buSzPct val="100000"/>
                <a:buFont typeface="Arial" panose="020B0604020202020204" pitchFamily="34" charset="0"/>
                <a:buChar char="•"/>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r">
                <a:lnSpc>
                  <a:spcPct val="100000"/>
                </a:lnSpc>
              </a:pPr>
              <a:r>
                <a:rPr lang="en-US" sz="1800" kern="0">
                  <a:solidFill>
                    <a:srgbClr val="0E61FF"/>
                  </a:solidFill>
                  <a:latin typeface="IBM Plex Sans Light" panose="020B0403050203000203" pitchFamily="34" charset="0"/>
                </a:rPr>
                <a:t>Shared Taxonomy</a:t>
              </a:r>
            </a:p>
          </p:txBody>
        </p:sp>
        <p:pic>
          <p:nvPicPr>
            <p:cNvPr id="4" name="Picture 3" descr="A diagram of a data flow&#10;&#10;Description automatically generated">
              <a:extLst>
                <a:ext uri="{FF2B5EF4-FFF2-40B4-BE49-F238E27FC236}">
                  <a16:creationId xmlns:a16="http://schemas.microsoft.com/office/drawing/2014/main" id="{3E96837F-C4ED-2B24-E2B8-483A19F4D619}"/>
                </a:ext>
              </a:extLst>
            </p:cNvPr>
            <p:cNvPicPr>
              <a:picLocks noChangeAspect="1"/>
            </p:cNvPicPr>
            <p:nvPr/>
          </p:nvPicPr>
          <p:blipFill>
            <a:blip r:embed="rId6"/>
            <a:stretch>
              <a:fillRect/>
            </a:stretch>
          </p:blipFill>
          <p:spPr>
            <a:xfrm>
              <a:off x="1487614" y="5428455"/>
              <a:ext cx="4860451" cy="2859089"/>
            </a:xfrm>
            <a:prstGeom prst="rect">
              <a:avLst/>
            </a:prstGeom>
          </p:spPr>
        </p:pic>
      </p:grpSp>
      <p:cxnSp>
        <p:nvCxnSpPr>
          <p:cNvPr id="7" name="Straight Connector 6" descr="Vertical column divider line">
            <a:extLst>
              <a:ext uri="{FF2B5EF4-FFF2-40B4-BE49-F238E27FC236}">
                <a16:creationId xmlns:a16="http://schemas.microsoft.com/office/drawing/2014/main" id="{6C851E9F-F525-3C6A-9907-537FFF77D1C6}"/>
              </a:ext>
            </a:extLst>
          </p:cNvPr>
          <p:cNvCxnSpPr>
            <a:cxnSpLocks/>
          </p:cNvCxnSpPr>
          <p:nvPr/>
        </p:nvCxnSpPr>
        <p:spPr bwMode="auto">
          <a:xfrm>
            <a:off x="3096357" y="3429000"/>
            <a:ext cx="334910"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Placeholder 6">
            <a:extLst>
              <a:ext uri="{FF2B5EF4-FFF2-40B4-BE49-F238E27FC236}">
                <a16:creationId xmlns:a16="http://schemas.microsoft.com/office/drawing/2014/main" id="{00CC46FA-D343-AE40-72AD-4C2ACEC4C8B9}"/>
              </a:ext>
            </a:extLst>
          </p:cNvPr>
          <p:cNvSpPr>
            <a:spLocks noGrp="1"/>
          </p:cNvSpPr>
          <p:nvPr>
            <p:ph type="sldNum" sz="quarter" idx="4"/>
          </p:nvPr>
        </p:nvSpPr>
        <p:spPr>
          <a:xfrm>
            <a:off x="11782872" y="6469016"/>
            <a:ext cx="121828" cy="123111"/>
          </a:xfrm>
        </p:spPr>
        <p:txBody>
          <a:bodyPr/>
          <a:lstStyle/>
          <a:p>
            <a:fld id="{59395FB3-9C97-154F-86B2-7E381B951268}" type="slidenum">
              <a:rPr lang="en-US" smtClean="0">
                <a:latin typeface="IBM Plex Sans Light" panose="020B0403050203000203" pitchFamily="34" charset="0"/>
              </a:rPr>
              <a:pPr/>
              <a:t>10</a:t>
            </a:fld>
            <a:endParaRPr lang="en-US">
              <a:latin typeface="IBM Plex Sans Light" panose="020B0403050203000203" pitchFamily="34" charset="0"/>
            </a:endParaRPr>
          </a:p>
        </p:txBody>
      </p:sp>
    </p:spTree>
    <p:extLst>
      <p:ext uri="{BB962C8B-B14F-4D97-AF65-F5344CB8AC3E}">
        <p14:creationId xmlns:p14="http://schemas.microsoft.com/office/powerpoint/2010/main" val="1201713870"/>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547095-79FA-448B-3B1F-03FEABA7CA24}"/>
            </a:ext>
          </a:extLst>
        </p:cNvPr>
        <p:cNvGrpSpPr/>
        <p:nvPr/>
      </p:nvGrpSpPr>
      <p:grpSpPr>
        <a:xfrm>
          <a:off x="0" y="0"/>
          <a:ext cx="0" cy="0"/>
          <a:chOff x="0" y="0"/>
          <a:chExt cx="0" cy="0"/>
        </a:xfrm>
      </p:grpSpPr>
      <p:cxnSp>
        <p:nvCxnSpPr>
          <p:cNvPr id="39" name="Straight Connector 38">
            <a:extLst>
              <a:ext uri="{FF2B5EF4-FFF2-40B4-BE49-F238E27FC236}">
                <a16:creationId xmlns:a16="http://schemas.microsoft.com/office/drawing/2014/main" id="{C30CF1B1-A6DC-240B-AA53-859CD29A53B0}"/>
              </a:ext>
            </a:extLst>
          </p:cNvPr>
          <p:cNvCxnSpPr>
            <a:cxnSpLocks/>
          </p:cNvCxnSpPr>
          <p:nvPr/>
        </p:nvCxnSpPr>
        <p:spPr bwMode="auto">
          <a:xfrm>
            <a:off x="783863" y="5369228"/>
            <a:ext cx="6627597"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hape 92">
            <a:extLst>
              <a:ext uri="{FF2B5EF4-FFF2-40B4-BE49-F238E27FC236}">
                <a16:creationId xmlns:a16="http://schemas.microsoft.com/office/drawing/2014/main" id="{DE5811B0-E1AD-9A99-1A4E-9FD020053B5C}"/>
              </a:ext>
            </a:extLst>
          </p:cNvPr>
          <p:cNvSpPr/>
          <p:nvPr/>
        </p:nvSpPr>
        <p:spPr>
          <a:xfrm>
            <a:off x="10212674" y="1935346"/>
            <a:ext cx="1777718" cy="2943098"/>
          </a:xfrm>
          <a:prstGeom prst="roundRect">
            <a:avLst>
              <a:gd name="adj" fmla="val 6887"/>
            </a:avLst>
          </a:prstGeom>
          <a:solidFill>
            <a:schemeClr val="bg1"/>
          </a:solidFill>
          <a:ln w="12700">
            <a:solidFill>
              <a:srgbClr val="0E61FF"/>
            </a:solidFill>
            <a:prstDash val="sysDot"/>
          </a:ln>
          <a:effectLst>
            <a:outerShdw blurRad="317500" dist="50800" dir="16200000" algn="bl" rotWithShape="0">
              <a:srgbClr val="000000">
                <a:alpha val="10000"/>
              </a:srgbClr>
            </a:outerShdw>
          </a:effectLst>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1218956" rtl="0" eaLnBrk="1" fontAlgn="auto" latinLnBrk="0" hangingPunct="1">
              <a:lnSpc>
                <a:spcPct val="100000"/>
              </a:lnSpc>
              <a:spcBef>
                <a:spcPts val="0"/>
              </a:spcBef>
              <a:spcAft>
                <a:spcPts val="0"/>
              </a:spcAft>
              <a:buClrTx/>
              <a:buSzPct val="100000"/>
              <a:buFontTx/>
              <a:buNone/>
              <a:tabLst/>
              <a:defRPr/>
            </a:pPr>
            <a:endParaRPr kumimoji="0" lang="en-US" sz="1100" b="0" i="0" u="none" strike="noStrike" kern="0" cap="none" spc="0" normalizeH="0" baseline="0" noProof="0">
              <a:ln>
                <a:noFill/>
              </a:ln>
              <a:solidFill>
                <a:srgbClr val="000000"/>
              </a:solidFill>
              <a:effectLst/>
              <a:uLnTx/>
              <a:uFillTx/>
              <a:latin typeface="IBM Plex Sans Light" panose="020B0403050203000203" pitchFamily="34" charset="0"/>
              <a:ea typeface="+mn-ea"/>
              <a:cs typeface="+mn-cs"/>
              <a:sym typeface="IBM Plex Sans Light"/>
            </a:endParaRPr>
          </a:p>
        </p:txBody>
      </p:sp>
      <p:sp>
        <p:nvSpPr>
          <p:cNvPr id="15" name="Shape 92">
            <a:extLst>
              <a:ext uri="{FF2B5EF4-FFF2-40B4-BE49-F238E27FC236}">
                <a16:creationId xmlns:a16="http://schemas.microsoft.com/office/drawing/2014/main" id="{CC16FE28-9F8A-7F30-7F61-BA58CD6F5E6C}"/>
              </a:ext>
            </a:extLst>
          </p:cNvPr>
          <p:cNvSpPr/>
          <p:nvPr/>
        </p:nvSpPr>
        <p:spPr>
          <a:xfrm>
            <a:off x="5007039" y="1939982"/>
            <a:ext cx="1469036" cy="2938270"/>
          </a:xfrm>
          <a:prstGeom prst="roundRect">
            <a:avLst>
              <a:gd name="adj" fmla="val 6887"/>
            </a:avLst>
          </a:prstGeom>
          <a:solidFill>
            <a:schemeClr val="bg1"/>
          </a:solidFill>
          <a:ln w="12700">
            <a:solidFill>
              <a:srgbClr val="0E61FF"/>
            </a:solidFill>
            <a:prstDash val="sysDot"/>
          </a:ln>
          <a:effectLst>
            <a:outerShdw blurRad="317500" dist="50800" dir="16200000" algn="bl" rotWithShape="0">
              <a:srgbClr val="000000">
                <a:alpha val="10000"/>
              </a:srgbClr>
            </a:outerShdw>
          </a:effectLst>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1218956" rtl="0" eaLnBrk="1" fontAlgn="auto" latinLnBrk="0" hangingPunct="1">
              <a:lnSpc>
                <a:spcPct val="100000"/>
              </a:lnSpc>
              <a:spcBef>
                <a:spcPts val="0"/>
              </a:spcBef>
              <a:spcAft>
                <a:spcPts val="0"/>
              </a:spcAft>
              <a:buClrTx/>
              <a:buSzPct val="100000"/>
              <a:buFontTx/>
              <a:buNone/>
              <a:tabLst/>
              <a:defRPr/>
            </a:pPr>
            <a:endParaRPr kumimoji="0" lang="en-US" sz="1100" b="0" i="0" u="none" strike="noStrike" kern="0" cap="none" spc="0" normalizeH="0" baseline="0" noProof="0">
              <a:ln>
                <a:noFill/>
              </a:ln>
              <a:solidFill>
                <a:srgbClr val="000000"/>
              </a:solidFill>
              <a:effectLst/>
              <a:uLnTx/>
              <a:uFillTx/>
              <a:latin typeface="IBM Plex Sans Light" panose="020B0403050203000203" pitchFamily="34" charset="0"/>
              <a:ea typeface="+mn-ea"/>
              <a:cs typeface="+mn-cs"/>
              <a:sym typeface="IBM Plex Sans Light"/>
            </a:endParaRPr>
          </a:p>
        </p:txBody>
      </p:sp>
      <p:cxnSp>
        <p:nvCxnSpPr>
          <p:cNvPr id="93" name="Straight Arrow Connector 92">
            <a:extLst>
              <a:ext uri="{FF2B5EF4-FFF2-40B4-BE49-F238E27FC236}">
                <a16:creationId xmlns:a16="http://schemas.microsoft.com/office/drawing/2014/main" id="{0EFCA2D1-72F8-55BD-70E3-6C6F719499B8}"/>
              </a:ext>
            </a:extLst>
          </p:cNvPr>
          <p:cNvCxnSpPr>
            <a:cxnSpLocks/>
          </p:cNvCxnSpPr>
          <p:nvPr/>
        </p:nvCxnSpPr>
        <p:spPr bwMode="auto">
          <a:xfrm>
            <a:off x="1342361" y="3652637"/>
            <a:ext cx="279045" cy="0"/>
          </a:xfrm>
          <a:prstGeom prst="straightConnector1">
            <a:avLst/>
          </a:prstGeom>
          <a:ln w="12700">
            <a:solidFill>
              <a:schemeClr val="tx1">
                <a:lumMod val="65000"/>
                <a:lumOff val="35000"/>
              </a:schemeClr>
            </a:solidFill>
            <a:headEnd type="none" w="med" len="med"/>
            <a:tailEnd type="triangle" w="lg" len="lg"/>
          </a:ln>
          <a:effectLst/>
        </p:spPr>
        <p:style>
          <a:lnRef idx="1">
            <a:schemeClr val="dk1"/>
          </a:lnRef>
          <a:fillRef idx="0">
            <a:schemeClr val="dk1"/>
          </a:fillRef>
          <a:effectRef idx="0">
            <a:schemeClr val="dk1"/>
          </a:effectRef>
          <a:fontRef idx="minor">
            <a:schemeClr val="tx1"/>
          </a:fontRef>
        </p:style>
      </p:cxnSp>
      <p:cxnSp>
        <p:nvCxnSpPr>
          <p:cNvPr id="104" name="Straight Arrow Connector 103">
            <a:extLst>
              <a:ext uri="{FF2B5EF4-FFF2-40B4-BE49-F238E27FC236}">
                <a16:creationId xmlns:a16="http://schemas.microsoft.com/office/drawing/2014/main" id="{C24922AF-C6A5-BB5A-10DF-132872EBC1D3}"/>
              </a:ext>
            </a:extLst>
          </p:cNvPr>
          <p:cNvCxnSpPr>
            <a:cxnSpLocks/>
          </p:cNvCxnSpPr>
          <p:nvPr/>
        </p:nvCxnSpPr>
        <p:spPr bwMode="auto">
          <a:xfrm flipV="1">
            <a:off x="4318600" y="3663665"/>
            <a:ext cx="655347" cy="4539"/>
          </a:xfrm>
          <a:prstGeom prst="straightConnector1">
            <a:avLst/>
          </a:prstGeom>
          <a:ln w="12700">
            <a:solidFill>
              <a:schemeClr val="tx1">
                <a:lumMod val="65000"/>
                <a:lumOff val="35000"/>
              </a:schemeClr>
            </a:solidFill>
            <a:headEnd type="none" w="med" len="med"/>
            <a:tailEnd type="triangle" w="lg" len="lg"/>
          </a:ln>
          <a:effectLst/>
        </p:spPr>
        <p:style>
          <a:lnRef idx="1">
            <a:schemeClr val="dk1"/>
          </a:lnRef>
          <a:fillRef idx="0">
            <a:schemeClr val="dk1"/>
          </a:fillRef>
          <a:effectRef idx="0">
            <a:schemeClr val="dk1"/>
          </a:effectRef>
          <a:fontRef idx="minor">
            <a:schemeClr val="tx1"/>
          </a:fontRef>
        </p:style>
      </p:cxnSp>
      <p:cxnSp>
        <p:nvCxnSpPr>
          <p:cNvPr id="106" name="Elbow Connector 105">
            <a:extLst>
              <a:ext uri="{FF2B5EF4-FFF2-40B4-BE49-F238E27FC236}">
                <a16:creationId xmlns:a16="http://schemas.microsoft.com/office/drawing/2014/main" id="{0B858519-DE77-1DEF-6D26-CA9788B82143}"/>
              </a:ext>
            </a:extLst>
          </p:cNvPr>
          <p:cNvCxnSpPr>
            <a:cxnSpLocks/>
          </p:cNvCxnSpPr>
          <p:nvPr/>
        </p:nvCxnSpPr>
        <p:spPr bwMode="auto">
          <a:xfrm flipV="1">
            <a:off x="4405213" y="2805427"/>
            <a:ext cx="586084" cy="867690"/>
          </a:xfrm>
          <a:prstGeom prst="bentConnector3">
            <a:avLst/>
          </a:prstGeom>
          <a:ln w="12700">
            <a:solidFill>
              <a:schemeClr val="tx1">
                <a:lumMod val="65000"/>
                <a:lumOff val="35000"/>
              </a:schemeClr>
            </a:solidFill>
            <a:headEnd type="none" w="med" len="med"/>
            <a:tailEnd type="triangle" w="lg" len="lg"/>
          </a:ln>
          <a:effectLst/>
        </p:spPr>
        <p:style>
          <a:lnRef idx="1">
            <a:schemeClr val="dk1"/>
          </a:lnRef>
          <a:fillRef idx="0">
            <a:schemeClr val="dk1"/>
          </a:fillRef>
          <a:effectRef idx="0">
            <a:schemeClr val="dk1"/>
          </a:effectRef>
          <a:fontRef idx="minor">
            <a:schemeClr val="tx1"/>
          </a:fontRef>
        </p:style>
      </p:cxnSp>
      <p:cxnSp>
        <p:nvCxnSpPr>
          <p:cNvPr id="107" name="Elbow Connector 106">
            <a:extLst>
              <a:ext uri="{FF2B5EF4-FFF2-40B4-BE49-F238E27FC236}">
                <a16:creationId xmlns:a16="http://schemas.microsoft.com/office/drawing/2014/main" id="{D9C4DA66-E3FF-BD5E-0421-62CAD89FC437}"/>
              </a:ext>
            </a:extLst>
          </p:cNvPr>
          <p:cNvCxnSpPr>
            <a:cxnSpLocks/>
          </p:cNvCxnSpPr>
          <p:nvPr/>
        </p:nvCxnSpPr>
        <p:spPr bwMode="auto">
          <a:xfrm>
            <a:off x="4405213" y="3674434"/>
            <a:ext cx="586084" cy="788809"/>
          </a:xfrm>
          <a:prstGeom prst="bentConnector3">
            <a:avLst/>
          </a:prstGeom>
          <a:ln w="12700">
            <a:solidFill>
              <a:schemeClr val="tx1">
                <a:lumMod val="65000"/>
                <a:lumOff val="35000"/>
              </a:schemeClr>
            </a:solidFill>
            <a:headEnd type="none" w="med" len="med"/>
            <a:tailEnd type="triangle" w="lg" len="lg"/>
          </a:ln>
          <a:effectLst/>
        </p:spPr>
        <p:style>
          <a:lnRef idx="1">
            <a:schemeClr val="dk1"/>
          </a:lnRef>
          <a:fillRef idx="0">
            <a:schemeClr val="dk1"/>
          </a:fillRef>
          <a:effectRef idx="0">
            <a:schemeClr val="dk1"/>
          </a:effectRef>
          <a:fontRef idx="minor">
            <a:schemeClr val="tx1"/>
          </a:fontRef>
        </p:style>
      </p:cxnSp>
      <p:cxnSp>
        <p:nvCxnSpPr>
          <p:cNvPr id="109" name="Straight Arrow Connector 108">
            <a:extLst>
              <a:ext uri="{FF2B5EF4-FFF2-40B4-BE49-F238E27FC236}">
                <a16:creationId xmlns:a16="http://schemas.microsoft.com/office/drawing/2014/main" id="{DD1E2D64-0246-1566-FA1C-1A0AA6F2BEC1}"/>
              </a:ext>
            </a:extLst>
          </p:cNvPr>
          <p:cNvCxnSpPr>
            <a:cxnSpLocks/>
          </p:cNvCxnSpPr>
          <p:nvPr/>
        </p:nvCxnSpPr>
        <p:spPr bwMode="auto">
          <a:xfrm flipV="1">
            <a:off x="6379543" y="3650468"/>
            <a:ext cx="351979" cy="0"/>
          </a:xfrm>
          <a:prstGeom prst="straightConnector1">
            <a:avLst/>
          </a:prstGeom>
          <a:ln w="12700">
            <a:solidFill>
              <a:schemeClr val="tx1">
                <a:lumMod val="65000"/>
                <a:lumOff val="35000"/>
              </a:schemeClr>
            </a:solidFill>
            <a:headEnd type="none" w="med" len="med"/>
            <a:tailEnd type="triangle" w="lg" len="lg"/>
          </a:ln>
          <a:effectLst/>
        </p:spPr>
        <p:style>
          <a:lnRef idx="1">
            <a:schemeClr val="dk1"/>
          </a:lnRef>
          <a:fillRef idx="0">
            <a:schemeClr val="dk1"/>
          </a:fillRef>
          <a:effectRef idx="0">
            <a:schemeClr val="dk1"/>
          </a:effectRef>
          <a:fontRef idx="minor">
            <a:schemeClr val="tx1"/>
          </a:fontRef>
        </p:style>
      </p:cxnSp>
      <p:cxnSp>
        <p:nvCxnSpPr>
          <p:cNvPr id="111" name="Straight Arrow Connector 110">
            <a:extLst>
              <a:ext uri="{FF2B5EF4-FFF2-40B4-BE49-F238E27FC236}">
                <a16:creationId xmlns:a16="http://schemas.microsoft.com/office/drawing/2014/main" id="{78B3F527-5518-C20C-421E-4B0E0101587F}"/>
              </a:ext>
            </a:extLst>
          </p:cNvPr>
          <p:cNvCxnSpPr>
            <a:cxnSpLocks/>
          </p:cNvCxnSpPr>
          <p:nvPr/>
        </p:nvCxnSpPr>
        <p:spPr bwMode="auto">
          <a:xfrm flipV="1">
            <a:off x="7386359" y="3048353"/>
            <a:ext cx="0" cy="214151"/>
          </a:xfrm>
          <a:prstGeom prst="straightConnector1">
            <a:avLst/>
          </a:prstGeom>
          <a:ln w="12700">
            <a:solidFill>
              <a:schemeClr val="tx1">
                <a:lumMod val="65000"/>
                <a:lumOff val="35000"/>
              </a:schemeClr>
            </a:solidFill>
            <a:headEnd type="none" w="med" len="med"/>
            <a:tailEnd type="triangle" w="lg" len="lg"/>
          </a:ln>
          <a:effectLst/>
        </p:spPr>
        <p:style>
          <a:lnRef idx="1">
            <a:schemeClr val="dk1"/>
          </a:lnRef>
          <a:fillRef idx="0">
            <a:schemeClr val="dk1"/>
          </a:fillRef>
          <a:effectRef idx="0">
            <a:schemeClr val="dk1"/>
          </a:effectRef>
          <a:fontRef idx="minor">
            <a:schemeClr val="tx1"/>
          </a:fontRef>
        </p:style>
      </p:cxnSp>
      <p:cxnSp>
        <p:nvCxnSpPr>
          <p:cNvPr id="132" name="Straight Arrow Connector 131">
            <a:extLst>
              <a:ext uri="{FF2B5EF4-FFF2-40B4-BE49-F238E27FC236}">
                <a16:creationId xmlns:a16="http://schemas.microsoft.com/office/drawing/2014/main" id="{84336A1D-C3B6-0FE9-30FB-FE1C0B0CB7AD}"/>
              </a:ext>
            </a:extLst>
          </p:cNvPr>
          <p:cNvCxnSpPr>
            <a:cxnSpLocks/>
          </p:cNvCxnSpPr>
          <p:nvPr/>
        </p:nvCxnSpPr>
        <p:spPr bwMode="auto">
          <a:xfrm>
            <a:off x="5721054" y="3833499"/>
            <a:ext cx="0" cy="324902"/>
          </a:xfrm>
          <a:prstGeom prst="straightConnector1">
            <a:avLst/>
          </a:prstGeom>
          <a:ln w="12700">
            <a:solidFill>
              <a:schemeClr val="tx1">
                <a:lumMod val="65000"/>
                <a:lumOff val="35000"/>
              </a:schemeClr>
            </a:solidFill>
            <a:headEnd type="none" w="med" len="med"/>
            <a:tailEnd type="triangle" w="lg" len="lg"/>
          </a:ln>
          <a:effectLst/>
        </p:spPr>
        <p:style>
          <a:lnRef idx="1">
            <a:schemeClr val="dk1"/>
          </a:lnRef>
          <a:fillRef idx="0">
            <a:schemeClr val="dk1"/>
          </a:fillRef>
          <a:effectRef idx="0">
            <a:schemeClr val="dk1"/>
          </a:effectRef>
          <a:fontRef idx="minor">
            <a:schemeClr val="tx1"/>
          </a:fontRef>
        </p:style>
      </p:cxnSp>
      <p:sp>
        <p:nvSpPr>
          <p:cNvPr id="136" name="TextBox 135">
            <a:extLst>
              <a:ext uri="{FF2B5EF4-FFF2-40B4-BE49-F238E27FC236}">
                <a16:creationId xmlns:a16="http://schemas.microsoft.com/office/drawing/2014/main" id="{2D3C2C15-BF74-CE88-C7B9-F18A36922FA8}"/>
              </a:ext>
            </a:extLst>
          </p:cNvPr>
          <p:cNvSpPr txBox="1"/>
          <p:nvPr/>
        </p:nvSpPr>
        <p:spPr>
          <a:xfrm>
            <a:off x="2908577" y="5271429"/>
            <a:ext cx="1957285" cy="205411"/>
          </a:xfrm>
          <a:prstGeom prst="rect">
            <a:avLst/>
          </a:prstGeom>
          <a:solidFill>
            <a:schemeClr val="bg1"/>
          </a:solidFill>
          <a:ln w="12700">
            <a:solidFill>
              <a:srgbClr val="161616"/>
            </a:solid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91428" tIns="68571" rIns="91428" bIns="68571" rtlCol="0" anchor="ctr">
            <a:noAutofit/>
          </a:bodyPr>
          <a:lstStyle/>
          <a:p>
            <a:pPr marL="0" marR="0" lvl="0" indent="0" algn="ctr" defTabSz="1218956" rtl="0" eaLnBrk="1" fontAlgn="auto" latinLnBrk="0" hangingPunct="1">
              <a:lnSpc>
                <a:spcPct val="100000"/>
              </a:lnSpc>
              <a:spcBef>
                <a:spcPts val="0"/>
              </a:spcBef>
              <a:spcAft>
                <a:spcPts val="0"/>
              </a:spcAft>
              <a:buClrTx/>
              <a:buSzPct val="100000"/>
              <a:buFontTx/>
              <a:buNone/>
              <a:tabLst/>
              <a:defRPr/>
            </a:pPr>
            <a:r>
              <a:rPr kumimoji="0" lang="en-US" sz="800" b="0" i="0" u="none" strike="noStrike" kern="0" cap="none" spc="0" normalizeH="0" baseline="0" noProof="0" dirty="0">
                <a:ln>
                  <a:noFill/>
                </a:ln>
                <a:solidFill>
                  <a:srgbClr val="000000"/>
                </a:solidFill>
                <a:effectLst/>
                <a:uLnTx/>
                <a:uFillTx/>
                <a:latin typeface="IBM Plex Sans Medm" panose="020B0503050203000203" pitchFamily="34" charset="0"/>
                <a:ea typeface="+mn-ea"/>
                <a:cs typeface="+mn-cs"/>
                <a:sym typeface="IBM Plex Sans Light"/>
              </a:rPr>
              <a:t>User/data access policies/decisions</a:t>
            </a:r>
          </a:p>
        </p:txBody>
      </p:sp>
      <p:sp>
        <p:nvSpPr>
          <p:cNvPr id="3" name="Slide Number Placeholder 1">
            <a:extLst>
              <a:ext uri="{FF2B5EF4-FFF2-40B4-BE49-F238E27FC236}">
                <a16:creationId xmlns:a16="http://schemas.microsoft.com/office/drawing/2014/main" id="{AA986608-98C0-7826-1B57-7C23A9022416}"/>
              </a:ext>
            </a:extLst>
          </p:cNvPr>
          <p:cNvSpPr txBox="1">
            <a:spLocks/>
          </p:cNvSpPr>
          <p:nvPr/>
        </p:nvSpPr>
        <p:spPr>
          <a:xfrm>
            <a:off x="11843785" y="6469015"/>
            <a:ext cx="60915" cy="123111"/>
          </a:xfrm>
          <a:prstGeom prst="rect">
            <a:avLst/>
          </a:prstGeom>
          <a:ln w="12700">
            <a:miter lim="400000"/>
          </a:ln>
        </p:spPr>
        <p:txBody>
          <a:bodyPr wrap="none" lIns="0" tIns="0" rIns="0" bIns="0" anchor="ctr" anchorCtr="0">
            <a:spAutoFit/>
          </a:bodyPr>
          <a:lstStyle>
            <a:defPPr>
              <a:defRPr lang="en-US"/>
            </a:defPPr>
            <a:lvl1pPr marL="0" algn="r" defTabSz="914400" rtl="0" eaLnBrk="1" latinLnBrk="0" hangingPunct="1">
              <a:defRPr sz="800" b="0" i="0" kern="1200">
                <a:solidFill>
                  <a:schemeClr val="tx1"/>
                </a:solidFill>
                <a:latin typeface="IBM Plex Sans" panose="020B0503050203000203" pitchFamily="34" charset="0"/>
                <a:ea typeface="+mn-ea"/>
                <a:cs typeface="+mn-cs"/>
                <a:sym typeface="IBM Plex San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507" rtl="0" eaLnBrk="1" fontAlgn="auto" latinLnBrk="0" hangingPunct="1">
              <a:lnSpc>
                <a:spcPct val="100000"/>
              </a:lnSpc>
              <a:spcBef>
                <a:spcPts val="0"/>
              </a:spcBef>
              <a:spcAft>
                <a:spcPts val="0"/>
              </a:spcAft>
              <a:buClrTx/>
              <a:buSzTx/>
              <a:buFontTx/>
              <a:buNone/>
              <a:tabLst/>
              <a:defRPr/>
            </a:pPr>
            <a:fld id="{86CB4B4D-7CA3-9044-876B-883B54F8677D}" type="slidenum">
              <a:rPr kumimoji="0" lang="en-US" sz="800" b="0" i="0" u="none" strike="noStrike" kern="1200" cap="none" spc="0" normalizeH="0" baseline="0" noProof="0" dirty="0" smtClean="0">
                <a:ln>
                  <a:noFill/>
                </a:ln>
                <a:solidFill>
                  <a:srgbClr val="000000"/>
                </a:solidFill>
                <a:effectLst/>
                <a:uLnTx/>
                <a:uFillTx/>
                <a:latin typeface="IBM Plex Sans" panose="020B0503050203000203" pitchFamily="34" charset="0"/>
                <a:ea typeface="+mn-ea"/>
                <a:cs typeface="+mn-cs"/>
                <a:sym typeface="IBM Plex Sans"/>
              </a:rPr>
              <a:pPr marL="0" marR="0" lvl="0" indent="0" algn="r" defTabSz="914507" rtl="0" eaLnBrk="1" fontAlgn="auto" latinLnBrk="0" hangingPunct="1">
                <a:lnSpc>
                  <a:spcPct val="100000"/>
                </a:lnSpc>
                <a:spcBef>
                  <a:spcPts val="0"/>
                </a:spcBef>
                <a:spcAft>
                  <a:spcPts val="0"/>
                </a:spcAft>
                <a:buClrTx/>
                <a:buSzTx/>
                <a:buFontTx/>
                <a:buNone/>
                <a:tabLst/>
                <a:defRPr/>
              </a:pPr>
              <a:t>11</a:t>
            </a:fld>
            <a:endParaRPr kumimoji="0" lang="en-US" sz="8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sym typeface="IBM Plex Sans"/>
            </a:endParaRPr>
          </a:p>
        </p:txBody>
      </p:sp>
      <p:sp>
        <p:nvSpPr>
          <p:cNvPr id="10" name="Hexagon 9">
            <a:extLst>
              <a:ext uri="{FF2B5EF4-FFF2-40B4-BE49-F238E27FC236}">
                <a16:creationId xmlns:a16="http://schemas.microsoft.com/office/drawing/2014/main" id="{6AB2465E-A29A-FDC4-6C15-689D7A7FF725}"/>
              </a:ext>
            </a:extLst>
          </p:cNvPr>
          <p:cNvSpPr/>
          <p:nvPr/>
        </p:nvSpPr>
        <p:spPr bwMode="auto">
          <a:xfrm>
            <a:off x="3205164" y="3275026"/>
            <a:ext cx="1325448" cy="798604"/>
          </a:xfrm>
          <a:prstGeom prst="hexagon">
            <a:avLst/>
          </a:prstGeom>
          <a:solidFill>
            <a:schemeClr val="accent1"/>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Pct val="100000"/>
              <a:buFontTx/>
              <a:buNone/>
              <a:tabLst/>
              <a:defRPr/>
            </a:pPr>
            <a:endParaRPr kumimoji="0" lang="en-US" sz="1000" b="0" i="0" u="none" strike="noStrike" kern="0" cap="none" spc="0" normalizeH="0" baseline="0" noProof="0">
              <a:ln>
                <a:noFill/>
              </a:ln>
              <a:solidFill>
                <a:srgbClr val="FFFFFF"/>
              </a:solidFill>
              <a:effectLst/>
              <a:uLnTx/>
              <a:uFillTx/>
              <a:latin typeface="IBM Plex Sans Light" panose="020B0403050203000203" pitchFamily="34" charset="0"/>
              <a:ea typeface="+mn-ea"/>
              <a:cs typeface="+mn-cs"/>
              <a:sym typeface="IBM Plex Sans Light"/>
            </a:endParaRPr>
          </a:p>
          <a:p>
            <a:pPr marL="0" marR="0" lvl="0" indent="0" algn="l" defTabSz="1218956" rtl="0" eaLnBrk="1" fontAlgn="auto" latinLnBrk="0" hangingPunct="1">
              <a:lnSpc>
                <a:spcPct val="100000"/>
              </a:lnSpc>
              <a:spcBef>
                <a:spcPts val="0"/>
              </a:spcBef>
              <a:spcAft>
                <a:spcPts val="0"/>
              </a:spcAft>
              <a:buClrTx/>
              <a:buSzPct val="100000"/>
              <a:buFontTx/>
              <a:buNone/>
              <a:tabLst/>
              <a:defRPr/>
            </a:pPr>
            <a:r>
              <a:rPr kumimoji="0" lang="en-US" sz="900" b="0" i="0" u="none" strike="noStrike" kern="0" cap="none" spc="0" normalizeH="0" baseline="0" noProof="0">
                <a:ln>
                  <a:noFill/>
                </a:ln>
                <a:solidFill>
                  <a:srgbClr val="FFFFFF"/>
                </a:solidFill>
                <a:effectLst/>
                <a:uLnTx/>
                <a:uFillTx/>
                <a:latin typeface="IBM Plex Sans Light" panose="020B0403050203000203" pitchFamily="34" charset="0"/>
                <a:ea typeface="+mn-ea"/>
                <a:cs typeface="+mn-cs"/>
                <a:sym typeface="IBM Plex Sans Light"/>
              </a:rPr>
              <a:t>Ingest and </a:t>
            </a:r>
          </a:p>
          <a:p>
            <a:pPr marL="0" marR="0" lvl="0" indent="0" algn="l" defTabSz="1218956" rtl="0" eaLnBrk="1" fontAlgn="auto" latinLnBrk="0" hangingPunct="1">
              <a:lnSpc>
                <a:spcPct val="100000"/>
              </a:lnSpc>
              <a:spcBef>
                <a:spcPts val="0"/>
              </a:spcBef>
              <a:spcAft>
                <a:spcPts val="0"/>
              </a:spcAft>
              <a:buClrTx/>
              <a:buSzPct val="100000"/>
              <a:buFontTx/>
              <a:buNone/>
              <a:tabLst/>
              <a:defRPr/>
            </a:pPr>
            <a:r>
              <a:rPr kumimoji="0" lang="en-US" sz="900" b="0" i="0" u="none" strike="noStrike" kern="0" cap="none" spc="0" normalizeH="0" baseline="0" noProof="0">
                <a:ln>
                  <a:noFill/>
                </a:ln>
                <a:solidFill>
                  <a:srgbClr val="FFFFFF"/>
                </a:solidFill>
                <a:effectLst/>
                <a:uLnTx/>
                <a:uFillTx/>
                <a:latin typeface="IBM Plex Sans Light" panose="020B0403050203000203" pitchFamily="34" charset="0"/>
                <a:ea typeface="+mn-ea"/>
                <a:cs typeface="+mn-cs"/>
                <a:sym typeface="IBM Plex Sans Light"/>
              </a:rPr>
              <a:t>pre-processing pipelines</a:t>
            </a:r>
            <a:endParaRPr kumimoji="0" lang="en-US" sz="900" b="0" i="0" u="none" strike="noStrike" kern="0" cap="none" spc="0" normalizeH="0" baseline="0" noProof="0">
              <a:ln>
                <a:noFill/>
              </a:ln>
              <a:solidFill>
                <a:srgbClr val="FFFFFF"/>
              </a:solidFill>
              <a:effectLst/>
              <a:uLnTx/>
              <a:uFillTx/>
              <a:latin typeface="IBM Plex Sans Light" panose="020B0403050203000203" pitchFamily="34" charset="0"/>
              <a:ea typeface="+mn-ea"/>
              <a:cs typeface="+mn-cs"/>
            </a:endParaRPr>
          </a:p>
        </p:txBody>
      </p:sp>
      <p:sp>
        <p:nvSpPr>
          <p:cNvPr id="11" name="Hexagon 10">
            <a:extLst>
              <a:ext uri="{FF2B5EF4-FFF2-40B4-BE49-F238E27FC236}">
                <a16:creationId xmlns:a16="http://schemas.microsoft.com/office/drawing/2014/main" id="{8894DC4D-FE15-0AE6-9808-C7F2A36E8A03}"/>
              </a:ext>
            </a:extLst>
          </p:cNvPr>
          <p:cNvSpPr/>
          <p:nvPr/>
        </p:nvSpPr>
        <p:spPr bwMode="auto">
          <a:xfrm>
            <a:off x="6744187" y="3231249"/>
            <a:ext cx="1337543" cy="798604"/>
          </a:xfrm>
          <a:prstGeom prst="hexagon">
            <a:avLst/>
          </a:prstGeom>
          <a:solidFill>
            <a:schemeClr val="accent1"/>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914507" rtl="0" eaLnBrk="1" fontAlgn="auto" latinLnBrk="0" hangingPunct="1">
              <a:lnSpc>
                <a:spcPct val="100000"/>
              </a:lnSpc>
              <a:spcBef>
                <a:spcPts val="0"/>
              </a:spcBef>
              <a:spcAft>
                <a:spcPts val="0"/>
              </a:spcAft>
              <a:buClrTx/>
              <a:buSzTx/>
              <a:buFontTx/>
              <a:buNone/>
              <a:tabLst/>
              <a:defRPr/>
            </a:pPr>
            <a:br>
              <a:rPr kumimoji="0" lang="en-US" sz="1000" b="0" i="0" u="none" strike="noStrike" kern="1200" cap="none" spc="0" normalizeH="0" baseline="0" noProof="0">
                <a:ln>
                  <a:noFill/>
                </a:ln>
                <a:solidFill>
                  <a:srgbClr val="FFFFFF"/>
                </a:solidFill>
                <a:effectLst/>
                <a:uLnTx/>
                <a:uFillTx/>
                <a:latin typeface="IBM Plex Sans Light" panose="020B0403050203000203" pitchFamily="34" charset="0"/>
                <a:ea typeface="+mn-ea"/>
                <a:cs typeface="+mn-cs"/>
                <a:sym typeface="IBM Plex Sans Light"/>
              </a:rPr>
            </a:br>
            <a:r>
              <a:rPr kumimoji="0" lang="en-US" sz="900" b="0" i="0" u="none" strike="noStrike" kern="1200" cap="none" spc="0" normalizeH="0" baseline="0" noProof="0">
                <a:ln>
                  <a:noFill/>
                </a:ln>
                <a:solidFill>
                  <a:srgbClr val="FFFFFF"/>
                </a:solidFill>
                <a:effectLst/>
                <a:uLnTx/>
                <a:uFillTx/>
                <a:latin typeface="IBM Plex Sans Light" panose="020B0403050203000203" pitchFamily="34" charset="0"/>
                <a:ea typeface="+mn-ea"/>
                <a:cs typeface="+mn-cs"/>
                <a:sym typeface="IBM Plex Sans Light"/>
              </a:rPr>
              <a:t>Integrated data governance and user auth.</a:t>
            </a:r>
          </a:p>
        </p:txBody>
      </p:sp>
      <p:sp>
        <p:nvSpPr>
          <p:cNvPr id="12" name="TextBox 11">
            <a:extLst>
              <a:ext uri="{FF2B5EF4-FFF2-40B4-BE49-F238E27FC236}">
                <a16:creationId xmlns:a16="http://schemas.microsoft.com/office/drawing/2014/main" id="{18278C01-4C08-2178-8AFB-9EABBA470218}"/>
              </a:ext>
            </a:extLst>
          </p:cNvPr>
          <p:cNvSpPr txBox="1"/>
          <p:nvPr/>
        </p:nvSpPr>
        <p:spPr>
          <a:xfrm>
            <a:off x="3219692" y="3345550"/>
            <a:ext cx="1312840" cy="246221"/>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marL="0" marR="0" lvl="0" indent="0" algn="ctr" defTabSz="1218956" rtl="0" eaLnBrk="1" fontAlgn="auto" latinLnBrk="0" hangingPunct="1">
              <a:lnSpc>
                <a:spcPct val="100000"/>
              </a:lnSpc>
              <a:spcBef>
                <a:spcPts val="0"/>
              </a:spcBef>
              <a:spcAft>
                <a:spcPts val="0"/>
              </a:spcAft>
              <a:buClrTx/>
              <a:buSzPct val="100000"/>
              <a:buFontTx/>
              <a:buNone/>
              <a:tabLst/>
              <a:defRPr/>
            </a:pPr>
            <a:r>
              <a:rPr kumimoji="0" lang="en-US" sz="1000" b="1" i="0" u="none" strike="noStrike" kern="0" cap="none" spc="0" normalizeH="0" baseline="0" noProof="0" dirty="0">
                <a:ln>
                  <a:noFill/>
                </a:ln>
                <a:solidFill>
                  <a:srgbClr val="FFFFFF"/>
                </a:solidFill>
                <a:effectLst/>
                <a:uLnTx/>
                <a:uFillTx/>
                <a:latin typeface="IBM Plex Sans Light" panose="020B0403050203000203" pitchFamily="34" charset="0"/>
                <a:ea typeface="+mn-ea"/>
                <a:cs typeface="+mn-cs"/>
                <a:sym typeface="IBM Plex Sans Light"/>
              </a:rPr>
              <a:t>Data integration</a:t>
            </a:r>
          </a:p>
        </p:txBody>
      </p:sp>
      <p:sp>
        <p:nvSpPr>
          <p:cNvPr id="13" name="TextBox 12">
            <a:extLst>
              <a:ext uri="{FF2B5EF4-FFF2-40B4-BE49-F238E27FC236}">
                <a16:creationId xmlns:a16="http://schemas.microsoft.com/office/drawing/2014/main" id="{D7E84290-C75D-185D-BFAA-A46B1DB21726}"/>
              </a:ext>
            </a:extLst>
          </p:cNvPr>
          <p:cNvSpPr txBox="1"/>
          <p:nvPr/>
        </p:nvSpPr>
        <p:spPr>
          <a:xfrm>
            <a:off x="6765051" y="3292506"/>
            <a:ext cx="1312840" cy="246221"/>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marL="0" marR="0" lvl="0" indent="0" algn="ctr" defTabSz="1218956" rtl="0" eaLnBrk="1" fontAlgn="auto" latinLnBrk="0" hangingPunct="1">
              <a:lnSpc>
                <a:spcPct val="100000"/>
              </a:lnSpc>
              <a:spcBef>
                <a:spcPts val="0"/>
              </a:spcBef>
              <a:spcAft>
                <a:spcPts val="0"/>
              </a:spcAft>
              <a:buClrTx/>
              <a:buSzPct val="100000"/>
              <a:buFontTx/>
              <a:buNone/>
              <a:tabLst/>
              <a:defRPr/>
            </a:pPr>
            <a:r>
              <a:rPr kumimoji="0" lang="en-US" sz="1000" b="1" i="0" u="none" strike="noStrike" kern="0" cap="none" spc="0" normalizeH="0" baseline="0" noProof="0" dirty="0">
                <a:ln>
                  <a:noFill/>
                </a:ln>
                <a:solidFill>
                  <a:srgbClr val="FFFFFF"/>
                </a:solidFill>
                <a:effectLst/>
                <a:uLnTx/>
                <a:uFillTx/>
                <a:latin typeface="IBM Plex Sans Light" panose="020B0403050203000203" pitchFamily="34" charset="0"/>
                <a:ea typeface="+mn-ea"/>
                <a:cs typeface="+mn-cs"/>
                <a:sym typeface="IBM Plex Sans Light"/>
              </a:rPr>
              <a:t>Data intelligence</a:t>
            </a:r>
          </a:p>
        </p:txBody>
      </p:sp>
      <p:cxnSp>
        <p:nvCxnSpPr>
          <p:cNvPr id="22" name="Straight Arrow Connector 21">
            <a:extLst>
              <a:ext uri="{FF2B5EF4-FFF2-40B4-BE49-F238E27FC236}">
                <a16:creationId xmlns:a16="http://schemas.microsoft.com/office/drawing/2014/main" id="{3499678C-7D79-34FF-CA9E-FAB727AB9187}"/>
              </a:ext>
            </a:extLst>
          </p:cNvPr>
          <p:cNvCxnSpPr>
            <a:cxnSpLocks/>
          </p:cNvCxnSpPr>
          <p:nvPr/>
        </p:nvCxnSpPr>
        <p:spPr bwMode="auto">
          <a:xfrm flipV="1">
            <a:off x="2854197" y="3665538"/>
            <a:ext cx="345009" cy="0"/>
          </a:xfrm>
          <a:prstGeom prst="straightConnector1">
            <a:avLst/>
          </a:prstGeom>
          <a:ln w="12700">
            <a:solidFill>
              <a:schemeClr val="tx1">
                <a:lumMod val="65000"/>
                <a:lumOff val="35000"/>
              </a:schemeClr>
            </a:solidFill>
            <a:headEnd type="none" w="med" len="med"/>
            <a:tailEnd type="triangle" w="lg" len="lg"/>
          </a:ln>
          <a:effectLst/>
        </p:spPr>
        <p:style>
          <a:lnRef idx="1">
            <a:schemeClr val="dk1"/>
          </a:lnRef>
          <a:fillRef idx="0">
            <a:schemeClr val="dk1"/>
          </a:fillRef>
          <a:effectRef idx="0">
            <a:schemeClr val="dk1"/>
          </a:effectRef>
          <a:fontRef idx="minor">
            <a:schemeClr val="tx1"/>
          </a:fontRef>
        </p:style>
      </p:cxnSp>
      <p:grpSp>
        <p:nvGrpSpPr>
          <p:cNvPr id="44" name="Group 43">
            <a:extLst>
              <a:ext uri="{FF2B5EF4-FFF2-40B4-BE49-F238E27FC236}">
                <a16:creationId xmlns:a16="http://schemas.microsoft.com/office/drawing/2014/main" id="{E7E26830-4E3A-B5D3-18CC-2BAD1E9EB1C3}"/>
              </a:ext>
            </a:extLst>
          </p:cNvPr>
          <p:cNvGrpSpPr/>
          <p:nvPr/>
        </p:nvGrpSpPr>
        <p:grpSpPr>
          <a:xfrm>
            <a:off x="10346584" y="4095795"/>
            <a:ext cx="1520962" cy="546192"/>
            <a:chOff x="10334078" y="2125787"/>
            <a:chExt cx="1402840" cy="546192"/>
          </a:xfrm>
        </p:grpSpPr>
        <p:sp>
          <p:nvSpPr>
            <p:cNvPr id="35" name="Shape 113">
              <a:extLst>
                <a:ext uri="{FF2B5EF4-FFF2-40B4-BE49-F238E27FC236}">
                  <a16:creationId xmlns:a16="http://schemas.microsoft.com/office/drawing/2014/main" id="{D0C75EE3-2CEA-041C-1C39-01562A30ECD0}"/>
                </a:ext>
              </a:extLst>
            </p:cNvPr>
            <p:cNvSpPr/>
            <p:nvPr/>
          </p:nvSpPr>
          <p:spPr>
            <a:xfrm>
              <a:off x="10334078" y="2125787"/>
              <a:ext cx="1402840" cy="546192"/>
            </a:xfrm>
            <a:prstGeom prst="roundRect">
              <a:avLst>
                <a:gd name="adj" fmla="val 49498"/>
              </a:avLst>
            </a:prstGeom>
            <a:gradFill flip="none" rotWithShape="1">
              <a:gsLst>
                <a:gs pos="21000">
                  <a:schemeClr val="accent2">
                    <a:lumMod val="40000"/>
                    <a:lumOff val="60000"/>
                  </a:schemeClr>
                </a:gs>
                <a:gs pos="73000">
                  <a:schemeClr val="bg1"/>
                </a:gs>
              </a:gsLst>
              <a:lin ang="8400000" scaled="0"/>
              <a:tileRect/>
            </a:gradFill>
            <a:ln w="19050">
              <a:gradFill flip="none" rotWithShape="1">
                <a:gsLst>
                  <a:gs pos="0">
                    <a:srgbClr val="5B57FF"/>
                  </a:gs>
                  <a:gs pos="37000">
                    <a:srgbClr val="B182FF"/>
                  </a:gs>
                  <a:gs pos="66000">
                    <a:schemeClr val="accent2">
                      <a:lumMod val="40000"/>
                      <a:lumOff val="60000"/>
                    </a:schemeClr>
                  </a:gs>
                  <a:gs pos="100000">
                    <a:schemeClr val="accent2">
                      <a:lumMod val="20000"/>
                      <a:lumOff val="80000"/>
                    </a:schemeClr>
                  </a:gs>
                </a:gsLst>
                <a:lin ang="18900000" scaled="1"/>
                <a:tileRect/>
              </a:grad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1828891" rtl="0" eaLnBrk="1" fontAlgn="auto" latinLnBrk="0" hangingPunct="1">
                <a:lnSpc>
                  <a:spcPct val="100000"/>
                </a:lnSpc>
                <a:spcBef>
                  <a:spcPts val="0"/>
                </a:spcBef>
                <a:spcAft>
                  <a:spcPts val="0"/>
                </a:spcAft>
                <a:buClrTx/>
                <a:buSzTx/>
                <a:buFontTx/>
                <a:buNone/>
                <a:tabLst/>
                <a:defRPr/>
              </a:pPr>
              <a:endParaRPr kumimoji="0" lang="en-US" sz="982" b="0" i="0" u="none" strike="noStrike" kern="1200" cap="none" spc="0" normalizeH="0" baseline="0" noProof="0">
                <a:ln>
                  <a:noFill/>
                </a:ln>
                <a:solidFill>
                  <a:srgbClr val="000000"/>
                </a:solidFill>
                <a:effectLst/>
                <a:uLnTx/>
                <a:uFillTx/>
                <a:latin typeface="IBM Plex Sans Light" panose="020B0403050203000203" pitchFamily="34" charset="0"/>
                <a:ea typeface="+mn-ea"/>
                <a:cs typeface="+mn-cs"/>
              </a:endParaRPr>
            </a:p>
          </p:txBody>
        </p:sp>
        <p:sp>
          <p:nvSpPr>
            <p:cNvPr id="42" name="TextBox 41">
              <a:extLst>
                <a:ext uri="{FF2B5EF4-FFF2-40B4-BE49-F238E27FC236}">
                  <a16:creationId xmlns:a16="http://schemas.microsoft.com/office/drawing/2014/main" id="{E2133ACE-3D44-349E-59ED-413799CC5638}"/>
                </a:ext>
              </a:extLst>
            </p:cNvPr>
            <p:cNvSpPr txBox="1"/>
            <p:nvPr/>
          </p:nvSpPr>
          <p:spPr>
            <a:xfrm>
              <a:off x="10691137" y="2192058"/>
              <a:ext cx="1020493" cy="400110"/>
            </a:xfrm>
            <a:prstGeom prst="rect">
              <a:avLst/>
            </a:prstGeom>
            <a:no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IBM Plex Sans Light" panose="020B0403050203000203" pitchFamily="34" charset="0"/>
                  <a:ea typeface="+mn-ea"/>
                  <a:cs typeface="+mn-cs"/>
                </a:rPr>
                <a:t>Gen AI Assistants</a:t>
              </a:r>
            </a:p>
          </p:txBody>
        </p:sp>
      </p:grpSp>
      <p:grpSp>
        <p:nvGrpSpPr>
          <p:cNvPr id="45" name="Group 44">
            <a:extLst>
              <a:ext uri="{FF2B5EF4-FFF2-40B4-BE49-F238E27FC236}">
                <a16:creationId xmlns:a16="http://schemas.microsoft.com/office/drawing/2014/main" id="{F12DB6A9-7EF2-CADA-104F-382A495D72E1}"/>
              </a:ext>
            </a:extLst>
          </p:cNvPr>
          <p:cNvGrpSpPr/>
          <p:nvPr/>
        </p:nvGrpSpPr>
        <p:grpSpPr>
          <a:xfrm>
            <a:off x="10343992" y="3363176"/>
            <a:ext cx="1523554" cy="546192"/>
            <a:chOff x="10334078" y="2125787"/>
            <a:chExt cx="1530692" cy="546192"/>
          </a:xfrm>
        </p:grpSpPr>
        <p:sp>
          <p:nvSpPr>
            <p:cNvPr id="46" name="Shape 113">
              <a:extLst>
                <a:ext uri="{FF2B5EF4-FFF2-40B4-BE49-F238E27FC236}">
                  <a16:creationId xmlns:a16="http://schemas.microsoft.com/office/drawing/2014/main" id="{26E0DAB4-C034-F2EE-CDD9-4C5D7921E04D}"/>
                </a:ext>
              </a:extLst>
            </p:cNvPr>
            <p:cNvSpPr/>
            <p:nvPr/>
          </p:nvSpPr>
          <p:spPr>
            <a:xfrm>
              <a:off x="10334078" y="2125787"/>
              <a:ext cx="1530692" cy="546192"/>
            </a:xfrm>
            <a:prstGeom prst="roundRect">
              <a:avLst>
                <a:gd name="adj" fmla="val 49498"/>
              </a:avLst>
            </a:prstGeom>
            <a:gradFill flip="none" rotWithShape="1">
              <a:gsLst>
                <a:gs pos="21000">
                  <a:schemeClr val="accent2">
                    <a:lumMod val="40000"/>
                    <a:lumOff val="60000"/>
                  </a:schemeClr>
                </a:gs>
                <a:gs pos="73000">
                  <a:schemeClr val="bg1"/>
                </a:gs>
              </a:gsLst>
              <a:lin ang="8400000" scaled="0"/>
              <a:tileRect/>
            </a:gradFill>
            <a:ln w="19050">
              <a:gradFill flip="none" rotWithShape="1">
                <a:gsLst>
                  <a:gs pos="0">
                    <a:srgbClr val="5B57FF"/>
                  </a:gs>
                  <a:gs pos="37000">
                    <a:srgbClr val="B182FF"/>
                  </a:gs>
                  <a:gs pos="66000">
                    <a:schemeClr val="accent2">
                      <a:lumMod val="40000"/>
                      <a:lumOff val="60000"/>
                    </a:schemeClr>
                  </a:gs>
                  <a:gs pos="100000">
                    <a:schemeClr val="accent2">
                      <a:lumMod val="20000"/>
                      <a:lumOff val="80000"/>
                    </a:schemeClr>
                  </a:gs>
                </a:gsLst>
                <a:lin ang="18900000" scaled="1"/>
                <a:tileRect/>
              </a:grad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1828891" rtl="0" eaLnBrk="1" fontAlgn="auto" latinLnBrk="0" hangingPunct="1">
                <a:lnSpc>
                  <a:spcPct val="100000"/>
                </a:lnSpc>
                <a:spcBef>
                  <a:spcPts val="0"/>
                </a:spcBef>
                <a:spcAft>
                  <a:spcPts val="0"/>
                </a:spcAft>
                <a:buClrTx/>
                <a:buSzTx/>
                <a:buFontTx/>
                <a:buNone/>
                <a:tabLst/>
                <a:defRPr/>
              </a:pPr>
              <a:endParaRPr kumimoji="0" lang="en-US" sz="982" b="0" i="0" u="none" strike="noStrike" kern="1200" cap="none" spc="0" normalizeH="0" baseline="0" noProof="0">
                <a:ln>
                  <a:noFill/>
                </a:ln>
                <a:solidFill>
                  <a:srgbClr val="000000"/>
                </a:solidFill>
                <a:effectLst/>
                <a:uLnTx/>
                <a:uFillTx/>
                <a:latin typeface="IBM Plex Sans Light" panose="020B0403050203000203" pitchFamily="34" charset="0"/>
                <a:ea typeface="+mn-ea"/>
                <a:cs typeface="+mn-cs"/>
              </a:endParaRPr>
            </a:p>
          </p:txBody>
        </p:sp>
        <p:sp>
          <p:nvSpPr>
            <p:cNvPr id="48" name="TextBox 47">
              <a:extLst>
                <a:ext uri="{FF2B5EF4-FFF2-40B4-BE49-F238E27FC236}">
                  <a16:creationId xmlns:a16="http://schemas.microsoft.com/office/drawing/2014/main" id="{210D1F22-335F-957D-6A0A-4BC35C78D423}"/>
                </a:ext>
              </a:extLst>
            </p:cNvPr>
            <p:cNvSpPr txBox="1"/>
            <p:nvPr/>
          </p:nvSpPr>
          <p:spPr>
            <a:xfrm>
              <a:off x="10663038" y="2219033"/>
              <a:ext cx="1201732" cy="400110"/>
            </a:xfrm>
            <a:prstGeom prst="rect">
              <a:avLst/>
            </a:prstGeom>
            <a:no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IBM Plex Sans Light" panose="020B0403050203000203" pitchFamily="34" charset="0"/>
                  <a:ea typeface="+mn-ea"/>
                  <a:cs typeface="+mn-cs"/>
                </a:rPr>
                <a:t>Data Engineering &amp; AI / ML</a:t>
              </a:r>
            </a:p>
          </p:txBody>
        </p:sp>
      </p:grpSp>
      <p:pic>
        <p:nvPicPr>
          <p:cNvPr id="49" name="Graphic 48">
            <a:extLst>
              <a:ext uri="{FF2B5EF4-FFF2-40B4-BE49-F238E27FC236}">
                <a16:creationId xmlns:a16="http://schemas.microsoft.com/office/drawing/2014/main" id="{B3F4F696-C58A-4E35-E8AB-2132928BAD0B}"/>
              </a:ext>
            </a:extLst>
          </p:cNvPr>
          <p:cNvPicPr>
            <a:picLocks noChangeAspect="1"/>
          </p:cNvPicPr>
          <p:nvPr/>
        </p:nvPicPr>
        <p:blipFill>
          <a:blip r:embed="rId3">
            <a:duotone>
              <a:schemeClr val="accent2">
                <a:shade val="45000"/>
                <a:satMod val="135000"/>
              </a:schemeClr>
              <a:prstClr val="white"/>
            </a:duotone>
            <a:alphaModFix amt="85000"/>
            <a:extLst>
              <a:ext uri="{96DAC541-7B7A-43D3-8B79-37D633B846F1}">
                <asvg:svgBlip xmlns:asvg="http://schemas.microsoft.com/office/drawing/2016/SVG/main" r:embed="rId4"/>
              </a:ext>
            </a:extLst>
          </a:blip>
          <a:stretch>
            <a:fillRect/>
          </a:stretch>
        </p:blipFill>
        <p:spPr>
          <a:xfrm>
            <a:off x="10442171" y="3510322"/>
            <a:ext cx="248283" cy="251901"/>
          </a:xfrm>
          <a:prstGeom prst="rect">
            <a:avLst/>
          </a:prstGeom>
        </p:spPr>
      </p:pic>
      <p:grpSp>
        <p:nvGrpSpPr>
          <p:cNvPr id="50" name="Group 49">
            <a:extLst>
              <a:ext uri="{FF2B5EF4-FFF2-40B4-BE49-F238E27FC236}">
                <a16:creationId xmlns:a16="http://schemas.microsoft.com/office/drawing/2014/main" id="{27D6D0F9-3EE6-0D38-A60A-D8B6C7BCEEEC}"/>
              </a:ext>
            </a:extLst>
          </p:cNvPr>
          <p:cNvGrpSpPr/>
          <p:nvPr/>
        </p:nvGrpSpPr>
        <p:grpSpPr>
          <a:xfrm>
            <a:off x="10346585" y="2607523"/>
            <a:ext cx="1523554" cy="546192"/>
            <a:chOff x="10334078" y="2125787"/>
            <a:chExt cx="1478765" cy="546192"/>
          </a:xfrm>
        </p:grpSpPr>
        <p:sp>
          <p:nvSpPr>
            <p:cNvPr id="51" name="Shape 113">
              <a:extLst>
                <a:ext uri="{FF2B5EF4-FFF2-40B4-BE49-F238E27FC236}">
                  <a16:creationId xmlns:a16="http://schemas.microsoft.com/office/drawing/2014/main" id="{8265E92D-1476-39A5-915D-F1A1C7C3D797}"/>
                </a:ext>
              </a:extLst>
            </p:cNvPr>
            <p:cNvSpPr/>
            <p:nvPr/>
          </p:nvSpPr>
          <p:spPr>
            <a:xfrm>
              <a:off x="10334078" y="2125787"/>
              <a:ext cx="1478765" cy="546192"/>
            </a:xfrm>
            <a:prstGeom prst="roundRect">
              <a:avLst>
                <a:gd name="adj" fmla="val 49498"/>
              </a:avLst>
            </a:prstGeom>
            <a:gradFill flip="none" rotWithShape="1">
              <a:gsLst>
                <a:gs pos="21000">
                  <a:schemeClr val="accent2">
                    <a:lumMod val="40000"/>
                    <a:lumOff val="60000"/>
                  </a:schemeClr>
                </a:gs>
                <a:gs pos="73000">
                  <a:schemeClr val="bg1"/>
                </a:gs>
              </a:gsLst>
              <a:lin ang="8400000" scaled="0"/>
              <a:tileRect/>
            </a:gradFill>
            <a:ln w="19050">
              <a:gradFill flip="none" rotWithShape="1">
                <a:gsLst>
                  <a:gs pos="0">
                    <a:srgbClr val="5B57FF"/>
                  </a:gs>
                  <a:gs pos="37000">
                    <a:srgbClr val="B182FF"/>
                  </a:gs>
                  <a:gs pos="66000">
                    <a:schemeClr val="accent2">
                      <a:lumMod val="40000"/>
                      <a:lumOff val="60000"/>
                    </a:schemeClr>
                  </a:gs>
                  <a:gs pos="100000">
                    <a:schemeClr val="accent2">
                      <a:lumMod val="20000"/>
                      <a:lumOff val="80000"/>
                    </a:schemeClr>
                  </a:gs>
                </a:gsLst>
                <a:lin ang="18900000" scaled="1"/>
                <a:tileRect/>
              </a:grad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1828891" rtl="0" eaLnBrk="1" fontAlgn="auto" latinLnBrk="0" hangingPunct="1">
                <a:lnSpc>
                  <a:spcPct val="100000"/>
                </a:lnSpc>
                <a:spcBef>
                  <a:spcPts val="0"/>
                </a:spcBef>
                <a:spcAft>
                  <a:spcPts val="0"/>
                </a:spcAft>
                <a:buClrTx/>
                <a:buSzTx/>
                <a:buFontTx/>
                <a:buNone/>
                <a:tabLst/>
                <a:defRPr/>
              </a:pPr>
              <a:endParaRPr kumimoji="0" lang="en-US" sz="982" b="0" i="0" u="none" strike="noStrike" kern="1200" cap="none" spc="0" normalizeH="0" baseline="0" noProof="0">
                <a:ln>
                  <a:noFill/>
                </a:ln>
                <a:solidFill>
                  <a:srgbClr val="000000"/>
                </a:solidFill>
                <a:effectLst/>
                <a:uLnTx/>
                <a:uFillTx/>
                <a:latin typeface="IBM Plex Sans Light" panose="020B0403050203000203" pitchFamily="34" charset="0"/>
                <a:ea typeface="+mn-ea"/>
                <a:cs typeface="+mn-cs"/>
              </a:endParaRPr>
            </a:p>
          </p:txBody>
        </p:sp>
        <p:pic>
          <p:nvPicPr>
            <p:cNvPr id="52" name="Graphic 51">
              <a:extLst>
                <a:ext uri="{FF2B5EF4-FFF2-40B4-BE49-F238E27FC236}">
                  <a16:creationId xmlns:a16="http://schemas.microsoft.com/office/drawing/2014/main" id="{4CE25824-47B5-43EA-A90B-1CDBFC66AB68}"/>
                </a:ext>
              </a:extLst>
            </p:cNvPr>
            <p:cNvPicPr>
              <a:picLocks noChangeAspect="1"/>
            </p:cNvPicPr>
            <p:nvPr/>
          </p:nvPicPr>
          <p:blipFill>
            <a:blip r:embed="rId5">
              <a:duotone>
                <a:schemeClr val="accent2">
                  <a:shade val="45000"/>
                  <a:satMod val="135000"/>
                </a:schemeClr>
                <a:prstClr val="white"/>
              </a:duotone>
              <a:alphaModFix amt="85000"/>
              <a:extLst>
                <a:ext uri="{96DAC541-7B7A-43D3-8B79-37D633B846F1}">
                  <asvg:svgBlip xmlns:asvg="http://schemas.microsoft.com/office/drawing/2016/SVG/main" r:embed="rId6"/>
                </a:ext>
              </a:extLst>
            </a:blip>
            <a:stretch>
              <a:fillRect/>
            </a:stretch>
          </p:blipFill>
          <p:spPr>
            <a:xfrm>
              <a:off x="10419800" y="2263789"/>
              <a:ext cx="251901" cy="251901"/>
            </a:xfrm>
            <a:prstGeom prst="rect">
              <a:avLst/>
            </a:prstGeom>
          </p:spPr>
        </p:pic>
        <p:sp>
          <p:nvSpPr>
            <p:cNvPr id="53" name="TextBox 52">
              <a:extLst>
                <a:ext uri="{FF2B5EF4-FFF2-40B4-BE49-F238E27FC236}">
                  <a16:creationId xmlns:a16="http://schemas.microsoft.com/office/drawing/2014/main" id="{A9DCB158-527B-0842-10A3-37B13D37EDE9}"/>
                </a:ext>
              </a:extLst>
            </p:cNvPr>
            <p:cNvSpPr txBox="1"/>
            <p:nvPr/>
          </p:nvSpPr>
          <p:spPr>
            <a:xfrm>
              <a:off x="10698117" y="2192058"/>
              <a:ext cx="1087432" cy="400110"/>
            </a:xfrm>
            <a:prstGeom prst="rect">
              <a:avLst/>
            </a:prstGeom>
            <a:no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IBM Plex Sans Light" panose="020B0403050203000203" pitchFamily="34" charset="0"/>
                  <a:ea typeface="+mn-ea"/>
                  <a:cs typeface="+mn-cs"/>
                </a:rPr>
                <a:t>Business Intelligence</a:t>
              </a:r>
            </a:p>
          </p:txBody>
        </p:sp>
      </p:grpSp>
      <p:pic>
        <p:nvPicPr>
          <p:cNvPr id="41" name="Graphic 40">
            <a:extLst>
              <a:ext uri="{FF2B5EF4-FFF2-40B4-BE49-F238E27FC236}">
                <a16:creationId xmlns:a16="http://schemas.microsoft.com/office/drawing/2014/main" id="{A9FA4E77-D3C8-CEEE-71A7-BAD7259BF1A2}"/>
              </a:ext>
            </a:extLst>
          </p:cNvPr>
          <p:cNvPicPr>
            <a:picLocks noChangeAspect="1"/>
          </p:cNvPicPr>
          <p:nvPr/>
        </p:nvPicPr>
        <p:blipFill>
          <a:blip r:embed="rId7">
            <a:duotone>
              <a:schemeClr val="accent2">
                <a:shade val="45000"/>
                <a:satMod val="135000"/>
              </a:schemeClr>
              <a:prstClr val="white"/>
            </a:duotone>
            <a:alphaModFix amt="85000"/>
            <a:extLst>
              <a:ext uri="{96DAC541-7B7A-43D3-8B79-37D633B846F1}">
                <asvg:svgBlip xmlns:asvg="http://schemas.microsoft.com/office/drawing/2016/SVG/main" r:embed="rId8"/>
              </a:ext>
            </a:extLst>
          </a:blip>
          <a:stretch>
            <a:fillRect/>
          </a:stretch>
        </p:blipFill>
        <p:spPr>
          <a:xfrm>
            <a:off x="10485816" y="4254391"/>
            <a:ext cx="225712" cy="229001"/>
          </a:xfrm>
          <a:prstGeom prst="rect">
            <a:avLst/>
          </a:prstGeom>
        </p:spPr>
      </p:pic>
      <p:cxnSp>
        <p:nvCxnSpPr>
          <p:cNvPr id="8" name="Straight Connector 7">
            <a:extLst>
              <a:ext uri="{FF2B5EF4-FFF2-40B4-BE49-F238E27FC236}">
                <a16:creationId xmlns:a16="http://schemas.microsoft.com/office/drawing/2014/main" id="{46F68AF6-B344-6387-7D3A-C9948ED33396}"/>
              </a:ext>
            </a:extLst>
          </p:cNvPr>
          <p:cNvCxnSpPr>
            <a:cxnSpLocks/>
          </p:cNvCxnSpPr>
          <p:nvPr/>
        </p:nvCxnSpPr>
        <p:spPr bwMode="auto">
          <a:xfrm>
            <a:off x="8334547" y="2926694"/>
            <a:ext cx="0" cy="144854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Shape 92">
            <a:extLst>
              <a:ext uri="{FF2B5EF4-FFF2-40B4-BE49-F238E27FC236}">
                <a16:creationId xmlns:a16="http://schemas.microsoft.com/office/drawing/2014/main" id="{84815A2F-2DBA-9145-F93E-98B5F687C233}"/>
              </a:ext>
            </a:extLst>
          </p:cNvPr>
          <p:cNvSpPr/>
          <p:nvPr/>
        </p:nvSpPr>
        <p:spPr>
          <a:xfrm>
            <a:off x="1624327" y="1939982"/>
            <a:ext cx="1286786" cy="2942808"/>
          </a:xfrm>
          <a:prstGeom prst="roundRect">
            <a:avLst>
              <a:gd name="adj" fmla="val 6887"/>
            </a:avLst>
          </a:prstGeom>
          <a:solidFill>
            <a:schemeClr val="bg1"/>
          </a:solidFill>
          <a:ln w="12700">
            <a:solidFill>
              <a:srgbClr val="0E61FF"/>
            </a:solidFill>
            <a:prstDash val="sysDot"/>
          </a:ln>
          <a:effectLst>
            <a:outerShdw blurRad="317500" dist="50800" dir="16200000" algn="bl" rotWithShape="0">
              <a:srgbClr val="000000">
                <a:alpha val="10000"/>
              </a:srgbClr>
            </a:outerShdw>
          </a:effectLst>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1218956" rtl="0" eaLnBrk="1" fontAlgn="auto" latinLnBrk="0" hangingPunct="1">
              <a:lnSpc>
                <a:spcPct val="100000"/>
              </a:lnSpc>
              <a:spcBef>
                <a:spcPts val="0"/>
              </a:spcBef>
              <a:spcAft>
                <a:spcPts val="0"/>
              </a:spcAft>
              <a:buClrTx/>
              <a:buSzPct val="100000"/>
              <a:buFontTx/>
              <a:buNone/>
              <a:tabLst/>
              <a:defRPr/>
            </a:pPr>
            <a:endParaRPr kumimoji="0" lang="en-US" sz="1100" b="0" i="0" u="none" strike="noStrike" kern="0" cap="none" spc="0" normalizeH="0" baseline="0" noProof="0">
              <a:ln>
                <a:noFill/>
              </a:ln>
              <a:solidFill>
                <a:srgbClr val="000000"/>
              </a:solidFill>
              <a:effectLst/>
              <a:uLnTx/>
              <a:uFillTx/>
              <a:latin typeface="IBM Plex Sans Light" panose="020B0403050203000203" pitchFamily="34" charset="0"/>
              <a:ea typeface="+mn-ea"/>
              <a:cs typeface="+mn-cs"/>
              <a:sym typeface="IBM Plex Sans Light"/>
            </a:endParaRPr>
          </a:p>
        </p:txBody>
      </p:sp>
      <p:sp>
        <p:nvSpPr>
          <p:cNvPr id="14" name="Shape 92">
            <a:extLst>
              <a:ext uri="{FF2B5EF4-FFF2-40B4-BE49-F238E27FC236}">
                <a16:creationId xmlns:a16="http://schemas.microsoft.com/office/drawing/2014/main" id="{A0025A1D-59CE-8DE0-7837-FBD9F1C81628}"/>
              </a:ext>
            </a:extLst>
          </p:cNvPr>
          <p:cNvSpPr/>
          <p:nvPr/>
        </p:nvSpPr>
        <p:spPr>
          <a:xfrm>
            <a:off x="201608" y="1939982"/>
            <a:ext cx="1164511" cy="2946725"/>
          </a:xfrm>
          <a:prstGeom prst="roundRect">
            <a:avLst>
              <a:gd name="adj" fmla="val 6887"/>
            </a:avLst>
          </a:prstGeom>
          <a:solidFill>
            <a:schemeClr val="bg1"/>
          </a:solidFill>
          <a:ln w="12700">
            <a:solidFill>
              <a:srgbClr val="0E61FF"/>
            </a:solidFill>
            <a:prstDash val="sysDot"/>
          </a:ln>
          <a:effectLst>
            <a:outerShdw blurRad="317500" dist="50800" dir="16200000" algn="bl" rotWithShape="0">
              <a:srgbClr val="000000">
                <a:alpha val="10000"/>
              </a:srgbClr>
            </a:outerShdw>
          </a:effectLst>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1218956" rtl="0" eaLnBrk="1" fontAlgn="auto" latinLnBrk="0" hangingPunct="1">
              <a:lnSpc>
                <a:spcPct val="100000"/>
              </a:lnSpc>
              <a:spcBef>
                <a:spcPts val="0"/>
              </a:spcBef>
              <a:spcAft>
                <a:spcPts val="0"/>
              </a:spcAft>
              <a:buClrTx/>
              <a:buSzPct val="100000"/>
              <a:buFontTx/>
              <a:buNone/>
              <a:tabLst/>
              <a:defRPr/>
            </a:pPr>
            <a:endParaRPr kumimoji="0" lang="en-US" sz="1100" b="0" i="0" u="none" strike="noStrike" kern="0" cap="none" spc="0" normalizeH="0" baseline="0" noProof="0">
              <a:ln>
                <a:noFill/>
              </a:ln>
              <a:solidFill>
                <a:srgbClr val="000000"/>
              </a:solidFill>
              <a:effectLst/>
              <a:uLnTx/>
              <a:uFillTx/>
              <a:latin typeface="IBM Plex Sans Light" panose="020B0403050203000203" pitchFamily="34" charset="0"/>
              <a:ea typeface="+mn-ea"/>
              <a:cs typeface="+mn-cs"/>
              <a:sym typeface="IBM Plex Sans Light"/>
            </a:endParaRPr>
          </a:p>
        </p:txBody>
      </p:sp>
      <p:pic>
        <p:nvPicPr>
          <p:cNvPr id="16" name="Picture 2" descr="Google Docs' new update just made ...">
            <a:extLst>
              <a:ext uri="{FF2B5EF4-FFF2-40B4-BE49-F238E27FC236}">
                <a16:creationId xmlns:a16="http://schemas.microsoft.com/office/drawing/2014/main" id="{4ABD5F87-96DF-BFE7-0292-4D1A4D1B86E7}"/>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21719" r="21780"/>
          <a:stretch/>
        </p:blipFill>
        <p:spPr bwMode="auto">
          <a:xfrm>
            <a:off x="550733" y="4055481"/>
            <a:ext cx="471682" cy="467508"/>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descr="FileNet - Wikipedia">
            <a:extLst>
              <a:ext uri="{FF2B5EF4-FFF2-40B4-BE49-F238E27FC236}">
                <a16:creationId xmlns:a16="http://schemas.microsoft.com/office/drawing/2014/main" id="{A2329969-5211-898B-A571-AABDCD3EA8B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43937" y="2656956"/>
            <a:ext cx="638521" cy="255408"/>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6" descr="Box: The Secure Content Cloud for ...">
            <a:extLst>
              <a:ext uri="{FF2B5EF4-FFF2-40B4-BE49-F238E27FC236}">
                <a16:creationId xmlns:a16="http://schemas.microsoft.com/office/drawing/2014/main" id="{BC5B9658-DFAB-797A-54F4-B860B61B2F3D}"/>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29471" y="3090296"/>
            <a:ext cx="310428" cy="306307"/>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8" descr="Microsoft Sharepoint Review: Pros, Cons ...">
            <a:extLst>
              <a:ext uri="{FF2B5EF4-FFF2-40B4-BE49-F238E27FC236}">
                <a16:creationId xmlns:a16="http://schemas.microsoft.com/office/drawing/2014/main" id="{AEEDB88B-4CCF-D167-DC71-9107A6EDB73F}"/>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22271" t="-989" r="21915" b="989"/>
          <a:stretch/>
        </p:blipFill>
        <p:spPr bwMode="auto">
          <a:xfrm>
            <a:off x="579295" y="3517929"/>
            <a:ext cx="414558" cy="455497"/>
          </a:xfrm>
          <a:prstGeom prst="rect">
            <a:avLst/>
          </a:prstGeom>
          <a:noFill/>
          <a:extLst>
            <a:ext uri="{909E8E84-426E-40DD-AFC4-6F175D3DCCD1}">
              <a14:hiddenFill xmlns:a14="http://schemas.microsoft.com/office/drawing/2010/main">
                <a:solidFill>
                  <a:srgbClr val="FFFFFF"/>
                </a:solidFill>
              </a14:hiddenFill>
            </a:ext>
          </a:extLst>
        </p:spPr>
      </p:pic>
      <p:sp>
        <p:nvSpPr>
          <p:cNvPr id="20" name="Shape 92">
            <a:extLst>
              <a:ext uri="{FF2B5EF4-FFF2-40B4-BE49-F238E27FC236}">
                <a16:creationId xmlns:a16="http://schemas.microsoft.com/office/drawing/2014/main" id="{E864B0EA-362F-AC1F-BC28-E5EC7866BB21}"/>
              </a:ext>
            </a:extLst>
          </p:cNvPr>
          <p:cNvSpPr/>
          <p:nvPr/>
        </p:nvSpPr>
        <p:spPr>
          <a:xfrm>
            <a:off x="5089558" y="2403857"/>
            <a:ext cx="1316736" cy="821944"/>
          </a:xfrm>
          <a:prstGeom prst="roundRect">
            <a:avLst>
              <a:gd name="adj" fmla="val 6887"/>
            </a:avLst>
          </a:prstGeom>
          <a:solidFill>
            <a:srgbClr val="FFFFFF">
              <a:alpha val="100000"/>
            </a:srgbClr>
          </a:solidFill>
          <a:ln>
            <a:solidFill>
              <a:schemeClr val="tx1">
                <a:lumMod val="50000"/>
                <a:lumOff val="50000"/>
              </a:schemeClr>
            </a:solidFill>
          </a:ln>
          <a:effectLst>
            <a:outerShdw blurRad="317500" dist="50800" dir="16200000" algn="bl" rotWithShape="0">
              <a:srgbClr val="000000">
                <a:alpha val="10000"/>
              </a:srgbClr>
            </a:outerShdw>
          </a:effectLst>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1218956" rtl="0" eaLnBrk="1" fontAlgn="auto" latinLnBrk="0" hangingPunct="1">
              <a:lnSpc>
                <a:spcPct val="100000"/>
              </a:lnSpc>
              <a:spcBef>
                <a:spcPts val="0"/>
              </a:spcBef>
              <a:spcAft>
                <a:spcPts val="0"/>
              </a:spcAft>
              <a:buClrTx/>
              <a:buSzPct val="100000"/>
              <a:buFontTx/>
              <a:buNone/>
              <a:tabLst/>
              <a:defRPr/>
            </a:pPr>
            <a:r>
              <a:rPr kumimoji="0" lang="en-US" sz="1000" b="0" i="0" u="none" strike="noStrike" kern="0" cap="none" spc="0" normalizeH="0" baseline="0" noProof="0">
                <a:ln>
                  <a:noFill/>
                </a:ln>
                <a:solidFill>
                  <a:srgbClr val="000000"/>
                </a:solidFill>
                <a:effectLst/>
                <a:uLnTx/>
                <a:uFillTx/>
                <a:latin typeface="IBM Plex Sans Light" panose="020B0403050203000203" pitchFamily="34" charset="0"/>
                <a:ea typeface="+mn-ea"/>
                <a:cs typeface="+mn-cs"/>
                <a:sym typeface="IBM Plex Sans Light"/>
              </a:rPr>
              <a:t>Extracted entities/values</a:t>
            </a:r>
          </a:p>
        </p:txBody>
      </p:sp>
      <p:sp>
        <p:nvSpPr>
          <p:cNvPr id="21" name="Shape 42">
            <a:extLst>
              <a:ext uri="{FF2B5EF4-FFF2-40B4-BE49-F238E27FC236}">
                <a16:creationId xmlns:a16="http://schemas.microsoft.com/office/drawing/2014/main" id="{EFE6370F-4D10-5CC7-3B5E-4D4B4D658D08}"/>
              </a:ext>
            </a:extLst>
          </p:cNvPr>
          <p:cNvSpPr/>
          <p:nvPr/>
        </p:nvSpPr>
        <p:spPr>
          <a:xfrm>
            <a:off x="5161986" y="2808629"/>
            <a:ext cx="865570" cy="166196"/>
          </a:xfrm>
          <a:prstGeom prst="roundRect">
            <a:avLst>
              <a:gd name="adj" fmla="val 50998"/>
            </a:avLst>
          </a:prstGeom>
          <a:solidFill>
            <a:srgbClr val="E0E0E0">
              <a:alpha val="100000"/>
            </a:srgbClr>
          </a:solid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1828891" rtl="0" eaLnBrk="1" fontAlgn="auto" latinLnBrk="0" hangingPunct="1">
              <a:lnSpc>
                <a:spcPct val="100000"/>
              </a:lnSpc>
              <a:spcBef>
                <a:spcPts val="0"/>
              </a:spcBef>
              <a:spcAft>
                <a:spcPts val="0"/>
              </a:spcAft>
              <a:buClrTx/>
              <a:buSzTx/>
              <a:buFontTx/>
              <a:buNone/>
              <a:tabLst/>
              <a:defRPr/>
            </a:pPr>
            <a:endParaRPr kumimoji="0" lang="en-US" sz="982" b="0" i="0" u="none" strike="noStrike" kern="1200" cap="none" spc="0" normalizeH="0" baseline="0" noProof="0">
              <a:ln>
                <a:noFill/>
              </a:ln>
              <a:solidFill>
                <a:srgbClr val="000000"/>
              </a:solidFill>
              <a:effectLst/>
              <a:uLnTx/>
              <a:uFillTx/>
              <a:latin typeface="IBM Plex Sans Light" panose="020B0403050203000203" pitchFamily="34" charset="0"/>
              <a:ea typeface="+mn-ea"/>
              <a:cs typeface="+mn-cs"/>
            </a:endParaRPr>
          </a:p>
        </p:txBody>
      </p:sp>
      <p:sp>
        <p:nvSpPr>
          <p:cNvPr id="24" name="Text 47">
            <a:extLst>
              <a:ext uri="{FF2B5EF4-FFF2-40B4-BE49-F238E27FC236}">
                <a16:creationId xmlns:a16="http://schemas.microsoft.com/office/drawing/2014/main" id="{DA0ED219-E6F6-487B-08D4-C68FA391BD3D}"/>
              </a:ext>
            </a:extLst>
          </p:cNvPr>
          <p:cNvSpPr/>
          <p:nvPr/>
        </p:nvSpPr>
        <p:spPr>
          <a:xfrm>
            <a:off x="5246071" y="2835543"/>
            <a:ext cx="671684" cy="138491"/>
          </a:xfrm>
          <a:prstGeom prst="rect">
            <a:avLst/>
          </a:prstGeom>
          <a:noFill/>
          <a:ln/>
        </p:spPr>
        <p:txBody>
          <a:bodyPr wrap="square" lIns="0" tIns="0" rIns="0" bIns="0" rtlCol="0" anchor="t"/>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1828891" rtl="0" eaLnBrk="1" fontAlgn="auto" latinLnBrk="0" hangingPunct="1">
              <a:lnSpc>
                <a:spcPts val="873"/>
              </a:lnSpc>
              <a:spcBef>
                <a:spcPts val="0"/>
              </a:spcBef>
              <a:spcAft>
                <a:spcPts val="0"/>
              </a:spcAft>
              <a:buClrTx/>
              <a:buSzTx/>
              <a:buFontTx/>
              <a:buNone/>
              <a:tabLst/>
              <a:defRPr/>
            </a:pPr>
            <a:r>
              <a:rPr kumimoji="0" lang="en-US" sz="655" b="0" i="0" u="none" strike="noStrike" kern="0" cap="none" spc="2" normalizeH="0" baseline="0" noProof="0">
                <a:ln>
                  <a:noFill/>
                </a:ln>
                <a:solidFill>
                  <a:srgbClr val="000000">
                    <a:alpha val="100000"/>
                  </a:srgbClr>
                </a:solidFill>
                <a:effectLst/>
                <a:uLnTx/>
                <a:uFillTx/>
                <a:latin typeface="IBM Plex Sans Light" panose="020B0403050203000203" pitchFamily="34" charset="0"/>
                <a:ea typeface="+mn-ea"/>
                <a:cs typeface="+mn-cs"/>
              </a:rPr>
              <a:t>&lt;JSON&gt;</a:t>
            </a:r>
            <a:endParaRPr kumimoji="0" lang="en-US" sz="655" b="0" i="0" u="none" strike="noStrike" kern="1200" cap="none" spc="0" normalizeH="0" baseline="0" noProof="0">
              <a:ln>
                <a:noFill/>
              </a:ln>
              <a:solidFill>
                <a:srgbClr val="000000"/>
              </a:solidFill>
              <a:effectLst/>
              <a:uLnTx/>
              <a:uFillTx/>
              <a:latin typeface="IBM Plex Sans Light" panose="020B0403050203000203" pitchFamily="34" charset="0"/>
              <a:ea typeface="+mn-ea"/>
              <a:cs typeface="+mn-cs"/>
            </a:endParaRPr>
          </a:p>
        </p:txBody>
      </p:sp>
      <p:sp>
        <p:nvSpPr>
          <p:cNvPr id="25" name="Shape 42">
            <a:extLst>
              <a:ext uri="{FF2B5EF4-FFF2-40B4-BE49-F238E27FC236}">
                <a16:creationId xmlns:a16="http://schemas.microsoft.com/office/drawing/2014/main" id="{96646DAE-36CE-3140-447A-6135B66CB605}"/>
              </a:ext>
            </a:extLst>
          </p:cNvPr>
          <p:cNvSpPr/>
          <p:nvPr/>
        </p:nvSpPr>
        <p:spPr>
          <a:xfrm>
            <a:off x="5161986" y="3001026"/>
            <a:ext cx="865570" cy="166196"/>
          </a:xfrm>
          <a:prstGeom prst="roundRect">
            <a:avLst>
              <a:gd name="adj" fmla="val 50998"/>
            </a:avLst>
          </a:prstGeom>
          <a:solidFill>
            <a:srgbClr val="E0E0E0">
              <a:alpha val="100000"/>
            </a:srgbClr>
          </a:solid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1828891" rtl="0" eaLnBrk="1" fontAlgn="auto" latinLnBrk="0" hangingPunct="1">
              <a:lnSpc>
                <a:spcPct val="100000"/>
              </a:lnSpc>
              <a:spcBef>
                <a:spcPts val="0"/>
              </a:spcBef>
              <a:spcAft>
                <a:spcPts val="0"/>
              </a:spcAft>
              <a:buClrTx/>
              <a:buSzTx/>
              <a:buFontTx/>
              <a:buNone/>
              <a:tabLst/>
              <a:defRPr/>
            </a:pPr>
            <a:endParaRPr kumimoji="0" lang="en-US" sz="982" b="0" i="0" u="none" strike="noStrike" kern="1200" cap="none" spc="0" normalizeH="0" baseline="0" noProof="0">
              <a:ln>
                <a:noFill/>
              </a:ln>
              <a:solidFill>
                <a:srgbClr val="000000"/>
              </a:solidFill>
              <a:effectLst/>
              <a:uLnTx/>
              <a:uFillTx/>
              <a:latin typeface="IBM Plex Sans Light" panose="020B0403050203000203" pitchFamily="34" charset="0"/>
              <a:ea typeface="+mn-ea"/>
              <a:cs typeface="+mn-cs"/>
            </a:endParaRPr>
          </a:p>
        </p:txBody>
      </p:sp>
      <p:sp>
        <p:nvSpPr>
          <p:cNvPr id="26" name="Text 47">
            <a:extLst>
              <a:ext uri="{FF2B5EF4-FFF2-40B4-BE49-F238E27FC236}">
                <a16:creationId xmlns:a16="http://schemas.microsoft.com/office/drawing/2014/main" id="{29F76858-EBEC-7B49-5691-0BC487433CD2}"/>
              </a:ext>
            </a:extLst>
          </p:cNvPr>
          <p:cNvSpPr/>
          <p:nvPr/>
        </p:nvSpPr>
        <p:spPr>
          <a:xfrm>
            <a:off x="5246071" y="3027940"/>
            <a:ext cx="671684" cy="138491"/>
          </a:xfrm>
          <a:prstGeom prst="rect">
            <a:avLst/>
          </a:prstGeom>
          <a:noFill/>
          <a:ln/>
        </p:spPr>
        <p:txBody>
          <a:bodyPr wrap="square" lIns="0" tIns="0" rIns="0" bIns="0" rtlCol="0" anchor="t"/>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1828891" rtl="0" eaLnBrk="1" fontAlgn="auto" latinLnBrk="0" hangingPunct="1">
              <a:lnSpc>
                <a:spcPts val="873"/>
              </a:lnSpc>
              <a:spcBef>
                <a:spcPts val="0"/>
              </a:spcBef>
              <a:spcAft>
                <a:spcPts val="0"/>
              </a:spcAft>
              <a:buClrTx/>
              <a:buSzTx/>
              <a:buFontTx/>
              <a:buNone/>
              <a:tabLst/>
              <a:defRPr/>
            </a:pPr>
            <a:r>
              <a:rPr kumimoji="0" lang="en-US" sz="655" b="0" i="0" u="none" strike="noStrike" kern="0" cap="none" spc="2" normalizeH="0" baseline="0" noProof="0">
                <a:ln>
                  <a:noFill/>
                </a:ln>
                <a:solidFill>
                  <a:srgbClr val="000000">
                    <a:alpha val="100000"/>
                  </a:srgbClr>
                </a:solidFill>
                <a:effectLst/>
                <a:uLnTx/>
                <a:uFillTx/>
                <a:latin typeface="IBM Plex Sans Light" panose="020B0403050203000203" pitchFamily="34" charset="0"/>
                <a:ea typeface="+mn-ea"/>
                <a:cs typeface="+mn-cs"/>
              </a:rPr>
              <a:t>[Iceberg]</a:t>
            </a:r>
            <a:endParaRPr kumimoji="0" lang="en-US" sz="655" b="0" i="0" u="none" strike="noStrike" kern="1200" cap="none" spc="0" normalizeH="0" baseline="0" noProof="0">
              <a:ln>
                <a:noFill/>
              </a:ln>
              <a:solidFill>
                <a:srgbClr val="000000"/>
              </a:solidFill>
              <a:effectLst/>
              <a:uLnTx/>
              <a:uFillTx/>
              <a:latin typeface="IBM Plex Sans Light" panose="020B0403050203000203" pitchFamily="34" charset="0"/>
              <a:ea typeface="+mn-ea"/>
              <a:cs typeface="+mn-cs"/>
            </a:endParaRPr>
          </a:p>
        </p:txBody>
      </p:sp>
      <p:sp>
        <p:nvSpPr>
          <p:cNvPr id="28" name="Shape 92">
            <a:extLst>
              <a:ext uri="{FF2B5EF4-FFF2-40B4-BE49-F238E27FC236}">
                <a16:creationId xmlns:a16="http://schemas.microsoft.com/office/drawing/2014/main" id="{E189B383-38B9-88C5-7D7A-BF02B9DD39DB}"/>
              </a:ext>
            </a:extLst>
          </p:cNvPr>
          <p:cNvSpPr/>
          <p:nvPr/>
        </p:nvSpPr>
        <p:spPr>
          <a:xfrm>
            <a:off x="5087805" y="3400115"/>
            <a:ext cx="1316736" cy="507807"/>
          </a:xfrm>
          <a:prstGeom prst="roundRect">
            <a:avLst>
              <a:gd name="adj" fmla="val 6887"/>
            </a:avLst>
          </a:prstGeom>
          <a:solidFill>
            <a:srgbClr val="FFFFFF">
              <a:alpha val="100000"/>
            </a:srgbClr>
          </a:solidFill>
          <a:ln>
            <a:solidFill>
              <a:schemeClr val="tx1">
                <a:lumMod val="50000"/>
                <a:lumOff val="50000"/>
              </a:schemeClr>
            </a:solidFill>
          </a:ln>
          <a:effectLst>
            <a:outerShdw blurRad="317500" dist="50800" dir="16200000" algn="bl" rotWithShape="0">
              <a:srgbClr val="000000">
                <a:alpha val="10000"/>
              </a:srgbClr>
            </a:outerShdw>
          </a:effectLst>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1218956" rtl="0" eaLnBrk="1" fontAlgn="auto" latinLnBrk="0" hangingPunct="1">
              <a:lnSpc>
                <a:spcPct val="100000"/>
              </a:lnSpc>
              <a:spcBef>
                <a:spcPts val="0"/>
              </a:spcBef>
              <a:spcAft>
                <a:spcPts val="0"/>
              </a:spcAft>
              <a:buClrTx/>
              <a:buSzPct val="100000"/>
              <a:buFontTx/>
              <a:buNone/>
              <a:tabLst/>
              <a:defRPr/>
            </a:pPr>
            <a:r>
              <a:rPr kumimoji="0" lang="en-US" sz="1000" b="0" i="0" u="none" strike="noStrike" kern="0" cap="none" spc="0" normalizeH="0" baseline="0" noProof="0">
                <a:ln>
                  <a:noFill/>
                </a:ln>
                <a:solidFill>
                  <a:srgbClr val="000000"/>
                </a:solidFill>
                <a:effectLst/>
                <a:uLnTx/>
                <a:uFillTx/>
                <a:latin typeface="IBM Plex Sans Light" panose="020B0403050203000203" pitchFamily="34" charset="0"/>
                <a:ea typeface="+mn-ea"/>
                <a:cs typeface="+mn-cs"/>
                <a:sym typeface="IBM Plex Sans Light"/>
              </a:rPr>
              <a:t>Extracted text</a:t>
            </a:r>
          </a:p>
        </p:txBody>
      </p:sp>
      <p:sp>
        <p:nvSpPr>
          <p:cNvPr id="29" name="Shape 42">
            <a:extLst>
              <a:ext uri="{FF2B5EF4-FFF2-40B4-BE49-F238E27FC236}">
                <a16:creationId xmlns:a16="http://schemas.microsoft.com/office/drawing/2014/main" id="{94CEEA6B-AA17-76C0-A2F8-25CF47164E5A}"/>
              </a:ext>
            </a:extLst>
          </p:cNvPr>
          <p:cNvSpPr/>
          <p:nvPr/>
        </p:nvSpPr>
        <p:spPr>
          <a:xfrm>
            <a:off x="5160233" y="3694665"/>
            <a:ext cx="865570" cy="166196"/>
          </a:xfrm>
          <a:prstGeom prst="roundRect">
            <a:avLst>
              <a:gd name="adj" fmla="val 50998"/>
            </a:avLst>
          </a:prstGeom>
          <a:solidFill>
            <a:srgbClr val="E0E0E0">
              <a:alpha val="100000"/>
            </a:srgbClr>
          </a:solid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1828891" rtl="0" eaLnBrk="1" fontAlgn="auto" latinLnBrk="0" hangingPunct="1">
              <a:lnSpc>
                <a:spcPct val="100000"/>
              </a:lnSpc>
              <a:spcBef>
                <a:spcPts val="0"/>
              </a:spcBef>
              <a:spcAft>
                <a:spcPts val="0"/>
              </a:spcAft>
              <a:buClrTx/>
              <a:buSzTx/>
              <a:buFontTx/>
              <a:buNone/>
              <a:tabLst/>
              <a:defRPr/>
            </a:pPr>
            <a:endParaRPr kumimoji="0" lang="en-US" sz="982" b="0" i="0" u="none" strike="noStrike" kern="1200" cap="none" spc="0" normalizeH="0" baseline="0" noProof="0">
              <a:ln>
                <a:noFill/>
              </a:ln>
              <a:solidFill>
                <a:srgbClr val="000000"/>
              </a:solidFill>
              <a:effectLst/>
              <a:uLnTx/>
              <a:uFillTx/>
              <a:latin typeface="IBM Plex Sans Light" panose="020B0403050203000203" pitchFamily="34" charset="0"/>
              <a:ea typeface="+mn-ea"/>
              <a:cs typeface="+mn-cs"/>
            </a:endParaRPr>
          </a:p>
        </p:txBody>
      </p:sp>
      <p:sp>
        <p:nvSpPr>
          <p:cNvPr id="30" name="Text 47">
            <a:extLst>
              <a:ext uri="{FF2B5EF4-FFF2-40B4-BE49-F238E27FC236}">
                <a16:creationId xmlns:a16="http://schemas.microsoft.com/office/drawing/2014/main" id="{B65A55B4-E3FE-D544-CE5B-4635C2D8BD56}"/>
              </a:ext>
            </a:extLst>
          </p:cNvPr>
          <p:cNvSpPr/>
          <p:nvPr/>
        </p:nvSpPr>
        <p:spPr>
          <a:xfrm>
            <a:off x="5244318" y="3721579"/>
            <a:ext cx="671684" cy="138491"/>
          </a:xfrm>
          <a:prstGeom prst="rect">
            <a:avLst/>
          </a:prstGeom>
          <a:noFill/>
          <a:ln/>
        </p:spPr>
        <p:txBody>
          <a:bodyPr wrap="square" lIns="0" tIns="0" rIns="0" bIns="0" rtlCol="0" anchor="t"/>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1828891" rtl="0" eaLnBrk="1" fontAlgn="auto" latinLnBrk="0" hangingPunct="1">
              <a:lnSpc>
                <a:spcPts val="873"/>
              </a:lnSpc>
              <a:spcBef>
                <a:spcPts val="0"/>
              </a:spcBef>
              <a:spcAft>
                <a:spcPts val="0"/>
              </a:spcAft>
              <a:buClrTx/>
              <a:buSzTx/>
              <a:buFontTx/>
              <a:buNone/>
              <a:tabLst/>
              <a:defRPr/>
            </a:pPr>
            <a:r>
              <a:rPr kumimoji="0" lang="en-US" sz="655" b="0" i="0" u="none" strike="noStrike" kern="0" cap="none" spc="2" normalizeH="0" baseline="0" noProof="0">
                <a:ln>
                  <a:noFill/>
                </a:ln>
                <a:solidFill>
                  <a:srgbClr val="000000">
                    <a:alpha val="100000"/>
                  </a:srgbClr>
                </a:solidFill>
                <a:effectLst/>
                <a:uLnTx/>
                <a:uFillTx/>
                <a:latin typeface="IBM Plex Sans Light" panose="020B0403050203000203" pitchFamily="34" charset="0"/>
                <a:ea typeface="+mn-ea"/>
                <a:cs typeface="+mn-cs"/>
              </a:rPr>
              <a:t>[Iceberg]</a:t>
            </a:r>
            <a:endParaRPr kumimoji="0" lang="en-US" sz="655" b="0" i="0" u="none" strike="noStrike" kern="1200" cap="none" spc="0" normalizeH="0" baseline="0" noProof="0">
              <a:ln>
                <a:noFill/>
              </a:ln>
              <a:solidFill>
                <a:srgbClr val="000000"/>
              </a:solidFill>
              <a:effectLst/>
              <a:uLnTx/>
              <a:uFillTx/>
              <a:latin typeface="IBM Plex Sans Light" panose="020B0403050203000203" pitchFamily="34" charset="0"/>
              <a:ea typeface="+mn-ea"/>
              <a:cs typeface="+mn-cs"/>
            </a:endParaRPr>
          </a:p>
        </p:txBody>
      </p:sp>
      <p:sp>
        <p:nvSpPr>
          <p:cNvPr id="31" name="Shape 92">
            <a:extLst>
              <a:ext uri="{FF2B5EF4-FFF2-40B4-BE49-F238E27FC236}">
                <a16:creationId xmlns:a16="http://schemas.microsoft.com/office/drawing/2014/main" id="{72970798-332A-06B6-57E4-FF63F4A9AEBD}"/>
              </a:ext>
            </a:extLst>
          </p:cNvPr>
          <p:cNvSpPr/>
          <p:nvPr/>
        </p:nvSpPr>
        <p:spPr>
          <a:xfrm>
            <a:off x="5074108" y="4169510"/>
            <a:ext cx="1316736" cy="515968"/>
          </a:xfrm>
          <a:prstGeom prst="roundRect">
            <a:avLst>
              <a:gd name="adj" fmla="val 6887"/>
            </a:avLst>
          </a:prstGeom>
          <a:solidFill>
            <a:srgbClr val="FFFFFF">
              <a:alpha val="100000"/>
            </a:srgbClr>
          </a:solidFill>
          <a:ln>
            <a:solidFill>
              <a:schemeClr val="tx1">
                <a:lumMod val="50000"/>
                <a:lumOff val="50000"/>
              </a:schemeClr>
            </a:solidFill>
          </a:ln>
          <a:effectLst>
            <a:outerShdw blurRad="317500" dist="50800" dir="16200000" algn="bl" rotWithShape="0">
              <a:srgbClr val="000000">
                <a:alpha val="10000"/>
              </a:srgbClr>
            </a:outerShdw>
          </a:effectLst>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1218956" rtl="0" eaLnBrk="1" fontAlgn="auto" latinLnBrk="0" hangingPunct="1">
              <a:lnSpc>
                <a:spcPct val="100000"/>
              </a:lnSpc>
              <a:spcBef>
                <a:spcPts val="0"/>
              </a:spcBef>
              <a:spcAft>
                <a:spcPts val="0"/>
              </a:spcAft>
              <a:buClrTx/>
              <a:buSzPct val="100000"/>
              <a:buFontTx/>
              <a:buNone/>
              <a:tabLst/>
              <a:defRPr/>
            </a:pPr>
            <a:r>
              <a:rPr kumimoji="0" lang="en-US" sz="1000" b="0" i="0" u="none" strike="noStrike" kern="0" cap="none" spc="0" normalizeH="0" baseline="0" noProof="0">
                <a:ln>
                  <a:noFill/>
                </a:ln>
                <a:solidFill>
                  <a:srgbClr val="000000"/>
                </a:solidFill>
                <a:effectLst/>
                <a:uLnTx/>
                <a:uFillTx/>
                <a:latin typeface="IBM Plex Sans Light" panose="020B0403050203000203" pitchFamily="34" charset="0"/>
                <a:ea typeface="+mn-ea"/>
                <a:cs typeface="+mn-cs"/>
                <a:sym typeface="IBM Plex Sans Light"/>
              </a:rPr>
              <a:t>Vector Embeddings</a:t>
            </a:r>
          </a:p>
        </p:txBody>
      </p:sp>
      <p:sp>
        <p:nvSpPr>
          <p:cNvPr id="32" name="Shape 42">
            <a:extLst>
              <a:ext uri="{FF2B5EF4-FFF2-40B4-BE49-F238E27FC236}">
                <a16:creationId xmlns:a16="http://schemas.microsoft.com/office/drawing/2014/main" id="{198C9FF5-C66A-1025-BAB2-E28195D5DF72}"/>
              </a:ext>
            </a:extLst>
          </p:cNvPr>
          <p:cNvSpPr/>
          <p:nvPr/>
        </p:nvSpPr>
        <p:spPr>
          <a:xfrm>
            <a:off x="5146536" y="4464059"/>
            <a:ext cx="865570" cy="166196"/>
          </a:xfrm>
          <a:prstGeom prst="roundRect">
            <a:avLst>
              <a:gd name="adj" fmla="val 50998"/>
            </a:avLst>
          </a:prstGeom>
          <a:solidFill>
            <a:srgbClr val="E0E0E0">
              <a:alpha val="100000"/>
            </a:srgbClr>
          </a:solid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1828891" rtl="0" eaLnBrk="1" fontAlgn="auto" latinLnBrk="0" hangingPunct="1">
              <a:lnSpc>
                <a:spcPct val="100000"/>
              </a:lnSpc>
              <a:spcBef>
                <a:spcPts val="0"/>
              </a:spcBef>
              <a:spcAft>
                <a:spcPts val="0"/>
              </a:spcAft>
              <a:buClrTx/>
              <a:buSzTx/>
              <a:buFontTx/>
              <a:buNone/>
              <a:tabLst/>
              <a:defRPr/>
            </a:pPr>
            <a:endParaRPr kumimoji="0" lang="en-US" sz="982" b="0" i="0" u="none" strike="noStrike" kern="1200" cap="none" spc="0" normalizeH="0" baseline="0" noProof="0">
              <a:ln>
                <a:noFill/>
              </a:ln>
              <a:solidFill>
                <a:srgbClr val="000000"/>
              </a:solidFill>
              <a:effectLst/>
              <a:uLnTx/>
              <a:uFillTx/>
              <a:latin typeface="IBM Plex Sans Light" panose="020B0403050203000203" pitchFamily="34" charset="0"/>
              <a:ea typeface="+mn-ea"/>
              <a:cs typeface="+mn-cs"/>
            </a:endParaRPr>
          </a:p>
        </p:txBody>
      </p:sp>
      <p:sp>
        <p:nvSpPr>
          <p:cNvPr id="33" name="Text 47">
            <a:extLst>
              <a:ext uri="{FF2B5EF4-FFF2-40B4-BE49-F238E27FC236}">
                <a16:creationId xmlns:a16="http://schemas.microsoft.com/office/drawing/2014/main" id="{A7BDF3B0-1CE9-4CAC-9E08-C39455ABCEB6}"/>
              </a:ext>
            </a:extLst>
          </p:cNvPr>
          <p:cNvSpPr/>
          <p:nvPr/>
        </p:nvSpPr>
        <p:spPr>
          <a:xfrm>
            <a:off x="5244318" y="4501399"/>
            <a:ext cx="671684" cy="138491"/>
          </a:xfrm>
          <a:prstGeom prst="rect">
            <a:avLst/>
          </a:prstGeom>
          <a:noFill/>
          <a:ln/>
        </p:spPr>
        <p:txBody>
          <a:bodyPr wrap="square" lIns="0" tIns="0" rIns="0" bIns="0" rtlCol="0" anchor="t"/>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1828891" rtl="0" eaLnBrk="1" fontAlgn="auto" latinLnBrk="0" hangingPunct="1">
              <a:lnSpc>
                <a:spcPts val="873"/>
              </a:lnSpc>
              <a:spcBef>
                <a:spcPts val="0"/>
              </a:spcBef>
              <a:spcAft>
                <a:spcPts val="0"/>
              </a:spcAft>
              <a:buClrTx/>
              <a:buSzTx/>
              <a:buFontTx/>
              <a:buNone/>
              <a:tabLst/>
              <a:defRPr/>
            </a:pPr>
            <a:r>
              <a:rPr kumimoji="0" lang="en-US" sz="655" b="0" i="0" u="none" strike="noStrike" kern="0" cap="none" spc="2" normalizeH="0" baseline="0" noProof="0">
                <a:ln>
                  <a:noFill/>
                </a:ln>
                <a:solidFill>
                  <a:srgbClr val="000000">
                    <a:alpha val="100000"/>
                  </a:srgbClr>
                </a:solidFill>
                <a:effectLst/>
                <a:uLnTx/>
                <a:uFillTx/>
                <a:latin typeface="IBM Plex Sans Light" panose="020B0403050203000203" pitchFamily="34" charset="0"/>
                <a:ea typeface="+mn-ea"/>
                <a:cs typeface="+mn-cs"/>
              </a:rPr>
              <a:t>Milvus</a:t>
            </a:r>
            <a:endParaRPr kumimoji="0" lang="en-US" sz="655" b="0" i="0" u="none" strike="noStrike" kern="1200" cap="none" spc="0" normalizeH="0" baseline="0" noProof="0">
              <a:ln>
                <a:noFill/>
              </a:ln>
              <a:solidFill>
                <a:srgbClr val="000000"/>
              </a:solidFill>
              <a:effectLst/>
              <a:uLnTx/>
              <a:uFillTx/>
              <a:latin typeface="IBM Plex Sans Light" panose="020B0403050203000203" pitchFamily="34" charset="0"/>
              <a:ea typeface="+mn-ea"/>
              <a:cs typeface="+mn-cs"/>
            </a:endParaRPr>
          </a:p>
        </p:txBody>
      </p:sp>
      <p:sp>
        <p:nvSpPr>
          <p:cNvPr id="34" name="Shape 92">
            <a:extLst>
              <a:ext uri="{FF2B5EF4-FFF2-40B4-BE49-F238E27FC236}">
                <a16:creationId xmlns:a16="http://schemas.microsoft.com/office/drawing/2014/main" id="{61AB1719-C4CC-6FA8-1214-3AB64B0C6A46}"/>
              </a:ext>
            </a:extLst>
          </p:cNvPr>
          <p:cNvSpPr/>
          <p:nvPr/>
        </p:nvSpPr>
        <p:spPr>
          <a:xfrm>
            <a:off x="6765124" y="1922361"/>
            <a:ext cx="1325001" cy="1127299"/>
          </a:xfrm>
          <a:prstGeom prst="roundRect">
            <a:avLst>
              <a:gd name="adj" fmla="val 6887"/>
            </a:avLst>
          </a:prstGeom>
          <a:solidFill>
            <a:srgbClr val="FFFFFF">
              <a:alpha val="100000"/>
            </a:srgbClr>
          </a:solidFill>
          <a:ln w="12700">
            <a:solidFill>
              <a:srgbClr val="0E61FF"/>
            </a:solidFill>
            <a:prstDash val="sysDot"/>
          </a:ln>
          <a:effectLst>
            <a:outerShdw blurRad="317500" dist="50800" dir="16200000" algn="bl" rotWithShape="0">
              <a:srgbClr val="000000">
                <a:alpha val="10000"/>
              </a:srgbClr>
            </a:outerShdw>
          </a:effectLst>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1218956" rtl="0" eaLnBrk="1" fontAlgn="auto" latinLnBrk="0" hangingPunct="1">
              <a:lnSpc>
                <a:spcPct val="100000"/>
              </a:lnSpc>
              <a:spcBef>
                <a:spcPts val="0"/>
              </a:spcBef>
              <a:spcAft>
                <a:spcPts val="0"/>
              </a:spcAft>
              <a:buClrTx/>
              <a:buSzPct val="100000"/>
              <a:buFontTx/>
              <a:buNone/>
              <a:tabLst/>
              <a:defRPr/>
            </a:pPr>
            <a:endParaRPr kumimoji="0" lang="en-US" sz="1100" b="0" i="0" u="none" strike="noStrike" kern="0" cap="none" spc="0" normalizeH="0" baseline="0" noProof="0">
              <a:ln>
                <a:noFill/>
              </a:ln>
              <a:solidFill>
                <a:srgbClr val="000000"/>
              </a:solidFill>
              <a:effectLst/>
              <a:uLnTx/>
              <a:uFillTx/>
              <a:latin typeface="IBM Plex Sans Light" panose="020B0403050203000203" pitchFamily="34" charset="0"/>
              <a:ea typeface="+mn-ea"/>
              <a:cs typeface="+mn-cs"/>
              <a:sym typeface="IBM Plex Sans Light"/>
            </a:endParaRPr>
          </a:p>
        </p:txBody>
      </p:sp>
      <p:sp>
        <p:nvSpPr>
          <p:cNvPr id="36" name="Shape 42">
            <a:extLst>
              <a:ext uri="{FF2B5EF4-FFF2-40B4-BE49-F238E27FC236}">
                <a16:creationId xmlns:a16="http://schemas.microsoft.com/office/drawing/2014/main" id="{86F59E04-446F-87D1-FCB2-D821D0B3DC71}"/>
              </a:ext>
            </a:extLst>
          </p:cNvPr>
          <p:cNvSpPr/>
          <p:nvPr/>
        </p:nvSpPr>
        <p:spPr>
          <a:xfrm>
            <a:off x="6847508" y="2565146"/>
            <a:ext cx="1020304" cy="163803"/>
          </a:xfrm>
          <a:prstGeom prst="roundRect">
            <a:avLst>
              <a:gd name="adj" fmla="val 50998"/>
            </a:avLst>
          </a:prstGeom>
          <a:solidFill>
            <a:srgbClr val="E0E0E0">
              <a:alpha val="100000"/>
            </a:srgbClr>
          </a:solid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1828891" rtl="0" eaLnBrk="1" fontAlgn="auto" latinLnBrk="0" hangingPunct="1">
              <a:lnSpc>
                <a:spcPct val="100000"/>
              </a:lnSpc>
              <a:spcBef>
                <a:spcPts val="0"/>
              </a:spcBef>
              <a:spcAft>
                <a:spcPts val="0"/>
              </a:spcAft>
              <a:buClrTx/>
              <a:buSzTx/>
              <a:buFontTx/>
              <a:buNone/>
              <a:tabLst/>
              <a:defRPr/>
            </a:pPr>
            <a:endParaRPr kumimoji="0" lang="en-US" sz="982" b="0" i="0" u="none" strike="noStrike" kern="1200" cap="none" spc="0" normalizeH="0" baseline="0" noProof="0">
              <a:ln>
                <a:noFill/>
              </a:ln>
              <a:solidFill>
                <a:srgbClr val="000000"/>
              </a:solidFill>
              <a:effectLst/>
              <a:uLnTx/>
              <a:uFillTx/>
              <a:latin typeface="IBM Plex Sans Light" panose="020B0403050203000203" pitchFamily="34" charset="0"/>
              <a:ea typeface="+mn-ea"/>
              <a:cs typeface="+mn-cs"/>
            </a:endParaRPr>
          </a:p>
        </p:txBody>
      </p:sp>
      <p:sp>
        <p:nvSpPr>
          <p:cNvPr id="37" name="Text 47">
            <a:extLst>
              <a:ext uri="{FF2B5EF4-FFF2-40B4-BE49-F238E27FC236}">
                <a16:creationId xmlns:a16="http://schemas.microsoft.com/office/drawing/2014/main" id="{D22C5A3E-70CD-D76A-F309-5A49B9FC07FF}"/>
              </a:ext>
            </a:extLst>
          </p:cNvPr>
          <p:cNvSpPr/>
          <p:nvPr/>
        </p:nvSpPr>
        <p:spPr>
          <a:xfrm>
            <a:off x="6898560" y="2592273"/>
            <a:ext cx="969252" cy="116233"/>
          </a:xfrm>
          <a:prstGeom prst="rect">
            <a:avLst/>
          </a:prstGeom>
          <a:noFill/>
          <a:ln/>
        </p:spPr>
        <p:txBody>
          <a:bodyPr wrap="square" lIns="0" tIns="0" rIns="0" bIns="0" rtlCol="0" anchor="t"/>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1828891" rtl="0" eaLnBrk="1" fontAlgn="auto" latinLnBrk="0" hangingPunct="1">
              <a:lnSpc>
                <a:spcPts val="873"/>
              </a:lnSpc>
              <a:spcBef>
                <a:spcPts val="0"/>
              </a:spcBef>
              <a:spcAft>
                <a:spcPts val="0"/>
              </a:spcAft>
              <a:buClrTx/>
              <a:buSzTx/>
              <a:buFontTx/>
              <a:buNone/>
              <a:tabLst/>
              <a:defRPr/>
            </a:pPr>
            <a:r>
              <a:rPr kumimoji="0" lang="en-US" sz="655" b="0" i="0" u="none" strike="noStrike" kern="0" cap="none" spc="2" normalizeH="0" baseline="0" noProof="0">
                <a:ln>
                  <a:noFill/>
                </a:ln>
                <a:solidFill>
                  <a:srgbClr val="000000">
                    <a:alpha val="100000"/>
                  </a:srgbClr>
                </a:solidFill>
                <a:effectLst/>
                <a:uLnTx/>
                <a:uFillTx/>
                <a:latin typeface="IBM Plex Sans Light" panose="020B0403050203000203" pitchFamily="34" charset="0"/>
                <a:ea typeface="+mn-ea"/>
                <a:cs typeface="+mn-cs"/>
              </a:rPr>
              <a:t>Document Management</a:t>
            </a:r>
            <a:endParaRPr kumimoji="0" lang="en-US" sz="655" b="0" i="0" u="none" strike="noStrike" kern="1200" cap="none" spc="0" normalizeH="0" baseline="0" noProof="0">
              <a:ln>
                <a:noFill/>
              </a:ln>
              <a:solidFill>
                <a:srgbClr val="000000"/>
              </a:solidFill>
              <a:effectLst/>
              <a:uLnTx/>
              <a:uFillTx/>
              <a:latin typeface="IBM Plex Sans Light" panose="020B0403050203000203" pitchFamily="34" charset="0"/>
              <a:ea typeface="+mn-ea"/>
              <a:cs typeface="+mn-cs"/>
            </a:endParaRPr>
          </a:p>
        </p:txBody>
      </p:sp>
      <p:sp>
        <p:nvSpPr>
          <p:cNvPr id="38" name="Shape 92">
            <a:extLst>
              <a:ext uri="{FF2B5EF4-FFF2-40B4-BE49-F238E27FC236}">
                <a16:creationId xmlns:a16="http://schemas.microsoft.com/office/drawing/2014/main" id="{1F5D5B4A-9118-926B-C036-19B318821AE0}"/>
              </a:ext>
            </a:extLst>
          </p:cNvPr>
          <p:cNvSpPr/>
          <p:nvPr/>
        </p:nvSpPr>
        <p:spPr>
          <a:xfrm>
            <a:off x="8572048" y="1939982"/>
            <a:ext cx="1246084" cy="2938270"/>
          </a:xfrm>
          <a:prstGeom prst="roundRect">
            <a:avLst>
              <a:gd name="adj" fmla="val 6887"/>
            </a:avLst>
          </a:prstGeom>
          <a:solidFill>
            <a:schemeClr val="bg1"/>
          </a:solidFill>
          <a:ln w="12700">
            <a:solidFill>
              <a:srgbClr val="0E61FF"/>
            </a:solidFill>
            <a:prstDash val="sysDot"/>
          </a:ln>
          <a:effectLst>
            <a:outerShdw blurRad="317500" dist="50800" dir="16200000" algn="bl" rotWithShape="0">
              <a:srgbClr val="000000">
                <a:alpha val="10000"/>
              </a:srgbClr>
            </a:outerShdw>
          </a:effectLst>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1218956" rtl="0" eaLnBrk="1" fontAlgn="auto" latinLnBrk="0" hangingPunct="1">
              <a:lnSpc>
                <a:spcPct val="100000"/>
              </a:lnSpc>
              <a:spcBef>
                <a:spcPts val="0"/>
              </a:spcBef>
              <a:spcAft>
                <a:spcPts val="0"/>
              </a:spcAft>
              <a:buClrTx/>
              <a:buSzPct val="100000"/>
              <a:buFontTx/>
              <a:buNone/>
              <a:tabLst/>
              <a:defRPr/>
            </a:pPr>
            <a:endParaRPr kumimoji="0" lang="en-US" sz="1100" b="0" i="0" u="none" strike="noStrike" kern="0" cap="none" spc="0" normalizeH="0" baseline="0" noProof="0">
              <a:ln>
                <a:noFill/>
              </a:ln>
              <a:solidFill>
                <a:srgbClr val="000000"/>
              </a:solidFill>
              <a:effectLst/>
              <a:uLnTx/>
              <a:uFillTx/>
              <a:latin typeface="IBM Plex Sans Light" panose="020B0403050203000203" pitchFamily="34" charset="0"/>
              <a:ea typeface="+mn-ea"/>
              <a:cs typeface="+mn-cs"/>
              <a:sym typeface="IBM Plex Sans Light"/>
            </a:endParaRPr>
          </a:p>
        </p:txBody>
      </p:sp>
      <p:cxnSp>
        <p:nvCxnSpPr>
          <p:cNvPr id="123" name="Elbow Connector 122">
            <a:extLst>
              <a:ext uri="{FF2B5EF4-FFF2-40B4-BE49-F238E27FC236}">
                <a16:creationId xmlns:a16="http://schemas.microsoft.com/office/drawing/2014/main" id="{9E134516-FDB0-97FE-3B3E-CE241FEB7B23}"/>
              </a:ext>
            </a:extLst>
          </p:cNvPr>
          <p:cNvCxnSpPr>
            <a:cxnSpLocks/>
          </p:cNvCxnSpPr>
          <p:nvPr/>
        </p:nvCxnSpPr>
        <p:spPr bwMode="auto">
          <a:xfrm>
            <a:off x="8334547" y="2944449"/>
            <a:ext cx="1832531" cy="12700"/>
          </a:xfrm>
          <a:prstGeom prst="bentConnector3">
            <a:avLst/>
          </a:prstGeom>
          <a:ln w="12700">
            <a:solidFill>
              <a:schemeClr val="tx1">
                <a:lumMod val="65000"/>
                <a:lumOff val="35000"/>
              </a:schemeClr>
            </a:solidFill>
            <a:headEnd type="none" w="med" len="med"/>
            <a:tailEnd type="triangle" w="lg" len="lg"/>
          </a:ln>
          <a:effectLst/>
        </p:spPr>
        <p:style>
          <a:lnRef idx="1">
            <a:schemeClr val="dk1"/>
          </a:lnRef>
          <a:fillRef idx="0">
            <a:schemeClr val="dk1"/>
          </a:fillRef>
          <a:effectRef idx="0">
            <a:schemeClr val="dk1"/>
          </a:effectRef>
          <a:fontRef idx="minor">
            <a:schemeClr val="tx1"/>
          </a:fontRef>
        </p:style>
      </p:cxnSp>
      <p:cxnSp>
        <p:nvCxnSpPr>
          <p:cNvPr id="124" name="Elbow Connector 123">
            <a:extLst>
              <a:ext uri="{FF2B5EF4-FFF2-40B4-BE49-F238E27FC236}">
                <a16:creationId xmlns:a16="http://schemas.microsoft.com/office/drawing/2014/main" id="{C4B4B8BA-CD06-4569-C333-2368A8576D75}"/>
              </a:ext>
            </a:extLst>
          </p:cNvPr>
          <p:cNvCxnSpPr>
            <a:cxnSpLocks/>
          </p:cNvCxnSpPr>
          <p:nvPr/>
        </p:nvCxnSpPr>
        <p:spPr bwMode="auto">
          <a:xfrm>
            <a:off x="8334547" y="4362541"/>
            <a:ext cx="1832531" cy="12700"/>
          </a:xfrm>
          <a:prstGeom prst="bentConnector3">
            <a:avLst/>
          </a:prstGeom>
          <a:ln w="12700">
            <a:solidFill>
              <a:schemeClr val="tx1">
                <a:lumMod val="65000"/>
                <a:lumOff val="35000"/>
              </a:schemeClr>
            </a:solidFill>
            <a:headEnd type="none" w="med" len="med"/>
            <a:tailEnd type="triangle" w="lg" len="lg"/>
          </a:ln>
          <a:effectLst/>
        </p:spPr>
        <p:style>
          <a:lnRef idx="1">
            <a:schemeClr val="dk1"/>
          </a:lnRef>
          <a:fillRef idx="0">
            <a:schemeClr val="dk1"/>
          </a:fillRef>
          <a:effectRef idx="0">
            <a:schemeClr val="dk1"/>
          </a:effectRef>
          <a:fontRef idx="minor">
            <a:schemeClr val="tx1"/>
          </a:fontRef>
        </p:style>
      </p:cxnSp>
      <p:cxnSp>
        <p:nvCxnSpPr>
          <p:cNvPr id="126" name="Straight Arrow Connector 125">
            <a:extLst>
              <a:ext uri="{FF2B5EF4-FFF2-40B4-BE49-F238E27FC236}">
                <a16:creationId xmlns:a16="http://schemas.microsoft.com/office/drawing/2014/main" id="{2F4D56F2-93AD-5C41-7680-4D863AEB4479}"/>
              </a:ext>
            </a:extLst>
          </p:cNvPr>
          <p:cNvCxnSpPr>
            <a:cxnSpLocks/>
          </p:cNvCxnSpPr>
          <p:nvPr/>
        </p:nvCxnSpPr>
        <p:spPr bwMode="auto">
          <a:xfrm>
            <a:off x="8081730" y="3605846"/>
            <a:ext cx="2103729" cy="0"/>
          </a:xfrm>
          <a:prstGeom prst="straightConnector1">
            <a:avLst/>
          </a:prstGeom>
          <a:ln w="12700">
            <a:solidFill>
              <a:schemeClr val="tx1">
                <a:lumMod val="65000"/>
                <a:lumOff val="35000"/>
              </a:schemeClr>
            </a:solidFill>
            <a:headEnd type="none" w="med" len="med"/>
            <a:tailEnd type="triangle" w="lg" len="lg"/>
          </a:ln>
          <a:effectLst/>
        </p:spPr>
        <p:style>
          <a:lnRef idx="1">
            <a:schemeClr val="dk1"/>
          </a:lnRef>
          <a:fillRef idx="0">
            <a:schemeClr val="dk1"/>
          </a:fillRef>
          <a:effectRef idx="0">
            <a:schemeClr val="dk1"/>
          </a:effectRef>
          <a:fontRef idx="minor">
            <a:schemeClr val="tx1"/>
          </a:fontRef>
        </p:style>
      </p:cxnSp>
      <p:sp>
        <p:nvSpPr>
          <p:cNvPr id="63" name="Shape 92">
            <a:extLst>
              <a:ext uri="{FF2B5EF4-FFF2-40B4-BE49-F238E27FC236}">
                <a16:creationId xmlns:a16="http://schemas.microsoft.com/office/drawing/2014/main" id="{93B3B3AB-B8F5-2896-6954-BB607258F0B4}"/>
              </a:ext>
            </a:extLst>
          </p:cNvPr>
          <p:cNvSpPr/>
          <p:nvPr/>
        </p:nvSpPr>
        <p:spPr>
          <a:xfrm>
            <a:off x="8728762" y="2668200"/>
            <a:ext cx="956012" cy="424839"/>
          </a:xfrm>
          <a:prstGeom prst="roundRect">
            <a:avLst>
              <a:gd name="adj" fmla="val 6887"/>
            </a:avLst>
          </a:prstGeom>
          <a:solidFill>
            <a:srgbClr val="FFFFFF">
              <a:alpha val="100000"/>
            </a:srgbClr>
          </a:solidFill>
          <a:ln>
            <a:solidFill>
              <a:schemeClr val="tx1">
                <a:lumMod val="50000"/>
                <a:lumOff val="50000"/>
              </a:schemeClr>
            </a:solidFill>
          </a:ln>
          <a:effectLst>
            <a:outerShdw blurRad="317500" dist="50800" dir="16200000" algn="bl" rotWithShape="0">
              <a:srgbClr val="000000">
                <a:alpha val="10000"/>
              </a:srgbClr>
            </a:outerShdw>
          </a:effectLst>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1828891" rtl="0" eaLnBrk="1" fontAlgn="auto" latinLnBrk="0" hangingPunct="1">
              <a:lnSpc>
                <a:spcPct val="100000"/>
              </a:lnSpc>
              <a:spcBef>
                <a:spcPts val="0"/>
              </a:spcBef>
              <a:spcAft>
                <a:spcPts val="0"/>
              </a:spcAft>
              <a:buClrTx/>
              <a:buSzTx/>
              <a:buFontTx/>
              <a:buNone/>
              <a:tabLst/>
              <a:defRPr/>
            </a:pPr>
            <a:endParaRPr kumimoji="0" lang="en-US" sz="982" b="0" i="0" u="none" strike="noStrike" kern="1200" cap="none" spc="0" normalizeH="0" baseline="0" noProof="0">
              <a:ln>
                <a:noFill/>
              </a:ln>
              <a:solidFill>
                <a:srgbClr val="000000"/>
              </a:solidFill>
              <a:effectLst/>
              <a:uLnTx/>
              <a:uFillTx/>
              <a:latin typeface="IBM Plex Sans Light" panose="020B0403050203000203" pitchFamily="34" charset="0"/>
              <a:ea typeface="+mn-ea"/>
              <a:cs typeface="+mn-cs"/>
            </a:endParaRPr>
          </a:p>
        </p:txBody>
      </p:sp>
      <p:pic>
        <p:nvPicPr>
          <p:cNvPr id="64" name="Picture 8" descr="PrestoDB - Revision #15 - Database of Databases">
            <a:extLst>
              <a:ext uri="{FF2B5EF4-FFF2-40B4-BE49-F238E27FC236}">
                <a16:creationId xmlns:a16="http://schemas.microsoft.com/office/drawing/2014/main" id="{D5F78204-C783-2CBE-D079-2BFE7A0F4024}"/>
              </a:ext>
            </a:extLst>
          </p:cNvPr>
          <p:cNvPicPr>
            <a:picLocks noChangeAspect="1" noChangeArrowheads="1"/>
          </p:cNvPicPr>
          <p:nvPr/>
        </p:nvPicPr>
        <p:blipFill>
          <a:blip r:embed="rId13">
            <a:biLevel thresh="75000"/>
            <a:extLst>
              <a:ext uri="{28A0092B-C50C-407E-A947-70E740481C1C}">
                <a14:useLocalDpi xmlns:a14="http://schemas.microsoft.com/office/drawing/2010/main" val="0"/>
              </a:ext>
            </a:extLst>
          </a:blip>
          <a:srcRect/>
          <a:stretch>
            <a:fillRect/>
          </a:stretch>
        </p:blipFill>
        <p:spPr bwMode="auto">
          <a:xfrm>
            <a:off x="8847451" y="2757499"/>
            <a:ext cx="753079" cy="246241"/>
          </a:xfrm>
          <a:prstGeom prst="rect">
            <a:avLst/>
          </a:prstGeom>
          <a:noFill/>
          <a:extLst>
            <a:ext uri="{909E8E84-426E-40DD-AFC4-6F175D3DCCD1}">
              <a14:hiddenFill xmlns:a14="http://schemas.microsoft.com/office/drawing/2010/main">
                <a:solidFill>
                  <a:srgbClr val="FFFFFF"/>
                </a:solidFill>
              </a14:hiddenFill>
            </a:ext>
          </a:extLst>
        </p:spPr>
      </p:pic>
      <p:sp>
        <p:nvSpPr>
          <p:cNvPr id="65" name="Shape 92">
            <a:extLst>
              <a:ext uri="{FF2B5EF4-FFF2-40B4-BE49-F238E27FC236}">
                <a16:creationId xmlns:a16="http://schemas.microsoft.com/office/drawing/2014/main" id="{F783F3F3-D418-AB7D-6EC6-2101D5A8A476}"/>
              </a:ext>
            </a:extLst>
          </p:cNvPr>
          <p:cNvSpPr/>
          <p:nvPr/>
        </p:nvSpPr>
        <p:spPr>
          <a:xfrm>
            <a:off x="8728762" y="4156472"/>
            <a:ext cx="956012" cy="424839"/>
          </a:xfrm>
          <a:prstGeom prst="roundRect">
            <a:avLst>
              <a:gd name="adj" fmla="val 6887"/>
            </a:avLst>
          </a:prstGeom>
          <a:solidFill>
            <a:srgbClr val="FFFFFF">
              <a:alpha val="100000"/>
            </a:srgbClr>
          </a:solidFill>
          <a:ln>
            <a:solidFill>
              <a:schemeClr val="tx1">
                <a:lumMod val="50000"/>
                <a:lumOff val="50000"/>
              </a:schemeClr>
            </a:solidFill>
          </a:ln>
          <a:effectLst>
            <a:outerShdw blurRad="317500" dist="50800" dir="16200000" algn="bl" rotWithShape="0">
              <a:srgbClr val="000000">
                <a:alpha val="10000"/>
              </a:srgbClr>
            </a:outerShdw>
          </a:effectLst>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1828891" rtl="0" eaLnBrk="1" fontAlgn="auto" latinLnBrk="0" hangingPunct="1">
              <a:lnSpc>
                <a:spcPct val="100000"/>
              </a:lnSpc>
              <a:spcBef>
                <a:spcPts val="0"/>
              </a:spcBef>
              <a:spcAft>
                <a:spcPts val="0"/>
              </a:spcAft>
              <a:buClrTx/>
              <a:buSzTx/>
              <a:buFontTx/>
              <a:buNone/>
              <a:tabLst/>
              <a:defRPr/>
            </a:pPr>
            <a:endParaRPr kumimoji="0" lang="en-US" sz="982" b="0" i="0" u="none" strike="noStrike" kern="1200" cap="none" spc="0" normalizeH="0" baseline="0" noProof="0">
              <a:ln>
                <a:noFill/>
              </a:ln>
              <a:solidFill>
                <a:srgbClr val="000000"/>
              </a:solidFill>
              <a:effectLst/>
              <a:uLnTx/>
              <a:uFillTx/>
              <a:latin typeface="IBM Plex Sans Light" panose="020B0403050203000203" pitchFamily="34" charset="0"/>
              <a:ea typeface="+mn-ea"/>
              <a:cs typeface="+mn-cs"/>
            </a:endParaRPr>
          </a:p>
        </p:txBody>
      </p:sp>
      <p:sp>
        <p:nvSpPr>
          <p:cNvPr id="66" name="Shape 92">
            <a:extLst>
              <a:ext uri="{FF2B5EF4-FFF2-40B4-BE49-F238E27FC236}">
                <a16:creationId xmlns:a16="http://schemas.microsoft.com/office/drawing/2014/main" id="{2BC8D00A-1366-E8E0-D4F3-6148A32623F2}"/>
              </a:ext>
            </a:extLst>
          </p:cNvPr>
          <p:cNvSpPr/>
          <p:nvPr/>
        </p:nvSpPr>
        <p:spPr>
          <a:xfrm>
            <a:off x="8728762" y="3423853"/>
            <a:ext cx="956012" cy="424839"/>
          </a:xfrm>
          <a:prstGeom prst="roundRect">
            <a:avLst>
              <a:gd name="adj" fmla="val 6887"/>
            </a:avLst>
          </a:prstGeom>
          <a:solidFill>
            <a:srgbClr val="FFFFFF">
              <a:alpha val="100000"/>
            </a:srgbClr>
          </a:solidFill>
          <a:ln>
            <a:solidFill>
              <a:schemeClr val="tx1">
                <a:lumMod val="50000"/>
                <a:lumOff val="50000"/>
              </a:schemeClr>
            </a:solidFill>
          </a:ln>
          <a:effectLst>
            <a:outerShdw blurRad="317500" dist="50800" dir="16200000" algn="bl" rotWithShape="0">
              <a:srgbClr val="000000">
                <a:alpha val="10000"/>
              </a:srgbClr>
            </a:outerShdw>
          </a:effectLst>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1828891" rtl="0" eaLnBrk="1" fontAlgn="auto" latinLnBrk="0" hangingPunct="1">
              <a:lnSpc>
                <a:spcPct val="100000"/>
              </a:lnSpc>
              <a:spcBef>
                <a:spcPts val="0"/>
              </a:spcBef>
              <a:spcAft>
                <a:spcPts val="0"/>
              </a:spcAft>
              <a:buClrTx/>
              <a:buSzTx/>
              <a:buFontTx/>
              <a:buNone/>
              <a:tabLst/>
              <a:defRPr/>
            </a:pPr>
            <a:endParaRPr kumimoji="0" lang="en-US" sz="982" b="0" i="0" u="none" strike="noStrike" kern="1200" cap="none" spc="0" normalizeH="0" baseline="0" noProof="0">
              <a:ln>
                <a:noFill/>
              </a:ln>
              <a:solidFill>
                <a:srgbClr val="000000"/>
              </a:solidFill>
              <a:effectLst/>
              <a:uLnTx/>
              <a:uFillTx/>
              <a:latin typeface="IBM Plex Sans Light" panose="020B0403050203000203" pitchFamily="34" charset="0"/>
              <a:ea typeface="+mn-ea"/>
              <a:cs typeface="+mn-cs"/>
            </a:endParaRPr>
          </a:p>
        </p:txBody>
      </p:sp>
      <p:pic>
        <p:nvPicPr>
          <p:cNvPr id="70" name="Picture 4" descr="Data modeling in Spark (Part 1): Running SQL queries on DataFrames in Spark  SQL | Snowplow">
            <a:extLst>
              <a:ext uri="{FF2B5EF4-FFF2-40B4-BE49-F238E27FC236}">
                <a16:creationId xmlns:a16="http://schemas.microsoft.com/office/drawing/2014/main" id="{A5820D7E-4A59-836A-3C26-A0FF2ECD97BC}"/>
              </a:ext>
            </a:extLst>
          </p:cNvPr>
          <p:cNvPicPr>
            <a:picLocks noChangeAspect="1" noChangeArrowheads="1"/>
          </p:cNvPicPr>
          <p:nvPr/>
        </p:nvPicPr>
        <p:blipFill>
          <a:blip r:embed="rId14">
            <a:biLevel thresh="75000"/>
            <a:extLst>
              <a:ext uri="{28A0092B-C50C-407E-A947-70E740481C1C}">
                <a14:useLocalDpi xmlns:a14="http://schemas.microsoft.com/office/drawing/2010/main" val="0"/>
              </a:ext>
            </a:extLst>
          </a:blip>
          <a:srcRect/>
          <a:stretch>
            <a:fillRect/>
          </a:stretch>
        </p:blipFill>
        <p:spPr bwMode="auto">
          <a:xfrm>
            <a:off x="8944585" y="3494588"/>
            <a:ext cx="524365" cy="283368"/>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2" descr="LF AI &amp; Data Foundation Logos and Artwork - Milvus">
            <a:extLst>
              <a:ext uri="{FF2B5EF4-FFF2-40B4-BE49-F238E27FC236}">
                <a16:creationId xmlns:a16="http://schemas.microsoft.com/office/drawing/2014/main" id="{CD4366FE-B5C0-2CD7-4724-C69ABBAF944A}"/>
              </a:ext>
            </a:extLst>
          </p:cNvPr>
          <p:cNvPicPr>
            <a:picLocks noChangeAspect="1" noChangeArrowheads="1"/>
          </p:cNvPicPr>
          <p:nvPr/>
        </p:nvPicPr>
        <p:blipFill>
          <a:blip r:embed="rId15">
            <a:biLevel thresh="75000"/>
            <a:extLst>
              <a:ext uri="{28A0092B-C50C-407E-A947-70E740481C1C}">
                <a14:useLocalDpi xmlns:a14="http://schemas.microsoft.com/office/drawing/2010/main" val="0"/>
              </a:ext>
            </a:extLst>
          </a:blip>
          <a:srcRect/>
          <a:stretch>
            <a:fillRect/>
          </a:stretch>
        </p:blipFill>
        <p:spPr bwMode="auto">
          <a:xfrm>
            <a:off x="8782521" y="4272824"/>
            <a:ext cx="821101" cy="192135"/>
          </a:xfrm>
          <a:prstGeom prst="rect">
            <a:avLst/>
          </a:prstGeom>
          <a:noFill/>
          <a:extLst>
            <a:ext uri="{909E8E84-426E-40DD-AFC4-6F175D3DCCD1}">
              <a14:hiddenFill xmlns:a14="http://schemas.microsoft.com/office/drawing/2010/main">
                <a:solidFill>
                  <a:srgbClr val="FFFFFF"/>
                </a:solidFill>
              </a14:hiddenFill>
            </a:ext>
          </a:extLst>
        </p:spPr>
      </p:pic>
      <p:sp>
        <p:nvSpPr>
          <p:cNvPr id="54" name="Title 1">
            <a:extLst>
              <a:ext uri="{FF2B5EF4-FFF2-40B4-BE49-F238E27FC236}">
                <a16:creationId xmlns:a16="http://schemas.microsoft.com/office/drawing/2014/main" id="{4728810D-E425-5409-1FBD-391B1C281FB2}"/>
              </a:ext>
            </a:extLst>
          </p:cNvPr>
          <p:cNvSpPr txBox="1">
            <a:spLocks/>
          </p:cNvSpPr>
          <p:nvPr/>
        </p:nvSpPr>
        <p:spPr>
          <a:xfrm>
            <a:off x="301584" y="267111"/>
            <a:ext cx="12026479" cy="59363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457200" bIns="0" anchor="t"/>
          <a:lstStyle>
            <a:lvl1pPr marL="0" marR="0" indent="0" algn="l" defTabSz="1218956" rtl="0" eaLnBrk="1" latinLnBrk="0" hangingPunct="1">
              <a:lnSpc>
                <a:spcPct val="100000"/>
              </a:lnSpc>
              <a:spcBef>
                <a:spcPts val="0"/>
              </a:spcBef>
              <a:spcAft>
                <a:spcPts val="0"/>
              </a:spcAft>
              <a:buClrTx/>
              <a:buSzTx/>
              <a:buFontTx/>
              <a:buNone/>
              <a:tabLst/>
              <a:defRPr sz="3199" b="0" i="0" u="none" strike="noStrike" cap="none" spc="0" baseline="0">
                <a:solidFill>
                  <a:schemeClr val="tx2"/>
                </a:solidFill>
                <a:uFillTx/>
                <a:latin typeface="+mj-lt"/>
                <a:ea typeface="+mj-ea"/>
                <a:cs typeface="+mj-cs"/>
                <a:sym typeface="IBM Plex Sans Light"/>
              </a:defRPr>
            </a:lvl1pPr>
            <a:lvl2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8"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7"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4"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93"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marL="0" marR="0" lvl="0" indent="0" algn="l" defTabSz="1218956"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Gen-AI is transforming the ability to process unstructured data for advanced analytics</a:t>
            </a:r>
          </a:p>
        </p:txBody>
      </p:sp>
      <p:sp>
        <p:nvSpPr>
          <p:cNvPr id="56" name="Shape 42">
            <a:extLst>
              <a:ext uri="{FF2B5EF4-FFF2-40B4-BE49-F238E27FC236}">
                <a16:creationId xmlns:a16="http://schemas.microsoft.com/office/drawing/2014/main" id="{CC1E6995-823F-FC8A-C881-EB179EC47C72}"/>
              </a:ext>
            </a:extLst>
          </p:cNvPr>
          <p:cNvSpPr/>
          <p:nvPr/>
        </p:nvSpPr>
        <p:spPr>
          <a:xfrm>
            <a:off x="6848921" y="2776577"/>
            <a:ext cx="1020304" cy="163803"/>
          </a:xfrm>
          <a:prstGeom prst="roundRect">
            <a:avLst>
              <a:gd name="adj" fmla="val 50998"/>
            </a:avLst>
          </a:prstGeom>
          <a:solidFill>
            <a:srgbClr val="E0E0E0">
              <a:alpha val="100000"/>
            </a:srgbClr>
          </a:solid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1828891" rtl="0" eaLnBrk="1" fontAlgn="auto" latinLnBrk="0" hangingPunct="1">
              <a:lnSpc>
                <a:spcPct val="100000"/>
              </a:lnSpc>
              <a:spcBef>
                <a:spcPts val="0"/>
              </a:spcBef>
              <a:spcAft>
                <a:spcPts val="0"/>
              </a:spcAft>
              <a:buClrTx/>
              <a:buSzTx/>
              <a:buFontTx/>
              <a:buNone/>
              <a:tabLst/>
              <a:defRPr/>
            </a:pPr>
            <a:endParaRPr kumimoji="0" lang="en-US" sz="982" b="0" i="0" u="none" strike="noStrike" kern="1200" cap="none" spc="0" normalizeH="0" baseline="0" noProof="0">
              <a:ln>
                <a:noFill/>
              </a:ln>
              <a:solidFill>
                <a:srgbClr val="000000"/>
              </a:solidFill>
              <a:effectLst/>
              <a:uLnTx/>
              <a:uFillTx/>
              <a:latin typeface="IBM Plex Sans Light" panose="020B0403050203000203" pitchFamily="34" charset="0"/>
              <a:ea typeface="+mn-ea"/>
              <a:cs typeface="+mn-cs"/>
            </a:endParaRPr>
          </a:p>
        </p:txBody>
      </p:sp>
      <p:sp>
        <p:nvSpPr>
          <p:cNvPr id="57" name="Text 47">
            <a:extLst>
              <a:ext uri="{FF2B5EF4-FFF2-40B4-BE49-F238E27FC236}">
                <a16:creationId xmlns:a16="http://schemas.microsoft.com/office/drawing/2014/main" id="{2D164F77-A956-CFDD-5860-60028904B892}"/>
              </a:ext>
            </a:extLst>
          </p:cNvPr>
          <p:cNvSpPr/>
          <p:nvPr/>
        </p:nvSpPr>
        <p:spPr>
          <a:xfrm>
            <a:off x="6899973" y="2803704"/>
            <a:ext cx="969252" cy="116233"/>
          </a:xfrm>
          <a:prstGeom prst="rect">
            <a:avLst/>
          </a:prstGeom>
          <a:noFill/>
          <a:ln/>
        </p:spPr>
        <p:txBody>
          <a:bodyPr wrap="square" lIns="0" tIns="0" rIns="0" bIns="0" rtlCol="0" anchor="t"/>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1828891" rtl="0" eaLnBrk="1" fontAlgn="auto" latinLnBrk="0" hangingPunct="1">
              <a:lnSpc>
                <a:spcPts val="873"/>
              </a:lnSpc>
              <a:spcBef>
                <a:spcPts val="0"/>
              </a:spcBef>
              <a:spcAft>
                <a:spcPts val="0"/>
              </a:spcAft>
              <a:buClrTx/>
              <a:buSzTx/>
              <a:buFontTx/>
              <a:buNone/>
              <a:tabLst/>
              <a:defRPr/>
            </a:pPr>
            <a:r>
              <a:rPr kumimoji="0" lang="en-US" sz="655" b="0" i="0" u="none" strike="noStrike" kern="0" cap="none" spc="2" normalizeH="0" baseline="0" noProof="0">
                <a:ln>
                  <a:noFill/>
                </a:ln>
                <a:solidFill>
                  <a:srgbClr val="000000">
                    <a:alpha val="100000"/>
                  </a:srgbClr>
                </a:solidFill>
                <a:effectLst/>
                <a:uLnTx/>
                <a:uFillTx/>
                <a:latin typeface="IBM Plex Sans Light" panose="020B0403050203000203" pitchFamily="34" charset="0"/>
                <a:ea typeface="+mn-ea"/>
                <a:cs typeface="+mn-cs"/>
              </a:rPr>
              <a:t>Data Lineage</a:t>
            </a:r>
            <a:endParaRPr kumimoji="0" lang="en-US" sz="655" b="0" i="0" u="none" strike="noStrike" kern="1200" cap="none" spc="0" normalizeH="0" baseline="0" noProof="0">
              <a:ln>
                <a:noFill/>
              </a:ln>
              <a:solidFill>
                <a:srgbClr val="000000"/>
              </a:solidFill>
              <a:effectLst/>
              <a:uLnTx/>
              <a:uFillTx/>
              <a:latin typeface="IBM Plex Sans Light" panose="020B0403050203000203" pitchFamily="34" charset="0"/>
              <a:ea typeface="+mn-ea"/>
              <a:cs typeface="+mn-cs"/>
            </a:endParaRPr>
          </a:p>
        </p:txBody>
      </p:sp>
      <p:sp>
        <p:nvSpPr>
          <p:cNvPr id="58" name="Shape 42">
            <a:extLst>
              <a:ext uri="{FF2B5EF4-FFF2-40B4-BE49-F238E27FC236}">
                <a16:creationId xmlns:a16="http://schemas.microsoft.com/office/drawing/2014/main" id="{96925E22-611A-979A-76A7-C668405CA27D}"/>
              </a:ext>
            </a:extLst>
          </p:cNvPr>
          <p:cNvSpPr/>
          <p:nvPr/>
        </p:nvSpPr>
        <p:spPr>
          <a:xfrm>
            <a:off x="6843579" y="2347524"/>
            <a:ext cx="1020304" cy="163803"/>
          </a:xfrm>
          <a:prstGeom prst="roundRect">
            <a:avLst>
              <a:gd name="adj" fmla="val 50998"/>
            </a:avLst>
          </a:prstGeom>
          <a:solidFill>
            <a:srgbClr val="E0E0E0">
              <a:alpha val="100000"/>
            </a:srgbClr>
          </a:solid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1828891" rtl="0" eaLnBrk="1" fontAlgn="auto" latinLnBrk="0" hangingPunct="1">
              <a:lnSpc>
                <a:spcPct val="100000"/>
              </a:lnSpc>
              <a:spcBef>
                <a:spcPts val="0"/>
              </a:spcBef>
              <a:spcAft>
                <a:spcPts val="0"/>
              </a:spcAft>
              <a:buClrTx/>
              <a:buSzTx/>
              <a:buFontTx/>
              <a:buNone/>
              <a:tabLst/>
              <a:defRPr/>
            </a:pPr>
            <a:endParaRPr kumimoji="0" lang="en-US" sz="982" b="0" i="0" u="none" strike="noStrike" kern="1200" cap="none" spc="0" normalizeH="0" baseline="0" noProof="0">
              <a:ln>
                <a:noFill/>
              </a:ln>
              <a:solidFill>
                <a:srgbClr val="000000"/>
              </a:solidFill>
              <a:effectLst/>
              <a:uLnTx/>
              <a:uFillTx/>
              <a:latin typeface="IBM Plex Sans Light" panose="020B0403050203000203" pitchFamily="34" charset="0"/>
              <a:ea typeface="+mn-ea"/>
              <a:cs typeface="+mn-cs"/>
            </a:endParaRPr>
          </a:p>
        </p:txBody>
      </p:sp>
      <p:sp>
        <p:nvSpPr>
          <p:cNvPr id="59" name="Text 47">
            <a:extLst>
              <a:ext uri="{FF2B5EF4-FFF2-40B4-BE49-F238E27FC236}">
                <a16:creationId xmlns:a16="http://schemas.microsoft.com/office/drawing/2014/main" id="{5318E0FC-D453-A6AB-5905-8EAF685D0E68}"/>
              </a:ext>
            </a:extLst>
          </p:cNvPr>
          <p:cNvSpPr/>
          <p:nvPr/>
        </p:nvSpPr>
        <p:spPr>
          <a:xfrm>
            <a:off x="6894631" y="2374651"/>
            <a:ext cx="969252" cy="116233"/>
          </a:xfrm>
          <a:prstGeom prst="rect">
            <a:avLst/>
          </a:prstGeom>
          <a:noFill/>
          <a:ln/>
        </p:spPr>
        <p:txBody>
          <a:bodyPr wrap="square" lIns="0" tIns="0" rIns="0" bIns="0" rtlCol="0" anchor="t"/>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1828891" rtl="0" eaLnBrk="1" fontAlgn="auto" latinLnBrk="0" hangingPunct="1">
              <a:lnSpc>
                <a:spcPts val="873"/>
              </a:lnSpc>
              <a:spcBef>
                <a:spcPts val="0"/>
              </a:spcBef>
              <a:spcAft>
                <a:spcPts val="0"/>
              </a:spcAft>
              <a:buClrTx/>
              <a:buSzTx/>
              <a:buFontTx/>
              <a:buNone/>
              <a:tabLst/>
              <a:defRPr/>
            </a:pPr>
            <a:r>
              <a:rPr kumimoji="0" lang="en-US" sz="655" b="0" i="0" u="none" strike="noStrike" kern="0" cap="none" spc="2" normalizeH="0" baseline="0" noProof="0">
                <a:ln>
                  <a:noFill/>
                </a:ln>
                <a:solidFill>
                  <a:srgbClr val="000000">
                    <a:alpha val="100000"/>
                  </a:srgbClr>
                </a:solidFill>
                <a:effectLst/>
                <a:uLnTx/>
                <a:uFillTx/>
                <a:latin typeface="IBM Plex Sans Light" panose="020B0403050203000203" pitchFamily="34" charset="0"/>
                <a:ea typeface="+mn-ea"/>
                <a:cs typeface="+mn-cs"/>
              </a:rPr>
              <a:t>Access Control</a:t>
            </a:r>
            <a:endParaRPr kumimoji="0" lang="en-US" sz="655" b="0" i="0" u="none" strike="noStrike" kern="1200" cap="none" spc="0" normalizeH="0" baseline="0" noProof="0">
              <a:ln>
                <a:noFill/>
              </a:ln>
              <a:solidFill>
                <a:srgbClr val="000000"/>
              </a:solidFill>
              <a:effectLst/>
              <a:uLnTx/>
              <a:uFillTx/>
              <a:latin typeface="IBM Plex Sans Light" panose="020B0403050203000203" pitchFamily="34" charset="0"/>
              <a:ea typeface="+mn-ea"/>
              <a:cs typeface="+mn-cs"/>
            </a:endParaRPr>
          </a:p>
        </p:txBody>
      </p:sp>
      <p:sp>
        <p:nvSpPr>
          <p:cNvPr id="67" name="Shape 92">
            <a:extLst>
              <a:ext uri="{FF2B5EF4-FFF2-40B4-BE49-F238E27FC236}">
                <a16:creationId xmlns:a16="http://schemas.microsoft.com/office/drawing/2014/main" id="{4AC28BF8-6AEA-4FCC-0538-17226BA0861C}"/>
              </a:ext>
            </a:extLst>
          </p:cNvPr>
          <p:cNvSpPr/>
          <p:nvPr/>
        </p:nvSpPr>
        <p:spPr>
          <a:xfrm>
            <a:off x="1620665" y="1922361"/>
            <a:ext cx="1287912" cy="386374"/>
          </a:xfrm>
          <a:prstGeom prst="roundRect">
            <a:avLst>
              <a:gd name="adj" fmla="val 6887"/>
            </a:avLst>
          </a:prstGeom>
          <a:solidFill>
            <a:schemeClr val="accent1"/>
          </a:solidFill>
          <a:ln w="12700">
            <a:solidFill>
              <a:srgbClr val="0E61FF"/>
            </a:solidFill>
            <a:prstDash val="sysDot"/>
          </a:ln>
          <a:effectLst>
            <a:outerShdw blurRad="317500" dist="50800" dir="16200000" algn="bl" rotWithShape="0">
              <a:srgbClr val="000000">
                <a:alpha val="10000"/>
              </a:srgbClr>
            </a:outerShdw>
          </a:effectLst>
        </p:spPr>
        <p:txBody>
          <a:bodyPr lIns="0" tIns="0" rIns="0" bIns="0" anchor="ct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ctr" defTabSz="1218956" rtl="0" eaLnBrk="1" fontAlgn="auto" latinLnBrk="0" hangingPunct="1">
              <a:lnSpc>
                <a:spcPct val="100000"/>
              </a:lnSpc>
              <a:spcBef>
                <a:spcPts val="0"/>
              </a:spcBef>
              <a:spcAft>
                <a:spcPts val="0"/>
              </a:spcAft>
              <a:buClrTx/>
              <a:buSzPct val="100000"/>
              <a:buFontTx/>
              <a:buNone/>
              <a:tabLst/>
              <a:defRPr/>
            </a:pPr>
            <a:r>
              <a:rPr kumimoji="0" lang="en-US" sz="900" b="1" i="0" u="none" strike="noStrike" kern="0" cap="none" spc="0" normalizeH="0" baseline="0" noProof="0">
                <a:ln>
                  <a:noFill/>
                </a:ln>
                <a:solidFill>
                  <a:srgbClr val="FFFFFF"/>
                </a:solidFill>
                <a:effectLst/>
                <a:uLnTx/>
                <a:uFillTx/>
                <a:latin typeface="IBM Plex Sans Light" panose="020B0403050203000203" pitchFamily="34" charset="0"/>
                <a:ea typeface="+mn-ea"/>
                <a:cs typeface="+mn-cs"/>
                <a:sym typeface="IBM Plex Sans Light"/>
              </a:rPr>
              <a:t>Unstructured Data</a:t>
            </a:r>
          </a:p>
        </p:txBody>
      </p:sp>
      <p:sp>
        <p:nvSpPr>
          <p:cNvPr id="68" name="Shape 92">
            <a:extLst>
              <a:ext uri="{FF2B5EF4-FFF2-40B4-BE49-F238E27FC236}">
                <a16:creationId xmlns:a16="http://schemas.microsoft.com/office/drawing/2014/main" id="{517C9350-EE63-1F71-E261-93C4B7485680}"/>
              </a:ext>
            </a:extLst>
          </p:cNvPr>
          <p:cNvSpPr/>
          <p:nvPr/>
        </p:nvSpPr>
        <p:spPr>
          <a:xfrm>
            <a:off x="198523" y="1922361"/>
            <a:ext cx="1171258" cy="386375"/>
          </a:xfrm>
          <a:prstGeom prst="roundRect">
            <a:avLst>
              <a:gd name="adj" fmla="val 6887"/>
            </a:avLst>
          </a:prstGeom>
          <a:solidFill>
            <a:schemeClr val="accent1"/>
          </a:solidFill>
          <a:ln w="12700">
            <a:solidFill>
              <a:srgbClr val="0E61FF"/>
            </a:solidFill>
            <a:prstDash val="sysDot"/>
          </a:ln>
          <a:effectLst>
            <a:outerShdw blurRad="317500" dist="50800" dir="16200000" algn="bl" rotWithShape="0">
              <a:srgbClr val="000000">
                <a:alpha val="10000"/>
              </a:srgbClr>
            </a:outerShdw>
          </a:effectLst>
        </p:spPr>
        <p:txBody>
          <a:bodyPr lIns="0" tIns="0" rIns="0" bIns="0" anchor="ct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ctr" defTabSz="1218956" rtl="0" eaLnBrk="1" fontAlgn="auto" latinLnBrk="0" hangingPunct="1">
              <a:lnSpc>
                <a:spcPct val="100000"/>
              </a:lnSpc>
              <a:spcBef>
                <a:spcPts val="0"/>
              </a:spcBef>
              <a:spcAft>
                <a:spcPts val="0"/>
              </a:spcAft>
              <a:buClrTx/>
              <a:buSzPct val="100000"/>
              <a:buFontTx/>
              <a:buNone/>
              <a:tabLst/>
              <a:defRPr/>
            </a:pPr>
            <a:r>
              <a:rPr kumimoji="0" lang="en-US" sz="900" b="1" i="0" u="none" strike="noStrike" kern="0" cap="none" spc="0" normalizeH="0" baseline="0" noProof="0">
                <a:ln>
                  <a:noFill/>
                </a:ln>
                <a:solidFill>
                  <a:srgbClr val="FFFFFF"/>
                </a:solidFill>
                <a:effectLst/>
                <a:uLnTx/>
                <a:uFillTx/>
                <a:latin typeface="IBM Plex Sans Light" panose="020B0403050203000203" pitchFamily="34" charset="0"/>
                <a:ea typeface="+mn-ea"/>
                <a:cs typeface="+mn-cs"/>
                <a:sym typeface="IBM Plex Sans Light"/>
              </a:rPr>
              <a:t>Document management systems</a:t>
            </a:r>
          </a:p>
        </p:txBody>
      </p:sp>
      <p:sp>
        <p:nvSpPr>
          <p:cNvPr id="69" name="Shape 92">
            <a:extLst>
              <a:ext uri="{FF2B5EF4-FFF2-40B4-BE49-F238E27FC236}">
                <a16:creationId xmlns:a16="http://schemas.microsoft.com/office/drawing/2014/main" id="{0254539E-5BD0-ACAB-7461-14AF6FBCDB2A}"/>
              </a:ext>
            </a:extLst>
          </p:cNvPr>
          <p:cNvSpPr/>
          <p:nvPr/>
        </p:nvSpPr>
        <p:spPr>
          <a:xfrm>
            <a:off x="5000601" y="1922361"/>
            <a:ext cx="1475474" cy="386375"/>
          </a:xfrm>
          <a:prstGeom prst="roundRect">
            <a:avLst>
              <a:gd name="adj" fmla="val 6887"/>
            </a:avLst>
          </a:prstGeom>
          <a:solidFill>
            <a:schemeClr val="accent1"/>
          </a:solidFill>
          <a:ln w="12700">
            <a:solidFill>
              <a:srgbClr val="0E61FF"/>
            </a:solidFill>
            <a:prstDash val="sysDot"/>
          </a:ln>
          <a:effectLst>
            <a:outerShdw blurRad="317500" dist="50800" dir="16200000" algn="bl" rotWithShape="0">
              <a:srgbClr val="000000">
                <a:alpha val="10000"/>
              </a:srgbClr>
            </a:outerShdw>
          </a:effectLst>
        </p:spPr>
        <p:txBody>
          <a:bodyPr lIns="0" tIns="0" rIns="0" bIns="0" anchor="ct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ctr" defTabSz="1218956" rtl="0" eaLnBrk="1" fontAlgn="auto" latinLnBrk="0" hangingPunct="1">
              <a:lnSpc>
                <a:spcPct val="100000"/>
              </a:lnSpc>
              <a:spcBef>
                <a:spcPts val="0"/>
              </a:spcBef>
              <a:spcAft>
                <a:spcPts val="0"/>
              </a:spcAft>
              <a:buClrTx/>
              <a:buSzPct val="100000"/>
              <a:buFontTx/>
              <a:buNone/>
              <a:tabLst/>
              <a:defRPr/>
            </a:pPr>
            <a:r>
              <a:rPr kumimoji="0" lang="en-US" sz="900" b="1" i="0" u="none" strike="noStrike" kern="0" cap="none" spc="0" normalizeH="0" baseline="0" noProof="0" dirty="0">
                <a:ln>
                  <a:noFill/>
                </a:ln>
                <a:solidFill>
                  <a:srgbClr val="FFFFFF"/>
                </a:solidFill>
                <a:effectLst/>
                <a:uLnTx/>
                <a:uFillTx/>
                <a:latin typeface="IBM Plex Sans Light" panose="020B0403050203000203" pitchFamily="34" charset="0"/>
                <a:ea typeface="+mn-ea"/>
                <a:cs typeface="+mn-cs"/>
                <a:sym typeface="IBM Plex Sans Light"/>
              </a:rPr>
              <a:t>Unstructured </a:t>
            </a:r>
          </a:p>
          <a:p>
            <a:pPr marL="0" marR="0" lvl="0" indent="0" algn="ctr" defTabSz="1218956" rtl="0" eaLnBrk="1" fontAlgn="auto" latinLnBrk="0" hangingPunct="1">
              <a:lnSpc>
                <a:spcPct val="100000"/>
              </a:lnSpc>
              <a:spcBef>
                <a:spcPts val="0"/>
              </a:spcBef>
              <a:spcAft>
                <a:spcPts val="0"/>
              </a:spcAft>
              <a:buClrTx/>
              <a:buSzPct val="100000"/>
              <a:buFontTx/>
              <a:buNone/>
              <a:tabLst/>
              <a:defRPr/>
            </a:pPr>
            <a:r>
              <a:rPr kumimoji="0" lang="en-US" sz="900" b="1" i="0" u="none" strike="noStrike" kern="0" cap="none" spc="0" normalizeH="0" baseline="0" noProof="0" dirty="0">
                <a:ln>
                  <a:noFill/>
                </a:ln>
                <a:solidFill>
                  <a:srgbClr val="FFFFFF"/>
                </a:solidFill>
                <a:effectLst/>
                <a:uLnTx/>
                <a:uFillTx/>
                <a:latin typeface="IBM Plex Sans Light" panose="020B0403050203000203" pitchFamily="34" charset="0"/>
                <a:ea typeface="+mn-ea"/>
                <a:cs typeface="+mn-cs"/>
                <a:sym typeface="IBM Plex Sans Light"/>
              </a:rPr>
              <a:t>Data Preparation</a:t>
            </a:r>
          </a:p>
        </p:txBody>
      </p:sp>
      <p:sp>
        <p:nvSpPr>
          <p:cNvPr id="71" name="Shape 92">
            <a:extLst>
              <a:ext uri="{FF2B5EF4-FFF2-40B4-BE49-F238E27FC236}">
                <a16:creationId xmlns:a16="http://schemas.microsoft.com/office/drawing/2014/main" id="{3B3ABA0C-0B22-49DA-541E-8141E390F290}"/>
              </a:ext>
            </a:extLst>
          </p:cNvPr>
          <p:cNvSpPr/>
          <p:nvPr/>
        </p:nvSpPr>
        <p:spPr>
          <a:xfrm>
            <a:off x="6766664" y="1922361"/>
            <a:ext cx="1323461" cy="386375"/>
          </a:xfrm>
          <a:prstGeom prst="roundRect">
            <a:avLst>
              <a:gd name="adj" fmla="val 6887"/>
            </a:avLst>
          </a:prstGeom>
          <a:solidFill>
            <a:schemeClr val="accent1"/>
          </a:solidFill>
          <a:ln w="12700">
            <a:solidFill>
              <a:srgbClr val="0E61FF"/>
            </a:solidFill>
            <a:prstDash val="sysDot"/>
          </a:ln>
          <a:effectLst>
            <a:outerShdw blurRad="317500" dist="50800" dir="16200000" algn="bl" rotWithShape="0">
              <a:srgbClr val="000000">
                <a:alpha val="10000"/>
              </a:srgbClr>
            </a:outerShdw>
          </a:effectLst>
        </p:spPr>
        <p:txBody>
          <a:bodyPr lIns="0" tIns="0" rIns="0" bIns="0" anchor="ct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ctr" defTabSz="1218956" rtl="0" eaLnBrk="1" fontAlgn="auto" latinLnBrk="0" hangingPunct="1">
              <a:lnSpc>
                <a:spcPct val="100000"/>
              </a:lnSpc>
              <a:spcBef>
                <a:spcPts val="0"/>
              </a:spcBef>
              <a:spcAft>
                <a:spcPts val="0"/>
              </a:spcAft>
              <a:buClrTx/>
              <a:buSzPct val="100000"/>
              <a:buFontTx/>
              <a:buNone/>
              <a:tabLst/>
              <a:defRPr/>
            </a:pPr>
            <a:r>
              <a:rPr kumimoji="0" lang="en-US" sz="900" b="1" i="0" u="none" strike="noStrike" kern="0" cap="none" spc="0" normalizeH="0" baseline="0" noProof="0">
                <a:ln>
                  <a:noFill/>
                </a:ln>
                <a:solidFill>
                  <a:srgbClr val="FFFFFF"/>
                </a:solidFill>
                <a:effectLst/>
                <a:uLnTx/>
                <a:uFillTx/>
                <a:latin typeface="IBM Plex Sans Light" panose="020B0403050203000203" pitchFamily="34" charset="0"/>
                <a:ea typeface="+mn-ea"/>
                <a:cs typeface="+mn-cs"/>
                <a:sym typeface="IBM Plex Sans Light"/>
              </a:rPr>
              <a:t>Data Governance</a:t>
            </a:r>
          </a:p>
        </p:txBody>
      </p:sp>
      <p:sp>
        <p:nvSpPr>
          <p:cNvPr id="73" name="Shape 92">
            <a:extLst>
              <a:ext uri="{FF2B5EF4-FFF2-40B4-BE49-F238E27FC236}">
                <a16:creationId xmlns:a16="http://schemas.microsoft.com/office/drawing/2014/main" id="{19F5BE05-1F9F-D491-E324-B5B260405429}"/>
              </a:ext>
            </a:extLst>
          </p:cNvPr>
          <p:cNvSpPr/>
          <p:nvPr/>
        </p:nvSpPr>
        <p:spPr>
          <a:xfrm>
            <a:off x="8562259" y="1922361"/>
            <a:ext cx="1255873" cy="386375"/>
          </a:xfrm>
          <a:prstGeom prst="roundRect">
            <a:avLst>
              <a:gd name="adj" fmla="val 6887"/>
            </a:avLst>
          </a:prstGeom>
          <a:solidFill>
            <a:schemeClr val="accent1"/>
          </a:solidFill>
          <a:ln w="12700">
            <a:solidFill>
              <a:srgbClr val="0E61FF"/>
            </a:solidFill>
            <a:prstDash val="sysDot"/>
          </a:ln>
          <a:effectLst>
            <a:outerShdw blurRad="317500" dist="50800" dir="16200000" algn="bl" rotWithShape="0">
              <a:srgbClr val="000000">
                <a:alpha val="10000"/>
              </a:srgbClr>
            </a:outerShdw>
          </a:effectLst>
        </p:spPr>
        <p:txBody>
          <a:bodyPr lIns="0" tIns="0" rIns="0" bIns="0" anchor="ct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ctr" defTabSz="1218956" rtl="0" eaLnBrk="1" fontAlgn="auto" latinLnBrk="0" hangingPunct="1">
              <a:lnSpc>
                <a:spcPct val="100000"/>
              </a:lnSpc>
              <a:spcBef>
                <a:spcPts val="0"/>
              </a:spcBef>
              <a:spcAft>
                <a:spcPts val="0"/>
              </a:spcAft>
              <a:buClrTx/>
              <a:buSzPct val="100000"/>
              <a:buFontTx/>
              <a:buNone/>
              <a:tabLst/>
              <a:defRPr/>
            </a:pPr>
            <a:r>
              <a:rPr kumimoji="0" lang="en-US" sz="900" b="1" i="0" u="none" strike="noStrike" kern="0" cap="none" spc="0" normalizeH="0" baseline="0" noProof="0">
                <a:ln>
                  <a:noFill/>
                </a:ln>
                <a:solidFill>
                  <a:srgbClr val="FFFFFF"/>
                </a:solidFill>
                <a:effectLst/>
                <a:uLnTx/>
                <a:uFillTx/>
                <a:latin typeface="IBM Plex Sans Light" panose="020B0403050203000203" pitchFamily="34" charset="0"/>
                <a:ea typeface="+mn-ea"/>
                <a:cs typeface="+mn-cs"/>
                <a:sym typeface="IBM Plex Sans Light"/>
              </a:rPr>
              <a:t>Fit-for-purpose Query Engines</a:t>
            </a:r>
          </a:p>
        </p:txBody>
      </p:sp>
      <p:sp>
        <p:nvSpPr>
          <p:cNvPr id="74" name="Shape 92">
            <a:extLst>
              <a:ext uri="{FF2B5EF4-FFF2-40B4-BE49-F238E27FC236}">
                <a16:creationId xmlns:a16="http://schemas.microsoft.com/office/drawing/2014/main" id="{DDAF54A7-A7B1-DA11-FEBE-0E4E2B592011}"/>
              </a:ext>
            </a:extLst>
          </p:cNvPr>
          <p:cNvSpPr/>
          <p:nvPr/>
        </p:nvSpPr>
        <p:spPr>
          <a:xfrm>
            <a:off x="10196857" y="1922361"/>
            <a:ext cx="1793535" cy="386375"/>
          </a:xfrm>
          <a:prstGeom prst="roundRect">
            <a:avLst>
              <a:gd name="adj" fmla="val 6887"/>
            </a:avLst>
          </a:prstGeom>
          <a:solidFill>
            <a:schemeClr val="accent1"/>
          </a:solidFill>
          <a:ln w="12700">
            <a:solidFill>
              <a:srgbClr val="0E61FF"/>
            </a:solidFill>
            <a:prstDash val="sysDot"/>
          </a:ln>
          <a:effectLst>
            <a:outerShdw blurRad="317500" dist="50800" dir="16200000" algn="bl" rotWithShape="0">
              <a:srgbClr val="000000">
                <a:alpha val="10000"/>
              </a:srgbClr>
            </a:outerShdw>
          </a:effectLst>
        </p:spPr>
        <p:txBody>
          <a:bodyPr lIns="0" tIns="0" rIns="0" bIns="0" anchor="ct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ctr" defTabSz="1218956" rtl="0" eaLnBrk="1" fontAlgn="auto" latinLnBrk="0" hangingPunct="1">
              <a:lnSpc>
                <a:spcPct val="100000"/>
              </a:lnSpc>
              <a:spcBef>
                <a:spcPts val="0"/>
              </a:spcBef>
              <a:spcAft>
                <a:spcPts val="0"/>
              </a:spcAft>
              <a:buClrTx/>
              <a:buSzPct val="100000"/>
              <a:buFontTx/>
              <a:buNone/>
              <a:tabLst/>
              <a:defRPr/>
            </a:pPr>
            <a:r>
              <a:rPr kumimoji="0" lang="en-US" sz="900" b="1" i="0" u="none" strike="noStrike" kern="0" cap="none" spc="0" normalizeH="0" baseline="0" noProof="0" dirty="0">
                <a:ln>
                  <a:noFill/>
                </a:ln>
                <a:solidFill>
                  <a:srgbClr val="FFFFFF"/>
                </a:solidFill>
                <a:effectLst/>
                <a:uLnTx/>
                <a:uFillTx/>
                <a:latin typeface="IBM Plex Sans Light" panose="020B0403050203000203" pitchFamily="34" charset="0"/>
                <a:ea typeface="+mn-ea"/>
                <a:cs typeface="+mn-cs"/>
                <a:sym typeface="IBM Plex Sans Light"/>
              </a:rPr>
              <a:t>Workloads</a:t>
            </a:r>
          </a:p>
        </p:txBody>
      </p:sp>
      <p:pic>
        <p:nvPicPr>
          <p:cNvPr id="2" name="Picture 1" descr="Download">
            <a:extLst>
              <a:ext uri="{FF2B5EF4-FFF2-40B4-BE49-F238E27FC236}">
                <a16:creationId xmlns:a16="http://schemas.microsoft.com/office/drawing/2014/main" id="{E1CC3749-2FFC-EE70-3285-A87E37D267F4}"/>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778335" y="3063944"/>
            <a:ext cx="974298" cy="1436719"/>
          </a:xfrm>
          <a:prstGeom prst="rect">
            <a:avLst/>
          </a:prstGeom>
          <a:noFill/>
          <a:ln w="12700">
            <a:solidFill>
              <a:schemeClr val="tx1">
                <a:lumMod val="50000"/>
                <a:lumOff val="50000"/>
              </a:schemeClr>
            </a:solidFill>
          </a:ln>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202C7EE1-E38B-CDA8-DB54-06B226EE3909}"/>
              </a:ext>
            </a:extLst>
          </p:cNvPr>
          <p:cNvSpPr txBox="1"/>
          <p:nvPr/>
        </p:nvSpPr>
        <p:spPr>
          <a:xfrm>
            <a:off x="1673527" y="2439517"/>
            <a:ext cx="974299" cy="553998"/>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marL="0" marR="0" lvl="0" indent="0" algn="l" defTabSz="1218956" rtl="0" eaLnBrk="1" fontAlgn="auto" latinLnBrk="0" hangingPunct="1">
              <a:lnSpc>
                <a:spcPct val="100000"/>
              </a:lnSpc>
              <a:spcBef>
                <a:spcPts val="0"/>
              </a:spcBef>
              <a:spcAft>
                <a:spcPts val="0"/>
              </a:spcAft>
              <a:buClrTx/>
              <a:buSzPct val="100000"/>
              <a:buFontTx/>
              <a:buNone/>
              <a:tabLst/>
              <a:defRPr/>
            </a:pPr>
            <a:r>
              <a:rPr kumimoji="0" lang="en-US" sz="1000" b="0" i="0" u="none" strike="noStrike" kern="0" cap="none" spc="0" normalizeH="0" baseline="0" noProof="0">
                <a:ln>
                  <a:noFill/>
                </a:ln>
                <a:solidFill>
                  <a:srgbClr val="000000"/>
                </a:solidFill>
                <a:effectLst/>
                <a:uLnTx/>
                <a:uFillTx/>
                <a:latin typeface="IBM Plex Sans Light" panose="020B0403050203000203" pitchFamily="34" charset="0"/>
                <a:ea typeface="+mn-ea"/>
                <a:cs typeface="+mn-cs"/>
                <a:sym typeface="IBM Plex Sans Light"/>
              </a:rPr>
              <a:t>Scanned document image / PDF</a:t>
            </a:r>
          </a:p>
        </p:txBody>
      </p:sp>
      <p:cxnSp>
        <p:nvCxnSpPr>
          <p:cNvPr id="43" name="Straight Arrow Connector 42">
            <a:extLst>
              <a:ext uri="{FF2B5EF4-FFF2-40B4-BE49-F238E27FC236}">
                <a16:creationId xmlns:a16="http://schemas.microsoft.com/office/drawing/2014/main" id="{6A5D8181-2C04-7270-65F0-D7BCAF8E14C7}"/>
              </a:ext>
            </a:extLst>
          </p:cNvPr>
          <p:cNvCxnSpPr>
            <a:cxnSpLocks/>
          </p:cNvCxnSpPr>
          <p:nvPr/>
        </p:nvCxnSpPr>
        <p:spPr bwMode="auto">
          <a:xfrm flipV="1">
            <a:off x="7407957" y="4029853"/>
            <a:ext cx="0" cy="1339375"/>
          </a:xfrm>
          <a:prstGeom prst="straightConnector1">
            <a:avLst/>
          </a:prstGeom>
          <a:ln w="12700">
            <a:solidFill>
              <a:schemeClr val="tx1">
                <a:lumMod val="65000"/>
                <a:lumOff val="35000"/>
              </a:schemeClr>
            </a:solidFill>
            <a:headEnd type="none" w="med" len="med"/>
            <a:tailEnd type="triangle" w="lg" len="lg"/>
          </a:ln>
          <a:effectLst/>
        </p:spPr>
        <p:style>
          <a:lnRef idx="1">
            <a:schemeClr val="dk1"/>
          </a:lnRef>
          <a:fillRef idx="0">
            <a:schemeClr val="dk1"/>
          </a:fillRef>
          <a:effectRef idx="0">
            <a:schemeClr val="dk1"/>
          </a:effectRef>
          <a:fontRef idx="minor">
            <a:schemeClr val="tx1"/>
          </a:fontRef>
        </p:style>
      </p:cxnSp>
      <p:cxnSp>
        <p:nvCxnSpPr>
          <p:cNvPr id="62" name="Straight Arrow Connector 61">
            <a:extLst>
              <a:ext uri="{FF2B5EF4-FFF2-40B4-BE49-F238E27FC236}">
                <a16:creationId xmlns:a16="http://schemas.microsoft.com/office/drawing/2014/main" id="{063A0911-96FD-1974-0FEF-9B53AD639207}"/>
              </a:ext>
            </a:extLst>
          </p:cNvPr>
          <p:cNvCxnSpPr>
            <a:cxnSpLocks/>
            <a:endCxn id="14" idx="2"/>
          </p:cNvCxnSpPr>
          <p:nvPr/>
        </p:nvCxnSpPr>
        <p:spPr bwMode="auto">
          <a:xfrm flipV="1">
            <a:off x="783863" y="4886707"/>
            <a:ext cx="1" cy="482521"/>
          </a:xfrm>
          <a:prstGeom prst="straightConnector1">
            <a:avLst/>
          </a:prstGeom>
          <a:ln w="12700">
            <a:solidFill>
              <a:schemeClr val="tx1">
                <a:lumMod val="65000"/>
                <a:lumOff val="35000"/>
              </a:schemeClr>
            </a:solidFill>
            <a:headEnd type="none" w="med" len="med"/>
            <a:tailEnd type="triangle" w="lg" len="lg"/>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924787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8C25E2-2185-31D7-A5A2-1CD197AE24D5}"/>
            </a:ext>
          </a:extLst>
        </p:cNvPr>
        <p:cNvGrpSpPr/>
        <p:nvPr/>
      </p:nvGrpSpPr>
      <p:grpSpPr>
        <a:xfrm>
          <a:off x="0" y="0"/>
          <a:ext cx="0" cy="0"/>
          <a:chOff x="0" y="0"/>
          <a:chExt cx="0" cy="0"/>
        </a:xfrm>
      </p:grpSpPr>
      <p:cxnSp>
        <p:nvCxnSpPr>
          <p:cNvPr id="39" name="Straight Connector 38">
            <a:extLst>
              <a:ext uri="{FF2B5EF4-FFF2-40B4-BE49-F238E27FC236}">
                <a16:creationId xmlns:a16="http://schemas.microsoft.com/office/drawing/2014/main" id="{C283C197-F88A-F10C-7327-E7E16BDBEA85}"/>
              </a:ext>
            </a:extLst>
          </p:cNvPr>
          <p:cNvCxnSpPr>
            <a:cxnSpLocks/>
          </p:cNvCxnSpPr>
          <p:nvPr/>
        </p:nvCxnSpPr>
        <p:spPr bwMode="auto">
          <a:xfrm>
            <a:off x="783863" y="5369228"/>
            <a:ext cx="6627597"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hape 92">
            <a:extLst>
              <a:ext uri="{FF2B5EF4-FFF2-40B4-BE49-F238E27FC236}">
                <a16:creationId xmlns:a16="http://schemas.microsoft.com/office/drawing/2014/main" id="{8FE213FA-9D66-CB97-BC70-8D6316D10F19}"/>
              </a:ext>
            </a:extLst>
          </p:cNvPr>
          <p:cNvSpPr/>
          <p:nvPr/>
        </p:nvSpPr>
        <p:spPr>
          <a:xfrm>
            <a:off x="10212674" y="1935345"/>
            <a:ext cx="1777718" cy="3688683"/>
          </a:xfrm>
          <a:prstGeom prst="roundRect">
            <a:avLst>
              <a:gd name="adj" fmla="val 6887"/>
            </a:avLst>
          </a:prstGeom>
          <a:solidFill>
            <a:schemeClr val="bg1"/>
          </a:solidFill>
          <a:ln w="12700">
            <a:solidFill>
              <a:srgbClr val="0E61FF"/>
            </a:solidFill>
            <a:prstDash val="sysDot"/>
          </a:ln>
          <a:effectLst>
            <a:outerShdw blurRad="317500" dist="50800" dir="16200000" algn="bl" rotWithShape="0">
              <a:srgbClr val="000000">
                <a:alpha val="10000"/>
              </a:srgbClr>
            </a:outerShdw>
          </a:effectLst>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1218956" rtl="0" eaLnBrk="1" fontAlgn="auto" latinLnBrk="0" hangingPunct="1">
              <a:lnSpc>
                <a:spcPct val="100000"/>
              </a:lnSpc>
              <a:spcBef>
                <a:spcPts val="0"/>
              </a:spcBef>
              <a:spcAft>
                <a:spcPts val="0"/>
              </a:spcAft>
              <a:buClrTx/>
              <a:buSzPct val="100000"/>
              <a:buFontTx/>
              <a:buNone/>
              <a:tabLst/>
              <a:defRPr/>
            </a:pPr>
            <a:endParaRPr kumimoji="0" lang="en-US" sz="1100" b="0" i="0" u="none" strike="noStrike" kern="0" cap="none" spc="0" normalizeH="0" baseline="0" noProof="0">
              <a:ln>
                <a:noFill/>
              </a:ln>
              <a:solidFill>
                <a:srgbClr val="000000"/>
              </a:solidFill>
              <a:effectLst/>
              <a:uLnTx/>
              <a:uFillTx/>
              <a:latin typeface="IBM Plex Sans Light" panose="020B0403050203000203" pitchFamily="34" charset="0"/>
              <a:ea typeface="+mn-ea"/>
              <a:cs typeface="+mn-cs"/>
              <a:sym typeface="IBM Plex Sans Light"/>
            </a:endParaRPr>
          </a:p>
        </p:txBody>
      </p:sp>
      <p:sp>
        <p:nvSpPr>
          <p:cNvPr id="15" name="Shape 92">
            <a:extLst>
              <a:ext uri="{FF2B5EF4-FFF2-40B4-BE49-F238E27FC236}">
                <a16:creationId xmlns:a16="http://schemas.microsoft.com/office/drawing/2014/main" id="{75461B01-0D04-D0E8-ED59-D47A976B3E21}"/>
              </a:ext>
            </a:extLst>
          </p:cNvPr>
          <p:cNvSpPr/>
          <p:nvPr/>
        </p:nvSpPr>
        <p:spPr>
          <a:xfrm>
            <a:off x="5007039" y="1939982"/>
            <a:ext cx="1469036" cy="2938270"/>
          </a:xfrm>
          <a:prstGeom prst="roundRect">
            <a:avLst>
              <a:gd name="adj" fmla="val 6887"/>
            </a:avLst>
          </a:prstGeom>
          <a:solidFill>
            <a:schemeClr val="bg1"/>
          </a:solidFill>
          <a:ln w="12700">
            <a:solidFill>
              <a:srgbClr val="0E61FF"/>
            </a:solidFill>
            <a:prstDash val="sysDot"/>
          </a:ln>
          <a:effectLst>
            <a:outerShdw blurRad="317500" dist="50800" dir="16200000" algn="bl" rotWithShape="0">
              <a:srgbClr val="000000">
                <a:alpha val="10000"/>
              </a:srgbClr>
            </a:outerShdw>
          </a:effectLst>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1218956" rtl="0" eaLnBrk="1" fontAlgn="auto" latinLnBrk="0" hangingPunct="1">
              <a:lnSpc>
                <a:spcPct val="100000"/>
              </a:lnSpc>
              <a:spcBef>
                <a:spcPts val="0"/>
              </a:spcBef>
              <a:spcAft>
                <a:spcPts val="0"/>
              </a:spcAft>
              <a:buClrTx/>
              <a:buSzPct val="100000"/>
              <a:buFontTx/>
              <a:buNone/>
              <a:tabLst/>
              <a:defRPr/>
            </a:pPr>
            <a:endParaRPr kumimoji="0" lang="en-US" sz="1100" b="0" i="0" u="none" strike="noStrike" kern="0" cap="none" spc="0" normalizeH="0" baseline="0" noProof="0">
              <a:ln>
                <a:noFill/>
              </a:ln>
              <a:solidFill>
                <a:srgbClr val="000000"/>
              </a:solidFill>
              <a:effectLst/>
              <a:uLnTx/>
              <a:uFillTx/>
              <a:latin typeface="IBM Plex Sans Light" panose="020B0403050203000203" pitchFamily="34" charset="0"/>
              <a:ea typeface="+mn-ea"/>
              <a:cs typeface="+mn-cs"/>
              <a:sym typeface="IBM Plex Sans Light"/>
            </a:endParaRPr>
          </a:p>
        </p:txBody>
      </p:sp>
      <p:cxnSp>
        <p:nvCxnSpPr>
          <p:cNvPr id="93" name="Straight Arrow Connector 92">
            <a:extLst>
              <a:ext uri="{FF2B5EF4-FFF2-40B4-BE49-F238E27FC236}">
                <a16:creationId xmlns:a16="http://schemas.microsoft.com/office/drawing/2014/main" id="{6FFEB9A9-93AB-929E-ADF0-97CD83BB353D}"/>
              </a:ext>
            </a:extLst>
          </p:cNvPr>
          <p:cNvCxnSpPr>
            <a:cxnSpLocks/>
          </p:cNvCxnSpPr>
          <p:nvPr/>
        </p:nvCxnSpPr>
        <p:spPr bwMode="auto">
          <a:xfrm>
            <a:off x="1342361" y="3652637"/>
            <a:ext cx="279045" cy="0"/>
          </a:xfrm>
          <a:prstGeom prst="straightConnector1">
            <a:avLst/>
          </a:prstGeom>
          <a:ln w="12700">
            <a:solidFill>
              <a:schemeClr val="tx1">
                <a:lumMod val="65000"/>
                <a:lumOff val="35000"/>
              </a:schemeClr>
            </a:solidFill>
            <a:headEnd type="none" w="med" len="med"/>
            <a:tailEnd type="triangle" w="lg" len="lg"/>
          </a:ln>
          <a:effectLst/>
        </p:spPr>
        <p:style>
          <a:lnRef idx="1">
            <a:schemeClr val="dk1"/>
          </a:lnRef>
          <a:fillRef idx="0">
            <a:schemeClr val="dk1"/>
          </a:fillRef>
          <a:effectRef idx="0">
            <a:schemeClr val="dk1"/>
          </a:effectRef>
          <a:fontRef idx="minor">
            <a:schemeClr val="tx1"/>
          </a:fontRef>
        </p:style>
      </p:cxnSp>
      <p:cxnSp>
        <p:nvCxnSpPr>
          <p:cNvPr id="104" name="Straight Arrow Connector 103">
            <a:extLst>
              <a:ext uri="{FF2B5EF4-FFF2-40B4-BE49-F238E27FC236}">
                <a16:creationId xmlns:a16="http://schemas.microsoft.com/office/drawing/2014/main" id="{BFD2B22D-691D-B3D1-069C-1EDF1EE27093}"/>
              </a:ext>
            </a:extLst>
          </p:cNvPr>
          <p:cNvCxnSpPr>
            <a:cxnSpLocks/>
          </p:cNvCxnSpPr>
          <p:nvPr/>
        </p:nvCxnSpPr>
        <p:spPr bwMode="auto">
          <a:xfrm flipV="1">
            <a:off x="4318600" y="3663665"/>
            <a:ext cx="655347" cy="4539"/>
          </a:xfrm>
          <a:prstGeom prst="straightConnector1">
            <a:avLst/>
          </a:prstGeom>
          <a:ln w="12700">
            <a:solidFill>
              <a:schemeClr val="tx1">
                <a:lumMod val="65000"/>
                <a:lumOff val="35000"/>
              </a:schemeClr>
            </a:solidFill>
            <a:headEnd type="none" w="med" len="med"/>
            <a:tailEnd type="triangle" w="lg" len="lg"/>
          </a:ln>
          <a:effectLst/>
        </p:spPr>
        <p:style>
          <a:lnRef idx="1">
            <a:schemeClr val="dk1"/>
          </a:lnRef>
          <a:fillRef idx="0">
            <a:schemeClr val="dk1"/>
          </a:fillRef>
          <a:effectRef idx="0">
            <a:schemeClr val="dk1"/>
          </a:effectRef>
          <a:fontRef idx="minor">
            <a:schemeClr val="tx1"/>
          </a:fontRef>
        </p:style>
      </p:cxnSp>
      <p:cxnSp>
        <p:nvCxnSpPr>
          <p:cNvPr id="106" name="Elbow Connector 105">
            <a:extLst>
              <a:ext uri="{FF2B5EF4-FFF2-40B4-BE49-F238E27FC236}">
                <a16:creationId xmlns:a16="http://schemas.microsoft.com/office/drawing/2014/main" id="{5C73BDED-B848-2BC7-9D06-890A31D7A7FB}"/>
              </a:ext>
            </a:extLst>
          </p:cNvPr>
          <p:cNvCxnSpPr>
            <a:cxnSpLocks/>
          </p:cNvCxnSpPr>
          <p:nvPr/>
        </p:nvCxnSpPr>
        <p:spPr bwMode="auto">
          <a:xfrm flipV="1">
            <a:off x="4405213" y="2805427"/>
            <a:ext cx="586084" cy="867690"/>
          </a:xfrm>
          <a:prstGeom prst="bentConnector3">
            <a:avLst/>
          </a:prstGeom>
          <a:ln w="12700">
            <a:solidFill>
              <a:schemeClr val="tx1">
                <a:lumMod val="65000"/>
                <a:lumOff val="35000"/>
              </a:schemeClr>
            </a:solidFill>
            <a:headEnd type="none" w="med" len="med"/>
            <a:tailEnd type="triangle" w="lg" len="lg"/>
          </a:ln>
          <a:effectLst/>
        </p:spPr>
        <p:style>
          <a:lnRef idx="1">
            <a:schemeClr val="dk1"/>
          </a:lnRef>
          <a:fillRef idx="0">
            <a:schemeClr val="dk1"/>
          </a:fillRef>
          <a:effectRef idx="0">
            <a:schemeClr val="dk1"/>
          </a:effectRef>
          <a:fontRef idx="minor">
            <a:schemeClr val="tx1"/>
          </a:fontRef>
        </p:style>
      </p:cxnSp>
      <p:cxnSp>
        <p:nvCxnSpPr>
          <p:cNvPr id="107" name="Elbow Connector 106">
            <a:extLst>
              <a:ext uri="{FF2B5EF4-FFF2-40B4-BE49-F238E27FC236}">
                <a16:creationId xmlns:a16="http://schemas.microsoft.com/office/drawing/2014/main" id="{A485EFB8-FF8D-072E-47CB-C45FE3B04827}"/>
              </a:ext>
            </a:extLst>
          </p:cNvPr>
          <p:cNvCxnSpPr>
            <a:cxnSpLocks/>
          </p:cNvCxnSpPr>
          <p:nvPr/>
        </p:nvCxnSpPr>
        <p:spPr bwMode="auto">
          <a:xfrm>
            <a:off x="4405213" y="3674434"/>
            <a:ext cx="586084" cy="788809"/>
          </a:xfrm>
          <a:prstGeom prst="bentConnector3">
            <a:avLst/>
          </a:prstGeom>
          <a:ln w="12700">
            <a:solidFill>
              <a:schemeClr val="tx1">
                <a:lumMod val="65000"/>
                <a:lumOff val="35000"/>
              </a:schemeClr>
            </a:solidFill>
            <a:headEnd type="none" w="med" len="med"/>
            <a:tailEnd type="triangle" w="lg" len="lg"/>
          </a:ln>
          <a:effectLst/>
        </p:spPr>
        <p:style>
          <a:lnRef idx="1">
            <a:schemeClr val="dk1"/>
          </a:lnRef>
          <a:fillRef idx="0">
            <a:schemeClr val="dk1"/>
          </a:fillRef>
          <a:effectRef idx="0">
            <a:schemeClr val="dk1"/>
          </a:effectRef>
          <a:fontRef idx="minor">
            <a:schemeClr val="tx1"/>
          </a:fontRef>
        </p:style>
      </p:cxnSp>
      <p:cxnSp>
        <p:nvCxnSpPr>
          <p:cNvPr id="109" name="Straight Arrow Connector 108">
            <a:extLst>
              <a:ext uri="{FF2B5EF4-FFF2-40B4-BE49-F238E27FC236}">
                <a16:creationId xmlns:a16="http://schemas.microsoft.com/office/drawing/2014/main" id="{7D610D1C-DED4-0594-7C5E-F3E2EE45A9AF}"/>
              </a:ext>
            </a:extLst>
          </p:cNvPr>
          <p:cNvCxnSpPr>
            <a:cxnSpLocks/>
          </p:cNvCxnSpPr>
          <p:nvPr/>
        </p:nvCxnSpPr>
        <p:spPr bwMode="auto">
          <a:xfrm flipV="1">
            <a:off x="6379543" y="3650468"/>
            <a:ext cx="351979" cy="0"/>
          </a:xfrm>
          <a:prstGeom prst="straightConnector1">
            <a:avLst/>
          </a:prstGeom>
          <a:ln w="12700">
            <a:solidFill>
              <a:schemeClr val="tx1">
                <a:lumMod val="65000"/>
                <a:lumOff val="35000"/>
              </a:schemeClr>
            </a:solidFill>
            <a:headEnd type="none" w="med" len="med"/>
            <a:tailEnd type="triangle" w="lg" len="lg"/>
          </a:ln>
          <a:effectLst/>
        </p:spPr>
        <p:style>
          <a:lnRef idx="1">
            <a:schemeClr val="dk1"/>
          </a:lnRef>
          <a:fillRef idx="0">
            <a:schemeClr val="dk1"/>
          </a:fillRef>
          <a:effectRef idx="0">
            <a:schemeClr val="dk1"/>
          </a:effectRef>
          <a:fontRef idx="minor">
            <a:schemeClr val="tx1"/>
          </a:fontRef>
        </p:style>
      </p:cxnSp>
      <p:cxnSp>
        <p:nvCxnSpPr>
          <p:cNvPr id="111" name="Straight Arrow Connector 110">
            <a:extLst>
              <a:ext uri="{FF2B5EF4-FFF2-40B4-BE49-F238E27FC236}">
                <a16:creationId xmlns:a16="http://schemas.microsoft.com/office/drawing/2014/main" id="{D110B18D-C3D1-199C-6F6D-1ABE6DB20C25}"/>
              </a:ext>
            </a:extLst>
          </p:cNvPr>
          <p:cNvCxnSpPr>
            <a:cxnSpLocks/>
          </p:cNvCxnSpPr>
          <p:nvPr/>
        </p:nvCxnSpPr>
        <p:spPr bwMode="auto">
          <a:xfrm flipV="1">
            <a:off x="7386359" y="3048353"/>
            <a:ext cx="0" cy="214151"/>
          </a:xfrm>
          <a:prstGeom prst="straightConnector1">
            <a:avLst/>
          </a:prstGeom>
          <a:ln w="12700">
            <a:solidFill>
              <a:schemeClr val="tx1">
                <a:lumMod val="65000"/>
                <a:lumOff val="35000"/>
              </a:schemeClr>
            </a:solidFill>
            <a:headEnd type="none" w="med" len="med"/>
            <a:tailEnd type="triangle" w="lg" len="lg"/>
          </a:ln>
          <a:effectLst/>
        </p:spPr>
        <p:style>
          <a:lnRef idx="1">
            <a:schemeClr val="dk1"/>
          </a:lnRef>
          <a:fillRef idx="0">
            <a:schemeClr val="dk1"/>
          </a:fillRef>
          <a:effectRef idx="0">
            <a:schemeClr val="dk1"/>
          </a:effectRef>
          <a:fontRef idx="minor">
            <a:schemeClr val="tx1"/>
          </a:fontRef>
        </p:style>
      </p:cxnSp>
      <p:cxnSp>
        <p:nvCxnSpPr>
          <p:cNvPr id="132" name="Straight Arrow Connector 131">
            <a:extLst>
              <a:ext uri="{FF2B5EF4-FFF2-40B4-BE49-F238E27FC236}">
                <a16:creationId xmlns:a16="http://schemas.microsoft.com/office/drawing/2014/main" id="{E2B67170-EE55-D943-DCF7-AA5259D5BE03}"/>
              </a:ext>
            </a:extLst>
          </p:cNvPr>
          <p:cNvCxnSpPr>
            <a:cxnSpLocks/>
          </p:cNvCxnSpPr>
          <p:nvPr/>
        </p:nvCxnSpPr>
        <p:spPr bwMode="auto">
          <a:xfrm>
            <a:off x="5721054" y="3833499"/>
            <a:ext cx="0" cy="324902"/>
          </a:xfrm>
          <a:prstGeom prst="straightConnector1">
            <a:avLst/>
          </a:prstGeom>
          <a:ln w="12700">
            <a:solidFill>
              <a:schemeClr val="tx1">
                <a:lumMod val="65000"/>
                <a:lumOff val="35000"/>
              </a:schemeClr>
            </a:solidFill>
            <a:headEnd type="none" w="med" len="med"/>
            <a:tailEnd type="triangle" w="lg" len="lg"/>
          </a:ln>
          <a:effectLst/>
        </p:spPr>
        <p:style>
          <a:lnRef idx="1">
            <a:schemeClr val="dk1"/>
          </a:lnRef>
          <a:fillRef idx="0">
            <a:schemeClr val="dk1"/>
          </a:fillRef>
          <a:effectRef idx="0">
            <a:schemeClr val="dk1"/>
          </a:effectRef>
          <a:fontRef idx="minor">
            <a:schemeClr val="tx1"/>
          </a:fontRef>
        </p:style>
      </p:cxnSp>
      <p:sp>
        <p:nvSpPr>
          <p:cNvPr id="136" name="TextBox 135">
            <a:extLst>
              <a:ext uri="{FF2B5EF4-FFF2-40B4-BE49-F238E27FC236}">
                <a16:creationId xmlns:a16="http://schemas.microsoft.com/office/drawing/2014/main" id="{38A68F03-B66F-C708-95B5-3F597F069456}"/>
              </a:ext>
            </a:extLst>
          </p:cNvPr>
          <p:cNvSpPr txBox="1"/>
          <p:nvPr/>
        </p:nvSpPr>
        <p:spPr>
          <a:xfrm>
            <a:off x="2908577" y="5271429"/>
            <a:ext cx="1957285" cy="205411"/>
          </a:xfrm>
          <a:prstGeom prst="rect">
            <a:avLst/>
          </a:prstGeom>
          <a:solidFill>
            <a:schemeClr val="bg1"/>
          </a:solidFill>
          <a:ln w="12700">
            <a:solidFill>
              <a:srgbClr val="161616"/>
            </a:solid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91428" tIns="68571" rIns="91428" bIns="68571" rtlCol="0" anchor="ctr">
            <a:noAutofit/>
          </a:bodyPr>
          <a:lstStyle/>
          <a:p>
            <a:pPr marL="0" marR="0" lvl="0" indent="0" algn="ctr" defTabSz="1218956" rtl="0" eaLnBrk="1" fontAlgn="auto" latinLnBrk="0" hangingPunct="1">
              <a:lnSpc>
                <a:spcPct val="100000"/>
              </a:lnSpc>
              <a:spcBef>
                <a:spcPts val="0"/>
              </a:spcBef>
              <a:spcAft>
                <a:spcPts val="0"/>
              </a:spcAft>
              <a:buClrTx/>
              <a:buSzPct val="100000"/>
              <a:buFontTx/>
              <a:buNone/>
              <a:tabLst/>
              <a:defRPr/>
            </a:pPr>
            <a:r>
              <a:rPr kumimoji="0" lang="en-US" sz="800" b="0" i="0" u="none" strike="noStrike" kern="0" cap="none" spc="0" normalizeH="0" baseline="0" noProof="0" dirty="0">
                <a:ln>
                  <a:noFill/>
                </a:ln>
                <a:solidFill>
                  <a:srgbClr val="000000"/>
                </a:solidFill>
                <a:effectLst/>
                <a:uLnTx/>
                <a:uFillTx/>
                <a:latin typeface="IBM Plex Sans Medm" panose="020B0503050203000203" pitchFamily="34" charset="0"/>
                <a:ea typeface="+mn-ea"/>
                <a:cs typeface="+mn-cs"/>
                <a:sym typeface="IBM Plex Sans Light"/>
              </a:rPr>
              <a:t>User/data access policies/decisions</a:t>
            </a:r>
          </a:p>
        </p:txBody>
      </p:sp>
      <p:sp>
        <p:nvSpPr>
          <p:cNvPr id="3" name="Slide Number Placeholder 1">
            <a:extLst>
              <a:ext uri="{FF2B5EF4-FFF2-40B4-BE49-F238E27FC236}">
                <a16:creationId xmlns:a16="http://schemas.microsoft.com/office/drawing/2014/main" id="{8E079766-AD51-E187-5DA4-36E17E866994}"/>
              </a:ext>
            </a:extLst>
          </p:cNvPr>
          <p:cNvSpPr txBox="1">
            <a:spLocks/>
          </p:cNvSpPr>
          <p:nvPr/>
        </p:nvSpPr>
        <p:spPr>
          <a:xfrm>
            <a:off x="11843785" y="6469015"/>
            <a:ext cx="60915" cy="123111"/>
          </a:xfrm>
          <a:prstGeom prst="rect">
            <a:avLst/>
          </a:prstGeom>
          <a:ln w="12700">
            <a:miter lim="400000"/>
          </a:ln>
        </p:spPr>
        <p:txBody>
          <a:bodyPr wrap="none" lIns="0" tIns="0" rIns="0" bIns="0" anchor="ctr" anchorCtr="0">
            <a:spAutoFit/>
          </a:bodyPr>
          <a:lstStyle>
            <a:defPPr>
              <a:defRPr lang="en-US"/>
            </a:defPPr>
            <a:lvl1pPr marL="0" algn="r" defTabSz="914400" rtl="0" eaLnBrk="1" latinLnBrk="0" hangingPunct="1">
              <a:defRPr sz="800" b="0" i="0" kern="1200">
                <a:solidFill>
                  <a:schemeClr val="tx1"/>
                </a:solidFill>
                <a:latin typeface="IBM Plex Sans" panose="020B0503050203000203" pitchFamily="34" charset="0"/>
                <a:ea typeface="+mn-ea"/>
                <a:cs typeface="+mn-cs"/>
                <a:sym typeface="IBM Plex San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507" rtl="0" eaLnBrk="1" fontAlgn="auto" latinLnBrk="0" hangingPunct="1">
              <a:lnSpc>
                <a:spcPct val="100000"/>
              </a:lnSpc>
              <a:spcBef>
                <a:spcPts val="0"/>
              </a:spcBef>
              <a:spcAft>
                <a:spcPts val="0"/>
              </a:spcAft>
              <a:buClrTx/>
              <a:buSzTx/>
              <a:buFontTx/>
              <a:buNone/>
              <a:tabLst/>
              <a:defRPr/>
            </a:pPr>
            <a:fld id="{86CB4B4D-7CA3-9044-876B-883B54F8677D}" type="slidenum">
              <a:rPr kumimoji="0" lang="en-US" sz="800" b="0" i="0" u="none" strike="noStrike" kern="1200" cap="none" spc="0" normalizeH="0" baseline="0" noProof="0" dirty="0" smtClean="0">
                <a:ln>
                  <a:noFill/>
                </a:ln>
                <a:solidFill>
                  <a:srgbClr val="000000"/>
                </a:solidFill>
                <a:effectLst/>
                <a:uLnTx/>
                <a:uFillTx/>
                <a:latin typeface="IBM Plex Sans" panose="020B0503050203000203" pitchFamily="34" charset="0"/>
                <a:ea typeface="+mn-ea"/>
                <a:cs typeface="+mn-cs"/>
                <a:sym typeface="IBM Plex Sans"/>
              </a:rPr>
              <a:pPr marL="0" marR="0" lvl="0" indent="0" algn="r" defTabSz="914507" rtl="0" eaLnBrk="1" fontAlgn="auto" latinLnBrk="0" hangingPunct="1">
                <a:lnSpc>
                  <a:spcPct val="100000"/>
                </a:lnSpc>
                <a:spcBef>
                  <a:spcPts val="0"/>
                </a:spcBef>
                <a:spcAft>
                  <a:spcPts val="0"/>
                </a:spcAft>
                <a:buClrTx/>
                <a:buSzTx/>
                <a:buFontTx/>
                <a:buNone/>
                <a:tabLst/>
                <a:defRPr/>
              </a:pPr>
              <a:t>12</a:t>
            </a:fld>
            <a:endParaRPr kumimoji="0" lang="en-US" sz="8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sym typeface="IBM Plex Sans"/>
            </a:endParaRPr>
          </a:p>
        </p:txBody>
      </p:sp>
      <p:sp>
        <p:nvSpPr>
          <p:cNvPr id="10" name="Hexagon 9">
            <a:extLst>
              <a:ext uri="{FF2B5EF4-FFF2-40B4-BE49-F238E27FC236}">
                <a16:creationId xmlns:a16="http://schemas.microsoft.com/office/drawing/2014/main" id="{6050D136-D575-AC4D-2C1D-F86CDC03E2FA}"/>
              </a:ext>
            </a:extLst>
          </p:cNvPr>
          <p:cNvSpPr/>
          <p:nvPr/>
        </p:nvSpPr>
        <p:spPr bwMode="auto">
          <a:xfrm>
            <a:off x="3205164" y="3275026"/>
            <a:ext cx="1325448" cy="798604"/>
          </a:xfrm>
          <a:prstGeom prst="hexagon">
            <a:avLst/>
          </a:prstGeom>
          <a:solidFill>
            <a:schemeClr val="accent1"/>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Pct val="100000"/>
              <a:buFontTx/>
              <a:buNone/>
              <a:tabLst/>
              <a:defRPr/>
            </a:pPr>
            <a:endParaRPr kumimoji="0" lang="en-US" sz="1000" b="0" i="0" u="none" strike="noStrike" kern="0" cap="none" spc="0" normalizeH="0" baseline="0" noProof="0">
              <a:ln>
                <a:noFill/>
              </a:ln>
              <a:solidFill>
                <a:srgbClr val="FFFFFF"/>
              </a:solidFill>
              <a:effectLst/>
              <a:uLnTx/>
              <a:uFillTx/>
              <a:latin typeface="IBM Plex Sans Light" panose="020B0403050203000203" pitchFamily="34" charset="0"/>
              <a:ea typeface="+mn-ea"/>
              <a:cs typeface="+mn-cs"/>
              <a:sym typeface="IBM Plex Sans Light"/>
            </a:endParaRPr>
          </a:p>
          <a:p>
            <a:pPr marL="0" marR="0" lvl="0" indent="0" algn="l" defTabSz="1218956" rtl="0" eaLnBrk="1" fontAlgn="auto" latinLnBrk="0" hangingPunct="1">
              <a:lnSpc>
                <a:spcPct val="100000"/>
              </a:lnSpc>
              <a:spcBef>
                <a:spcPts val="0"/>
              </a:spcBef>
              <a:spcAft>
                <a:spcPts val="0"/>
              </a:spcAft>
              <a:buClrTx/>
              <a:buSzPct val="100000"/>
              <a:buFontTx/>
              <a:buNone/>
              <a:tabLst/>
              <a:defRPr/>
            </a:pPr>
            <a:r>
              <a:rPr kumimoji="0" lang="en-US" sz="900" b="0" i="0" u="none" strike="noStrike" kern="0" cap="none" spc="0" normalizeH="0" baseline="0" noProof="0">
                <a:ln>
                  <a:noFill/>
                </a:ln>
                <a:solidFill>
                  <a:srgbClr val="FFFFFF"/>
                </a:solidFill>
                <a:effectLst/>
                <a:uLnTx/>
                <a:uFillTx/>
                <a:latin typeface="IBM Plex Sans Light" panose="020B0403050203000203" pitchFamily="34" charset="0"/>
                <a:ea typeface="+mn-ea"/>
                <a:cs typeface="+mn-cs"/>
                <a:sym typeface="IBM Plex Sans Light"/>
              </a:rPr>
              <a:t>Ingest and </a:t>
            </a:r>
          </a:p>
          <a:p>
            <a:pPr marL="0" marR="0" lvl="0" indent="0" algn="l" defTabSz="1218956" rtl="0" eaLnBrk="1" fontAlgn="auto" latinLnBrk="0" hangingPunct="1">
              <a:lnSpc>
                <a:spcPct val="100000"/>
              </a:lnSpc>
              <a:spcBef>
                <a:spcPts val="0"/>
              </a:spcBef>
              <a:spcAft>
                <a:spcPts val="0"/>
              </a:spcAft>
              <a:buClrTx/>
              <a:buSzPct val="100000"/>
              <a:buFontTx/>
              <a:buNone/>
              <a:tabLst/>
              <a:defRPr/>
            </a:pPr>
            <a:r>
              <a:rPr kumimoji="0" lang="en-US" sz="900" b="0" i="0" u="none" strike="noStrike" kern="0" cap="none" spc="0" normalizeH="0" baseline="0" noProof="0">
                <a:ln>
                  <a:noFill/>
                </a:ln>
                <a:solidFill>
                  <a:srgbClr val="FFFFFF"/>
                </a:solidFill>
                <a:effectLst/>
                <a:uLnTx/>
                <a:uFillTx/>
                <a:latin typeface="IBM Plex Sans Light" panose="020B0403050203000203" pitchFamily="34" charset="0"/>
                <a:ea typeface="+mn-ea"/>
                <a:cs typeface="+mn-cs"/>
                <a:sym typeface="IBM Plex Sans Light"/>
              </a:rPr>
              <a:t>pre-processing pipelines</a:t>
            </a:r>
            <a:endParaRPr kumimoji="0" lang="en-US" sz="900" b="0" i="0" u="none" strike="noStrike" kern="0" cap="none" spc="0" normalizeH="0" baseline="0" noProof="0">
              <a:ln>
                <a:noFill/>
              </a:ln>
              <a:solidFill>
                <a:srgbClr val="FFFFFF"/>
              </a:solidFill>
              <a:effectLst/>
              <a:uLnTx/>
              <a:uFillTx/>
              <a:latin typeface="IBM Plex Sans Light" panose="020B0403050203000203" pitchFamily="34" charset="0"/>
              <a:ea typeface="+mn-ea"/>
              <a:cs typeface="+mn-cs"/>
            </a:endParaRPr>
          </a:p>
        </p:txBody>
      </p:sp>
      <p:sp>
        <p:nvSpPr>
          <p:cNvPr id="11" name="Hexagon 10">
            <a:extLst>
              <a:ext uri="{FF2B5EF4-FFF2-40B4-BE49-F238E27FC236}">
                <a16:creationId xmlns:a16="http://schemas.microsoft.com/office/drawing/2014/main" id="{AB272493-C89D-B32C-7117-F424FEAF3042}"/>
              </a:ext>
            </a:extLst>
          </p:cNvPr>
          <p:cNvSpPr/>
          <p:nvPr/>
        </p:nvSpPr>
        <p:spPr bwMode="auto">
          <a:xfrm>
            <a:off x="6744187" y="3231249"/>
            <a:ext cx="1337543" cy="798604"/>
          </a:xfrm>
          <a:prstGeom prst="hexagon">
            <a:avLst/>
          </a:prstGeom>
          <a:solidFill>
            <a:schemeClr val="accent1"/>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914507" rtl="0" eaLnBrk="1" fontAlgn="auto" latinLnBrk="0" hangingPunct="1">
              <a:lnSpc>
                <a:spcPct val="100000"/>
              </a:lnSpc>
              <a:spcBef>
                <a:spcPts val="0"/>
              </a:spcBef>
              <a:spcAft>
                <a:spcPts val="0"/>
              </a:spcAft>
              <a:buClrTx/>
              <a:buSzTx/>
              <a:buFontTx/>
              <a:buNone/>
              <a:tabLst/>
              <a:defRPr/>
            </a:pPr>
            <a:br>
              <a:rPr kumimoji="0" lang="en-US" sz="1000" b="0" i="0" u="none" strike="noStrike" kern="1200" cap="none" spc="0" normalizeH="0" baseline="0" noProof="0">
                <a:ln>
                  <a:noFill/>
                </a:ln>
                <a:solidFill>
                  <a:srgbClr val="FFFFFF"/>
                </a:solidFill>
                <a:effectLst/>
                <a:uLnTx/>
                <a:uFillTx/>
                <a:latin typeface="IBM Plex Sans Light" panose="020B0403050203000203" pitchFamily="34" charset="0"/>
                <a:ea typeface="+mn-ea"/>
                <a:cs typeface="+mn-cs"/>
                <a:sym typeface="IBM Plex Sans Light"/>
              </a:rPr>
            </a:br>
            <a:r>
              <a:rPr kumimoji="0" lang="en-US" sz="900" b="0" i="0" u="none" strike="noStrike" kern="1200" cap="none" spc="0" normalizeH="0" baseline="0" noProof="0">
                <a:ln>
                  <a:noFill/>
                </a:ln>
                <a:solidFill>
                  <a:srgbClr val="FFFFFF"/>
                </a:solidFill>
                <a:effectLst/>
                <a:uLnTx/>
                <a:uFillTx/>
                <a:latin typeface="IBM Plex Sans Light" panose="020B0403050203000203" pitchFamily="34" charset="0"/>
                <a:ea typeface="+mn-ea"/>
                <a:cs typeface="+mn-cs"/>
                <a:sym typeface="IBM Plex Sans Light"/>
              </a:rPr>
              <a:t>Integrated data governance and user auth.</a:t>
            </a:r>
          </a:p>
        </p:txBody>
      </p:sp>
      <p:sp>
        <p:nvSpPr>
          <p:cNvPr id="12" name="TextBox 11">
            <a:extLst>
              <a:ext uri="{FF2B5EF4-FFF2-40B4-BE49-F238E27FC236}">
                <a16:creationId xmlns:a16="http://schemas.microsoft.com/office/drawing/2014/main" id="{C74A9BC3-50C3-9173-F69D-2B7CBA456E8B}"/>
              </a:ext>
            </a:extLst>
          </p:cNvPr>
          <p:cNvSpPr txBox="1"/>
          <p:nvPr/>
        </p:nvSpPr>
        <p:spPr>
          <a:xfrm>
            <a:off x="3219692" y="3345550"/>
            <a:ext cx="1312840" cy="246221"/>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marL="0" marR="0" lvl="0" indent="0" algn="ctr" defTabSz="1218956" rtl="0" eaLnBrk="1" fontAlgn="auto" latinLnBrk="0" hangingPunct="1">
              <a:lnSpc>
                <a:spcPct val="100000"/>
              </a:lnSpc>
              <a:spcBef>
                <a:spcPts val="0"/>
              </a:spcBef>
              <a:spcAft>
                <a:spcPts val="0"/>
              </a:spcAft>
              <a:buClrTx/>
              <a:buSzPct val="100000"/>
              <a:buFontTx/>
              <a:buNone/>
              <a:tabLst/>
              <a:defRPr/>
            </a:pPr>
            <a:r>
              <a:rPr kumimoji="0" lang="en-US" sz="1000" b="1" i="0" u="none" strike="noStrike" kern="0" cap="none" spc="0" normalizeH="0" baseline="0" noProof="0" dirty="0">
                <a:ln>
                  <a:noFill/>
                </a:ln>
                <a:solidFill>
                  <a:srgbClr val="FFFFFF"/>
                </a:solidFill>
                <a:effectLst/>
                <a:uLnTx/>
                <a:uFillTx/>
                <a:latin typeface="IBM Plex Sans Light" panose="020B0403050203000203" pitchFamily="34" charset="0"/>
                <a:ea typeface="+mn-ea"/>
                <a:cs typeface="+mn-cs"/>
                <a:sym typeface="IBM Plex Sans Light"/>
              </a:rPr>
              <a:t>Data integration</a:t>
            </a:r>
          </a:p>
        </p:txBody>
      </p:sp>
      <p:sp>
        <p:nvSpPr>
          <p:cNvPr id="13" name="TextBox 12">
            <a:extLst>
              <a:ext uri="{FF2B5EF4-FFF2-40B4-BE49-F238E27FC236}">
                <a16:creationId xmlns:a16="http://schemas.microsoft.com/office/drawing/2014/main" id="{D63BDF80-81DE-0975-EBDD-08D5B8C2B1FE}"/>
              </a:ext>
            </a:extLst>
          </p:cNvPr>
          <p:cNvSpPr txBox="1"/>
          <p:nvPr/>
        </p:nvSpPr>
        <p:spPr>
          <a:xfrm>
            <a:off x="6765051" y="3292506"/>
            <a:ext cx="1312840" cy="246221"/>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marL="0" marR="0" lvl="0" indent="0" algn="ctr" defTabSz="1218956" rtl="0" eaLnBrk="1" fontAlgn="auto" latinLnBrk="0" hangingPunct="1">
              <a:lnSpc>
                <a:spcPct val="100000"/>
              </a:lnSpc>
              <a:spcBef>
                <a:spcPts val="0"/>
              </a:spcBef>
              <a:spcAft>
                <a:spcPts val="0"/>
              </a:spcAft>
              <a:buClrTx/>
              <a:buSzPct val="100000"/>
              <a:buFontTx/>
              <a:buNone/>
              <a:tabLst/>
              <a:defRPr/>
            </a:pPr>
            <a:r>
              <a:rPr kumimoji="0" lang="en-US" sz="1000" b="1" i="0" u="none" strike="noStrike" kern="0" cap="none" spc="0" normalizeH="0" baseline="0" noProof="0" dirty="0">
                <a:ln>
                  <a:noFill/>
                </a:ln>
                <a:solidFill>
                  <a:srgbClr val="FFFFFF"/>
                </a:solidFill>
                <a:effectLst/>
                <a:uLnTx/>
                <a:uFillTx/>
                <a:latin typeface="IBM Plex Sans Light" panose="020B0403050203000203" pitchFamily="34" charset="0"/>
                <a:ea typeface="+mn-ea"/>
                <a:cs typeface="+mn-cs"/>
                <a:sym typeface="IBM Plex Sans Light"/>
              </a:rPr>
              <a:t>Data intelligence</a:t>
            </a:r>
          </a:p>
        </p:txBody>
      </p:sp>
      <p:cxnSp>
        <p:nvCxnSpPr>
          <p:cNvPr id="22" name="Straight Arrow Connector 21">
            <a:extLst>
              <a:ext uri="{FF2B5EF4-FFF2-40B4-BE49-F238E27FC236}">
                <a16:creationId xmlns:a16="http://schemas.microsoft.com/office/drawing/2014/main" id="{43145BC9-EF6E-DDA5-03CE-80F02404C84C}"/>
              </a:ext>
            </a:extLst>
          </p:cNvPr>
          <p:cNvCxnSpPr>
            <a:cxnSpLocks/>
          </p:cNvCxnSpPr>
          <p:nvPr/>
        </p:nvCxnSpPr>
        <p:spPr bwMode="auto">
          <a:xfrm flipV="1">
            <a:off x="2854197" y="3665538"/>
            <a:ext cx="345009" cy="0"/>
          </a:xfrm>
          <a:prstGeom prst="straightConnector1">
            <a:avLst/>
          </a:prstGeom>
          <a:ln w="12700">
            <a:solidFill>
              <a:schemeClr val="tx1">
                <a:lumMod val="65000"/>
                <a:lumOff val="35000"/>
              </a:schemeClr>
            </a:solidFill>
            <a:headEnd type="none" w="med" len="med"/>
            <a:tailEnd type="triangle" w="lg" len="lg"/>
          </a:ln>
          <a:effectLst/>
        </p:spPr>
        <p:style>
          <a:lnRef idx="1">
            <a:schemeClr val="dk1"/>
          </a:lnRef>
          <a:fillRef idx="0">
            <a:schemeClr val="dk1"/>
          </a:fillRef>
          <a:effectRef idx="0">
            <a:schemeClr val="dk1"/>
          </a:effectRef>
          <a:fontRef idx="minor">
            <a:schemeClr val="tx1"/>
          </a:fontRef>
        </p:style>
      </p:cxnSp>
      <p:grpSp>
        <p:nvGrpSpPr>
          <p:cNvPr id="44" name="Group 43">
            <a:extLst>
              <a:ext uri="{FF2B5EF4-FFF2-40B4-BE49-F238E27FC236}">
                <a16:creationId xmlns:a16="http://schemas.microsoft.com/office/drawing/2014/main" id="{F123717B-9004-4CEC-3C54-21361FBB1493}"/>
              </a:ext>
            </a:extLst>
          </p:cNvPr>
          <p:cNvGrpSpPr/>
          <p:nvPr/>
        </p:nvGrpSpPr>
        <p:grpSpPr>
          <a:xfrm>
            <a:off x="10346584" y="4095795"/>
            <a:ext cx="1520962" cy="546192"/>
            <a:chOff x="10334078" y="2125787"/>
            <a:chExt cx="1402840" cy="546192"/>
          </a:xfrm>
        </p:grpSpPr>
        <p:sp>
          <p:nvSpPr>
            <p:cNvPr id="35" name="Shape 113">
              <a:extLst>
                <a:ext uri="{FF2B5EF4-FFF2-40B4-BE49-F238E27FC236}">
                  <a16:creationId xmlns:a16="http://schemas.microsoft.com/office/drawing/2014/main" id="{CDB4CBBD-2F39-7560-CE99-AECD76E6532B}"/>
                </a:ext>
              </a:extLst>
            </p:cNvPr>
            <p:cNvSpPr/>
            <p:nvPr/>
          </p:nvSpPr>
          <p:spPr>
            <a:xfrm>
              <a:off x="10334078" y="2125787"/>
              <a:ext cx="1402840" cy="546192"/>
            </a:xfrm>
            <a:prstGeom prst="roundRect">
              <a:avLst>
                <a:gd name="adj" fmla="val 49498"/>
              </a:avLst>
            </a:prstGeom>
            <a:gradFill flip="none" rotWithShape="1">
              <a:gsLst>
                <a:gs pos="21000">
                  <a:schemeClr val="accent2">
                    <a:lumMod val="40000"/>
                    <a:lumOff val="60000"/>
                  </a:schemeClr>
                </a:gs>
                <a:gs pos="73000">
                  <a:schemeClr val="bg1"/>
                </a:gs>
              </a:gsLst>
              <a:lin ang="8400000" scaled="0"/>
              <a:tileRect/>
            </a:gradFill>
            <a:ln w="19050">
              <a:gradFill flip="none" rotWithShape="1">
                <a:gsLst>
                  <a:gs pos="0">
                    <a:srgbClr val="5B57FF"/>
                  </a:gs>
                  <a:gs pos="37000">
                    <a:srgbClr val="B182FF"/>
                  </a:gs>
                  <a:gs pos="66000">
                    <a:schemeClr val="accent2">
                      <a:lumMod val="40000"/>
                      <a:lumOff val="60000"/>
                    </a:schemeClr>
                  </a:gs>
                  <a:gs pos="100000">
                    <a:schemeClr val="accent2">
                      <a:lumMod val="20000"/>
                      <a:lumOff val="80000"/>
                    </a:schemeClr>
                  </a:gs>
                </a:gsLst>
                <a:lin ang="18900000" scaled="1"/>
                <a:tileRect/>
              </a:grad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1828891" rtl="0" eaLnBrk="1" fontAlgn="auto" latinLnBrk="0" hangingPunct="1">
                <a:lnSpc>
                  <a:spcPct val="100000"/>
                </a:lnSpc>
                <a:spcBef>
                  <a:spcPts val="0"/>
                </a:spcBef>
                <a:spcAft>
                  <a:spcPts val="0"/>
                </a:spcAft>
                <a:buClrTx/>
                <a:buSzTx/>
                <a:buFontTx/>
                <a:buNone/>
                <a:tabLst/>
                <a:defRPr/>
              </a:pPr>
              <a:endParaRPr kumimoji="0" lang="en-US" sz="982" b="0" i="0" u="none" strike="noStrike" kern="1200" cap="none" spc="0" normalizeH="0" baseline="0" noProof="0">
                <a:ln>
                  <a:noFill/>
                </a:ln>
                <a:solidFill>
                  <a:srgbClr val="000000"/>
                </a:solidFill>
                <a:effectLst/>
                <a:uLnTx/>
                <a:uFillTx/>
                <a:latin typeface="IBM Plex Sans Light" panose="020B0403050203000203" pitchFamily="34" charset="0"/>
                <a:ea typeface="+mn-ea"/>
                <a:cs typeface="+mn-cs"/>
              </a:endParaRPr>
            </a:p>
          </p:txBody>
        </p:sp>
        <p:sp>
          <p:nvSpPr>
            <p:cNvPr id="42" name="TextBox 41">
              <a:extLst>
                <a:ext uri="{FF2B5EF4-FFF2-40B4-BE49-F238E27FC236}">
                  <a16:creationId xmlns:a16="http://schemas.microsoft.com/office/drawing/2014/main" id="{4629CEF7-A350-00C5-2D82-B0BEB30BA9CC}"/>
                </a:ext>
              </a:extLst>
            </p:cNvPr>
            <p:cNvSpPr txBox="1"/>
            <p:nvPr/>
          </p:nvSpPr>
          <p:spPr>
            <a:xfrm>
              <a:off x="10691137" y="2192058"/>
              <a:ext cx="1020493" cy="400110"/>
            </a:xfrm>
            <a:prstGeom prst="rect">
              <a:avLst/>
            </a:prstGeom>
            <a:no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IBM Plex Sans Light" panose="020B0403050203000203" pitchFamily="34" charset="0"/>
                  <a:ea typeface="+mn-ea"/>
                  <a:cs typeface="+mn-cs"/>
                </a:rPr>
                <a:t>Gen AI Assistants</a:t>
              </a:r>
            </a:p>
          </p:txBody>
        </p:sp>
      </p:grpSp>
      <p:grpSp>
        <p:nvGrpSpPr>
          <p:cNvPr id="45" name="Group 44">
            <a:extLst>
              <a:ext uri="{FF2B5EF4-FFF2-40B4-BE49-F238E27FC236}">
                <a16:creationId xmlns:a16="http://schemas.microsoft.com/office/drawing/2014/main" id="{32BC8ACE-6216-6054-5341-8F0AC69D01E4}"/>
              </a:ext>
            </a:extLst>
          </p:cNvPr>
          <p:cNvGrpSpPr/>
          <p:nvPr/>
        </p:nvGrpSpPr>
        <p:grpSpPr>
          <a:xfrm>
            <a:off x="10343992" y="3363176"/>
            <a:ext cx="1523554" cy="546192"/>
            <a:chOff x="10334078" y="2125787"/>
            <a:chExt cx="1530692" cy="546192"/>
          </a:xfrm>
        </p:grpSpPr>
        <p:sp>
          <p:nvSpPr>
            <p:cNvPr id="46" name="Shape 113">
              <a:extLst>
                <a:ext uri="{FF2B5EF4-FFF2-40B4-BE49-F238E27FC236}">
                  <a16:creationId xmlns:a16="http://schemas.microsoft.com/office/drawing/2014/main" id="{64891007-673D-BC32-F187-2F996451AB36}"/>
                </a:ext>
              </a:extLst>
            </p:cNvPr>
            <p:cNvSpPr/>
            <p:nvPr/>
          </p:nvSpPr>
          <p:spPr>
            <a:xfrm>
              <a:off x="10334078" y="2125787"/>
              <a:ext cx="1530692" cy="546192"/>
            </a:xfrm>
            <a:prstGeom prst="roundRect">
              <a:avLst>
                <a:gd name="adj" fmla="val 49498"/>
              </a:avLst>
            </a:prstGeom>
            <a:gradFill flip="none" rotWithShape="1">
              <a:gsLst>
                <a:gs pos="21000">
                  <a:schemeClr val="accent2">
                    <a:lumMod val="40000"/>
                    <a:lumOff val="60000"/>
                  </a:schemeClr>
                </a:gs>
                <a:gs pos="73000">
                  <a:schemeClr val="bg1"/>
                </a:gs>
              </a:gsLst>
              <a:lin ang="8400000" scaled="0"/>
              <a:tileRect/>
            </a:gradFill>
            <a:ln w="19050">
              <a:gradFill flip="none" rotWithShape="1">
                <a:gsLst>
                  <a:gs pos="0">
                    <a:srgbClr val="5B57FF"/>
                  </a:gs>
                  <a:gs pos="37000">
                    <a:srgbClr val="B182FF"/>
                  </a:gs>
                  <a:gs pos="66000">
                    <a:schemeClr val="accent2">
                      <a:lumMod val="40000"/>
                      <a:lumOff val="60000"/>
                    </a:schemeClr>
                  </a:gs>
                  <a:gs pos="100000">
                    <a:schemeClr val="accent2">
                      <a:lumMod val="20000"/>
                      <a:lumOff val="80000"/>
                    </a:schemeClr>
                  </a:gs>
                </a:gsLst>
                <a:lin ang="18900000" scaled="1"/>
                <a:tileRect/>
              </a:grad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1828891" rtl="0" eaLnBrk="1" fontAlgn="auto" latinLnBrk="0" hangingPunct="1">
                <a:lnSpc>
                  <a:spcPct val="100000"/>
                </a:lnSpc>
                <a:spcBef>
                  <a:spcPts val="0"/>
                </a:spcBef>
                <a:spcAft>
                  <a:spcPts val="0"/>
                </a:spcAft>
                <a:buClrTx/>
                <a:buSzTx/>
                <a:buFontTx/>
                <a:buNone/>
                <a:tabLst/>
                <a:defRPr/>
              </a:pPr>
              <a:endParaRPr kumimoji="0" lang="en-US" sz="982" b="0" i="0" u="none" strike="noStrike" kern="1200" cap="none" spc="0" normalizeH="0" baseline="0" noProof="0">
                <a:ln>
                  <a:noFill/>
                </a:ln>
                <a:solidFill>
                  <a:srgbClr val="000000"/>
                </a:solidFill>
                <a:effectLst/>
                <a:uLnTx/>
                <a:uFillTx/>
                <a:latin typeface="IBM Plex Sans Light" panose="020B0403050203000203" pitchFamily="34" charset="0"/>
                <a:ea typeface="+mn-ea"/>
                <a:cs typeface="+mn-cs"/>
              </a:endParaRPr>
            </a:p>
          </p:txBody>
        </p:sp>
        <p:sp>
          <p:nvSpPr>
            <p:cNvPr id="48" name="TextBox 47">
              <a:extLst>
                <a:ext uri="{FF2B5EF4-FFF2-40B4-BE49-F238E27FC236}">
                  <a16:creationId xmlns:a16="http://schemas.microsoft.com/office/drawing/2014/main" id="{DE658AB0-2383-777E-7EE7-28025C9FE0B8}"/>
                </a:ext>
              </a:extLst>
            </p:cNvPr>
            <p:cNvSpPr txBox="1"/>
            <p:nvPr/>
          </p:nvSpPr>
          <p:spPr>
            <a:xfrm>
              <a:off x="10663038" y="2219033"/>
              <a:ext cx="1201732" cy="400110"/>
            </a:xfrm>
            <a:prstGeom prst="rect">
              <a:avLst/>
            </a:prstGeom>
            <a:no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IBM Plex Sans Light" panose="020B0403050203000203" pitchFamily="34" charset="0"/>
                  <a:ea typeface="+mn-ea"/>
                  <a:cs typeface="+mn-cs"/>
                </a:rPr>
                <a:t>Data Engineering &amp; AI / ML</a:t>
              </a:r>
            </a:p>
          </p:txBody>
        </p:sp>
      </p:grpSp>
      <p:pic>
        <p:nvPicPr>
          <p:cNvPr id="49" name="Graphic 48">
            <a:extLst>
              <a:ext uri="{FF2B5EF4-FFF2-40B4-BE49-F238E27FC236}">
                <a16:creationId xmlns:a16="http://schemas.microsoft.com/office/drawing/2014/main" id="{4798774B-DB2F-F76E-9681-EC5FCEA7F8C3}"/>
              </a:ext>
            </a:extLst>
          </p:cNvPr>
          <p:cNvPicPr>
            <a:picLocks noChangeAspect="1"/>
          </p:cNvPicPr>
          <p:nvPr/>
        </p:nvPicPr>
        <p:blipFill>
          <a:blip r:embed="rId3">
            <a:duotone>
              <a:schemeClr val="accent2">
                <a:shade val="45000"/>
                <a:satMod val="135000"/>
              </a:schemeClr>
              <a:prstClr val="white"/>
            </a:duotone>
            <a:alphaModFix amt="85000"/>
            <a:extLst>
              <a:ext uri="{96DAC541-7B7A-43D3-8B79-37D633B846F1}">
                <asvg:svgBlip xmlns:asvg="http://schemas.microsoft.com/office/drawing/2016/SVG/main" r:embed="rId4"/>
              </a:ext>
            </a:extLst>
          </a:blip>
          <a:stretch>
            <a:fillRect/>
          </a:stretch>
        </p:blipFill>
        <p:spPr>
          <a:xfrm>
            <a:off x="10442171" y="3510322"/>
            <a:ext cx="248283" cy="251901"/>
          </a:xfrm>
          <a:prstGeom prst="rect">
            <a:avLst/>
          </a:prstGeom>
        </p:spPr>
      </p:pic>
      <p:grpSp>
        <p:nvGrpSpPr>
          <p:cNvPr id="50" name="Group 49">
            <a:extLst>
              <a:ext uri="{FF2B5EF4-FFF2-40B4-BE49-F238E27FC236}">
                <a16:creationId xmlns:a16="http://schemas.microsoft.com/office/drawing/2014/main" id="{D8DE3800-CE7A-8B08-8C7F-F45D447124A3}"/>
              </a:ext>
            </a:extLst>
          </p:cNvPr>
          <p:cNvGrpSpPr/>
          <p:nvPr/>
        </p:nvGrpSpPr>
        <p:grpSpPr>
          <a:xfrm>
            <a:off x="10346585" y="2607523"/>
            <a:ext cx="1523554" cy="546192"/>
            <a:chOff x="10334078" y="2125787"/>
            <a:chExt cx="1478765" cy="546192"/>
          </a:xfrm>
        </p:grpSpPr>
        <p:sp>
          <p:nvSpPr>
            <p:cNvPr id="51" name="Shape 113">
              <a:extLst>
                <a:ext uri="{FF2B5EF4-FFF2-40B4-BE49-F238E27FC236}">
                  <a16:creationId xmlns:a16="http://schemas.microsoft.com/office/drawing/2014/main" id="{B4EEE5EA-A6D3-BDEC-FC73-52AF00EB2ED8}"/>
                </a:ext>
              </a:extLst>
            </p:cNvPr>
            <p:cNvSpPr/>
            <p:nvPr/>
          </p:nvSpPr>
          <p:spPr>
            <a:xfrm>
              <a:off x="10334078" y="2125787"/>
              <a:ext cx="1478765" cy="546192"/>
            </a:xfrm>
            <a:prstGeom prst="roundRect">
              <a:avLst>
                <a:gd name="adj" fmla="val 49498"/>
              </a:avLst>
            </a:prstGeom>
            <a:gradFill flip="none" rotWithShape="1">
              <a:gsLst>
                <a:gs pos="21000">
                  <a:schemeClr val="accent2">
                    <a:lumMod val="40000"/>
                    <a:lumOff val="60000"/>
                  </a:schemeClr>
                </a:gs>
                <a:gs pos="73000">
                  <a:schemeClr val="bg1"/>
                </a:gs>
              </a:gsLst>
              <a:lin ang="8400000" scaled="0"/>
              <a:tileRect/>
            </a:gradFill>
            <a:ln w="19050">
              <a:gradFill flip="none" rotWithShape="1">
                <a:gsLst>
                  <a:gs pos="0">
                    <a:srgbClr val="5B57FF"/>
                  </a:gs>
                  <a:gs pos="37000">
                    <a:srgbClr val="B182FF"/>
                  </a:gs>
                  <a:gs pos="66000">
                    <a:schemeClr val="accent2">
                      <a:lumMod val="40000"/>
                      <a:lumOff val="60000"/>
                    </a:schemeClr>
                  </a:gs>
                  <a:gs pos="100000">
                    <a:schemeClr val="accent2">
                      <a:lumMod val="20000"/>
                      <a:lumOff val="80000"/>
                    </a:schemeClr>
                  </a:gs>
                </a:gsLst>
                <a:lin ang="18900000" scaled="1"/>
                <a:tileRect/>
              </a:grad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1828891" rtl="0" eaLnBrk="1" fontAlgn="auto" latinLnBrk="0" hangingPunct="1">
                <a:lnSpc>
                  <a:spcPct val="100000"/>
                </a:lnSpc>
                <a:spcBef>
                  <a:spcPts val="0"/>
                </a:spcBef>
                <a:spcAft>
                  <a:spcPts val="0"/>
                </a:spcAft>
                <a:buClrTx/>
                <a:buSzTx/>
                <a:buFontTx/>
                <a:buNone/>
                <a:tabLst/>
                <a:defRPr/>
              </a:pPr>
              <a:endParaRPr kumimoji="0" lang="en-US" sz="982" b="0" i="0" u="none" strike="noStrike" kern="1200" cap="none" spc="0" normalizeH="0" baseline="0" noProof="0">
                <a:ln>
                  <a:noFill/>
                </a:ln>
                <a:solidFill>
                  <a:srgbClr val="000000"/>
                </a:solidFill>
                <a:effectLst/>
                <a:uLnTx/>
                <a:uFillTx/>
                <a:latin typeface="IBM Plex Sans Light" panose="020B0403050203000203" pitchFamily="34" charset="0"/>
                <a:ea typeface="+mn-ea"/>
                <a:cs typeface="+mn-cs"/>
              </a:endParaRPr>
            </a:p>
          </p:txBody>
        </p:sp>
        <p:pic>
          <p:nvPicPr>
            <p:cNvPr id="52" name="Graphic 51">
              <a:extLst>
                <a:ext uri="{FF2B5EF4-FFF2-40B4-BE49-F238E27FC236}">
                  <a16:creationId xmlns:a16="http://schemas.microsoft.com/office/drawing/2014/main" id="{18B64B1E-D5F4-1E9D-412B-5F1576B2A0D2}"/>
                </a:ext>
              </a:extLst>
            </p:cNvPr>
            <p:cNvPicPr>
              <a:picLocks noChangeAspect="1"/>
            </p:cNvPicPr>
            <p:nvPr/>
          </p:nvPicPr>
          <p:blipFill>
            <a:blip r:embed="rId5">
              <a:duotone>
                <a:schemeClr val="accent2">
                  <a:shade val="45000"/>
                  <a:satMod val="135000"/>
                </a:schemeClr>
                <a:prstClr val="white"/>
              </a:duotone>
              <a:alphaModFix amt="85000"/>
              <a:extLst>
                <a:ext uri="{96DAC541-7B7A-43D3-8B79-37D633B846F1}">
                  <asvg:svgBlip xmlns:asvg="http://schemas.microsoft.com/office/drawing/2016/SVG/main" r:embed="rId6"/>
                </a:ext>
              </a:extLst>
            </a:blip>
            <a:stretch>
              <a:fillRect/>
            </a:stretch>
          </p:blipFill>
          <p:spPr>
            <a:xfrm>
              <a:off x="10419800" y="2263789"/>
              <a:ext cx="251901" cy="251901"/>
            </a:xfrm>
            <a:prstGeom prst="rect">
              <a:avLst/>
            </a:prstGeom>
          </p:spPr>
        </p:pic>
        <p:sp>
          <p:nvSpPr>
            <p:cNvPr id="53" name="TextBox 52">
              <a:extLst>
                <a:ext uri="{FF2B5EF4-FFF2-40B4-BE49-F238E27FC236}">
                  <a16:creationId xmlns:a16="http://schemas.microsoft.com/office/drawing/2014/main" id="{21867159-8A0E-E527-D35A-BA80226A6D0E}"/>
                </a:ext>
              </a:extLst>
            </p:cNvPr>
            <p:cNvSpPr txBox="1"/>
            <p:nvPr/>
          </p:nvSpPr>
          <p:spPr>
            <a:xfrm>
              <a:off x="10698117" y="2192058"/>
              <a:ext cx="1087432" cy="400110"/>
            </a:xfrm>
            <a:prstGeom prst="rect">
              <a:avLst/>
            </a:prstGeom>
            <a:no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IBM Plex Sans Light" panose="020B0403050203000203" pitchFamily="34" charset="0"/>
                  <a:ea typeface="+mn-ea"/>
                  <a:cs typeface="+mn-cs"/>
                </a:rPr>
                <a:t>Business Intelligence</a:t>
              </a:r>
            </a:p>
          </p:txBody>
        </p:sp>
      </p:grpSp>
      <p:pic>
        <p:nvPicPr>
          <p:cNvPr id="41" name="Graphic 40">
            <a:extLst>
              <a:ext uri="{FF2B5EF4-FFF2-40B4-BE49-F238E27FC236}">
                <a16:creationId xmlns:a16="http://schemas.microsoft.com/office/drawing/2014/main" id="{0FF8620B-4677-57E5-1F81-68966DABB654}"/>
              </a:ext>
            </a:extLst>
          </p:cNvPr>
          <p:cNvPicPr>
            <a:picLocks noChangeAspect="1"/>
          </p:cNvPicPr>
          <p:nvPr/>
        </p:nvPicPr>
        <p:blipFill>
          <a:blip r:embed="rId7">
            <a:duotone>
              <a:schemeClr val="accent2">
                <a:shade val="45000"/>
                <a:satMod val="135000"/>
              </a:schemeClr>
              <a:prstClr val="white"/>
            </a:duotone>
            <a:alphaModFix amt="85000"/>
            <a:extLst>
              <a:ext uri="{96DAC541-7B7A-43D3-8B79-37D633B846F1}">
                <asvg:svgBlip xmlns:asvg="http://schemas.microsoft.com/office/drawing/2016/SVG/main" r:embed="rId8"/>
              </a:ext>
            </a:extLst>
          </a:blip>
          <a:stretch>
            <a:fillRect/>
          </a:stretch>
        </p:blipFill>
        <p:spPr>
          <a:xfrm>
            <a:off x="10485816" y="4254391"/>
            <a:ext cx="225712" cy="229001"/>
          </a:xfrm>
          <a:prstGeom prst="rect">
            <a:avLst/>
          </a:prstGeom>
        </p:spPr>
      </p:pic>
      <p:cxnSp>
        <p:nvCxnSpPr>
          <p:cNvPr id="8" name="Straight Connector 7">
            <a:extLst>
              <a:ext uri="{FF2B5EF4-FFF2-40B4-BE49-F238E27FC236}">
                <a16:creationId xmlns:a16="http://schemas.microsoft.com/office/drawing/2014/main" id="{41178A07-822B-2811-79B8-1F08D35F5E38}"/>
              </a:ext>
            </a:extLst>
          </p:cNvPr>
          <p:cNvCxnSpPr>
            <a:cxnSpLocks/>
          </p:cNvCxnSpPr>
          <p:nvPr/>
        </p:nvCxnSpPr>
        <p:spPr bwMode="auto">
          <a:xfrm>
            <a:off x="8334547" y="2926694"/>
            <a:ext cx="0" cy="1448547"/>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Shape 92">
            <a:extLst>
              <a:ext uri="{FF2B5EF4-FFF2-40B4-BE49-F238E27FC236}">
                <a16:creationId xmlns:a16="http://schemas.microsoft.com/office/drawing/2014/main" id="{2E577CF5-D3DA-C84E-7D07-9D3512309786}"/>
              </a:ext>
            </a:extLst>
          </p:cNvPr>
          <p:cNvSpPr/>
          <p:nvPr/>
        </p:nvSpPr>
        <p:spPr>
          <a:xfrm>
            <a:off x="1624327" y="1939982"/>
            <a:ext cx="1286786" cy="2942808"/>
          </a:xfrm>
          <a:prstGeom prst="roundRect">
            <a:avLst>
              <a:gd name="adj" fmla="val 6887"/>
            </a:avLst>
          </a:prstGeom>
          <a:solidFill>
            <a:schemeClr val="bg1"/>
          </a:solidFill>
          <a:ln w="12700">
            <a:solidFill>
              <a:srgbClr val="0E61FF"/>
            </a:solidFill>
            <a:prstDash val="sysDot"/>
          </a:ln>
          <a:effectLst>
            <a:outerShdw blurRad="317500" dist="50800" dir="16200000" algn="bl" rotWithShape="0">
              <a:srgbClr val="000000">
                <a:alpha val="10000"/>
              </a:srgbClr>
            </a:outerShdw>
          </a:effectLst>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1218956" rtl="0" eaLnBrk="1" fontAlgn="auto" latinLnBrk="0" hangingPunct="1">
              <a:lnSpc>
                <a:spcPct val="100000"/>
              </a:lnSpc>
              <a:spcBef>
                <a:spcPts val="0"/>
              </a:spcBef>
              <a:spcAft>
                <a:spcPts val="0"/>
              </a:spcAft>
              <a:buClrTx/>
              <a:buSzPct val="100000"/>
              <a:buFontTx/>
              <a:buNone/>
              <a:tabLst/>
              <a:defRPr/>
            </a:pPr>
            <a:endParaRPr kumimoji="0" lang="en-US" sz="1100" b="0" i="0" u="none" strike="noStrike" kern="0" cap="none" spc="0" normalizeH="0" baseline="0" noProof="0">
              <a:ln>
                <a:noFill/>
              </a:ln>
              <a:solidFill>
                <a:srgbClr val="000000"/>
              </a:solidFill>
              <a:effectLst/>
              <a:uLnTx/>
              <a:uFillTx/>
              <a:latin typeface="IBM Plex Sans Light" panose="020B0403050203000203" pitchFamily="34" charset="0"/>
              <a:ea typeface="+mn-ea"/>
              <a:cs typeface="+mn-cs"/>
              <a:sym typeface="IBM Plex Sans Light"/>
            </a:endParaRPr>
          </a:p>
        </p:txBody>
      </p:sp>
      <p:sp>
        <p:nvSpPr>
          <p:cNvPr id="14" name="Shape 92">
            <a:extLst>
              <a:ext uri="{FF2B5EF4-FFF2-40B4-BE49-F238E27FC236}">
                <a16:creationId xmlns:a16="http://schemas.microsoft.com/office/drawing/2014/main" id="{EF54778B-2139-5050-6BBD-84E9D06DA78E}"/>
              </a:ext>
            </a:extLst>
          </p:cNvPr>
          <p:cNvSpPr/>
          <p:nvPr/>
        </p:nvSpPr>
        <p:spPr>
          <a:xfrm>
            <a:off x="201608" y="1939982"/>
            <a:ext cx="1164511" cy="2946725"/>
          </a:xfrm>
          <a:prstGeom prst="roundRect">
            <a:avLst>
              <a:gd name="adj" fmla="val 6887"/>
            </a:avLst>
          </a:prstGeom>
          <a:solidFill>
            <a:schemeClr val="bg1"/>
          </a:solidFill>
          <a:ln w="12700">
            <a:solidFill>
              <a:srgbClr val="0E61FF"/>
            </a:solidFill>
            <a:prstDash val="sysDot"/>
          </a:ln>
          <a:effectLst>
            <a:outerShdw blurRad="317500" dist="50800" dir="16200000" algn="bl" rotWithShape="0">
              <a:srgbClr val="000000">
                <a:alpha val="10000"/>
              </a:srgbClr>
            </a:outerShdw>
          </a:effectLst>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1218956" rtl="0" eaLnBrk="1" fontAlgn="auto" latinLnBrk="0" hangingPunct="1">
              <a:lnSpc>
                <a:spcPct val="100000"/>
              </a:lnSpc>
              <a:spcBef>
                <a:spcPts val="0"/>
              </a:spcBef>
              <a:spcAft>
                <a:spcPts val="0"/>
              </a:spcAft>
              <a:buClrTx/>
              <a:buSzPct val="100000"/>
              <a:buFontTx/>
              <a:buNone/>
              <a:tabLst/>
              <a:defRPr/>
            </a:pPr>
            <a:endParaRPr kumimoji="0" lang="en-US" sz="1100" b="0" i="0" u="none" strike="noStrike" kern="0" cap="none" spc="0" normalizeH="0" baseline="0" noProof="0">
              <a:ln>
                <a:noFill/>
              </a:ln>
              <a:solidFill>
                <a:srgbClr val="000000"/>
              </a:solidFill>
              <a:effectLst/>
              <a:uLnTx/>
              <a:uFillTx/>
              <a:latin typeface="IBM Plex Sans Light" panose="020B0403050203000203" pitchFamily="34" charset="0"/>
              <a:ea typeface="+mn-ea"/>
              <a:cs typeface="+mn-cs"/>
              <a:sym typeface="IBM Plex Sans Light"/>
            </a:endParaRPr>
          </a:p>
        </p:txBody>
      </p:sp>
      <p:pic>
        <p:nvPicPr>
          <p:cNvPr id="16" name="Picture 2" descr="Google Docs' new update just made ...">
            <a:extLst>
              <a:ext uri="{FF2B5EF4-FFF2-40B4-BE49-F238E27FC236}">
                <a16:creationId xmlns:a16="http://schemas.microsoft.com/office/drawing/2014/main" id="{8F841D5D-64FD-60A2-97EE-012B6F72021D}"/>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21719" r="21780"/>
          <a:stretch/>
        </p:blipFill>
        <p:spPr bwMode="auto">
          <a:xfrm>
            <a:off x="550733" y="4055481"/>
            <a:ext cx="471682" cy="467508"/>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descr="FileNet - Wikipedia">
            <a:extLst>
              <a:ext uri="{FF2B5EF4-FFF2-40B4-BE49-F238E27FC236}">
                <a16:creationId xmlns:a16="http://schemas.microsoft.com/office/drawing/2014/main" id="{6E3CB319-8CCA-B3E5-357B-059B8016815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43937" y="2656956"/>
            <a:ext cx="638521" cy="255408"/>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6" descr="Box: The Secure Content Cloud for ...">
            <a:extLst>
              <a:ext uri="{FF2B5EF4-FFF2-40B4-BE49-F238E27FC236}">
                <a16:creationId xmlns:a16="http://schemas.microsoft.com/office/drawing/2014/main" id="{5364ACAE-0205-5861-11F3-F7759E079DB5}"/>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29471" y="3090296"/>
            <a:ext cx="310428" cy="306307"/>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8" descr="Microsoft Sharepoint Review: Pros, Cons ...">
            <a:extLst>
              <a:ext uri="{FF2B5EF4-FFF2-40B4-BE49-F238E27FC236}">
                <a16:creationId xmlns:a16="http://schemas.microsoft.com/office/drawing/2014/main" id="{A1527402-8B4C-D263-5A2B-E4A81B1E8787}"/>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22271" t="-989" r="21915" b="989"/>
          <a:stretch/>
        </p:blipFill>
        <p:spPr bwMode="auto">
          <a:xfrm>
            <a:off x="579295" y="3517929"/>
            <a:ext cx="414558" cy="455497"/>
          </a:xfrm>
          <a:prstGeom prst="rect">
            <a:avLst/>
          </a:prstGeom>
          <a:noFill/>
          <a:extLst>
            <a:ext uri="{909E8E84-426E-40DD-AFC4-6F175D3DCCD1}">
              <a14:hiddenFill xmlns:a14="http://schemas.microsoft.com/office/drawing/2010/main">
                <a:solidFill>
                  <a:srgbClr val="FFFFFF"/>
                </a:solidFill>
              </a14:hiddenFill>
            </a:ext>
          </a:extLst>
        </p:spPr>
      </p:pic>
      <p:sp>
        <p:nvSpPr>
          <p:cNvPr id="20" name="Shape 92">
            <a:extLst>
              <a:ext uri="{FF2B5EF4-FFF2-40B4-BE49-F238E27FC236}">
                <a16:creationId xmlns:a16="http://schemas.microsoft.com/office/drawing/2014/main" id="{858466CE-0661-8D0B-0DD3-8ED659C4C298}"/>
              </a:ext>
            </a:extLst>
          </p:cNvPr>
          <p:cNvSpPr/>
          <p:nvPr/>
        </p:nvSpPr>
        <p:spPr>
          <a:xfrm>
            <a:off x="5089558" y="2403857"/>
            <a:ext cx="1316736" cy="821944"/>
          </a:xfrm>
          <a:prstGeom prst="roundRect">
            <a:avLst>
              <a:gd name="adj" fmla="val 6887"/>
            </a:avLst>
          </a:prstGeom>
          <a:solidFill>
            <a:srgbClr val="FFFFFF">
              <a:alpha val="100000"/>
            </a:srgbClr>
          </a:solidFill>
          <a:ln>
            <a:solidFill>
              <a:schemeClr val="tx1">
                <a:lumMod val="50000"/>
                <a:lumOff val="50000"/>
              </a:schemeClr>
            </a:solidFill>
          </a:ln>
          <a:effectLst>
            <a:outerShdw blurRad="317500" dist="50800" dir="16200000" algn="bl" rotWithShape="0">
              <a:srgbClr val="000000">
                <a:alpha val="10000"/>
              </a:srgbClr>
            </a:outerShdw>
          </a:effectLst>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1218956" rtl="0" eaLnBrk="1" fontAlgn="auto" latinLnBrk="0" hangingPunct="1">
              <a:lnSpc>
                <a:spcPct val="100000"/>
              </a:lnSpc>
              <a:spcBef>
                <a:spcPts val="0"/>
              </a:spcBef>
              <a:spcAft>
                <a:spcPts val="0"/>
              </a:spcAft>
              <a:buClrTx/>
              <a:buSzPct val="100000"/>
              <a:buFontTx/>
              <a:buNone/>
              <a:tabLst/>
              <a:defRPr/>
            </a:pPr>
            <a:r>
              <a:rPr kumimoji="0" lang="en-US" sz="1000" b="0" i="0" u="none" strike="noStrike" kern="0" cap="none" spc="0" normalizeH="0" baseline="0" noProof="0">
                <a:ln>
                  <a:noFill/>
                </a:ln>
                <a:solidFill>
                  <a:srgbClr val="000000"/>
                </a:solidFill>
                <a:effectLst/>
                <a:uLnTx/>
                <a:uFillTx/>
                <a:latin typeface="IBM Plex Sans Light" panose="020B0403050203000203" pitchFamily="34" charset="0"/>
                <a:ea typeface="+mn-ea"/>
                <a:cs typeface="+mn-cs"/>
                <a:sym typeface="IBM Plex Sans Light"/>
              </a:rPr>
              <a:t>Extracted entities/values</a:t>
            </a:r>
          </a:p>
        </p:txBody>
      </p:sp>
      <p:sp>
        <p:nvSpPr>
          <p:cNvPr id="21" name="Shape 42">
            <a:extLst>
              <a:ext uri="{FF2B5EF4-FFF2-40B4-BE49-F238E27FC236}">
                <a16:creationId xmlns:a16="http://schemas.microsoft.com/office/drawing/2014/main" id="{0CF4AE1D-18B9-6290-2E1D-BEBFD1B1BA5C}"/>
              </a:ext>
            </a:extLst>
          </p:cNvPr>
          <p:cNvSpPr/>
          <p:nvPr/>
        </p:nvSpPr>
        <p:spPr>
          <a:xfrm>
            <a:off x="5161986" y="2808629"/>
            <a:ext cx="865570" cy="166196"/>
          </a:xfrm>
          <a:prstGeom prst="roundRect">
            <a:avLst>
              <a:gd name="adj" fmla="val 50998"/>
            </a:avLst>
          </a:prstGeom>
          <a:solidFill>
            <a:srgbClr val="E0E0E0">
              <a:alpha val="100000"/>
            </a:srgbClr>
          </a:solid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1828891" rtl="0" eaLnBrk="1" fontAlgn="auto" latinLnBrk="0" hangingPunct="1">
              <a:lnSpc>
                <a:spcPct val="100000"/>
              </a:lnSpc>
              <a:spcBef>
                <a:spcPts val="0"/>
              </a:spcBef>
              <a:spcAft>
                <a:spcPts val="0"/>
              </a:spcAft>
              <a:buClrTx/>
              <a:buSzTx/>
              <a:buFontTx/>
              <a:buNone/>
              <a:tabLst/>
              <a:defRPr/>
            </a:pPr>
            <a:endParaRPr kumimoji="0" lang="en-US" sz="982" b="0" i="0" u="none" strike="noStrike" kern="1200" cap="none" spc="0" normalizeH="0" baseline="0" noProof="0">
              <a:ln>
                <a:noFill/>
              </a:ln>
              <a:solidFill>
                <a:srgbClr val="000000"/>
              </a:solidFill>
              <a:effectLst/>
              <a:uLnTx/>
              <a:uFillTx/>
              <a:latin typeface="IBM Plex Sans Light" panose="020B0403050203000203" pitchFamily="34" charset="0"/>
              <a:ea typeface="+mn-ea"/>
              <a:cs typeface="+mn-cs"/>
            </a:endParaRPr>
          </a:p>
        </p:txBody>
      </p:sp>
      <p:sp>
        <p:nvSpPr>
          <p:cNvPr id="24" name="Text 47">
            <a:extLst>
              <a:ext uri="{FF2B5EF4-FFF2-40B4-BE49-F238E27FC236}">
                <a16:creationId xmlns:a16="http://schemas.microsoft.com/office/drawing/2014/main" id="{A5086193-8629-5D22-83C6-C640BA1A647D}"/>
              </a:ext>
            </a:extLst>
          </p:cNvPr>
          <p:cNvSpPr/>
          <p:nvPr/>
        </p:nvSpPr>
        <p:spPr>
          <a:xfrm>
            <a:off x="5246071" y="2835543"/>
            <a:ext cx="671684" cy="138491"/>
          </a:xfrm>
          <a:prstGeom prst="rect">
            <a:avLst/>
          </a:prstGeom>
          <a:noFill/>
          <a:ln/>
        </p:spPr>
        <p:txBody>
          <a:bodyPr wrap="square" lIns="0" tIns="0" rIns="0" bIns="0" rtlCol="0" anchor="t"/>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1828891" rtl="0" eaLnBrk="1" fontAlgn="auto" latinLnBrk="0" hangingPunct="1">
              <a:lnSpc>
                <a:spcPts val="873"/>
              </a:lnSpc>
              <a:spcBef>
                <a:spcPts val="0"/>
              </a:spcBef>
              <a:spcAft>
                <a:spcPts val="0"/>
              </a:spcAft>
              <a:buClrTx/>
              <a:buSzTx/>
              <a:buFontTx/>
              <a:buNone/>
              <a:tabLst/>
              <a:defRPr/>
            </a:pPr>
            <a:r>
              <a:rPr kumimoji="0" lang="en-US" sz="655" b="0" i="0" u="none" strike="noStrike" kern="0" cap="none" spc="2" normalizeH="0" baseline="0" noProof="0">
                <a:ln>
                  <a:noFill/>
                </a:ln>
                <a:solidFill>
                  <a:srgbClr val="000000">
                    <a:alpha val="100000"/>
                  </a:srgbClr>
                </a:solidFill>
                <a:effectLst/>
                <a:uLnTx/>
                <a:uFillTx/>
                <a:latin typeface="IBM Plex Sans Light" panose="020B0403050203000203" pitchFamily="34" charset="0"/>
                <a:ea typeface="+mn-ea"/>
                <a:cs typeface="+mn-cs"/>
              </a:rPr>
              <a:t>&lt;JSON&gt;</a:t>
            </a:r>
            <a:endParaRPr kumimoji="0" lang="en-US" sz="655" b="0" i="0" u="none" strike="noStrike" kern="1200" cap="none" spc="0" normalizeH="0" baseline="0" noProof="0">
              <a:ln>
                <a:noFill/>
              </a:ln>
              <a:solidFill>
                <a:srgbClr val="000000"/>
              </a:solidFill>
              <a:effectLst/>
              <a:uLnTx/>
              <a:uFillTx/>
              <a:latin typeface="IBM Plex Sans Light" panose="020B0403050203000203" pitchFamily="34" charset="0"/>
              <a:ea typeface="+mn-ea"/>
              <a:cs typeface="+mn-cs"/>
            </a:endParaRPr>
          </a:p>
        </p:txBody>
      </p:sp>
      <p:sp>
        <p:nvSpPr>
          <p:cNvPr id="25" name="Shape 42">
            <a:extLst>
              <a:ext uri="{FF2B5EF4-FFF2-40B4-BE49-F238E27FC236}">
                <a16:creationId xmlns:a16="http://schemas.microsoft.com/office/drawing/2014/main" id="{A21ADCDD-8A1C-73A1-F2A6-EB90C8324012}"/>
              </a:ext>
            </a:extLst>
          </p:cNvPr>
          <p:cNvSpPr/>
          <p:nvPr/>
        </p:nvSpPr>
        <p:spPr>
          <a:xfrm>
            <a:off x="5161986" y="3001026"/>
            <a:ext cx="865570" cy="166196"/>
          </a:xfrm>
          <a:prstGeom prst="roundRect">
            <a:avLst>
              <a:gd name="adj" fmla="val 50998"/>
            </a:avLst>
          </a:prstGeom>
          <a:solidFill>
            <a:srgbClr val="E0E0E0">
              <a:alpha val="100000"/>
            </a:srgbClr>
          </a:solid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1828891" rtl="0" eaLnBrk="1" fontAlgn="auto" latinLnBrk="0" hangingPunct="1">
              <a:lnSpc>
                <a:spcPct val="100000"/>
              </a:lnSpc>
              <a:spcBef>
                <a:spcPts val="0"/>
              </a:spcBef>
              <a:spcAft>
                <a:spcPts val="0"/>
              </a:spcAft>
              <a:buClrTx/>
              <a:buSzTx/>
              <a:buFontTx/>
              <a:buNone/>
              <a:tabLst/>
              <a:defRPr/>
            </a:pPr>
            <a:endParaRPr kumimoji="0" lang="en-US" sz="982" b="0" i="0" u="none" strike="noStrike" kern="1200" cap="none" spc="0" normalizeH="0" baseline="0" noProof="0">
              <a:ln>
                <a:noFill/>
              </a:ln>
              <a:solidFill>
                <a:srgbClr val="000000"/>
              </a:solidFill>
              <a:effectLst/>
              <a:uLnTx/>
              <a:uFillTx/>
              <a:latin typeface="IBM Plex Sans Light" panose="020B0403050203000203" pitchFamily="34" charset="0"/>
              <a:ea typeface="+mn-ea"/>
              <a:cs typeface="+mn-cs"/>
            </a:endParaRPr>
          </a:p>
        </p:txBody>
      </p:sp>
      <p:sp>
        <p:nvSpPr>
          <p:cNvPr id="26" name="Text 47">
            <a:extLst>
              <a:ext uri="{FF2B5EF4-FFF2-40B4-BE49-F238E27FC236}">
                <a16:creationId xmlns:a16="http://schemas.microsoft.com/office/drawing/2014/main" id="{00A9F6B4-37A5-6270-BC90-C6CADF79185D}"/>
              </a:ext>
            </a:extLst>
          </p:cNvPr>
          <p:cNvSpPr/>
          <p:nvPr/>
        </p:nvSpPr>
        <p:spPr>
          <a:xfrm>
            <a:off x="5246071" y="3027940"/>
            <a:ext cx="671684" cy="138491"/>
          </a:xfrm>
          <a:prstGeom prst="rect">
            <a:avLst/>
          </a:prstGeom>
          <a:noFill/>
          <a:ln/>
        </p:spPr>
        <p:txBody>
          <a:bodyPr wrap="square" lIns="0" tIns="0" rIns="0" bIns="0" rtlCol="0" anchor="t"/>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1828891" rtl="0" eaLnBrk="1" fontAlgn="auto" latinLnBrk="0" hangingPunct="1">
              <a:lnSpc>
                <a:spcPts val="873"/>
              </a:lnSpc>
              <a:spcBef>
                <a:spcPts val="0"/>
              </a:spcBef>
              <a:spcAft>
                <a:spcPts val="0"/>
              </a:spcAft>
              <a:buClrTx/>
              <a:buSzTx/>
              <a:buFontTx/>
              <a:buNone/>
              <a:tabLst/>
              <a:defRPr/>
            </a:pPr>
            <a:r>
              <a:rPr kumimoji="0" lang="en-US" sz="655" b="0" i="0" u="none" strike="noStrike" kern="0" cap="none" spc="2" normalizeH="0" baseline="0" noProof="0">
                <a:ln>
                  <a:noFill/>
                </a:ln>
                <a:solidFill>
                  <a:srgbClr val="000000">
                    <a:alpha val="100000"/>
                  </a:srgbClr>
                </a:solidFill>
                <a:effectLst/>
                <a:uLnTx/>
                <a:uFillTx/>
                <a:latin typeface="IBM Plex Sans Light" panose="020B0403050203000203" pitchFamily="34" charset="0"/>
                <a:ea typeface="+mn-ea"/>
                <a:cs typeface="+mn-cs"/>
              </a:rPr>
              <a:t>[Iceberg]</a:t>
            </a:r>
            <a:endParaRPr kumimoji="0" lang="en-US" sz="655" b="0" i="0" u="none" strike="noStrike" kern="1200" cap="none" spc="0" normalizeH="0" baseline="0" noProof="0">
              <a:ln>
                <a:noFill/>
              </a:ln>
              <a:solidFill>
                <a:srgbClr val="000000"/>
              </a:solidFill>
              <a:effectLst/>
              <a:uLnTx/>
              <a:uFillTx/>
              <a:latin typeface="IBM Plex Sans Light" panose="020B0403050203000203" pitchFamily="34" charset="0"/>
              <a:ea typeface="+mn-ea"/>
              <a:cs typeface="+mn-cs"/>
            </a:endParaRPr>
          </a:p>
        </p:txBody>
      </p:sp>
      <p:sp>
        <p:nvSpPr>
          <p:cNvPr id="28" name="Shape 92">
            <a:extLst>
              <a:ext uri="{FF2B5EF4-FFF2-40B4-BE49-F238E27FC236}">
                <a16:creationId xmlns:a16="http://schemas.microsoft.com/office/drawing/2014/main" id="{AE7EBD19-1294-B6D5-6448-50359BBA8970}"/>
              </a:ext>
            </a:extLst>
          </p:cNvPr>
          <p:cNvSpPr/>
          <p:nvPr/>
        </p:nvSpPr>
        <p:spPr>
          <a:xfrm>
            <a:off x="5087805" y="3400115"/>
            <a:ext cx="1316736" cy="507807"/>
          </a:xfrm>
          <a:prstGeom prst="roundRect">
            <a:avLst>
              <a:gd name="adj" fmla="val 6887"/>
            </a:avLst>
          </a:prstGeom>
          <a:solidFill>
            <a:srgbClr val="FFFFFF">
              <a:alpha val="100000"/>
            </a:srgbClr>
          </a:solidFill>
          <a:ln>
            <a:solidFill>
              <a:schemeClr val="tx1">
                <a:lumMod val="50000"/>
                <a:lumOff val="50000"/>
              </a:schemeClr>
            </a:solidFill>
          </a:ln>
          <a:effectLst>
            <a:outerShdw blurRad="317500" dist="50800" dir="16200000" algn="bl" rotWithShape="0">
              <a:srgbClr val="000000">
                <a:alpha val="10000"/>
              </a:srgbClr>
            </a:outerShdw>
          </a:effectLst>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1218956" rtl="0" eaLnBrk="1" fontAlgn="auto" latinLnBrk="0" hangingPunct="1">
              <a:lnSpc>
                <a:spcPct val="100000"/>
              </a:lnSpc>
              <a:spcBef>
                <a:spcPts val="0"/>
              </a:spcBef>
              <a:spcAft>
                <a:spcPts val="0"/>
              </a:spcAft>
              <a:buClrTx/>
              <a:buSzPct val="100000"/>
              <a:buFontTx/>
              <a:buNone/>
              <a:tabLst/>
              <a:defRPr/>
            </a:pPr>
            <a:r>
              <a:rPr kumimoji="0" lang="en-US" sz="1000" b="0" i="0" u="none" strike="noStrike" kern="0" cap="none" spc="0" normalizeH="0" baseline="0" noProof="0">
                <a:ln>
                  <a:noFill/>
                </a:ln>
                <a:solidFill>
                  <a:srgbClr val="000000"/>
                </a:solidFill>
                <a:effectLst/>
                <a:uLnTx/>
                <a:uFillTx/>
                <a:latin typeface="IBM Plex Sans Light" panose="020B0403050203000203" pitchFamily="34" charset="0"/>
                <a:ea typeface="+mn-ea"/>
                <a:cs typeface="+mn-cs"/>
                <a:sym typeface="IBM Plex Sans Light"/>
              </a:rPr>
              <a:t>Extracted text</a:t>
            </a:r>
          </a:p>
        </p:txBody>
      </p:sp>
      <p:sp>
        <p:nvSpPr>
          <p:cNvPr id="29" name="Shape 42">
            <a:extLst>
              <a:ext uri="{FF2B5EF4-FFF2-40B4-BE49-F238E27FC236}">
                <a16:creationId xmlns:a16="http://schemas.microsoft.com/office/drawing/2014/main" id="{7430F56A-79D2-0C3D-9972-5E61286F58EF}"/>
              </a:ext>
            </a:extLst>
          </p:cNvPr>
          <p:cNvSpPr/>
          <p:nvPr/>
        </p:nvSpPr>
        <p:spPr>
          <a:xfrm>
            <a:off x="5160233" y="3694665"/>
            <a:ext cx="865570" cy="166196"/>
          </a:xfrm>
          <a:prstGeom prst="roundRect">
            <a:avLst>
              <a:gd name="adj" fmla="val 50998"/>
            </a:avLst>
          </a:prstGeom>
          <a:solidFill>
            <a:srgbClr val="E0E0E0">
              <a:alpha val="100000"/>
            </a:srgbClr>
          </a:solid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1828891" rtl="0" eaLnBrk="1" fontAlgn="auto" latinLnBrk="0" hangingPunct="1">
              <a:lnSpc>
                <a:spcPct val="100000"/>
              </a:lnSpc>
              <a:spcBef>
                <a:spcPts val="0"/>
              </a:spcBef>
              <a:spcAft>
                <a:spcPts val="0"/>
              </a:spcAft>
              <a:buClrTx/>
              <a:buSzTx/>
              <a:buFontTx/>
              <a:buNone/>
              <a:tabLst/>
              <a:defRPr/>
            </a:pPr>
            <a:endParaRPr kumimoji="0" lang="en-US" sz="982" b="0" i="0" u="none" strike="noStrike" kern="1200" cap="none" spc="0" normalizeH="0" baseline="0" noProof="0">
              <a:ln>
                <a:noFill/>
              </a:ln>
              <a:solidFill>
                <a:srgbClr val="000000"/>
              </a:solidFill>
              <a:effectLst/>
              <a:uLnTx/>
              <a:uFillTx/>
              <a:latin typeface="IBM Plex Sans Light" panose="020B0403050203000203" pitchFamily="34" charset="0"/>
              <a:ea typeface="+mn-ea"/>
              <a:cs typeface="+mn-cs"/>
            </a:endParaRPr>
          </a:p>
        </p:txBody>
      </p:sp>
      <p:sp>
        <p:nvSpPr>
          <p:cNvPr id="30" name="Text 47">
            <a:extLst>
              <a:ext uri="{FF2B5EF4-FFF2-40B4-BE49-F238E27FC236}">
                <a16:creationId xmlns:a16="http://schemas.microsoft.com/office/drawing/2014/main" id="{390DA9C2-1ABF-B114-6967-728C7F8FFCF7}"/>
              </a:ext>
            </a:extLst>
          </p:cNvPr>
          <p:cNvSpPr/>
          <p:nvPr/>
        </p:nvSpPr>
        <p:spPr>
          <a:xfrm>
            <a:off x="5244318" y="3721579"/>
            <a:ext cx="671684" cy="138491"/>
          </a:xfrm>
          <a:prstGeom prst="rect">
            <a:avLst/>
          </a:prstGeom>
          <a:noFill/>
          <a:ln/>
        </p:spPr>
        <p:txBody>
          <a:bodyPr wrap="square" lIns="0" tIns="0" rIns="0" bIns="0" rtlCol="0" anchor="t"/>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1828891" rtl="0" eaLnBrk="1" fontAlgn="auto" latinLnBrk="0" hangingPunct="1">
              <a:lnSpc>
                <a:spcPts val="873"/>
              </a:lnSpc>
              <a:spcBef>
                <a:spcPts val="0"/>
              </a:spcBef>
              <a:spcAft>
                <a:spcPts val="0"/>
              </a:spcAft>
              <a:buClrTx/>
              <a:buSzTx/>
              <a:buFontTx/>
              <a:buNone/>
              <a:tabLst/>
              <a:defRPr/>
            </a:pPr>
            <a:r>
              <a:rPr kumimoji="0" lang="en-US" sz="655" b="0" i="0" u="none" strike="noStrike" kern="0" cap="none" spc="2" normalizeH="0" baseline="0" noProof="0">
                <a:ln>
                  <a:noFill/>
                </a:ln>
                <a:solidFill>
                  <a:srgbClr val="000000">
                    <a:alpha val="100000"/>
                  </a:srgbClr>
                </a:solidFill>
                <a:effectLst/>
                <a:uLnTx/>
                <a:uFillTx/>
                <a:latin typeface="IBM Plex Sans Light" panose="020B0403050203000203" pitchFamily="34" charset="0"/>
                <a:ea typeface="+mn-ea"/>
                <a:cs typeface="+mn-cs"/>
              </a:rPr>
              <a:t>[Iceberg]</a:t>
            </a:r>
            <a:endParaRPr kumimoji="0" lang="en-US" sz="655" b="0" i="0" u="none" strike="noStrike" kern="1200" cap="none" spc="0" normalizeH="0" baseline="0" noProof="0">
              <a:ln>
                <a:noFill/>
              </a:ln>
              <a:solidFill>
                <a:srgbClr val="000000"/>
              </a:solidFill>
              <a:effectLst/>
              <a:uLnTx/>
              <a:uFillTx/>
              <a:latin typeface="IBM Plex Sans Light" panose="020B0403050203000203" pitchFamily="34" charset="0"/>
              <a:ea typeface="+mn-ea"/>
              <a:cs typeface="+mn-cs"/>
            </a:endParaRPr>
          </a:p>
        </p:txBody>
      </p:sp>
      <p:sp>
        <p:nvSpPr>
          <p:cNvPr id="31" name="Shape 92">
            <a:extLst>
              <a:ext uri="{FF2B5EF4-FFF2-40B4-BE49-F238E27FC236}">
                <a16:creationId xmlns:a16="http://schemas.microsoft.com/office/drawing/2014/main" id="{86029AC4-D011-F860-E5D1-64B7F9F69D20}"/>
              </a:ext>
            </a:extLst>
          </p:cNvPr>
          <p:cNvSpPr/>
          <p:nvPr/>
        </p:nvSpPr>
        <p:spPr>
          <a:xfrm>
            <a:off x="5074108" y="4169510"/>
            <a:ext cx="1316736" cy="515968"/>
          </a:xfrm>
          <a:prstGeom prst="roundRect">
            <a:avLst>
              <a:gd name="adj" fmla="val 6887"/>
            </a:avLst>
          </a:prstGeom>
          <a:solidFill>
            <a:srgbClr val="FFFFFF">
              <a:alpha val="100000"/>
            </a:srgbClr>
          </a:solidFill>
          <a:ln>
            <a:solidFill>
              <a:schemeClr val="tx1">
                <a:lumMod val="50000"/>
                <a:lumOff val="50000"/>
              </a:schemeClr>
            </a:solidFill>
          </a:ln>
          <a:effectLst>
            <a:outerShdw blurRad="317500" dist="50800" dir="16200000" algn="bl" rotWithShape="0">
              <a:srgbClr val="000000">
                <a:alpha val="10000"/>
              </a:srgbClr>
            </a:outerShdw>
          </a:effectLst>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1218956" rtl="0" eaLnBrk="1" fontAlgn="auto" latinLnBrk="0" hangingPunct="1">
              <a:lnSpc>
                <a:spcPct val="100000"/>
              </a:lnSpc>
              <a:spcBef>
                <a:spcPts val="0"/>
              </a:spcBef>
              <a:spcAft>
                <a:spcPts val="0"/>
              </a:spcAft>
              <a:buClrTx/>
              <a:buSzPct val="100000"/>
              <a:buFontTx/>
              <a:buNone/>
              <a:tabLst/>
              <a:defRPr/>
            </a:pPr>
            <a:r>
              <a:rPr kumimoji="0" lang="en-US" sz="1000" b="0" i="0" u="none" strike="noStrike" kern="0" cap="none" spc="0" normalizeH="0" baseline="0" noProof="0">
                <a:ln>
                  <a:noFill/>
                </a:ln>
                <a:solidFill>
                  <a:srgbClr val="000000"/>
                </a:solidFill>
                <a:effectLst/>
                <a:uLnTx/>
                <a:uFillTx/>
                <a:latin typeface="IBM Plex Sans Light" panose="020B0403050203000203" pitchFamily="34" charset="0"/>
                <a:ea typeface="+mn-ea"/>
                <a:cs typeface="+mn-cs"/>
                <a:sym typeface="IBM Plex Sans Light"/>
              </a:rPr>
              <a:t>Vector Embeddings</a:t>
            </a:r>
          </a:p>
        </p:txBody>
      </p:sp>
      <p:sp>
        <p:nvSpPr>
          <p:cNvPr id="32" name="Shape 42">
            <a:extLst>
              <a:ext uri="{FF2B5EF4-FFF2-40B4-BE49-F238E27FC236}">
                <a16:creationId xmlns:a16="http://schemas.microsoft.com/office/drawing/2014/main" id="{68BD3E56-271F-B3DE-4D24-A546D3E5EACE}"/>
              </a:ext>
            </a:extLst>
          </p:cNvPr>
          <p:cNvSpPr/>
          <p:nvPr/>
        </p:nvSpPr>
        <p:spPr>
          <a:xfrm>
            <a:off x="5146536" y="4464059"/>
            <a:ext cx="865570" cy="166196"/>
          </a:xfrm>
          <a:prstGeom prst="roundRect">
            <a:avLst>
              <a:gd name="adj" fmla="val 50998"/>
            </a:avLst>
          </a:prstGeom>
          <a:solidFill>
            <a:srgbClr val="E0E0E0">
              <a:alpha val="100000"/>
            </a:srgbClr>
          </a:solid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1828891" rtl="0" eaLnBrk="1" fontAlgn="auto" latinLnBrk="0" hangingPunct="1">
              <a:lnSpc>
                <a:spcPct val="100000"/>
              </a:lnSpc>
              <a:spcBef>
                <a:spcPts val="0"/>
              </a:spcBef>
              <a:spcAft>
                <a:spcPts val="0"/>
              </a:spcAft>
              <a:buClrTx/>
              <a:buSzTx/>
              <a:buFontTx/>
              <a:buNone/>
              <a:tabLst/>
              <a:defRPr/>
            </a:pPr>
            <a:endParaRPr kumimoji="0" lang="en-US" sz="982" b="0" i="0" u="none" strike="noStrike" kern="1200" cap="none" spc="0" normalizeH="0" baseline="0" noProof="0">
              <a:ln>
                <a:noFill/>
              </a:ln>
              <a:solidFill>
                <a:srgbClr val="000000"/>
              </a:solidFill>
              <a:effectLst/>
              <a:uLnTx/>
              <a:uFillTx/>
              <a:latin typeface="IBM Plex Sans Light" panose="020B0403050203000203" pitchFamily="34" charset="0"/>
              <a:ea typeface="+mn-ea"/>
              <a:cs typeface="+mn-cs"/>
            </a:endParaRPr>
          </a:p>
        </p:txBody>
      </p:sp>
      <p:sp>
        <p:nvSpPr>
          <p:cNvPr id="33" name="Text 47">
            <a:extLst>
              <a:ext uri="{FF2B5EF4-FFF2-40B4-BE49-F238E27FC236}">
                <a16:creationId xmlns:a16="http://schemas.microsoft.com/office/drawing/2014/main" id="{DAD11BE7-949E-DD6A-58F1-D4985A9B662F}"/>
              </a:ext>
            </a:extLst>
          </p:cNvPr>
          <p:cNvSpPr/>
          <p:nvPr/>
        </p:nvSpPr>
        <p:spPr>
          <a:xfrm>
            <a:off x="5244318" y="4501399"/>
            <a:ext cx="671684" cy="138491"/>
          </a:xfrm>
          <a:prstGeom prst="rect">
            <a:avLst/>
          </a:prstGeom>
          <a:noFill/>
          <a:ln/>
        </p:spPr>
        <p:txBody>
          <a:bodyPr wrap="square" lIns="0" tIns="0" rIns="0" bIns="0" rtlCol="0" anchor="t"/>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1828891" rtl="0" eaLnBrk="1" fontAlgn="auto" latinLnBrk="0" hangingPunct="1">
              <a:lnSpc>
                <a:spcPts val="873"/>
              </a:lnSpc>
              <a:spcBef>
                <a:spcPts val="0"/>
              </a:spcBef>
              <a:spcAft>
                <a:spcPts val="0"/>
              </a:spcAft>
              <a:buClrTx/>
              <a:buSzTx/>
              <a:buFontTx/>
              <a:buNone/>
              <a:tabLst/>
              <a:defRPr/>
            </a:pPr>
            <a:r>
              <a:rPr kumimoji="0" lang="en-US" sz="655" b="0" i="0" u="none" strike="noStrike" kern="0" cap="none" spc="2" normalizeH="0" baseline="0" noProof="0">
                <a:ln>
                  <a:noFill/>
                </a:ln>
                <a:solidFill>
                  <a:srgbClr val="000000">
                    <a:alpha val="100000"/>
                  </a:srgbClr>
                </a:solidFill>
                <a:effectLst/>
                <a:uLnTx/>
                <a:uFillTx/>
                <a:latin typeface="IBM Plex Sans Light" panose="020B0403050203000203" pitchFamily="34" charset="0"/>
                <a:ea typeface="+mn-ea"/>
                <a:cs typeface="+mn-cs"/>
              </a:rPr>
              <a:t>Milvus</a:t>
            </a:r>
            <a:endParaRPr kumimoji="0" lang="en-US" sz="655" b="0" i="0" u="none" strike="noStrike" kern="1200" cap="none" spc="0" normalizeH="0" baseline="0" noProof="0">
              <a:ln>
                <a:noFill/>
              </a:ln>
              <a:solidFill>
                <a:srgbClr val="000000"/>
              </a:solidFill>
              <a:effectLst/>
              <a:uLnTx/>
              <a:uFillTx/>
              <a:latin typeface="IBM Plex Sans Light" panose="020B0403050203000203" pitchFamily="34" charset="0"/>
              <a:ea typeface="+mn-ea"/>
              <a:cs typeface="+mn-cs"/>
            </a:endParaRPr>
          </a:p>
        </p:txBody>
      </p:sp>
      <p:sp>
        <p:nvSpPr>
          <p:cNvPr id="34" name="Shape 92">
            <a:extLst>
              <a:ext uri="{FF2B5EF4-FFF2-40B4-BE49-F238E27FC236}">
                <a16:creationId xmlns:a16="http://schemas.microsoft.com/office/drawing/2014/main" id="{7A57E3EA-6F18-36B8-2D14-046BA0EC40A0}"/>
              </a:ext>
            </a:extLst>
          </p:cNvPr>
          <p:cNvSpPr/>
          <p:nvPr/>
        </p:nvSpPr>
        <p:spPr>
          <a:xfrm>
            <a:off x="6765124" y="1922361"/>
            <a:ext cx="1325001" cy="1127299"/>
          </a:xfrm>
          <a:prstGeom prst="roundRect">
            <a:avLst>
              <a:gd name="adj" fmla="val 6887"/>
            </a:avLst>
          </a:prstGeom>
          <a:solidFill>
            <a:srgbClr val="FFFFFF">
              <a:alpha val="100000"/>
            </a:srgbClr>
          </a:solidFill>
          <a:ln w="12700">
            <a:solidFill>
              <a:srgbClr val="0E61FF"/>
            </a:solidFill>
            <a:prstDash val="sysDot"/>
          </a:ln>
          <a:effectLst>
            <a:outerShdw blurRad="317500" dist="50800" dir="16200000" algn="bl" rotWithShape="0">
              <a:srgbClr val="000000">
                <a:alpha val="10000"/>
              </a:srgbClr>
            </a:outerShdw>
          </a:effectLst>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1218956" rtl="0" eaLnBrk="1" fontAlgn="auto" latinLnBrk="0" hangingPunct="1">
              <a:lnSpc>
                <a:spcPct val="100000"/>
              </a:lnSpc>
              <a:spcBef>
                <a:spcPts val="0"/>
              </a:spcBef>
              <a:spcAft>
                <a:spcPts val="0"/>
              </a:spcAft>
              <a:buClrTx/>
              <a:buSzPct val="100000"/>
              <a:buFontTx/>
              <a:buNone/>
              <a:tabLst/>
              <a:defRPr/>
            </a:pPr>
            <a:endParaRPr kumimoji="0" lang="en-US" sz="1100" b="0" i="0" u="none" strike="noStrike" kern="0" cap="none" spc="0" normalizeH="0" baseline="0" noProof="0">
              <a:ln>
                <a:noFill/>
              </a:ln>
              <a:solidFill>
                <a:srgbClr val="000000"/>
              </a:solidFill>
              <a:effectLst/>
              <a:uLnTx/>
              <a:uFillTx/>
              <a:latin typeface="IBM Plex Sans Light" panose="020B0403050203000203" pitchFamily="34" charset="0"/>
              <a:ea typeface="+mn-ea"/>
              <a:cs typeface="+mn-cs"/>
              <a:sym typeface="IBM Plex Sans Light"/>
            </a:endParaRPr>
          </a:p>
        </p:txBody>
      </p:sp>
      <p:sp>
        <p:nvSpPr>
          <p:cNvPr id="36" name="Shape 42">
            <a:extLst>
              <a:ext uri="{FF2B5EF4-FFF2-40B4-BE49-F238E27FC236}">
                <a16:creationId xmlns:a16="http://schemas.microsoft.com/office/drawing/2014/main" id="{AB4B1182-1A80-2976-2BCA-B6C52C9BA166}"/>
              </a:ext>
            </a:extLst>
          </p:cNvPr>
          <p:cNvSpPr/>
          <p:nvPr/>
        </p:nvSpPr>
        <p:spPr>
          <a:xfrm>
            <a:off x="6847508" y="2565146"/>
            <a:ext cx="1020304" cy="163803"/>
          </a:xfrm>
          <a:prstGeom prst="roundRect">
            <a:avLst>
              <a:gd name="adj" fmla="val 50998"/>
            </a:avLst>
          </a:prstGeom>
          <a:solidFill>
            <a:srgbClr val="E0E0E0">
              <a:alpha val="100000"/>
            </a:srgbClr>
          </a:solid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1828891" rtl="0" eaLnBrk="1" fontAlgn="auto" latinLnBrk="0" hangingPunct="1">
              <a:lnSpc>
                <a:spcPct val="100000"/>
              </a:lnSpc>
              <a:spcBef>
                <a:spcPts val="0"/>
              </a:spcBef>
              <a:spcAft>
                <a:spcPts val="0"/>
              </a:spcAft>
              <a:buClrTx/>
              <a:buSzTx/>
              <a:buFontTx/>
              <a:buNone/>
              <a:tabLst/>
              <a:defRPr/>
            </a:pPr>
            <a:endParaRPr kumimoji="0" lang="en-US" sz="982" b="0" i="0" u="none" strike="noStrike" kern="1200" cap="none" spc="0" normalizeH="0" baseline="0" noProof="0">
              <a:ln>
                <a:noFill/>
              </a:ln>
              <a:solidFill>
                <a:srgbClr val="000000"/>
              </a:solidFill>
              <a:effectLst/>
              <a:uLnTx/>
              <a:uFillTx/>
              <a:latin typeface="IBM Plex Sans Light" panose="020B0403050203000203" pitchFamily="34" charset="0"/>
              <a:ea typeface="+mn-ea"/>
              <a:cs typeface="+mn-cs"/>
            </a:endParaRPr>
          </a:p>
        </p:txBody>
      </p:sp>
      <p:sp>
        <p:nvSpPr>
          <p:cNvPr id="37" name="Text 47">
            <a:extLst>
              <a:ext uri="{FF2B5EF4-FFF2-40B4-BE49-F238E27FC236}">
                <a16:creationId xmlns:a16="http://schemas.microsoft.com/office/drawing/2014/main" id="{494C6308-5407-3CD0-11B2-C16E9D95C6E2}"/>
              </a:ext>
            </a:extLst>
          </p:cNvPr>
          <p:cNvSpPr/>
          <p:nvPr/>
        </p:nvSpPr>
        <p:spPr>
          <a:xfrm>
            <a:off x="6898560" y="2592273"/>
            <a:ext cx="969252" cy="116233"/>
          </a:xfrm>
          <a:prstGeom prst="rect">
            <a:avLst/>
          </a:prstGeom>
          <a:noFill/>
          <a:ln/>
        </p:spPr>
        <p:txBody>
          <a:bodyPr wrap="square" lIns="0" tIns="0" rIns="0" bIns="0" rtlCol="0" anchor="t"/>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1828891" rtl="0" eaLnBrk="1" fontAlgn="auto" latinLnBrk="0" hangingPunct="1">
              <a:lnSpc>
                <a:spcPts val="873"/>
              </a:lnSpc>
              <a:spcBef>
                <a:spcPts val="0"/>
              </a:spcBef>
              <a:spcAft>
                <a:spcPts val="0"/>
              </a:spcAft>
              <a:buClrTx/>
              <a:buSzTx/>
              <a:buFontTx/>
              <a:buNone/>
              <a:tabLst/>
              <a:defRPr/>
            </a:pPr>
            <a:r>
              <a:rPr kumimoji="0" lang="en-US" sz="655" b="0" i="0" u="none" strike="noStrike" kern="0" cap="none" spc="2" normalizeH="0" baseline="0" noProof="0">
                <a:ln>
                  <a:noFill/>
                </a:ln>
                <a:solidFill>
                  <a:srgbClr val="000000">
                    <a:alpha val="100000"/>
                  </a:srgbClr>
                </a:solidFill>
                <a:effectLst/>
                <a:uLnTx/>
                <a:uFillTx/>
                <a:latin typeface="IBM Plex Sans Light" panose="020B0403050203000203" pitchFamily="34" charset="0"/>
                <a:ea typeface="+mn-ea"/>
                <a:cs typeface="+mn-cs"/>
              </a:rPr>
              <a:t>Document Management</a:t>
            </a:r>
            <a:endParaRPr kumimoji="0" lang="en-US" sz="655" b="0" i="0" u="none" strike="noStrike" kern="1200" cap="none" spc="0" normalizeH="0" baseline="0" noProof="0">
              <a:ln>
                <a:noFill/>
              </a:ln>
              <a:solidFill>
                <a:srgbClr val="000000"/>
              </a:solidFill>
              <a:effectLst/>
              <a:uLnTx/>
              <a:uFillTx/>
              <a:latin typeface="IBM Plex Sans Light" panose="020B0403050203000203" pitchFamily="34" charset="0"/>
              <a:ea typeface="+mn-ea"/>
              <a:cs typeface="+mn-cs"/>
            </a:endParaRPr>
          </a:p>
        </p:txBody>
      </p:sp>
      <p:sp>
        <p:nvSpPr>
          <p:cNvPr id="38" name="Shape 92">
            <a:extLst>
              <a:ext uri="{FF2B5EF4-FFF2-40B4-BE49-F238E27FC236}">
                <a16:creationId xmlns:a16="http://schemas.microsoft.com/office/drawing/2014/main" id="{D0503836-CC28-2689-48F3-4A431B5B081C}"/>
              </a:ext>
            </a:extLst>
          </p:cNvPr>
          <p:cNvSpPr/>
          <p:nvPr/>
        </p:nvSpPr>
        <p:spPr>
          <a:xfrm>
            <a:off x="8572048" y="1939982"/>
            <a:ext cx="1246084" cy="3682632"/>
          </a:xfrm>
          <a:prstGeom prst="roundRect">
            <a:avLst>
              <a:gd name="adj" fmla="val 6887"/>
            </a:avLst>
          </a:prstGeom>
          <a:solidFill>
            <a:schemeClr val="bg1"/>
          </a:solidFill>
          <a:ln w="12700">
            <a:solidFill>
              <a:srgbClr val="0E61FF"/>
            </a:solidFill>
            <a:prstDash val="sysDot"/>
          </a:ln>
          <a:effectLst>
            <a:outerShdw blurRad="317500" dist="50800" dir="16200000" algn="bl" rotWithShape="0">
              <a:srgbClr val="000000">
                <a:alpha val="10000"/>
              </a:srgbClr>
            </a:outerShdw>
          </a:effectLst>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1218956" rtl="0" eaLnBrk="1" fontAlgn="auto" latinLnBrk="0" hangingPunct="1">
              <a:lnSpc>
                <a:spcPct val="100000"/>
              </a:lnSpc>
              <a:spcBef>
                <a:spcPts val="0"/>
              </a:spcBef>
              <a:spcAft>
                <a:spcPts val="0"/>
              </a:spcAft>
              <a:buClrTx/>
              <a:buSzPct val="100000"/>
              <a:buFontTx/>
              <a:buNone/>
              <a:tabLst/>
              <a:defRPr/>
            </a:pPr>
            <a:endParaRPr kumimoji="0" lang="en-US" sz="1100" b="0" i="0" u="none" strike="noStrike" kern="0" cap="none" spc="0" normalizeH="0" baseline="0" noProof="0">
              <a:ln>
                <a:noFill/>
              </a:ln>
              <a:solidFill>
                <a:srgbClr val="000000"/>
              </a:solidFill>
              <a:effectLst/>
              <a:uLnTx/>
              <a:uFillTx/>
              <a:latin typeface="IBM Plex Sans Light" panose="020B0403050203000203" pitchFamily="34" charset="0"/>
              <a:ea typeface="+mn-ea"/>
              <a:cs typeface="+mn-cs"/>
              <a:sym typeface="IBM Plex Sans Light"/>
            </a:endParaRPr>
          </a:p>
        </p:txBody>
      </p:sp>
      <p:cxnSp>
        <p:nvCxnSpPr>
          <p:cNvPr id="123" name="Elbow Connector 122">
            <a:extLst>
              <a:ext uri="{FF2B5EF4-FFF2-40B4-BE49-F238E27FC236}">
                <a16:creationId xmlns:a16="http://schemas.microsoft.com/office/drawing/2014/main" id="{A5C81FC9-83B2-1700-1D28-694D519AF974}"/>
              </a:ext>
            </a:extLst>
          </p:cNvPr>
          <p:cNvCxnSpPr>
            <a:cxnSpLocks/>
          </p:cNvCxnSpPr>
          <p:nvPr/>
        </p:nvCxnSpPr>
        <p:spPr bwMode="auto">
          <a:xfrm>
            <a:off x="8334547" y="2944449"/>
            <a:ext cx="1832531" cy="12700"/>
          </a:xfrm>
          <a:prstGeom prst="bentConnector3">
            <a:avLst/>
          </a:prstGeom>
          <a:ln w="12700">
            <a:solidFill>
              <a:schemeClr val="tx1">
                <a:lumMod val="65000"/>
                <a:lumOff val="35000"/>
              </a:schemeClr>
            </a:solidFill>
            <a:headEnd type="none" w="med" len="med"/>
            <a:tailEnd type="triangle" w="lg" len="lg"/>
          </a:ln>
          <a:effectLst/>
        </p:spPr>
        <p:style>
          <a:lnRef idx="1">
            <a:schemeClr val="dk1"/>
          </a:lnRef>
          <a:fillRef idx="0">
            <a:schemeClr val="dk1"/>
          </a:fillRef>
          <a:effectRef idx="0">
            <a:schemeClr val="dk1"/>
          </a:effectRef>
          <a:fontRef idx="minor">
            <a:schemeClr val="tx1"/>
          </a:fontRef>
        </p:style>
      </p:cxnSp>
      <p:cxnSp>
        <p:nvCxnSpPr>
          <p:cNvPr id="124" name="Elbow Connector 123">
            <a:extLst>
              <a:ext uri="{FF2B5EF4-FFF2-40B4-BE49-F238E27FC236}">
                <a16:creationId xmlns:a16="http://schemas.microsoft.com/office/drawing/2014/main" id="{ABDDBABC-6C73-A1EB-4BF5-45FCB796B38B}"/>
              </a:ext>
            </a:extLst>
          </p:cNvPr>
          <p:cNvCxnSpPr>
            <a:cxnSpLocks/>
          </p:cNvCxnSpPr>
          <p:nvPr/>
        </p:nvCxnSpPr>
        <p:spPr bwMode="auto">
          <a:xfrm>
            <a:off x="8334547" y="4362541"/>
            <a:ext cx="1832531" cy="12700"/>
          </a:xfrm>
          <a:prstGeom prst="bentConnector3">
            <a:avLst/>
          </a:prstGeom>
          <a:ln w="12700">
            <a:solidFill>
              <a:schemeClr val="tx1">
                <a:lumMod val="65000"/>
                <a:lumOff val="35000"/>
              </a:schemeClr>
            </a:solidFill>
            <a:headEnd type="none" w="med" len="med"/>
            <a:tailEnd type="triangle" w="lg" len="lg"/>
          </a:ln>
          <a:effectLst/>
        </p:spPr>
        <p:style>
          <a:lnRef idx="1">
            <a:schemeClr val="dk1"/>
          </a:lnRef>
          <a:fillRef idx="0">
            <a:schemeClr val="dk1"/>
          </a:fillRef>
          <a:effectRef idx="0">
            <a:schemeClr val="dk1"/>
          </a:effectRef>
          <a:fontRef idx="minor">
            <a:schemeClr val="tx1"/>
          </a:fontRef>
        </p:style>
      </p:cxnSp>
      <p:cxnSp>
        <p:nvCxnSpPr>
          <p:cNvPr id="126" name="Straight Arrow Connector 125">
            <a:extLst>
              <a:ext uri="{FF2B5EF4-FFF2-40B4-BE49-F238E27FC236}">
                <a16:creationId xmlns:a16="http://schemas.microsoft.com/office/drawing/2014/main" id="{DA2F7CEE-BBAF-286E-DE57-72AD9C1CEA83}"/>
              </a:ext>
            </a:extLst>
          </p:cNvPr>
          <p:cNvCxnSpPr>
            <a:cxnSpLocks/>
          </p:cNvCxnSpPr>
          <p:nvPr/>
        </p:nvCxnSpPr>
        <p:spPr bwMode="auto">
          <a:xfrm>
            <a:off x="8081730" y="3605846"/>
            <a:ext cx="2103729" cy="0"/>
          </a:xfrm>
          <a:prstGeom prst="straightConnector1">
            <a:avLst/>
          </a:prstGeom>
          <a:ln w="12700">
            <a:solidFill>
              <a:schemeClr val="tx1">
                <a:lumMod val="65000"/>
                <a:lumOff val="35000"/>
              </a:schemeClr>
            </a:solidFill>
            <a:headEnd type="none" w="med" len="med"/>
            <a:tailEnd type="triangle" w="lg" len="lg"/>
          </a:ln>
          <a:effectLst/>
        </p:spPr>
        <p:style>
          <a:lnRef idx="1">
            <a:schemeClr val="dk1"/>
          </a:lnRef>
          <a:fillRef idx="0">
            <a:schemeClr val="dk1"/>
          </a:fillRef>
          <a:effectRef idx="0">
            <a:schemeClr val="dk1"/>
          </a:effectRef>
          <a:fontRef idx="minor">
            <a:schemeClr val="tx1"/>
          </a:fontRef>
        </p:style>
      </p:cxnSp>
      <p:sp>
        <p:nvSpPr>
          <p:cNvPr id="63" name="Shape 92">
            <a:extLst>
              <a:ext uri="{FF2B5EF4-FFF2-40B4-BE49-F238E27FC236}">
                <a16:creationId xmlns:a16="http://schemas.microsoft.com/office/drawing/2014/main" id="{5C39C805-9EFE-F802-FC5A-386EBB15294A}"/>
              </a:ext>
            </a:extLst>
          </p:cNvPr>
          <p:cNvSpPr/>
          <p:nvPr/>
        </p:nvSpPr>
        <p:spPr>
          <a:xfrm>
            <a:off x="8728762" y="2668200"/>
            <a:ext cx="956012" cy="424839"/>
          </a:xfrm>
          <a:prstGeom prst="roundRect">
            <a:avLst>
              <a:gd name="adj" fmla="val 6887"/>
            </a:avLst>
          </a:prstGeom>
          <a:solidFill>
            <a:srgbClr val="FFFFFF">
              <a:alpha val="100000"/>
            </a:srgbClr>
          </a:solidFill>
          <a:ln>
            <a:solidFill>
              <a:schemeClr val="tx1">
                <a:lumMod val="50000"/>
                <a:lumOff val="50000"/>
              </a:schemeClr>
            </a:solidFill>
          </a:ln>
          <a:effectLst>
            <a:outerShdw blurRad="317500" dist="50800" dir="16200000" algn="bl" rotWithShape="0">
              <a:srgbClr val="000000">
                <a:alpha val="10000"/>
              </a:srgbClr>
            </a:outerShdw>
          </a:effectLst>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1828891" rtl="0" eaLnBrk="1" fontAlgn="auto" latinLnBrk="0" hangingPunct="1">
              <a:lnSpc>
                <a:spcPct val="100000"/>
              </a:lnSpc>
              <a:spcBef>
                <a:spcPts val="0"/>
              </a:spcBef>
              <a:spcAft>
                <a:spcPts val="0"/>
              </a:spcAft>
              <a:buClrTx/>
              <a:buSzTx/>
              <a:buFontTx/>
              <a:buNone/>
              <a:tabLst/>
              <a:defRPr/>
            </a:pPr>
            <a:endParaRPr kumimoji="0" lang="en-US" sz="982" b="0" i="0" u="none" strike="noStrike" kern="1200" cap="none" spc="0" normalizeH="0" baseline="0" noProof="0">
              <a:ln>
                <a:noFill/>
              </a:ln>
              <a:solidFill>
                <a:srgbClr val="000000"/>
              </a:solidFill>
              <a:effectLst/>
              <a:uLnTx/>
              <a:uFillTx/>
              <a:latin typeface="IBM Plex Sans Light" panose="020B0403050203000203" pitchFamily="34" charset="0"/>
              <a:ea typeface="+mn-ea"/>
              <a:cs typeface="+mn-cs"/>
            </a:endParaRPr>
          </a:p>
        </p:txBody>
      </p:sp>
      <p:pic>
        <p:nvPicPr>
          <p:cNvPr id="64" name="Picture 8" descr="PrestoDB - Revision #15 - Database of Databases">
            <a:extLst>
              <a:ext uri="{FF2B5EF4-FFF2-40B4-BE49-F238E27FC236}">
                <a16:creationId xmlns:a16="http://schemas.microsoft.com/office/drawing/2014/main" id="{B2518D1A-E8E2-7337-2AD4-B0EAF5BD1CA9}"/>
              </a:ext>
            </a:extLst>
          </p:cNvPr>
          <p:cNvPicPr>
            <a:picLocks noChangeAspect="1" noChangeArrowheads="1"/>
          </p:cNvPicPr>
          <p:nvPr/>
        </p:nvPicPr>
        <p:blipFill>
          <a:blip r:embed="rId13">
            <a:biLevel thresh="75000"/>
            <a:extLst>
              <a:ext uri="{28A0092B-C50C-407E-A947-70E740481C1C}">
                <a14:useLocalDpi xmlns:a14="http://schemas.microsoft.com/office/drawing/2010/main" val="0"/>
              </a:ext>
            </a:extLst>
          </a:blip>
          <a:srcRect/>
          <a:stretch>
            <a:fillRect/>
          </a:stretch>
        </p:blipFill>
        <p:spPr bwMode="auto">
          <a:xfrm>
            <a:off x="8847451" y="2757499"/>
            <a:ext cx="753079" cy="246241"/>
          </a:xfrm>
          <a:prstGeom prst="rect">
            <a:avLst/>
          </a:prstGeom>
          <a:noFill/>
          <a:extLst>
            <a:ext uri="{909E8E84-426E-40DD-AFC4-6F175D3DCCD1}">
              <a14:hiddenFill xmlns:a14="http://schemas.microsoft.com/office/drawing/2010/main">
                <a:solidFill>
                  <a:srgbClr val="FFFFFF"/>
                </a:solidFill>
              </a14:hiddenFill>
            </a:ext>
          </a:extLst>
        </p:spPr>
      </p:pic>
      <p:sp>
        <p:nvSpPr>
          <p:cNvPr id="65" name="Shape 92">
            <a:extLst>
              <a:ext uri="{FF2B5EF4-FFF2-40B4-BE49-F238E27FC236}">
                <a16:creationId xmlns:a16="http://schemas.microsoft.com/office/drawing/2014/main" id="{F789D721-843D-01E0-788C-3ED5AB9F09BF}"/>
              </a:ext>
            </a:extLst>
          </p:cNvPr>
          <p:cNvSpPr/>
          <p:nvPr/>
        </p:nvSpPr>
        <p:spPr>
          <a:xfrm>
            <a:off x="8728762" y="4156472"/>
            <a:ext cx="956012" cy="424839"/>
          </a:xfrm>
          <a:prstGeom prst="roundRect">
            <a:avLst>
              <a:gd name="adj" fmla="val 6887"/>
            </a:avLst>
          </a:prstGeom>
          <a:solidFill>
            <a:srgbClr val="FFFFFF">
              <a:alpha val="100000"/>
            </a:srgbClr>
          </a:solidFill>
          <a:ln>
            <a:solidFill>
              <a:schemeClr val="tx1">
                <a:lumMod val="50000"/>
                <a:lumOff val="50000"/>
              </a:schemeClr>
            </a:solidFill>
          </a:ln>
          <a:effectLst>
            <a:outerShdw blurRad="317500" dist="50800" dir="16200000" algn="bl" rotWithShape="0">
              <a:srgbClr val="000000">
                <a:alpha val="10000"/>
              </a:srgbClr>
            </a:outerShdw>
          </a:effectLst>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1828891" rtl="0" eaLnBrk="1" fontAlgn="auto" latinLnBrk="0" hangingPunct="1">
              <a:lnSpc>
                <a:spcPct val="100000"/>
              </a:lnSpc>
              <a:spcBef>
                <a:spcPts val="0"/>
              </a:spcBef>
              <a:spcAft>
                <a:spcPts val="0"/>
              </a:spcAft>
              <a:buClrTx/>
              <a:buSzTx/>
              <a:buFontTx/>
              <a:buNone/>
              <a:tabLst/>
              <a:defRPr/>
            </a:pPr>
            <a:endParaRPr kumimoji="0" lang="en-US" sz="982" b="0" i="0" u="none" strike="noStrike" kern="1200" cap="none" spc="0" normalizeH="0" baseline="0" noProof="0">
              <a:ln>
                <a:noFill/>
              </a:ln>
              <a:solidFill>
                <a:srgbClr val="000000"/>
              </a:solidFill>
              <a:effectLst/>
              <a:uLnTx/>
              <a:uFillTx/>
              <a:latin typeface="IBM Plex Sans Light" panose="020B0403050203000203" pitchFamily="34" charset="0"/>
              <a:ea typeface="+mn-ea"/>
              <a:cs typeface="+mn-cs"/>
            </a:endParaRPr>
          </a:p>
        </p:txBody>
      </p:sp>
      <p:sp>
        <p:nvSpPr>
          <p:cNvPr id="66" name="Shape 92">
            <a:extLst>
              <a:ext uri="{FF2B5EF4-FFF2-40B4-BE49-F238E27FC236}">
                <a16:creationId xmlns:a16="http://schemas.microsoft.com/office/drawing/2014/main" id="{893CBB40-09BF-BEE3-51A4-60E422AEECEB}"/>
              </a:ext>
            </a:extLst>
          </p:cNvPr>
          <p:cNvSpPr/>
          <p:nvPr/>
        </p:nvSpPr>
        <p:spPr>
          <a:xfrm>
            <a:off x="8728762" y="3423853"/>
            <a:ext cx="956012" cy="424839"/>
          </a:xfrm>
          <a:prstGeom prst="roundRect">
            <a:avLst>
              <a:gd name="adj" fmla="val 6887"/>
            </a:avLst>
          </a:prstGeom>
          <a:solidFill>
            <a:srgbClr val="FFFFFF">
              <a:alpha val="100000"/>
            </a:srgbClr>
          </a:solidFill>
          <a:ln>
            <a:solidFill>
              <a:schemeClr val="tx1">
                <a:lumMod val="50000"/>
                <a:lumOff val="50000"/>
              </a:schemeClr>
            </a:solidFill>
          </a:ln>
          <a:effectLst>
            <a:outerShdw blurRad="317500" dist="50800" dir="16200000" algn="bl" rotWithShape="0">
              <a:srgbClr val="000000">
                <a:alpha val="10000"/>
              </a:srgbClr>
            </a:outerShdw>
          </a:effectLst>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1828891" rtl="0" eaLnBrk="1" fontAlgn="auto" latinLnBrk="0" hangingPunct="1">
              <a:lnSpc>
                <a:spcPct val="100000"/>
              </a:lnSpc>
              <a:spcBef>
                <a:spcPts val="0"/>
              </a:spcBef>
              <a:spcAft>
                <a:spcPts val="0"/>
              </a:spcAft>
              <a:buClrTx/>
              <a:buSzTx/>
              <a:buFontTx/>
              <a:buNone/>
              <a:tabLst/>
              <a:defRPr/>
            </a:pPr>
            <a:endParaRPr kumimoji="0" lang="en-US" sz="982" b="0" i="0" u="none" strike="noStrike" kern="1200" cap="none" spc="0" normalizeH="0" baseline="0" noProof="0">
              <a:ln>
                <a:noFill/>
              </a:ln>
              <a:solidFill>
                <a:srgbClr val="000000"/>
              </a:solidFill>
              <a:effectLst/>
              <a:uLnTx/>
              <a:uFillTx/>
              <a:latin typeface="IBM Plex Sans Light" panose="020B0403050203000203" pitchFamily="34" charset="0"/>
              <a:ea typeface="+mn-ea"/>
              <a:cs typeface="+mn-cs"/>
            </a:endParaRPr>
          </a:p>
        </p:txBody>
      </p:sp>
      <p:pic>
        <p:nvPicPr>
          <p:cNvPr id="70" name="Picture 4" descr="Data modeling in Spark (Part 1): Running SQL queries on DataFrames in Spark  SQL | Snowplow">
            <a:extLst>
              <a:ext uri="{FF2B5EF4-FFF2-40B4-BE49-F238E27FC236}">
                <a16:creationId xmlns:a16="http://schemas.microsoft.com/office/drawing/2014/main" id="{9BB1142D-311D-0650-C397-F19FA363546E}"/>
              </a:ext>
            </a:extLst>
          </p:cNvPr>
          <p:cNvPicPr>
            <a:picLocks noChangeAspect="1" noChangeArrowheads="1"/>
          </p:cNvPicPr>
          <p:nvPr/>
        </p:nvPicPr>
        <p:blipFill>
          <a:blip r:embed="rId14">
            <a:biLevel thresh="75000"/>
            <a:extLst>
              <a:ext uri="{28A0092B-C50C-407E-A947-70E740481C1C}">
                <a14:useLocalDpi xmlns:a14="http://schemas.microsoft.com/office/drawing/2010/main" val="0"/>
              </a:ext>
            </a:extLst>
          </a:blip>
          <a:srcRect/>
          <a:stretch>
            <a:fillRect/>
          </a:stretch>
        </p:blipFill>
        <p:spPr bwMode="auto">
          <a:xfrm>
            <a:off x="8944585" y="3494588"/>
            <a:ext cx="524365" cy="283368"/>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2" descr="LF AI &amp; Data Foundation Logos and Artwork - Milvus">
            <a:extLst>
              <a:ext uri="{FF2B5EF4-FFF2-40B4-BE49-F238E27FC236}">
                <a16:creationId xmlns:a16="http://schemas.microsoft.com/office/drawing/2014/main" id="{15B59B70-D30D-C70E-A757-27980F7F3533}"/>
              </a:ext>
            </a:extLst>
          </p:cNvPr>
          <p:cNvPicPr>
            <a:picLocks noChangeAspect="1" noChangeArrowheads="1"/>
          </p:cNvPicPr>
          <p:nvPr/>
        </p:nvPicPr>
        <p:blipFill>
          <a:blip r:embed="rId15">
            <a:biLevel thresh="75000"/>
            <a:extLst>
              <a:ext uri="{28A0092B-C50C-407E-A947-70E740481C1C}">
                <a14:useLocalDpi xmlns:a14="http://schemas.microsoft.com/office/drawing/2010/main" val="0"/>
              </a:ext>
            </a:extLst>
          </a:blip>
          <a:srcRect/>
          <a:stretch>
            <a:fillRect/>
          </a:stretch>
        </p:blipFill>
        <p:spPr bwMode="auto">
          <a:xfrm>
            <a:off x="8782521" y="4272824"/>
            <a:ext cx="821101" cy="192135"/>
          </a:xfrm>
          <a:prstGeom prst="rect">
            <a:avLst/>
          </a:prstGeom>
          <a:noFill/>
          <a:extLst>
            <a:ext uri="{909E8E84-426E-40DD-AFC4-6F175D3DCCD1}">
              <a14:hiddenFill xmlns:a14="http://schemas.microsoft.com/office/drawing/2010/main">
                <a:solidFill>
                  <a:srgbClr val="FFFFFF"/>
                </a:solidFill>
              </a14:hiddenFill>
            </a:ext>
          </a:extLst>
        </p:spPr>
      </p:pic>
      <p:sp>
        <p:nvSpPr>
          <p:cNvPr id="54" name="Title 1">
            <a:extLst>
              <a:ext uri="{FF2B5EF4-FFF2-40B4-BE49-F238E27FC236}">
                <a16:creationId xmlns:a16="http://schemas.microsoft.com/office/drawing/2014/main" id="{36A0C136-D693-6950-42C9-99DB103ED685}"/>
              </a:ext>
            </a:extLst>
          </p:cNvPr>
          <p:cNvSpPr txBox="1">
            <a:spLocks/>
          </p:cNvSpPr>
          <p:nvPr/>
        </p:nvSpPr>
        <p:spPr>
          <a:xfrm>
            <a:off x="301584" y="267111"/>
            <a:ext cx="12026479" cy="59363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457200" bIns="0" anchor="t"/>
          <a:lstStyle>
            <a:lvl1pPr marL="0" marR="0" indent="0" algn="l" defTabSz="1218956" rtl="0" eaLnBrk="1" latinLnBrk="0" hangingPunct="1">
              <a:lnSpc>
                <a:spcPct val="100000"/>
              </a:lnSpc>
              <a:spcBef>
                <a:spcPts val="0"/>
              </a:spcBef>
              <a:spcAft>
                <a:spcPts val="0"/>
              </a:spcAft>
              <a:buClrTx/>
              <a:buSzTx/>
              <a:buFontTx/>
              <a:buNone/>
              <a:tabLst/>
              <a:defRPr sz="3199" b="0" i="0" u="none" strike="noStrike" cap="none" spc="0" baseline="0">
                <a:solidFill>
                  <a:schemeClr val="tx2"/>
                </a:solidFill>
                <a:uFillTx/>
                <a:latin typeface="+mj-lt"/>
                <a:ea typeface="+mj-ea"/>
                <a:cs typeface="+mj-cs"/>
                <a:sym typeface="IBM Plex Sans Light"/>
              </a:defRPr>
            </a:lvl1pPr>
            <a:lvl2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8"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7"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4"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93"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pPr marL="0" marR="0" lvl="0" indent="0" algn="l" defTabSz="1218956"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000000"/>
                </a:solidFill>
                <a:effectLst/>
                <a:uLnTx/>
                <a:uFillTx/>
                <a:latin typeface="IBM Plex Sans Light"/>
                <a:ea typeface="+mj-ea"/>
                <a:cs typeface="+mj-cs"/>
                <a:sym typeface="IBM Plex Sans Light"/>
              </a:rPr>
              <a:t>Gen-AI is transforming the ability to process unstructured data for advanced analytics</a:t>
            </a:r>
          </a:p>
        </p:txBody>
      </p:sp>
      <p:sp>
        <p:nvSpPr>
          <p:cNvPr id="56" name="Shape 42">
            <a:extLst>
              <a:ext uri="{FF2B5EF4-FFF2-40B4-BE49-F238E27FC236}">
                <a16:creationId xmlns:a16="http://schemas.microsoft.com/office/drawing/2014/main" id="{A6FDD7F9-C757-2AD8-1864-C07F1DF91938}"/>
              </a:ext>
            </a:extLst>
          </p:cNvPr>
          <p:cNvSpPr/>
          <p:nvPr/>
        </p:nvSpPr>
        <p:spPr>
          <a:xfrm>
            <a:off x="6848921" y="2776577"/>
            <a:ext cx="1020304" cy="163803"/>
          </a:xfrm>
          <a:prstGeom prst="roundRect">
            <a:avLst>
              <a:gd name="adj" fmla="val 50998"/>
            </a:avLst>
          </a:prstGeom>
          <a:solidFill>
            <a:srgbClr val="E0E0E0">
              <a:alpha val="100000"/>
            </a:srgbClr>
          </a:solid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1828891" rtl="0" eaLnBrk="1" fontAlgn="auto" latinLnBrk="0" hangingPunct="1">
              <a:lnSpc>
                <a:spcPct val="100000"/>
              </a:lnSpc>
              <a:spcBef>
                <a:spcPts val="0"/>
              </a:spcBef>
              <a:spcAft>
                <a:spcPts val="0"/>
              </a:spcAft>
              <a:buClrTx/>
              <a:buSzTx/>
              <a:buFontTx/>
              <a:buNone/>
              <a:tabLst/>
              <a:defRPr/>
            </a:pPr>
            <a:endParaRPr kumimoji="0" lang="en-US" sz="982" b="0" i="0" u="none" strike="noStrike" kern="1200" cap="none" spc="0" normalizeH="0" baseline="0" noProof="0">
              <a:ln>
                <a:noFill/>
              </a:ln>
              <a:solidFill>
                <a:srgbClr val="000000"/>
              </a:solidFill>
              <a:effectLst/>
              <a:uLnTx/>
              <a:uFillTx/>
              <a:latin typeface="IBM Plex Sans Light" panose="020B0403050203000203" pitchFamily="34" charset="0"/>
              <a:ea typeface="+mn-ea"/>
              <a:cs typeface="+mn-cs"/>
            </a:endParaRPr>
          </a:p>
        </p:txBody>
      </p:sp>
      <p:sp>
        <p:nvSpPr>
          <p:cNvPr id="57" name="Text 47">
            <a:extLst>
              <a:ext uri="{FF2B5EF4-FFF2-40B4-BE49-F238E27FC236}">
                <a16:creationId xmlns:a16="http://schemas.microsoft.com/office/drawing/2014/main" id="{6A59F9C9-0C91-0E48-1576-F17AC0FF80C7}"/>
              </a:ext>
            </a:extLst>
          </p:cNvPr>
          <p:cNvSpPr/>
          <p:nvPr/>
        </p:nvSpPr>
        <p:spPr>
          <a:xfrm>
            <a:off x="6899973" y="2803704"/>
            <a:ext cx="969252" cy="116233"/>
          </a:xfrm>
          <a:prstGeom prst="rect">
            <a:avLst/>
          </a:prstGeom>
          <a:noFill/>
          <a:ln/>
        </p:spPr>
        <p:txBody>
          <a:bodyPr wrap="square" lIns="0" tIns="0" rIns="0" bIns="0" rtlCol="0" anchor="t"/>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1828891" rtl="0" eaLnBrk="1" fontAlgn="auto" latinLnBrk="0" hangingPunct="1">
              <a:lnSpc>
                <a:spcPts val="873"/>
              </a:lnSpc>
              <a:spcBef>
                <a:spcPts val="0"/>
              </a:spcBef>
              <a:spcAft>
                <a:spcPts val="0"/>
              </a:spcAft>
              <a:buClrTx/>
              <a:buSzTx/>
              <a:buFontTx/>
              <a:buNone/>
              <a:tabLst/>
              <a:defRPr/>
            </a:pPr>
            <a:r>
              <a:rPr kumimoji="0" lang="en-US" sz="655" b="0" i="0" u="none" strike="noStrike" kern="0" cap="none" spc="2" normalizeH="0" baseline="0" noProof="0">
                <a:ln>
                  <a:noFill/>
                </a:ln>
                <a:solidFill>
                  <a:srgbClr val="000000">
                    <a:alpha val="100000"/>
                  </a:srgbClr>
                </a:solidFill>
                <a:effectLst/>
                <a:uLnTx/>
                <a:uFillTx/>
                <a:latin typeface="IBM Plex Sans Light" panose="020B0403050203000203" pitchFamily="34" charset="0"/>
                <a:ea typeface="+mn-ea"/>
                <a:cs typeface="+mn-cs"/>
              </a:rPr>
              <a:t>Data Lineage</a:t>
            </a:r>
            <a:endParaRPr kumimoji="0" lang="en-US" sz="655" b="0" i="0" u="none" strike="noStrike" kern="1200" cap="none" spc="0" normalizeH="0" baseline="0" noProof="0">
              <a:ln>
                <a:noFill/>
              </a:ln>
              <a:solidFill>
                <a:srgbClr val="000000"/>
              </a:solidFill>
              <a:effectLst/>
              <a:uLnTx/>
              <a:uFillTx/>
              <a:latin typeface="IBM Plex Sans Light" panose="020B0403050203000203" pitchFamily="34" charset="0"/>
              <a:ea typeface="+mn-ea"/>
              <a:cs typeface="+mn-cs"/>
            </a:endParaRPr>
          </a:p>
        </p:txBody>
      </p:sp>
      <p:sp>
        <p:nvSpPr>
          <p:cNvPr id="58" name="Shape 42">
            <a:extLst>
              <a:ext uri="{FF2B5EF4-FFF2-40B4-BE49-F238E27FC236}">
                <a16:creationId xmlns:a16="http://schemas.microsoft.com/office/drawing/2014/main" id="{2B9EC7C5-02C2-6B63-5D80-B175131B1757}"/>
              </a:ext>
            </a:extLst>
          </p:cNvPr>
          <p:cNvSpPr/>
          <p:nvPr/>
        </p:nvSpPr>
        <p:spPr>
          <a:xfrm>
            <a:off x="6843579" y="2347524"/>
            <a:ext cx="1020304" cy="163803"/>
          </a:xfrm>
          <a:prstGeom prst="roundRect">
            <a:avLst>
              <a:gd name="adj" fmla="val 50998"/>
            </a:avLst>
          </a:prstGeom>
          <a:solidFill>
            <a:srgbClr val="E0E0E0">
              <a:alpha val="100000"/>
            </a:srgbClr>
          </a:solid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1828891" rtl="0" eaLnBrk="1" fontAlgn="auto" latinLnBrk="0" hangingPunct="1">
              <a:lnSpc>
                <a:spcPct val="100000"/>
              </a:lnSpc>
              <a:spcBef>
                <a:spcPts val="0"/>
              </a:spcBef>
              <a:spcAft>
                <a:spcPts val="0"/>
              </a:spcAft>
              <a:buClrTx/>
              <a:buSzTx/>
              <a:buFontTx/>
              <a:buNone/>
              <a:tabLst/>
              <a:defRPr/>
            </a:pPr>
            <a:endParaRPr kumimoji="0" lang="en-US" sz="982" b="0" i="0" u="none" strike="noStrike" kern="1200" cap="none" spc="0" normalizeH="0" baseline="0" noProof="0">
              <a:ln>
                <a:noFill/>
              </a:ln>
              <a:solidFill>
                <a:srgbClr val="000000"/>
              </a:solidFill>
              <a:effectLst/>
              <a:uLnTx/>
              <a:uFillTx/>
              <a:latin typeface="IBM Plex Sans Light" panose="020B0403050203000203" pitchFamily="34" charset="0"/>
              <a:ea typeface="+mn-ea"/>
              <a:cs typeface="+mn-cs"/>
            </a:endParaRPr>
          </a:p>
        </p:txBody>
      </p:sp>
      <p:sp>
        <p:nvSpPr>
          <p:cNvPr id="59" name="Text 47">
            <a:extLst>
              <a:ext uri="{FF2B5EF4-FFF2-40B4-BE49-F238E27FC236}">
                <a16:creationId xmlns:a16="http://schemas.microsoft.com/office/drawing/2014/main" id="{474F3351-9EE2-F8AB-9293-74302807645A}"/>
              </a:ext>
            </a:extLst>
          </p:cNvPr>
          <p:cNvSpPr/>
          <p:nvPr/>
        </p:nvSpPr>
        <p:spPr>
          <a:xfrm>
            <a:off x="6894631" y="2374651"/>
            <a:ext cx="969252" cy="116233"/>
          </a:xfrm>
          <a:prstGeom prst="rect">
            <a:avLst/>
          </a:prstGeom>
          <a:noFill/>
          <a:ln/>
        </p:spPr>
        <p:txBody>
          <a:bodyPr wrap="square" lIns="0" tIns="0" rIns="0" bIns="0" rtlCol="0" anchor="t"/>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1828891" rtl="0" eaLnBrk="1" fontAlgn="auto" latinLnBrk="0" hangingPunct="1">
              <a:lnSpc>
                <a:spcPts val="873"/>
              </a:lnSpc>
              <a:spcBef>
                <a:spcPts val="0"/>
              </a:spcBef>
              <a:spcAft>
                <a:spcPts val="0"/>
              </a:spcAft>
              <a:buClrTx/>
              <a:buSzTx/>
              <a:buFontTx/>
              <a:buNone/>
              <a:tabLst/>
              <a:defRPr/>
            </a:pPr>
            <a:r>
              <a:rPr kumimoji="0" lang="en-US" sz="655" b="0" i="0" u="none" strike="noStrike" kern="0" cap="none" spc="2" normalizeH="0" baseline="0" noProof="0">
                <a:ln>
                  <a:noFill/>
                </a:ln>
                <a:solidFill>
                  <a:srgbClr val="000000">
                    <a:alpha val="100000"/>
                  </a:srgbClr>
                </a:solidFill>
                <a:effectLst/>
                <a:uLnTx/>
                <a:uFillTx/>
                <a:latin typeface="IBM Plex Sans Light" panose="020B0403050203000203" pitchFamily="34" charset="0"/>
                <a:ea typeface="+mn-ea"/>
                <a:cs typeface="+mn-cs"/>
              </a:rPr>
              <a:t>Access Control</a:t>
            </a:r>
            <a:endParaRPr kumimoji="0" lang="en-US" sz="655" b="0" i="0" u="none" strike="noStrike" kern="1200" cap="none" spc="0" normalizeH="0" baseline="0" noProof="0">
              <a:ln>
                <a:noFill/>
              </a:ln>
              <a:solidFill>
                <a:srgbClr val="000000"/>
              </a:solidFill>
              <a:effectLst/>
              <a:uLnTx/>
              <a:uFillTx/>
              <a:latin typeface="IBM Plex Sans Light" panose="020B0403050203000203" pitchFamily="34" charset="0"/>
              <a:ea typeface="+mn-ea"/>
              <a:cs typeface="+mn-cs"/>
            </a:endParaRPr>
          </a:p>
        </p:txBody>
      </p:sp>
      <p:sp>
        <p:nvSpPr>
          <p:cNvPr id="67" name="Shape 92">
            <a:extLst>
              <a:ext uri="{FF2B5EF4-FFF2-40B4-BE49-F238E27FC236}">
                <a16:creationId xmlns:a16="http://schemas.microsoft.com/office/drawing/2014/main" id="{FC64FE12-15DF-5A68-7379-ABCDDF2D2635}"/>
              </a:ext>
            </a:extLst>
          </p:cNvPr>
          <p:cNvSpPr/>
          <p:nvPr/>
        </p:nvSpPr>
        <p:spPr>
          <a:xfrm>
            <a:off x="1620665" y="1922361"/>
            <a:ext cx="1287912" cy="386374"/>
          </a:xfrm>
          <a:prstGeom prst="roundRect">
            <a:avLst>
              <a:gd name="adj" fmla="val 6887"/>
            </a:avLst>
          </a:prstGeom>
          <a:solidFill>
            <a:schemeClr val="accent1"/>
          </a:solidFill>
          <a:ln w="12700">
            <a:solidFill>
              <a:srgbClr val="0E61FF"/>
            </a:solidFill>
            <a:prstDash val="sysDot"/>
          </a:ln>
          <a:effectLst>
            <a:outerShdw blurRad="317500" dist="50800" dir="16200000" algn="bl" rotWithShape="0">
              <a:srgbClr val="000000">
                <a:alpha val="10000"/>
              </a:srgbClr>
            </a:outerShdw>
          </a:effectLst>
        </p:spPr>
        <p:txBody>
          <a:bodyPr lIns="0" tIns="0" rIns="0" bIns="0" anchor="ct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ctr" defTabSz="1218956" rtl="0" eaLnBrk="1" fontAlgn="auto" latinLnBrk="0" hangingPunct="1">
              <a:lnSpc>
                <a:spcPct val="100000"/>
              </a:lnSpc>
              <a:spcBef>
                <a:spcPts val="0"/>
              </a:spcBef>
              <a:spcAft>
                <a:spcPts val="0"/>
              </a:spcAft>
              <a:buClrTx/>
              <a:buSzPct val="100000"/>
              <a:buFontTx/>
              <a:buNone/>
              <a:tabLst/>
              <a:defRPr/>
            </a:pPr>
            <a:r>
              <a:rPr kumimoji="0" lang="en-US" sz="900" b="1" i="0" u="none" strike="noStrike" kern="0" cap="none" spc="0" normalizeH="0" baseline="0" noProof="0">
                <a:ln>
                  <a:noFill/>
                </a:ln>
                <a:solidFill>
                  <a:srgbClr val="FFFFFF"/>
                </a:solidFill>
                <a:effectLst/>
                <a:uLnTx/>
                <a:uFillTx/>
                <a:latin typeface="IBM Plex Sans Light" panose="020B0403050203000203" pitchFamily="34" charset="0"/>
                <a:ea typeface="+mn-ea"/>
                <a:cs typeface="+mn-cs"/>
                <a:sym typeface="IBM Plex Sans Light"/>
              </a:rPr>
              <a:t>Unstructured Data</a:t>
            </a:r>
          </a:p>
        </p:txBody>
      </p:sp>
      <p:sp>
        <p:nvSpPr>
          <p:cNvPr id="68" name="Shape 92">
            <a:extLst>
              <a:ext uri="{FF2B5EF4-FFF2-40B4-BE49-F238E27FC236}">
                <a16:creationId xmlns:a16="http://schemas.microsoft.com/office/drawing/2014/main" id="{BABA9687-654F-8B2B-BBEB-D71DFB474E69}"/>
              </a:ext>
            </a:extLst>
          </p:cNvPr>
          <p:cNvSpPr/>
          <p:nvPr/>
        </p:nvSpPr>
        <p:spPr>
          <a:xfrm>
            <a:off x="198523" y="1922361"/>
            <a:ext cx="1171258" cy="386375"/>
          </a:xfrm>
          <a:prstGeom prst="roundRect">
            <a:avLst>
              <a:gd name="adj" fmla="val 6887"/>
            </a:avLst>
          </a:prstGeom>
          <a:solidFill>
            <a:schemeClr val="accent1"/>
          </a:solidFill>
          <a:ln w="12700">
            <a:solidFill>
              <a:srgbClr val="0E61FF"/>
            </a:solidFill>
            <a:prstDash val="sysDot"/>
          </a:ln>
          <a:effectLst>
            <a:outerShdw blurRad="317500" dist="50800" dir="16200000" algn="bl" rotWithShape="0">
              <a:srgbClr val="000000">
                <a:alpha val="10000"/>
              </a:srgbClr>
            </a:outerShdw>
          </a:effectLst>
        </p:spPr>
        <p:txBody>
          <a:bodyPr lIns="0" tIns="0" rIns="0" bIns="0" anchor="ct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ctr" defTabSz="1218956" rtl="0" eaLnBrk="1" fontAlgn="auto" latinLnBrk="0" hangingPunct="1">
              <a:lnSpc>
                <a:spcPct val="100000"/>
              </a:lnSpc>
              <a:spcBef>
                <a:spcPts val="0"/>
              </a:spcBef>
              <a:spcAft>
                <a:spcPts val="0"/>
              </a:spcAft>
              <a:buClrTx/>
              <a:buSzPct val="100000"/>
              <a:buFontTx/>
              <a:buNone/>
              <a:tabLst/>
              <a:defRPr/>
            </a:pPr>
            <a:r>
              <a:rPr kumimoji="0" lang="en-US" sz="900" b="1" i="0" u="none" strike="noStrike" kern="0" cap="none" spc="0" normalizeH="0" baseline="0" noProof="0">
                <a:ln>
                  <a:noFill/>
                </a:ln>
                <a:solidFill>
                  <a:srgbClr val="FFFFFF"/>
                </a:solidFill>
                <a:effectLst/>
                <a:uLnTx/>
                <a:uFillTx/>
                <a:latin typeface="IBM Plex Sans Light" panose="020B0403050203000203" pitchFamily="34" charset="0"/>
                <a:ea typeface="+mn-ea"/>
                <a:cs typeface="+mn-cs"/>
                <a:sym typeface="IBM Plex Sans Light"/>
              </a:rPr>
              <a:t>Document management systems</a:t>
            </a:r>
          </a:p>
        </p:txBody>
      </p:sp>
      <p:sp>
        <p:nvSpPr>
          <p:cNvPr id="69" name="Shape 92">
            <a:extLst>
              <a:ext uri="{FF2B5EF4-FFF2-40B4-BE49-F238E27FC236}">
                <a16:creationId xmlns:a16="http://schemas.microsoft.com/office/drawing/2014/main" id="{BB9E6C97-4589-F562-4542-ECA3061959EE}"/>
              </a:ext>
            </a:extLst>
          </p:cNvPr>
          <p:cNvSpPr/>
          <p:nvPr/>
        </p:nvSpPr>
        <p:spPr>
          <a:xfrm>
            <a:off x="5000601" y="1922361"/>
            <a:ext cx="1475474" cy="386375"/>
          </a:xfrm>
          <a:prstGeom prst="roundRect">
            <a:avLst>
              <a:gd name="adj" fmla="val 6887"/>
            </a:avLst>
          </a:prstGeom>
          <a:solidFill>
            <a:schemeClr val="accent1"/>
          </a:solidFill>
          <a:ln w="12700">
            <a:solidFill>
              <a:srgbClr val="0E61FF"/>
            </a:solidFill>
            <a:prstDash val="sysDot"/>
          </a:ln>
          <a:effectLst>
            <a:outerShdw blurRad="317500" dist="50800" dir="16200000" algn="bl" rotWithShape="0">
              <a:srgbClr val="000000">
                <a:alpha val="10000"/>
              </a:srgbClr>
            </a:outerShdw>
          </a:effectLst>
        </p:spPr>
        <p:txBody>
          <a:bodyPr lIns="0" tIns="0" rIns="0" bIns="0" anchor="ct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ctr" defTabSz="1218956" rtl="0" eaLnBrk="1" fontAlgn="auto" latinLnBrk="0" hangingPunct="1">
              <a:lnSpc>
                <a:spcPct val="100000"/>
              </a:lnSpc>
              <a:spcBef>
                <a:spcPts val="0"/>
              </a:spcBef>
              <a:spcAft>
                <a:spcPts val="0"/>
              </a:spcAft>
              <a:buClrTx/>
              <a:buSzPct val="100000"/>
              <a:buFontTx/>
              <a:buNone/>
              <a:tabLst/>
              <a:defRPr/>
            </a:pPr>
            <a:r>
              <a:rPr kumimoji="0" lang="en-US" sz="900" b="1" i="0" u="none" strike="noStrike" kern="0" cap="none" spc="0" normalizeH="0" baseline="0" noProof="0" dirty="0">
                <a:ln>
                  <a:noFill/>
                </a:ln>
                <a:solidFill>
                  <a:srgbClr val="FFFFFF"/>
                </a:solidFill>
                <a:effectLst/>
                <a:uLnTx/>
                <a:uFillTx/>
                <a:latin typeface="IBM Plex Sans Light" panose="020B0403050203000203" pitchFamily="34" charset="0"/>
                <a:ea typeface="+mn-ea"/>
                <a:cs typeface="+mn-cs"/>
                <a:sym typeface="IBM Plex Sans Light"/>
              </a:rPr>
              <a:t>Unstructured </a:t>
            </a:r>
          </a:p>
          <a:p>
            <a:pPr marL="0" marR="0" lvl="0" indent="0" algn="ctr" defTabSz="1218956" rtl="0" eaLnBrk="1" fontAlgn="auto" latinLnBrk="0" hangingPunct="1">
              <a:lnSpc>
                <a:spcPct val="100000"/>
              </a:lnSpc>
              <a:spcBef>
                <a:spcPts val="0"/>
              </a:spcBef>
              <a:spcAft>
                <a:spcPts val="0"/>
              </a:spcAft>
              <a:buClrTx/>
              <a:buSzPct val="100000"/>
              <a:buFontTx/>
              <a:buNone/>
              <a:tabLst/>
              <a:defRPr/>
            </a:pPr>
            <a:r>
              <a:rPr kumimoji="0" lang="en-US" sz="900" b="1" i="0" u="none" strike="noStrike" kern="0" cap="none" spc="0" normalizeH="0" baseline="0" noProof="0" dirty="0">
                <a:ln>
                  <a:noFill/>
                </a:ln>
                <a:solidFill>
                  <a:srgbClr val="FFFFFF"/>
                </a:solidFill>
                <a:effectLst/>
                <a:uLnTx/>
                <a:uFillTx/>
                <a:latin typeface="IBM Plex Sans Light" panose="020B0403050203000203" pitchFamily="34" charset="0"/>
                <a:ea typeface="+mn-ea"/>
                <a:cs typeface="+mn-cs"/>
                <a:sym typeface="IBM Plex Sans Light"/>
              </a:rPr>
              <a:t>Data Preparation</a:t>
            </a:r>
          </a:p>
        </p:txBody>
      </p:sp>
      <p:sp>
        <p:nvSpPr>
          <p:cNvPr id="71" name="Shape 92">
            <a:extLst>
              <a:ext uri="{FF2B5EF4-FFF2-40B4-BE49-F238E27FC236}">
                <a16:creationId xmlns:a16="http://schemas.microsoft.com/office/drawing/2014/main" id="{7A6DF9E4-E27D-53EB-C1A0-A182413A7FD9}"/>
              </a:ext>
            </a:extLst>
          </p:cNvPr>
          <p:cNvSpPr/>
          <p:nvPr/>
        </p:nvSpPr>
        <p:spPr>
          <a:xfrm>
            <a:off x="6766664" y="1922361"/>
            <a:ext cx="1323461" cy="386375"/>
          </a:xfrm>
          <a:prstGeom prst="roundRect">
            <a:avLst>
              <a:gd name="adj" fmla="val 6887"/>
            </a:avLst>
          </a:prstGeom>
          <a:solidFill>
            <a:schemeClr val="accent1"/>
          </a:solidFill>
          <a:ln w="12700">
            <a:solidFill>
              <a:srgbClr val="0E61FF"/>
            </a:solidFill>
            <a:prstDash val="sysDot"/>
          </a:ln>
          <a:effectLst>
            <a:outerShdw blurRad="317500" dist="50800" dir="16200000" algn="bl" rotWithShape="0">
              <a:srgbClr val="000000">
                <a:alpha val="10000"/>
              </a:srgbClr>
            </a:outerShdw>
          </a:effectLst>
        </p:spPr>
        <p:txBody>
          <a:bodyPr lIns="0" tIns="0" rIns="0" bIns="0" anchor="ct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ctr" defTabSz="1218956" rtl="0" eaLnBrk="1" fontAlgn="auto" latinLnBrk="0" hangingPunct="1">
              <a:lnSpc>
                <a:spcPct val="100000"/>
              </a:lnSpc>
              <a:spcBef>
                <a:spcPts val="0"/>
              </a:spcBef>
              <a:spcAft>
                <a:spcPts val="0"/>
              </a:spcAft>
              <a:buClrTx/>
              <a:buSzPct val="100000"/>
              <a:buFontTx/>
              <a:buNone/>
              <a:tabLst/>
              <a:defRPr/>
            </a:pPr>
            <a:r>
              <a:rPr kumimoji="0" lang="en-US" sz="900" b="1" i="0" u="none" strike="noStrike" kern="0" cap="none" spc="0" normalizeH="0" baseline="0" noProof="0">
                <a:ln>
                  <a:noFill/>
                </a:ln>
                <a:solidFill>
                  <a:srgbClr val="FFFFFF"/>
                </a:solidFill>
                <a:effectLst/>
                <a:uLnTx/>
                <a:uFillTx/>
                <a:latin typeface="IBM Plex Sans Light" panose="020B0403050203000203" pitchFamily="34" charset="0"/>
                <a:ea typeface="+mn-ea"/>
                <a:cs typeface="+mn-cs"/>
                <a:sym typeface="IBM Plex Sans Light"/>
              </a:rPr>
              <a:t>Data Governance</a:t>
            </a:r>
          </a:p>
        </p:txBody>
      </p:sp>
      <p:sp>
        <p:nvSpPr>
          <p:cNvPr id="73" name="Shape 92">
            <a:extLst>
              <a:ext uri="{FF2B5EF4-FFF2-40B4-BE49-F238E27FC236}">
                <a16:creationId xmlns:a16="http://schemas.microsoft.com/office/drawing/2014/main" id="{A86E887E-679D-697C-680B-5671305889A4}"/>
              </a:ext>
            </a:extLst>
          </p:cNvPr>
          <p:cNvSpPr/>
          <p:nvPr/>
        </p:nvSpPr>
        <p:spPr>
          <a:xfrm>
            <a:off x="8562259" y="1922361"/>
            <a:ext cx="1255873" cy="386375"/>
          </a:xfrm>
          <a:prstGeom prst="roundRect">
            <a:avLst>
              <a:gd name="adj" fmla="val 6887"/>
            </a:avLst>
          </a:prstGeom>
          <a:solidFill>
            <a:schemeClr val="accent1"/>
          </a:solidFill>
          <a:ln w="12700">
            <a:solidFill>
              <a:srgbClr val="0E61FF"/>
            </a:solidFill>
            <a:prstDash val="sysDot"/>
          </a:ln>
          <a:effectLst>
            <a:outerShdw blurRad="317500" dist="50800" dir="16200000" algn="bl" rotWithShape="0">
              <a:srgbClr val="000000">
                <a:alpha val="10000"/>
              </a:srgbClr>
            </a:outerShdw>
          </a:effectLst>
        </p:spPr>
        <p:txBody>
          <a:bodyPr lIns="0" tIns="0" rIns="0" bIns="0" anchor="ct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ctr" defTabSz="1218956" rtl="0" eaLnBrk="1" fontAlgn="auto" latinLnBrk="0" hangingPunct="1">
              <a:lnSpc>
                <a:spcPct val="100000"/>
              </a:lnSpc>
              <a:spcBef>
                <a:spcPts val="0"/>
              </a:spcBef>
              <a:spcAft>
                <a:spcPts val="0"/>
              </a:spcAft>
              <a:buClrTx/>
              <a:buSzPct val="100000"/>
              <a:buFontTx/>
              <a:buNone/>
              <a:tabLst/>
              <a:defRPr/>
            </a:pPr>
            <a:r>
              <a:rPr kumimoji="0" lang="en-US" sz="900" b="1" i="0" u="none" strike="noStrike" kern="0" cap="none" spc="0" normalizeH="0" baseline="0" noProof="0">
                <a:ln>
                  <a:noFill/>
                </a:ln>
                <a:solidFill>
                  <a:srgbClr val="FFFFFF"/>
                </a:solidFill>
                <a:effectLst/>
                <a:uLnTx/>
                <a:uFillTx/>
                <a:latin typeface="IBM Plex Sans Light" panose="020B0403050203000203" pitchFamily="34" charset="0"/>
                <a:ea typeface="+mn-ea"/>
                <a:cs typeface="+mn-cs"/>
                <a:sym typeface="IBM Plex Sans Light"/>
              </a:rPr>
              <a:t>Fit-for-purpose Query Engines</a:t>
            </a:r>
          </a:p>
        </p:txBody>
      </p:sp>
      <p:sp>
        <p:nvSpPr>
          <p:cNvPr id="74" name="Shape 92">
            <a:extLst>
              <a:ext uri="{FF2B5EF4-FFF2-40B4-BE49-F238E27FC236}">
                <a16:creationId xmlns:a16="http://schemas.microsoft.com/office/drawing/2014/main" id="{7AB9BCF8-97A2-A0AF-BA26-740D58F912AD}"/>
              </a:ext>
            </a:extLst>
          </p:cNvPr>
          <p:cNvSpPr/>
          <p:nvPr/>
        </p:nvSpPr>
        <p:spPr>
          <a:xfrm>
            <a:off x="10196857" y="1922361"/>
            <a:ext cx="1793535" cy="386375"/>
          </a:xfrm>
          <a:prstGeom prst="roundRect">
            <a:avLst>
              <a:gd name="adj" fmla="val 6887"/>
            </a:avLst>
          </a:prstGeom>
          <a:solidFill>
            <a:schemeClr val="accent1"/>
          </a:solidFill>
          <a:ln w="12700">
            <a:solidFill>
              <a:srgbClr val="0E61FF"/>
            </a:solidFill>
            <a:prstDash val="sysDot"/>
          </a:ln>
          <a:effectLst>
            <a:outerShdw blurRad="317500" dist="50800" dir="16200000" algn="bl" rotWithShape="0">
              <a:srgbClr val="000000">
                <a:alpha val="10000"/>
              </a:srgbClr>
            </a:outerShdw>
          </a:effectLst>
        </p:spPr>
        <p:txBody>
          <a:bodyPr lIns="0" tIns="0" rIns="0" bIns="0" anchor="ct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ctr" defTabSz="1218956" rtl="0" eaLnBrk="1" fontAlgn="auto" latinLnBrk="0" hangingPunct="1">
              <a:lnSpc>
                <a:spcPct val="100000"/>
              </a:lnSpc>
              <a:spcBef>
                <a:spcPts val="0"/>
              </a:spcBef>
              <a:spcAft>
                <a:spcPts val="0"/>
              </a:spcAft>
              <a:buClrTx/>
              <a:buSzPct val="100000"/>
              <a:buFontTx/>
              <a:buNone/>
              <a:tabLst/>
              <a:defRPr/>
            </a:pPr>
            <a:r>
              <a:rPr kumimoji="0" lang="en-US" sz="900" b="1" i="0" u="none" strike="noStrike" kern="0" cap="none" spc="0" normalizeH="0" baseline="0" noProof="0" dirty="0">
                <a:ln>
                  <a:noFill/>
                </a:ln>
                <a:solidFill>
                  <a:srgbClr val="FFFFFF"/>
                </a:solidFill>
                <a:effectLst/>
                <a:uLnTx/>
                <a:uFillTx/>
                <a:latin typeface="IBM Plex Sans Light" panose="020B0403050203000203" pitchFamily="34" charset="0"/>
                <a:ea typeface="+mn-ea"/>
                <a:cs typeface="+mn-cs"/>
                <a:sym typeface="IBM Plex Sans Light"/>
              </a:rPr>
              <a:t>Workloads</a:t>
            </a:r>
          </a:p>
        </p:txBody>
      </p:sp>
      <p:pic>
        <p:nvPicPr>
          <p:cNvPr id="2" name="Picture 1" descr="Download">
            <a:extLst>
              <a:ext uri="{FF2B5EF4-FFF2-40B4-BE49-F238E27FC236}">
                <a16:creationId xmlns:a16="http://schemas.microsoft.com/office/drawing/2014/main" id="{081CE8BE-6A70-EEC9-3A23-CF63BAB13A74}"/>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778335" y="3063944"/>
            <a:ext cx="974298" cy="1436719"/>
          </a:xfrm>
          <a:prstGeom prst="rect">
            <a:avLst/>
          </a:prstGeom>
          <a:noFill/>
          <a:ln w="12700">
            <a:solidFill>
              <a:schemeClr val="tx1">
                <a:lumMod val="50000"/>
                <a:lumOff val="50000"/>
              </a:schemeClr>
            </a:solidFill>
          </a:ln>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019A4AED-9EDF-2CC6-48B1-DA7968EE0BCC}"/>
              </a:ext>
            </a:extLst>
          </p:cNvPr>
          <p:cNvSpPr txBox="1"/>
          <p:nvPr/>
        </p:nvSpPr>
        <p:spPr>
          <a:xfrm>
            <a:off x="1673527" y="2439517"/>
            <a:ext cx="974299" cy="553998"/>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marL="0" marR="0" lvl="0" indent="0" algn="l" defTabSz="1218956" rtl="0" eaLnBrk="1" fontAlgn="auto" latinLnBrk="0" hangingPunct="1">
              <a:lnSpc>
                <a:spcPct val="100000"/>
              </a:lnSpc>
              <a:spcBef>
                <a:spcPts val="0"/>
              </a:spcBef>
              <a:spcAft>
                <a:spcPts val="0"/>
              </a:spcAft>
              <a:buClrTx/>
              <a:buSzPct val="100000"/>
              <a:buFontTx/>
              <a:buNone/>
              <a:tabLst/>
              <a:defRPr/>
            </a:pPr>
            <a:r>
              <a:rPr kumimoji="0" lang="en-US" sz="1000" b="0" i="0" u="none" strike="noStrike" kern="0" cap="none" spc="0" normalizeH="0" baseline="0" noProof="0">
                <a:ln>
                  <a:noFill/>
                </a:ln>
                <a:solidFill>
                  <a:srgbClr val="000000"/>
                </a:solidFill>
                <a:effectLst/>
                <a:uLnTx/>
                <a:uFillTx/>
                <a:latin typeface="IBM Plex Sans Light" panose="020B0403050203000203" pitchFamily="34" charset="0"/>
                <a:ea typeface="+mn-ea"/>
                <a:cs typeface="+mn-cs"/>
                <a:sym typeface="IBM Plex Sans Light"/>
              </a:rPr>
              <a:t>Scanned document image / PDF</a:t>
            </a:r>
          </a:p>
        </p:txBody>
      </p:sp>
      <p:cxnSp>
        <p:nvCxnSpPr>
          <p:cNvPr id="43" name="Straight Arrow Connector 42">
            <a:extLst>
              <a:ext uri="{FF2B5EF4-FFF2-40B4-BE49-F238E27FC236}">
                <a16:creationId xmlns:a16="http://schemas.microsoft.com/office/drawing/2014/main" id="{8A0A1525-DB6C-D8C4-E966-3B8A305F12A8}"/>
              </a:ext>
            </a:extLst>
          </p:cNvPr>
          <p:cNvCxnSpPr>
            <a:cxnSpLocks/>
          </p:cNvCxnSpPr>
          <p:nvPr/>
        </p:nvCxnSpPr>
        <p:spPr bwMode="auto">
          <a:xfrm flipV="1">
            <a:off x="7407957" y="4029853"/>
            <a:ext cx="0" cy="1339375"/>
          </a:xfrm>
          <a:prstGeom prst="straightConnector1">
            <a:avLst/>
          </a:prstGeom>
          <a:ln w="12700">
            <a:solidFill>
              <a:schemeClr val="tx1">
                <a:lumMod val="65000"/>
                <a:lumOff val="35000"/>
              </a:schemeClr>
            </a:solidFill>
            <a:headEnd type="none" w="med" len="med"/>
            <a:tailEnd type="triangle" w="lg" len="lg"/>
          </a:ln>
          <a:effectLst/>
        </p:spPr>
        <p:style>
          <a:lnRef idx="1">
            <a:schemeClr val="dk1"/>
          </a:lnRef>
          <a:fillRef idx="0">
            <a:schemeClr val="dk1"/>
          </a:fillRef>
          <a:effectRef idx="0">
            <a:schemeClr val="dk1"/>
          </a:effectRef>
          <a:fontRef idx="minor">
            <a:schemeClr val="tx1"/>
          </a:fontRef>
        </p:style>
      </p:cxnSp>
      <p:cxnSp>
        <p:nvCxnSpPr>
          <p:cNvPr id="62" name="Straight Arrow Connector 61">
            <a:extLst>
              <a:ext uri="{FF2B5EF4-FFF2-40B4-BE49-F238E27FC236}">
                <a16:creationId xmlns:a16="http://schemas.microsoft.com/office/drawing/2014/main" id="{DAAF8E17-0668-BB68-2FFD-55946A3C60AF}"/>
              </a:ext>
            </a:extLst>
          </p:cNvPr>
          <p:cNvCxnSpPr>
            <a:cxnSpLocks/>
            <a:endCxn id="14" idx="2"/>
          </p:cNvCxnSpPr>
          <p:nvPr/>
        </p:nvCxnSpPr>
        <p:spPr bwMode="auto">
          <a:xfrm flipV="1">
            <a:off x="783863" y="4886707"/>
            <a:ext cx="1" cy="482521"/>
          </a:xfrm>
          <a:prstGeom prst="straightConnector1">
            <a:avLst/>
          </a:prstGeom>
          <a:ln w="12700">
            <a:solidFill>
              <a:schemeClr val="tx1">
                <a:lumMod val="65000"/>
                <a:lumOff val="35000"/>
              </a:schemeClr>
            </a:solidFill>
            <a:headEnd type="none" w="med" len="med"/>
            <a:tailEnd type="triangle" w="lg" len="lg"/>
          </a:ln>
          <a:effectLst/>
        </p:spPr>
        <p:style>
          <a:lnRef idx="1">
            <a:schemeClr val="dk1"/>
          </a:lnRef>
          <a:fillRef idx="0">
            <a:schemeClr val="dk1"/>
          </a:fillRef>
          <a:effectRef idx="0">
            <a:schemeClr val="dk1"/>
          </a:effectRef>
          <a:fontRef idx="minor">
            <a:schemeClr val="tx1"/>
          </a:fontRef>
        </p:style>
      </p:cxnSp>
      <p:cxnSp>
        <p:nvCxnSpPr>
          <p:cNvPr id="6" name="Straight Connector 5">
            <a:extLst>
              <a:ext uri="{FF2B5EF4-FFF2-40B4-BE49-F238E27FC236}">
                <a16:creationId xmlns:a16="http://schemas.microsoft.com/office/drawing/2014/main" id="{C4409A78-C1C4-8DB9-E08D-00E1B74E2BB4}"/>
              </a:ext>
            </a:extLst>
          </p:cNvPr>
          <p:cNvCxnSpPr>
            <a:cxnSpLocks/>
          </p:cNvCxnSpPr>
          <p:nvPr/>
        </p:nvCxnSpPr>
        <p:spPr bwMode="auto">
          <a:xfrm>
            <a:off x="8334547" y="2969154"/>
            <a:ext cx="0" cy="2177385"/>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grpSp>
        <p:nvGrpSpPr>
          <p:cNvPr id="9" name="Group 8">
            <a:extLst>
              <a:ext uri="{FF2B5EF4-FFF2-40B4-BE49-F238E27FC236}">
                <a16:creationId xmlns:a16="http://schemas.microsoft.com/office/drawing/2014/main" id="{DACDE2F7-E614-84C2-7C3C-0566E925FFF0}"/>
              </a:ext>
            </a:extLst>
          </p:cNvPr>
          <p:cNvGrpSpPr/>
          <p:nvPr/>
        </p:nvGrpSpPr>
        <p:grpSpPr>
          <a:xfrm>
            <a:off x="10346584" y="4867093"/>
            <a:ext cx="1520962" cy="546192"/>
            <a:chOff x="10334078" y="2125787"/>
            <a:chExt cx="1402840" cy="546192"/>
          </a:xfrm>
        </p:grpSpPr>
        <p:sp>
          <p:nvSpPr>
            <p:cNvPr id="23" name="Shape 113">
              <a:extLst>
                <a:ext uri="{FF2B5EF4-FFF2-40B4-BE49-F238E27FC236}">
                  <a16:creationId xmlns:a16="http://schemas.microsoft.com/office/drawing/2014/main" id="{32C2497B-AAB1-1A5C-2C72-9D68E9E569A4}"/>
                </a:ext>
              </a:extLst>
            </p:cNvPr>
            <p:cNvSpPr/>
            <p:nvPr/>
          </p:nvSpPr>
          <p:spPr>
            <a:xfrm>
              <a:off x="10334078" y="2125787"/>
              <a:ext cx="1402840" cy="546192"/>
            </a:xfrm>
            <a:prstGeom prst="roundRect">
              <a:avLst>
                <a:gd name="adj" fmla="val 49498"/>
              </a:avLst>
            </a:prstGeom>
            <a:gradFill flip="none" rotWithShape="1">
              <a:gsLst>
                <a:gs pos="21000">
                  <a:schemeClr val="accent2">
                    <a:lumMod val="40000"/>
                    <a:lumOff val="60000"/>
                  </a:schemeClr>
                </a:gs>
                <a:gs pos="73000">
                  <a:schemeClr val="bg1"/>
                </a:gs>
              </a:gsLst>
              <a:lin ang="8400000" scaled="0"/>
              <a:tileRect/>
            </a:gradFill>
            <a:ln w="19050">
              <a:gradFill flip="none" rotWithShape="1">
                <a:gsLst>
                  <a:gs pos="0">
                    <a:srgbClr val="5B57FF"/>
                  </a:gs>
                  <a:gs pos="37000">
                    <a:srgbClr val="B182FF"/>
                  </a:gs>
                  <a:gs pos="66000">
                    <a:schemeClr val="accent2">
                      <a:lumMod val="40000"/>
                      <a:lumOff val="60000"/>
                    </a:schemeClr>
                  </a:gs>
                  <a:gs pos="100000">
                    <a:schemeClr val="accent2">
                      <a:lumMod val="20000"/>
                      <a:lumOff val="80000"/>
                    </a:schemeClr>
                  </a:gs>
                </a:gsLst>
                <a:lin ang="18900000" scaled="1"/>
                <a:tileRect/>
              </a:grad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1828891" rtl="0" eaLnBrk="1" fontAlgn="auto" latinLnBrk="0" hangingPunct="1">
                <a:lnSpc>
                  <a:spcPct val="100000"/>
                </a:lnSpc>
                <a:spcBef>
                  <a:spcPts val="0"/>
                </a:spcBef>
                <a:spcAft>
                  <a:spcPts val="0"/>
                </a:spcAft>
                <a:buClrTx/>
                <a:buSzTx/>
                <a:buFontTx/>
                <a:buNone/>
                <a:tabLst/>
                <a:defRPr/>
              </a:pPr>
              <a:endParaRPr kumimoji="0" lang="en-US" sz="982"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
          <p:nvSpPr>
            <p:cNvPr id="27" name="TextBox 26">
              <a:extLst>
                <a:ext uri="{FF2B5EF4-FFF2-40B4-BE49-F238E27FC236}">
                  <a16:creationId xmlns:a16="http://schemas.microsoft.com/office/drawing/2014/main" id="{4A47DBE7-3DAA-A12A-E5AF-39CACF097FC2}"/>
                </a:ext>
              </a:extLst>
            </p:cNvPr>
            <p:cNvSpPr txBox="1"/>
            <p:nvPr/>
          </p:nvSpPr>
          <p:spPr>
            <a:xfrm>
              <a:off x="10691137" y="2192058"/>
              <a:ext cx="1020493" cy="400110"/>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IBM Plex Sans Medm" panose="020B0503050203000203" pitchFamily="34" charset="0"/>
                  <a:ea typeface="+mn-ea"/>
                  <a:cs typeface="+mn-cs"/>
                </a:rPr>
                <a:t>Gen AI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IBM Plex Sans Medm" panose="020B0503050203000203" pitchFamily="34" charset="0"/>
                  <a:ea typeface="+mn-ea"/>
                  <a:cs typeface="+mn-cs"/>
                </a:rPr>
                <a:t>Apps</a:t>
              </a:r>
            </a:p>
          </p:txBody>
        </p:sp>
      </p:grpSp>
      <p:cxnSp>
        <p:nvCxnSpPr>
          <p:cNvPr id="40" name="Elbow Connector 39">
            <a:extLst>
              <a:ext uri="{FF2B5EF4-FFF2-40B4-BE49-F238E27FC236}">
                <a16:creationId xmlns:a16="http://schemas.microsoft.com/office/drawing/2014/main" id="{2227C278-F379-3EE2-C0E9-E31FB78B0EC1}"/>
              </a:ext>
            </a:extLst>
          </p:cNvPr>
          <p:cNvCxnSpPr>
            <a:cxnSpLocks/>
          </p:cNvCxnSpPr>
          <p:nvPr/>
        </p:nvCxnSpPr>
        <p:spPr bwMode="auto">
          <a:xfrm>
            <a:off x="8334547" y="5133839"/>
            <a:ext cx="1832531" cy="12700"/>
          </a:xfrm>
          <a:prstGeom prst="bentConnector3">
            <a:avLst/>
          </a:prstGeom>
          <a:ln w="12700">
            <a:solidFill>
              <a:schemeClr val="tx1">
                <a:lumMod val="65000"/>
                <a:lumOff val="35000"/>
              </a:schemeClr>
            </a:solidFill>
            <a:headEnd type="none" w="med" len="med"/>
            <a:tailEnd type="triangle" w="lg" len="lg"/>
          </a:ln>
          <a:effectLst/>
        </p:spPr>
        <p:style>
          <a:lnRef idx="1">
            <a:schemeClr val="dk1"/>
          </a:lnRef>
          <a:fillRef idx="0">
            <a:schemeClr val="dk1"/>
          </a:fillRef>
          <a:effectRef idx="0">
            <a:schemeClr val="dk1"/>
          </a:effectRef>
          <a:fontRef idx="minor">
            <a:schemeClr val="tx1"/>
          </a:fontRef>
        </p:style>
      </p:cxnSp>
      <p:sp>
        <p:nvSpPr>
          <p:cNvPr id="47" name="Shape 92">
            <a:extLst>
              <a:ext uri="{FF2B5EF4-FFF2-40B4-BE49-F238E27FC236}">
                <a16:creationId xmlns:a16="http://schemas.microsoft.com/office/drawing/2014/main" id="{C5C9CB62-397D-A21D-142E-05F576338489}"/>
              </a:ext>
            </a:extLst>
          </p:cNvPr>
          <p:cNvSpPr/>
          <p:nvPr/>
        </p:nvSpPr>
        <p:spPr>
          <a:xfrm>
            <a:off x="8728762" y="4927770"/>
            <a:ext cx="956012" cy="424839"/>
          </a:xfrm>
          <a:prstGeom prst="roundRect">
            <a:avLst>
              <a:gd name="adj" fmla="val 6887"/>
            </a:avLst>
          </a:prstGeom>
          <a:solidFill>
            <a:srgbClr val="FFFFFF">
              <a:alpha val="100000"/>
            </a:srgbClr>
          </a:solidFill>
          <a:ln>
            <a:solidFill>
              <a:schemeClr val="tx1">
                <a:lumMod val="50000"/>
                <a:lumOff val="50000"/>
              </a:schemeClr>
            </a:solidFill>
          </a:ln>
          <a:effectLst>
            <a:outerShdw blurRad="317500" dist="50800" dir="16200000" algn="bl" rotWithShape="0">
              <a:srgbClr val="000000">
                <a:alpha val="10000"/>
              </a:srgbClr>
            </a:outerShdw>
          </a:effectLst>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1828891" rtl="0" eaLnBrk="1" fontAlgn="auto" latinLnBrk="0" hangingPunct="1">
              <a:lnSpc>
                <a:spcPct val="100000"/>
              </a:lnSpc>
              <a:spcBef>
                <a:spcPts val="0"/>
              </a:spcBef>
              <a:spcAft>
                <a:spcPts val="0"/>
              </a:spcAft>
              <a:buClrTx/>
              <a:buSzTx/>
              <a:buFontTx/>
              <a:buNone/>
              <a:tabLst/>
              <a:defRPr/>
            </a:pPr>
            <a:endParaRPr kumimoji="0" lang="en-US" sz="982"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pic>
        <p:nvPicPr>
          <p:cNvPr id="55" name="Picture 2" descr="DataStax Announces DataStax AI Platform ...">
            <a:extLst>
              <a:ext uri="{FF2B5EF4-FFF2-40B4-BE49-F238E27FC236}">
                <a16:creationId xmlns:a16="http://schemas.microsoft.com/office/drawing/2014/main" id="{FB38DA82-064E-590F-5F20-439FE07594F2}"/>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l="8028" t="38438" r="7680" b="39469"/>
          <a:stretch/>
        </p:blipFill>
        <p:spPr bwMode="auto">
          <a:xfrm>
            <a:off x="8794066" y="5077141"/>
            <a:ext cx="830599" cy="1133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15207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B07CEC-979D-ED7C-D8F8-AE8B3C8CD0A3}"/>
            </a:ext>
          </a:extLst>
        </p:cNvPr>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D0C65C44-B5C5-5915-A461-74F0C776763D}"/>
              </a:ext>
            </a:extLst>
          </p:cNvPr>
          <p:cNvCxnSpPr>
            <a:cxnSpLocks/>
          </p:cNvCxnSpPr>
          <p:nvPr/>
        </p:nvCxnSpPr>
        <p:spPr bwMode="auto">
          <a:xfrm>
            <a:off x="3496991" y="310307"/>
            <a:ext cx="0" cy="50475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 name="Text 1">
            <a:extLst>
              <a:ext uri="{FF2B5EF4-FFF2-40B4-BE49-F238E27FC236}">
                <a16:creationId xmlns:a16="http://schemas.microsoft.com/office/drawing/2014/main" id="{4656495E-DA8B-75CC-2A73-D119F0E19E1A}"/>
              </a:ext>
            </a:extLst>
          </p:cNvPr>
          <p:cNvSpPr txBox="1"/>
          <p:nvPr/>
        </p:nvSpPr>
        <p:spPr>
          <a:xfrm>
            <a:off x="3645672" y="555732"/>
            <a:ext cx="2698827" cy="4414957"/>
          </a:xfrm>
          <a:prstGeom prst="rect">
            <a:avLst/>
          </a:prstGeom>
          <a:noFill/>
          <a:ln/>
        </p:spPr>
        <p:txBody>
          <a:bodyPr wrap="square" lIns="0" tIns="0" rIns="0" bIns="0" rtlCol="0" anchor="t"/>
          <a:lstStyle/>
          <a:p>
            <a:pPr defTabSz="914217">
              <a:defRPr/>
            </a:pPr>
            <a:r>
              <a:rPr lang="en-US" kern="0" dirty="0">
                <a:solidFill>
                  <a:srgbClr val="0F62FE"/>
                </a:solidFill>
                <a:latin typeface="IBM Plex Sans Light"/>
                <a:sym typeface="IBM Plex Sans Light"/>
              </a:rPr>
              <a:t>Open-source innovation</a:t>
            </a:r>
            <a:br>
              <a:rPr lang="en-US" dirty="0"/>
            </a:br>
            <a:endParaRPr lang="en-US">
              <a:solidFill>
                <a:srgbClr val="161616"/>
              </a:solidFill>
            </a:endParaRPr>
          </a:p>
          <a:p>
            <a:pPr defTabSz="914217">
              <a:defRPr/>
            </a:pPr>
            <a:endParaRPr lang="en-US">
              <a:solidFill>
                <a:srgbClr val="161616"/>
              </a:solidFill>
            </a:endParaRPr>
          </a:p>
          <a:p>
            <a:pPr defTabSz="914217">
              <a:defRPr/>
            </a:pPr>
            <a:r>
              <a:rPr lang="en-US" kern="0">
                <a:ea typeface="+mj-ea"/>
                <a:cs typeface="+mj-cs"/>
                <a:sym typeface="IBM Plex Sans Light"/>
              </a:rPr>
              <a:t>Building on our open-source commitment</a:t>
            </a:r>
            <a:endParaRPr lang="en-US" sz="1600" b="1" kern="0" dirty="0">
              <a:ea typeface="+mj-ea"/>
              <a:cs typeface="+mj-cs"/>
              <a:sym typeface="IBM Plex Sans Light"/>
            </a:endParaRPr>
          </a:p>
          <a:p>
            <a:pPr marL="177800" indent="-177800" defTabSz="914217">
              <a:spcBef>
                <a:spcPts val="2400"/>
              </a:spcBef>
              <a:buFont typeface="Arial" panose="020B0604020202020204" pitchFamily="34" charset="0"/>
              <a:buChar char="•"/>
              <a:defRPr/>
            </a:pPr>
            <a:r>
              <a:rPr lang="en-US" sz="1600" b="1" kern="0" err="1">
                <a:ea typeface="+mj-ea"/>
                <a:cs typeface="+mj-cs"/>
                <a:sym typeface="IBM Plex Sans Light"/>
              </a:rPr>
              <a:t>AstraDB</a:t>
            </a:r>
            <a:r>
              <a:rPr lang="en-US" sz="1600" kern="0">
                <a:ea typeface="+mj-ea"/>
                <a:cs typeface="+mj-cs"/>
                <a:sym typeface="IBM Plex Sans Light"/>
              </a:rPr>
              <a:t> and </a:t>
            </a:r>
            <a:r>
              <a:rPr lang="en-US" sz="1600" b="1" kern="0">
                <a:ea typeface="+mj-ea"/>
                <a:cs typeface="+mj-cs"/>
                <a:sym typeface="IBM Plex Sans Light"/>
              </a:rPr>
              <a:t>DataStax Enterprise</a:t>
            </a:r>
            <a:r>
              <a:rPr lang="en-US" sz="1600" kern="0">
                <a:ea typeface="+mj-ea"/>
                <a:cs typeface="+mj-cs"/>
                <a:sym typeface="IBM Plex Sans Light"/>
              </a:rPr>
              <a:t>, provide NoSQL vector capabilities powered by </a:t>
            </a:r>
            <a:r>
              <a:rPr lang="en-US" sz="1600" b="1" kern="0">
                <a:ea typeface="+mj-ea"/>
                <a:cs typeface="+mj-cs"/>
                <a:sym typeface="IBM Plex Sans Light"/>
              </a:rPr>
              <a:t>Apache Cassandra. </a:t>
            </a:r>
            <a:endParaRPr lang="en-US" sz="1600" b="1" kern="0">
              <a:ea typeface="+mj-ea"/>
              <a:cs typeface="+mj-cs"/>
            </a:endParaRPr>
          </a:p>
          <a:p>
            <a:pPr marL="177800" indent="-177800" defTabSz="914217">
              <a:spcBef>
                <a:spcPts val="2400"/>
              </a:spcBef>
              <a:buFont typeface="Arial" panose="020B0604020202020204" pitchFamily="34" charset="0"/>
              <a:buChar char="•"/>
              <a:defRPr/>
            </a:pPr>
            <a:r>
              <a:rPr lang="en-US" sz="1600" b="1" kern="0" dirty="0" err="1">
                <a:ea typeface="+mj-ea"/>
                <a:cs typeface="+mj-cs"/>
                <a:sym typeface="IBM Plex Sans Light"/>
              </a:rPr>
              <a:t>Langflow</a:t>
            </a:r>
            <a:r>
              <a:rPr lang="en-US" sz="1600" kern="0" dirty="0">
                <a:ea typeface="+mj-ea"/>
                <a:cs typeface="+mj-cs"/>
                <a:sym typeface="IBM Plex Sans Light"/>
              </a:rPr>
              <a:t>, open tool and community for low-code AI development, with over 46,000 stars on GitHub</a:t>
            </a:r>
            <a:endParaRPr lang="en-US" sz="1600" kern="0" dirty="0">
              <a:ea typeface="+mj-ea"/>
              <a:cs typeface="+mj-cs"/>
            </a:endParaRPr>
          </a:p>
          <a:p>
            <a:pPr defTabSz="914217">
              <a:defRPr/>
            </a:pPr>
            <a:endParaRPr lang="en-US" sz="1600" kern="0">
              <a:ea typeface="+mj-ea"/>
              <a:cs typeface="+mj-cs"/>
              <a:sym typeface="IBM Plex Sans Light"/>
            </a:endParaRPr>
          </a:p>
          <a:p>
            <a:pPr defTabSz="914217">
              <a:defRPr/>
            </a:pPr>
            <a:endParaRPr lang="en-US" sz="1600" kern="0">
              <a:ea typeface="+mj-ea"/>
              <a:cs typeface="+mj-cs"/>
              <a:sym typeface="IBM Plex Sans Light"/>
            </a:endParaRPr>
          </a:p>
          <a:p>
            <a:pPr defTabSz="914217">
              <a:defRPr/>
            </a:pPr>
            <a:endParaRPr lang="en-US" kern="0">
              <a:ea typeface="+mj-ea"/>
              <a:cs typeface="+mj-cs"/>
              <a:sym typeface="IBM Plex Sans Light"/>
            </a:endParaRPr>
          </a:p>
          <a:p>
            <a:pPr defTabSz="914217">
              <a:defRPr/>
            </a:pPr>
            <a:endParaRPr lang="en-US" sz="900" b="1" kern="0">
              <a:solidFill>
                <a:srgbClr val="0F62FE"/>
              </a:solidFill>
            </a:endParaRPr>
          </a:p>
          <a:p>
            <a:pPr defTabSz="914217">
              <a:defRPr/>
            </a:pPr>
            <a:endParaRPr lang="en-US" sz="900">
              <a:solidFill>
                <a:srgbClr val="161616"/>
              </a:solidFill>
            </a:endParaRPr>
          </a:p>
          <a:p>
            <a:pPr defTabSz="914217">
              <a:defRPr/>
            </a:pPr>
            <a:endParaRPr lang="en-BR" sz="800">
              <a:solidFill>
                <a:prstClr val="black"/>
              </a:solidFill>
            </a:endParaRPr>
          </a:p>
        </p:txBody>
      </p:sp>
      <p:sp>
        <p:nvSpPr>
          <p:cNvPr id="7" name="Text 5">
            <a:extLst>
              <a:ext uri="{FF2B5EF4-FFF2-40B4-BE49-F238E27FC236}">
                <a16:creationId xmlns:a16="http://schemas.microsoft.com/office/drawing/2014/main" id="{3BA07220-2503-E013-E7D9-9B6944E68C0A}"/>
              </a:ext>
            </a:extLst>
          </p:cNvPr>
          <p:cNvSpPr txBox="1"/>
          <p:nvPr/>
        </p:nvSpPr>
        <p:spPr>
          <a:xfrm>
            <a:off x="6564452" y="555732"/>
            <a:ext cx="2621009" cy="3640570"/>
          </a:xfrm>
          <a:prstGeom prst="rect">
            <a:avLst/>
          </a:prstGeom>
          <a:noFill/>
          <a:ln/>
        </p:spPr>
        <p:txBody>
          <a:bodyPr wrap="square" lIns="0" tIns="0" rIns="0" bIns="0" rtlCol="0" anchor="t"/>
          <a:lstStyle/>
          <a:p>
            <a:pPr defTabSz="914217">
              <a:defRPr/>
            </a:pPr>
            <a:r>
              <a:rPr lang="en-US" kern="0">
                <a:solidFill>
                  <a:srgbClr val="0F62FE"/>
                </a:solidFill>
                <a:latin typeface="IBM Plex Sans Light"/>
              </a:rPr>
              <a:t>Manage unstructured data for AI</a:t>
            </a:r>
          </a:p>
          <a:p>
            <a:pPr defTabSz="914217">
              <a:defRPr/>
            </a:pPr>
            <a:endParaRPr lang="en-US" b="1">
              <a:solidFill>
                <a:srgbClr val="0F62FE"/>
              </a:solidFill>
            </a:endParaRPr>
          </a:p>
          <a:p>
            <a:pPr defTabSz="914217">
              <a:defRPr/>
            </a:pPr>
            <a:r>
              <a:rPr lang="en-US">
                <a:solidFill>
                  <a:srgbClr val="000000"/>
                </a:solidFill>
              </a:rPr>
              <a:t>Reduce gen AI development friction</a:t>
            </a:r>
            <a:endParaRPr lang="en-US">
              <a:solidFill>
                <a:prstClr val="black"/>
              </a:solidFill>
            </a:endParaRPr>
          </a:p>
          <a:p>
            <a:pPr marL="177800" indent="-177800" defTabSz="914217">
              <a:spcBef>
                <a:spcPts val="1500"/>
              </a:spcBef>
              <a:buFont typeface="Arial" panose="020B0604020202020204" pitchFamily="34" charset="0"/>
              <a:buChar char="•"/>
              <a:defRPr/>
            </a:pPr>
            <a:r>
              <a:rPr lang="en-US" sz="1600">
                <a:solidFill>
                  <a:prstClr val="black"/>
                </a:solidFill>
              </a:rPr>
              <a:t>Harness </a:t>
            </a:r>
            <a:r>
              <a:rPr lang="en-US" sz="1600" b="1">
                <a:solidFill>
                  <a:srgbClr val="000000"/>
                </a:solidFill>
              </a:rPr>
              <a:t>unstructured enterprise data </a:t>
            </a:r>
            <a:r>
              <a:rPr lang="en-US" sz="1600">
                <a:solidFill>
                  <a:prstClr val="black"/>
                </a:solidFill>
              </a:rPr>
              <a:t>and accelerate time to value</a:t>
            </a:r>
          </a:p>
          <a:p>
            <a:pPr marL="177800" indent="-177800" defTabSz="914217">
              <a:spcBef>
                <a:spcPts val="1500"/>
              </a:spcBef>
              <a:buFont typeface="Arial" panose="020B0604020202020204" pitchFamily="34" charset="0"/>
              <a:buChar char="•"/>
              <a:defRPr/>
            </a:pPr>
            <a:r>
              <a:rPr lang="en-US" sz="1600" b="1">
                <a:solidFill>
                  <a:prstClr val="black"/>
                </a:solidFill>
              </a:rPr>
              <a:t>Low-code design environment </a:t>
            </a:r>
            <a:r>
              <a:rPr lang="en-US" sz="1600">
                <a:solidFill>
                  <a:prstClr val="black"/>
                </a:solidFill>
              </a:rPr>
              <a:t>and orchestration for gen AI apps with </a:t>
            </a:r>
            <a:r>
              <a:rPr lang="en-US" sz="1600" err="1">
                <a:solidFill>
                  <a:prstClr val="black"/>
                </a:solidFill>
              </a:rPr>
              <a:t>Langflow</a:t>
            </a:r>
            <a:endParaRPr lang="en-US" sz="700">
              <a:solidFill>
                <a:prstClr val="black"/>
              </a:solidFill>
            </a:endParaRPr>
          </a:p>
          <a:p>
            <a:pPr defTabSz="914217">
              <a:defRPr/>
            </a:pPr>
            <a:endParaRPr lang="en-BR" sz="800">
              <a:solidFill>
                <a:prstClr val="black"/>
              </a:solidFill>
            </a:endParaRPr>
          </a:p>
        </p:txBody>
      </p:sp>
      <p:sp>
        <p:nvSpPr>
          <p:cNvPr id="8" name="Text 6">
            <a:extLst>
              <a:ext uri="{FF2B5EF4-FFF2-40B4-BE49-F238E27FC236}">
                <a16:creationId xmlns:a16="http://schemas.microsoft.com/office/drawing/2014/main" id="{C3358937-723E-D8F6-120D-F63182F80B88}"/>
              </a:ext>
            </a:extLst>
          </p:cNvPr>
          <p:cNvSpPr txBox="1"/>
          <p:nvPr/>
        </p:nvSpPr>
        <p:spPr>
          <a:xfrm>
            <a:off x="9452375" y="555732"/>
            <a:ext cx="2478141" cy="2901695"/>
          </a:xfrm>
          <a:prstGeom prst="rect">
            <a:avLst/>
          </a:prstGeom>
          <a:noFill/>
          <a:ln/>
        </p:spPr>
        <p:txBody>
          <a:bodyPr wrap="square" lIns="0" tIns="0" rIns="0" bIns="0" rtlCol="0" anchor="t"/>
          <a:lstStyle/>
          <a:p>
            <a:pPr defTabSz="914217">
              <a:defRPr/>
            </a:pPr>
            <a:r>
              <a:rPr lang="en-US" kern="0">
                <a:solidFill>
                  <a:srgbClr val="0F62FE"/>
                </a:solidFill>
                <a:latin typeface="IBM Plex Sans Light"/>
              </a:rPr>
              <a:t>Leaders in enterprise data and AI</a:t>
            </a:r>
          </a:p>
          <a:p>
            <a:pPr defTabSz="914217">
              <a:spcBef>
                <a:spcPts val="1500"/>
              </a:spcBef>
              <a:defRPr/>
            </a:pPr>
            <a:r>
              <a:rPr lang="en-US">
                <a:solidFill>
                  <a:prstClr val="black"/>
                </a:solidFill>
              </a:rPr>
              <a:t>Infrastructure, tools, and technologies</a:t>
            </a:r>
          </a:p>
          <a:p>
            <a:pPr marL="177800" indent="-177800" defTabSz="914217">
              <a:spcBef>
                <a:spcPts val="1500"/>
              </a:spcBef>
              <a:buFont typeface="Arial" panose="020B0604020202020204" pitchFamily="34" charset="0"/>
              <a:buChar char="•"/>
              <a:defRPr/>
            </a:pPr>
            <a:r>
              <a:rPr lang="en-US" sz="1600" err="1">
                <a:solidFill>
                  <a:prstClr val="black"/>
                </a:solidFill>
              </a:rPr>
              <a:t>AstraDB’s</a:t>
            </a:r>
            <a:r>
              <a:rPr lang="en-US" sz="1600">
                <a:solidFill>
                  <a:prstClr val="black"/>
                </a:solidFill>
              </a:rPr>
              <a:t> leading vector database will enhance vector capabilities of IBM </a:t>
            </a:r>
            <a:r>
              <a:rPr lang="en-US" sz="1600" b="1">
                <a:solidFill>
                  <a:prstClr val="black"/>
                </a:solidFill>
              </a:rPr>
              <a:t>watsonx.data</a:t>
            </a:r>
          </a:p>
          <a:p>
            <a:pPr marL="177800" indent="-177800" defTabSz="914217">
              <a:spcBef>
                <a:spcPts val="1500"/>
              </a:spcBef>
              <a:buFont typeface="Arial" panose="020B0604020202020204" pitchFamily="34" charset="0"/>
              <a:buChar char="•"/>
              <a:defRPr/>
            </a:pPr>
            <a:r>
              <a:rPr lang="en-US" sz="1600" err="1">
                <a:solidFill>
                  <a:prstClr val="black"/>
                </a:solidFill>
              </a:rPr>
              <a:t>Langflow</a:t>
            </a:r>
            <a:r>
              <a:rPr lang="en-US" sz="1600">
                <a:solidFill>
                  <a:prstClr val="black"/>
                </a:solidFill>
              </a:rPr>
              <a:t> offers flexible middleware to IBM </a:t>
            </a:r>
            <a:r>
              <a:rPr lang="en-US" sz="1600" b="1">
                <a:solidFill>
                  <a:prstClr val="black"/>
                </a:solidFill>
              </a:rPr>
              <a:t>watsonx.ai, </a:t>
            </a:r>
            <a:r>
              <a:rPr lang="en-US" sz="1600">
                <a:solidFill>
                  <a:prstClr val="black"/>
                </a:solidFill>
              </a:rPr>
              <a:t>our end-to-end AI development studio</a:t>
            </a:r>
            <a:endParaRPr lang="en-US" sz="900">
              <a:solidFill>
                <a:prstClr val="black"/>
              </a:solidFill>
            </a:endParaRPr>
          </a:p>
          <a:p>
            <a:pPr defTabSz="914217">
              <a:spcBef>
                <a:spcPts val="1500"/>
              </a:spcBef>
              <a:defRPr/>
            </a:pPr>
            <a:endParaRPr lang="en-US" sz="1600">
              <a:solidFill>
                <a:prstClr val="black"/>
              </a:solidFill>
            </a:endParaRPr>
          </a:p>
        </p:txBody>
      </p:sp>
      <p:sp>
        <p:nvSpPr>
          <p:cNvPr id="14" name="TextBox 13">
            <a:extLst>
              <a:ext uri="{FF2B5EF4-FFF2-40B4-BE49-F238E27FC236}">
                <a16:creationId xmlns:a16="http://schemas.microsoft.com/office/drawing/2014/main" id="{194E88B7-43C1-94B2-271E-EF4710EA1ECF}"/>
              </a:ext>
            </a:extLst>
          </p:cNvPr>
          <p:cNvSpPr txBox="1"/>
          <p:nvPr/>
        </p:nvSpPr>
        <p:spPr>
          <a:xfrm>
            <a:off x="6188110" y="2101392"/>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222144" indent="-223285" defTabSz="1218712">
              <a:spcBef>
                <a:spcPts val="1450"/>
              </a:spcBef>
              <a:buSzPct val="100000"/>
              <a:buFontTx/>
              <a:buChar char="–"/>
              <a:defRPr/>
            </a:pPr>
            <a:endParaRPr lang="en-BR" sz="900" kern="0">
              <a:solidFill>
                <a:srgbClr val="000000"/>
              </a:solidFill>
              <a:latin typeface="Aptos" panose="02110004020202020204"/>
              <a:sym typeface="IBM Plex Sans Light"/>
            </a:endParaRPr>
          </a:p>
        </p:txBody>
      </p:sp>
      <p:cxnSp>
        <p:nvCxnSpPr>
          <p:cNvPr id="24" name="Straight Connector 23">
            <a:extLst>
              <a:ext uri="{FF2B5EF4-FFF2-40B4-BE49-F238E27FC236}">
                <a16:creationId xmlns:a16="http://schemas.microsoft.com/office/drawing/2014/main" id="{1480610A-014F-DA23-5D81-80DB483354B6}"/>
              </a:ext>
            </a:extLst>
          </p:cNvPr>
          <p:cNvCxnSpPr/>
          <p:nvPr/>
        </p:nvCxnSpPr>
        <p:spPr bwMode="auto">
          <a:xfrm>
            <a:off x="6392830" y="310308"/>
            <a:ext cx="0" cy="50475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D081178C-6E7D-6B58-DA9C-D0C13E5D6AC4}"/>
              </a:ext>
            </a:extLst>
          </p:cNvPr>
          <p:cNvCxnSpPr/>
          <p:nvPr/>
        </p:nvCxnSpPr>
        <p:spPr bwMode="auto">
          <a:xfrm>
            <a:off x="9283878" y="310308"/>
            <a:ext cx="0" cy="504759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Rectangle 3">
            <a:extLst>
              <a:ext uri="{FF2B5EF4-FFF2-40B4-BE49-F238E27FC236}">
                <a16:creationId xmlns:a16="http://schemas.microsoft.com/office/drawing/2014/main" id="{05D54FD9-7C29-89DF-BB48-8558A476CBC5}"/>
              </a:ext>
            </a:extLst>
          </p:cNvPr>
          <p:cNvSpPr/>
          <p:nvPr/>
        </p:nvSpPr>
        <p:spPr bwMode="auto">
          <a:xfrm>
            <a:off x="0" y="5130633"/>
            <a:ext cx="12192000" cy="1736555"/>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defTabSz="457109" fontAlgn="base">
              <a:spcBef>
                <a:spcPct val="0"/>
              </a:spcBef>
              <a:spcAft>
                <a:spcPct val="0"/>
              </a:spcAft>
            </a:pPr>
            <a:endParaRPr lang="en-US" sz="700">
              <a:solidFill>
                <a:srgbClr val="FFFFFF"/>
              </a:solidFill>
              <a:latin typeface="IBM Plex Sans Light"/>
            </a:endParaRPr>
          </a:p>
        </p:txBody>
      </p:sp>
      <p:sp>
        <p:nvSpPr>
          <p:cNvPr id="9" name="TextBox 8">
            <a:extLst>
              <a:ext uri="{FF2B5EF4-FFF2-40B4-BE49-F238E27FC236}">
                <a16:creationId xmlns:a16="http://schemas.microsoft.com/office/drawing/2014/main" id="{D86EFAEB-11F7-23C1-ECC5-EDA7C012351C}"/>
              </a:ext>
            </a:extLst>
          </p:cNvPr>
          <p:cNvSpPr txBox="1"/>
          <p:nvPr/>
        </p:nvSpPr>
        <p:spPr>
          <a:xfrm>
            <a:off x="276994" y="5511836"/>
            <a:ext cx="1663016" cy="37566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defTabSz="1218956">
              <a:spcBef>
                <a:spcPts val="1450"/>
              </a:spcBef>
              <a:buSzPct val="100000"/>
            </a:pPr>
            <a:r>
              <a:rPr lang="en-US" kern="0">
                <a:solidFill>
                  <a:srgbClr val="0F62FE"/>
                </a:solidFill>
                <a:latin typeface="IBM Plex Sans Light"/>
                <a:sym typeface="IBM Plex Sans Light"/>
              </a:rPr>
              <a:t>Hundreds of clients including  </a:t>
            </a:r>
          </a:p>
        </p:txBody>
      </p:sp>
      <p:pic>
        <p:nvPicPr>
          <p:cNvPr id="1026" name="Picture 2" descr="FedEx Logo and symbol, meaning, history, PNG, brand">
            <a:extLst>
              <a:ext uri="{FF2B5EF4-FFF2-40B4-BE49-F238E27FC236}">
                <a16:creationId xmlns:a16="http://schemas.microsoft.com/office/drawing/2014/main" id="{BEA2E3CA-3F01-224C-82B6-E4D2C1784BC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37911" y="5611676"/>
            <a:ext cx="1227719" cy="690592"/>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B99EC781-6758-A528-86D8-E46D7F6AA24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25698" y="5718556"/>
            <a:ext cx="1763133" cy="536286"/>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Download Capital One Logo in SVG Vector or PNG File Format - Logo.wine">
            <a:extLst>
              <a:ext uri="{FF2B5EF4-FFF2-40B4-BE49-F238E27FC236}">
                <a16:creationId xmlns:a16="http://schemas.microsoft.com/office/drawing/2014/main" id="{4C43CE11-12CB-5C33-4492-13EA5913BDA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231955" y="5130633"/>
            <a:ext cx="2336741" cy="1557827"/>
          </a:xfrm>
          <a:prstGeom prst="rect">
            <a:avLst/>
          </a:prstGeom>
          <a:noFill/>
          <a:extLst>
            <a:ext uri="{909E8E84-426E-40DD-AFC4-6F175D3DCCD1}">
              <a14:hiddenFill xmlns:a14="http://schemas.microsoft.com/office/drawing/2010/main">
                <a:solidFill>
                  <a:srgbClr val="FFFFFF"/>
                </a:solidFill>
              </a14:hiddenFill>
            </a:ext>
          </a:extLst>
        </p:spPr>
      </p:pic>
      <p:pic>
        <p:nvPicPr>
          <p:cNvPr id="15" name="Graphic 14">
            <a:extLst>
              <a:ext uri="{FF2B5EF4-FFF2-40B4-BE49-F238E27FC236}">
                <a16:creationId xmlns:a16="http://schemas.microsoft.com/office/drawing/2014/main" id="{8F810EE5-3332-A0AC-5935-16ACA845AC0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273885" y="5564251"/>
            <a:ext cx="561681" cy="690592"/>
          </a:xfrm>
          <a:prstGeom prst="rect">
            <a:avLst/>
          </a:prstGeom>
        </p:spPr>
      </p:pic>
      <p:sp>
        <p:nvSpPr>
          <p:cNvPr id="10" name="Title 1">
            <a:extLst>
              <a:ext uri="{FF2B5EF4-FFF2-40B4-BE49-F238E27FC236}">
                <a16:creationId xmlns:a16="http://schemas.microsoft.com/office/drawing/2014/main" id="{C9DDBD70-6086-E155-3F8C-5CFF4D8D165B}"/>
              </a:ext>
            </a:extLst>
          </p:cNvPr>
          <p:cNvSpPr>
            <a:spLocks noGrp="1"/>
          </p:cNvSpPr>
          <p:nvPr>
            <p:ph type="title"/>
          </p:nvPr>
        </p:nvSpPr>
        <p:spPr>
          <a:xfrm>
            <a:off x="281612" y="299513"/>
            <a:ext cx="3064154" cy="1533982"/>
          </a:xfrm>
        </p:spPr>
        <p:txBody>
          <a:bodyPr anchor="t"/>
          <a:lstStyle/>
          <a:p>
            <a:r>
              <a:rPr lang="en-US" sz="2400" dirty="0"/>
              <a:t>Deepening </a:t>
            </a:r>
            <a:r>
              <a:rPr lang="en-US" sz="2400" b="1" err="1"/>
              <a:t>watson</a:t>
            </a:r>
            <a:r>
              <a:rPr lang="en-US" sz="2400" b="1" err="1">
                <a:solidFill>
                  <a:schemeClr val="accent1"/>
                </a:solidFill>
              </a:rPr>
              <a:t>x</a:t>
            </a:r>
            <a:r>
              <a:rPr lang="en-US" sz="2400" dirty="0"/>
              <a:t> capabilities to address enterprise Gen AI data needs with</a:t>
            </a:r>
            <a:br>
              <a:rPr lang="en-US" sz="2400" dirty="0"/>
            </a:br>
            <a:br>
              <a:rPr lang="en-US" sz="2400" dirty="0"/>
            </a:br>
            <a:r>
              <a:rPr lang="en-US" sz="3000" b="1" dirty="0"/>
              <a:t>DataStax</a:t>
            </a:r>
            <a:endParaRPr lang="en-US" sz="3000" i="1" dirty="0">
              <a:solidFill>
                <a:srgbClr val="000000"/>
              </a:solidFill>
            </a:endParaRPr>
          </a:p>
        </p:txBody>
      </p:sp>
    </p:spTree>
    <p:extLst>
      <p:ext uri="{BB962C8B-B14F-4D97-AF65-F5344CB8AC3E}">
        <p14:creationId xmlns:p14="http://schemas.microsoft.com/office/powerpoint/2010/main" val="1144227050"/>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61FF32-4358-8385-4A70-B1608D28A441}"/>
            </a:ext>
          </a:extLst>
        </p:cNvPr>
        <p:cNvGrpSpPr/>
        <p:nvPr/>
      </p:nvGrpSpPr>
      <p:grpSpPr>
        <a:xfrm>
          <a:off x="0" y="0"/>
          <a:ext cx="0" cy="0"/>
          <a:chOff x="0" y="0"/>
          <a:chExt cx="0" cy="0"/>
        </a:xfrm>
      </p:grpSpPr>
      <p:pic>
        <p:nvPicPr>
          <p:cNvPr id="28" name="Picture 27">
            <a:extLst>
              <a:ext uri="{FF2B5EF4-FFF2-40B4-BE49-F238E27FC236}">
                <a16:creationId xmlns:a16="http://schemas.microsoft.com/office/drawing/2014/main" id="{618CFF8D-67E7-B261-5E35-CD5716CC0CB8}"/>
              </a:ext>
            </a:extLst>
          </p:cNvPr>
          <p:cNvPicPr>
            <a:picLocks noChangeAspect="1"/>
          </p:cNvPicPr>
          <p:nvPr/>
        </p:nvPicPr>
        <p:blipFill>
          <a:blip r:embed="rId5"/>
          <a:stretch>
            <a:fillRect/>
          </a:stretch>
        </p:blipFill>
        <p:spPr>
          <a:xfrm>
            <a:off x="9359900" y="6202637"/>
            <a:ext cx="2832100" cy="520700"/>
          </a:xfrm>
          <a:prstGeom prst="rect">
            <a:avLst/>
          </a:prstGeom>
        </p:spPr>
      </p:pic>
      <p:pic>
        <p:nvPicPr>
          <p:cNvPr id="2" name="AI for Data Demo Gartner D&amp;A_v3">
            <a:hlinkClick r:id="" action="ppaction://media"/>
            <a:extLst>
              <a:ext uri="{FF2B5EF4-FFF2-40B4-BE49-F238E27FC236}">
                <a16:creationId xmlns:a16="http://schemas.microsoft.com/office/drawing/2014/main" id="{CF944B62-B022-FA04-87D1-0078F26D981F}"/>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7938" y="4763"/>
            <a:ext cx="12192000" cy="6858000"/>
          </a:xfrm>
          <a:prstGeom prst="rect">
            <a:avLst/>
          </a:prstGeom>
        </p:spPr>
      </p:pic>
    </p:spTree>
    <p:extLst>
      <p:ext uri="{BB962C8B-B14F-4D97-AF65-F5344CB8AC3E}">
        <p14:creationId xmlns:p14="http://schemas.microsoft.com/office/powerpoint/2010/main" val="2020115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451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descr="Vertical half slide background in blue 10">
            <a:extLst>
              <a:ext uri="{FF2B5EF4-FFF2-40B4-BE49-F238E27FC236}">
                <a16:creationId xmlns:a16="http://schemas.microsoft.com/office/drawing/2014/main" id="{5DBE7711-C8AA-5195-4BC2-0A106385BD47}"/>
              </a:ext>
            </a:extLst>
          </p:cNvPr>
          <p:cNvSpPr/>
          <p:nvPr/>
        </p:nvSpPr>
        <p:spPr bwMode="auto">
          <a:xfrm>
            <a:off x="795" y="893"/>
            <a:ext cx="6094413" cy="6856214"/>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09" tIns="45709" rIns="45709" bIns="45709" numCol="1" rtlCol="0" anchor="t" anchorCtr="0" compatLnSpc="1">
            <a:prstTxWarp prst="textNoShape">
              <a:avLst/>
            </a:prstTxWarp>
          </a:bodyPr>
          <a:lstStyle/>
          <a:p>
            <a:pPr defTabSz="457114" fontAlgn="base">
              <a:spcBef>
                <a:spcPct val="0"/>
              </a:spcBef>
              <a:spcAft>
                <a:spcPct val="0"/>
              </a:spcAft>
            </a:pPr>
            <a:endParaRPr lang="en-US" sz="700">
              <a:solidFill>
                <a:srgbClr val="FFFFFF"/>
              </a:solidFill>
              <a:latin typeface="IBM Plex Sans Light"/>
            </a:endParaRPr>
          </a:p>
        </p:txBody>
      </p:sp>
      <p:sp>
        <p:nvSpPr>
          <p:cNvPr id="5" name="Text Placeholder 3">
            <a:extLst>
              <a:ext uri="{FF2B5EF4-FFF2-40B4-BE49-F238E27FC236}">
                <a16:creationId xmlns:a16="http://schemas.microsoft.com/office/drawing/2014/main" id="{8425C687-5BFB-DE91-B036-5F805E860CDD}"/>
              </a:ext>
            </a:extLst>
          </p:cNvPr>
          <p:cNvSpPr txBox="1">
            <a:spLocks/>
          </p:cNvSpPr>
          <p:nvPr/>
        </p:nvSpPr>
        <p:spPr>
          <a:xfrm>
            <a:off x="288755" y="288855"/>
            <a:ext cx="5519983" cy="5711227"/>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mj-lt"/>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mj-lt"/>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470" fontAlgn="base">
              <a:lnSpc>
                <a:spcPct val="112000"/>
              </a:lnSpc>
              <a:buClr>
                <a:srgbClr val="001141"/>
              </a:buClr>
              <a:buSzPct val="90000"/>
              <a:defRPr/>
            </a:pPr>
            <a:r>
              <a:rPr lang="en-US" sz="6850" kern="0">
                <a:solidFill>
                  <a:srgbClr val="0F62FE"/>
                </a:solidFill>
                <a:latin typeface="IBM Plex Sans Light"/>
              </a:rPr>
              <a:t>Visit us at Booth #2</a:t>
            </a:r>
            <a:endParaRPr lang="en-US" sz="6866" kern="0">
              <a:solidFill>
                <a:srgbClr val="0F62FE"/>
              </a:solidFill>
              <a:latin typeface="IBM Plex Sans Light"/>
            </a:endParaRPr>
          </a:p>
          <a:p>
            <a:pPr defTabSz="1218470" fontAlgn="base">
              <a:lnSpc>
                <a:spcPct val="112000"/>
              </a:lnSpc>
              <a:buClr>
                <a:srgbClr val="001141"/>
              </a:buClr>
              <a:buSzPct val="90000"/>
              <a:defRPr/>
            </a:pPr>
            <a:r>
              <a:rPr lang="en-US" sz="3599" kern="0">
                <a:solidFill>
                  <a:srgbClr val="0F62FE"/>
                </a:solidFill>
                <a:latin typeface="IBM Plex Sans Light"/>
              </a:rPr>
              <a:t>↓</a:t>
            </a:r>
          </a:p>
          <a:p>
            <a:pPr defTabSz="1218470" fontAlgn="base">
              <a:lnSpc>
                <a:spcPct val="112000"/>
              </a:lnSpc>
              <a:buClr>
                <a:srgbClr val="001141"/>
              </a:buClr>
              <a:buSzPct val="90000"/>
              <a:defRPr/>
            </a:pPr>
            <a:r>
              <a:rPr lang="en-US" sz="2999" kern="0">
                <a:solidFill>
                  <a:srgbClr val="000000"/>
                </a:solidFill>
                <a:latin typeface="+mn-lt"/>
              </a:rPr>
              <a:t>Get started with Data for Generative AI today.</a:t>
            </a:r>
          </a:p>
          <a:p>
            <a:pPr defTabSz="1218470">
              <a:lnSpc>
                <a:spcPct val="112000"/>
              </a:lnSpc>
              <a:defRPr/>
            </a:pPr>
            <a:endParaRPr lang="en-US" sz="2999" kern="0">
              <a:solidFill>
                <a:srgbClr val="000000"/>
              </a:solidFill>
              <a:latin typeface="+mn-lt"/>
            </a:endParaRPr>
          </a:p>
          <a:p>
            <a:pPr defTabSz="1218470">
              <a:lnSpc>
                <a:spcPct val="112000"/>
              </a:lnSpc>
              <a:defRPr/>
            </a:pPr>
            <a:r>
              <a:rPr lang="en-US" sz="2999" kern="0">
                <a:solidFill>
                  <a:srgbClr val="000000"/>
                </a:solidFill>
                <a:latin typeface="+mn-lt"/>
              </a:rPr>
              <a:t>Learn more about </a:t>
            </a:r>
            <a:r>
              <a:rPr lang="en-US" sz="2999" b="1" kern="0">
                <a:solidFill>
                  <a:srgbClr val="000000"/>
                </a:solidFill>
                <a:latin typeface="IBM Plex Sans"/>
              </a:rPr>
              <a:t>watson</a:t>
            </a:r>
            <a:r>
              <a:rPr lang="en-US" sz="2999" b="1" kern="0">
                <a:solidFill>
                  <a:schemeClr val="accent1"/>
                </a:solidFill>
                <a:latin typeface="IBM Plex Sans"/>
              </a:rPr>
              <a:t>x</a:t>
            </a:r>
            <a:r>
              <a:rPr lang="en-US" sz="2999" kern="0">
                <a:solidFill>
                  <a:srgbClr val="000000"/>
                </a:solidFill>
                <a:latin typeface="IBM Plex Sans Light"/>
              </a:rPr>
              <a:t>.</a:t>
            </a:r>
            <a:endParaRPr lang="en-US" sz="2999" kern="0">
              <a:solidFill>
                <a:srgbClr val="000000"/>
              </a:solidFill>
              <a:latin typeface="IBM Plex Sans Light" panose="020B0403050203000203" pitchFamily="34" charset="0"/>
            </a:endParaRPr>
          </a:p>
          <a:p>
            <a:pPr defTabSz="1218470" fontAlgn="base">
              <a:lnSpc>
                <a:spcPct val="112000"/>
              </a:lnSpc>
              <a:buClr>
                <a:srgbClr val="001141"/>
              </a:buClr>
              <a:buSzPct val="90000"/>
              <a:defRPr/>
            </a:pPr>
            <a:endParaRPr lang="en-US" sz="2999" kern="0">
              <a:solidFill>
                <a:srgbClr val="000000"/>
              </a:solidFill>
              <a:latin typeface="+mn-lt"/>
            </a:endParaRPr>
          </a:p>
        </p:txBody>
      </p:sp>
      <p:sp>
        <p:nvSpPr>
          <p:cNvPr id="3" name="Footer Placeholder 2">
            <a:extLst>
              <a:ext uri="{FF2B5EF4-FFF2-40B4-BE49-F238E27FC236}">
                <a16:creationId xmlns:a16="http://schemas.microsoft.com/office/drawing/2014/main" id="{A7B2D2FE-C404-916A-1412-0426DF4DA4F5}"/>
              </a:ext>
            </a:extLst>
          </p:cNvPr>
          <p:cNvSpPr>
            <a:spLocks noGrp="1"/>
          </p:cNvSpPr>
          <p:nvPr>
            <p:ph type="ftr" sz="quarter" idx="14"/>
          </p:nvPr>
        </p:nvSpPr>
        <p:spPr>
          <a:xfrm>
            <a:off x="568324" y="12804235"/>
            <a:ext cx="4956176" cy="381000"/>
          </a:xfrm>
          <a:prstGeom prst="rect">
            <a:avLst/>
          </a:prstGeom>
        </p:spPr>
        <p:txBody>
          <a:bodyPr vert="horz" lIns="0" tIns="0" rIns="0" bIns="0" rtlCol="0" anchor="b"/>
          <a:lstStyle>
            <a:defPPr>
              <a:defRPr lang="en-US"/>
            </a:defPPr>
            <a:lvl1pPr marL="0" algn="l" defTabSz="1829379" rtl="0" eaLnBrk="1" latinLnBrk="0" hangingPunct="1">
              <a:defRPr sz="1600" b="0" i="0" kern="1200">
                <a:solidFill>
                  <a:schemeClr val="tx1"/>
                </a:solidFill>
                <a:latin typeface="IBM Plex Sans" panose="020B0503050203000203" pitchFamily="34" charset="0"/>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endParaRPr lang="en-US"/>
          </a:p>
        </p:txBody>
      </p:sp>
      <p:pic>
        <p:nvPicPr>
          <p:cNvPr id="2" name="Picture 1" descr="A qr code on a white background&#10;&#10;Description automatically generated">
            <a:extLst>
              <a:ext uri="{FF2B5EF4-FFF2-40B4-BE49-F238E27FC236}">
                <a16:creationId xmlns:a16="http://schemas.microsoft.com/office/drawing/2014/main" id="{FC5FB137-52BA-3616-029D-1DBD3490CC06}"/>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flipV="1">
            <a:off x="7232106" y="1343148"/>
            <a:ext cx="3954216" cy="3954216"/>
          </a:xfrm>
          <a:prstGeom prst="rect">
            <a:avLst/>
          </a:prstGeom>
          <a:noFill/>
          <a:ln>
            <a:noFill/>
          </a:ln>
        </p:spPr>
      </p:pic>
    </p:spTree>
    <p:extLst>
      <p:ext uri="{BB962C8B-B14F-4D97-AF65-F5344CB8AC3E}">
        <p14:creationId xmlns:p14="http://schemas.microsoft.com/office/powerpoint/2010/main" val="579239392"/>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5D010D-22DE-D7B3-54E7-1EEA05296A33}"/>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641707C6-CDDC-637C-57C5-E0B01DA13867}"/>
              </a:ext>
            </a:extLst>
          </p:cNvPr>
          <p:cNvSpPr>
            <a:spLocks noGrp="1"/>
          </p:cNvSpPr>
          <p:nvPr>
            <p:ph type="body" sz="quarter" idx="15"/>
          </p:nvPr>
        </p:nvSpPr>
        <p:spPr/>
        <p:txBody>
          <a:bodyPr/>
          <a:lstStyle/>
          <a:p>
            <a:r>
              <a:rPr lang="en-US" sz="4799">
                <a:solidFill>
                  <a:schemeClr val="accent1"/>
                </a:solidFill>
              </a:rPr>
              <a:t>1</a:t>
            </a:r>
          </a:p>
        </p:txBody>
      </p:sp>
      <p:sp>
        <p:nvSpPr>
          <p:cNvPr id="4" name="Text Placeholder 3">
            <a:extLst>
              <a:ext uri="{FF2B5EF4-FFF2-40B4-BE49-F238E27FC236}">
                <a16:creationId xmlns:a16="http://schemas.microsoft.com/office/drawing/2014/main" id="{70A8F490-4865-A9D1-2BE9-04D3499F6955}"/>
              </a:ext>
            </a:extLst>
          </p:cNvPr>
          <p:cNvSpPr>
            <a:spLocks noGrp="1"/>
          </p:cNvSpPr>
          <p:nvPr>
            <p:ph type="body" sz="quarter" idx="12"/>
          </p:nvPr>
        </p:nvSpPr>
        <p:spPr>
          <a:xfrm>
            <a:off x="3333317" y="1714723"/>
            <a:ext cx="2593186" cy="4285692"/>
          </a:xfrm>
        </p:spPr>
        <p:txBody>
          <a:bodyPr lIns="0" tIns="0" rIns="0" bIns="0" anchor="t"/>
          <a:lstStyle/>
          <a:p>
            <a:r>
              <a:rPr lang="en-US" sz="1800" b="1">
                <a:solidFill>
                  <a:srgbClr val="0D62FE"/>
                </a:solidFill>
                <a:latin typeface="+mj-lt"/>
              </a:rPr>
              <a:t>Data is the center of your AI strategy</a:t>
            </a:r>
          </a:p>
          <a:p>
            <a:endParaRPr lang="en-US" sz="2000" b="1">
              <a:solidFill>
                <a:schemeClr val="accent1"/>
              </a:solidFill>
            </a:endParaRPr>
          </a:p>
          <a:p>
            <a:endParaRPr lang="en-US" sz="1800">
              <a:latin typeface="+mn-lt"/>
            </a:endParaRPr>
          </a:p>
          <a:p>
            <a:endParaRPr lang="en-US" sz="1800">
              <a:latin typeface="+mn-lt"/>
            </a:endParaRPr>
          </a:p>
          <a:p>
            <a:r>
              <a:rPr lang="en-US" sz="1800">
                <a:latin typeface="+mn-lt"/>
              </a:rPr>
              <a:t>The success of your AI is determined by your data, and organizations aren’t maximizing data’s ROI</a:t>
            </a:r>
            <a:endParaRPr lang="en-US"/>
          </a:p>
        </p:txBody>
      </p:sp>
      <p:sp>
        <p:nvSpPr>
          <p:cNvPr id="5" name="Text Placeholder 4">
            <a:extLst>
              <a:ext uri="{FF2B5EF4-FFF2-40B4-BE49-F238E27FC236}">
                <a16:creationId xmlns:a16="http://schemas.microsoft.com/office/drawing/2014/main" id="{8854B99D-4CCB-2028-A018-26FAE8DC1DAD}"/>
              </a:ext>
            </a:extLst>
          </p:cNvPr>
          <p:cNvSpPr>
            <a:spLocks noGrp="1"/>
          </p:cNvSpPr>
          <p:nvPr>
            <p:ph type="body" sz="quarter" idx="16"/>
          </p:nvPr>
        </p:nvSpPr>
        <p:spPr/>
        <p:txBody>
          <a:bodyPr/>
          <a:lstStyle/>
          <a:p>
            <a:r>
              <a:rPr lang="en-US" sz="4799">
                <a:solidFill>
                  <a:schemeClr val="accent1"/>
                </a:solidFill>
              </a:rPr>
              <a:t>2</a:t>
            </a:r>
          </a:p>
        </p:txBody>
      </p:sp>
      <p:sp>
        <p:nvSpPr>
          <p:cNvPr id="6" name="Text Placeholder 5">
            <a:extLst>
              <a:ext uri="{FF2B5EF4-FFF2-40B4-BE49-F238E27FC236}">
                <a16:creationId xmlns:a16="http://schemas.microsoft.com/office/drawing/2014/main" id="{A745F797-BC7A-5CD7-E01F-9B6A4E50D2A0}"/>
              </a:ext>
            </a:extLst>
          </p:cNvPr>
          <p:cNvSpPr>
            <a:spLocks noGrp="1"/>
          </p:cNvSpPr>
          <p:nvPr>
            <p:ph type="body" sz="quarter" idx="13"/>
          </p:nvPr>
        </p:nvSpPr>
        <p:spPr>
          <a:xfrm>
            <a:off x="6383050" y="1714723"/>
            <a:ext cx="2593186" cy="4285692"/>
          </a:xfrm>
        </p:spPr>
        <p:txBody>
          <a:bodyPr lIns="0" tIns="0" rIns="0" bIns="0" anchor="t"/>
          <a:lstStyle/>
          <a:p>
            <a:r>
              <a:rPr lang="en-US" sz="1800" b="1">
                <a:solidFill>
                  <a:srgbClr val="0D62FE"/>
                </a:solidFill>
                <a:latin typeface="+mj-lt"/>
              </a:rPr>
              <a:t>Learnings from thousands of client engagements</a:t>
            </a:r>
          </a:p>
          <a:p>
            <a:endParaRPr lang="en-US" sz="1800" b="1">
              <a:solidFill>
                <a:schemeClr val="accent1"/>
              </a:solidFill>
            </a:endParaRPr>
          </a:p>
          <a:p>
            <a:endParaRPr lang="en-US" sz="1800">
              <a:latin typeface="+mn-lt"/>
            </a:endParaRPr>
          </a:p>
          <a:p>
            <a:r>
              <a:rPr lang="en-US" sz="1800">
                <a:latin typeface="+mn-lt"/>
              </a:rPr>
              <a:t>How we’ve empowered businesses to successfully build and scale AI with their enterprise data</a:t>
            </a:r>
            <a:endParaRPr lang="en-US"/>
          </a:p>
          <a:p>
            <a:endParaRPr lang="en-US" sz="2000">
              <a:solidFill>
                <a:schemeClr val="accent1"/>
              </a:solidFill>
            </a:endParaRPr>
          </a:p>
          <a:p>
            <a:endParaRPr lang="en-US" sz="2000" b="1">
              <a:solidFill>
                <a:schemeClr val="accent1"/>
              </a:solidFill>
            </a:endParaRPr>
          </a:p>
        </p:txBody>
      </p:sp>
      <p:sp>
        <p:nvSpPr>
          <p:cNvPr id="7" name="Text Placeholder 6">
            <a:extLst>
              <a:ext uri="{FF2B5EF4-FFF2-40B4-BE49-F238E27FC236}">
                <a16:creationId xmlns:a16="http://schemas.microsoft.com/office/drawing/2014/main" id="{113B0978-002E-37A2-F6F7-924EF1ADBDC2}"/>
              </a:ext>
            </a:extLst>
          </p:cNvPr>
          <p:cNvSpPr>
            <a:spLocks noGrp="1"/>
          </p:cNvSpPr>
          <p:nvPr>
            <p:ph type="body" sz="quarter" idx="17"/>
          </p:nvPr>
        </p:nvSpPr>
        <p:spPr>
          <a:xfrm>
            <a:off x="9389885" y="288036"/>
            <a:ext cx="2479352" cy="762794"/>
          </a:xfrm>
        </p:spPr>
        <p:txBody>
          <a:bodyPr/>
          <a:lstStyle/>
          <a:p>
            <a:r>
              <a:rPr lang="en-US" sz="4799">
                <a:solidFill>
                  <a:schemeClr val="accent1"/>
                </a:solidFill>
              </a:rPr>
              <a:t>3</a:t>
            </a:r>
          </a:p>
        </p:txBody>
      </p:sp>
      <p:sp>
        <p:nvSpPr>
          <p:cNvPr id="8" name="Text Placeholder 7">
            <a:extLst>
              <a:ext uri="{FF2B5EF4-FFF2-40B4-BE49-F238E27FC236}">
                <a16:creationId xmlns:a16="http://schemas.microsoft.com/office/drawing/2014/main" id="{F65AAC0F-7B2C-02C3-5FB5-67A45732B0F6}"/>
              </a:ext>
            </a:extLst>
          </p:cNvPr>
          <p:cNvSpPr>
            <a:spLocks noGrp="1"/>
          </p:cNvSpPr>
          <p:nvPr>
            <p:ph type="body" sz="quarter" idx="14"/>
          </p:nvPr>
        </p:nvSpPr>
        <p:spPr>
          <a:xfrm>
            <a:off x="9389505" y="1714723"/>
            <a:ext cx="2597155" cy="4285692"/>
          </a:xfrm>
        </p:spPr>
        <p:txBody>
          <a:bodyPr lIns="0" tIns="0" rIns="0" bIns="0" anchor="t"/>
          <a:lstStyle/>
          <a:p>
            <a:r>
              <a:rPr lang="en-US" sz="1800" b="1">
                <a:solidFill>
                  <a:srgbClr val="0D62FE"/>
                </a:solidFill>
                <a:latin typeface="+mj-lt"/>
              </a:rPr>
              <a:t>An approach to unified data management for unstructured and structured data</a:t>
            </a:r>
          </a:p>
          <a:p>
            <a:endParaRPr lang="en-US" sz="1800" b="1">
              <a:solidFill>
                <a:schemeClr val="accent1"/>
              </a:solidFill>
            </a:endParaRPr>
          </a:p>
          <a:p>
            <a:r>
              <a:rPr lang="en-US" sz="1800">
                <a:latin typeface="+mn-lt"/>
              </a:rPr>
              <a:t>Deliver superior AI with a hybrid, open, and secure data architecture</a:t>
            </a:r>
          </a:p>
        </p:txBody>
      </p:sp>
      <p:sp>
        <p:nvSpPr>
          <p:cNvPr id="12" name="Title 1">
            <a:extLst>
              <a:ext uri="{FF2B5EF4-FFF2-40B4-BE49-F238E27FC236}">
                <a16:creationId xmlns:a16="http://schemas.microsoft.com/office/drawing/2014/main" id="{C88C0C4E-91F0-5A53-D9A3-EFEF8055CA9B}"/>
              </a:ext>
            </a:extLst>
          </p:cNvPr>
          <p:cNvSpPr>
            <a:spLocks noGrp="1"/>
          </p:cNvSpPr>
          <p:nvPr>
            <p:ph type="title"/>
          </p:nvPr>
        </p:nvSpPr>
        <p:spPr>
          <a:xfrm>
            <a:off x="301586" y="301752"/>
            <a:ext cx="5029831" cy="593639"/>
          </a:xfrm>
        </p:spPr>
        <p:txBody>
          <a:bodyPr anchor="t">
            <a:noAutofit/>
          </a:bodyPr>
          <a:lstStyle/>
          <a:p>
            <a:r>
              <a:rPr lang="en-US" sz="2650">
                <a:solidFill>
                  <a:srgbClr val="000000"/>
                </a:solidFill>
                <a:latin typeface="IBM Plex Sans Light" pitchFamily="34" charset="0"/>
                <a:ea typeface="IBM Plex Sans Light" pitchFamily="34" charset="-122"/>
                <a:cs typeface="IBM Plex Sans Light" pitchFamily="34" charset="-120"/>
              </a:rPr>
              <a:t>Today’s talk</a:t>
            </a:r>
            <a:br>
              <a:rPr lang="en-US" sz="2650">
                <a:solidFill>
                  <a:srgbClr val="000000"/>
                </a:solidFill>
                <a:latin typeface="IBM Plex Sans Light" pitchFamily="34" charset="0"/>
                <a:ea typeface="IBM Plex Sans Light" pitchFamily="34" charset="-122"/>
                <a:cs typeface="IBM Plex Sans Light" pitchFamily="34" charset="-120"/>
              </a:rPr>
            </a:br>
            <a:br>
              <a:rPr lang="en-US" sz="2650">
                <a:solidFill>
                  <a:srgbClr val="000000"/>
                </a:solidFill>
                <a:latin typeface="IBM Plex Sans Light" pitchFamily="34" charset="0"/>
                <a:ea typeface="IBM Plex Sans Light" pitchFamily="34" charset="-122"/>
                <a:cs typeface="IBM Plex Sans Light" pitchFamily="34" charset="-120"/>
              </a:rPr>
            </a:br>
            <a:r>
              <a:rPr lang="en-US" sz="2650">
                <a:solidFill>
                  <a:srgbClr val="0F62FE"/>
                </a:solidFill>
                <a:latin typeface="IBM Plex Sans Light" pitchFamily="34" charset="0"/>
              </a:rPr>
              <a:t>Key takeaways</a:t>
            </a:r>
            <a:endParaRPr lang="en-US" sz="2650">
              <a:solidFill>
                <a:schemeClr val="accent1"/>
              </a:solidFill>
            </a:endParaRPr>
          </a:p>
        </p:txBody>
      </p:sp>
    </p:spTree>
    <p:extLst>
      <p:ext uri="{BB962C8B-B14F-4D97-AF65-F5344CB8AC3E}">
        <p14:creationId xmlns:p14="http://schemas.microsoft.com/office/powerpoint/2010/main" val="8375778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5E1FFF-200D-1A60-74C4-E33EEC7E62F0}"/>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4B536B81-6B6C-0B98-AC6F-614F18317098}"/>
              </a:ext>
            </a:extLst>
          </p:cNvPr>
          <p:cNvSpPr>
            <a:spLocks/>
          </p:cNvSpPr>
          <p:nvPr/>
        </p:nvSpPr>
        <p:spPr bwMode="auto">
          <a:xfrm>
            <a:off x="6110813" y="447"/>
            <a:ext cx="6096793" cy="6857107"/>
          </a:xfrm>
          <a:prstGeom prst="rect">
            <a:avLst/>
          </a:prstGeom>
          <a:solidFill>
            <a:schemeClr val="bg2"/>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lvl="0" indent="0" algn="l" defTabSz="457109"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IBM Plex Sans Light"/>
              <a:ea typeface="+mn-ea"/>
              <a:cs typeface="+mn-cs"/>
            </a:endParaRPr>
          </a:p>
        </p:txBody>
      </p:sp>
      <p:sp>
        <p:nvSpPr>
          <p:cNvPr id="2" name="Slide Number Placeholder 1">
            <a:extLst>
              <a:ext uri="{FF2B5EF4-FFF2-40B4-BE49-F238E27FC236}">
                <a16:creationId xmlns:a16="http://schemas.microsoft.com/office/drawing/2014/main" id="{3CEE0342-8253-22D9-9A8C-6D1E34380C8F}"/>
              </a:ext>
            </a:extLst>
          </p:cNvPr>
          <p:cNvSpPr>
            <a:spLocks noGrp="1"/>
          </p:cNvSpPr>
          <p:nvPr>
            <p:ph type="sldNum" sz="quarter" idx="4"/>
          </p:nvPr>
        </p:nvSpPr>
        <p:spPr>
          <a:xfrm>
            <a:off x="11843785" y="6469015"/>
            <a:ext cx="60915" cy="123111"/>
          </a:xfrm>
        </p:spPr>
        <p:txBody>
          <a:bodyPr/>
          <a:lstStyle/>
          <a:p>
            <a:pPr marL="0" marR="0" lvl="0" indent="0" algn="r" defTabSz="914507" rtl="0" eaLnBrk="1" fontAlgn="auto" latinLnBrk="0" hangingPunct="1">
              <a:lnSpc>
                <a:spcPct val="100000"/>
              </a:lnSpc>
              <a:spcBef>
                <a:spcPts val="0"/>
              </a:spcBef>
              <a:spcAft>
                <a:spcPts val="0"/>
              </a:spcAft>
              <a:buClrTx/>
              <a:buSzTx/>
              <a:buFontTx/>
              <a:buNone/>
              <a:tabLst/>
              <a:defRPr/>
            </a:pPr>
            <a:fld id="{86CB4B4D-7CA3-9044-876B-883B54F8677D}" type="slidenum">
              <a:rPr kumimoji="0" lang="en-US" sz="8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sym typeface="IBM Plex Sans"/>
              </a:rPr>
              <a:pPr marL="0" marR="0" lvl="0" indent="0" algn="r" defTabSz="914507"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sym typeface="IBM Plex Sans"/>
            </a:endParaRPr>
          </a:p>
        </p:txBody>
      </p:sp>
      <p:sp>
        <p:nvSpPr>
          <p:cNvPr id="19" name="Title 1">
            <a:extLst>
              <a:ext uri="{FF2B5EF4-FFF2-40B4-BE49-F238E27FC236}">
                <a16:creationId xmlns:a16="http://schemas.microsoft.com/office/drawing/2014/main" id="{904A7E2D-129E-86B8-65F3-8B7E2D856CF1}"/>
              </a:ext>
            </a:extLst>
          </p:cNvPr>
          <p:cNvSpPr>
            <a:spLocks noGrp="1"/>
          </p:cNvSpPr>
          <p:nvPr>
            <p:ph type="title"/>
          </p:nvPr>
        </p:nvSpPr>
        <p:spPr>
          <a:xfrm>
            <a:off x="301585" y="301752"/>
            <a:ext cx="5926937" cy="593639"/>
          </a:xfrm>
        </p:spPr>
        <p:txBody>
          <a:bodyPr anchor="t"/>
          <a:lstStyle/>
          <a:p>
            <a:r>
              <a:rPr lang="en-US" sz="2400"/>
              <a:t>AI is only as good as your data</a:t>
            </a:r>
            <a:endParaRPr lang="en-US" sz="2400">
              <a:solidFill>
                <a:schemeClr val="accent1"/>
              </a:solidFill>
            </a:endParaRPr>
          </a:p>
        </p:txBody>
      </p:sp>
      <p:sp>
        <p:nvSpPr>
          <p:cNvPr id="25" name="TextBox 24">
            <a:extLst>
              <a:ext uri="{FF2B5EF4-FFF2-40B4-BE49-F238E27FC236}">
                <a16:creationId xmlns:a16="http://schemas.microsoft.com/office/drawing/2014/main" id="{754CE2D8-41B5-8C33-42AD-0FBAB21FBECD}"/>
              </a:ext>
            </a:extLst>
          </p:cNvPr>
          <p:cNvSpPr txBox="1"/>
          <p:nvPr/>
        </p:nvSpPr>
        <p:spPr>
          <a:xfrm>
            <a:off x="6561226" y="1042035"/>
            <a:ext cx="5509495" cy="276999"/>
          </a:xfrm>
          <a:prstGeom prst="rect">
            <a:avLst/>
          </a:prstGeom>
          <a:noFill/>
        </p:spPr>
        <p:txBody>
          <a:bodyPr wrap="square" lIns="0" tIns="0" rIns="0" bIns="0" rtlCol="0" anchor="ctr" anchorCtr="0">
            <a:spAutoFit/>
          </a:bodyPr>
          <a:lstStyle/>
          <a:p>
            <a:pPr marL="0" marR="0" lvl="0" indent="0" algn="l" defTabSz="91450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IBM Plex Sans Light"/>
                <a:ea typeface="+mn-ea"/>
                <a:cs typeface="+mn-cs"/>
              </a:rPr>
              <a:t>Emerging challenges of unstructured data</a:t>
            </a:r>
          </a:p>
        </p:txBody>
      </p:sp>
      <p:sp>
        <p:nvSpPr>
          <p:cNvPr id="26" name="TextBox 25">
            <a:extLst>
              <a:ext uri="{FF2B5EF4-FFF2-40B4-BE49-F238E27FC236}">
                <a16:creationId xmlns:a16="http://schemas.microsoft.com/office/drawing/2014/main" id="{F043EF16-73C5-0EEE-737D-53FF26A547ED}"/>
              </a:ext>
            </a:extLst>
          </p:cNvPr>
          <p:cNvSpPr txBox="1"/>
          <p:nvPr/>
        </p:nvSpPr>
        <p:spPr>
          <a:xfrm>
            <a:off x="284125" y="1042054"/>
            <a:ext cx="5523782" cy="276999"/>
          </a:xfrm>
          <a:prstGeom prst="rect">
            <a:avLst/>
          </a:prstGeom>
          <a:noFill/>
        </p:spPr>
        <p:txBody>
          <a:bodyPr wrap="square" lIns="0" tIns="0" rIns="0" bIns="0" rtlCol="0" anchor="t" anchorCtr="0">
            <a:spAutoFit/>
          </a:bodyPr>
          <a:lstStyle/>
          <a:p>
            <a:pPr marL="0" marR="0" lvl="0" indent="0" algn="l" defTabSz="91450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IBM Plex Sans Light"/>
                <a:ea typeface="+mn-ea"/>
                <a:cs typeface="+mn-cs"/>
              </a:rPr>
              <a:t>Unprecedented data challenges to scale AI </a:t>
            </a:r>
          </a:p>
        </p:txBody>
      </p:sp>
      <p:sp>
        <p:nvSpPr>
          <p:cNvPr id="16" name="Text 5">
            <a:extLst>
              <a:ext uri="{FF2B5EF4-FFF2-40B4-BE49-F238E27FC236}">
                <a16:creationId xmlns:a16="http://schemas.microsoft.com/office/drawing/2014/main" id="{EB7887EA-2B5E-D658-6A67-FE37FEC85144}"/>
              </a:ext>
            </a:extLst>
          </p:cNvPr>
          <p:cNvSpPr txBox="1"/>
          <p:nvPr/>
        </p:nvSpPr>
        <p:spPr>
          <a:xfrm>
            <a:off x="6561225" y="3358467"/>
            <a:ext cx="5282559" cy="1628823"/>
          </a:xfrm>
          <a:prstGeom prst="rect">
            <a:avLst/>
          </a:prstGeom>
          <a:noFill/>
          <a:ln/>
        </p:spPr>
        <p:txBody>
          <a:bodyPr wrap="square" lIns="0" tIns="0" rIns="0" bIns="0" rtlCol="0" anchor="t"/>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91432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IBM Plex Sans Light"/>
                <a:ea typeface="+mn-ea"/>
                <a:cs typeface="+mn-cs"/>
              </a:rPr>
              <a:t>of all enterprise-generated data is </a:t>
            </a:r>
            <a:r>
              <a:rPr kumimoji="0" lang="en-US" sz="1800" b="1" i="0" u="none" strike="noStrike" kern="1200" cap="none" spc="0" normalizeH="0" baseline="0" noProof="0">
                <a:ln>
                  <a:noFill/>
                </a:ln>
                <a:solidFill>
                  <a:srgbClr val="000000"/>
                </a:solidFill>
                <a:effectLst/>
                <a:uLnTx/>
                <a:uFillTx/>
                <a:latin typeface="IBM Plex Sans Light"/>
                <a:ea typeface="+mn-ea"/>
                <a:cs typeface="+mn-cs"/>
              </a:rPr>
              <a:t>unstructured. </a:t>
            </a:r>
            <a:br>
              <a:rPr kumimoji="0" lang="en-US" sz="1800" b="1" i="0" u="none" strike="noStrike" kern="1200" cap="none" spc="0" normalizeH="0" baseline="0" noProof="0">
                <a:ln>
                  <a:noFill/>
                </a:ln>
                <a:solidFill>
                  <a:srgbClr val="000000"/>
                </a:solidFill>
                <a:effectLst/>
                <a:uLnTx/>
                <a:uFillTx/>
                <a:latin typeface="IBM Plex Sans Light"/>
                <a:ea typeface="+mn-ea"/>
                <a:cs typeface="+mn-cs"/>
              </a:rPr>
            </a:br>
            <a:br>
              <a:rPr kumimoji="0" lang="en-US" sz="1800" b="1" i="0" u="none" strike="noStrike" kern="1200" cap="none" spc="0" normalizeH="0" baseline="0" noProof="0">
                <a:ln>
                  <a:noFill/>
                </a:ln>
                <a:solidFill>
                  <a:srgbClr val="000000"/>
                </a:solidFill>
                <a:effectLst/>
                <a:uLnTx/>
                <a:uFillTx/>
                <a:latin typeface="IBM Plex Sans Light"/>
                <a:ea typeface="+mn-ea"/>
                <a:cs typeface="+mn-cs"/>
              </a:rPr>
            </a:br>
            <a:r>
              <a:rPr kumimoji="0" lang="en-US" sz="1800" b="0" i="0" u="none" strike="noStrike" kern="1200" cap="none" spc="0" normalizeH="0" baseline="0" noProof="0">
                <a:ln>
                  <a:noFill/>
                </a:ln>
                <a:solidFill>
                  <a:srgbClr val="000000"/>
                </a:solidFill>
                <a:effectLst/>
                <a:uLnTx/>
                <a:uFillTx/>
                <a:latin typeface="IBM Plex Sans Light"/>
                <a:ea typeface="+mn-ea"/>
                <a:cs typeface="+mn-cs"/>
              </a:rPr>
              <a:t>Today, limitations of RAG prevent enterprises from realizing the value of unstructured data for </a:t>
            </a:r>
            <a:r>
              <a:rPr kumimoji="0" lang="en-US" sz="1800" b="0" i="0" u="none" strike="noStrike" kern="1200" cap="none" spc="0" normalizeH="0" baseline="0" noProof="0" err="1">
                <a:ln>
                  <a:noFill/>
                </a:ln>
                <a:solidFill>
                  <a:srgbClr val="000000"/>
                </a:solidFill>
                <a:effectLst/>
                <a:uLnTx/>
                <a:uFillTx/>
                <a:latin typeface="IBM Plex Sans Light"/>
                <a:ea typeface="+mn-ea"/>
                <a:cs typeface="+mn-cs"/>
              </a:rPr>
              <a:t>GenAI</a:t>
            </a:r>
            <a:r>
              <a:rPr kumimoji="0" lang="en-US" sz="1800" b="0" i="0" u="none" strike="noStrike" kern="1200" cap="none" spc="0" normalizeH="0" baseline="0" noProof="0">
                <a:ln>
                  <a:noFill/>
                </a:ln>
                <a:solidFill>
                  <a:srgbClr val="000000"/>
                </a:solidFill>
                <a:effectLst/>
                <a:uLnTx/>
                <a:uFillTx/>
                <a:latin typeface="IBM Plex Sans Light"/>
                <a:ea typeface="+mn-ea"/>
                <a:cs typeface="+mn-cs"/>
              </a:rPr>
              <a:t>.</a:t>
            </a:r>
          </a:p>
          <a:p>
            <a:pPr marL="0" marR="0" lvl="0" indent="0" algn="l" defTabSz="914324"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IBM Plex Sans Light"/>
              <a:ea typeface="+mn-ea"/>
              <a:cs typeface="+mn-cs"/>
            </a:endParaRPr>
          </a:p>
        </p:txBody>
      </p:sp>
      <p:sp>
        <p:nvSpPr>
          <p:cNvPr id="20" name="Text 9">
            <a:extLst>
              <a:ext uri="{FF2B5EF4-FFF2-40B4-BE49-F238E27FC236}">
                <a16:creationId xmlns:a16="http://schemas.microsoft.com/office/drawing/2014/main" id="{0D6F739D-2C6E-EDD9-7490-62988D103EE9}"/>
              </a:ext>
            </a:extLst>
          </p:cNvPr>
          <p:cNvSpPr txBox="1"/>
          <p:nvPr/>
        </p:nvSpPr>
        <p:spPr>
          <a:xfrm>
            <a:off x="6561226" y="2253867"/>
            <a:ext cx="3472499" cy="770398"/>
          </a:xfrm>
          <a:prstGeom prst="rect">
            <a:avLst/>
          </a:prstGeom>
          <a:noFill/>
          <a:ln/>
        </p:spPr>
        <p:txBody>
          <a:bodyPr wrap="square" lIns="0" tIns="0" rIns="0" bIns="0" rtlCol="0" anchor="t"/>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marL="0" marR="0" lvl="0" indent="0" algn="l" defTabSz="914324" rtl="0" eaLnBrk="1" fontAlgn="auto" latinLnBrk="0" hangingPunct="1">
              <a:lnSpc>
                <a:spcPct val="90000"/>
              </a:lnSpc>
              <a:spcBef>
                <a:spcPts val="0"/>
              </a:spcBef>
              <a:spcAft>
                <a:spcPts val="0"/>
              </a:spcAft>
              <a:buClrTx/>
              <a:buSzTx/>
              <a:buFontTx/>
              <a:buNone/>
              <a:tabLst/>
              <a:defRPr/>
            </a:pPr>
            <a:r>
              <a:rPr kumimoji="0" lang="en-US" sz="7000" b="0" i="0" u="none" strike="noStrike" kern="1200" cap="none" spc="0" normalizeH="0" baseline="0" noProof="0">
                <a:ln>
                  <a:noFill/>
                </a:ln>
                <a:solidFill>
                  <a:srgbClr val="0F62FE"/>
                </a:solidFill>
                <a:effectLst/>
                <a:uLnTx/>
                <a:uFillTx/>
                <a:latin typeface="IBM Plex Sans Light" panose="020B0403050203000203" pitchFamily="34" charset="0"/>
                <a:ea typeface="IBM Plex Sans Medm" pitchFamily="34" charset="-122"/>
                <a:cs typeface="IBM Plex Sans Medm" pitchFamily="34" charset="-120"/>
              </a:rPr>
              <a:t>90%</a:t>
            </a:r>
            <a:endParaRPr kumimoji="0" lang="en-US" sz="7000" b="0" i="0" u="none" strike="noStrike" kern="1200" cap="none" spc="0" normalizeH="0" baseline="0" noProof="0">
              <a:ln>
                <a:noFill/>
              </a:ln>
              <a:solidFill>
                <a:srgbClr val="000000"/>
              </a:solidFill>
              <a:effectLst/>
              <a:uLnTx/>
              <a:uFillTx/>
              <a:latin typeface="IBM Plex Sans Light" panose="020B0403050203000203" pitchFamily="34" charset="0"/>
              <a:ea typeface="+mn-ea"/>
              <a:cs typeface="+mn-cs"/>
            </a:endParaRPr>
          </a:p>
        </p:txBody>
      </p:sp>
      <p:sp>
        <p:nvSpPr>
          <p:cNvPr id="28" name="TextBox 27">
            <a:extLst>
              <a:ext uri="{FF2B5EF4-FFF2-40B4-BE49-F238E27FC236}">
                <a16:creationId xmlns:a16="http://schemas.microsoft.com/office/drawing/2014/main" id="{00EBCA56-9E6D-ED97-94F2-D239E562C755}"/>
              </a:ext>
            </a:extLst>
          </p:cNvPr>
          <p:cNvSpPr txBox="1"/>
          <p:nvPr/>
        </p:nvSpPr>
        <p:spPr>
          <a:xfrm>
            <a:off x="280532" y="6580112"/>
            <a:ext cx="11905119" cy="230832"/>
          </a:xfrm>
          <a:prstGeom prst="rect">
            <a:avLst/>
          </a:prstGeom>
          <a:noFill/>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a:spAutoFit/>
          </a:bodyPr>
          <a:lstStyle/>
          <a:p>
            <a:pPr marL="0" marR="0" lvl="0" indent="0" algn="l" defTabSz="91450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IBM Plex Sans Light"/>
                <a:ea typeface="+mn-ea"/>
                <a:cs typeface="+mn-cs"/>
              </a:rPr>
              <a:t>Source: </a:t>
            </a:r>
            <a:r>
              <a:rPr kumimoji="0" lang="en-US" sz="900" b="0" i="0" u="none" strike="noStrike" kern="1200" cap="none" spc="0" normalizeH="0" baseline="0" noProof="0">
                <a:ln>
                  <a:noFill/>
                </a:ln>
                <a:solidFill>
                  <a:srgbClr val="000000"/>
                </a:solidFill>
                <a:effectLst/>
                <a:uLnTx/>
                <a:uFillTx/>
                <a:latin typeface="IBM Plex Sans Light"/>
                <a:ea typeface="+mn-ea"/>
                <a:cs typeface="+mn-cs"/>
                <a:hlinkClick r:id="rId3"/>
              </a:rPr>
              <a:t>IDC</a:t>
            </a:r>
            <a:r>
              <a:rPr kumimoji="0" lang="en-US" sz="900" b="0" i="0" u="none" strike="noStrike" kern="1200" cap="none" spc="0" normalizeH="0" baseline="0" noProof="0">
                <a:ln>
                  <a:noFill/>
                </a:ln>
                <a:solidFill>
                  <a:srgbClr val="000000"/>
                </a:solidFill>
                <a:effectLst/>
                <a:uLnTx/>
                <a:uFillTx/>
                <a:latin typeface="IBM Plex Sans Light"/>
                <a:ea typeface="+mn-ea"/>
                <a:cs typeface="+mn-cs"/>
              </a:rPr>
              <a:t>, UNTAPPED VALUE: What Every Executive Needs to Know About Unstructured Data, Aug 2023</a:t>
            </a:r>
          </a:p>
        </p:txBody>
      </p:sp>
      <p:sp>
        <p:nvSpPr>
          <p:cNvPr id="33" name="Text Placeholder 7">
            <a:extLst>
              <a:ext uri="{FF2B5EF4-FFF2-40B4-BE49-F238E27FC236}">
                <a16:creationId xmlns:a16="http://schemas.microsoft.com/office/drawing/2014/main" id="{555FEB13-7DEB-A718-DFF9-C19C5CCC9A47}"/>
              </a:ext>
            </a:extLst>
          </p:cNvPr>
          <p:cNvSpPr txBox="1">
            <a:spLocks/>
          </p:cNvSpPr>
          <p:nvPr/>
        </p:nvSpPr>
        <p:spPr>
          <a:xfrm>
            <a:off x="1495210" y="2927049"/>
            <a:ext cx="2288277" cy="879732"/>
          </a:xfrm>
          <a:prstGeom prst="rect">
            <a:avLst/>
          </a:prstGeom>
        </p:spPr>
        <p:txBody>
          <a:bodyPr vert="horz" lIns="0" tIns="0" rIns="0" bIns="0" rtlCol="0" anchor="t"/>
          <a:lstStyle>
            <a:defPPr>
              <a:defRPr lang="en-US"/>
            </a:defPPr>
            <a:lvl1pPr marL="0" algn="l" defTabSz="1829379" rtl="0" eaLnBrk="1" latinLnBrk="0" hangingPunct="1">
              <a:defRPr sz="1600" b="0" i="0" kern="1200">
                <a:solidFill>
                  <a:schemeClr val="tx1"/>
                </a:solidFill>
                <a:latin typeface="IBM Plex Sans Light" panose="020B0403050203000203" pitchFamily="34" charset="0"/>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pPr marL="0" marR="0" lvl="0" indent="0" algn="l" defTabSz="914507" rtl="0" eaLnBrk="1" fontAlgn="auto" latinLnBrk="0" hangingPunct="1">
              <a:lnSpc>
                <a:spcPct val="100000"/>
              </a:lnSpc>
              <a:spcBef>
                <a:spcPts val="60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IBM Plex Sans Light"/>
                <a:ea typeface="+mn-ea"/>
                <a:cs typeface="+mn-cs"/>
                <a:sym typeface=""/>
              </a:rPr>
              <a:t>In more locations</a:t>
            </a:r>
          </a:p>
          <a:p>
            <a:pPr marL="0" marR="0" lvl="0" indent="0" algn="l" defTabSz="914507"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IBM Plex Sans Light"/>
                <a:ea typeface="+mn-ea"/>
                <a:cs typeface="+mn-cs"/>
                <a:sym typeface=""/>
              </a:rPr>
              <a:t>Multiple locations, clouds, applications and silos</a:t>
            </a:r>
          </a:p>
        </p:txBody>
      </p:sp>
      <p:pic>
        <p:nvPicPr>
          <p:cNvPr id="48" name="Graphic 47">
            <a:extLst>
              <a:ext uri="{FF2B5EF4-FFF2-40B4-BE49-F238E27FC236}">
                <a16:creationId xmlns:a16="http://schemas.microsoft.com/office/drawing/2014/main" id="{8767CFF4-D66C-CFB3-5D43-A1BA61F093F3}"/>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653760" y="1753451"/>
            <a:ext cx="567037" cy="567037"/>
          </a:xfrm>
          <a:prstGeom prst="rect">
            <a:avLst/>
          </a:prstGeom>
        </p:spPr>
      </p:pic>
      <p:pic>
        <p:nvPicPr>
          <p:cNvPr id="49" name="Graphic 48">
            <a:extLst>
              <a:ext uri="{FF2B5EF4-FFF2-40B4-BE49-F238E27FC236}">
                <a16:creationId xmlns:a16="http://schemas.microsoft.com/office/drawing/2014/main" id="{5F589390-8D69-424C-D7A5-E55471138B84}"/>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653760" y="2930281"/>
            <a:ext cx="567037" cy="567037"/>
          </a:xfrm>
          <a:prstGeom prst="rect">
            <a:avLst/>
          </a:prstGeom>
        </p:spPr>
      </p:pic>
      <p:pic>
        <p:nvPicPr>
          <p:cNvPr id="50" name="Graphic 49">
            <a:extLst>
              <a:ext uri="{FF2B5EF4-FFF2-40B4-BE49-F238E27FC236}">
                <a16:creationId xmlns:a16="http://schemas.microsoft.com/office/drawing/2014/main" id="{FA7E0561-3FFF-7139-7F3E-B095E70504D8}"/>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653760" y="4238778"/>
            <a:ext cx="567037" cy="567037"/>
          </a:xfrm>
          <a:prstGeom prst="rect">
            <a:avLst/>
          </a:prstGeom>
        </p:spPr>
      </p:pic>
      <p:pic>
        <p:nvPicPr>
          <p:cNvPr id="51" name="Graphic 50">
            <a:extLst>
              <a:ext uri="{FF2B5EF4-FFF2-40B4-BE49-F238E27FC236}">
                <a16:creationId xmlns:a16="http://schemas.microsoft.com/office/drawing/2014/main" id="{28A31A4F-7722-AA91-B314-7153FC6FB61F}"/>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653760" y="5489509"/>
            <a:ext cx="567037" cy="567037"/>
          </a:xfrm>
          <a:prstGeom prst="rect">
            <a:avLst/>
          </a:prstGeom>
        </p:spPr>
      </p:pic>
      <p:sp>
        <p:nvSpPr>
          <p:cNvPr id="53" name="Text Placeholder 7">
            <a:extLst>
              <a:ext uri="{FF2B5EF4-FFF2-40B4-BE49-F238E27FC236}">
                <a16:creationId xmlns:a16="http://schemas.microsoft.com/office/drawing/2014/main" id="{72874A3D-7ED5-681D-611F-6ADEEA237C6E}"/>
              </a:ext>
            </a:extLst>
          </p:cNvPr>
          <p:cNvSpPr txBox="1">
            <a:spLocks/>
          </p:cNvSpPr>
          <p:nvPr/>
        </p:nvSpPr>
        <p:spPr>
          <a:xfrm>
            <a:off x="1495210" y="4214788"/>
            <a:ext cx="2288277" cy="879732"/>
          </a:xfrm>
          <a:prstGeom prst="rect">
            <a:avLst/>
          </a:prstGeom>
        </p:spPr>
        <p:txBody>
          <a:bodyPr vert="horz" lIns="0" tIns="0" rIns="0" bIns="0" rtlCol="0" anchor="t"/>
          <a:lstStyle>
            <a:defPPr>
              <a:defRPr lang="en-US"/>
            </a:defPPr>
            <a:lvl1pPr marL="0" algn="l" defTabSz="1829379" rtl="0" eaLnBrk="1" latinLnBrk="0" hangingPunct="1">
              <a:defRPr sz="1600" b="0" i="0" kern="1200">
                <a:solidFill>
                  <a:schemeClr val="tx1"/>
                </a:solidFill>
                <a:latin typeface="IBM Plex Sans Light" panose="020B0403050203000203" pitchFamily="34" charset="0"/>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pPr marL="0" marR="0" lvl="0" indent="0" algn="l" defTabSz="914507" rtl="0" eaLnBrk="1" fontAlgn="auto" latinLnBrk="0" hangingPunct="1">
              <a:lnSpc>
                <a:spcPct val="100000"/>
              </a:lnSpc>
              <a:spcBef>
                <a:spcPts val="60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IBM Plex Sans Light"/>
                <a:ea typeface="+mn-ea"/>
                <a:cs typeface="+mn-cs"/>
                <a:sym typeface=""/>
              </a:rPr>
              <a:t>In more formats</a:t>
            </a:r>
          </a:p>
          <a:p>
            <a:pPr marL="0" marR="0" lvl="0" indent="0" algn="l" defTabSz="914507"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IBM Plex Sans Light"/>
                <a:ea typeface="+mn-ea"/>
                <a:cs typeface="+mn-cs"/>
                <a:sym typeface=""/>
              </a:rPr>
              <a:t>Documents, images, video</a:t>
            </a:r>
          </a:p>
        </p:txBody>
      </p:sp>
      <p:sp>
        <p:nvSpPr>
          <p:cNvPr id="4" name="Text Placeholder 7">
            <a:extLst>
              <a:ext uri="{FF2B5EF4-FFF2-40B4-BE49-F238E27FC236}">
                <a16:creationId xmlns:a16="http://schemas.microsoft.com/office/drawing/2014/main" id="{40250663-7545-50F8-44D8-37C4A607AF32}"/>
              </a:ext>
            </a:extLst>
          </p:cNvPr>
          <p:cNvSpPr txBox="1">
            <a:spLocks/>
          </p:cNvSpPr>
          <p:nvPr/>
        </p:nvSpPr>
        <p:spPr>
          <a:xfrm>
            <a:off x="1495210" y="5502528"/>
            <a:ext cx="2288277" cy="879732"/>
          </a:xfrm>
          <a:prstGeom prst="rect">
            <a:avLst/>
          </a:prstGeom>
        </p:spPr>
        <p:txBody>
          <a:bodyPr vert="horz" lIns="0" tIns="0" rIns="0" bIns="0" rtlCol="0" anchor="t"/>
          <a:lstStyle>
            <a:defPPr>
              <a:defRPr lang="en-US"/>
            </a:defPPr>
            <a:lvl1pPr marL="0" algn="l" defTabSz="1829379" rtl="0" eaLnBrk="1" latinLnBrk="0" hangingPunct="1">
              <a:defRPr sz="1600" b="0" i="0" kern="1200">
                <a:solidFill>
                  <a:schemeClr val="tx1"/>
                </a:solidFill>
                <a:latin typeface="IBM Plex Sans Light" panose="020B0403050203000203" pitchFamily="34" charset="0"/>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pPr marL="0" marR="0" lvl="0" indent="0" algn="l" defTabSz="914507" rtl="0" eaLnBrk="1" fontAlgn="auto" latinLnBrk="0" hangingPunct="1">
              <a:lnSpc>
                <a:spcPct val="100000"/>
              </a:lnSpc>
              <a:spcBef>
                <a:spcPts val="60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IBM Plex Sans Light"/>
                <a:ea typeface="+mn-ea"/>
                <a:cs typeface="+mn-cs"/>
                <a:sym typeface=""/>
              </a:rPr>
              <a:t>With less quality</a:t>
            </a:r>
          </a:p>
          <a:p>
            <a:pPr marL="0" marR="0" lvl="0" indent="0" algn="l" defTabSz="914507"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IBM Plex Sans Light"/>
                <a:ea typeface="+mn-ea"/>
                <a:cs typeface="+mn-cs"/>
                <a:sym typeface=""/>
              </a:rPr>
              <a:t>Stale and inconsistent</a:t>
            </a:r>
          </a:p>
        </p:txBody>
      </p:sp>
      <p:sp>
        <p:nvSpPr>
          <p:cNvPr id="5" name="Text Placeholder 7">
            <a:extLst>
              <a:ext uri="{FF2B5EF4-FFF2-40B4-BE49-F238E27FC236}">
                <a16:creationId xmlns:a16="http://schemas.microsoft.com/office/drawing/2014/main" id="{4D5EB980-8177-0935-26F3-F28028E94D9D}"/>
              </a:ext>
            </a:extLst>
          </p:cNvPr>
          <p:cNvSpPr txBox="1">
            <a:spLocks/>
          </p:cNvSpPr>
          <p:nvPr/>
        </p:nvSpPr>
        <p:spPr>
          <a:xfrm>
            <a:off x="1495209" y="1789956"/>
            <a:ext cx="2288277" cy="879732"/>
          </a:xfrm>
          <a:prstGeom prst="rect">
            <a:avLst/>
          </a:prstGeom>
        </p:spPr>
        <p:txBody>
          <a:bodyPr vert="horz" lIns="0" tIns="0" rIns="0" bIns="0" rtlCol="0" anchor="t"/>
          <a:lstStyle>
            <a:defPPr>
              <a:defRPr lang="en-US"/>
            </a:defPPr>
            <a:lvl1pPr marL="0" algn="l" defTabSz="1829379" rtl="0" eaLnBrk="1" latinLnBrk="0" hangingPunct="1">
              <a:defRPr sz="1600" b="0" i="0" kern="1200">
                <a:solidFill>
                  <a:schemeClr val="tx1"/>
                </a:solidFill>
                <a:latin typeface="IBM Plex Sans Light" panose="020B0403050203000203" pitchFamily="34" charset="0"/>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pPr marL="0" marR="0" lvl="0" indent="0" algn="l" defTabSz="914507" rtl="0" eaLnBrk="1" fontAlgn="auto" latinLnBrk="0" hangingPunct="1">
              <a:lnSpc>
                <a:spcPct val="100000"/>
              </a:lnSpc>
              <a:spcBef>
                <a:spcPts val="60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IBM Plex Sans Light"/>
                <a:ea typeface="+mn-ea"/>
                <a:cs typeface="+mn-cs"/>
                <a:sym typeface=""/>
              </a:rPr>
              <a:t>There’s more data</a:t>
            </a:r>
          </a:p>
          <a:p>
            <a:pPr marL="0" marR="0" lvl="0" indent="0" algn="l" defTabSz="914507"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IBM Plex Sans Light"/>
                <a:ea typeface="+mn-ea"/>
                <a:cs typeface="+mn-cs"/>
                <a:sym typeface=""/>
              </a:rPr>
              <a:t>Exploding data growth</a:t>
            </a:r>
          </a:p>
        </p:txBody>
      </p:sp>
    </p:spTree>
    <p:extLst>
      <p:ext uri="{BB962C8B-B14F-4D97-AF65-F5344CB8AC3E}">
        <p14:creationId xmlns:p14="http://schemas.microsoft.com/office/powerpoint/2010/main" val="32272032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9BF87D-680F-55F0-C1DD-001D7C3C163C}"/>
            </a:ext>
          </a:extLst>
        </p:cNvPr>
        <p:cNvGrpSpPr/>
        <p:nvPr/>
      </p:nvGrpSpPr>
      <p:grpSpPr>
        <a:xfrm>
          <a:off x="0" y="0"/>
          <a:ext cx="0" cy="0"/>
          <a:chOff x="0" y="0"/>
          <a:chExt cx="0" cy="0"/>
        </a:xfrm>
      </p:grpSpPr>
      <p:sp>
        <p:nvSpPr>
          <p:cNvPr id="57" name="Rectangle 56">
            <a:extLst>
              <a:ext uri="{FF2B5EF4-FFF2-40B4-BE49-F238E27FC236}">
                <a16:creationId xmlns:a16="http://schemas.microsoft.com/office/drawing/2014/main" id="{4417D02A-F136-3CCC-8658-EE02B5ADA84C}"/>
              </a:ext>
            </a:extLst>
          </p:cNvPr>
          <p:cNvSpPr>
            <a:spLocks/>
          </p:cNvSpPr>
          <p:nvPr/>
        </p:nvSpPr>
        <p:spPr bwMode="auto">
          <a:xfrm>
            <a:off x="5288379" y="447"/>
            <a:ext cx="6919227" cy="6857107"/>
          </a:xfrm>
          <a:prstGeom prst="rect">
            <a:avLst/>
          </a:prstGeom>
          <a:solidFill>
            <a:srgbClr val="EDF5FF"/>
          </a:solidFill>
          <a:ln w="19050" cap="flat" cmpd="sng" algn="ctr">
            <a:noFill/>
            <a:prstDash val="solid"/>
            <a:headEnd type="none" w="med" len="med"/>
            <a:tailEnd type="none" w="med" len="med"/>
          </a:ln>
          <a:effectLst/>
        </p:spPr>
        <p:txBody>
          <a:bodyPr vert="horz" wrap="square" lIns="45714" tIns="45714" rIns="45714" bIns="45714" numCol="1" rtlCol="0" anchor="t" anchorCtr="0" compatLnSpc="1">
            <a:prstTxWarp prst="textNoShape">
              <a:avLst/>
            </a:prstTxWarp>
          </a:bodyPr>
          <a:lstStyle/>
          <a:p>
            <a:pPr marL="0" marR="0" lvl="0" indent="0" defTabSz="457109" eaLnBrk="1" fontAlgn="base"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IBM Plex Sans Light"/>
              <a:ea typeface="+mn-ea"/>
              <a:cs typeface="+mn-cs"/>
            </a:endParaRPr>
          </a:p>
        </p:txBody>
      </p:sp>
      <p:sp>
        <p:nvSpPr>
          <p:cNvPr id="14" name="Title 1">
            <a:extLst>
              <a:ext uri="{FF2B5EF4-FFF2-40B4-BE49-F238E27FC236}">
                <a16:creationId xmlns:a16="http://schemas.microsoft.com/office/drawing/2014/main" id="{7C17C2B5-5960-1B7F-332D-EB03A4C3EC3B}"/>
              </a:ext>
            </a:extLst>
          </p:cNvPr>
          <p:cNvSpPr txBox="1">
            <a:spLocks/>
          </p:cNvSpPr>
          <p:nvPr/>
        </p:nvSpPr>
        <p:spPr>
          <a:xfrm>
            <a:off x="301585" y="267111"/>
            <a:ext cx="5463627" cy="59363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457200" bIns="0" anchor="t"/>
          <a:lstStyle>
            <a:lvl1pPr marL="0" marR="0" indent="0" algn="l" defTabSz="1218956" rtl="0" eaLnBrk="1" latinLnBrk="0" hangingPunct="1">
              <a:lnSpc>
                <a:spcPct val="100000"/>
              </a:lnSpc>
              <a:spcBef>
                <a:spcPts val="0"/>
              </a:spcBef>
              <a:spcAft>
                <a:spcPts val="0"/>
              </a:spcAft>
              <a:buClrTx/>
              <a:buSzTx/>
              <a:buFontTx/>
              <a:buNone/>
              <a:tabLst/>
              <a:defRPr sz="3199" b="0" i="0" u="none" strike="noStrike" cap="none" spc="0" baseline="0">
                <a:solidFill>
                  <a:schemeClr val="tx2"/>
                </a:solidFill>
                <a:uFillTx/>
                <a:latin typeface="+mj-lt"/>
                <a:ea typeface="+mj-ea"/>
                <a:cs typeface="+mj-cs"/>
                <a:sym typeface="IBM Plex Sans Light"/>
              </a:defRPr>
            </a:lvl1pPr>
            <a:lvl2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8"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7"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4"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93"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r>
              <a:rPr lang="en-US" sz="2400" kern="0"/>
              <a:t>Traditional RAG cannot handle the complexity of unstructured data</a:t>
            </a:r>
            <a:endParaRPr lang="en-US" sz="2400" kern="0">
              <a:solidFill>
                <a:srgbClr val="000000"/>
              </a:solidFill>
            </a:endParaRPr>
          </a:p>
        </p:txBody>
      </p:sp>
      <p:grpSp>
        <p:nvGrpSpPr>
          <p:cNvPr id="8" name="Group 7">
            <a:extLst>
              <a:ext uri="{FF2B5EF4-FFF2-40B4-BE49-F238E27FC236}">
                <a16:creationId xmlns:a16="http://schemas.microsoft.com/office/drawing/2014/main" id="{F0150314-3BFD-8D87-DF38-53CB1C5FBCC6}"/>
              </a:ext>
            </a:extLst>
          </p:cNvPr>
          <p:cNvGrpSpPr/>
          <p:nvPr/>
        </p:nvGrpSpPr>
        <p:grpSpPr>
          <a:xfrm>
            <a:off x="5501200" y="1127414"/>
            <a:ext cx="6824947" cy="4835054"/>
            <a:chOff x="5483943" y="1353408"/>
            <a:chExt cx="6824947" cy="4835054"/>
          </a:xfrm>
        </p:grpSpPr>
        <p:pic>
          <p:nvPicPr>
            <p:cNvPr id="29" name="Picture 28">
              <a:extLst>
                <a:ext uri="{FF2B5EF4-FFF2-40B4-BE49-F238E27FC236}">
                  <a16:creationId xmlns:a16="http://schemas.microsoft.com/office/drawing/2014/main" id="{455573A4-3AFA-2387-88C7-99D39729EDC5}"/>
                </a:ext>
              </a:extLst>
            </p:cNvPr>
            <p:cNvPicPr>
              <a:picLocks noChangeAspect="1"/>
            </p:cNvPicPr>
            <p:nvPr/>
          </p:nvPicPr>
          <p:blipFill>
            <a:blip r:embed="rId3"/>
            <a:stretch>
              <a:fillRect/>
            </a:stretch>
          </p:blipFill>
          <p:spPr>
            <a:xfrm>
              <a:off x="5720872" y="1880038"/>
              <a:ext cx="2855021" cy="3633834"/>
            </a:xfrm>
            <a:prstGeom prst="rect">
              <a:avLst/>
            </a:prstGeom>
            <a:ln>
              <a:solidFill>
                <a:schemeClr val="tx1"/>
              </a:solidFill>
            </a:ln>
          </p:spPr>
        </p:pic>
        <p:pic>
          <p:nvPicPr>
            <p:cNvPr id="31" name="Picture 30">
              <a:extLst>
                <a:ext uri="{FF2B5EF4-FFF2-40B4-BE49-F238E27FC236}">
                  <a16:creationId xmlns:a16="http://schemas.microsoft.com/office/drawing/2014/main" id="{112301AE-56BC-9DB6-F2F8-AAEB9E1032C8}"/>
                </a:ext>
              </a:extLst>
            </p:cNvPr>
            <p:cNvPicPr>
              <a:picLocks noChangeAspect="1"/>
            </p:cNvPicPr>
            <p:nvPr/>
          </p:nvPicPr>
          <p:blipFill>
            <a:blip r:embed="rId4"/>
            <a:stretch>
              <a:fillRect/>
            </a:stretch>
          </p:blipFill>
          <p:spPr>
            <a:xfrm>
              <a:off x="5661263" y="1971010"/>
              <a:ext cx="2828843" cy="3600515"/>
            </a:xfrm>
            <a:prstGeom prst="rect">
              <a:avLst/>
            </a:prstGeom>
            <a:ln>
              <a:solidFill>
                <a:schemeClr val="tx1"/>
              </a:solidFill>
            </a:ln>
          </p:spPr>
        </p:pic>
        <p:pic>
          <p:nvPicPr>
            <p:cNvPr id="32" name="Picture 31" descr="Download">
              <a:extLst>
                <a:ext uri="{FF2B5EF4-FFF2-40B4-BE49-F238E27FC236}">
                  <a16:creationId xmlns:a16="http://schemas.microsoft.com/office/drawing/2014/main" id="{C2616AAB-77A8-95E0-557E-82CCA23BA4B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60318" y="2046773"/>
              <a:ext cx="2850412" cy="3796313"/>
            </a:xfrm>
            <a:prstGeom prst="rect">
              <a:avLst/>
            </a:prstGeom>
            <a:noFill/>
            <a:ln w="12700">
              <a:solidFill>
                <a:schemeClr val="tx1"/>
              </a:solidFill>
            </a:ln>
            <a:extLst>
              <a:ext uri="{909E8E84-426E-40DD-AFC4-6F175D3DCCD1}">
                <a14:hiddenFill xmlns:a14="http://schemas.microsoft.com/office/drawing/2010/main">
                  <a:solidFill>
                    <a:srgbClr val="FFFFFF"/>
                  </a:solidFill>
                </a14:hiddenFill>
              </a:ext>
            </a:extLst>
          </p:spPr>
        </p:pic>
        <p:pic>
          <p:nvPicPr>
            <p:cNvPr id="26" name="Picture 25">
              <a:extLst>
                <a:ext uri="{FF2B5EF4-FFF2-40B4-BE49-F238E27FC236}">
                  <a16:creationId xmlns:a16="http://schemas.microsoft.com/office/drawing/2014/main" id="{0B854E52-9153-7BA8-8613-AA20051101AB}"/>
                </a:ext>
              </a:extLst>
            </p:cNvPr>
            <p:cNvPicPr>
              <a:picLocks noChangeAspect="1"/>
            </p:cNvPicPr>
            <p:nvPr/>
          </p:nvPicPr>
          <p:blipFill>
            <a:blip r:embed="rId6"/>
            <a:stretch>
              <a:fillRect/>
            </a:stretch>
          </p:blipFill>
          <p:spPr>
            <a:xfrm>
              <a:off x="9594783" y="2347478"/>
              <a:ext cx="1098958" cy="1466001"/>
            </a:xfrm>
            <a:prstGeom prst="rect">
              <a:avLst/>
            </a:prstGeom>
            <a:ln>
              <a:solidFill>
                <a:schemeClr val="tx1"/>
              </a:solidFill>
            </a:ln>
          </p:spPr>
        </p:pic>
        <p:sp>
          <p:nvSpPr>
            <p:cNvPr id="27" name="TextBox 26">
              <a:extLst>
                <a:ext uri="{FF2B5EF4-FFF2-40B4-BE49-F238E27FC236}">
                  <a16:creationId xmlns:a16="http://schemas.microsoft.com/office/drawing/2014/main" id="{B38D2C7D-2C98-A294-18ED-6E2AB168F211}"/>
                </a:ext>
              </a:extLst>
            </p:cNvPr>
            <p:cNvSpPr txBox="1"/>
            <p:nvPr/>
          </p:nvSpPr>
          <p:spPr>
            <a:xfrm>
              <a:off x="9490654" y="3877217"/>
              <a:ext cx="1426944" cy="31502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rtlCol="0">
              <a:noAutofit/>
            </a:bodyPr>
            <a:lstStyle/>
            <a:p>
              <a:pPr defTabSz="1218956">
                <a:buSzPct val="100000"/>
              </a:pPr>
              <a:r>
                <a:rPr lang="en-US" sz="900" kern="0">
                  <a:solidFill>
                    <a:srgbClr val="000000"/>
                  </a:solidFill>
                  <a:latin typeface="IBM Plex Sans Light"/>
                  <a:sym typeface="IBM Plex Sans Light"/>
                </a:rPr>
                <a:t>Purchase Orders</a:t>
              </a:r>
            </a:p>
          </p:txBody>
        </p:sp>
        <p:pic>
          <p:nvPicPr>
            <p:cNvPr id="28" name="Picture 27">
              <a:extLst>
                <a:ext uri="{FF2B5EF4-FFF2-40B4-BE49-F238E27FC236}">
                  <a16:creationId xmlns:a16="http://schemas.microsoft.com/office/drawing/2014/main" id="{132048FC-576C-D5D3-CE91-B8A24C6623DA}"/>
                </a:ext>
              </a:extLst>
            </p:cNvPr>
            <p:cNvPicPr>
              <a:picLocks noChangeAspect="1"/>
            </p:cNvPicPr>
            <p:nvPr/>
          </p:nvPicPr>
          <p:blipFill>
            <a:blip r:embed="rId7"/>
            <a:stretch>
              <a:fillRect/>
            </a:stretch>
          </p:blipFill>
          <p:spPr>
            <a:xfrm>
              <a:off x="9490654" y="2599065"/>
              <a:ext cx="1112338" cy="1230558"/>
            </a:xfrm>
            <a:prstGeom prst="rect">
              <a:avLst/>
            </a:prstGeom>
            <a:ln>
              <a:solidFill>
                <a:schemeClr val="tx1"/>
              </a:solidFill>
            </a:ln>
          </p:spPr>
        </p:pic>
        <p:pic>
          <p:nvPicPr>
            <p:cNvPr id="23" name="Picture 22">
              <a:extLst>
                <a:ext uri="{FF2B5EF4-FFF2-40B4-BE49-F238E27FC236}">
                  <a16:creationId xmlns:a16="http://schemas.microsoft.com/office/drawing/2014/main" id="{7AD1B8A3-60C8-C96D-8E67-882BE2210290}"/>
                </a:ext>
              </a:extLst>
            </p:cNvPr>
            <p:cNvPicPr>
              <a:picLocks noChangeAspect="1"/>
            </p:cNvPicPr>
            <p:nvPr/>
          </p:nvPicPr>
          <p:blipFill>
            <a:blip r:embed="rId8"/>
            <a:stretch>
              <a:fillRect/>
            </a:stretch>
          </p:blipFill>
          <p:spPr>
            <a:xfrm>
              <a:off x="10981447" y="2273643"/>
              <a:ext cx="1090256" cy="1387663"/>
            </a:xfrm>
            <a:prstGeom prst="rect">
              <a:avLst/>
            </a:prstGeom>
            <a:ln>
              <a:solidFill>
                <a:schemeClr val="tx1"/>
              </a:solidFill>
            </a:ln>
          </p:spPr>
        </p:pic>
        <p:pic>
          <p:nvPicPr>
            <p:cNvPr id="25" name="Picture 24">
              <a:extLst>
                <a:ext uri="{FF2B5EF4-FFF2-40B4-BE49-F238E27FC236}">
                  <a16:creationId xmlns:a16="http://schemas.microsoft.com/office/drawing/2014/main" id="{7F322550-67F2-237F-2D29-B8E5E6B90BB4}"/>
                </a:ext>
              </a:extLst>
            </p:cNvPr>
            <p:cNvPicPr>
              <a:picLocks noChangeAspect="1"/>
            </p:cNvPicPr>
            <p:nvPr/>
          </p:nvPicPr>
          <p:blipFill>
            <a:blip r:embed="rId9"/>
            <a:srcRect l="4747" t="4969" r="6400" b="3244"/>
            <a:stretch/>
          </p:blipFill>
          <p:spPr>
            <a:xfrm>
              <a:off x="10881387" y="2358413"/>
              <a:ext cx="1098958" cy="1471210"/>
            </a:xfrm>
            <a:prstGeom prst="rect">
              <a:avLst/>
            </a:prstGeom>
            <a:ln>
              <a:solidFill>
                <a:schemeClr val="tx1"/>
              </a:solidFill>
            </a:ln>
          </p:spPr>
        </p:pic>
        <p:sp>
          <p:nvSpPr>
            <p:cNvPr id="34" name="TextBox 33">
              <a:extLst>
                <a:ext uri="{FF2B5EF4-FFF2-40B4-BE49-F238E27FC236}">
                  <a16:creationId xmlns:a16="http://schemas.microsoft.com/office/drawing/2014/main" id="{77047C52-338A-0F4C-170B-3BA8391ED916}"/>
                </a:ext>
              </a:extLst>
            </p:cNvPr>
            <p:cNvSpPr txBox="1"/>
            <p:nvPr/>
          </p:nvSpPr>
          <p:spPr>
            <a:xfrm>
              <a:off x="5571469" y="5873438"/>
              <a:ext cx="2780709" cy="31502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rtlCol="0">
              <a:noAutofit/>
            </a:bodyPr>
            <a:lstStyle/>
            <a:p>
              <a:pPr defTabSz="1218956">
                <a:buSzPct val="100000"/>
              </a:pPr>
              <a:r>
                <a:rPr lang="en-US" sz="900" kern="0">
                  <a:solidFill>
                    <a:srgbClr val="000000"/>
                  </a:solidFill>
                  <a:latin typeface="IBM Plex Sans Light"/>
                  <a:sym typeface="IBM Plex Sans Light"/>
                </a:rPr>
                <a:t>Invoices</a:t>
              </a:r>
            </a:p>
          </p:txBody>
        </p:sp>
        <p:sp>
          <p:nvSpPr>
            <p:cNvPr id="35" name="TextBox 34">
              <a:extLst>
                <a:ext uri="{FF2B5EF4-FFF2-40B4-BE49-F238E27FC236}">
                  <a16:creationId xmlns:a16="http://schemas.microsoft.com/office/drawing/2014/main" id="{B7317A0F-7375-EC62-BA4B-2ED4AF5A38FB}"/>
                </a:ext>
              </a:extLst>
            </p:cNvPr>
            <p:cNvSpPr txBox="1"/>
            <p:nvPr/>
          </p:nvSpPr>
          <p:spPr>
            <a:xfrm>
              <a:off x="10881946" y="3880586"/>
              <a:ext cx="1426944" cy="31502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rtlCol="0">
              <a:noAutofit/>
            </a:bodyPr>
            <a:lstStyle/>
            <a:p>
              <a:pPr defTabSz="1218956">
                <a:buSzPct val="100000"/>
              </a:pPr>
              <a:r>
                <a:rPr lang="en-US" sz="900" kern="0">
                  <a:solidFill>
                    <a:srgbClr val="000000"/>
                  </a:solidFill>
                  <a:latin typeface="IBM Plex Sans Light"/>
                  <a:sym typeface="IBM Plex Sans Light"/>
                </a:rPr>
                <a:t>Contracts</a:t>
              </a:r>
            </a:p>
          </p:txBody>
        </p:sp>
        <p:sp>
          <p:nvSpPr>
            <p:cNvPr id="19" name="Arc 18">
              <a:extLst>
                <a:ext uri="{FF2B5EF4-FFF2-40B4-BE49-F238E27FC236}">
                  <a16:creationId xmlns:a16="http://schemas.microsoft.com/office/drawing/2014/main" id="{A2A361EC-2A28-D851-D8BF-68BE9CD64419}"/>
                </a:ext>
              </a:extLst>
            </p:cNvPr>
            <p:cNvSpPr/>
            <p:nvPr/>
          </p:nvSpPr>
          <p:spPr bwMode="auto">
            <a:xfrm rot="18103799">
              <a:off x="9050126" y="1671764"/>
              <a:ext cx="2227862" cy="2475860"/>
            </a:xfrm>
            <a:prstGeom prst="arc">
              <a:avLst>
                <a:gd name="adj1" fmla="val 16200000"/>
                <a:gd name="adj2" fmla="val 1184740"/>
              </a:avLst>
            </a:prstGeom>
            <a:ln w="31750" cap="flat" cmpd="sng" algn="ctr">
              <a:solidFill>
                <a:schemeClr val="accent6"/>
              </a:solidFill>
              <a:prstDash val="dash"/>
              <a:round/>
              <a:headEnd type="triangle" w="lg" len="lg"/>
              <a:tailEnd type="triangle" w="lg" len="lg"/>
            </a:ln>
          </p:spPr>
          <p:style>
            <a:lnRef idx="0">
              <a:scrgbClr r="0" g="0" b="0"/>
            </a:lnRef>
            <a:fillRef idx="0">
              <a:scrgbClr r="0" g="0" b="0"/>
            </a:fillRef>
            <a:effectRef idx="0">
              <a:scrgbClr r="0" g="0" b="0"/>
            </a:effectRef>
            <a:fontRef idx="minor">
              <a:schemeClr val="tx1"/>
            </a:fontRef>
          </p:style>
          <p:txBody>
            <a:bodyPr rtlCol="0" anchor="ctr"/>
            <a:lstStyle/>
            <a:p>
              <a:pPr algn="ctr" defTabSz="914507"/>
              <a:endParaRPr lang="en-US">
                <a:solidFill>
                  <a:srgbClr val="000000"/>
                </a:solidFill>
                <a:latin typeface="IBM Plex Sans Light"/>
              </a:endParaRPr>
            </a:p>
          </p:txBody>
        </p:sp>
        <p:sp>
          <p:nvSpPr>
            <p:cNvPr id="30" name="Arc 29">
              <a:extLst>
                <a:ext uri="{FF2B5EF4-FFF2-40B4-BE49-F238E27FC236}">
                  <a16:creationId xmlns:a16="http://schemas.microsoft.com/office/drawing/2014/main" id="{6FA9E198-1F8F-CD76-664B-7AA4BD4F254D}"/>
                </a:ext>
              </a:extLst>
            </p:cNvPr>
            <p:cNvSpPr/>
            <p:nvPr/>
          </p:nvSpPr>
          <p:spPr bwMode="auto">
            <a:xfrm rot="18690647">
              <a:off x="8531882" y="1908594"/>
              <a:ext cx="1690285" cy="1908010"/>
            </a:xfrm>
            <a:prstGeom prst="arc">
              <a:avLst>
                <a:gd name="adj1" fmla="val 15855906"/>
                <a:gd name="adj2" fmla="val 0"/>
              </a:avLst>
            </a:prstGeom>
            <a:ln w="31750" cap="flat" cmpd="sng" algn="ctr">
              <a:solidFill>
                <a:schemeClr val="accent6"/>
              </a:solidFill>
              <a:prstDash val="dash"/>
              <a:round/>
              <a:headEnd type="triangle" w="lg" len="lg"/>
              <a:tailEnd type="triangle" w="lg" len="lg"/>
            </a:ln>
          </p:spPr>
          <p:style>
            <a:lnRef idx="0">
              <a:scrgbClr r="0" g="0" b="0"/>
            </a:lnRef>
            <a:fillRef idx="0">
              <a:scrgbClr r="0" g="0" b="0"/>
            </a:fillRef>
            <a:effectRef idx="0">
              <a:scrgbClr r="0" g="0" b="0"/>
            </a:effectRef>
            <a:fontRef idx="minor">
              <a:schemeClr val="tx1"/>
            </a:fontRef>
          </p:style>
          <p:txBody>
            <a:bodyPr rtlCol="0" anchor="ctr"/>
            <a:lstStyle/>
            <a:p>
              <a:pPr algn="ctr" defTabSz="914507"/>
              <a:endParaRPr lang="en-US">
                <a:solidFill>
                  <a:srgbClr val="000000"/>
                </a:solidFill>
                <a:latin typeface="IBM Plex Sans Light"/>
              </a:endParaRPr>
            </a:p>
          </p:txBody>
        </p:sp>
        <p:sp>
          <p:nvSpPr>
            <p:cNvPr id="37" name="Text Placeholder 5">
              <a:extLst>
                <a:ext uri="{FF2B5EF4-FFF2-40B4-BE49-F238E27FC236}">
                  <a16:creationId xmlns:a16="http://schemas.microsoft.com/office/drawing/2014/main" id="{9BD42234-B86F-77AB-79CA-0B995E760258}"/>
                </a:ext>
              </a:extLst>
            </p:cNvPr>
            <p:cNvSpPr txBox="1">
              <a:spLocks/>
            </p:cNvSpPr>
            <p:nvPr/>
          </p:nvSpPr>
          <p:spPr>
            <a:xfrm>
              <a:off x="8730735" y="1439940"/>
              <a:ext cx="3032736" cy="31502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1pPr>
              <a:lvl2pPr marL="18288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2pPr>
              <a:lvl3pPr marL="36576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3pPr>
              <a:lvl4pPr marL="54864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IBM Plex Sans" panose="020B0604020202020204" pitchFamily="34" charset="0"/>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56"/>
              <a:r>
                <a:rPr lang="en-US" sz="1000" b="1" kern="0">
                  <a:solidFill>
                    <a:srgbClr val="000000"/>
                  </a:solidFill>
                  <a:latin typeface="IBM Plex Sans Light" panose="020B0403050203000203" pitchFamily="34" charset="0"/>
                </a:rPr>
                <a:t>Relationships and information between documents</a:t>
              </a:r>
            </a:p>
          </p:txBody>
        </p:sp>
        <p:sp>
          <p:nvSpPr>
            <p:cNvPr id="38" name="Rectangle 37">
              <a:extLst>
                <a:ext uri="{FF2B5EF4-FFF2-40B4-BE49-F238E27FC236}">
                  <a16:creationId xmlns:a16="http://schemas.microsoft.com/office/drawing/2014/main" id="{E5C1A7C9-9D34-8582-895C-51136CE0F9F3}"/>
                </a:ext>
              </a:extLst>
            </p:cNvPr>
            <p:cNvSpPr/>
            <p:nvPr/>
          </p:nvSpPr>
          <p:spPr bwMode="auto">
            <a:xfrm>
              <a:off x="7943416" y="3250453"/>
              <a:ext cx="379796" cy="2603657"/>
            </a:xfrm>
            <a:prstGeom prst="rect">
              <a:avLst/>
            </a:prstGeom>
            <a:solidFill>
              <a:schemeClr val="accent6">
                <a:alpha val="23529"/>
              </a:schemeClr>
            </a:solidFill>
            <a:ln w="28575">
              <a:solidFill>
                <a:schemeClr val="accent6"/>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defTabSz="457109" fontAlgn="base">
                <a:spcBef>
                  <a:spcPct val="0"/>
                </a:spcBef>
                <a:spcAft>
                  <a:spcPct val="0"/>
                </a:spcAft>
              </a:pPr>
              <a:endParaRPr lang="en-US" sz="700">
                <a:solidFill>
                  <a:srgbClr val="FFFFFF"/>
                </a:solidFill>
                <a:latin typeface="IBM Plex Sans Light"/>
              </a:endParaRPr>
            </a:p>
          </p:txBody>
        </p:sp>
        <p:sp>
          <p:nvSpPr>
            <p:cNvPr id="39" name="Text Placeholder 5">
              <a:extLst>
                <a:ext uri="{FF2B5EF4-FFF2-40B4-BE49-F238E27FC236}">
                  <a16:creationId xmlns:a16="http://schemas.microsoft.com/office/drawing/2014/main" id="{444BC5A3-EA5F-1450-53E7-532F2F6CE795}"/>
                </a:ext>
              </a:extLst>
            </p:cNvPr>
            <p:cNvSpPr txBox="1">
              <a:spLocks/>
            </p:cNvSpPr>
            <p:nvPr/>
          </p:nvSpPr>
          <p:spPr>
            <a:xfrm>
              <a:off x="8724978" y="5289350"/>
              <a:ext cx="954676" cy="46874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1pPr>
              <a:lvl2pPr marL="18288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2pPr>
              <a:lvl3pPr marL="36576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3pPr>
              <a:lvl4pPr marL="54864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IBM Plex Sans" panose="020B0604020202020204" pitchFamily="34" charset="0"/>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56"/>
              <a:r>
                <a:rPr lang="en-US" sz="1000" b="1" kern="0">
                  <a:solidFill>
                    <a:srgbClr val="000000"/>
                  </a:solidFill>
                  <a:latin typeface="IBM Plex Sans Light" panose="020B0403050203000203" pitchFamily="34" charset="0"/>
                </a:rPr>
                <a:t>Calculations</a:t>
              </a:r>
            </a:p>
          </p:txBody>
        </p:sp>
        <p:cxnSp>
          <p:nvCxnSpPr>
            <p:cNvPr id="40" name="Straight Arrow Connector 39">
              <a:extLst>
                <a:ext uri="{FF2B5EF4-FFF2-40B4-BE49-F238E27FC236}">
                  <a16:creationId xmlns:a16="http://schemas.microsoft.com/office/drawing/2014/main" id="{79E956E9-A67E-F695-2B64-68F37A95F649}"/>
                </a:ext>
              </a:extLst>
            </p:cNvPr>
            <p:cNvCxnSpPr>
              <a:cxnSpLocks/>
            </p:cNvCxnSpPr>
            <p:nvPr/>
          </p:nvCxnSpPr>
          <p:spPr bwMode="auto">
            <a:xfrm>
              <a:off x="8320909" y="5355642"/>
              <a:ext cx="326750" cy="0"/>
            </a:xfrm>
            <a:prstGeom prst="straightConnector1">
              <a:avLst/>
            </a:prstGeom>
            <a:ln w="31750" cap="flat" cmpd="sng" algn="ctr">
              <a:solidFill>
                <a:schemeClr val="accent6"/>
              </a:solidFill>
              <a:prstDash val="dash"/>
              <a:round/>
              <a:headEnd type="none" w="lg" len="lg"/>
              <a:tailEnd type="triangle" w="lg" len="lg"/>
            </a:ln>
          </p:spPr>
          <p:style>
            <a:lnRef idx="0">
              <a:scrgbClr r="0" g="0" b="0"/>
            </a:lnRef>
            <a:fillRef idx="0">
              <a:scrgbClr r="0" g="0" b="0"/>
            </a:fillRef>
            <a:effectRef idx="0">
              <a:scrgbClr r="0" g="0" b="0"/>
            </a:effectRef>
            <a:fontRef idx="minor">
              <a:schemeClr val="tx1"/>
            </a:fontRef>
          </p:style>
        </p:cxnSp>
        <p:sp>
          <p:nvSpPr>
            <p:cNvPr id="43" name="Rectangle 42">
              <a:extLst>
                <a:ext uri="{FF2B5EF4-FFF2-40B4-BE49-F238E27FC236}">
                  <a16:creationId xmlns:a16="http://schemas.microsoft.com/office/drawing/2014/main" id="{84197431-34FC-A649-0980-DD844B349727}"/>
                </a:ext>
              </a:extLst>
            </p:cNvPr>
            <p:cNvSpPr/>
            <p:nvPr/>
          </p:nvSpPr>
          <p:spPr bwMode="auto">
            <a:xfrm>
              <a:off x="5561700" y="2038480"/>
              <a:ext cx="828962" cy="601715"/>
            </a:xfrm>
            <a:prstGeom prst="rect">
              <a:avLst/>
            </a:prstGeom>
            <a:solidFill>
              <a:schemeClr val="accent5">
                <a:lumMod val="60000"/>
                <a:lumOff val="40000"/>
                <a:alpha val="23529"/>
              </a:schemeClr>
            </a:solidFill>
            <a:ln w="28575">
              <a:solidFill>
                <a:schemeClr val="accent6">
                  <a:lumMod val="75000"/>
                </a:scheme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defTabSz="457109" fontAlgn="base">
                <a:spcBef>
                  <a:spcPct val="0"/>
                </a:spcBef>
                <a:spcAft>
                  <a:spcPct val="0"/>
                </a:spcAft>
              </a:pPr>
              <a:endParaRPr lang="en-US" sz="700">
                <a:solidFill>
                  <a:srgbClr val="FFFFFF"/>
                </a:solidFill>
                <a:latin typeface="IBM Plex Sans Light"/>
              </a:endParaRPr>
            </a:p>
          </p:txBody>
        </p:sp>
        <p:sp>
          <p:nvSpPr>
            <p:cNvPr id="48" name="Text Placeholder 5">
              <a:extLst>
                <a:ext uri="{FF2B5EF4-FFF2-40B4-BE49-F238E27FC236}">
                  <a16:creationId xmlns:a16="http://schemas.microsoft.com/office/drawing/2014/main" id="{9C346F00-9D15-E709-3015-34DC4F6139D4}"/>
                </a:ext>
              </a:extLst>
            </p:cNvPr>
            <p:cNvSpPr txBox="1">
              <a:spLocks/>
            </p:cNvSpPr>
            <p:nvPr/>
          </p:nvSpPr>
          <p:spPr>
            <a:xfrm>
              <a:off x="5483943" y="1353408"/>
              <a:ext cx="1680128" cy="83903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1pPr>
              <a:lvl2pPr marL="18288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2pPr>
              <a:lvl3pPr marL="36576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3pPr>
              <a:lvl4pPr marL="54864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IBM Plex Sans" panose="020B0604020202020204" pitchFamily="34" charset="0"/>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56"/>
              <a:r>
                <a:rPr lang="en-US" sz="1000" b="1" kern="0">
                  <a:solidFill>
                    <a:srgbClr val="000000"/>
                  </a:solidFill>
                  <a:latin typeface="IBM Plex Sans Light" panose="020B0403050203000203" pitchFamily="34" charset="0"/>
                </a:rPr>
                <a:t>Positional context &amp; unlabeled entities</a:t>
              </a:r>
            </a:p>
          </p:txBody>
        </p:sp>
        <p:cxnSp>
          <p:nvCxnSpPr>
            <p:cNvPr id="49" name="Straight Arrow Connector 48">
              <a:extLst>
                <a:ext uri="{FF2B5EF4-FFF2-40B4-BE49-F238E27FC236}">
                  <a16:creationId xmlns:a16="http://schemas.microsoft.com/office/drawing/2014/main" id="{0DCF880B-CC6C-22DC-DCF4-7C2B3D8F7191}"/>
                </a:ext>
              </a:extLst>
            </p:cNvPr>
            <p:cNvCxnSpPr>
              <a:cxnSpLocks/>
            </p:cNvCxnSpPr>
            <p:nvPr/>
          </p:nvCxnSpPr>
          <p:spPr bwMode="auto">
            <a:xfrm flipV="1">
              <a:off x="5932157" y="1731078"/>
              <a:ext cx="0" cy="327722"/>
            </a:xfrm>
            <a:prstGeom prst="straightConnector1">
              <a:avLst/>
            </a:prstGeom>
            <a:ln w="31750" cap="flat" cmpd="sng" algn="ctr">
              <a:solidFill>
                <a:schemeClr val="accent6"/>
              </a:solidFill>
              <a:prstDash val="dash"/>
              <a:round/>
              <a:headEnd type="none" w="lg" len="lg"/>
              <a:tailEnd type="triangle" w="lg" len="lg"/>
            </a:ln>
          </p:spPr>
          <p:style>
            <a:lnRef idx="0">
              <a:scrgbClr r="0" g="0" b="0"/>
            </a:lnRef>
            <a:fillRef idx="0">
              <a:scrgbClr r="0" g="0" b="0"/>
            </a:fillRef>
            <a:effectRef idx="0">
              <a:scrgbClr r="0" g="0" b="0"/>
            </a:effectRef>
            <a:fontRef idx="minor">
              <a:schemeClr val="tx1"/>
            </a:fontRef>
          </p:style>
        </p:cxnSp>
        <p:sp>
          <p:nvSpPr>
            <p:cNvPr id="7" name="Arc 6">
              <a:extLst>
                <a:ext uri="{FF2B5EF4-FFF2-40B4-BE49-F238E27FC236}">
                  <a16:creationId xmlns:a16="http://schemas.microsoft.com/office/drawing/2014/main" id="{76B3A093-3486-B4C7-1D5B-074174FC9DC1}"/>
                </a:ext>
              </a:extLst>
            </p:cNvPr>
            <p:cNvSpPr/>
            <p:nvPr/>
          </p:nvSpPr>
          <p:spPr bwMode="auto">
            <a:xfrm rot="18859331">
              <a:off x="10021991" y="1869740"/>
              <a:ext cx="1814598" cy="1958518"/>
            </a:xfrm>
            <a:prstGeom prst="arc">
              <a:avLst>
                <a:gd name="adj1" fmla="val 15855906"/>
                <a:gd name="adj2" fmla="val 0"/>
              </a:avLst>
            </a:prstGeom>
            <a:ln w="31750" cap="flat" cmpd="sng" algn="ctr">
              <a:solidFill>
                <a:schemeClr val="accent6"/>
              </a:solidFill>
              <a:prstDash val="dash"/>
              <a:round/>
              <a:headEnd type="triangle" w="lg" len="lg"/>
              <a:tailEnd type="triangle" w="lg" len="lg"/>
            </a:ln>
          </p:spPr>
          <p:style>
            <a:lnRef idx="0">
              <a:scrgbClr r="0" g="0" b="0"/>
            </a:lnRef>
            <a:fillRef idx="0">
              <a:scrgbClr r="0" g="0" b="0"/>
            </a:fillRef>
            <a:effectRef idx="0">
              <a:scrgbClr r="0" g="0" b="0"/>
            </a:effectRef>
            <a:fontRef idx="minor">
              <a:schemeClr val="tx1"/>
            </a:fontRef>
          </p:style>
          <p:txBody>
            <a:bodyPr rtlCol="0" anchor="ctr"/>
            <a:lstStyle/>
            <a:p>
              <a:pPr algn="ctr" defTabSz="914507"/>
              <a:endParaRPr lang="en-US">
                <a:solidFill>
                  <a:srgbClr val="000000"/>
                </a:solidFill>
                <a:latin typeface="IBM Plex Sans Light"/>
              </a:endParaRPr>
            </a:p>
          </p:txBody>
        </p:sp>
      </p:grpSp>
      <p:sp>
        <p:nvSpPr>
          <p:cNvPr id="9" name="Text Placeholder 7">
            <a:extLst>
              <a:ext uri="{FF2B5EF4-FFF2-40B4-BE49-F238E27FC236}">
                <a16:creationId xmlns:a16="http://schemas.microsoft.com/office/drawing/2014/main" id="{C5D2CB21-EFD7-1698-2876-0780EC76DF91}"/>
              </a:ext>
            </a:extLst>
          </p:cNvPr>
          <p:cNvSpPr txBox="1">
            <a:spLocks/>
          </p:cNvSpPr>
          <p:nvPr/>
        </p:nvSpPr>
        <p:spPr>
          <a:xfrm>
            <a:off x="303279" y="1582838"/>
            <a:ext cx="4682758" cy="4086034"/>
          </a:xfrm>
          <a:prstGeom prst="rect">
            <a:avLst/>
          </a:prstGeom>
        </p:spPr>
        <p:txBody>
          <a:bodyPr vert="horz" lIns="0" tIns="0" rIns="0" bIns="0" rtlCol="0" anchor="t"/>
          <a:lstStyle>
            <a:defPPr>
              <a:defRPr lang="en-US"/>
            </a:defPPr>
            <a:lvl1pPr marL="0" algn="l" defTabSz="1829379" rtl="0" eaLnBrk="1" latinLnBrk="0" hangingPunct="1">
              <a:defRPr sz="1600" b="0" i="0" kern="1200">
                <a:solidFill>
                  <a:schemeClr val="tx1"/>
                </a:solidFill>
                <a:latin typeface="IBM Plex Sans Light" panose="020B0403050203000203" pitchFamily="34" charset="0"/>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pPr marL="0" marR="0" lvl="0" indent="0" algn="l" defTabSz="914507" rtl="0" eaLnBrk="1" fontAlgn="auto" latinLnBrk="0" hangingPunct="1">
              <a:lnSpc>
                <a:spcPct val="100000"/>
              </a:lnSpc>
              <a:spcBef>
                <a:spcPts val="600"/>
              </a:spcBef>
              <a:spcAft>
                <a:spcPts val="60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IBM Plex Sans Light"/>
              <a:ea typeface="+mn-ea"/>
              <a:cs typeface="+mn-cs"/>
              <a:sym typeface=""/>
            </a:endParaRPr>
          </a:p>
          <a:p>
            <a:pPr marL="285750" marR="0" lvl="0" indent="-285750" algn="l" defTabSz="914507" rtl="0" eaLnBrk="1" fontAlgn="auto" latinLnBrk="0" hangingPunct="1">
              <a:lnSpc>
                <a:spcPct val="100000"/>
              </a:lnSpc>
              <a:spcBef>
                <a:spcPts val="1200"/>
              </a:spcBef>
              <a:spcAft>
                <a:spcPts val="1200"/>
              </a:spcAft>
              <a:buClrTx/>
              <a:buSzTx/>
              <a:buFont typeface="Arial" panose="020B0604020202020204" pitchFamily="34" charset="0"/>
              <a:buChar char="•"/>
              <a:tabLst/>
              <a:defRPr/>
            </a:pPr>
            <a:r>
              <a:rPr lang="en-US" sz="1800" b="1" dirty="0">
                <a:solidFill>
                  <a:srgbClr val="000000"/>
                </a:solidFill>
                <a:latin typeface="IBM Plex Sans Light"/>
              </a:rPr>
              <a:t>It’s inaccurate</a:t>
            </a:r>
            <a:r>
              <a:rPr lang="en-US" sz="1800" dirty="0">
                <a:solidFill>
                  <a:srgbClr val="000000"/>
                </a:solidFill>
                <a:latin typeface="IBM Plex Sans Light"/>
              </a:rPr>
              <a:t>, because it doesn’t understand context, entities, calculations, or relationships across documents</a:t>
            </a:r>
          </a:p>
          <a:p>
            <a:pPr marL="285750" indent="-285750" defTabSz="914507">
              <a:spcBef>
                <a:spcPts val="1200"/>
              </a:spcBef>
              <a:spcAft>
                <a:spcPts val="1200"/>
              </a:spcAft>
              <a:buFont typeface="Arial" panose="020B0604020202020204" pitchFamily="34" charset="0"/>
              <a:buChar char="•"/>
              <a:defRPr/>
            </a:pPr>
            <a:r>
              <a:rPr lang="en-US" sz="1800" b="1" dirty="0">
                <a:solidFill>
                  <a:srgbClr val="000000"/>
                </a:solidFill>
                <a:latin typeface="IBM Plex Sans Light"/>
              </a:rPr>
              <a:t>It’s complex and error-prone, </a:t>
            </a:r>
            <a:r>
              <a:rPr lang="en-US" sz="1800" dirty="0">
                <a:solidFill>
                  <a:srgbClr val="000000"/>
                </a:solidFill>
                <a:latin typeface="IBM Plex Sans Light"/>
              </a:rPr>
              <a:t>due to tedious and manual ingest and retrieval</a:t>
            </a:r>
          </a:p>
          <a:p>
            <a:pPr marL="285750" indent="-285750" defTabSz="914507">
              <a:spcBef>
                <a:spcPts val="1200"/>
              </a:spcBef>
              <a:spcAft>
                <a:spcPts val="1200"/>
              </a:spcAft>
              <a:buFont typeface="Arial" panose="020B0604020202020204" pitchFamily="34" charset="0"/>
              <a:buChar char="•"/>
              <a:defRPr/>
            </a:pPr>
            <a:r>
              <a:rPr lang="en-US" sz="1800" b="1" dirty="0">
                <a:solidFill>
                  <a:srgbClr val="000000"/>
                </a:solidFill>
                <a:latin typeface="IBM Plex Sans Light"/>
              </a:rPr>
              <a:t>It’s risky</a:t>
            </a:r>
            <a:r>
              <a:rPr lang="en-US" sz="1800" dirty="0">
                <a:solidFill>
                  <a:srgbClr val="000000"/>
                </a:solidFill>
                <a:latin typeface="IBM Plex Sans Light"/>
              </a:rPr>
              <a:t>, due to inconsistent enterprise data governance and access controls</a:t>
            </a:r>
          </a:p>
          <a:p>
            <a:pPr marL="285750" marR="0" lvl="0" indent="-285750" algn="l" defTabSz="914507"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000000"/>
              </a:solidFill>
              <a:effectLst/>
              <a:uLnTx/>
              <a:uFillTx/>
              <a:latin typeface="IBM Plex Sans Light"/>
              <a:ea typeface="+mn-ea"/>
              <a:cs typeface="+mn-cs"/>
              <a:sym typeface=""/>
            </a:endParaRPr>
          </a:p>
        </p:txBody>
      </p:sp>
      <p:sp>
        <p:nvSpPr>
          <p:cNvPr id="10" name="Text Placeholder 7">
            <a:extLst>
              <a:ext uri="{FF2B5EF4-FFF2-40B4-BE49-F238E27FC236}">
                <a16:creationId xmlns:a16="http://schemas.microsoft.com/office/drawing/2014/main" id="{8A246524-43D8-904A-6719-6D55F7E5F18D}"/>
              </a:ext>
            </a:extLst>
          </p:cNvPr>
          <p:cNvSpPr txBox="1">
            <a:spLocks/>
          </p:cNvSpPr>
          <p:nvPr/>
        </p:nvSpPr>
        <p:spPr>
          <a:xfrm>
            <a:off x="301585" y="6117422"/>
            <a:ext cx="4975427" cy="879732"/>
          </a:xfrm>
          <a:prstGeom prst="rect">
            <a:avLst/>
          </a:prstGeom>
        </p:spPr>
        <p:txBody>
          <a:bodyPr vert="horz" lIns="0" tIns="0" rIns="0" bIns="0" rtlCol="0" anchor="t"/>
          <a:lstStyle>
            <a:defPPr>
              <a:defRPr lang="en-US"/>
            </a:defPPr>
            <a:lvl1pPr marL="0" algn="l" defTabSz="1829379" rtl="0" eaLnBrk="1" latinLnBrk="0" hangingPunct="1">
              <a:defRPr sz="1600" b="0" i="0" kern="1200">
                <a:solidFill>
                  <a:schemeClr val="tx1"/>
                </a:solidFill>
                <a:latin typeface="IBM Plex Sans Light" panose="020B0403050203000203" pitchFamily="34" charset="0"/>
                <a:ea typeface="+mn-ea"/>
                <a:cs typeface="+mn-cs"/>
              </a:defRPr>
            </a:lvl1pPr>
            <a:lvl2pPr marL="914688" algn="l" defTabSz="1829379" rtl="0" eaLnBrk="1" latinLnBrk="0" hangingPunct="1">
              <a:defRPr sz="3600" kern="1200">
                <a:solidFill>
                  <a:schemeClr val="tx1"/>
                </a:solidFill>
                <a:latin typeface="+mn-lt"/>
                <a:ea typeface="+mn-ea"/>
                <a:cs typeface="+mn-cs"/>
              </a:defRPr>
            </a:lvl2pPr>
            <a:lvl3pPr marL="1829379" algn="l" defTabSz="1829379" rtl="0" eaLnBrk="1" latinLnBrk="0" hangingPunct="1">
              <a:defRPr sz="3600" kern="1200">
                <a:solidFill>
                  <a:schemeClr val="tx1"/>
                </a:solidFill>
                <a:latin typeface="+mn-lt"/>
                <a:ea typeface="+mn-ea"/>
                <a:cs typeface="+mn-cs"/>
              </a:defRPr>
            </a:lvl3pPr>
            <a:lvl4pPr marL="2744068" algn="l" defTabSz="1829379" rtl="0" eaLnBrk="1" latinLnBrk="0" hangingPunct="1">
              <a:defRPr sz="3600" kern="1200">
                <a:solidFill>
                  <a:schemeClr val="tx1"/>
                </a:solidFill>
                <a:latin typeface="+mn-lt"/>
                <a:ea typeface="+mn-ea"/>
                <a:cs typeface="+mn-cs"/>
              </a:defRPr>
            </a:lvl4pPr>
            <a:lvl5pPr marL="3658759" algn="l" defTabSz="1829379" rtl="0" eaLnBrk="1" latinLnBrk="0" hangingPunct="1">
              <a:defRPr sz="3600" kern="1200">
                <a:solidFill>
                  <a:schemeClr val="tx1"/>
                </a:solidFill>
                <a:latin typeface="+mn-lt"/>
                <a:ea typeface="+mn-ea"/>
                <a:cs typeface="+mn-cs"/>
              </a:defRPr>
            </a:lvl5pPr>
            <a:lvl6pPr marL="4573447" algn="l" defTabSz="1829379" rtl="0" eaLnBrk="1" latinLnBrk="0" hangingPunct="1">
              <a:defRPr sz="3600" kern="1200">
                <a:solidFill>
                  <a:schemeClr val="tx1"/>
                </a:solidFill>
                <a:latin typeface="+mn-lt"/>
                <a:ea typeface="+mn-ea"/>
                <a:cs typeface="+mn-cs"/>
              </a:defRPr>
            </a:lvl6pPr>
            <a:lvl7pPr marL="5488138" algn="l" defTabSz="1829379" rtl="0" eaLnBrk="1" latinLnBrk="0" hangingPunct="1">
              <a:defRPr sz="3600" kern="1200">
                <a:solidFill>
                  <a:schemeClr val="tx1"/>
                </a:solidFill>
                <a:latin typeface="+mn-lt"/>
                <a:ea typeface="+mn-ea"/>
                <a:cs typeface="+mn-cs"/>
              </a:defRPr>
            </a:lvl7pPr>
            <a:lvl8pPr marL="6402827" algn="l" defTabSz="1829379" rtl="0" eaLnBrk="1" latinLnBrk="0" hangingPunct="1">
              <a:defRPr sz="3600" kern="1200">
                <a:solidFill>
                  <a:schemeClr val="tx1"/>
                </a:solidFill>
                <a:latin typeface="+mn-lt"/>
                <a:ea typeface="+mn-ea"/>
                <a:cs typeface="+mn-cs"/>
              </a:defRPr>
            </a:lvl8pPr>
            <a:lvl9pPr marL="7317518" algn="l" defTabSz="1829379" rtl="0" eaLnBrk="1" latinLnBrk="0" hangingPunct="1">
              <a:defRPr sz="3600" kern="1200">
                <a:solidFill>
                  <a:schemeClr val="tx1"/>
                </a:solidFill>
                <a:latin typeface="+mn-lt"/>
                <a:ea typeface="+mn-ea"/>
                <a:cs typeface="+mn-cs"/>
              </a:defRPr>
            </a:lvl9pPr>
          </a:lstStyle>
          <a:p>
            <a:pPr defTabSz="914507">
              <a:spcBef>
                <a:spcPts val="600"/>
              </a:spcBef>
              <a:defRPr/>
            </a:pPr>
            <a:r>
              <a:rPr lang="en-US" sz="1800" dirty="0">
                <a:solidFill>
                  <a:srgbClr val="000000"/>
                </a:solidFill>
                <a:latin typeface="IBM Plex Sans Light"/>
                <a:sym typeface=""/>
              </a:rPr>
              <a:t>Resulting in </a:t>
            </a:r>
            <a:r>
              <a:rPr lang="en-US" sz="1800" b="1" dirty="0">
                <a:solidFill>
                  <a:srgbClr val="0E61FF"/>
                </a:solidFill>
                <a:latin typeface="IBM Plex Sans Light"/>
                <a:sym typeface=""/>
              </a:rPr>
              <a:t>inaccurate and</a:t>
            </a:r>
            <a:r>
              <a:rPr kumimoji="0" lang="en-US" sz="1800" b="1" i="0" u="none" strike="noStrike" kern="1200" cap="none" spc="0" normalizeH="0" baseline="0" noProof="0" dirty="0">
                <a:ln>
                  <a:noFill/>
                </a:ln>
                <a:solidFill>
                  <a:srgbClr val="0E61FF"/>
                </a:solidFill>
                <a:effectLst/>
                <a:uLnTx/>
                <a:uFillTx/>
                <a:latin typeface="IBM Plex Sans Light"/>
                <a:ea typeface="+mn-ea"/>
                <a:cs typeface="+mn-cs"/>
                <a:sym typeface=""/>
              </a:rPr>
              <a:t> </a:t>
            </a:r>
            <a:r>
              <a:rPr lang="en-US" sz="1800" b="1" dirty="0">
                <a:solidFill>
                  <a:srgbClr val="0E61FF"/>
                </a:solidFill>
                <a:latin typeface="IBM Plex Sans Light"/>
                <a:sym typeface=""/>
              </a:rPr>
              <a:t>ineffective </a:t>
            </a:r>
            <a:r>
              <a:rPr lang="en-US" sz="1800" dirty="0">
                <a:solidFill>
                  <a:srgbClr val="000000"/>
                </a:solidFill>
                <a:latin typeface="IBM Plex Sans Light"/>
                <a:sym typeface=""/>
              </a:rPr>
              <a:t>AI</a:t>
            </a:r>
            <a:r>
              <a:rPr kumimoji="0" lang="en-US" sz="1800" b="0" i="0" u="none" strike="noStrike" kern="1200" cap="none" spc="0" normalizeH="0" baseline="0" noProof="0" dirty="0">
                <a:ln>
                  <a:noFill/>
                </a:ln>
                <a:solidFill>
                  <a:srgbClr val="000000"/>
                </a:solidFill>
                <a:effectLst/>
                <a:uLnTx/>
                <a:uFillTx/>
                <a:latin typeface="IBM Plex Sans Light"/>
                <a:ea typeface="+mn-ea"/>
                <a:cs typeface="+mn-cs"/>
                <a:sym typeface=""/>
              </a:rPr>
              <a:t> </a:t>
            </a:r>
            <a:r>
              <a:rPr lang="en-US" sz="1800" dirty="0">
                <a:solidFill>
                  <a:srgbClr val="000000"/>
                </a:solidFill>
                <a:latin typeface="IBM Plex Sans Light"/>
                <a:sym typeface=""/>
              </a:rPr>
              <a:t>apps</a:t>
            </a:r>
            <a:endParaRPr kumimoji="0" lang="en-US" sz="1400" b="0" i="0" u="none" strike="noStrike" kern="1200" cap="none" spc="0" normalizeH="0" baseline="0" noProof="0" dirty="0">
              <a:ln>
                <a:noFill/>
              </a:ln>
              <a:solidFill>
                <a:srgbClr val="000000"/>
              </a:solidFill>
              <a:effectLst/>
              <a:uLnTx/>
              <a:uFillTx/>
              <a:latin typeface="IBM Plex Sans Light"/>
              <a:ea typeface="+mn-ea"/>
              <a:cs typeface="+mn-cs"/>
              <a:sym typeface=""/>
            </a:endParaRPr>
          </a:p>
        </p:txBody>
      </p:sp>
      <p:sp>
        <p:nvSpPr>
          <p:cNvPr id="3" name="Rectangle 2">
            <a:extLst>
              <a:ext uri="{FF2B5EF4-FFF2-40B4-BE49-F238E27FC236}">
                <a16:creationId xmlns:a16="http://schemas.microsoft.com/office/drawing/2014/main" id="{8A73D40F-35F1-F35E-6E9A-8E7E2F3B4996}"/>
              </a:ext>
            </a:extLst>
          </p:cNvPr>
          <p:cNvSpPr/>
          <p:nvPr/>
        </p:nvSpPr>
        <p:spPr bwMode="auto">
          <a:xfrm>
            <a:off x="6996198" y="2439158"/>
            <a:ext cx="819193" cy="450422"/>
          </a:xfrm>
          <a:prstGeom prst="rect">
            <a:avLst/>
          </a:prstGeom>
          <a:solidFill>
            <a:schemeClr val="accent5">
              <a:lumMod val="60000"/>
              <a:lumOff val="40000"/>
              <a:alpha val="23529"/>
            </a:schemeClr>
          </a:solidFill>
          <a:ln w="28575">
            <a:solidFill>
              <a:schemeClr val="accent6">
                <a:lumMod val="75000"/>
              </a:schemeClr>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defTabSz="457109" fontAlgn="base">
              <a:spcBef>
                <a:spcPct val="0"/>
              </a:spcBef>
              <a:spcAft>
                <a:spcPct val="0"/>
              </a:spcAft>
            </a:pPr>
            <a:endParaRPr lang="en-US" sz="700">
              <a:solidFill>
                <a:srgbClr val="FFFFFF"/>
              </a:solidFill>
              <a:latin typeface="IBM Plex Sans Light"/>
            </a:endParaRPr>
          </a:p>
        </p:txBody>
      </p:sp>
      <p:cxnSp>
        <p:nvCxnSpPr>
          <p:cNvPr id="4" name="Straight Arrow Connector 3">
            <a:extLst>
              <a:ext uri="{FF2B5EF4-FFF2-40B4-BE49-F238E27FC236}">
                <a16:creationId xmlns:a16="http://schemas.microsoft.com/office/drawing/2014/main" id="{8058FE8A-26F8-31C4-5BC2-063D9362DA68}"/>
              </a:ext>
            </a:extLst>
          </p:cNvPr>
          <p:cNvCxnSpPr>
            <a:cxnSpLocks/>
          </p:cNvCxnSpPr>
          <p:nvPr/>
        </p:nvCxnSpPr>
        <p:spPr bwMode="auto">
          <a:xfrm>
            <a:off x="7804200" y="2675917"/>
            <a:ext cx="836965" cy="0"/>
          </a:xfrm>
          <a:prstGeom prst="straightConnector1">
            <a:avLst/>
          </a:prstGeom>
          <a:ln w="31750" cap="flat" cmpd="sng" algn="ctr">
            <a:solidFill>
              <a:schemeClr val="accent6"/>
            </a:solidFill>
            <a:prstDash val="dash"/>
            <a:round/>
            <a:headEnd type="none" w="lg" len="lg"/>
            <a:tailEnd type="triangle" w="lg" len="lg"/>
          </a:ln>
        </p:spPr>
        <p:style>
          <a:lnRef idx="0">
            <a:scrgbClr r="0" g="0" b="0"/>
          </a:lnRef>
          <a:fillRef idx="0">
            <a:scrgbClr r="0" g="0" b="0"/>
          </a:fillRef>
          <a:effectRef idx="0">
            <a:scrgbClr r="0" g="0" b="0"/>
          </a:effectRef>
          <a:fontRef idx="minor">
            <a:schemeClr val="tx1"/>
          </a:fontRef>
        </p:style>
      </p:cxnSp>
      <p:sp>
        <p:nvSpPr>
          <p:cNvPr id="6" name="Text Placeholder 5">
            <a:extLst>
              <a:ext uri="{FF2B5EF4-FFF2-40B4-BE49-F238E27FC236}">
                <a16:creationId xmlns:a16="http://schemas.microsoft.com/office/drawing/2014/main" id="{B93F312D-4FF3-624C-7549-55C85C673EF8}"/>
              </a:ext>
            </a:extLst>
          </p:cNvPr>
          <p:cNvSpPr txBox="1">
            <a:spLocks/>
          </p:cNvSpPr>
          <p:nvPr/>
        </p:nvSpPr>
        <p:spPr>
          <a:xfrm>
            <a:off x="8687609" y="2507107"/>
            <a:ext cx="721421" cy="46874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1pPr>
            <a:lvl2pPr marL="18288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2pPr>
            <a:lvl3pPr marL="36576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3pPr>
            <a:lvl4pPr marL="54864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IBM Plex Sans" panose="020B0604020202020204" pitchFamily="34" charset="0"/>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1218956"/>
            <a:r>
              <a:rPr lang="en-US" sz="1000" b="1" kern="0">
                <a:solidFill>
                  <a:srgbClr val="000000"/>
                </a:solidFill>
                <a:latin typeface="IBM Plex Sans Light" panose="020B0403050203000203" pitchFamily="34" charset="0"/>
              </a:rPr>
              <a:t>Sensitive information</a:t>
            </a:r>
          </a:p>
        </p:txBody>
      </p:sp>
      <p:cxnSp>
        <p:nvCxnSpPr>
          <p:cNvPr id="13" name="Straight Arrow Connector 12">
            <a:extLst>
              <a:ext uri="{FF2B5EF4-FFF2-40B4-BE49-F238E27FC236}">
                <a16:creationId xmlns:a16="http://schemas.microsoft.com/office/drawing/2014/main" id="{22AA3125-7CB0-20C7-B70B-D6E764CA6401}"/>
              </a:ext>
            </a:extLst>
          </p:cNvPr>
          <p:cNvCxnSpPr>
            <a:cxnSpLocks/>
          </p:cNvCxnSpPr>
          <p:nvPr/>
        </p:nvCxnSpPr>
        <p:spPr bwMode="auto">
          <a:xfrm flipV="1">
            <a:off x="9089428" y="6117422"/>
            <a:ext cx="2908174" cy="4906"/>
          </a:xfrm>
          <a:prstGeom prst="straightConnector1">
            <a:avLst/>
          </a:prstGeom>
          <a:ln w="31750" cap="flat" cmpd="sng" algn="ctr">
            <a:solidFill>
              <a:schemeClr val="accent6"/>
            </a:solidFill>
            <a:prstDash val="dash"/>
            <a:round/>
            <a:headEnd type="none" w="lg" len="lg"/>
            <a:tailEnd type="triangle" w="lg" len="lg"/>
          </a:ln>
        </p:spPr>
        <p:style>
          <a:lnRef idx="0">
            <a:scrgbClr r="0" g="0" b="0"/>
          </a:lnRef>
          <a:fillRef idx="0">
            <a:scrgbClr r="0" g="0" b="0"/>
          </a:fillRef>
          <a:effectRef idx="0">
            <a:scrgbClr r="0" g="0" b="0"/>
          </a:effectRef>
          <a:fontRef idx="minor">
            <a:schemeClr val="tx1"/>
          </a:fontRef>
        </p:style>
      </p:cxnSp>
      <p:cxnSp>
        <p:nvCxnSpPr>
          <p:cNvPr id="16" name="Straight Arrow Connector 15">
            <a:extLst>
              <a:ext uri="{FF2B5EF4-FFF2-40B4-BE49-F238E27FC236}">
                <a16:creationId xmlns:a16="http://schemas.microsoft.com/office/drawing/2014/main" id="{FB0D2FC4-0751-0D42-B6DC-80ABDA6C364A}"/>
              </a:ext>
            </a:extLst>
          </p:cNvPr>
          <p:cNvCxnSpPr>
            <a:cxnSpLocks/>
          </p:cNvCxnSpPr>
          <p:nvPr/>
        </p:nvCxnSpPr>
        <p:spPr bwMode="auto">
          <a:xfrm flipH="1">
            <a:off x="5566899" y="6117422"/>
            <a:ext cx="3652674" cy="11918"/>
          </a:xfrm>
          <a:prstGeom prst="straightConnector1">
            <a:avLst/>
          </a:prstGeom>
          <a:ln w="31750" cap="flat" cmpd="sng" algn="ctr">
            <a:solidFill>
              <a:schemeClr val="accent6"/>
            </a:solidFill>
            <a:prstDash val="dash"/>
            <a:round/>
            <a:headEnd type="none" w="lg" len="lg"/>
            <a:tailEnd type="triangle" w="lg" len="lg"/>
          </a:ln>
        </p:spPr>
        <p:style>
          <a:lnRef idx="0">
            <a:scrgbClr r="0" g="0" b="0"/>
          </a:lnRef>
          <a:fillRef idx="0">
            <a:scrgbClr r="0" g="0" b="0"/>
          </a:fillRef>
          <a:effectRef idx="0">
            <a:scrgbClr r="0" g="0" b="0"/>
          </a:effectRef>
          <a:fontRef idx="minor">
            <a:schemeClr val="tx1"/>
          </a:fontRef>
        </p:style>
      </p:cxnSp>
      <p:sp>
        <p:nvSpPr>
          <p:cNvPr id="20" name="Text Placeholder 5">
            <a:extLst>
              <a:ext uri="{FF2B5EF4-FFF2-40B4-BE49-F238E27FC236}">
                <a16:creationId xmlns:a16="http://schemas.microsoft.com/office/drawing/2014/main" id="{B8EEBEF8-0324-75E3-E440-3AF65E1BE0AC}"/>
              </a:ext>
            </a:extLst>
          </p:cNvPr>
          <p:cNvSpPr txBox="1">
            <a:spLocks/>
          </p:cNvSpPr>
          <p:nvPr/>
        </p:nvSpPr>
        <p:spPr>
          <a:xfrm>
            <a:off x="7405794" y="6020306"/>
            <a:ext cx="2757033" cy="215165"/>
          </a:xfrm>
          <a:prstGeom prst="rect">
            <a:avLst/>
          </a:prstGeom>
          <a:solidFill>
            <a:srgbClr val="EDF6FF"/>
          </a:solidFill>
          <a:ln w="12700">
            <a:no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lstStyle>
            <a:lvl1pPr marL="0" marR="0" indent="0" algn="l" defTabSz="2438400" rtl="0" eaLnBrk="1" latinLnBrk="0" hangingPunct="1">
              <a:lnSpc>
                <a:spcPct val="110000"/>
              </a:lnSpc>
              <a:spcBef>
                <a:spcPts val="0"/>
              </a:spcBef>
              <a:spcAft>
                <a:spcPts val="0"/>
              </a:spcAft>
              <a:buClrTx/>
              <a:buSzTx/>
              <a:buFontTx/>
              <a:buNone/>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1pPr>
            <a:lvl2pPr marL="18288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2pPr>
            <a:lvl3pPr marL="36576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3pPr>
            <a:lvl4pPr marL="548640" marR="0" indent="-182880" algn="l" defTabSz="2438400" rtl="0" eaLnBrk="1" latinLnBrk="0" hangingPunct="1">
              <a:lnSpc>
                <a:spcPct val="110000"/>
              </a:lnSpc>
              <a:spcBef>
                <a:spcPts val="0"/>
              </a:spcBef>
              <a:spcAft>
                <a:spcPts val="0"/>
              </a:spcAft>
              <a:buClrTx/>
              <a:buSzPct val="100000"/>
              <a:buFontTx/>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IBM Plex Sans" panose="020B0604020202020204" pitchFamily="34" charset="0"/>
              <a:buChar char="•"/>
              <a:tabLst/>
              <a:defRPr sz="2000" b="0" i="0" u="none" strike="noStrike" cap="none" spc="0" baseline="0">
                <a:solidFill>
                  <a:schemeClr val="tx1"/>
                </a:solidFill>
                <a:uFillTx/>
                <a:latin typeface="IBM Plex Sans" panose="020B05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algn="ctr" defTabSz="1218956"/>
            <a:r>
              <a:rPr lang="en-US" sz="1000" b="1" kern="0">
                <a:solidFill>
                  <a:srgbClr val="000000"/>
                </a:solidFill>
                <a:latin typeface="IBM Plex Sans Light" panose="020B0403050203000203" pitchFamily="34" charset="0"/>
              </a:rPr>
              <a:t>Lack of data governance across documents</a:t>
            </a:r>
          </a:p>
        </p:txBody>
      </p:sp>
    </p:spTree>
    <p:extLst>
      <p:ext uri="{BB962C8B-B14F-4D97-AF65-F5344CB8AC3E}">
        <p14:creationId xmlns:p14="http://schemas.microsoft.com/office/powerpoint/2010/main" val="507507093"/>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B08788-EA27-EB73-71CD-F45201921DF0}"/>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FED88FC5-3EB1-0772-568A-5DE54529F5F5}"/>
              </a:ext>
            </a:extLst>
          </p:cNvPr>
          <p:cNvSpPr txBox="1"/>
          <p:nvPr/>
        </p:nvSpPr>
        <p:spPr>
          <a:xfrm>
            <a:off x="-2631646" y="4238262"/>
            <a:ext cx="0" cy="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rtlCol="0">
            <a:noAutofit/>
          </a:bodyPr>
          <a:lstStyle/>
          <a:p>
            <a:pPr defTabSz="1218956">
              <a:spcBef>
                <a:spcPts val="1450"/>
              </a:spcBef>
              <a:buSzPct val="100000"/>
            </a:pPr>
            <a:endParaRPr lang="en-US" sz="900" kern="0">
              <a:solidFill>
                <a:srgbClr val="000000"/>
              </a:solidFill>
              <a:ea typeface="+mj-ea"/>
              <a:cs typeface="+mj-cs"/>
              <a:sym typeface="IBM Plex Sans Light"/>
            </a:endParaRPr>
          </a:p>
        </p:txBody>
      </p:sp>
      <p:sp>
        <p:nvSpPr>
          <p:cNvPr id="3" name="Rectangle 2">
            <a:extLst>
              <a:ext uri="{FF2B5EF4-FFF2-40B4-BE49-F238E27FC236}">
                <a16:creationId xmlns:a16="http://schemas.microsoft.com/office/drawing/2014/main" id="{003E857A-B998-709D-11ED-3E6A6691E0B6}"/>
              </a:ext>
            </a:extLst>
          </p:cNvPr>
          <p:cNvSpPr>
            <a:spLocks/>
          </p:cNvSpPr>
          <p:nvPr/>
        </p:nvSpPr>
        <p:spPr bwMode="auto">
          <a:xfrm>
            <a:off x="6096000" y="447"/>
            <a:ext cx="6096793" cy="6857107"/>
          </a:xfrm>
          <a:prstGeom prst="rect">
            <a:avLst/>
          </a:prstGeom>
          <a:solidFill>
            <a:srgbClr val="F4F4F4"/>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defTabSz="457109" fontAlgn="base">
              <a:spcBef>
                <a:spcPct val="0"/>
              </a:spcBef>
              <a:spcAft>
                <a:spcPct val="0"/>
              </a:spcAft>
            </a:pPr>
            <a:endParaRPr lang="en-US" sz="700">
              <a:solidFill>
                <a:schemeClr val="bg1"/>
              </a:solidFill>
            </a:endParaRPr>
          </a:p>
        </p:txBody>
      </p:sp>
      <p:sp>
        <p:nvSpPr>
          <p:cNvPr id="4" name="Title 1">
            <a:extLst>
              <a:ext uri="{FF2B5EF4-FFF2-40B4-BE49-F238E27FC236}">
                <a16:creationId xmlns:a16="http://schemas.microsoft.com/office/drawing/2014/main" id="{7751C986-EA24-73DE-A31D-A36689B71CCF}"/>
              </a:ext>
            </a:extLst>
          </p:cNvPr>
          <p:cNvSpPr txBox="1">
            <a:spLocks/>
          </p:cNvSpPr>
          <p:nvPr/>
        </p:nvSpPr>
        <p:spPr>
          <a:xfrm>
            <a:off x="6392283" y="2685623"/>
            <a:ext cx="5045466" cy="1486754"/>
          </a:xfrm>
          <a:prstGeom prst="rect">
            <a:avLst/>
          </a:prstGeom>
        </p:spPr>
        <p:txBody>
          <a:bodyPr anchor="t">
            <a:noAutofit/>
          </a:bodyPr>
          <a:lstStyle>
            <a:lvl1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chemeClr val="tx2"/>
                </a:solidFill>
                <a:uFillTx/>
                <a:latin typeface="+mj-lt"/>
                <a:ea typeface="+mj-ea"/>
                <a:cs typeface="+mj-cs"/>
                <a:sym typeface="IBM Plex Sans Light"/>
              </a:defRPr>
            </a:lvl1pPr>
            <a:lvl2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8"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7"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4"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93"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r>
              <a:rPr lang="en-US" sz="3200">
                <a:solidFill>
                  <a:srgbClr val="000000"/>
                </a:solidFill>
                <a:latin typeface="IBM Plex Sans Light" pitchFamily="34" charset="0"/>
                <a:ea typeface="IBM Plex Sans Light" pitchFamily="34" charset="-122"/>
                <a:cs typeface="IBM Plex Sans Light" pitchFamily="34" charset="-120"/>
              </a:rPr>
              <a:t>A </a:t>
            </a:r>
            <a:r>
              <a:rPr lang="en-US" sz="3200">
                <a:solidFill>
                  <a:srgbClr val="0F62FE"/>
                </a:solidFill>
                <a:latin typeface="IBM Plex Sans Light" pitchFamily="34" charset="0"/>
              </a:rPr>
              <a:t>reimagined data strategy </a:t>
            </a:r>
            <a:r>
              <a:rPr lang="en-US" sz="3200">
                <a:solidFill>
                  <a:srgbClr val="000000"/>
                </a:solidFill>
                <a:latin typeface="IBM Plex Sans Light" pitchFamily="34" charset="0"/>
                <a:ea typeface="IBM Plex Sans Light" pitchFamily="34" charset="-122"/>
                <a:cs typeface="IBM Plex Sans Light" pitchFamily="34" charset="-120"/>
              </a:rPr>
              <a:t>is imperative to meet the demands of generative AI</a:t>
            </a:r>
            <a:endParaRPr lang="en-US" sz="3200"/>
          </a:p>
          <a:p>
            <a:endParaRPr lang="en-US" sz="2800" kern="0">
              <a:solidFill>
                <a:schemeClr val="accent1"/>
              </a:solidFill>
            </a:endParaRPr>
          </a:p>
        </p:txBody>
      </p:sp>
      <p:sp>
        <p:nvSpPr>
          <p:cNvPr id="8" name="Title 1">
            <a:extLst>
              <a:ext uri="{FF2B5EF4-FFF2-40B4-BE49-F238E27FC236}">
                <a16:creationId xmlns:a16="http://schemas.microsoft.com/office/drawing/2014/main" id="{E5EAEFA2-703A-C2D9-7649-FC81817F2E65}"/>
              </a:ext>
            </a:extLst>
          </p:cNvPr>
          <p:cNvSpPr txBox="1">
            <a:spLocks/>
          </p:cNvSpPr>
          <p:nvPr/>
        </p:nvSpPr>
        <p:spPr>
          <a:xfrm>
            <a:off x="301586" y="301752"/>
            <a:ext cx="5029832" cy="593639"/>
          </a:xfrm>
          <a:prstGeom prst="rect">
            <a:avLst/>
          </a:prstGeom>
        </p:spPr>
        <p:txBody>
          <a:bodyPr anchor="t">
            <a:noAutofit/>
          </a:bodyPr>
          <a:lstStyle>
            <a:lvl1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chemeClr val="tx2"/>
                </a:solidFill>
                <a:uFillTx/>
                <a:latin typeface="+mj-lt"/>
                <a:ea typeface="+mj-ea"/>
                <a:cs typeface="+mj-cs"/>
                <a:sym typeface="IBM Plex Sans Light"/>
              </a:defRPr>
            </a:lvl1pPr>
            <a:lvl2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8"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7"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4"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93"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r>
              <a:rPr lang="en-US" sz="5000">
                <a:solidFill>
                  <a:srgbClr val="000000"/>
                </a:solidFill>
                <a:latin typeface="IBM Plex Sans Light" pitchFamily="34" charset="0"/>
                <a:ea typeface="IBM Plex Sans Light" pitchFamily="34" charset="-122"/>
                <a:cs typeface="IBM Plex Sans Light" pitchFamily="34" charset="-120"/>
              </a:rPr>
              <a:t>How do we make </a:t>
            </a:r>
            <a:r>
              <a:rPr lang="en-US" sz="5000" i="1">
                <a:solidFill>
                  <a:srgbClr val="000000"/>
                </a:solidFill>
                <a:latin typeface="IBM Plex Sans Light" pitchFamily="34" charset="0"/>
                <a:ea typeface="IBM Plex Sans Light" pitchFamily="34" charset="-122"/>
                <a:cs typeface="IBM Plex Sans Light" pitchFamily="34" charset="-120"/>
              </a:rPr>
              <a:t>more</a:t>
            </a:r>
            <a:r>
              <a:rPr lang="en-US" sz="5000">
                <a:solidFill>
                  <a:srgbClr val="000000"/>
                </a:solidFill>
                <a:latin typeface="IBM Plex Sans Light" pitchFamily="34" charset="0"/>
                <a:ea typeface="IBM Plex Sans Light" pitchFamily="34" charset="-122"/>
                <a:cs typeface="IBM Plex Sans Light" pitchFamily="34" charset="-120"/>
              </a:rPr>
              <a:t> data </a:t>
            </a:r>
            <a:r>
              <a:rPr lang="en-US" sz="5000" i="1">
                <a:solidFill>
                  <a:srgbClr val="000000"/>
                </a:solidFill>
                <a:latin typeface="IBM Plex Sans Light" pitchFamily="34" charset="0"/>
                <a:ea typeface="IBM Plex Sans Light" pitchFamily="34" charset="-122"/>
                <a:cs typeface="IBM Plex Sans Light" pitchFamily="34" charset="-120"/>
              </a:rPr>
              <a:t>more</a:t>
            </a:r>
            <a:r>
              <a:rPr lang="en-US" sz="5000">
                <a:solidFill>
                  <a:srgbClr val="000000"/>
                </a:solidFill>
                <a:latin typeface="IBM Plex Sans Light" pitchFamily="34" charset="0"/>
                <a:ea typeface="IBM Plex Sans Light" pitchFamily="34" charset="-122"/>
                <a:cs typeface="IBM Plex Sans Light" pitchFamily="34" charset="-120"/>
              </a:rPr>
              <a:t> useable for AI?</a:t>
            </a:r>
            <a:endParaRPr lang="en-US" sz="5000"/>
          </a:p>
          <a:p>
            <a:endParaRPr lang="en-US" sz="5000" kern="0">
              <a:solidFill>
                <a:schemeClr val="accent1"/>
              </a:solidFill>
            </a:endParaRPr>
          </a:p>
        </p:txBody>
      </p:sp>
    </p:spTree>
    <p:extLst>
      <p:ext uri="{BB962C8B-B14F-4D97-AF65-F5344CB8AC3E}">
        <p14:creationId xmlns:p14="http://schemas.microsoft.com/office/powerpoint/2010/main" val="31848715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AFE57A-71B1-A975-5876-C80079B5A045}"/>
            </a:ext>
          </a:extLst>
        </p:cNvPr>
        <p:cNvGrpSpPr/>
        <p:nvPr/>
      </p:nvGrpSpPr>
      <p:grpSpPr>
        <a:xfrm>
          <a:off x="0" y="0"/>
          <a:ext cx="0" cy="0"/>
          <a:chOff x="0" y="0"/>
          <a:chExt cx="0" cy="0"/>
        </a:xfrm>
      </p:grpSpPr>
      <p:sp>
        <p:nvSpPr>
          <p:cNvPr id="25" name="Text Placeholder 2">
            <a:extLst>
              <a:ext uri="{FF2B5EF4-FFF2-40B4-BE49-F238E27FC236}">
                <a16:creationId xmlns:a16="http://schemas.microsoft.com/office/drawing/2014/main" id="{83DE74A5-EE95-2689-2108-D32A681E8858}"/>
              </a:ext>
            </a:extLst>
          </p:cNvPr>
          <p:cNvSpPr>
            <a:spLocks noGrp="1"/>
          </p:cNvSpPr>
          <p:nvPr>
            <p:ph type="body" sz="quarter" idx="11"/>
          </p:nvPr>
        </p:nvSpPr>
        <p:spPr>
          <a:xfrm>
            <a:off x="5097217" y="2591978"/>
            <a:ext cx="2060131" cy="3047415"/>
          </a:xfrm>
        </p:spPr>
        <p:txBody>
          <a:bodyPr/>
          <a:lstStyle/>
          <a:p>
            <a:pPr marL="0" lvl="1" indent="0">
              <a:buClr>
                <a:schemeClr val="lt1"/>
              </a:buClr>
              <a:buNone/>
            </a:pPr>
            <a:r>
              <a:rPr lang="en-US" sz="1400" kern="1200">
                <a:solidFill>
                  <a:srgbClr val="161616"/>
                </a:solidFill>
                <a:latin typeface="+mn-lt"/>
              </a:rPr>
              <a:t>Achieved PS2 regulation compliance, delivering 18 million alerts daily while </a:t>
            </a:r>
            <a:r>
              <a:rPr lang="en-US" sz="1400" kern="1200">
                <a:solidFill>
                  <a:srgbClr val="000000"/>
                </a:solidFill>
                <a:latin typeface="+mn-lt"/>
              </a:rPr>
              <a:t>r</a:t>
            </a:r>
            <a:r>
              <a:rPr lang="en-US" sz="1400">
                <a:solidFill>
                  <a:srgbClr val="000000"/>
                </a:solidFill>
                <a:latin typeface="+mn-lt"/>
              </a:rPr>
              <a:t>educed customer messaging application cost by £400k</a:t>
            </a:r>
          </a:p>
        </p:txBody>
      </p:sp>
      <p:sp>
        <p:nvSpPr>
          <p:cNvPr id="26" name="Text Placeholder 3">
            <a:extLst>
              <a:ext uri="{FF2B5EF4-FFF2-40B4-BE49-F238E27FC236}">
                <a16:creationId xmlns:a16="http://schemas.microsoft.com/office/drawing/2014/main" id="{5FC3FAD2-3719-5CF5-91DA-BAE5599AF20C}"/>
              </a:ext>
            </a:extLst>
          </p:cNvPr>
          <p:cNvSpPr>
            <a:spLocks noGrp="1"/>
          </p:cNvSpPr>
          <p:nvPr>
            <p:ph type="body" sz="quarter" idx="12"/>
          </p:nvPr>
        </p:nvSpPr>
        <p:spPr>
          <a:xfrm>
            <a:off x="223413" y="2591978"/>
            <a:ext cx="1872053" cy="3047415"/>
          </a:xfrm>
        </p:spPr>
        <p:txBody>
          <a:bodyPr/>
          <a:lstStyle/>
          <a:p>
            <a:r>
              <a:rPr lang="en-US" sz="1400">
                <a:solidFill>
                  <a:srgbClr val="000000"/>
                </a:solidFill>
                <a:latin typeface="+mn-lt"/>
              </a:rPr>
              <a:t>Improved response accuracy of devices and contracted mission time prompts by 57%</a:t>
            </a:r>
          </a:p>
        </p:txBody>
      </p:sp>
      <p:sp>
        <p:nvSpPr>
          <p:cNvPr id="30" name="Text Placeholder 4">
            <a:extLst>
              <a:ext uri="{FF2B5EF4-FFF2-40B4-BE49-F238E27FC236}">
                <a16:creationId xmlns:a16="http://schemas.microsoft.com/office/drawing/2014/main" id="{89D30C82-557B-C9AC-0C3C-3E0DD48B136C}"/>
              </a:ext>
            </a:extLst>
          </p:cNvPr>
          <p:cNvSpPr>
            <a:spLocks noGrp="1"/>
          </p:cNvSpPr>
          <p:nvPr>
            <p:ph type="body" sz="quarter" idx="13"/>
          </p:nvPr>
        </p:nvSpPr>
        <p:spPr>
          <a:xfrm>
            <a:off x="2657256" y="2591978"/>
            <a:ext cx="2097017" cy="3047415"/>
          </a:xfrm>
        </p:spPr>
        <p:txBody>
          <a:bodyPr/>
          <a:lstStyle/>
          <a:p>
            <a:r>
              <a:rPr lang="en-US" sz="1400">
                <a:solidFill>
                  <a:srgbClr val="000000"/>
                </a:solidFill>
                <a:latin typeface="+mn-lt"/>
              </a:rPr>
              <a:t>Reduced manual data input by 75% and leveraged data to enhance the health and safety of construction workers in Sweden</a:t>
            </a:r>
          </a:p>
        </p:txBody>
      </p:sp>
      <p:sp>
        <p:nvSpPr>
          <p:cNvPr id="31" name="Text Placeholder 5">
            <a:extLst>
              <a:ext uri="{FF2B5EF4-FFF2-40B4-BE49-F238E27FC236}">
                <a16:creationId xmlns:a16="http://schemas.microsoft.com/office/drawing/2014/main" id="{9D627BEC-1A8F-E6D3-3629-6812B094C64F}"/>
              </a:ext>
            </a:extLst>
          </p:cNvPr>
          <p:cNvSpPr>
            <a:spLocks noGrp="1"/>
          </p:cNvSpPr>
          <p:nvPr>
            <p:ph type="body" sz="quarter" idx="14"/>
          </p:nvPr>
        </p:nvSpPr>
        <p:spPr>
          <a:xfrm>
            <a:off x="7553477" y="2591978"/>
            <a:ext cx="1981265" cy="3040945"/>
          </a:xfrm>
          <a:ln w="12700">
            <a:miter lim="400000"/>
          </a:ln>
        </p:spPr>
        <p:txBody>
          <a:bodyPr lIns="0" tIns="0" rIns="0" bIns="0"/>
          <a:lstStyle/>
          <a:p>
            <a:r>
              <a:rPr lang="en-US" sz="1400">
                <a:solidFill>
                  <a:srgbClr val="000000"/>
                </a:solidFill>
                <a:effectLst/>
                <a:latin typeface="+mn-lt"/>
              </a:rPr>
              <a:t>Managed 7M+ data points throughout the tournament to create AI commentary and predict player favorability.</a:t>
            </a:r>
          </a:p>
        </p:txBody>
      </p:sp>
      <p:cxnSp>
        <p:nvCxnSpPr>
          <p:cNvPr id="12" name="Straight Connector 11" descr="Vertical column divider">
            <a:extLst>
              <a:ext uri="{FF2B5EF4-FFF2-40B4-BE49-F238E27FC236}">
                <a16:creationId xmlns:a16="http://schemas.microsoft.com/office/drawing/2014/main" id="{5DCD1B19-B596-E929-6F16-44791CB07D3E}"/>
              </a:ext>
            </a:extLst>
          </p:cNvPr>
          <p:cNvCxnSpPr>
            <a:cxnSpLocks/>
          </p:cNvCxnSpPr>
          <p:nvPr userDrawn="1"/>
        </p:nvCxnSpPr>
        <p:spPr bwMode="auto">
          <a:xfrm>
            <a:off x="2438400" y="1786405"/>
            <a:ext cx="0" cy="310896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descr="Vertical column divider">
            <a:extLst>
              <a:ext uri="{FF2B5EF4-FFF2-40B4-BE49-F238E27FC236}">
                <a16:creationId xmlns:a16="http://schemas.microsoft.com/office/drawing/2014/main" id="{7E570D7C-A12E-C9BE-4FB3-6A177346FA0D}"/>
              </a:ext>
            </a:extLst>
          </p:cNvPr>
          <p:cNvCxnSpPr>
            <a:cxnSpLocks/>
          </p:cNvCxnSpPr>
          <p:nvPr userDrawn="1"/>
        </p:nvCxnSpPr>
        <p:spPr bwMode="auto">
          <a:xfrm>
            <a:off x="4876800" y="1786405"/>
            <a:ext cx="0" cy="310896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descr="Vertical column divider">
            <a:extLst>
              <a:ext uri="{FF2B5EF4-FFF2-40B4-BE49-F238E27FC236}">
                <a16:creationId xmlns:a16="http://schemas.microsoft.com/office/drawing/2014/main" id="{72427B01-2C71-353A-E09F-22B4FF9ACDAF}"/>
              </a:ext>
            </a:extLst>
          </p:cNvPr>
          <p:cNvCxnSpPr>
            <a:cxnSpLocks/>
          </p:cNvCxnSpPr>
          <p:nvPr userDrawn="1"/>
        </p:nvCxnSpPr>
        <p:spPr bwMode="auto">
          <a:xfrm>
            <a:off x="9753600" y="1786405"/>
            <a:ext cx="0" cy="310896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pic>
        <p:nvPicPr>
          <p:cNvPr id="16" name="Picture 4">
            <a:extLst>
              <a:ext uri="{FF2B5EF4-FFF2-40B4-BE49-F238E27FC236}">
                <a16:creationId xmlns:a16="http://schemas.microsoft.com/office/drawing/2014/main" id="{D1A53ED2-53CC-56E1-BE05-7F1CD8C66D7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3776" y="1861606"/>
            <a:ext cx="1872056" cy="283002"/>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BanFast logo">
            <a:extLst>
              <a:ext uri="{FF2B5EF4-FFF2-40B4-BE49-F238E27FC236}">
                <a16:creationId xmlns:a16="http://schemas.microsoft.com/office/drawing/2014/main" id="{130CDA63-BF9F-6583-5023-89692A1C186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51474" y="1830610"/>
            <a:ext cx="801859" cy="506511"/>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379C4936-0E39-2B7D-5137-849CA1D59C6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18395" y="1817995"/>
            <a:ext cx="1483610" cy="470055"/>
          </a:xfrm>
          <a:prstGeom prst="rect">
            <a:avLst/>
          </a:prstGeom>
          <a:noFill/>
          <a:extLst>
            <a:ext uri="{909E8E84-426E-40DD-AFC4-6F175D3DCCD1}">
              <a14:hiddenFill xmlns:a14="http://schemas.microsoft.com/office/drawing/2010/main">
                <a:solidFill>
                  <a:srgbClr val="FFFFFF"/>
                </a:solidFill>
              </a14:hiddenFill>
            </a:ext>
          </a:extLst>
        </p:spPr>
      </p:pic>
      <p:cxnSp>
        <p:nvCxnSpPr>
          <p:cNvPr id="5" name="Straight Connector 4" descr="Vertical column divider">
            <a:extLst>
              <a:ext uri="{FF2B5EF4-FFF2-40B4-BE49-F238E27FC236}">
                <a16:creationId xmlns:a16="http://schemas.microsoft.com/office/drawing/2014/main" id="{2B676345-0665-1321-7515-EECB9DF8520F}"/>
              </a:ext>
            </a:extLst>
          </p:cNvPr>
          <p:cNvCxnSpPr>
            <a:cxnSpLocks/>
          </p:cNvCxnSpPr>
          <p:nvPr/>
        </p:nvCxnSpPr>
        <p:spPr bwMode="auto">
          <a:xfrm>
            <a:off x="7315200" y="1786405"/>
            <a:ext cx="0" cy="310896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C30954B0-B485-A399-FC66-96A2B188161F}"/>
              </a:ext>
            </a:extLst>
          </p:cNvPr>
          <p:cNvSpPr txBox="1">
            <a:spLocks/>
          </p:cNvSpPr>
          <p:nvPr/>
        </p:nvSpPr>
        <p:spPr>
          <a:xfrm>
            <a:off x="9956553" y="2591978"/>
            <a:ext cx="2012034" cy="304094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lstStyle>
            <a:lvl1pPr marL="0" marR="0" indent="0" algn="l" defTabSz="1218956" rtl="0" eaLnBrk="1" latinLnBrk="0" hangingPunct="1">
              <a:lnSpc>
                <a:spcPct val="110000"/>
              </a:lnSpc>
              <a:spcBef>
                <a:spcPts val="0"/>
              </a:spcBef>
              <a:spcAft>
                <a:spcPts val="0"/>
              </a:spcAft>
              <a:buClrTx/>
              <a:buSzTx/>
              <a:buFontTx/>
              <a:buNone/>
              <a:tabLst/>
              <a:defRPr sz="1000" b="0" i="0" u="none" strike="noStrike" cap="none" spc="0" baseline="0">
                <a:solidFill>
                  <a:schemeClr val="tx1"/>
                </a:solidFill>
                <a:uFillTx/>
                <a:latin typeface="IBM Plex Sans" panose="020B0503050203000203" pitchFamily="34" charset="0"/>
                <a:ea typeface="+mj-ea"/>
                <a:cs typeface="+mj-cs"/>
                <a:sym typeface="IBM Plex Sans Light"/>
              </a:defRPr>
            </a:lvl1pPr>
            <a:lvl2pPr marL="91422" marR="0" indent="-91422" algn="l" defTabSz="1218956" rtl="0" eaLnBrk="1" latinLnBrk="0" hangingPunct="1">
              <a:lnSpc>
                <a:spcPct val="110000"/>
              </a:lnSpc>
              <a:spcBef>
                <a:spcPts val="0"/>
              </a:spcBef>
              <a:spcAft>
                <a:spcPts val="0"/>
              </a:spcAft>
              <a:buClrTx/>
              <a:buSzPct val="100000"/>
              <a:buFontTx/>
              <a:buChar char="–"/>
              <a:tabLst/>
              <a:defRPr sz="1000" b="0" i="0" u="none" strike="noStrike" cap="none" spc="0" baseline="0">
                <a:solidFill>
                  <a:schemeClr val="tx1"/>
                </a:solidFill>
                <a:uFillTx/>
                <a:latin typeface="IBM Plex Sans" panose="020B0503050203000203" pitchFamily="34" charset="0"/>
                <a:ea typeface="+mj-ea"/>
                <a:cs typeface="+mj-cs"/>
                <a:sym typeface="IBM Plex Sans Light"/>
              </a:defRPr>
            </a:lvl2pPr>
            <a:lvl3pPr marL="182843" marR="0" indent="-91422" algn="l" defTabSz="1218956" rtl="0" eaLnBrk="1" latinLnBrk="0" hangingPunct="1">
              <a:lnSpc>
                <a:spcPct val="110000"/>
              </a:lnSpc>
              <a:spcBef>
                <a:spcPts val="0"/>
              </a:spcBef>
              <a:spcAft>
                <a:spcPts val="0"/>
              </a:spcAft>
              <a:buClrTx/>
              <a:buSzPct val="100000"/>
              <a:buFontTx/>
              <a:buChar char="•"/>
              <a:tabLst/>
              <a:defRPr sz="1000" b="0" i="0" u="none" strike="noStrike" cap="none" spc="0" baseline="0">
                <a:solidFill>
                  <a:schemeClr val="tx1"/>
                </a:solidFill>
                <a:uFillTx/>
                <a:latin typeface="IBM Plex Sans" panose="020B0503050203000203" pitchFamily="34" charset="0"/>
                <a:ea typeface="+mj-ea"/>
                <a:cs typeface="+mj-cs"/>
                <a:sym typeface="IBM Plex Sans Light"/>
              </a:defRPr>
            </a:lvl3pPr>
            <a:lvl4pPr marL="274265" marR="0" indent="-91422" algn="l" defTabSz="1218956" rtl="0" eaLnBrk="1" latinLnBrk="0" hangingPunct="1">
              <a:lnSpc>
                <a:spcPct val="110000"/>
              </a:lnSpc>
              <a:spcBef>
                <a:spcPts val="0"/>
              </a:spcBef>
              <a:spcAft>
                <a:spcPts val="0"/>
              </a:spcAft>
              <a:buClrTx/>
              <a:buSzPct val="100000"/>
              <a:buFontTx/>
              <a:buChar char="–"/>
              <a:tabLst/>
              <a:defRPr sz="1000" b="0" i="0" u="none" strike="noStrike" cap="none" spc="0" baseline="0">
                <a:solidFill>
                  <a:schemeClr val="tx1"/>
                </a:solidFill>
                <a:uFillTx/>
                <a:latin typeface="IBM Plex Sans" panose="020B0503050203000203" pitchFamily="34" charset="0"/>
                <a:ea typeface="+mj-ea"/>
                <a:cs typeface="+mj-cs"/>
                <a:sym typeface="IBM Plex Sans Light"/>
              </a:defRPr>
            </a:lvl4pPr>
            <a:lvl5pPr marL="571386" marR="0" indent="-228554" algn="l" defTabSz="1218956" rtl="0" eaLnBrk="1" latinLnBrk="0" hangingPunct="1">
              <a:lnSpc>
                <a:spcPct val="110000"/>
              </a:lnSpc>
              <a:spcBef>
                <a:spcPts val="0"/>
              </a:spcBef>
              <a:spcAft>
                <a:spcPts val="0"/>
              </a:spcAft>
              <a:buClrTx/>
              <a:buSzPct val="100000"/>
              <a:buFont typeface="IBM Plex Sans" panose="020B0604020202020204" pitchFamily="34" charset="0"/>
              <a:buChar char="•"/>
              <a:tabLst/>
              <a:defRPr sz="1000" b="0" i="0" u="none" strike="noStrike" cap="none" spc="0" baseline="0">
                <a:solidFill>
                  <a:schemeClr val="tx1"/>
                </a:solidFill>
                <a:uFillTx/>
                <a:latin typeface="IBM Plex Sans" panose="020B0503050203000203" pitchFamily="34" charset="0"/>
                <a:ea typeface="+mj-ea"/>
                <a:cs typeface="+mj-cs"/>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r>
              <a:rPr lang="en-US" sz="1400" dirty="0">
                <a:solidFill>
                  <a:srgbClr val="000000"/>
                </a:solidFill>
                <a:latin typeface="+mn-lt"/>
              </a:rPr>
              <a:t>Saved $5.7M by creating a single, unified view of operational IT data with self-service data access, consistent governance, and automated data processing</a:t>
            </a:r>
          </a:p>
        </p:txBody>
      </p:sp>
      <p:pic>
        <p:nvPicPr>
          <p:cNvPr id="8" name="Picture 7" descr="A close-up of a logo&#10;&#10;AI-generated content may be incorrect.">
            <a:extLst>
              <a:ext uri="{FF2B5EF4-FFF2-40B4-BE49-F238E27FC236}">
                <a16:creationId xmlns:a16="http://schemas.microsoft.com/office/drawing/2014/main" id="{60AC0C09-1DC2-AF65-4F06-25F81674D3C3}"/>
              </a:ext>
            </a:extLst>
          </p:cNvPr>
          <p:cNvPicPr>
            <a:picLocks noChangeAspect="1"/>
          </p:cNvPicPr>
          <p:nvPr/>
        </p:nvPicPr>
        <p:blipFill>
          <a:blip r:embed="rId6"/>
          <a:srcRect l="19901" t="30291" r="15686" b="31014"/>
          <a:stretch/>
        </p:blipFill>
        <p:spPr>
          <a:xfrm>
            <a:off x="9956553" y="1818144"/>
            <a:ext cx="1089538" cy="435741"/>
          </a:xfrm>
          <a:prstGeom prst="rect">
            <a:avLst/>
          </a:prstGeom>
        </p:spPr>
      </p:pic>
      <p:sp>
        <p:nvSpPr>
          <p:cNvPr id="15" name="Rectangle 14">
            <a:extLst>
              <a:ext uri="{FF2B5EF4-FFF2-40B4-BE49-F238E27FC236}">
                <a16:creationId xmlns:a16="http://schemas.microsoft.com/office/drawing/2014/main" id="{D84B5D87-9E31-A2C1-084D-9BE0ABE31AB6}"/>
              </a:ext>
            </a:extLst>
          </p:cNvPr>
          <p:cNvSpPr>
            <a:spLocks/>
          </p:cNvSpPr>
          <p:nvPr/>
        </p:nvSpPr>
        <p:spPr bwMode="auto">
          <a:xfrm>
            <a:off x="158096" y="5175636"/>
            <a:ext cx="2148840" cy="822960"/>
          </a:xfrm>
          <a:prstGeom prst="rect">
            <a:avLst/>
          </a:prstGeom>
          <a:solidFill>
            <a:schemeClr val="bg2">
              <a:lumMod val="95000"/>
            </a:schemeClr>
          </a:solidFill>
          <a:ln w="19050">
            <a:solidFill>
              <a:schemeClr val="bg2">
                <a:lumMod val="95000"/>
              </a:schemeClr>
            </a:solid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R="0" lvl="0" algn="l" defTabSz="457109" rtl="0" eaLnBrk="1" fontAlgn="base" latinLnBrk="0" hangingPunct="1">
              <a:lnSpc>
                <a:spcPct val="100000"/>
              </a:lnSpc>
              <a:spcBef>
                <a:spcPts val="1200"/>
              </a:spcBef>
              <a:spcAft>
                <a:spcPct val="0"/>
              </a:spcAft>
              <a:buClrTx/>
              <a:buSzTx/>
              <a:tabLst/>
              <a:defRPr/>
            </a:pPr>
            <a:r>
              <a:rPr lang="en-US" sz="950">
                <a:solidFill>
                  <a:schemeClr val="tx1"/>
                </a:solidFill>
                <a:latin typeface="IBM Plex Sans" panose="020B0503050203000203" pitchFamily="34" charset="0"/>
              </a:rPr>
              <a:t>Real time AI, analytics &amp; operations</a:t>
            </a:r>
          </a:p>
          <a:p>
            <a:pPr marR="0" lvl="0" algn="l" defTabSz="457109" rtl="0" eaLnBrk="1" fontAlgn="base" latinLnBrk="0" hangingPunct="1">
              <a:lnSpc>
                <a:spcPct val="100000"/>
              </a:lnSpc>
              <a:spcBef>
                <a:spcPts val="1200"/>
              </a:spcBef>
              <a:spcAft>
                <a:spcPct val="0"/>
              </a:spcAft>
              <a:buClrTx/>
              <a:buSzTx/>
              <a:tabLst/>
              <a:defRPr/>
            </a:pPr>
            <a:r>
              <a:rPr kumimoji="0" lang="en-US" sz="950" u="none" strike="noStrike" kern="1200" cap="none" spc="0" normalizeH="0" baseline="0" noProof="0">
                <a:ln>
                  <a:noFill/>
                </a:ln>
                <a:solidFill>
                  <a:schemeClr val="tx1"/>
                </a:solidFill>
                <a:effectLst/>
                <a:uLnTx/>
                <a:uFillTx/>
                <a:latin typeface="IBM Plex Sans" panose="020B0503050203000203" pitchFamily="34" charset="0"/>
              </a:rPr>
              <a:t>Cloud modernization</a:t>
            </a:r>
          </a:p>
        </p:txBody>
      </p:sp>
      <p:sp>
        <p:nvSpPr>
          <p:cNvPr id="18" name="Rectangle 17">
            <a:extLst>
              <a:ext uri="{FF2B5EF4-FFF2-40B4-BE49-F238E27FC236}">
                <a16:creationId xmlns:a16="http://schemas.microsoft.com/office/drawing/2014/main" id="{2B97DB9B-E1E1-D1C0-D9D6-22A7B313493C}"/>
              </a:ext>
            </a:extLst>
          </p:cNvPr>
          <p:cNvSpPr>
            <a:spLocks/>
          </p:cNvSpPr>
          <p:nvPr/>
        </p:nvSpPr>
        <p:spPr bwMode="auto">
          <a:xfrm>
            <a:off x="2593407" y="5175635"/>
            <a:ext cx="2148840" cy="822960"/>
          </a:xfrm>
          <a:prstGeom prst="rect">
            <a:avLst/>
          </a:prstGeom>
          <a:solidFill>
            <a:schemeClr val="bg2">
              <a:lumMod val="95000"/>
            </a:schemeClr>
          </a:solidFill>
          <a:ln w="19050">
            <a:solidFill>
              <a:schemeClr val="bg2">
                <a:lumMod val="95000"/>
              </a:schemeClr>
            </a:solid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defTabSz="457109" fontAlgn="base">
              <a:spcBef>
                <a:spcPct val="0"/>
              </a:spcBef>
              <a:spcAft>
                <a:spcPct val="0"/>
              </a:spcAft>
              <a:defRPr/>
            </a:pPr>
            <a:r>
              <a:rPr lang="en-US" sz="950">
                <a:solidFill>
                  <a:schemeClr val="tx1"/>
                </a:solidFill>
                <a:latin typeface="IBM Plex Sans" panose="020B0503050203000203" pitchFamily="34" charset="0"/>
              </a:rPr>
              <a:t>Real time AI, analytics and operations</a:t>
            </a:r>
            <a:endParaRPr kumimoji="0" lang="en-US" sz="950" u="none" strike="noStrike" kern="1200" cap="none" spc="0" normalizeH="0" baseline="0" noProof="0">
              <a:ln>
                <a:noFill/>
              </a:ln>
              <a:solidFill>
                <a:schemeClr val="tx1"/>
              </a:solidFill>
              <a:effectLst/>
              <a:uLnTx/>
              <a:uFillTx/>
              <a:latin typeface="IBM Plex Sans" panose="020B0503050203000203" pitchFamily="34" charset="0"/>
            </a:endParaRPr>
          </a:p>
        </p:txBody>
      </p:sp>
      <p:sp>
        <p:nvSpPr>
          <p:cNvPr id="22" name="Rectangle 21">
            <a:extLst>
              <a:ext uri="{FF2B5EF4-FFF2-40B4-BE49-F238E27FC236}">
                <a16:creationId xmlns:a16="http://schemas.microsoft.com/office/drawing/2014/main" id="{3F8A907A-983E-5971-7634-16B66C8DC710}"/>
              </a:ext>
            </a:extLst>
          </p:cNvPr>
          <p:cNvSpPr>
            <a:spLocks/>
          </p:cNvSpPr>
          <p:nvPr/>
        </p:nvSpPr>
        <p:spPr bwMode="auto">
          <a:xfrm>
            <a:off x="5028718" y="5175634"/>
            <a:ext cx="2148840" cy="822960"/>
          </a:xfrm>
          <a:prstGeom prst="rect">
            <a:avLst/>
          </a:prstGeom>
          <a:solidFill>
            <a:schemeClr val="bg2">
              <a:lumMod val="95000"/>
            </a:schemeClr>
          </a:solidFill>
          <a:ln w="19050">
            <a:solidFill>
              <a:schemeClr val="bg2">
                <a:lumMod val="95000"/>
              </a:schemeClr>
            </a:solid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defTabSz="457109" fontAlgn="base">
              <a:spcBef>
                <a:spcPts val="1200"/>
              </a:spcBef>
              <a:spcAft>
                <a:spcPct val="0"/>
              </a:spcAft>
              <a:defRPr/>
            </a:pPr>
            <a:r>
              <a:rPr lang="en-US" sz="950">
                <a:solidFill>
                  <a:schemeClr val="tx1"/>
                </a:solidFill>
                <a:latin typeface="IBM Plex Sans" panose="020B0503050203000203" pitchFamily="34" charset="0"/>
              </a:rPr>
              <a:t>Real time AI, analytics &amp; operations</a:t>
            </a:r>
          </a:p>
          <a:p>
            <a:pPr defTabSz="457109" fontAlgn="base">
              <a:spcBef>
                <a:spcPts val="1200"/>
              </a:spcBef>
              <a:spcAft>
                <a:spcPct val="0"/>
              </a:spcAft>
              <a:defRPr/>
            </a:pPr>
            <a:r>
              <a:rPr kumimoji="0" lang="en-US" sz="950" u="none" strike="noStrike" kern="1200" cap="none" spc="0" normalizeH="0" baseline="0" noProof="0">
                <a:ln>
                  <a:noFill/>
                </a:ln>
                <a:solidFill>
                  <a:schemeClr val="tx1"/>
                </a:solidFill>
                <a:effectLst/>
                <a:uLnTx/>
                <a:uFillTx/>
                <a:latin typeface="IBM Plex Sans" panose="020B0503050203000203" pitchFamily="34" charset="0"/>
              </a:rPr>
              <a:t>Privacy</a:t>
            </a:r>
            <a:r>
              <a:rPr lang="en-US" sz="950">
                <a:solidFill>
                  <a:schemeClr val="tx1"/>
                </a:solidFill>
                <a:latin typeface="IBM Plex Sans" panose="020B0503050203000203" pitchFamily="34" charset="0"/>
              </a:rPr>
              <a:t>, Governance &amp; Compliance</a:t>
            </a:r>
            <a:endParaRPr kumimoji="0" lang="en-US" sz="950" u="none" strike="noStrike" kern="1200" cap="none" spc="0" normalizeH="0" baseline="0" noProof="0">
              <a:ln>
                <a:noFill/>
              </a:ln>
              <a:solidFill>
                <a:schemeClr val="tx1"/>
              </a:solidFill>
              <a:effectLst/>
              <a:uLnTx/>
              <a:uFillTx/>
              <a:latin typeface="IBM Plex Sans" panose="020B0503050203000203" pitchFamily="34" charset="0"/>
            </a:endParaRPr>
          </a:p>
        </p:txBody>
      </p:sp>
      <p:sp>
        <p:nvSpPr>
          <p:cNvPr id="23" name="Rectangle 22">
            <a:extLst>
              <a:ext uri="{FF2B5EF4-FFF2-40B4-BE49-F238E27FC236}">
                <a16:creationId xmlns:a16="http://schemas.microsoft.com/office/drawing/2014/main" id="{E31BB47E-C158-C810-08A4-C29C7C8E3A16}"/>
              </a:ext>
            </a:extLst>
          </p:cNvPr>
          <p:cNvSpPr>
            <a:spLocks/>
          </p:cNvSpPr>
          <p:nvPr/>
        </p:nvSpPr>
        <p:spPr bwMode="auto">
          <a:xfrm>
            <a:off x="7464029" y="5175634"/>
            <a:ext cx="2148840" cy="822960"/>
          </a:xfrm>
          <a:prstGeom prst="rect">
            <a:avLst/>
          </a:prstGeom>
          <a:solidFill>
            <a:schemeClr val="bg2">
              <a:lumMod val="95000"/>
            </a:schemeClr>
          </a:solidFill>
          <a:ln w="19050">
            <a:solidFill>
              <a:schemeClr val="bg2">
                <a:lumMod val="95000"/>
              </a:schemeClr>
            </a:solid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defTabSz="457109" fontAlgn="base">
              <a:spcBef>
                <a:spcPts val="1200"/>
              </a:spcBef>
              <a:spcAft>
                <a:spcPct val="0"/>
              </a:spcAft>
              <a:defRPr/>
            </a:pPr>
            <a:r>
              <a:rPr lang="en-US" sz="950">
                <a:solidFill>
                  <a:schemeClr val="tx1"/>
                </a:solidFill>
                <a:latin typeface="IBM Plex Sans" panose="020B0503050203000203" pitchFamily="34" charset="0"/>
              </a:rPr>
              <a:t>Real time AI, analytics &amp; operations</a:t>
            </a:r>
          </a:p>
        </p:txBody>
      </p:sp>
      <p:sp>
        <p:nvSpPr>
          <p:cNvPr id="24" name="Rectangle 23">
            <a:extLst>
              <a:ext uri="{FF2B5EF4-FFF2-40B4-BE49-F238E27FC236}">
                <a16:creationId xmlns:a16="http://schemas.microsoft.com/office/drawing/2014/main" id="{F2A53AF6-9289-D9C0-D25D-33557D1C3B17}"/>
              </a:ext>
            </a:extLst>
          </p:cNvPr>
          <p:cNvSpPr>
            <a:spLocks/>
          </p:cNvSpPr>
          <p:nvPr/>
        </p:nvSpPr>
        <p:spPr bwMode="auto">
          <a:xfrm>
            <a:off x="9899340" y="5175634"/>
            <a:ext cx="2148840" cy="822960"/>
          </a:xfrm>
          <a:prstGeom prst="rect">
            <a:avLst/>
          </a:prstGeom>
          <a:solidFill>
            <a:schemeClr val="bg2">
              <a:lumMod val="95000"/>
            </a:schemeClr>
          </a:solidFill>
          <a:ln w="19050">
            <a:solidFill>
              <a:schemeClr val="bg2">
                <a:lumMod val="95000"/>
              </a:schemeClr>
            </a:solidFill>
            <a:prstDash val="solid"/>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defTabSz="457109" fontAlgn="base">
              <a:spcBef>
                <a:spcPts val="1200"/>
              </a:spcBef>
              <a:spcAft>
                <a:spcPct val="0"/>
              </a:spcAft>
              <a:defRPr/>
            </a:pPr>
            <a:r>
              <a:rPr kumimoji="0" lang="en-US" sz="950" u="none" strike="noStrike" kern="1200" cap="none" spc="0" normalizeH="0" baseline="0" noProof="0">
                <a:ln>
                  <a:noFill/>
                </a:ln>
                <a:solidFill>
                  <a:schemeClr val="tx1"/>
                </a:solidFill>
                <a:effectLst/>
                <a:uLnTx/>
                <a:uFillTx/>
                <a:latin typeface="IBM Plex Sans" panose="020B0503050203000203" pitchFamily="34" charset="0"/>
              </a:rPr>
              <a:t>Real time AI, analytics &amp; operations</a:t>
            </a:r>
          </a:p>
          <a:p>
            <a:pPr defTabSz="457109" fontAlgn="base">
              <a:spcBef>
                <a:spcPts val="1200"/>
              </a:spcBef>
              <a:spcAft>
                <a:spcPct val="0"/>
              </a:spcAft>
              <a:defRPr/>
            </a:pPr>
            <a:r>
              <a:rPr lang="en-US" sz="950">
                <a:solidFill>
                  <a:schemeClr val="tx1"/>
                </a:solidFill>
                <a:latin typeface="IBM Plex Sans" panose="020B0503050203000203" pitchFamily="34" charset="0"/>
              </a:rPr>
              <a:t>Cloud modernization</a:t>
            </a:r>
          </a:p>
          <a:p>
            <a:pPr defTabSz="457109" fontAlgn="base">
              <a:spcBef>
                <a:spcPts val="1200"/>
              </a:spcBef>
              <a:spcAft>
                <a:spcPct val="0"/>
              </a:spcAft>
              <a:defRPr/>
            </a:pPr>
            <a:r>
              <a:rPr kumimoji="0" lang="en-US" sz="950" u="none" strike="noStrike" kern="1200" cap="none" spc="0" normalizeH="0" baseline="0" noProof="0">
                <a:ln>
                  <a:noFill/>
                </a:ln>
                <a:solidFill>
                  <a:schemeClr val="tx1"/>
                </a:solidFill>
                <a:effectLst/>
                <a:uLnTx/>
                <a:uFillTx/>
                <a:latin typeface="IBM Plex Sans" panose="020B0503050203000203" pitchFamily="34" charset="0"/>
              </a:rPr>
              <a:t>Bridging the skills gap</a:t>
            </a:r>
          </a:p>
        </p:txBody>
      </p:sp>
      <p:sp>
        <p:nvSpPr>
          <p:cNvPr id="4" name="Title 1">
            <a:extLst>
              <a:ext uri="{FF2B5EF4-FFF2-40B4-BE49-F238E27FC236}">
                <a16:creationId xmlns:a16="http://schemas.microsoft.com/office/drawing/2014/main" id="{C17E1EA0-1E56-8959-8F6E-511D19831C57}"/>
              </a:ext>
            </a:extLst>
          </p:cNvPr>
          <p:cNvSpPr txBox="1">
            <a:spLocks/>
          </p:cNvSpPr>
          <p:nvPr/>
        </p:nvSpPr>
        <p:spPr>
          <a:xfrm>
            <a:off x="178948" y="4932414"/>
            <a:ext cx="777772" cy="22689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1218956" rtl="0" eaLnBrk="1" latinLnBrk="0" hangingPunct="1">
              <a:lnSpc>
                <a:spcPct val="110000"/>
              </a:lnSpc>
              <a:spcBef>
                <a:spcPts val="0"/>
              </a:spcBef>
              <a:spcAft>
                <a:spcPts val="0"/>
              </a:spcAft>
              <a:buClrTx/>
              <a:buSzTx/>
              <a:buFontTx/>
              <a:buNone/>
              <a:tabLst/>
              <a:defRPr sz="1400" b="0" i="0" u="none" strike="noStrike" cap="none" spc="0" baseline="0">
                <a:solidFill>
                  <a:schemeClr val="tx2"/>
                </a:solidFill>
                <a:uFillTx/>
                <a:latin typeface="+mj-lt"/>
                <a:ea typeface="+mj-ea"/>
                <a:cs typeface="+mj-cs"/>
                <a:sym typeface="IBM Plex Sans Light"/>
              </a:defRPr>
            </a:lvl1pPr>
            <a:lvl2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8"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7"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4"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93"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r>
              <a:rPr lang="en-US" sz="1200" kern="0">
                <a:solidFill>
                  <a:schemeClr val="accent1"/>
                </a:solidFill>
              </a:rPr>
              <a:t>Use cases</a:t>
            </a:r>
            <a:endParaRPr lang="en-US" sz="1200" kern="0">
              <a:solidFill>
                <a:srgbClr val="000000"/>
              </a:solidFill>
            </a:endParaRPr>
          </a:p>
        </p:txBody>
      </p:sp>
      <p:sp>
        <p:nvSpPr>
          <p:cNvPr id="10" name="Title 1">
            <a:extLst>
              <a:ext uri="{FF2B5EF4-FFF2-40B4-BE49-F238E27FC236}">
                <a16:creationId xmlns:a16="http://schemas.microsoft.com/office/drawing/2014/main" id="{6B16AEE0-D6B0-2E3F-A6AE-FC118DDF78B2}"/>
              </a:ext>
            </a:extLst>
          </p:cNvPr>
          <p:cNvSpPr txBox="1">
            <a:spLocks/>
          </p:cNvSpPr>
          <p:nvPr/>
        </p:nvSpPr>
        <p:spPr>
          <a:xfrm>
            <a:off x="301584" y="267111"/>
            <a:ext cx="12026479" cy="59363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457200" bIns="0" anchor="t"/>
          <a:lstStyle>
            <a:lvl1pPr marL="0" marR="0" indent="0" algn="l" defTabSz="1218956" rtl="0" eaLnBrk="1" latinLnBrk="0" hangingPunct="1">
              <a:lnSpc>
                <a:spcPct val="100000"/>
              </a:lnSpc>
              <a:spcBef>
                <a:spcPts val="0"/>
              </a:spcBef>
              <a:spcAft>
                <a:spcPts val="0"/>
              </a:spcAft>
              <a:buClrTx/>
              <a:buSzTx/>
              <a:buFontTx/>
              <a:buNone/>
              <a:tabLst/>
              <a:defRPr sz="3199" b="0" i="0" u="none" strike="noStrike" cap="none" spc="0" baseline="0">
                <a:solidFill>
                  <a:schemeClr val="tx2"/>
                </a:solidFill>
                <a:uFillTx/>
                <a:latin typeface="+mj-lt"/>
                <a:ea typeface="+mj-ea"/>
                <a:cs typeface="+mj-cs"/>
                <a:sym typeface="IBM Plex Sans Light"/>
              </a:defRPr>
            </a:lvl1pPr>
            <a:lvl2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8"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7"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4"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93"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a:lstStyle>
          <a:p>
            <a:r>
              <a:rPr lang="en-US" sz="2400" kern="0"/>
              <a:t>IBM is helping clients drive their data strategy for AI</a:t>
            </a:r>
            <a:endParaRPr lang="en-US" sz="2400" kern="0">
              <a:solidFill>
                <a:srgbClr val="000000"/>
              </a:solidFill>
            </a:endParaRPr>
          </a:p>
        </p:txBody>
      </p:sp>
      <p:pic>
        <p:nvPicPr>
          <p:cNvPr id="3" name="Picture 2" descr="United States Tennis Association logo">
            <a:extLst>
              <a:ext uri="{FF2B5EF4-FFF2-40B4-BE49-F238E27FC236}">
                <a16:creationId xmlns:a16="http://schemas.microsoft.com/office/drawing/2014/main" id="{D65BA8A7-0DC8-449F-D1B8-19961563B5B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431575" y="1696080"/>
            <a:ext cx="1091650" cy="6140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48933958"/>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C527E7-B16D-B305-3EE6-BCBA7EE0D6C2}"/>
            </a:ext>
          </a:extLst>
        </p:cNvPr>
        <p:cNvGrpSpPr/>
        <p:nvPr/>
      </p:nvGrpSpPr>
      <p:grpSpPr>
        <a:xfrm>
          <a:off x="0" y="0"/>
          <a:ext cx="0" cy="0"/>
          <a:chOff x="0" y="0"/>
          <a:chExt cx="0" cy="0"/>
        </a:xfrm>
      </p:grpSpPr>
      <p:sp>
        <p:nvSpPr>
          <p:cNvPr id="12" name="Rectangle 11">
            <a:extLst>
              <a:ext uri="{FF2B5EF4-FFF2-40B4-BE49-F238E27FC236}">
                <a16:creationId xmlns:a16="http://schemas.microsoft.com/office/drawing/2014/main" id="{6969077C-A1AB-D231-8867-19994B736DB8}"/>
              </a:ext>
            </a:extLst>
          </p:cNvPr>
          <p:cNvSpPr>
            <a:spLocks/>
          </p:cNvSpPr>
          <p:nvPr/>
        </p:nvSpPr>
        <p:spPr bwMode="auto">
          <a:xfrm>
            <a:off x="6082629" y="0"/>
            <a:ext cx="6109371" cy="6857107"/>
          </a:xfrm>
          <a:prstGeom prst="rect">
            <a:avLst/>
          </a:prstGeom>
          <a:solidFill>
            <a:srgbClr val="151515"/>
          </a:solidFill>
          <a:ln w="19050" cap="flat" cmpd="sng" algn="ctr">
            <a:noFill/>
            <a:prstDash val="solid"/>
            <a:headEnd type="none" w="med" len="med"/>
            <a:tailEnd type="none" w="med" len="med"/>
          </a:ln>
          <a:effectLst/>
        </p:spPr>
        <p:txBody>
          <a:bodyPr vert="horz" wrap="square" lIns="45714" tIns="45714" rIns="45714" bIns="45714" numCol="1" rtlCol="0" anchor="t" anchorCtr="0" compatLnSpc="1">
            <a:prstTxWarp prst="textNoShape">
              <a:avLst/>
            </a:prstTxWarp>
          </a:bodyPr>
          <a:lstStyle/>
          <a:p>
            <a:pPr marL="0" marR="0" lvl="0" indent="0" defTabSz="457109" eaLnBrk="1" fontAlgn="base" latinLnBrk="0" hangingPunct="1">
              <a:lnSpc>
                <a:spcPct val="100000"/>
              </a:lnSpc>
              <a:spcBef>
                <a:spcPct val="0"/>
              </a:spcBef>
              <a:spcAft>
                <a:spcPct val="0"/>
              </a:spcAft>
              <a:buClrTx/>
              <a:buSzTx/>
              <a:buFontTx/>
              <a:buNone/>
              <a:tabLst/>
              <a:defRPr/>
            </a:pPr>
            <a:endParaRPr kumimoji="0" lang="en-US" sz="700" b="0" i="0" u="none" strike="noStrike" kern="0" cap="none" spc="0" normalizeH="0" baseline="0" noProof="0">
              <a:ln>
                <a:noFill/>
              </a:ln>
              <a:solidFill>
                <a:srgbClr val="FFFFFF"/>
              </a:solidFill>
              <a:effectLst/>
              <a:uLnTx/>
              <a:uFillTx/>
              <a:latin typeface="IBM Plex Sans Light"/>
              <a:ea typeface="+mn-ea"/>
              <a:cs typeface="+mn-cs"/>
            </a:endParaRPr>
          </a:p>
        </p:txBody>
      </p:sp>
      <p:sp>
        <p:nvSpPr>
          <p:cNvPr id="318" name="TextBox 317">
            <a:extLst>
              <a:ext uri="{FF2B5EF4-FFF2-40B4-BE49-F238E27FC236}">
                <a16:creationId xmlns:a16="http://schemas.microsoft.com/office/drawing/2014/main" id="{D6937ECF-7454-0183-1807-08752A4F9311}"/>
              </a:ext>
            </a:extLst>
          </p:cNvPr>
          <p:cNvSpPr txBox="1"/>
          <p:nvPr/>
        </p:nvSpPr>
        <p:spPr>
          <a:xfrm>
            <a:off x="11280543" y="6477279"/>
            <a:ext cx="0" cy="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rtlCol="0">
            <a:noAutofit/>
          </a:bodyPr>
          <a:lstStyle/>
          <a:p>
            <a:pPr marL="444287" indent="-446571" defTabSz="2437424">
              <a:spcBef>
                <a:spcPts val="2898"/>
              </a:spcBef>
              <a:buSzPct val="100000"/>
              <a:buFontTx/>
              <a:buChar char="–"/>
            </a:pPr>
            <a:endParaRPr lang="en-US" sz="3598" kern="0">
              <a:solidFill>
                <a:srgbClr val="000000"/>
              </a:solidFill>
              <a:latin typeface="Aptos" panose="02110004020202020204"/>
              <a:sym typeface="IBM Plex Sans Light"/>
            </a:endParaRPr>
          </a:p>
        </p:txBody>
      </p:sp>
      <p:sp>
        <p:nvSpPr>
          <p:cNvPr id="352" name="Slide Number Placeholder 4">
            <a:extLst>
              <a:ext uri="{FF2B5EF4-FFF2-40B4-BE49-F238E27FC236}">
                <a16:creationId xmlns:a16="http://schemas.microsoft.com/office/drawing/2014/main" id="{19681934-956A-6826-13CF-D1180888AEBD}"/>
              </a:ext>
            </a:extLst>
          </p:cNvPr>
          <p:cNvSpPr txBox="1">
            <a:spLocks/>
          </p:cNvSpPr>
          <p:nvPr/>
        </p:nvSpPr>
        <p:spPr>
          <a:xfrm rot="10800000" flipH="1" flipV="1">
            <a:off x="11517361" y="6531574"/>
            <a:ext cx="130207" cy="92333"/>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nchor="ctr">
            <a:spAutoFit/>
          </a:bodyPr>
          <a:lstStyle>
            <a:defPPr marL="0" marR="0" indent="0" algn="l" defTabSz="1828823" rtl="0" fontAlgn="auto" latinLnBrk="1" hangingPunct="0">
              <a:lnSpc>
                <a:spcPct val="100000"/>
              </a:lnSpc>
              <a:spcBef>
                <a:spcPts val="0"/>
              </a:spcBef>
              <a:spcAft>
                <a:spcPts val="0"/>
              </a:spcAft>
              <a:buClrTx/>
              <a:buSzTx/>
              <a:buFontTx/>
              <a:buNone/>
              <a:tabLst/>
              <a:defRPr kumimoji="0" lang="en-US" sz="3600" b="0" i="0" u="none" strike="noStrike" cap="none" spc="0" normalizeH="0" baseline="0">
                <a:ln>
                  <a:noFill/>
                </a:ln>
                <a:solidFill>
                  <a:srgbClr val="000000"/>
                </a:solidFill>
                <a:effectLst/>
                <a:uFillTx/>
              </a:defRPr>
            </a:defPPr>
            <a:lvl1pPr marL="0" marR="0" indent="0" algn="r" defTabSz="1371982" rtl="0" eaLnBrk="1" fontAlgn="auto" latinLnBrk="0" hangingPunct="0">
              <a:lnSpc>
                <a:spcPct val="100000"/>
              </a:lnSpc>
              <a:spcBef>
                <a:spcPts val="0"/>
              </a:spcBef>
              <a:spcAft>
                <a:spcPts val="0"/>
              </a:spcAft>
              <a:buClrTx/>
              <a:buSzTx/>
              <a:buFontTx/>
              <a:buNone/>
              <a:tabLst/>
              <a:defRPr kumimoji="0" sz="1200" b="0" i="0" u="none" strike="noStrike" kern="1200" cap="none" spc="0" normalizeH="0" baseline="0">
                <a:ln>
                  <a:noFill/>
                </a:ln>
                <a:solidFill>
                  <a:srgbClr val="000000"/>
                </a:solidFill>
                <a:effectLst/>
                <a:uFillTx/>
                <a:latin typeface="+mn-lt"/>
                <a:ea typeface="+mn-ea"/>
                <a:cs typeface="+mn-cs"/>
                <a:sym typeface="IBM Plex Sans Light"/>
              </a:defRPr>
            </a:lvl1pPr>
            <a:lvl2pPr marL="0" marR="0" indent="685990" algn="l" defTabSz="1371982" rtl="0" eaLnBrk="1" fontAlgn="auto" latinLnBrk="0" hangingPunct="0">
              <a:lnSpc>
                <a:spcPct val="100000"/>
              </a:lnSpc>
              <a:spcBef>
                <a:spcPts val="0"/>
              </a:spcBef>
              <a:spcAft>
                <a:spcPts val="0"/>
              </a:spcAft>
              <a:buClrTx/>
              <a:buSzTx/>
              <a:buFontTx/>
              <a:buNone/>
              <a:tabLst/>
              <a:defRPr kumimoji="0" sz="2600" b="0" i="0" u="none" strike="noStrike" kern="1200" cap="none" spc="0" normalizeH="0" baseline="0">
                <a:ln>
                  <a:noFill/>
                </a:ln>
                <a:solidFill>
                  <a:srgbClr val="FFFFFF"/>
                </a:solidFill>
                <a:effectLst/>
                <a:uFillTx/>
                <a:latin typeface="+mn-lt"/>
                <a:ea typeface="+mn-ea"/>
                <a:cs typeface="+mn-cs"/>
                <a:sym typeface="IBM Plex Sans Light"/>
              </a:defRPr>
            </a:lvl2pPr>
            <a:lvl3pPr marL="0" marR="0" indent="1371982" algn="l" defTabSz="1371982" rtl="0" eaLnBrk="1" fontAlgn="auto" latinLnBrk="0" hangingPunct="0">
              <a:lnSpc>
                <a:spcPct val="100000"/>
              </a:lnSpc>
              <a:spcBef>
                <a:spcPts val="0"/>
              </a:spcBef>
              <a:spcAft>
                <a:spcPts val="0"/>
              </a:spcAft>
              <a:buClrTx/>
              <a:buSzTx/>
              <a:buFontTx/>
              <a:buNone/>
              <a:tabLst/>
              <a:defRPr kumimoji="0" sz="2600" b="0" i="0" u="none" strike="noStrike" kern="1200" cap="none" spc="0" normalizeH="0" baseline="0">
                <a:ln>
                  <a:noFill/>
                </a:ln>
                <a:solidFill>
                  <a:srgbClr val="FFFFFF"/>
                </a:solidFill>
                <a:effectLst/>
                <a:uFillTx/>
                <a:latin typeface="+mn-lt"/>
                <a:ea typeface="+mn-ea"/>
                <a:cs typeface="+mn-cs"/>
                <a:sym typeface="IBM Plex Sans Light"/>
              </a:defRPr>
            </a:lvl3pPr>
            <a:lvl4pPr marL="0" marR="0" indent="2057975" algn="l" defTabSz="1371982" rtl="0" eaLnBrk="1" fontAlgn="auto" latinLnBrk="0" hangingPunct="0">
              <a:lnSpc>
                <a:spcPct val="100000"/>
              </a:lnSpc>
              <a:spcBef>
                <a:spcPts val="0"/>
              </a:spcBef>
              <a:spcAft>
                <a:spcPts val="0"/>
              </a:spcAft>
              <a:buClrTx/>
              <a:buSzTx/>
              <a:buFontTx/>
              <a:buNone/>
              <a:tabLst/>
              <a:defRPr kumimoji="0" sz="2600" b="0" i="0" u="none" strike="noStrike" kern="1200" cap="none" spc="0" normalizeH="0" baseline="0">
                <a:ln>
                  <a:noFill/>
                </a:ln>
                <a:solidFill>
                  <a:srgbClr val="FFFFFF"/>
                </a:solidFill>
                <a:effectLst/>
                <a:uFillTx/>
                <a:latin typeface="+mn-lt"/>
                <a:ea typeface="+mn-ea"/>
                <a:cs typeface="+mn-cs"/>
                <a:sym typeface="IBM Plex Sans Light"/>
              </a:defRPr>
            </a:lvl4pPr>
            <a:lvl5pPr marL="0" marR="0" indent="2743965" algn="l" defTabSz="1371982" rtl="0" eaLnBrk="1" fontAlgn="auto" latinLnBrk="0" hangingPunct="0">
              <a:lnSpc>
                <a:spcPct val="100000"/>
              </a:lnSpc>
              <a:spcBef>
                <a:spcPts val="0"/>
              </a:spcBef>
              <a:spcAft>
                <a:spcPts val="0"/>
              </a:spcAft>
              <a:buClrTx/>
              <a:buSzTx/>
              <a:buFontTx/>
              <a:buNone/>
              <a:tabLst/>
              <a:defRPr kumimoji="0" sz="2600" b="0" i="0" u="none" strike="noStrike" kern="1200" cap="none" spc="0" normalizeH="0" baseline="0">
                <a:ln>
                  <a:noFill/>
                </a:ln>
                <a:solidFill>
                  <a:srgbClr val="FFFFFF"/>
                </a:solidFill>
                <a:effectLst/>
                <a:uFillTx/>
                <a:latin typeface="+mn-lt"/>
                <a:ea typeface="+mn-ea"/>
                <a:cs typeface="+mn-cs"/>
                <a:sym typeface="IBM Plex Sans Light"/>
              </a:defRPr>
            </a:lvl5pPr>
            <a:lvl6pPr marL="0" marR="0" indent="3429955" algn="l" defTabSz="1371982" rtl="0" eaLnBrk="1" fontAlgn="auto" latinLnBrk="0" hangingPunct="0">
              <a:lnSpc>
                <a:spcPct val="100000"/>
              </a:lnSpc>
              <a:spcBef>
                <a:spcPts val="0"/>
              </a:spcBef>
              <a:spcAft>
                <a:spcPts val="0"/>
              </a:spcAft>
              <a:buClrTx/>
              <a:buSzTx/>
              <a:buFontTx/>
              <a:buNone/>
              <a:tabLst/>
              <a:defRPr kumimoji="0" sz="2600" b="0" i="0" u="none" strike="noStrike" kern="1200" cap="none" spc="0" normalizeH="0" baseline="0">
                <a:ln>
                  <a:noFill/>
                </a:ln>
                <a:solidFill>
                  <a:srgbClr val="FFFFFF"/>
                </a:solidFill>
                <a:effectLst/>
                <a:uFillTx/>
                <a:latin typeface="+mn-lt"/>
                <a:ea typeface="+mn-ea"/>
                <a:cs typeface="+mn-cs"/>
                <a:sym typeface="IBM Plex Sans Light"/>
              </a:defRPr>
            </a:lvl6pPr>
            <a:lvl7pPr marL="0" marR="0" indent="4115947" algn="l" defTabSz="1371982" rtl="0" eaLnBrk="1" fontAlgn="auto" latinLnBrk="0" hangingPunct="0">
              <a:lnSpc>
                <a:spcPct val="100000"/>
              </a:lnSpc>
              <a:spcBef>
                <a:spcPts val="0"/>
              </a:spcBef>
              <a:spcAft>
                <a:spcPts val="0"/>
              </a:spcAft>
              <a:buClrTx/>
              <a:buSzTx/>
              <a:buFontTx/>
              <a:buNone/>
              <a:tabLst/>
              <a:defRPr kumimoji="0" sz="2600" b="0" i="0" u="none" strike="noStrike" kern="1200" cap="none" spc="0" normalizeH="0" baseline="0">
                <a:ln>
                  <a:noFill/>
                </a:ln>
                <a:solidFill>
                  <a:srgbClr val="FFFFFF"/>
                </a:solidFill>
                <a:effectLst/>
                <a:uFillTx/>
                <a:latin typeface="+mn-lt"/>
                <a:ea typeface="+mn-ea"/>
                <a:cs typeface="+mn-cs"/>
                <a:sym typeface="IBM Plex Sans Light"/>
              </a:defRPr>
            </a:lvl7pPr>
            <a:lvl8pPr marL="0" marR="0" indent="4801940" algn="l" defTabSz="1371982" rtl="0" eaLnBrk="1" fontAlgn="auto" latinLnBrk="0" hangingPunct="0">
              <a:lnSpc>
                <a:spcPct val="100000"/>
              </a:lnSpc>
              <a:spcBef>
                <a:spcPts val="0"/>
              </a:spcBef>
              <a:spcAft>
                <a:spcPts val="0"/>
              </a:spcAft>
              <a:buClrTx/>
              <a:buSzTx/>
              <a:buFontTx/>
              <a:buNone/>
              <a:tabLst/>
              <a:defRPr kumimoji="0" sz="2600" b="0" i="0" u="none" strike="noStrike" kern="1200" cap="none" spc="0" normalizeH="0" baseline="0">
                <a:ln>
                  <a:noFill/>
                </a:ln>
                <a:solidFill>
                  <a:srgbClr val="FFFFFF"/>
                </a:solidFill>
                <a:effectLst/>
                <a:uFillTx/>
                <a:latin typeface="+mn-lt"/>
                <a:ea typeface="+mn-ea"/>
                <a:cs typeface="+mn-cs"/>
                <a:sym typeface="IBM Plex Sans Light"/>
              </a:defRPr>
            </a:lvl8pPr>
            <a:lvl9pPr marL="0" marR="0" indent="5487930" algn="l" defTabSz="1371982" rtl="0" eaLnBrk="1" fontAlgn="auto" latinLnBrk="0" hangingPunct="0">
              <a:lnSpc>
                <a:spcPct val="100000"/>
              </a:lnSpc>
              <a:spcBef>
                <a:spcPts val="0"/>
              </a:spcBef>
              <a:spcAft>
                <a:spcPts val="0"/>
              </a:spcAft>
              <a:buClrTx/>
              <a:buSzTx/>
              <a:buFontTx/>
              <a:buNone/>
              <a:tabLst/>
              <a:defRPr kumimoji="0" sz="2600" b="0" i="0" u="none" strike="noStrike" kern="1200" cap="none" spc="0" normalizeH="0" baseline="0">
                <a:ln>
                  <a:noFill/>
                </a:ln>
                <a:solidFill>
                  <a:srgbClr val="FFFFFF"/>
                </a:solidFill>
                <a:effectLst/>
                <a:uFillTx/>
                <a:latin typeface="+mn-lt"/>
                <a:ea typeface="+mn-ea"/>
                <a:cs typeface="+mn-cs"/>
                <a:sym typeface="IBM Plex Sans Light"/>
              </a:defRPr>
            </a:lvl9pPr>
          </a:lstStyle>
          <a:p>
            <a:pPr defTabSz="685580">
              <a:defRPr/>
            </a:pPr>
            <a:fld id="{86CB4B4D-7CA3-9044-876B-883B54F8677D}" type="slidenum">
              <a:rPr lang="en-CA" sz="600">
                <a:latin typeface="IBM Plex Sans Light"/>
              </a:rPr>
              <a:pPr defTabSz="685580">
                <a:defRPr/>
              </a:pPr>
              <a:t>7</a:t>
            </a:fld>
            <a:endParaRPr lang="en-CA" sz="600">
              <a:latin typeface="IBM Plex Sans Light"/>
            </a:endParaRPr>
          </a:p>
        </p:txBody>
      </p:sp>
      <p:sp>
        <p:nvSpPr>
          <p:cNvPr id="15" name="TextBox 14">
            <a:extLst>
              <a:ext uri="{FF2B5EF4-FFF2-40B4-BE49-F238E27FC236}">
                <a16:creationId xmlns:a16="http://schemas.microsoft.com/office/drawing/2014/main" id="{E4A58509-9E46-9FF4-4376-A1C52CA2F0A3}"/>
              </a:ext>
            </a:extLst>
          </p:cNvPr>
          <p:cNvSpPr txBox="1"/>
          <p:nvPr/>
        </p:nvSpPr>
        <p:spPr>
          <a:xfrm>
            <a:off x="-1309529" y="1994727"/>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222144" indent="-223285" defTabSz="1218712">
              <a:spcBef>
                <a:spcPts val="1450"/>
              </a:spcBef>
              <a:buSzPct val="100000"/>
              <a:buFontTx/>
              <a:buChar char="–"/>
            </a:pPr>
            <a:endParaRPr lang="en-US" sz="900" kern="0">
              <a:solidFill>
                <a:srgbClr val="000000"/>
              </a:solidFill>
              <a:latin typeface="Aptos" panose="02110004020202020204"/>
              <a:sym typeface="IBM Plex Sans Light"/>
            </a:endParaRPr>
          </a:p>
        </p:txBody>
      </p:sp>
      <p:sp>
        <p:nvSpPr>
          <p:cNvPr id="2" name="Footer Placeholder 9">
            <a:extLst>
              <a:ext uri="{FF2B5EF4-FFF2-40B4-BE49-F238E27FC236}">
                <a16:creationId xmlns:a16="http://schemas.microsoft.com/office/drawing/2014/main" id="{41FBF342-CE8D-F816-3361-C45EE2794782}"/>
              </a:ext>
            </a:extLst>
          </p:cNvPr>
          <p:cNvSpPr>
            <a:spLocks noGrp="1"/>
          </p:cNvSpPr>
          <p:nvPr>
            <p:ph type="ftr" sz="quarter" idx="18"/>
          </p:nvPr>
        </p:nvSpPr>
        <p:spPr>
          <a:xfrm>
            <a:off x="287963" y="6407612"/>
            <a:ext cx="2477765" cy="190475"/>
          </a:xfrm>
          <a:prstGeom prst="rect">
            <a:avLst/>
          </a:prstGeom>
        </p:spPr>
        <p:txBody>
          <a:bodyPr vert="horz" lIns="0" tIns="0" rIns="0" bIns="0" rtlCol="0" anchor="b"/>
          <a:lstStyle>
            <a:defPPr>
              <a:defRPr lang="en-US"/>
            </a:defPPr>
            <a:lvl1pPr marL="0" algn="l" defTabSz="914507" rtl="0" eaLnBrk="1" latinLnBrk="0" hangingPunct="1">
              <a:defRPr sz="800" b="0" i="0" kern="1200">
                <a:solidFill>
                  <a:schemeClr val="tx1"/>
                </a:solidFill>
                <a:latin typeface="IBM Plex Sans" panose="020B0503050203000203" pitchFamily="34" charset="0"/>
                <a:ea typeface="+mn-ea"/>
                <a:cs typeface="+mn-cs"/>
              </a:defRPr>
            </a:lvl1pPr>
            <a:lvl2pPr marL="457253" algn="l" defTabSz="914507" rtl="0" eaLnBrk="1" latinLnBrk="0" hangingPunct="1">
              <a:defRPr sz="1800" kern="1200">
                <a:solidFill>
                  <a:schemeClr val="tx1"/>
                </a:solidFill>
                <a:latin typeface="+mn-lt"/>
                <a:ea typeface="+mn-ea"/>
                <a:cs typeface="+mn-cs"/>
              </a:defRPr>
            </a:lvl2pPr>
            <a:lvl3pPr marL="914507" algn="l" defTabSz="914507" rtl="0" eaLnBrk="1" latinLnBrk="0" hangingPunct="1">
              <a:defRPr sz="1800" kern="1200">
                <a:solidFill>
                  <a:schemeClr val="tx1"/>
                </a:solidFill>
                <a:latin typeface="+mn-lt"/>
                <a:ea typeface="+mn-ea"/>
                <a:cs typeface="+mn-cs"/>
              </a:defRPr>
            </a:lvl3pPr>
            <a:lvl4pPr marL="1371760" algn="l" defTabSz="914507" rtl="0" eaLnBrk="1" latinLnBrk="0" hangingPunct="1">
              <a:defRPr sz="1800" kern="1200">
                <a:solidFill>
                  <a:schemeClr val="tx1"/>
                </a:solidFill>
                <a:latin typeface="+mn-lt"/>
                <a:ea typeface="+mn-ea"/>
                <a:cs typeface="+mn-cs"/>
              </a:defRPr>
            </a:lvl4pPr>
            <a:lvl5pPr marL="1829014" algn="l" defTabSz="914507" rtl="0" eaLnBrk="1" latinLnBrk="0" hangingPunct="1">
              <a:defRPr sz="1800" kern="1200">
                <a:solidFill>
                  <a:schemeClr val="tx1"/>
                </a:solidFill>
                <a:latin typeface="+mn-lt"/>
                <a:ea typeface="+mn-ea"/>
                <a:cs typeface="+mn-cs"/>
              </a:defRPr>
            </a:lvl5pPr>
            <a:lvl6pPr marL="2286266" algn="l" defTabSz="914507" rtl="0" eaLnBrk="1" latinLnBrk="0" hangingPunct="1">
              <a:defRPr sz="1800" kern="1200">
                <a:solidFill>
                  <a:schemeClr val="tx1"/>
                </a:solidFill>
                <a:latin typeface="+mn-lt"/>
                <a:ea typeface="+mn-ea"/>
                <a:cs typeface="+mn-cs"/>
              </a:defRPr>
            </a:lvl6pPr>
            <a:lvl7pPr marL="2743520" algn="l" defTabSz="914507" rtl="0" eaLnBrk="1" latinLnBrk="0" hangingPunct="1">
              <a:defRPr sz="1800" kern="1200">
                <a:solidFill>
                  <a:schemeClr val="tx1"/>
                </a:solidFill>
                <a:latin typeface="+mn-lt"/>
                <a:ea typeface="+mn-ea"/>
                <a:cs typeface="+mn-cs"/>
              </a:defRPr>
            </a:lvl7pPr>
            <a:lvl8pPr marL="3200773" algn="l" defTabSz="914507" rtl="0" eaLnBrk="1" latinLnBrk="0" hangingPunct="1">
              <a:defRPr sz="1800" kern="1200">
                <a:solidFill>
                  <a:schemeClr val="tx1"/>
                </a:solidFill>
                <a:latin typeface="+mn-lt"/>
                <a:ea typeface="+mn-ea"/>
                <a:cs typeface="+mn-cs"/>
              </a:defRPr>
            </a:lvl8pPr>
            <a:lvl9pPr marL="3658027" algn="l" defTabSz="914507" rtl="0" eaLnBrk="1" latinLnBrk="0" hangingPunct="1">
              <a:defRPr sz="1800" kern="1200">
                <a:solidFill>
                  <a:schemeClr val="tx1"/>
                </a:solidFill>
                <a:latin typeface="+mn-lt"/>
                <a:ea typeface="+mn-ea"/>
                <a:cs typeface="+mn-cs"/>
              </a:defRPr>
            </a:lvl9pPr>
          </a:lstStyle>
          <a:p>
            <a:endParaRPr lang="en-US">
              <a:solidFill>
                <a:prstClr val="black"/>
              </a:solidFill>
            </a:endParaRPr>
          </a:p>
        </p:txBody>
      </p:sp>
      <p:pic>
        <p:nvPicPr>
          <p:cNvPr id="6" name="Graphic 5">
            <a:extLst>
              <a:ext uri="{FF2B5EF4-FFF2-40B4-BE49-F238E27FC236}">
                <a16:creationId xmlns:a16="http://schemas.microsoft.com/office/drawing/2014/main" id="{679ABE5D-5699-4C05-F289-724F04CF4AD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93098" y="1451743"/>
            <a:ext cx="365664" cy="365664"/>
          </a:xfrm>
          <a:prstGeom prst="rect">
            <a:avLst/>
          </a:prstGeom>
        </p:spPr>
      </p:pic>
      <p:pic>
        <p:nvPicPr>
          <p:cNvPr id="8" name="Graphic 7">
            <a:extLst>
              <a:ext uri="{FF2B5EF4-FFF2-40B4-BE49-F238E27FC236}">
                <a16:creationId xmlns:a16="http://schemas.microsoft.com/office/drawing/2014/main" id="{613F18B7-D792-866F-2134-88743CFC358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93098" y="2423607"/>
            <a:ext cx="365664" cy="365664"/>
          </a:xfrm>
          <a:prstGeom prst="rect">
            <a:avLst/>
          </a:prstGeom>
        </p:spPr>
      </p:pic>
      <p:pic>
        <p:nvPicPr>
          <p:cNvPr id="9" name="Graphic 8">
            <a:extLst>
              <a:ext uri="{FF2B5EF4-FFF2-40B4-BE49-F238E27FC236}">
                <a16:creationId xmlns:a16="http://schemas.microsoft.com/office/drawing/2014/main" id="{121CE3B2-5D23-8FE1-8DEA-DE8A23BD4A1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89760" y="5382256"/>
            <a:ext cx="365664" cy="365664"/>
          </a:xfrm>
          <a:prstGeom prst="rect">
            <a:avLst/>
          </a:prstGeom>
        </p:spPr>
      </p:pic>
      <p:pic>
        <p:nvPicPr>
          <p:cNvPr id="10" name="Graphic 9">
            <a:extLst>
              <a:ext uri="{FF2B5EF4-FFF2-40B4-BE49-F238E27FC236}">
                <a16:creationId xmlns:a16="http://schemas.microsoft.com/office/drawing/2014/main" id="{57286F7D-7162-8C65-948A-40E30A94C68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87963" y="4384447"/>
            <a:ext cx="365664" cy="365664"/>
          </a:xfrm>
          <a:prstGeom prst="rect">
            <a:avLst/>
          </a:prstGeom>
        </p:spPr>
      </p:pic>
      <p:pic>
        <p:nvPicPr>
          <p:cNvPr id="11" name="Graphic 10">
            <a:extLst>
              <a:ext uri="{FF2B5EF4-FFF2-40B4-BE49-F238E27FC236}">
                <a16:creationId xmlns:a16="http://schemas.microsoft.com/office/drawing/2014/main" id="{205D134F-FFB1-3217-E60F-0BD61CBF283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87963" y="3416497"/>
            <a:ext cx="365664" cy="365664"/>
          </a:xfrm>
          <a:prstGeom prst="rect">
            <a:avLst/>
          </a:prstGeom>
        </p:spPr>
      </p:pic>
      <p:pic>
        <p:nvPicPr>
          <p:cNvPr id="4" name="watsonxdata_Open Data Lakehouse">
            <a:hlinkClick r:id="" action="ppaction://media"/>
            <a:extLst>
              <a:ext uri="{FF2B5EF4-FFF2-40B4-BE49-F238E27FC236}">
                <a16:creationId xmlns:a16="http://schemas.microsoft.com/office/drawing/2014/main" id="{283A2B7E-DA8F-5FF6-AB93-30B43AA6F610}"/>
              </a:ext>
            </a:extLst>
          </p:cNvPr>
          <p:cNvPicPr>
            <a:picLocks noChangeAspect="1"/>
          </p:cNvPicPr>
          <p:nvPr>
            <a:videoFile r:link="rId2"/>
            <p:extLst>
              <p:ext uri="{DAA4B4D4-6D71-4841-9C94-3DE7FCFB9230}">
                <p14:media xmlns:p14="http://schemas.microsoft.com/office/powerpoint/2010/main" r:embed="rId1"/>
              </p:ext>
            </p:extLst>
          </p:nvPr>
        </p:nvPicPr>
        <p:blipFill>
          <a:blip r:embed="rId15"/>
          <a:stretch>
            <a:fillRect/>
          </a:stretch>
        </p:blipFill>
        <p:spPr>
          <a:xfrm>
            <a:off x="6096001" y="1434188"/>
            <a:ext cx="6096000" cy="3436521"/>
          </a:xfrm>
          <a:prstGeom prst="rect">
            <a:avLst/>
          </a:prstGeom>
        </p:spPr>
      </p:pic>
      <p:sp>
        <p:nvSpPr>
          <p:cNvPr id="20" name="Title 1">
            <a:extLst>
              <a:ext uri="{FF2B5EF4-FFF2-40B4-BE49-F238E27FC236}">
                <a16:creationId xmlns:a16="http://schemas.microsoft.com/office/drawing/2014/main" id="{AFDDD91C-0DD3-6A0F-8799-73492648BA0F}"/>
              </a:ext>
            </a:extLst>
          </p:cNvPr>
          <p:cNvSpPr txBox="1">
            <a:spLocks/>
          </p:cNvSpPr>
          <p:nvPr/>
        </p:nvSpPr>
        <p:spPr>
          <a:xfrm>
            <a:off x="301586" y="267111"/>
            <a:ext cx="5595632" cy="593639"/>
          </a:xfrm>
          <a:prstGeom prst="rect">
            <a:avLst/>
          </a:prstGeom>
          <a:noFill/>
          <a:ln>
            <a:noFill/>
          </a:ln>
        </p:spPr>
        <p:txBody>
          <a:bodyPr vert="horz" wrap="square" lIns="0" tIns="0" rIns="0" bIns="0" anchor="t" anchorCtr="0" compatLnSpc="1">
            <a:noAutofit/>
          </a:bodyPr>
          <a:lstStyle>
            <a:lvl1pPr marL="0" marR="0" lvl="0" indent="0" algn="l" defTabSz="1218958" rtl="0" fontAlgn="auto" hangingPunct="1">
              <a:lnSpc>
                <a:spcPct val="110000"/>
              </a:lnSpc>
              <a:spcBef>
                <a:spcPts val="0"/>
              </a:spcBef>
              <a:spcAft>
                <a:spcPts val="0"/>
              </a:spcAft>
              <a:buNone/>
              <a:tabLst/>
              <a:defRPr lang="en-US" sz="1800" b="0" i="0" u="none" strike="noStrike" kern="0" cap="none" spc="0" baseline="0">
                <a:solidFill>
                  <a:srgbClr val="000000"/>
                </a:solidFill>
                <a:uFillTx/>
                <a:latin typeface="IBM Plex Sans Light"/>
              </a:defRPr>
            </a:lvl1pPr>
          </a:lstStyle>
          <a:p>
            <a:r>
              <a:rPr lang="en-US" sz="2400"/>
              <a:t>IBM </a:t>
            </a:r>
            <a:r>
              <a:rPr lang="en-US" sz="2400" b="1"/>
              <a:t>watson</a:t>
            </a:r>
            <a:r>
              <a:rPr lang="en-US" sz="2400" b="1" kern="1200">
                <a:solidFill>
                  <a:srgbClr val="0D62FE"/>
                </a:solidFill>
                <a:ea typeface="+mn-ea"/>
                <a:cs typeface="+mn-cs"/>
              </a:rPr>
              <a:t>x</a:t>
            </a:r>
            <a:r>
              <a:rPr lang="en-US" sz="2400" b="1"/>
              <a:t>.data </a:t>
            </a:r>
            <a:endParaRPr lang="en-US" sz="2400"/>
          </a:p>
          <a:p>
            <a:r>
              <a:rPr lang="en-US" sz="2400"/>
              <a:t>The hybrid, open data lakehouse</a:t>
            </a:r>
          </a:p>
        </p:txBody>
      </p:sp>
      <p:sp>
        <p:nvSpPr>
          <p:cNvPr id="22" name="Text Placeholder 24">
            <a:extLst>
              <a:ext uri="{FF2B5EF4-FFF2-40B4-BE49-F238E27FC236}">
                <a16:creationId xmlns:a16="http://schemas.microsoft.com/office/drawing/2014/main" id="{2A104EA7-3A91-D9A3-917F-3119EE3742A7}"/>
              </a:ext>
            </a:extLst>
          </p:cNvPr>
          <p:cNvSpPr txBox="1">
            <a:spLocks/>
          </p:cNvSpPr>
          <p:nvPr/>
        </p:nvSpPr>
        <p:spPr>
          <a:xfrm>
            <a:off x="737450" y="1388514"/>
            <a:ext cx="4487695" cy="792469"/>
          </a:xfrm>
          <a:prstGeom prst="rect">
            <a:avLst/>
          </a:prstGeom>
        </p:spPr>
        <p:txBody>
          <a:bodyPr/>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914290">
              <a:buClrTx/>
              <a:defRPr/>
            </a:pPr>
            <a:r>
              <a:rPr lang="en-US" sz="1600">
                <a:solidFill>
                  <a:srgbClr val="0E61FF"/>
                </a:solidFill>
                <a:sym typeface=""/>
              </a:rPr>
              <a:t>Open by design</a:t>
            </a:r>
          </a:p>
          <a:p>
            <a:pPr defTabSz="1218956">
              <a:spcBef>
                <a:spcPts val="300"/>
              </a:spcBef>
              <a:buClr>
                <a:srgbClr val="000000"/>
              </a:buClr>
            </a:pPr>
            <a:r>
              <a:rPr lang="en-US" sz="1400" kern="0">
                <a:solidFill>
                  <a:srgbClr val="000000"/>
                </a:solidFill>
                <a:latin typeface="IBM Plex Sans Light"/>
                <a:sym typeface=""/>
              </a:rPr>
              <a:t>Open platform that values flexibility and choice above all else – no vendor lock-in</a:t>
            </a:r>
          </a:p>
        </p:txBody>
      </p:sp>
      <p:sp>
        <p:nvSpPr>
          <p:cNvPr id="7" name="Text Placeholder 24">
            <a:extLst>
              <a:ext uri="{FF2B5EF4-FFF2-40B4-BE49-F238E27FC236}">
                <a16:creationId xmlns:a16="http://schemas.microsoft.com/office/drawing/2014/main" id="{F18FDA91-96D2-40E6-F91D-353946594252}"/>
              </a:ext>
            </a:extLst>
          </p:cNvPr>
          <p:cNvSpPr txBox="1">
            <a:spLocks/>
          </p:cNvSpPr>
          <p:nvPr/>
        </p:nvSpPr>
        <p:spPr>
          <a:xfrm>
            <a:off x="737450" y="2375005"/>
            <a:ext cx="4667309" cy="792469"/>
          </a:xfrm>
          <a:prstGeom prst="rect">
            <a:avLst/>
          </a:prstGeom>
        </p:spPr>
        <p:txBody>
          <a:bodyPr/>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914290">
              <a:buClrTx/>
              <a:defRPr/>
            </a:pPr>
            <a:r>
              <a:rPr lang="en-US" sz="1600">
                <a:solidFill>
                  <a:srgbClr val="0E61FF"/>
                </a:solidFill>
                <a:sym typeface=""/>
              </a:rPr>
              <a:t>Hybrid &amp; multicloud</a:t>
            </a:r>
          </a:p>
          <a:p>
            <a:pPr defTabSz="914290">
              <a:defRPr/>
            </a:pPr>
            <a:r>
              <a:rPr lang="en-US" sz="1400">
                <a:solidFill>
                  <a:srgbClr val="000000"/>
                </a:solidFill>
                <a:latin typeface="IBM Plex Sans Light" panose="020B0403050203000203" pitchFamily="34" charset="0"/>
              </a:rPr>
              <a:t>Highly portable workloads &amp; entitlements that span public cloud, on-premises and multi-cloud</a:t>
            </a:r>
          </a:p>
          <a:p>
            <a:pPr defTabSz="914290">
              <a:defRPr/>
            </a:pPr>
            <a:endParaRPr lang="en-US" sz="1400">
              <a:solidFill>
                <a:srgbClr val="000000"/>
              </a:solidFill>
              <a:latin typeface="IBM Plex Sans Light" panose="020B0403050203000203" pitchFamily="34" charset="0"/>
            </a:endParaRPr>
          </a:p>
        </p:txBody>
      </p:sp>
      <p:sp>
        <p:nvSpPr>
          <p:cNvPr id="13" name="Text Placeholder 24">
            <a:extLst>
              <a:ext uri="{FF2B5EF4-FFF2-40B4-BE49-F238E27FC236}">
                <a16:creationId xmlns:a16="http://schemas.microsoft.com/office/drawing/2014/main" id="{64A23E59-9144-C1A1-EDAD-2F08F81E363F}"/>
              </a:ext>
            </a:extLst>
          </p:cNvPr>
          <p:cNvSpPr txBox="1">
            <a:spLocks/>
          </p:cNvSpPr>
          <p:nvPr/>
        </p:nvSpPr>
        <p:spPr>
          <a:xfrm>
            <a:off x="732315" y="3361496"/>
            <a:ext cx="4492830" cy="792469"/>
          </a:xfrm>
          <a:prstGeom prst="rect">
            <a:avLst/>
          </a:prstGeom>
        </p:spPr>
        <p:txBody>
          <a:bodyPr/>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914290">
              <a:buClrTx/>
              <a:defRPr/>
            </a:pPr>
            <a:r>
              <a:rPr lang="en-US" sz="1600">
                <a:solidFill>
                  <a:srgbClr val="0E61FF"/>
                </a:solidFill>
                <a:sym typeface=""/>
              </a:rPr>
              <a:t>Optimal price-performance</a:t>
            </a:r>
          </a:p>
          <a:p>
            <a:pPr marR="0" lvl="0" indent="0" defTabSz="914290" fontAlgn="auto">
              <a:lnSpc>
                <a:spcPct val="100000"/>
              </a:lnSpc>
              <a:spcBef>
                <a:spcPts val="0"/>
              </a:spcBef>
              <a:spcAft>
                <a:spcPts val="0"/>
              </a:spcAft>
              <a:buClrTx/>
              <a:buSzTx/>
              <a:buFontTx/>
              <a:buNone/>
              <a:tabLst/>
              <a:defRPr/>
            </a:pPr>
            <a:r>
              <a:rPr lang="en-US" sz="1400">
                <a:solidFill>
                  <a:srgbClr val="000000"/>
                </a:solidFill>
                <a:latin typeface="IBM Plex Sans Light" panose="020B0403050203000203" pitchFamily="34" charset="0"/>
              </a:rPr>
              <a:t>Fit-for-purpose query engines providing choice of tooling &amp; financial governance</a:t>
            </a:r>
          </a:p>
        </p:txBody>
      </p:sp>
      <p:sp>
        <p:nvSpPr>
          <p:cNvPr id="14" name="Text Placeholder 24">
            <a:extLst>
              <a:ext uri="{FF2B5EF4-FFF2-40B4-BE49-F238E27FC236}">
                <a16:creationId xmlns:a16="http://schemas.microsoft.com/office/drawing/2014/main" id="{D0513755-CD4A-E0BE-682B-273F887D7D4C}"/>
              </a:ext>
            </a:extLst>
          </p:cNvPr>
          <p:cNvSpPr txBox="1">
            <a:spLocks/>
          </p:cNvSpPr>
          <p:nvPr/>
        </p:nvSpPr>
        <p:spPr>
          <a:xfrm>
            <a:off x="718943" y="4347987"/>
            <a:ext cx="4667309" cy="792469"/>
          </a:xfrm>
          <a:prstGeom prst="rect">
            <a:avLst/>
          </a:prstGeom>
        </p:spPr>
        <p:txBody>
          <a:bodyPr/>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914290">
              <a:buClrTx/>
              <a:defRPr/>
            </a:pPr>
            <a:r>
              <a:rPr lang="en-US" sz="1600">
                <a:solidFill>
                  <a:srgbClr val="0E61FF"/>
                </a:solidFill>
                <a:sym typeface=""/>
              </a:rPr>
              <a:t>Integrated data security &amp; governance</a:t>
            </a:r>
          </a:p>
          <a:p>
            <a:pPr defTabSz="914290">
              <a:defRPr/>
            </a:pPr>
            <a:r>
              <a:rPr lang="en-US" sz="1400">
                <a:solidFill>
                  <a:srgbClr val="000000"/>
                </a:solidFill>
                <a:latin typeface="IBM Plex Sans Light" panose="020B0403050203000203" pitchFamily="34" charset="0"/>
              </a:rPr>
              <a:t>Easily integrate, secure, and govern data across the entire estate</a:t>
            </a:r>
          </a:p>
        </p:txBody>
      </p:sp>
      <p:sp>
        <p:nvSpPr>
          <p:cNvPr id="16" name="Text Placeholder 24">
            <a:extLst>
              <a:ext uri="{FF2B5EF4-FFF2-40B4-BE49-F238E27FC236}">
                <a16:creationId xmlns:a16="http://schemas.microsoft.com/office/drawing/2014/main" id="{DC628363-FB20-2785-2431-E63146E76868}"/>
              </a:ext>
            </a:extLst>
          </p:cNvPr>
          <p:cNvSpPr txBox="1">
            <a:spLocks/>
          </p:cNvSpPr>
          <p:nvPr/>
        </p:nvSpPr>
        <p:spPr>
          <a:xfrm>
            <a:off x="718942" y="5334477"/>
            <a:ext cx="4355311" cy="792469"/>
          </a:xfrm>
          <a:prstGeom prst="rect">
            <a:avLst/>
          </a:prstGeom>
        </p:spPr>
        <p:txBody>
          <a:bodyPr/>
          <a:lstStyle>
            <a:lvl1pPr marL="0" marR="0" indent="0" algn="l" defTabSz="2438400" rtl="0" eaLnBrk="1" latinLnBrk="0" hangingPunct="1">
              <a:lnSpc>
                <a:spcPct val="100000"/>
              </a:lnSpc>
              <a:spcBef>
                <a:spcPts val="0"/>
              </a:spcBef>
              <a:spcAft>
                <a:spcPts val="0"/>
              </a:spcAft>
              <a:buClr>
                <a:schemeClr val="tx1"/>
              </a:buClr>
              <a:buSzTx/>
              <a:buFont typeface="Arial" panose="020B0604020202020204" pitchFamily="34" charset="0"/>
              <a:buNone/>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3276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6588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986400" marR="0" indent="-327600" algn="l" defTabSz="2438400" rtl="0" eaLnBrk="1" latinLnBrk="0" hangingPunct="1">
              <a:lnSpc>
                <a:spcPct val="100000"/>
              </a:lnSpc>
              <a:spcBef>
                <a:spcPts val="0"/>
              </a:spcBef>
              <a:spcAft>
                <a:spcPts val="0"/>
              </a:spcAft>
              <a:buClr>
                <a:schemeClr val="tx1"/>
              </a:buClr>
              <a:buSzPct val="100000"/>
              <a:buFont typeface="Arial" panose="020B0604020202020204" pitchFamily="34" charset="0"/>
              <a:buChar char="•"/>
              <a:tabLst/>
              <a:defRPr sz="36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685800" marR="0" indent="0" algn="l" defTabSz="2438400" rtl="0" eaLnBrk="1" latinLnBrk="0" hangingPunct="1">
              <a:lnSpc>
                <a:spcPct val="110000"/>
              </a:lnSpc>
              <a:spcBef>
                <a:spcPts val="2900"/>
              </a:spcBef>
              <a:spcAft>
                <a:spcPts val="0"/>
              </a:spcAft>
              <a:buClrTx/>
              <a:buSzPct val="100000"/>
              <a:buFont typeface="Arial" panose="020B0604020202020204" pitchFamily="34" charset="0"/>
              <a:buNone/>
              <a:tabLst/>
              <a:defRPr sz="3600" b="0" i="0" u="none" strike="noStrike" cap="none" spc="0" baseline="0">
                <a:solidFill>
                  <a:srgbClr val="000000"/>
                </a:solidFill>
                <a:uFillTx/>
                <a:latin typeface="+mj-lt"/>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defTabSz="914290">
              <a:buClrTx/>
              <a:defRPr/>
            </a:pPr>
            <a:r>
              <a:rPr lang="en-US" sz="1600">
                <a:solidFill>
                  <a:srgbClr val="0E61FF"/>
                </a:solidFill>
                <a:sym typeface=""/>
              </a:rPr>
              <a:t>AI-ready</a:t>
            </a:r>
          </a:p>
          <a:p>
            <a:pPr marR="0" lvl="0" indent="0" defTabSz="914290" fontAlgn="auto">
              <a:lnSpc>
                <a:spcPct val="100000"/>
              </a:lnSpc>
              <a:spcBef>
                <a:spcPts val="0"/>
              </a:spcBef>
              <a:spcAft>
                <a:spcPts val="0"/>
              </a:spcAft>
              <a:buClrTx/>
              <a:buSzTx/>
              <a:buFontTx/>
              <a:buNone/>
              <a:tabLst/>
              <a:defRPr/>
            </a:pPr>
            <a:r>
              <a:rPr lang="en-US" sz="1400">
                <a:solidFill>
                  <a:srgbClr val="000000"/>
                </a:solidFill>
                <a:latin typeface="IBM Plex Sans Light" panose="020B0403050203000203" pitchFamily="34" charset="0"/>
              </a:rPr>
              <a:t>Combine curated structured and unstructured data to build new AI apps and services</a:t>
            </a:r>
          </a:p>
        </p:txBody>
      </p:sp>
    </p:spTree>
    <p:extLst>
      <p:ext uri="{BB962C8B-B14F-4D97-AF65-F5344CB8AC3E}">
        <p14:creationId xmlns:p14="http://schemas.microsoft.com/office/powerpoint/2010/main" val="24358323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9766"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7" repeatCount="indefinite"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25D2AC-4B14-B201-B007-46192E94A8C6}"/>
            </a:ext>
          </a:extLst>
        </p:cNvPr>
        <p:cNvGrpSpPr/>
        <p:nvPr/>
      </p:nvGrpSpPr>
      <p:grpSpPr>
        <a:xfrm>
          <a:off x="0" y="0"/>
          <a:ext cx="0" cy="0"/>
          <a:chOff x="0" y="0"/>
          <a:chExt cx="0" cy="0"/>
        </a:xfrm>
      </p:grpSpPr>
      <p:cxnSp>
        <p:nvCxnSpPr>
          <p:cNvPr id="16" name="Straight Connector 15" descr="Vertical column divider">
            <a:extLst>
              <a:ext uri="{FF2B5EF4-FFF2-40B4-BE49-F238E27FC236}">
                <a16:creationId xmlns:a16="http://schemas.microsoft.com/office/drawing/2014/main" id="{9EB05DCD-14D7-F8DE-DC3F-0256FE3D88B7}"/>
              </a:ext>
              <a:ext uri="{C183D7F6-B498-43B3-948B-1728B52AA6E4}">
                <adec:decorative xmlns:adec="http://schemas.microsoft.com/office/drawing/2017/decorative" val="0"/>
              </a:ext>
            </a:extLst>
          </p:cNvPr>
          <p:cNvCxnSpPr>
            <a:cxnSpLocks/>
          </p:cNvCxnSpPr>
          <p:nvPr/>
        </p:nvCxnSpPr>
        <p:spPr bwMode="auto">
          <a:xfrm>
            <a:off x="3440748" y="231213"/>
            <a:ext cx="0" cy="5715049"/>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 name="Slide Number Placeholder 1">
            <a:extLst>
              <a:ext uri="{FF2B5EF4-FFF2-40B4-BE49-F238E27FC236}">
                <a16:creationId xmlns:a16="http://schemas.microsoft.com/office/drawing/2014/main" id="{DB51A5F7-C7EE-2D65-04B5-D2EEFA721B6B}"/>
              </a:ext>
            </a:extLst>
          </p:cNvPr>
          <p:cNvSpPr>
            <a:spLocks noGrp="1"/>
          </p:cNvSpPr>
          <p:nvPr>
            <p:ph type="sldNum" sz="quarter" idx="4"/>
          </p:nvPr>
        </p:nvSpPr>
        <p:spPr>
          <a:xfrm>
            <a:off x="11769264" y="6469419"/>
            <a:ext cx="135436" cy="123111"/>
          </a:xfrm>
          <a:prstGeom prst="rect">
            <a:avLst/>
          </a:prstGeom>
          <a:ln w="12700">
            <a:miter lim="400000"/>
          </a:ln>
        </p:spPr>
        <p:txBody>
          <a:bodyPr wrap="none" lIns="0" tIns="0" rIns="0" bIns="0" anchor="ctr" anchorCtr="0">
            <a:spAutoFit/>
          </a:bodyPr>
          <a:lstStyle>
            <a:defPPr>
              <a:defRPr lang="en-US"/>
            </a:defPPr>
            <a:lvl1pPr marL="0" algn="r" defTabSz="914400" rtl="0" eaLnBrk="1" latinLnBrk="0" hangingPunct="1">
              <a:defRPr sz="800" b="0" i="0" kern="1200">
                <a:solidFill>
                  <a:schemeClr val="tx1"/>
                </a:solidFill>
                <a:latin typeface="IBM Plex Sans Light" panose="020B0403050203000203" pitchFamily="34" charset="0"/>
                <a:ea typeface="+mn-ea"/>
                <a:cs typeface="+mn-cs"/>
                <a:sym typeface="IBM Plex San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507"/>
            <a:fld id="{86CB4B4D-7CA3-9044-876B-883B54F8677D}" type="slidenum">
              <a:rPr lang="en-US" smtClean="0"/>
              <a:pPr defTabSz="914507"/>
              <a:t>8</a:t>
            </a:fld>
            <a:endParaRPr lang="en-US">
              <a:solidFill>
                <a:srgbClr val="000000"/>
              </a:solidFill>
            </a:endParaRPr>
          </a:p>
        </p:txBody>
      </p:sp>
      <p:sp>
        <p:nvSpPr>
          <p:cNvPr id="41" name="Title 1">
            <a:extLst>
              <a:ext uri="{FF2B5EF4-FFF2-40B4-BE49-F238E27FC236}">
                <a16:creationId xmlns:a16="http://schemas.microsoft.com/office/drawing/2014/main" id="{27F50694-BA92-907D-BD56-250B01551A73}"/>
              </a:ext>
            </a:extLst>
          </p:cNvPr>
          <p:cNvSpPr txBox="1">
            <a:spLocks/>
          </p:cNvSpPr>
          <p:nvPr/>
        </p:nvSpPr>
        <p:spPr>
          <a:xfrm>
            <a:off x="8063968" y="469516"/>
            <a:ext cx="2474590" cy="123421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defTabSz="609356">
              <a:buSzPct val="100000"/>
            </a:pPr>
            <a:r>
              <a:rPr lang="en-US" sz="2400" b="1">
                <a:solidFill>
                  <a:srgbClr val="000000"/>
                </a:solidFill>
                <a:latin typeface="IBM Plex Sans Light"/>
                <a:ea typeface="+mn-ea"/>
                <a:cs typeface="+mn-cs"/>
              </a:rPr>
              <a:t>Built with:</a:t>
            </a:r>
          </a:p>
        </p:txBody>
      </p:sp>
      <p:sp>
        <p:nvSpPr>
          <p:cNvPr id="42" name="Title 1">
            <a:extLst>
              <a:ext uri="{FF2B5EF4-FFF2-40B4-BE49-F238E27FC236}">
                <a16:creationId xmlns:a16="http://schemas.microsoft.com/office/drawing/2014/main" id="{6875A138-951E-617A-266E-0619D19CE032}"/>
              </a:ext>
            </a:extLst>
          </p:cNvPr>
          <p:cNvSpPr txBox="1">
            <a:spLocks/>
          </p:cNvSpPr>
          <p:nvPr/>
        </p:nvSpPr>
        <p:spPr>
          <a:xfrm>
            <a:off x="3728711" y="274071"/>
            <a:ext cx="3604163" cy="209543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t"/>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2"/>
                </a:solidFill>
                <a:uFillTx/>
                <a:latin typeface="+mj-lt"/>
                <a:ea typeface="+mj-ea"/>
                <a:cs typeface="+mj-cs"/>
                <a:sym typeface="IBM Plex Sans Light"/>
              </a:defRPr>
            </a:lvl1pPr>
            <a:lvl2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2pPr>
            <a:lvl3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3pPr>
            <a:lvl4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4pPr>
            <a:lvl5pPr marL="0" marR="0" indent="0"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5pPr>
            <a:lvl6pPr marL="0" marR="0" indent="362568"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6pPr>
            <a:lvl7pPr marL="0" marR="0" indent="725139"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7pPr>
            <a:lvl8pPr marL="0" marR="0" indent="108770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8pPr>
            <a:lvl9pPr marL="0" marR="0" indent="1450276" algn="l" defTabSz="2438400" rtl="0" eaLnBrk="1" latinLnBrk="0" hangingPunct="1">
              <a:lnSpc>
                <a:spcPct val="90000"/>
              </a:lnSpc>
              <a:spcBef>
                <a:spcPts val="0"/>
              </a:spcBef>
              <a:spcAft>
                <a:spcPts val="0"/>
              </a:spcAft>
              <a:buClrTx/>
              <a:buSzTx/>
              <a:buFontTx/>
              <a:buNone/>
              <a:tabLst/>
              <a:defRPr sz="6400" b="0" i="0" u="none" strike="noStrike" cap="none" spc="0" baseline="0">
                <a:solidFill>
                  <a:srgbClr val="000000"/>
                </a:solidFill>
                <a:uFillTx/>
                <a:latin typeface="+mj-lt"/>
                <a:ea typeface="+mj-ea"/>
                <a:cs typeface="+mj-cs"/>
                <a:sym typeface="IBM Plex Sans Light"/>
              </a:defRPr>
            </a:lvl9pPr>
          </a:lstStyle>
          <a:p>
            <a:pPr defTabSz="1218956">
              <a:lnSpc>
                <a:spcPct val="90000"/>
              </a:lnSpc>
            </a:pPr>
            <a:r>
              <a:rPr lang="en-US" sz="8398" kern="0">
                <a:solidFill>
                  <a:srgbClr val="0F62FE"/>
                </a:solidFill>
                <a:latin typeface="IBM Plex Sans Light"/>
              </a:rPr>
              <a:t>40+ </a:t>
            </a:r>
          </a:p>
          <a:p>
            <a:pPr defTabSz="1218956">
              <a:lnSpc>
                <a:spcPct val="90000"/>
              </a:lnSpc>
            </a:pPr>
            <a:r>
              <a:rPr lang="en-US" sz="3399" kern="0">
                <a:solidFill>
                  <a:srgbClr val="0F62FE"/>
                </a:solidFill>
                <a:latin typeface="IBM Plex Sans Light"/>
              </a:rPr>
              <a:t>open-source </a:t>
            </a:r>
            <a:br>
              <a:rPr lang="en-US" sz="3399" kern="0">
                <a:solidFill>
                  <a:srgbClr val="000000"/>
                </a:solidFill>
                <a:latin typeface="IBM Plex Sans Light"/>
              </a:rPr>
            </a:br>
            <a:r>
              <a:rPr lang="en-US" sz="3399" kern="0">
                <a:solidFill>
                  <a:srgbClr val="0F62FE"/>
                </a:solidFill>
                <a:latin typeface="IBM Plex Sans Light"/>
              </a:rPr>
              <a:t>contributions </a:t>
            </a:r>
          </a:p>
        </p:txBody>
      </p:sp>
      <p:cxnSp>
        <p:nvCxnSpPr>
          <p:cNvPr id="43" name="Straight Connector 42">
            <a:extLst>
              <a:ext uri="{FF2B5EF4-FFF2-40B4-BE49-F238E27FC236}">
                <a16:creationId xmlns:a16="http://schemas.microsoft.com/office/drawing/2014/main" id="{C075DED4-65C2-2CB8-2C72-FA2B4961C517}"/>
              </a:ext>
            </a:extLst>
          </p:cNvPr>
          <p:cNvCxnSpPr>
            <a:cxnSpLocks/>
          </p:cNvCxnSpPr>
          <p:nvPr/>
        </p:nvCxnSpPr>
        <p:spPr bwMode="auto">
          <a:xfrm>
            <a:off x="7640777" y="231213"/>
            <a:ext cx="0" cy="5800763"/>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pic>
        <p:nvPicPr>
          <p:cNvPr id="44" name="Google Shape;891;p98">
            <a:extLst>
              <a:ext uri="{FF2B5EF4-FFF2-40B4-BE49-F238E27FC236}">
                <a16:creationId xmlns:a16="http://schemas.microsoft.com/office/drawing/2014/main" id="{7A6650D7-C393-5A3D-013E-D02626485547}"/>
              </a:ext>
            </a:extLst>
          </p:cNvPr>
          <p:cNvPicPr preferRelativeResize="0">
            <a:picLocks noChangeAspect="1"/>
          </p:cNvPicPr>
          <p:nvPr/>
        </p:nvPicPr>
        <p:blipFill rotWithShape="1">
          <a:blip r:embed="rId3">
            <a:alphaModFix/>
          </a:blip>
          <a:srcRect/>
          <a:stretch/>
        </p:blipFill>
        <p:spPr>
          <a:xfrm>
            <a:off x="8022970" y="1313439"/>
            <a:ext cx="1439809" cy="449822"/>
          </a:xfrm>
          <a:prstGeom prst="rect">
            <a:avLst/>
          </a:prstGeom>
          <a:noFill/>
          <a:ln>
            <a:noFill/>
          </a:ln>
        </p:spPr>
      </p:pic>
      <p:pic>
        <p:nvPicPr>
          <p:cNvPr id="45" name="Picture 6" descr="Apache Spark - Wikipedia">
            <a:extLst>
              <a:ext uri="{FF2B5EF4-FFF2-40B4-BE49-F238E27FC236}">
                <a16:creationId xmlns:a16="http://schemas.microsoft.com/office/drawing/2014/main" id="{372A8E80-83BD-E2E5-BE4C-F3654379B6D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94533" y="1938425"/>
            <a:ext cx="1155099" cy="599763"/>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45">
            <a:extLst>
              <a:ext uri="{FF2B5EF4-FFF2-40B4-BE49-F238E27FC236}">
                <a16:creationId xmlns:a16="http://schemas.microsoft.com/office/drawing/2014/main" id="{25AFBA78-46FD-41A1-D026-42478E599A49}"/>
              </a:ext>
            </a:extLst>
          </p:cNvPr>
          <p:cNvPicPr>
            <a:picLocks noChangeAspect="1"/>
          </p:cNvPicPr>
          <p:nvPr/>
        </p:nvPicPr>
        <p:blipFill>
          <a:blip r:embed="rId5"/>
          <a:stretch>
            <a:fillRect/>
          </a:stretch>
        </p:blipFill>
        <p:spPr>
          <a:xfrm>
            <a:off x="9983018" y="2058872"/>
            <a:ext cx="1477988" cy="449822"/>
          </a:xfrm>
          <a:prstGeom prst="rect">
            <a:avLst/>
          </a:prstGeom>
        </p:spPr>
      </p:pic>
      <p:pic>
        <p:nvPicPr>
          <p:cNvPr id="47" name="Picture 16" descr="Unlocking the Power of Milvus: Exploring the Next Generation of ...">
            <a:extLst>
              <a:ext uri="{FF2B5EF4-FFF2-40B4-BE49-F238E27FC236}">
                <a16:creationId xmlns:a16="http://schemas.microsoft.com/office/drawing/2014/main" id="{A426BB94-1D47-5D97-6C70-2505ABF0110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851834" y="1352474"/>
            <a:ext cx="1716164" cy="408929"/>
          </a:xfrm>
          <a:prstGeom prst="rect">
            <a:avLst/>
          </a:prstGeom>
          <a:noFill/>
          <a:extLst>
            <a:ext uri="{909E8E84-426E-40DD-AFC4-6F175D3DCCD1}">
              <a14:hiddenFill xmlns:a14="http://schemas.microsoft.com/office/drawing/2010/main">
                <a:solidFill>
                  <a:srgbClr val="FFFFFF"/>
                </a:solidFill>
              </a14:hiddenFill>
            </a:ext>
          </a:extLst>
        </p:spPr>
      </p:pic>
      <p:sp>
        <p:nvSpPr>
          <p:cNvPr id="49" name="TextBox 48">
            <a:extLst>
              <a:ext uri="{FF2B5EF4-FFF2-40B4-BE49-F238E27FC236}">
                <a16:creationId xmlns:a16="http://schemas.microsoft.com/office/drawing/2014/main" id="{D9201D6C-9829-9189-0CE1-EAFFFB0EDF12}"/>
              </a:ext>
            </a:extLst>
          </p:cNvPr>
          <p:cNvSpPr txBox="1"/>
          <p:nvPr/>
        </p:nvSpPr>
        <p:spPr>
          <a:xfrm>
            <a:off x="3728711" y="3325505"/>
            <a:ext cx="3604163" cy="228570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defTabSz="609356">
              <a:lnSpc>
                <a:spcPct val="110000"/>
              </a:lnSpc>
              <a:buSzPct val="100000"/>
            </a:pPr>
            <a:r>
              <a:rPr lang="en-US" sz="2400" b="1">
                <a:solidFill>
                  <a:srgbClr val="000000"/>
                </a:solidFill>
                <a:latin typeface="IBM Plex Sans Light"/>
                <a:sym typeface="IBM Plex Sans Light"/>
              </a:rPr>
              <a:t>Areas including:</a:t>
            </a:r>
          </a:p>
          <a:p>
            <a:pPr marL="285750" indent="-285750" defTabSz="609356">
              <a:lnSpc>
                <a:spcPct val="110000"/>
              </a:lnSpc>
              <a:spcBef>
                <a:spcPts val="1200"/>
              </a:spcBef>
              <a:buSzPct val="100000"/>
              <a:buFont typeface="Arial" panose="020B0604020202020204" pitchFamily="34" charset="0"/>
              <a:buChar char="•"/>
            </a:pPr>
            <a:r>
              <a:rPr lang="en-US" sz="2400">
                <a:solidFill>
                  <a:srgbClr val="000000"/>
                </a:solidFill>
                <a:latin typeface="IBM Plex Sans Light"/>
                <a:sym typeface="IBM Plex Sans Light"/>
              </a:rPr>
              <a:t>Iceberg support in Presto</a:t>
            </a:r>
          </a:p>
          <a:p>
            <a:pPr marL="285750" indent="-285750" defTabSz="609356">
              <a:lnSpc>
                <a:spcPct val="110000"/>
              </a:lnSpc>
              <a:spcBef>
                <a:spcPts val="1200"/>
              </a:spcBef>
              <a:buSzPct val="100000"/>
              <a:buFont typeface="Arial" panose="020B0604020202020204" pitchFamily="34" charset="0"/>
              <a:buChar char="•"/>
            </a:pPr>
            <a:r>
              <a:rPr lang="en-US" sz="2400">
                <a:solidFill>
                  <a:srgbClr val="000000"/>
                </a:solidFill>
                <a:latin typeface="IBM Plex Sans Light"/>
              </a:rPr>
              <a:t>Presto C++ (w/ Velox)</a:t>
            </a:r>
            <a:endParaRPr lang="en-US" sz="2400">
              <a:solidFill>
                <a:srgbClr val="000000"/>
              </a:solidFill>
              <a:latin typeface="IBM Plex Sans Light"/>
              <a:sym typeface="IBM Plex Sans Light"/>
            </a:endParaRPr>
          </a:p>
          <a:p>
            <a:pPr marL="285750" indent="-285750" defTabSz="609356">
              <a:lnSpc>
                <a:spcPct val="110000"/>
              </a:lnSpc>
              <a:spcBef>
                <a:spcPts val="1200"/>
              </a:spcBef>
              <a:buSzPct val="100000"/>
              <a:buFont typeface="Arial" panose="020B0604020202020204" pitchFamily="34" charset="0"/>
              <a:buChar char="•"/>
            </a:pPr>
            <a:r>
              <a:rPr lang="en-US" sz="2400">
                <a:solidFill>
                  <a:srgbClr val="000000"/>
                </a:solidFill>
                <a:latin typeface="IBM Plex Sans Light"/>
                <a:sym typeface="IBM Plex Sans Light"/>
              </a:rPr>
              <a:t>Gluten (Spark w/ Velox)</a:t>
            </a:r>
            <a:endParaRPr lang="en-US" sz="2400">
              <a:solidFill>
                <a:srgbClr val="000000"/>
              </a:solidFill>
              <a:latin typeface="IBM Plex Sans Light"/>
            </a:endParaRPr>
          </a:p>
        </p:txBody>
      </p:sp>
      <p:pic>
        <p:nvPicPr>
          <p:cNvPr id="50" name="Picture 49" descr="Apache Airflow - Wikipedia">
            <a:extLst>
              <a:ext uri="{FF2B5EF4-FFF2-40B4-BE49-F238E27FC236}">
                <a16:creationId xmlns:a16="http://schemas.microsoft.com/office/drawing/2014/main" id="{5553BBBF-706D-9621-D405-090CC6B1C5C2}"/>
              </a:ext>
            </a:extLst>
          </p:cNvPr>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230202" y="2844212"/>
            <a:ext cx="1045043" cy="402385"/>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50" descr="dbt Quickstarts | dbt Developer Hub">
            <a:extLst>
              <a:ext uri="{FF2B5EF4-FFF2-40B4-BE49-F238E27FC236}">
                <a16:creationId xmlns:a16="http://schemas.microsoft.com/office/drawing/2014/main" id="{65B05D3C-2F70-6622-8DB8-6DFA01B908E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132127" y="3710102"/>
            <a:ext cx="1039576" cy="386619"/>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4" descr="LF AI &amp; Data Foundation Announces ...">
            <a:extLst>
              <a:ext uri="{FF2B5EF4-FFF2-40B4-BE49-F238E27FC236}">
                <a16:creationId xmlns:a16="http://schemas.microsoft.com/office/drawing/2014/main" id="{D001CB95-1D5D-2734-1D48-D503B07F7297}"/>
              </a:ext>
            </a:extLst>
          </p:cNvPr>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181915" y="4468356"/>
            <a:ext cx="1507192" cy="411052"/>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2" descr="Announcing OpenTelemetry: the merger of ...">
            <a:extLst>
              <a:ext uri="{FF2B5EF4-FFF2-40B4-BE49-F238E27FC236}">
                <a16:creationId xmlns:a16="http://schemas.microsoft.com/office/drawing/2014/main" id="{8E633E95-6CCB-3A3E-09BC-EF581D6803DD}"/>
              </a:ext>
            </a:extLst>
          </p:cNvPr>
          <p:cNvPicPr>
            <a:picLocks noChangeAspect="1" noChangeArrowheads="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009638" y="3635889"/>
            <a:ext cx="1502883" cy="526009"/>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descr="zer0beat/apache-ranger-compiled ...">
            <a:extLst>
              <a:ext uri="{FF2B5EF4-FFF2-40B4-BE49-F238E27FC236}">
                <a16:creationId xmlns:a16="http://schemas.microsoft.com/office/drawing/2014/main" id="{2FEC2D99-3C30-15A0-D926-8492D242FAB7}"/>
              </a:ext>
            </a:extLst>
          </p:cNvPr>
          <p:cNvPicPr>
            <a:picLocks noChangeAspect="1" noChangeArrowheads="1"/>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042199" y="4479651"/>
            <a:ext cx="1676851" cy="353926"/>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2" descr="VS Code tips and tricks for beginners">
            <a:extLst>
              <a:ext uri="{FF2B5EF4-FFF2-40B4-BE49-F238E27FC236}">
                <a16:creationId xmlns:a16="http://schemas.microsoft.com/office/drawing/2014/main" id="{8A54978E-57B5-A16E-19D0-1B399933A7A3}"/>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18699" b="24597"/>
          <a:stretch/>
        </p:blipFill>
        <p:spPr bwMode="auto">
          <a:xfrm>
            <a:off x="7930097" y="2797263"/>
            <a:ext cx="1739129" cy="464426"/>
          </a:xfrm>
          <a:prstGeom prst="rect">
            <a:avLst/>
          </a:prstGeom>
          <a:noFill/>
          <a:extLst>
            <a:ext uri="{909E8E84-426E-40DD-AFC4-6F175D3DCCD1}">
              <a14:hiddenFill xmlns:a14="http://schemas.microsoft.com/office/drawing/2010/main">
                <a:solidFill>
                  <a:srgbClr val="FFFFFF"/>
                </a:solidFill>
              </a14:hiddenFill>
            </a:ext>
          </a:extLst>
        </p:spPr>
      </p:pic>
      <p:sp>
        <p:nvSpPr>
          <p:cNvPr id="4" name="Title 1">
            <a:extLst>
              <a:ext uri="{FF2B5EF4-FFF2-40B4-BE49-F238E27FC236}">
                <a16:creationId xmlns:a16="http://schemas.microsoft.com/office/drawing/2014/main" id="{C7F3A3B2-1E90-0720-5F47-B15A12351174}"/>
              </a:ext>
            </a:extLst>
          </p:cNvPr>
          <p:cNvSpPr>
            <a:spLocks noGrp="1"/>
          </p:cNvSpPr>
          <p:nvPr>
            <p:ph type="title"/>
          </p:nvPr>
        </p:nvSpPr>
        <p:spPr>
          <a:xfrm>
            <a:off x="301586" y="267111"/>
            <a:ext cx="2930106" cy="1566384"/>
          </a:xfrm>
        </p:spPr>
        <p:txBody>
          <a:bodyPr anchor="t"/>
          <a:lstStyle/>
          <a:p>
            <a:r>
              <a:rPr lang="en-US" sz="2400" b="1"/>
              <a:t>watson</a:t>
            </a:r>
            <a:r>
              <a:rPr lang="en-US" sz="2400" b="1" kern="1200">
                <a:solidFill>
                  <a:srgbClr val="0D62FE"/>
                </a:solidFill>
                <a:ea typeface="+mn-ea"/>
                <a:cs typeface="+mn-cs"/>
              </a:rPr>
              <a:t>x</a:t>
            </a:r>
            <a:r>
              <a:rPr lang="en-US" sz="2400" b="1"/>
              <a:t>.data </a:t>
            </a:r>
            <a:r>
              <a:rPr lang="en-US" sz="2400"/>
              <a:t>is part of the </a:t>
            </a:r>
            <a:r>
              <a:rPr lang="en-US" sz="2400" i="1"/>
              <a:t>open modern data stack</a:t>
            </a:r>
            <a:endParaRPr lang="en-US" sz="2400" i="1">
              <a:solidFill>
                <a:srgbClr val="000000"/>
              </a:solidFill>
            </a:endParaRPr>
          </a:p>
        </p:txBody>
      </p:sp>
      <p:sp>
        <p:nvSpPr>
          <p:cNvPr id="6" name="Title 1">
            <a:extLst>
              <a:ext uri="{FF2B5EF4-FFF2-40B4-BE49-F238E27FC236}">
                <a16:creationId xmlns:a16="http://schemas.microsoft.com/office/drawing/2014/main" id="{782642B9-F22A-C547-6D43-189ED977CD57}"/>
              </a:ext>
            </a:extLst>
          </p:cNvPr>
          <p:cNvSpPr txBox="1">
            <a:spLocks/>
          </p:cNvSpPr>
          <p:nvPr/>
        </p:nvSpPr>
        <p:spPr>
          <a:xfrm>
            <a:off x="8903839" y="5498522"/>
            <a:ext cx="2930106" cy="1566384"/>
          </a:xfrm>
          <a:prstGeom prst="rect">
            <a:avLst/>
          </a:prstGeom>
          <a:noFill/>
          <a:ln>
            <a:noFill/>
          </a:ln>
        </p:spPr>
        <p:txBody>
          <a:bodyPr vert="horz" wrap="square" lIns="0" tIns="0" rIns="0" bIns="0" anchor="t" anchorCtr="0" compatLnSpc="1">
            <a:noAutofit/>
          </a:bodyPr>
          <a:lstStyle>
            <a:lvl1pPr marL="0" marR="0" lvl="0" indent="0" algn="l" defTabSz="1218958" rtl="0" fontAlgn="auto" hangingPunct="1">
              <a:lnSpc>
                <a:spcPct val="110000"/>
              </a:lnSpc>
              <a:spcBef>
                <a:spcPts val="0"/>
              </a:spcBef>
              <a:spcAft>
                <a:spcPts val="0"/>
              </a:spcAft>
              <a:buNone/>
              <a:tabLst/>
              <a:defRPr lang="en-US" sz="1400" b="0" i="0" u="none" strike="noStrike" kern="0" cap="none" spc="0" baseline="0">
                <a:solidFill>
                  <a:srgbClr val="000000"/>
                </a:solidFill>
                <a:uFillTx/>
                <a:latin typeface="IBM Plex Sans Light"/>
              </a:defRPr>
            </a:lvl1pPr>
          </a:lstStyle>
          <a:p>
            <a:pPr algn="r"/>
            <a:r>
              <a:rPr lang="en-US" sz="2400"/>
              <a:t>Completely open.</a:t>
            </a:r>
          </a:p>
          <a:p>
            <a:pPr algn="r"/>
            <a:r>
              <a:rPr lang="en-US" sz="2400"/>
              <a:t>No vendor lock-in.</a:t>
            </a:r>
          </a:p>
        </p:txBody>
      </p:sp>
    </p:spTree>
    <p:extLst>
      <p:ext uri="{BB962C8B-B14F-4D97-AF65-F5344CB8AC3E}">
        <p14:creationId xmlns:p14="http://schemas.microsoft.com/office/powerpoint/2010/main" val="29462667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15FD14-3B17-12D0-959F-F37C7D66FAA7}"/>
            </a:ext>
          </a:extLst>
        </p:cNvPr>
        <p:cNvGrpSpPr/>
        <p:nvPr/>
      </p:nvGrpSpPr>
      <p:grpSpPr>
        <a:xfrm>
          <a:off x="0" y="0"/>
          <a:ext cx="0" cy="0"/>
          <a:chOff x="0" y="0"/>
          <a:chExt cx="0" cy="0"/>
        </a:xfrm>
      </p:grpSpPr>
      <p:sp>
        <p:nvSpPr>
          <p:cNvPr id="2" name="Shape 0">
            <a:extLst>
              <a:ext uri="{FF2B5EF4-FFF2-40B4-BE49-F238E27FC236}">
                <a16:creationId xmlns:a16="http://schemas.microsoft.com/office/drawing/2014/main" id="{2B5E6FCA-F3BD-17D4-34F9-FDDDDFC41370}"/>
              </a:ext>
            </a:extLst>
          </p:cNvPr>
          <p:cNvSpPr/>
          <p:nvPr/>
        </p:nvSpPr>
        <p:spPr>
          <a:xfrm>
            <a:off x="2780247" y="496286"/>
            <a:ext cx="8904993" cy="5888248"/>
          </a:xfrm>
          <a:prstGeom prst="roundRect">
            <a:avLst>
              <a:gd name="adj" fmla="val 1711"/>
            </a:avLst>
          </a:prstGeom>
          <a:solidFill>
            <a:srgbClr val="FAFBFC">
              <a:alpha val="100000"/>
            </a:srgbClr>
          </a:solidFill>
          <a:ln/>
          <a:effectLst>
            <a:outerShdw blurRad="317500" dist="50800" dir="16200000" algn="bl" rotWithShape="0">
              <a:srgbClr val="000000">
                <a:alpha val="10000"/>
              </a:srgbClr>
            </a:outerShdw>
          </a:effectLst>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302" name="Shape 168">
            <a:extLst>
              <a:ext uri="{FF2B5EF4-FFF2-40B4-BE49-F238E27FC236}">
                <a16:creationId xmlns:a16="http://schemas.microsoft.com/office/drawing/2014/main" id="{4B788558-BDD2-C048-B5CD-0CE51B5D7B03}"/>
              </a:ext>
            </a:extLst>
          </p:cNvPr>
          <p:cNvSpPr/>
          <p:nvPr/>
        </p:nvSpPr>
        <p:spPr>
          <a:xfrm>
            <a:off x="2884113" y="821525"/>
            <a:ext cx="8697256" cy="822301"/>
          </a:xfrm>
          <a:prstGeom prst="roundRect">
            <a:avLst>
              <a:gd name="adj" fmla="val 9900"/>
            </a:avLst>
          </a:prstGeom>
          <a:solidFill>
            <a:srgbClr val="FFFFFF">
              <a:alpha val="100000"/>
            </a:srgbClr>
          </a:solidFill>
          <a:ln/>
          <a:effectLst>
            <a:outerShdw blurRad="317500" dist="50800" dir="16200000" algn="bl" rotWithShape="0">
              <a:srgbClr val="000000">
                <a:alpha val="10000"/>
              </a:srgbClr>
            </a:outerShdw>
          </a:effectLst>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303" name="Shape 169">
            <a:extLst>
              <a:ext uri="{FF2B5EF4-FFF2-40B4-BE49-F238E27FC236}">
                <a16:creationId xmlns:a16="http://schemas.microsoft.com/office/drawing/2014/main" id="{6405E798-2E5E-A6F8-681D-F1E18BD9E756}"/>
              </a:ext>
            </a:extLst>
          </p:cNvPr>
          <p:cNvSpPr/>
          <p:nvPr/>
        </p:nvSpPr>
        <p:spPr>
          <a:xfrm>
            <a:off x="4462914" y="633244"/>
            <a:ext cx="5539655" cy="886346"/>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304" name="Shape 170">
            <a:extLst>
              <a:ext uri="{FF2B5EF4-FFF2-40B4-BE49-F238E27FC236}">
                <a16:creationId xmlns:a16="http://schemas.microsoft.com/office/drawing/2014/main" id="{A7244116-916B-379D-1ACC-4058023385CB}"/>
              </a:ext>
            </a:extLst>
          </p:cNvPr>
          <p:cNvSpPr/>
          <p:nvPr/>
        </p:nvSpPr>
        <p:spPr>
          <a:xfrm>
            <a:off x="4462914" y="633247"/>
            <a:ext cx="692457" cy="166189"/>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305" name="Text 171">
            <a:extLst>
              <a:ext uri="{FF2B5EF4-FFF2-40B4-BE49-F238E27FC236}">
                <a16:creationId xmlns:a16="http://schemas.microsoft.com/office/drawing/2014/main" id="{9327E26D-4DDA-1EBA-510F-3018A397784E}"/>
              </a:ext>
            </a:extLst>
          </p:cNvPr>
          <p:cNvSpPr/>
          <p:nvPr/>
        </p:nvSpPr>
        <p:spPr>
          <a:xfrm>
            <a:off x="2991570" y="927702"/>
            <a:ext cx="729388" cy="203122"/>
          </a:xfrm>
          <a:prstGeom prst="rect">
            <a:avLst/>
          </a:prstGeom>
          <a:noFill/>
          <a:ln/>
        </p:spPr>
        <p:txBody>
          <a:bodyPr wrap="square" lIns="0" tIns="0" rIns="0" bIns="0" rtlCol="0" anchor="t"/>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nSpc>
                <a:spcPts val="1309"/>
              </a:lnSpc>
            </a:pPr>
            <a:r>
              <a:rPr lang="en-US" sz="873">
                <a:solidFill>
                  <a:srgbClr val="000000">
                    <a:alpha val="100000"/>
                  </a:srgbClr>
                </a:solidFill>
                <a:latin typeface="IBM Plex Sans" panose="020B0503050203000203" pitchFamily="34" charset="0"/>
                <a:ea typeface="IBM Plex Sans Bold" pitchFamily="34" charset="-122"/>
                <a:cs typeface="IBM Plex Sans Bold" pitchFamily="34" charset="-120"/>
              </a:rPr>
              <a:t>Data security</a:t>
            </a:r>
            <a:endParaRPr lang="en-US" sz="873">
              <a:latin typeface="IBM Plex Sans" panose="020B0503050203000203" pitchFamily="34" charset="0"/>
            </a:endParaRPr>
          </a:p>
        </p:txBody>
      </p:sp>
      <p:sp>
        <p:nvSpPr>
          <p:cNvPr id="306" name="Shape 172">
            <a:extLst>
              <a:ext uri="{FF2B5EF4-FFF2-40B4-BE49-F238E27FC236}">
                <a16:creationId xmlns:a16="http://schemas.microsoft.com/office/drawing/2014/main" id="{CC558C3B-B11B-5EDA-7E8D-3ACA66AA81BB}"/>
              </a:ext>
            </a:extLst>
          </p:cNvPr>
          <p:cNvSpPr/>
          <p:nvPr/>
        </p:nvSpPr>
        <p:spPr>
          <a:xfrm>
            <a:off x="4462914" y="1021022"/>
            <a:ext cx="5539655" cy="498569"/>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307" name="Shape 173">
            <a:extLst>
              <a:ext uri="{FF2B5EF4-FFF2-40B4-BE49-F238E27FC236}">
                <a16:creationId xmlns:a16="http://schemas.microsoft.com/office/drawing/2014/main" id="{752E01BC-AA05-660B-23A1-7D3CE109ACA9}"/>
              </a:ext>
            </a:extLst>
          </p:cNvPr>
          <p:cNvSpPr/>
          <p:nvPr/>
        </p:nvSpPr>
        <p:spPr>
          <a:xfrm>
            <a:off x="4462914" y="1021022"/>
            <a:ext cx="830949" cy="498569"/>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pic>
        <p:nvPicPr>
          <p:cNvPr id="308" name="Image 86" descr=" ">
            <a:extLst>
              <a:ext uri="{FF2B5EF4-FFF2-40B4-BE49-F238E27FC236}">
                <a16:creationId xmlns:a16="http://schemas.microsoft.com/office/drawing/2014/main" id="{57B5425C-28CF-8931-822D-7465A2250453}"/>
              </a:ext>
            </a:extLst>
          </p:cNvPr>
          <p:cNvPicPr>
            <a:picLocks noChangeAspect="1"/>
          </p:cNvPicPr>
          <p:nvPr/>
        </p:nvPicPr>
        <p:blipFill>
          <a:blip r:embed="rId3"/>
          <a:stretch>
            <a:fillRect/>
          </a:stretch>
        </p:blipFill>
        <p:spPr>
          <a:xfrm>
            <a:off x="4767596" y="1021022"/>
            <a:ext cx="221586" cy="221586"/>
          </a:xfrm>
          <a:prstGeom prst="rect">
            <a:avLst/>
          </a:prstGeom>
        </p:spPr>
      </p:pic>
      <p:sp>
        <p:nvSpPr>
          <p:cNvPr id="312" name="Shape 175">
            <a:extLst>
              <a:ext uri="{FF2B5EF4-FFF2-40B4-BE49-F238E27FC236}">
                <a16:creationId xmlns:a16="http://schemas.microsoft.com/office/drawing/2014/main" id="{3DBF96E5-CBB0-E3D8-AD89-8769DC14087B}"/>
              </a:ext>
            </a:extLst>
          </p:cNvPr>
          <p:cNvSpPr/>
          <p:nvPr/>
        </p:nvSpPr>
        <p:spPr>
          <a:xfrm>
            <a:off x="5404657" y="1021022"/>
            <a:ext cx="830949" cy="360077"/>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320" name="Shape 177">
            <a:extLst>
              <a:ext uri="{FF2B5EF4-FFF2-40B4-BE49-F238E27FC236}">
                <a16:creationId xmlns:a16="http://schemas.microsoft.com/office/drawing/2014/main" id="{5A7BCD26-B3F4-5680-AA91-A334D76A987E}"/>
              </a:ext>
            </a:extLst>
          </p:cNvPr>
          <p:cNvSpPr/>
          <p:nvPr/>
        </p:nvSpPr>
        <p:spPr>
          <a:xfrm>
            <a:off x="6346397" y="1021022"/>
            <a:ext cx="830949" cy="498569"/>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pic>
        <p:nvPicPr>
          <p:cNvPr id="321" name="Image 95" descr=" ">
            <a:extLst>
              <a:ext uri="{FF2B5EF4-FFF2-40B4-BE49-F238E27FC236}">
                <a16:creationId xmlns:a16="http://schemas.microsoft.com/office/drawing/2014/main" id="{56484184-4A94-32FD-009F-8595FB605774}"/>
              </a:ext>
            </a:extLst>
          </p:cNvPr>
          <p:cNvPicPr>
            <a:picLocks noChangeAspect="1"/>
          </p:cNvPicPr>
          <p:nvPr/>
        </p:nvPicPr>
        <p:blipFill>
          <a:blip r:embed="rId3"/>
          <a:stretch>
            <a:fillRect/>
          </a:stretch>
        </p:blipFill>
        <p:spPr>
          <a:xfrm>
            <a:off x="6651077" y="1021022"/>
            <a:ext cx="221586" cy="221586"/>
          </a:xfrm>
          <a:prstGeom prst="rect">
            <a:avLst/>
          </a:prstGeom>
        </p:spPr>
      </p:pic>
      <p:sp>
        <p:nvSpPr>
          <p:cNvPr id="326" name="Shape 179">
            <a:extLst>
              <a:ext uri="{FF2B5EF4-FFF2-40B4-BE49-F238E27FC236}">
                <a16:creationId xmlns:a16="http://schemas.microsoft.com/office/drawing/2014/main" id="{603EA4EB-B4F7-3580-3967-022B9399F477}"/>
              </a:ext>
            </a:extLst>
          </p:cNvPr>
          <p:cNvSpPr/>
          <p:nvPr/>
        </p:nvSpPr>
        <p:spPr>
          <a:xfrm>
            <a:off x="7288137" y="1021022"/>
            <a:ext cx="830949" cy="360077"/>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332" name="Shape 181">
            <a:extLst>
              <a:ext uri="{FF2B5EF4-FFF2-40B4-BE49-F238E27FC236}">
                <a16:creationId xmlns:a16="http://schemas.microsoft.com/office/drawing/2014/main" id="{BE6965FB-5F9E-079F-6023-50E665FBD2BE}"/>
              </a:ext>
            </a:extLst>
          </p:cNvPr>
          <p:cNvSpPr/>
          <p:nvPr/>
        </p:nvSpPr>
        <p:spPr>
          <a:xfrm>
            <a:off x="8229880" y="1021022"/>
            <a:ext cx="830949" cy="360077"/>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pic>
        <p:nvPicPr>
          <p:cNvPr id="333" name="Image 103" descr=" ">
            <a:extLst>
              <a:ext uri="{FF2B5EF4-FFF2-40B4-BE49-F238E27FC236}">
                <a16:creationId xmlns:a16="http://schemas.microsoft.com/office/drawing/2014/main" id="{4E5DDBBA-5A19-41C5-A002-72737011E6C4}"/>
              </a:ext>
            </a:extLst>
          </p:cNvPr>
          <p:cNvPicPr>
            <a:picLocks noChangeAspect="1"/>
          </p:cNvPicPr>
          <p:nvPr/>
        </p:nvPicPr>
        <p:blipFill>
          <a:blip r:embed="rId4"/>
          <a:stretch>
            <a:fillRect/>
          </a:stretch>
        </p:blipFill>
        <p:spPr>
          <a:xfrm>
            <a:off x="8534560" y="1021022"/>
            <a:ext cx="221586" cy="221586"/>
          </a:xfrm>
          <a:prstGeom prst="rect">
            <a:avLst/>
          </a:prstGeom>
        </p:spPr>
      </p:pic>
      <p:sp>
        <p:nvSpPr>
          <p:cNvPr id="337" name="Shape 183">
            <a:extLst>
              <a:ext uri="{FF2B5EF4-FFF2-40B4-BE49-F238E27FC236}">
                <a16:creationId xmlns:a16="http://schemas.microsoft.com/office/drawing/2014/main" id="{19DC2C34-BC35-5A8C-6B36-42B3C3374A01}"/>
              </a:ext>
            </a:extLst>
          </p:cNvPr>
          <p:cNvSpPr/>
          <p:nvPr/>
        </p:nvSpPr>
        <p:spPr>
          <a:xfrm>
            <a:off x="9171620" y="1021022"/>
            <a:ext cx="830949" cy="360077"/>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311" name="Text 174">
            <a:extLst>
              <a:ext uri="{FF2B5EF4-FFF2-40B4-BE49-F238E27FC236}">
                <a16:creationId xmlns:a16="http://schemas.microsoft.com/office/drawing/2014/main" id="{9AD904EB-A6EF-8461-99FB-203833128134}"/>
              </a:ext>
            </a:extLst>
          </p:cNvPr>
          <p:cNvSpPr/>
          <p:nvPr/>
        </p:nvSpPr>
        <p:spPr>
          <a:xfrm>
            <a:off x="2982344" y="1367287"/>
            <a:ext cx="858646" cy="304680"/>
          </a:xfrm>
          <a:prstGeom prst="rect">
            <a:avLst/>
          </a:prstGeom>
          <a:noFill/>
          <a:ln/>
        </p:spPr>
        <p:txBody>
          <a:bodyPr wrap="square" lIns="0" tIns="0" rIns="0" bIns="0" rtlCol="0" anchor="t"/>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gn="ctr">
              <a:lnSpc>
                <a:spcPts val="1091"/>
              </a:lnSpc>
            </a:pPr>
            <a:r>
              <a:rPr lang="en-US" sz="655" kern="0" spc="1">
                <a:solidFill>
                  <a:srgbClr val="000000">
                    <a:alpha val="100000"/>
                  </a:srgbClr>
                </a:solidFill>
                <a:latin typeface="IBM Plex Sans" panose="020B0503050203000203" pitchFamily="34" charset="0"/>
                <a:ea typeface="IBM Plex Sans Regular" pitchFamily="34" charset="-122"/>
                <a:cs typeface="IBM Plex Sans Regular" pitchFamily="34" charset="-120"/>
              </a:rPr>
              <a:t>Data security posture management</a:t>
            </a:r>
            <a:endParaRPr lang="en-US" sz="655">
              <a:latin typeface="IBM Plex Sans" panose="020B0503050203000203" pitchFamily="34" charset="0"/>
            </a:endParaRPr>
          </a:p>
        </p:txBody>
      </p:sp>
      <p:sp>
        <p:nvSpPr>
          <p:cNvPr id="319" name="Text 176">
            <a:extLst>
              <a:ext uri="{FF2B5EF4-FFF2-40B4-BE49-F238E27FC236}">
                <a16:creationId xmlns:a16="http://schemas.microsoft.com/office/drawing/2014/main" id="{A8BC869E-3D99-7B95-E47E-BED60C6A737D}"/>
              </a:ext>
            </a:extLst>
          </p:cNvPr>
          <p:cNvSpPr/>
          <p:nvPr/>
        </p:nvSpPr>
        <p:spPr>
          <a:xfrm>
            <a:off x="4498019" y="1367287"/>
            <a:ext cx="858646" cy="166189"/>
          </a:xfrm>
          <a:prstGeom prst="rect">
            <a:avLst/>
          </a:prstGeom>
          <a:noFill/>
          <a:ln/>
        </p:spPr>
        <p:txBody>
          <a:bodyPr wrap="square" lIns="0" tIns="0" rIns="0" bIns="0" rtlCol="0" anchor="t"/>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gn="ctr">
              <a:lnSpc>
                <a:spcPts val="1091"/>
              </a:lnSpc>
            </a:pPr>
            <a:r>
              <a:rPr lang="en-US" sz="655" kern="0" spc="1">
                <a:solidFill>
                  <a:srgbClr val="000000">
                    <a:alpha val="100000"/>
                  </a:srgbClr>
                </a:solidFill>
                <a:latin typeface="IBM Plex Sans" panose="020B0503050203000203" pitchFamily="34" charset="0"/>
                <a:ea typeface="IBM Plex Sans Regular" pitchFamily="34" charset="-122"/>
                <a:cs typeface="IBM Plex Sans Regular" pitchFamily="34" charset="-120"/>
              </a:rPr>
              <a:t>Data compliance</a:t>
            </a:r>
            <a:endParaRPr lang="en-US" sz="655">
              <a:latin typeface="IBM Plex Sans" panose="020B0503050203000203" pitchFamily="34" charset="0"/>
            </a:endParaRPr>
          </a:p>
        </p:txBody>
      </p:sp>
      <p:sp>
        <p:nvSpPr>
          <p:cNvPr id="325" name="Text 178">
            <a:extLst>
              <a:ext uri="{FF2B5EF4-FFF2-40B4-BE49-F238E27FC236}">
                <a16:creationId xmlns:a16="http://schemas.microsoft.com/office/drawing/2014/main" id="{10C3F193-C094-27B2-EA59-E102F5E47B2A}"/>
              </a:ext>
            </a:extLst>
          </p:cNvPr>
          <p:cNvSpPr/>
          <p:nvPr/>
        </p:nvSpPr>
        <p:spPr>
          <a:xfrm>
            <a:off x="6013697" y="1367287"/>
            <a:ext cx="858646" cy="304680"/>
          </a:xfrm>
          <a:prstGeom prst="rect">
            <a:avLst/>
          </a:prstGeom>
          <a:noFill/>
          <a:ln/>
        </p:spPr>
        <p:txBody>
          <a:bodyPr wrap="square" lIns="0" tIns="0" rIns="0" bIns="0" rtlCol="0" anchor="t"/>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gn="ctr">
              <a:lnSpc>
                <a:spcPts val="1091"/>
              </a:lnSpc>
            </a:pPr>
            <a:r>
              <a:rPr lang="en-US" sz="655" kern="0" spc="1">
                <a:solidFill>
                  <a:srgbClr val="000000">
                    <a:alpha val="100000"/>
                  </a:srgbClr>
                </a:solidFill>
                <a:latin typeface="IBM Plex Sans" panose="020B0503050203000203" pitchFamily="34" charset="0"/>
                <a:ea typeface="IBM Plex Sans Regular" pitchFamily="34" charset="-122"/>
                <a:cs typeface="IBM Plex Sans Regular" pitchFamily="34" charset="-120"/>
              </a:rPr>
              <a:t>Data detection and response</a:t>
            </a:r>
            <a:endParaRPr lang="en-US" sz="655">
              <a:latin typeface="IBM Plex Sans" panose="020B0503050203000203" pitchFamily="34" charset="0"/>
            </a:endParaRPr>
          </a:p>
        </p:txBody>
      </p:sp>
      <p:sp>
        <p:nvSpPr>
          <p:cNvPr id="331" name="Text 180">
            <a:extLst>
              <a:ext uri="{FF2B5EF4-FFF2-40B4-BE49-F238E27FC236}">
                <a16:creationId xmlns:a16="http://schemas.microsoft.com/office/drawing/2014/main" id="{C21CD290-AF04-E761-FB39-65C157713544}"/>
              </a:ext>
            </a:extLst>
          </p:cNvPr>
          <p:cNvSpPr/>
          <p:nvPr/>
        </p:nvSpPr>
        <p:spPr>
          <a:xfrm>
            <a:off x="7529375" y="1367287"/>
            <a:ext cx="858646" cy="166189"/>
          </a:xfrm>
          <a:prstGeom prst="rect">
            <a:avLst/>
          </a:prstGeom>
          <a:noFill/>
          <a:ln/>
        </p:spPr>
        <p:txBody>
          <a:bodyPr wrap="square" lIns="0" tIns="0" rIns="0" bIns="0" rtlCol="0" anchor="t"/>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gn="ctr">
              <a:lnSpc>
                <a:spcPts val="1091"/>
              </a:lnSpc>
            </a:pPr>
            <a:r>
              <a:rPr lang="en-US" sz="655" kern="0" spc="1">
                <a:solidFill>
                  <a:srgbClr val="000000">
                    <a:alpha val="100000"/>
                  </a:srgbClr>
                </a:solidFill>
                <a:latin typeface="IBM Plex Sans" panose="020B0503050203000203" pitchFamily="34" charset="0"/>
                <a:ea typeface="IBM Plex Sans Regular" pitchFamily="34" charset="-122"/>
                <a:cs typeface="IBM Plex Sans Regular" pitchFamily="34" charset="-120"/>
              </a:rPr>
              <a:t>AI security</a:t>
            </a:r>
            <a:endParaRPr lang="en-US" sz="655">
              <a:latin typeface="IBM Plex Sans" panose="020B0503050203000203" pitchFamily="34" charset="0"/>
            </a:endParaRPr>
          </a:p>
        </p:txBody>
      </p:sp>
      <p:sp>
        <p:nvSpPr>
          <p:cNvPr id="336" name="Text 182">
            <a:extLst>
              <a:ext uri="{FF2B5EF4-FFF2-40B4-BE49-F238E27FC236}">
                <a16:creationId xmlns:a16="http://schemas.microsoft.com/office/drawing/2014/main" id="{CE7F6591-5A9D-4ED4-8B36-DB4D57DDC77B}"/>
              </a:ext>
            </a:extLst>
          </p:cNvPr>
          <p:cNvSpPr/>
          <p:nvPr/>
        </p:nvSpPr>
        <p:spPr>
          <a:xfrm>
            <a:off x="9045050" y="1367287"/>
            <a:ext cx="858646" cy="166189"/>
          </a:xfrm>
          <a:prstGeom prst="rect">
            <a:avLst/>
          </a:prstGeom>
          <a:noFill/>
          <a:ln/>
        </p:spPr>
        <p:txBody>
          <a:bodyPr wrap="square" lIns="0" tIns="0" rIns="0" bIns="0" rtlCol="0" anchor="t"/>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gn="ctr">
              <a:lnSpc>
                <a:spcPts val="1091"/>
              </a:lnSpc>
            </a:pPr>
            <a:r>
              <a:rPr lang="en-US" sz="655" kern="0" spc="1">
                <a:solidFill>
                  <a:srgbClr val="000000">
                    <a:alpha val="100000"/>
                  </a:srgbClr>
                </a:solidFill>
                <a:latin typeface="IBM Plex Sans" panose="020B0503050203000203" pitchFamily="34" charset="0"/>
                <a:ea typeface="IBM Plex Sans Regular" pitchFamily="34" charset="-122"/>
                <a:cs typeface="IBM Plex Sans Regular" pitchFamily="34" charset="-120"/>
              </a:rPr>
              <a:t>Quantum safe</a:t>
            </a:r>
            <a:endParaRPr lang="en-US" sz="655">
              <a:latin typeface="IBM Plex Sans" panose="020B0503050203000203" pitchFamily="34" charset="0"/>
            </a:endParaRPr>
          </a:p>
        </p:txBody>
      </p:sp>
      <p:sp>
        <p:nvSpPr>
          <p:cNvPr id="342" name="Text 184">
            <a:extLst>
              <a:ext uri="{FF2B5EF4-FFF2-40B4-BE49-F238E27FC236}">
                <a16:creationId xmlns:a16="http://schemas.microsoft.com/office/drawing/2014/main" id="{1B5EE758-51CA-1268-FE31-74352BC37CBF}"/>
              </a:ext>
            </a:extLst>
          </p:cNvPr>
          <p:cNvSpPr/>
          <p:nvPr/>
        </p:nvSpPr>
        <p:spPr>
          <a:xfrm>
            <a:off x="10560727" y="1367287"/>
            <a:ext cx="858646" cy="166189"/>
          </a:xfrm>
          <a:prstGeom prst="rect">
            <a:avLst/>
          </a:prstGeom>
          <a:noFill/>
          <a:ln/>
        </p:spPr>
        <p:txBody>
          <a:bodyPr wrap="square" lIns="0" tIns="0" rIns="0" bIns="0" rtlCol="0" anchor="t"/>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gn="ctr">
              <a:lnSpc>
                <a:spcPts val="1091"/>
              </a:lnSpc>
            </a:pPr>
            <a:r>
              <a:rPr lang="en-US" sz="655" kern="0" spc="1">
                <a:solidFill>
                  <a:srgbClr val="000000">
                    <a:alpha val="100000"/>
                  </a:srgbClr>
                </a:solidFill>
                <a:latin typeface="IBM Plex Sans" panose="020B0503050203000203" pitchFamily="34" charset="0"/>
                <a:ea typeface="IBM Plex Sans Regular" pitchFamily="34" charset="-122"/>
                <a:cs typeface="IBM Plex Sans Regular" pitchFamily="34" charset="-120"/>
              </a:rPr>
              <a:t>Data protection</a:t>
            </a:r>
            <a:endParaRPr lang="en-US" sz="655">
              <a:latin typeface="IBM Plex Sans" panose="020B0503050203000203" pitchFamily="34" charset="0"/>
            </a:endParaRPr>
          </a:p>
        </p:txBody>
      </p:sp>
      <p:pic>
        <p:nvPicPr>
          <p:cNvPr id="534" name="Image 2" descr=" ">
            <a:extLst>
              <a:ext uri="{FF2B5EF4-FFF2-40B4-BE49-F238E27FC236}">
                <a16:creationId xmlns:a16="http://schemas.microsoft.com/office/drawing/2014/main" id="{EA852549-1398-F2E3-EBBA-037FADAD576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998369" y="6178384"/>
            <a:ext cx="8468746" cy="50992"/>
          </a:xfrm>
          <a:prstGeom prst="rect">
            <a:avLst/>
          </a:prstGeom>
        </p:spPr>
      </p:pic>
      <p:sp>
        <p:nvSpPr>
          <p:cNvPr id="535" name="Shape 5">
            <a:extLst>
              <a:ext uri="{FF2B5EF4-FFF2-40B4-BE49-F238E27FC236}">
                <a16:creationId xmlns:a16="http://schemas.microsoft.com/office/drawing/2014/main" id="{09BB1D54-3CCB-3F2F-A5C5-FB8139475C98}"/>
              </a:ext>
            </a:extLst>
          </p:cNvPr>
          <p:cNvSpPr/>
          <p:nvPr/>
        </p:nvSpPr>
        <p:spPr>
          <a:xfrm>
            <a:off x="2884113" y="2174235"/>
            <a:ext cx="1592652" cy="1938914"/>
          </a:xfrm>
          <a:prstGeom prst="roundRect">
            <a:avLst>
              <a:gd name="adj" fmla="val 6887"/>
            </a:avLst>
          </a:prstGeom>
          <a:solidFill>
            <a:srgbClr val="FFFFFF">
              <a:alpha val="100000"/>
            </a:srgbClr>
          </a:solidFill>
          <a:ln/>
          <a:effectLst>
            <a:outerShdw blurRad="317500" dist="50800" dir="16200000" algn="bl" rotWithShape="0">
              <a:srgbClr val="000000">
                <a:alpha val="10000"/>
              </a:srgbClr>
            </a:outerShdw>
          </a:effectLst>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536" name="Shape 6">
            <a:extLst>
              <a:ext uri="{FF2B5EF4-FFF2-40B4-BE49-F238E27FC236}">
                <a16:creationId xmlns:a16="http://schemas.microsoft.com/office/drawing/2014/main" id="{566BA1CD-1856-F21F-B544-8BDE52AFC16E}"/>
              </a:ext>
            </a:extLst>
          </p:cNvPr>
          <p:cNvSpPr/>
          <p:nvPr/>
        </p:nvSpPr>
        <p:spPr>
          <a:xfrm>
            <a:off x="2994908" y="2285031"/>
            <a:ext cx="1364139" cy="1717327"/>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537" name="Shape 7">
            <a:extLst>
              <a:ext uri="{FF2B5EF4-FFF2-40B4-BE49-F238E27FC236}">
                <a16:creationId xmlns:a16="http://schemas.microsoft.com/office/drawing/2014/main" id="{54789ABB-4BF4-EBE5-0648-2A725153402D}"/>
              </a:ext>
            </a:extLst>
          </p:cNvPr>
          <p:cNvSpPr/>
          <p:nvPr/>
        </p:nvSpPr>
        <p:spPr>
          <a:xfrm>
            <a:off x="2994908" y="2285031"/>
            <a:ext cx="1364139" cy="1717327"/>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538" name="Text 8">
            <a:extLst>
              <a:ext uri="{FF2B5EF4-FFF2-40B4-BE49-F238E27FC236}">
                <a16:creationId xmlns:a16="http://schemas.microsoft.com/office/drawing/2014/main" id="{264527B5-A2A9-9DDD-978A-9BBD0CE62A41}"/>
              </a:ext>
            </a:extLst>
          </p:cNvPr>
          <p:cNvSpPr/>
          <p:nvPr/>
        </p:nvSpPr>
        <p:spPr>
          <a:xfrm>
            <a:off x="2994905" y="2197974"/>
            <a:ext cx="1401072" cy="313913"/>
          </a:xfrm>
          <a:prstGeom prst="rect">
            <a:avLst/>
          </a:prstGeom>
          <a:noFill/>
          <a:ln/>
        </p:spPr>
        <p:txBody>
          <a:bodyPr wrap="square" lIns="0" tIns="0" rIns="0" bIns="0" rtlCol="0" anchor="t"/>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nSpc>
                <a:spcPts val="2182"/>
              </a:lnSpc>
            </a:pPr>
            <a:r>
              <a:rPr lang="en-US" sz="873">
                <a:solidFill>
                  <a:srgbClr val="000000">
                    <a:alpha val="100000"/>
                  </a:srgbClr>
                </a:solidFill>
                <a:latin typeface="IBM Plex Sans" panose="020B0503050203000203" pitchFamily="34" charset="0"/>
                <a:ea typeface="IBM Plex Sans Bold" pitchFamily="34" charset="-122"/>
                <a:cs typeface="IBM Plex Sans Bold" pitchFamily="34" charset="-120"/>
              </a:rPr>
              <a:t>Data sources</a:t>
            </a:r>
            <a:endParaRPr lang="en-US" sz="873">
              <a:latin typeface="IBM Plex Sans" panose="020B0503050203000203" pitchFamily="34" charset="0"/>
            </a:endParaRPr>
          </a:p>
        </p:txBody>
      </p:sp>
      <p:sp>
        <p:nvSpPr>
          <p:cNvPr id="539" name="Shape 9">
            <a:extLst>
              <a:ext uri="{FF2B5EF4-FFF2-40B4-BE49-F238E27FC236}">
                <a16:creationId xmlns:a16="http://schemas.microsoft.com/office/drawing/2014/main" id="{2DCB1FF1-EDB6-1581-4BA0-AFA6FD26543B}"/>
              </a:ext>
            </a:extLst>
          </p:cNvPr>
          <p:cNvSpPr/>
          <p:nvPr/>
        </p:nvSpPr>
        <p:spPr>
          <a:xfrm>
            <a:off x="2994908" y="2617408"/>
            <a:ext cx="1364139" cy="166196"/>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540" name="Shape 10">
            <a:extLst>
              <a:ext uri="{FF2B5EF4-FFF2-40B4-BE49-F238E27FC236}">
                <a16:creationId xmlns:a16="http://schemas.microsoft.com/office/drawing/2014/main" id="{9D7A5ABB-E8DA-C2C0-B8C6-FFE85028749A}"/>
              </a:ext>
            </a:extLst>
          </p:cNvPr>
          <p:cNvSpPr/>
          <p:nvPr/>
        </p:nvSpPr>
        <p:spPr>
          <a:xfrm>
            <a:off x="2994905" y="2617408"/>
            <a:ext cx="685533" cy="166196"/>
          </a:xfrm>
          <a:prstGeom prst="roundRect">
            <a:avLst>
              <a:gd name="adj" fmla="val 50998"/>
            </a:avLst>
          </a:prstGeom>
          <a:solidFill>
            <a:srgbClr val="E0E0E0">
              <a:alpha val="100000"/>
            </a:srgbClr>
          </a:solid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541" name="Shape 11">
            <a:extLst>
              <a:ext uri="{FF2B5EF4-FFF2-40B4-BE49-F238E27FC236}">
                <a16:creationId xmlns:a16="http://schemas.microsoft.com/office/drawing/2014/main" id="{7C2B9378-74F1-1921-8CBB-A7AA4906F5C9}"/>
              </a:ext>
            </a:extLst>
          </p:cNvPr>
          <p:cNvSpPr/>
          <p:nvPr/>
        </p:nvSpPr>
        <p:spPr>
          <a:xfrm>
            <a:off x="2994905" y="2617411"/>
            <a:ext cx="152340" cy="166189"/>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542" name="Shape 12">
            <a:extLst>
              <a:ext uri="{FF2B5EF4-FFF2-40B4-BE49-F238E27FC236}">
                <a16:creationId xmlns:a16="http://schemas.microsoft.com/office/drawing/2014/main" id="{3F787913-0756-399A-87AD-AB4B3AE0CA0C}"/>
              </a:ext>
            </a:extLst>
          </p:cNvPr>
          <p:cNvSpPr/>
          <p:nvPr/>
        </p:nvSpPr>
        <p:spPr>
          <a:xfrm>
            <a:off x="3022602" y="2645108"/>
            <a:ext cx="110794" cy="110794"/>
          </a:xfrm>
          <a:prstGeom prst="rect">
            <a:avLst/>
          </a:prstGeom>
          <a:solidFill>
            <a:srgbClr val="FFFFFF">
              <a:alpha val="0"/>
            </a:srgbClr>
          </a:solid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pic>
        <p:nvPicPr>
          <p:cNvPr id="543" name="Image 3" descr=" ">
            <a:extLst>
              <a:ext uri="{FF2B5EF4-FFF2-40B4-BE49-F238E27FC236}">
                <a16:creationId xmlns:a16="http://schemas.microsoft.com/office/drawing/2014/main" id="{7BA33520-C7C3-2026-CFC5-067576D76D9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039914" y="2655496"/>
            <a:ext cx="76170" cy="90019"/>
          </a:xfrm>
          <a:prstGeom prst="rect">
            <a:avLst/>
          </a:prstGeom>
        </p:spPr>
      </p:pic>
      <p:sp>
        <p:nvSpPr>
          <p:cNvPr id="544" name="Shape 13">
            <a:extLst>
              <a:ext uri="{FF2B5EF4-FFF2-40B4-BE49-F238E27FC236}">
                <a16:creationId xmlns:a16="http://schemas.microsoft.com/office/drawing/2014/main" id="{C1E7A13D-089D-F3C0-A2BF-40C7DA4A5F7E}"/>
              </a:ext>
            </a:extLst>
          </p:cNvPr>
          <p:cNvSpPr/>
          <p:nvPr/>
        </p:nvSpPr>
        <p:spPr>
          <a:xfrm>
            <a:off x="3105699" y="2617408"/>
            <a:ext cx="574739" cy="166196"/>
          </a:xfrm>
          <a:prstGeom prst="roundRect">
            <a:avLst>
              <a:gd name="adj" fmla="val 98996"/>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545" name="Shape 14">
            <a:extLst>
              <a:ext uri="{FF2B5EF4-FFF2-40B4-BE49-F238E27FC236}">
                <a16:creationId xmlns:a16="http://schemas.microsoft.com/office/drawing/2014/main" id="{CA7EF7FA-463F-7B55-CA08-B4D0D9A74E59}"/>
              </a:ext>
            </a:extLst>
          </p:cNvPr>
          <p:cNvSpPr/>
          <p:nvPr/>
        </p:nvSpPr>
        <p:spPr>
          <a:xfrm>
            <a:off x="3105699" y="2638181"/>
            <a:ext cx="574739" cy="124650"/>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546" name="Text 15">
            <a:extLst>
              <a:ext uri="{FF2B5EF4-FFF2-40B4-BE49-F238E27FC236}">
                <a16:creationId xmlns:a16="http://schemas.microsoft.com/office/drawing/2014/main" id="{069D2698-1F72-84C1-0CCE-7694DE7BBCE6}"/>
              </a:ext>
            </a:extLst>
          </p:cNvPr>
          <p:cNvSpPr/>
          <p:nvPr/>
        </p:nvSpPr>
        <p:spPr>
          <a:xfrm>
            <a:off x="3161094" y="2638181"/>
            <a:ext cx="491644" cy="138491"/>
          </a:xfrm>
          <a:prstGeom prst="rect">
            <a:avLst/>
          </a:prstGeom>
          <a:noFill/>
          <a:ln/>
        </p:spPr>
        <p:txBody>
          <a:bodyPr wrap="square" lIns="0" tIns="0" rIns="0" bIns="0" rtlCol="0" anchor="t"/>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nSpc>
                <a:spcPts val="873"/>
              </a:lnSpc>
            </a:pPr>
            <a:r>
              <a:rPr lang="en-US" sz="655" kern="0" spc="2">
                <a:solidFill>
                  <a:srgbClr val="000000">
                    <a:alpha val="100000"/>
                  </a:srgbClr>
                </a:solidFill>
                <a:latin typeface="IBM Plex Sans" panose="020B0503050203000203" pitchFamily="34" charset="0"/>
                <a:ea typeface="IBM Plex Sans Regular" pitchFamily="34" charset="-122"/>
                <a:cs typeface="IBM Plex Sans Regular" pitchFamily="34" charset="-120"/>
              </a:rPr>
              <a:t>On-premise</a:t>
            </a:r>
            <a:endParaRPr lang="en-US" sz="655">
              <a:latin typeface="IBM Plex Sans" panose="020B0503050203000203" pitchFamily="34" charset="0"/>
            </a:endParaRPr>
          </a:p>
        </p:txBody>
      </p:sp>
      <p:sp>
        <p:nvSpPr>
          <p:cNvPr id="547" name="Shape 16">
            <a:extLst>
              <a:ext uri="{FF2B5EF4-FFF2-40B4-BE49-F238E27FC236}">
                <a16:creationId xmlns:a16="http://schemas.microsoft.com/office/drawing/2014/main" id="{A8D53373-E0E5-CB4D-7354-5A56D44F22CD}"/>
              </a:ext>
            </a:extLst>
          </p:cNvPr>
          <p:cNvSpPr/>
          <p:nvPr/>
        </p:nvSpPr>
        <p:spPr>
          <a:xfrm>
            <a:off x="3337663" y="2748975"/>
            <a:ext cx="110808" cy="7"/>
          </a:xfrm>
          <a:prstGeom prst="rect">
            <a:avLst/>
          </a:prstGeom>
          <a:solidFill>
            <a:srgbClr val="FFFFFF">
              <a:alpha val="0"/>
            </a:srgbClr>
          </a:solid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pic>
        <p:nvPicPr>
          <p:cNvPr id="548" name="Image 4" descr=" ">
            <a:extLst>
              <a:ext uri="{FF2B5EF4-FFF2-40B4-BE49-F238E27FC236}">
                <a16:creationId xmlns:a16="http://schemas.microsoft.com/office/drawing/2014/main" id="{2601552B-77D9-5B92-CD0E-8594DFE6AEE5}"/>
              </a:ext>
            </a:extLst>
          </p:cNvPr>
          <p:cNvPicPr>
            <a:picLocks noChangeAspect="1"/>
          </p:cNvPicPr>
          <p:nvPr/>
        </p:nvPicPr>
        <p:blipFill>
          <a:blip r:embed="rId9"/>
          <a:stretch>
            <a:fillRect/>
          </a:stretch>
        </p:blipFill>
        <p:spPr>
          <a:xfrm>
            <a:off x="3337666" y="2748975"/>
            <a:ext cx="7" cy="7"/>
          </a:xfrm>
          <a:prstGeom prst="rect">
            <a:avLst/>
          </a:prstGeom>
        </p:spPr>
      </p:pic>
      <p:pic>
        <p:nvPicPr>
          <p:cNvPr id="549" name="Image 5" descr=" ">
            <a:extLst>
              <a:ext uri="{FF2B5EF4-FFF2-40B4-BE49-F238E27FC236}">
                <a16:creationId xmlns:a16="http://schemas.microsoft.com/office/drawing/2014/main" id="{611165D3-E649-A23C-F75E-98D2B9DA3127}"/>
              </a:ext>
            </a:extLst>
          </p:cNvPr>
          <p:cNvPicPr>
            <a:picLocks noChangeAspect="1"/>
          </p:cNvPicPr>
          <p:nvPr/>
        </p:nvPicPr>
        <p:blipFill>
          <a:blip r:embed="rId9"/>
          <a:stretch>
            <a:fillRect/>
          </a:stretch>
        </p:blipFill>
        <p:spPr>
          <a:xfrm>
            <a:off x="3448465" y="2748975"/>
            <a:ext cx="7" cy="7"/>
          </a:xfrm>
          <a:prstGeom prst="rect">
            <a:avLst/>
          </a:prstGeom>
        </p:spPr>
      </p:pic>
      <p:sp>
        <p:nvSpPr>
          <p:cNvPr id="550" name="Shape 17">
            <a:extLst>
              <a:ext uri="{FF2B5EF4-FFF2-40B4-BE49-F238E27FC236}">
                <a16:creationId xmlns:a16="http://schemas.microsoft.com/office/drawing/2014/main" id="{3C95C008-33B3-12AD-B34F-9922C31FA511}"/>
              </a:ext>
            </a:extLst>
          </p:cNvPr>
          <p:cNvSpPr/>
          <p:nvPr/>
        </p:nvSpPr>
        <p:spPr>
          <a:xfrm>
            <a:off x="3735834" y="2617408"/>
            <a:ext cx="623212" cy="166196"/>
          </a:xfrm>
          <a:prstGeom prst="roundRect">
            <a:avLst>
              <a:gd name="adj" fmla="val 50998"/>
            </a:avLst>
          </a:prstGeom>
          <a:solidFill>
            <a:srgbClr val="E0E0E0">
              <a:alpha val="100000"/>
            </a:srgbClr>
          </a:solid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551" name="Shape 18">
            <a:extLst>
              <a:ext uri="{FF2B5EF4-FFF2-40B4-BE49-F238E27FC236}">
                <a16:creationId xmlns:a16="http://schemas.microsoft.com/office/drawing/2014/main" id="{2E586C7E-E33E-E4E8-6FB3-057913DC54EF}"/>
              </a:ext>
            </a:extLst>
          </p:cNvPr>
          <p:cNvSpPr/>
          <p:nvPr/>
        </p:nvSpPr>
        <p:spPr>
          <a:xfrm>
            <a:off x="3735835" y="2617411"/>
            <a:ext cx="152340" cy="166189"/>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552" name="Shape 19">
            <a:extLst>
              <a:ext uri="{FF2B5EF4-FFF2-40B4-BE49-F238E27FC236}">
                <a16:creationId xmlns:a16="http://schemas.microsoft.com/office/drawing/2014/main" id="{30587789-118F-23AB-3191-97842F9C159A}"/>
              </a:ext>
            </a:extLst>
          </p:cNvPr>
          <p:cNvSpPr/>
          <p:nvPr/>
        </p:nvSpPr>
        <p:spPr>
          <a:xfrm>
            <a:off x="3763533" y="2645108"/>
            <a:ext cx="110794" cy="110794"/>
          </a:xfrm>
          <a:prstGeom prst="rect">
            <a:avLst/>
          </a:prstGeom>
          <a:solidFill>
            <a:srgbClr val="FFFFFF">
              <a:alpha val="0"/>
            </a:srgbClr>
          </a:solid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pic>
        <p:nvPicPr>
          <p:cNvPr id="553" name="Image 6" descr=" ">
            <a:extLst>
              <a:ext uri="{FF2B5EF4-FFF2-40B4-BE49-F238E27FC236}">
                <a16:creationId xmlns:a16="http://schemas.microsoft.com/office/drawing/2014/main" id="{0AE69FE8-54FE-A196-3B58-3E2C2753128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777368" y="2652902"/>
            <a:ext cx="83123" cy="92617"/>
          </a:xfrm>
          <a:prstGeom prst="rect">
            <a:avLst/>
          </a:prstGeom>
        </p:spPr>
      </p:pic>
      <p:sp>
        <p:nvSpPr>
          <p:cNvPr id="554" name="Shape 20">
            <a:extLst>
              <a:ext uri="{FF2B5EF4-FFF2-40B4-BE49-F238E27FC236}">
                <a16:creationId xmlns:a16="http://schemas.microsoft.com/office/drawing/2014/main" id="{12668762-2D27-937B-88AF-13D18A6882BB}"/>
              </a:ext>
            </a:extLst>
          </p:cNvPr>
          <p:cNvSpPr/>
          <p:nvPr/>
        </p:nvSpPr>
        <p:spPr>
          <a:xfrm>
            <a:off x="3846628" y="2617408"/>
            <a:ext cx="512417" cy="166196"/>
          </a:xfrm>
          <a:prstGeom prst="roundRect">
            <a:avLst>
              <a:gd name="adj" fmla="val 98996"/>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555" name="Shape 21">
            <a:extLst>
              <a:ext uri="{FF2B5EF4-FFF2-40B4-BE49-F238E27FC236}">
                <a16:creationId xmlns:a16="http://schemas.microsoft.com/office/drawing/2014/main" id="{7D605F46-BF9F-9815-43DC-9FDC178410B6}"/>
              </a:ext>
            </a:extLst>
          </p:cNvPr>
          <p:cNvSpPr/>
          <p:nvPr/>
        </p:nvSpPr>
        <p:spPr>
          <a:xfrm>
            <a:off x="3846628" y="2638181"/>
            <a:ext cx="512417" cy="124650"/>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556" name="Text 22">
            <a:extLst>
              <a:ext uri="{FF2B5EF4-FFF2-40B4-BE49-F238E27FC236}">
                <a16:creationId xmlns:a16="http://schemas.microsoft.com/office/drawing/2014/main" id="{37D6FB0E-8BED-7310-6BC1-AEBDE5FB4590}"/>
              </a:ext>
            </a:extLst>
          </p:cNvPr>
          <p:cNvSpPr/>
          <p:nvPr/>
        </p:nvSpPr>
        <p:spPr>
          <a:xfrm>
            <a:off x="3902024" y="2638181"/>
            <a:ext cx="429323" cy="138491"/>
          </a:xfrm>
          <a:prstGeom prst="rect">
            <a:avLst/>
          </a:prstGeom>
          <a:noFill/>
          <a:ln/>
        </p:spPr>
        <p:txBody>
          <a:bodyPr wrap="square" lIns="0" tIns="0" rIns="0" bIns="0" rtlCol="0" anchor="t"/>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nSpc>
                <a:spcPts val="873"/>
              </a:lnSpc>
            </a:pPr>
            <a:r>
              <a:rPr lang="en-US" sz="655" kern="0" spc="2">
                <a:solidFill>
                  <a:srgbClr val="000000">
                    <a:alpha val="100000"/>
                  </a:srgbClr>
                </a:solidFill>
                <a:latin typeface="IBM Plex Sans" panose="020B0503050203000203" pitchFamily="34" charset="0"/>
                <a:ea typeface="IBM Plex Sans Regular" pitchFamily="34" charset="-122"/>
                <a:cs typeface="IBM Plex Sans Regular" pitchFamily="34" charset="-120"/>
              </a:rPr>
              <a:t>Streaming</a:t>
            </a:r>
            <a:endParaRPr lang="en-US" sz="655">
              <a:latin typeface="IBM Plex Sans" panose="020B0503050203000203" pitchFamily="34" charset="0"/>
            </a:endParaRPr>
          </a:p>
        </p:txBody>
      </p:sp>
      <p:sp>
        <p:nvSpPr>
          <p:cNvPr id="557" name="Shape 23">
            <a:extLst>
              <a:ext uri="{FF2B5EF4-FFF2-40B4-BE49-F238E27FC236}">
                <a16:creationId xmlns:a16="http://schemas.microsoft.com/office/drawing/2014/main" id="{91DF2054-D88D-C1D1-0AA5-29304A2A70A6}"/>
              </a:ext>
            </a:extLst>
          </p:cNvPr>
          <p:cNvSpPr/>
          <p:nvPr/>
        </p:nvSpPr>
        <p:spPr>
          <a:xfrm>
            <a:off x="4047433" y="2748975"/>
            <a:ext cx="110808" cy="7"/>
          </a:xfrm>
          <a:prstGeom prst="rect">
            <a:avLst/>
          </a:prstGeom>
          <a:solidFill>
            <a:srgbClr val="FFFFFF">
              <a:alpha val="0"/>
            </a:srgbClr>
          </a:solid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pic>
        <p:nvPicPr>
          <p:cNvPr id="558" name="Image 7" descr=" ">
            <a:extLst>
              <a:ext uri="{FF2B5EF4-FFF2-40B4-BE49-F238E27FC236}">
                <a16:creationId xmlns:a16="http://schemas.microsoft.com/office/drawing/2014/main" id="{C6D411E7-2132-C121-515B-9A6E7453BD19}"/>
              </a:ext>
            </a:extLst>
          </p:cNvPr>
          <p:cNvPicPr>
            <a:picLocks noChangeAspect="1"/>
          </p:cNvPicPr>
          <p:nvPr/>
        </p:nvPicPr>
        <p:blipFill>
          <a:blip r:embed="rId9"/>
          <a:stretch>
            <a:fillRect/>
          </a:stretch>
        </p:blipFill>
        <p:spPr>
          <a:xfrm>
            <a:off x="4047433" y="2748975"/>
            <a:ext cx="7" cy="7"/>
          </a:xfrm>
          <a:prstGeom prst="rect">
            <a:avLst/>
          </a:prstGeom>
        </p:spPr>
      </p:pic>
      <p:pic>
        <p:nvPicPr>
          <p:cNvPr id="559" name="Image 8" descr=" ">
            <a:extLst>
              <a:ext uri="{FF2B5EF4-FFF2-40B4-BE49-F238E27FC236}">
                <a16:creationId xmlns:a16="http://schemas.microsoft.com/office/drawing/2014/main" id="{4B67EBB4-EFE5-B631-D333-ACF18117BBF1}"/>
              </a:ext>
            </a:extLst>
          </p:cNvPr>
          <p:cNvPicPr>
            <a:picLocks noChangeAspect="1"/>
          </p:cNvPicPr>
          <p:nvPr/>
        </p:nvPicPr>
        <p:blipFill>
          <a:blip r:embed="rId9"/>
          <a:stretch>
            <a:fillRect/>
          </a:stretch>
        </p:blipFill>
        <p:spPr>
          <a:xfrm>
            <a:off x="4158234" y="2748975"/>
            <a:ext cx="7" cy="7"/>
          </a:xfrm>
          <a:prstGeom prst="rect">
            <a:avLst/>
          </a:prstGeom>
        </p:spPr>
      </p:pic>
      <p:sp>
        <p:nvSpPr>
          <p:cNvPr id="560" name="Shape 24">
            <a:extLst>
              <a:ext uri="{FF2B5EF4-FFF2-40B4-BE49-F238E27FC236}">
                <a16:creationId xmlns:a16="http://schemas.microsoft.com/office/drawing/2014/main" id="{DED765E5-EBFA-4830-ADFC-D27A86826227}"/>
              </a:ext>
            </a:extLst>
          </p:cNvPr>
          <p:cNvSpPr/>
          <p:nvPr/>
        </p:nvSpPr>
        <p:spPr>
          <a:xfrm>
            <a:off x="2994908" y="2839001"/>
            <a:ext cx="1364139" cy="166196"/>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561" name="Shape 25">
            <a:extLst>
              <a:ext uri="{FF2B5EF4-FFF2-40B4-BE49-F238E27FC236}">
                <a16:creationId xmlns:a16="http://schemas.microsoft.com/office/drawing/2014/main" id="{E9E98AE7-5585-73DF-1F58-1BF97D45563C}"/>
              </a:ext>
            </a:extLst>
          </p:cNvPr>
          <p:cNvSpPr/>
          <p:nvPr/>
        </p:nvSpPr>
        <p:spPr>
          <a:xfrm>
            <a:off x="2994907" y="2839001"/>
            <a:ext cx="450096" cy="166196"/>
          </a:xfrm>
          <a:prstGeom prst="roundRect">
            <a:avLst>
              <a:gd name="adj" fmla="val 50998"/>
            </a:avLst>
          </a:prstGeom>
          <a:solidFill>
            <a:srgbClr val="E0E0E0">
              <a:alpha val="100000"/>
            </a:srgbClr>
          </a:solid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562" name="Shape 26">
            <a:extLst>
              <a:ext uri="{FF2B5EF4-FFF2-40B4-BE49-F238E27FC236}">
                <a16:creationId xmlns:a16="http://schemas.microsoft.com/office/drawing/2014/main" id="{CDB248FC-416D-FCAF-FE67-9E0E07F2B9EC}"/>
              </a:ext>
            </a:extLst>
          </p:cNvPr>
          <p:cNvSpPr/>
          <p:nvPr/>
        </p:nvSpPr>
        <p:spPr>
          <a:xfrm>
            <a:off x="2994905" y="2839007"/>
            <a:ext cx="152340" cy="166189"/>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563" name="Shape 27">
            <a:extLst>
              <a:ext uri="{FF2B5EF4-FFF2-40B4-BE49-F238E27FC236}">
                <a16:creationId xmlns:a16="http://schemas.microsoft.com/office/drawing/2014/main" id="{C044E896-22B5-2791-B25A-C63D081FD89C}"/>
              </a:ext>
            </a:extLst>
          </p:cNvPr>
          <p:cNvSpPr/>
          <p:nvPr/>
        </p:nvSpPr>
        <p:spPr>
          <a:xfrm>
            <a:off x="3022602" y="2866701"/>
            <a:ext cx="110794" cy="110794"/>
          </a:xfrm>
          <a:prstGeom prst="rect">
            <a:avLst/>
          </a:prstGeom>
          <a:solidFill>
            <a:srgbClr val="FFFFFF">
              <a:alpha val="0"/>
            </a:srgbClr>
          </a:solid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pic>
        <p:nvPicPr>
          <p:cNvPr id="564" name="Image 9" descr=" ">
            <a:extLst>
              <a:ext uri="{FF2B5EF4-FFF2-40B4-BE49-F238E27FC236}">
                <a16:creationId xmlns:a16="http://schemas.microsoft.com/office/drawing/2014/main" id="{F912FA45-A7B3-2FF6-BB42-7FF6F97611F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022627" y="2884013"/>
            <a:ext cx="110683" cy="79634"/>
          </a:xfrm>
          <a:prstGeom prst="rect">
            <a:avLst/>
          </a:prstGeom>
        </p:spPr>
      </p:pic>
      <p:sp>
        <p:nvSpPr>
          <p:cNvPr id="565" name="Shape 28">
            <a:extLst>
              <a:ext uri="{FF2B5EF4-FFF2-40B4-BE49-F238E27FC236}">
                <a16:creationId xmlns:a16="http://schemas.microsoft.com/office/drawing/2014/main" id="{B09223DA-F0ED-F5EA-50C6-388F7C92F3A2}"/>
              </a:ext>
            </a:extLst>
          </p:cNvPr>
          <p:cNvSpPr/>
          <p:nvPr/>
        </p:nvSpPr>
        <p:spPr>
          <a:xfrm>
            <a:off x="3105698" y="2839001"/>
            <a:ext cx="339304" cy="166196"/>
          </a:xfrm>
          <a:prstGeom prst="roundRect">
            <a:avLst>
              <a:gd name="adj" fmla="val 98996"/>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566" name="Shape 29">
            <a:extLst>
              <a:ext uri="{FF2B5EF4-FFF2-40B4-BE49-F238E27FC236}">
                <a16:creationId xmlns:a16="http://schemas.microsoft.com/office/drawing/2014/main" id="{C93D7DBC-C8D2-8ED6-358E-2F8AFFAC3B47}"/>
              </a:ext>
            </a:extLst>
          </p:cNvPr>
          <p:cNvSpPr/>
          <p:nvPr/>
        </p:nvSpPr>
        <p:spPr>
          <a:xfrm>
            <a:off x="3105698" y="2859774"/>
            <a:ext cx="339304" cy="124650"/>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567" name="Text 30">
            <a:extLst>
              <a:ext uri="{FF2B5EF4-FFF2-40B4-BE49-F238E27FC236}">
                <a16:creationId xmlns:a16="http://schemas.microsoft.com/office/drawing/2014/main" id="{13C56BB4-8F59-46A7-83CA-018948D0068C}"/>
              </a:ext>
            </a:extLst>
          </p:cNvPr>
          <p:cNvSpPr/>
          <p:nvPr/>
        </p:nvSpPr>
        <p:spPr>
          <a:xfrm>
            <a:off x="3161096" y="2859777"/>
            <a:ext cx="256210" cy="138491"/>
          </a:xfrm>
          <a:prstGeom prst="rect">
            <a:avLst/>
          </a:prstGeom>
          <a:noFill/>
          <a:ln/>
        </p:spPr>
        <p:txBody>
          <a:bodyPr wrap="square" lIns="0" tIns="0" rIns="0" bIns="0" rtlCol="0" anchor="t"/>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nSpc>
                <a:spcPts val="873"/>
              </a:lnSpc>
            </a:pPr>
            <a:r>
              <a:rPr lang="en-US" sz="655" kern="0" spc="2">
                <a:solidFill>
                  <a:srgbClr val="000000">
                    <a:alpha val="100000"/>
                  </a:srgbClr>
                </a:solidFill>
                <a:latin typeface="IBM Plex Sans" panose="020B0503050203000203" pitchFamily="34" charset="0"/>
                <a:ea typeface="IBM Plex Sans Regular" pitchFamily="34" charset="-122"/>
                <a:cs typeface="IBM Plex Sans Regular" pitchFamily="34" charset="-120"/>
              </a:rPr>
              <a:t>Cloud</a:t>
            </a:r>
            <a:endParaRPr lang="en-US" sz="655">
              <a:latin typeface="IBM Plex Sans" panose="020B0503050203000203" pitchFamily="34" charset="0"/>
            </a:endParaRPr>
          </a:p>
        </p:txBody>
      </p:sp>
      <p:sp>
        <p:nvSpPr>
          <p:cNvPr id="568" name="Shape 31">
            <a:extLst>
              <a:ext uri="{FF2B5EF4-FFF2-40B4-BE49-F238E27FC236}">
                <a16:creationId xmlns:a16="http://schemas.microsoft.com/office/drawing/2014/main" id="{8B9910CE-6EC9-A9DB-EE03-5142538020D1}"/>
              </a:ext>
            </a:extLst>
          </p:cNvPr>
          <p:cNvSpPr/>
          <p:nvPr/>
        </p:nvSpPr>
        <p:spPr>
          <a:xfrm>
            <a:off x="3219946" y="2970568"/>
            <a:ext cx="110808" cy="7"/>
          </a:xfrm>
          <a:prstGeom prst="rect">
            <a:avLst/>
          </a:prstGeom>
          <a:solidFill>
            <a:srgbClr val="FFFFFF">
              <a:alpha val="0"/>
            </a:srgbClr>
          </a:solid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pic>
        <p:nvPicPr>
          <p:cNvPr id="569" name="Image 10" descr=" ">
            <a:extLst>
              <a:ext uri="{FF2B5EF4-FFF2-40B4-BE49-F238E27FC236}">
                <a16:creationId xmlns:a16="http://schemas.microsoft.com/office/drawing/2014/main" id="{9E7C830D-F4AC-E6C3-C685-D68BC2F00727}"/>
              </a:ext>
            </a:extLst>
          </p:cNvPr>
          <p:cNvPicPr>
            <a:picLocks noChangeAspect="1"/>
          </p:cNvPicPr>
          <p:nvPr/>
        </p:nvPicPr>
        <p:blipFill>
          <a:blip r:embed="rId9"/>
          <a:stretch>
            <a:fillRect/>
          </a:stretch>
        </p:blipFill>
        <p:spPr>
          <a:xfrm>
            <a:off x="3219948" y="2970568"/>
            <a:ext cx="7" cy="7"/>
          </a:xfrm>
          <a:prstGeom prst="rect">
            <a:avLst/>
          </a:prstGeom>
        </p:spPr>
      </p:pic>
      <p:pic>
        <p:nvPicPr>
          <p:cNvPr id="570" name="Image 11" descr=" ">
            <a:extLst>
              <a:ext uri="{FF2B5EF4-FFF2-40B4-BE49-F238E27FC236}">
                <a16:creationId xmlns:a16="http://schemas.microsoft.com/office/drawing/2014/main" id="{BB247125-850E-D227-5E60-911F8B483C06}"/>
              </a:ext>
            </a:extLst>
          </p:cNvPr>
          <p:cNvPicPr>
            <a:picLocks noChangeAspect="1"/>
          </p:cNvPicPr>
          <p:nvPr/>
        </p:nvPicPr>
        <p:blipFill>
          <a:blip r:embed="rId9"/>
          <a:stretch>
            <a:fillRect/>
          </a:stretch>
        </p:blipFill>
        <p:spPr>
          <a:xfrm>
            <a:off x="3330749" y="2970568"/>
            <a:ext cx="7" cy="7"/>
          </a:xfrm>
          <a:prstGeom prst="rect">
            <a:avLst/>
          </a:prstGeom>
        </p:spPr>
      </p:pic>
      <p:sp>
        <p:nvSpPr>
          <p:cNvPr id="571" name="Text 32">
            <a:extLst>
              <a:ext uri="{FF2B5EF4-FFF2-40B4-BE49-F238E27FC236}">
                <a16:creationId xmlns:a16="http://schemas.microsoft.com/office/drawing/2014/main" id="{DE19A2D0-44DA-B52F-7032-E15B980444F6}"/>
              </a:ext>
            </a:extLst>
          </p:cNvPr>
          <p:cNvSpPr/>
          <p:nvPr/>
        </p:nvSpPr>
        <p:spPr>
          <a:xfrm>
            <a:off x="2994905" y="3060595"/>
            <a:ext cx="1401072" cy="313913"/>
          </a:xfrm>
          <a:prstGeom prst="rect">
            <a:avLst/>
          </a:prstGeom>
          <a:noFill/>
          <a:ln/>
        </p:spPr>
        <p:txBody>
          <a:bodyPr wrap="square" lIns="0" tIns="0" rIns="0" bIns="0" rtlCol="0" anchor="t"/>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nSpc>
                <a:spcPts val="2182"/>
              </a:lnSpc>
            </a:pPr>
            <a:r>
              <a:rPr lang="en-US" sz="873">
                <a:solidFill>
                  <a:srgbClr val="000000">
                    <a:alpha val="100000"/>
                  </a:srgbClr>
                </a:solidFill>
                <a:latin typeface="IBM Plex Sans" panose="020B0503050203000203" pitchFamily="34" charset="0"/>
                <a:ea typeface="IBM Plex Sans Bold" pitchFamily="34" charset="-122"/>
                <a:cs typeface="IBM Plex Sans Bold" pitchFamily="34" charset="-120"/>
              </a:rPr>
              <a:t>Data types</a:t>
            </a:r>
            <a:endParaRPr lang="en-US" sz="873">
              <a:latin typeface="IBM Plex Sans" panose="020B0503050203000203" pitchFamily="34" charset="0"/>
            </a:endParaRPr>
          </a:p>
        </p:txBody>
      </p:sp>
      <p:sp>
        <p:nvSpPr>
          <p:cNvPr id="572" name="Shape 33">
            <a:extLst>
              <a:ext uri="{FF2B5EF4-FFF2-40B4-BE49-F238E27FC236}">
                <a16:creationId xmlns:a16="http://schemas.microsoft.com/office/drawing/2014/main" id="{67FF8AD4-C567-0AF1-101C-BB0127C261C3}"/>
              </a:ext>
            </a:extLst>
          </p:cNvPr>
          <p:cNvSpPr/>
          <p:nvPr/>
        </p:nvSpPr>
        <p:spPr>
          <a:xfrm>
            <a:off x="2994908" y="3392974"/>
            <a:ext cx="1364139" cy="166196"/>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573" name="Shape 34">
            <a:extLst>
              <a:ext uri="{FF2B5EF4-FFF2-40B4-BE49-F238E27FC236}">
                <a16:creationId xmlns:a16="http://schemas.microsoft.com/office/drawing/2014/main" id="{538ADD0D-7FD3-2946-E2CA-8863938F600E}"/>
              </a:ext>
            </a:extLst>
          </p:cNvPr>
          <p:cNvSpPr/>
          <p:nvPr/>
        </p:nvSpPr>
        <p:spPr>
          <a:xfrm>
            <a:off x="2994905" y="3392974"/>
            <a:ext cx="643984" cy="166196"/>
          </a:xfrm>
          <a:prstGeom prst="roundRect">
            <a:avLst>
              <a:gd name="adj" fmla="val 50998"/>
            </a:avLst>
          </a:prstGeom>
          <a:solidFill>
            <a:srgbClr val="E0E0E0">
              <a:alpha val="100000"/>
            </a:srgbClr>
          </a:solid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574" name="Shape 35">
            <a:extLst>
              <a:ext uri="{FF2B5EF4-FFF2-40B4-BE49-F238E27FC236}">
                <a16:creationId xmlns:a16="http://schemas.microsoft.com/office/drawing/2014/main" id="{915BB8D1-0B77-C1AA-8B19-60CD40DC79ED}"/>
              </a:ext>
            </a:extLst>
          </p:cNvPr>
          <p:cNvSpPr/>
          <p:nvPr/>
        </p:nvSpPr>
        <p:spPr>
          <a:xfrm>
            <a:off x="2994905" y="3392977"/>
            <a:ext cx="152340" cy="166189"/>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575" name="Shape 36">
            <a:extLst>
              <a:ext uri="{FF2B5EF4-FFF2-40B4-BE49-F238E27FC236}">
                <a16:creationId xmlns:a16="http://schemas.microsoft.com/office/drawing/2014/main" id="{889B8F35-2A4F-E9D5-958B-F2E4747C4162}"/>
              </a:ext>
            </a:extLst>
          </p:cNvPr>
          <p:cNvSpPr/>
          <p:nvPr/>
        </p:nvSpPr>
        <p:spPr>
          <a:xfrm>
            <a:off x="3022602" y="3420674"/>
            <a:ext cx="110794" cy="110794"/>
          </a:xfrm>
          <a:prstGeom prst="rect">
            <a:avLst/>
          </a:prstGeom>
          <a:solidFill>
            <a:srgbClr val="FFFFFF">
              <a:alpha val="0"/>
            </a:srgbClr>
          </a:solid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pic>
        <p:nvPicPr>
          <p:cNvPr id="576" name="Image 12" descr=" ">
            <a:extLst>
              <a:ext uri="{FF2B5EF4-FFF2-40B4-BE49-F238E27FC236}">
                <a16:creationId xmlns:a16="http://schemas.microsoft.com/office/drawing/2014/main" id="{FA3DEB32-A5ED-90A8-94A6-D3CDDE7E7B1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029529" y="3427599"/>
            <a:ext cx="96943" cy="96985"/>
          </a:xfrm>
          <a:prstGeom prst="rect">
            <a:avLst/>
          </a:prstGeom>
        </p:spPr>
      </p:pic>
      <p:sp>
        <p:nvSpPr>
          <p:cNvPr id="577" name="Shape 37">
            <a:extLst>
              <a:ext uri="{FF2B5EF4-FFF2-40B4-BE49-F238E27FC236}">
                <a16:creationId xmlns:a16="http://schemas.microsoft.com/office/drawing/2014/main" id="{8890D311-BDF5-152D-F5AA-05EFBEB91E73}"/>
              </a:ext>
            </a:extLst>
          </p:cNvPr>
          <p:cNvSpPr/>
          <p:nvPr/>
        </p:nvSpPr>
        <p:spPr>
          <a:xfrm>
            <a:off x="3105697" y="3392974"/>
            <a:ext cx="533193" cy="166196"/>
          </a:xfrm>
          <a:prstGeom prst="roundRect">
            <a:avLst>
              <a:gd name="adj" fmla="val 98996"/>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578" name="Shape 38">
            <a:extLst>
              <a:ext uri="{FF2B5EF4-FFF2-40B4-BE49-F238E27FC236}">
                <a16:creationId xmlns:a16="http://schemas.microsoft.com/office/drawing/2014/main" id="{413601D4-DC24-4C78-5307-3E1022214823}"/>
              </a:ext>
            </a:extLst>
          </p:cNvPr>
          <p:cNvSpPr/>
          <p:nvPr/>
        </p:nvSpPr>
        <p:spPr>
          <a:xfrm>
            <a:off x="3105697" y="3413747"/>
            <a:ext cx="533193" cy="124650"/>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579" name="Text 39">
            <a:extLst>
              <a:ext uri="{FF2B5EF4-FFF2-40B4-BE49-F238E27FC236}">
                <a16:creationId xmlns:a16="http://schemas.microsoft.com/office/drawing/2014/main" id="{3BB1D654-BBDB-B58D-2177-12A8CD47252F}"/>
              </a:ext>
            </a:extLst>
          </p:cNvPr>
          <p:cNvSpPr/>
          <p:nvPr/>
        </p:nvSpPr>
        <p:spPr>
          <a:xfrm>
            <a:off x="3161097" y="3413747"/>
            <a:ext cx="450096" cy="138491"/>
          </a:xfrm>
          <a:prstGeom prst="rect">
            <a:avLst/>
          </a:prstGeom>
          <a:noFill/>
          <a:ln/>
        </p:spPr>
        <p:txBody>
          <a:bodyPr wrap="square" lIns="0" tIns="0" rIns="0" bIns="0" rtlCol="0" anchor="t"/>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nSpc>
                <a:spcPts val="873"/>
              </a:lnSpc>
            </a:pPr>
            <a:r>
              <a:rPr lang="en-US" sz="655" kern="0" spc="2">
                <a:solidFill>
                  <a:srgbClr val="000000">
                    <a:alpha val="100000"/>
                  </a:srgbClr>
                </a:solidFill>
                <a:latin typeface="IBM Plex Sans" panose="020B0503050203000203" pitchFamily="34" charset="0"/>
                <a:ea typeface="IBM Plex Sans Regular" pitchFamily="34" charset="-122"/>
                <a:cs typeface="IBM Plex Sans Regular" pitchFamily="34" charset="-120"/>
              </a:rPr>
              <a:t>Structured</a:t>
            </a:r>
            <a:endParaRPr lang="en-US" sz="655">
              <a:latin typeface="IBM Plex Sans" panose="020B0503050203000203" pitchFamily="34" charset="0"/>
            </a:endParaRPr>
          </a:p>
        </p:txBody>
      </p:sp>
      <p:sp>
        <p:nvSpPr>
          <p:cNvPr id="580" name="Shape 40">
            <a:extLst>
              <a:ext uri="{FF2B5EF4-FFF2-40B4-BE49-F238E27FC236}">
                <a16:creationId xmlns:a16="http://schemas.microsoft.com/office/drawing/2014/main" id="{F14F282B-F8B9-26EA-4B48-A62D8425CF4C}"/>
              </a:ext>
            </a:extLst>
          </p:cNvPr>
          <p:cNvSpPr/>
          <p:nvPr/>
        </p:nvSpPr>
        <p:spPr>
          <a:xfrm>
            <a:off x="3316890" y="3524541"/>
            <a:ext cx="110808" cy="7"/>
          </a:xfrm>
          <a:prstGeom prst="rect">
            <a:avLst/>
          </a:prstGeom>
          <a:solidFill>
            <a:srgbClr val="FFFFFF">
              <a:alpha val="0"/>
            </a:srgbClr>
          </a:solid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pic>
        <p:nvPicPr>
          <p:cNvPr id="581" name="Image 13" descr=" ">
            <a:extLst>
              <a:ext uri="{FF2B5EF4-FFF2-40B4-BE49-F238E27FC236}">
                <a16:creationId xmlns:a16="http://schemas.microsoft.com/office/drawing/2014/main" id="{AB4F636E-4D34-42D4-CEB7-2F4988650053}"/>
              </a:ext>
            </a:extLst>
          </p:cNvPr>
          <p:cNvPicPr>
            <a:picLocks noChangeAspect="1"/>
          </p:cNvPicPr>
          <p:nvPr/>
        </p:nvPicPr>
        <p:blipFill>
          <a:blip r:embed="rId9"/>
          <a:stretch>
            <a:fillRect/>
          </a:stretch>
        </p:blipFill>
        <p:spPr>
          <a:xfrm>
            <a:off x="3316894" y="3524541"/>
            <a:ext cx="7" cy="7"/>
          </a:xfrm>
          <a:prstGeom prst="rect">
            <a:avLst/>
          </a:prstGeom>
        </p:spPr>
      </p:pic>
      <p:pic>
        <p:nvPicPr>
          <p:cNvPr id="582" name="Image 14" descr=" ">
            <a:extLst>
              <a:ext uri="{FF2B5EF4-FFF2-40B4-BE49-F238E27FC236}">
                <a16:creationId xmlns:a16="http://schemas.microsoft.com/office/drawing/2014/main" id="{7B8FFC35-24AA-FB29-C992-0606393F098C}"/>
              </a:ext>
            </a:extLst>
          </p:cNvPr>
          <p:cNvPicPr>
            <a:picLocks noChangeAspect="1"/>
          </p:cNvPicPr>
          <p:nvPr/>
        </p:nvPicPr>
        <p:blipFill>
          <a:blip r:embed="rId9"/>
          <a:stretch>
            <a:fillRect/>
          </a:stretch>
        </p:blipFill>
        <p:spPr>
          <a:xfrm>
            <a:off x="3427692" y="3524541"/>
            <a:ext cx="7" cy="7"/>
          </a:xfrm>
          <a:prstGeom prst="rect">
            <a:avLst/>
          </a:prstGeom>
        </p:spPr>
      </p:pic>
      <p:sp>
        <p:nvSpPr>
          <p:cNvPr id="583" name="Shape 41">
            <a:extLst>
              <a:ext uri="{FF2B5EF4-FFF2-40B4-BE49-F238E27FC236}">
                <a16:creationId xmlns:a16="http://schemas.microsoft.com/office/drawing/2014/main" id="{BA92ED17-9857-79C9-2AE0-B9DA399F563A}"/>
              </a:ext>
            </a:extLst>
          </p:cNvPr>
          <p:cNvSpPr/>
          <p:nvPr/>
        </p:nvSpPr>
        <p:spPr>
          <a:xfrm>
            <a:off x="2994908" y="3614566"/>
            <a:ext cx="1364139" cy="166196"/>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584" name="Shape 42">
            <a:extLst>
              <a:ext uri="{FF2B5EF4-FFF2-40B4-BE49-F238E27FC236}">
                <a16:creationId xmlns:a16="http://schemas.microsoft.com/office/drawing/2014/main" id="{CD123D8C-6197-17FB-EC4A-A938B5664AF6}"/>
              </a:ext>
            </a:extLst>
          </p:cNvPr>
          <p:cNvSpPr/>
          <p:nvPr/>
        </p:nvSpPr>
        <p:spPr>
          <a:xfrm>
            <a:off x="2994907" y="3614566"/>
            <a:ext cx="865570" cy="166196"/>
          </a:xfrm>
          <a:prstGeom prst="roundRect">
            <a:avLst>
              <a:gd name="adj" fmla="val 50998"/>
            </a:avLst>
          </a:prstGeom>
          <a:solidFill>
            <a:srgbClr val="E0E0E0">
              <a:alpha val="100000"/>
            </a:srgbClr>
          </a:solid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585" name="Shape 43">
            <a:extLst>
              <a:ext uri="{FF2B5EF4-FFF2-40B4-BE49-F238E27FC236}">
                <a16:creationId xmlns:a16="http://schemas.microsoft.com/office/drawing/2014/main" id="{C683B406-9B10-4770-3147-ECABB7EA7CA6}"/>
              </a:ext>
            </a:extLst>
          </p:cNvPr>
          <p:cNvSpPr/>
          <p:nvPr/>
        </p:nvSpPr>
        <p:spPr>
          <a:xfrm>
            <a:off x="2994905" y="3614572"/>
            <a:ext cx="152340" cy="166189"/>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586" name="Shape 44">
            <a:extLst>
              <a:ext uri="{FF2B5EF4-FFF2-40B4-BE49-F238E27FC236}">
                <a16:creationId xmlns:a16="http://schemas.microsoft.com/office/drawing/2014/main" id="{3070020C-2FF5-11AA-E48B-4A810C91EE30}"/>
              </a:ext>
            </a:extLst>
          </p:cNvPr>
          <p:cNvSpPr/>
          <p:nvPr/>
        </p:nvSpPr>
        <p:spPr>
          <a:xfrm>
            <a:off x="3022602" y="3642266"/>
            <a:ext cx="110794" cy="110794"/>
          </a:xfrm>
          <a:prstGeom prst="rect">
            <a:avLst/>
          </a:prstGeom>
          <a:solidFill>
            <a:srgbClr val="FFFFFF">
              <a:alpha val="0"/>
            </a:srgbClr>
          </a:solid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pic>
        <p:nvPicPr>
          <p:cNvPr id="587" name="Image 15" descr=" ">
            <a:extLst>
              <a:ext uri="{FF2B5EF4-FFF2-40B4-BE49-F238E27FC236}">
                <a16:creationId xmlns:a16="http://schemas.microsoft.com/office/drawing/2014/main" id="{EBD58CB6-64A3-9602-F4D1-3AC90C272B52}"/>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029529" y="3649193"/>
            <a:ext cx="96943" cy="96943"/>
          </a:xfrm>
          <a:prstGeom prst="rect">
            <a:avLst/>
          </a:prstGeom>
        </p:spPr>
      </p:pic>
      <p:sp>
        <p:nvSpPr>
          <p:cNvPr id="588" name="Shape 45">
            <a:extLst>
              <a:ext uri="{FF2B5EF4-FFF2-40B4-BE49-F238E27FC236}">
                <a16:creationId xmlns:a16="http://schemas.microsoft.com/office/drawing/2014/main" id="{78C926F8-B06C-CC06-D322-EF18315BF899}"/>
              </a:ext>
            </a:extLst>
          </p:cNvPr>
          <p:cNvSpPr/>
          <p:nvPr/>
        </p:nvSpPr>
        <p:spPr>
          <a:xfrm>
            <a:off x="3105699" y="3614566"/>
            <a:ext cx="754779" cy="166196"/>
          </a:xfrm>
          <a:prstGeom prst="roundRect">
            <a:avLst>
              <a:gd name="adj" fmla="val 98996"/>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589" name="Shape 46">
            <a:extLst>
              <a:ext uri="{FF2B5EF4-FFF2-40B4-BE49-F238E27FC236}">
                <a16:creationId xmlns:a16="http://schemas.microsoft.com/office/drawing/2014/main" id="{34C0D160-12F3-2DBC-2D28-EF09D31CAE73}"/>
              </a:ext>
            </a:extLst>
          </p:cNvPr>
          <p:cNvSpPr/>
          <p:nvPr/>
        </p:nvSpPr>
        <p:spPr>
          <a:xfrm>
            <a:off x="3105699" y="3635339"/>
            <a:ext cx="754779" cy="124650"/>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590" name="Text 47">
            <a:extLst>
              <a:ext uri="{FF2B5EF4-FFF2-40B4-BE49-F238E27FC236}">
                <a16:creationId xmlns:a16="http://schemas.microsoft.com/office/drawing/2014/main" id="{B54C6318-430A-27B9-6ABF-99B49040CED6}"/>
              </a:ext>
            </a:extLst>
          </p:cNvPr>
          <p:cNvSpPr/>
          <p:nvPr/>
        </p:nvSpPr>
        <p:spPr>
          <a:xfrm>
            <a:off x="3161096" y="3635342"/>
            <a:ext cx="671684" cy="138491"/>
          </a:xfrm>
          <a:prstGeom prst="rect">
            <a:avLst/>
          </a:prstGeom>
          <a:noFill/>
          <a:ln/>
        </p:spPr>
        <p:txBody>
          <a:bodyPr wrap="square" lIns="0" tIns="0" rIns="0" bIns="0" rtlCol="0" anchor="t"/>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nSpc>
                <a:spcPts val="873"/>
              </a:lnSpc>
            </a:pPr>
            <a:r>
              <a:rPr lang="en-US" sz="655" kern="0" spc="2">
                <a:solidFill>
                  <a:srgbClr val="000000">
                    <a:alpha val="100000"/>
                  </a:srgbClr>
                </a:solidFill>
                <a:latin typeface="IBM Plex Sans" panose="020B0503050203000203" pitchFamily="34" charset="0"/>
                <a:ea typeface="IBM Plex Sans Regular" pitchFamily="34" charset="-122"/>
                <a:cs typeface="IBM Plex Sans Regular" pitchFamily="34" charset="-120"/>
              </a:rPr>
              <a:t>Semi-structured</a:t>
            </a:r>
            <a:endParaRPr lang="en-US" sz="655">
              <a:latin typeface="IBM Plex Sans" panose="020B0503050203000203" pitchFamily="34" charset="0"/>
            </a:endParaRPr>
          </a:p>
        </p:txBody>
      </p:sp>
      <p:sp>
        <p:nvSpPr>
          <p:cNvPr id="591" name="Shape 48">
            <a:extLst>
              <a:ext uri="{FF2B5EF4-FFF2-40B4-BE49-F238E27FC236}">
                <a16:creationId xmlns:a16="http://schemas.microsoft.com/office/drawing/2014/main" id="{EBA6A512-91A1-2490-0AF9-7AAC0E2B1C4C}"/>
              </a:ext>
            </a:extLst>
          </p:cNvPr>
          <p:cNvSpPr/>
          <p:nvPr/>
        </p:nvSpPr>
        <p:spPr>
          <a:xfrm>
            <a:off x="3427682" y="3746133"/>
            <a:ext cx="110808" cy="7"/>
          </a:xfrm>
          <a:prstGeom prst="rect">
            <a:avLst/>
          </a:prstGeom>
          <a:solidFill>
            <a:srgbClr val="FFFFFF">
              <a:alpha val="0"/>
            </a:srgbClr>
          </a:solid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pic>
        <p:nvPicPr>
          <p:cNvPr id="592" name="Image 16" descr=" ">
            <a:extLst>
              <a:ext uri="{FF2B5EF4-FFF2-40B4-BE49-F238E27FC236}">
                <a16:creationId xmlns:a16="http://schemas.microsoft.com/office/drawing/2014/main" id="{EB43CF87-CA5A-BD89-1C35-85EB66B8C5A1}"/>
              </a:ext>
            </a:extLst>
          </p:cNvPr>
          <p:cNvPicPr>
            <a:picLocks noChangeAspect="1"/>
          </p:cNvPicPr>
          <p:nvPr/>
        </p:nvPicPr>
        <p:blipFill>
          <a:blip r:embed="rId9"/>
          <a:stretch>
            <a:fillRect/>
          </a:stretch>
        </p:blipFill>
        <p:spPr>
          <a:xfrm>
            <a:off x="3427685" y="3746133"/>
            <a:ext cx="7" cy="7"/>
          </a:xfrm>
          <a:prstGeom prst="rect">
            <a:avLst/>
          </a:prstGeom>
        </p:spPr>
      </p:pic>
      <p:pic>
        <p:nvPicPr>
          <p:cNvPr id="593" name="Image 17" descr=" ">
            <a:extLst>
              <a:ext uri="{FF2B5EF4-FFF2-40B4-BE49-F238E27FC236}">
                <a16:creationId xmlns:a16="http://schemas.microsoft.com/office/drawing/2014/main" id="{DA957CAD-1CCC-7D95-7C81-5630FBA596C1}"/>
              </a:ext>
            </a:extLst>
          </p:cNvPr>
          <p:cNvPicPr>
            <a:picLocks noChangeAspect="1"/>
          </p:cNvPicPr>
          <p:nvPr/>
        </p:nvPicPr>
        <p:blipFill>
          <a:blip r:embed="rId9"/>
          <a:stretch>
            <a:fillRect/>
          </a:stretch>
        </p:blipFill>
        <p:spPr>
          <a:xfrm>
            <a:off x="3538486" y="3746133"/>
            <a:ext cx="7" cy="7"/>
          </a:xfrm>
          <a:prstGeom prst="rect">
            <a:avLst/>
          </a:prstGeom>
        </p:spPr>
      </p:pic>
      <p:sp>
        <p:nvSpPr>
          <p:cNvPr id="594" name="Shape 49">
            <a:extLst>
              <a:ext uri="{FF2B5EF4-FFF2-40B4-BE49-F238E27FC236}">
                <a16:creationId xmlns:a16="http://schemas.microsoft.com/office/drawing/2014/main" id="{DD8F5096-5D0B-EA11-AB77-F891BDF0AD3D}"/>
              </a:ext>
            </a:extLst>
          </p:cNvPr>
          <p:cNvSpPr/>
          <p:nvPr/>
        </p:nvSpPr>
        <p:spPr>
          <a:xfrm>
            <a:off x="2994908" y="3836159"/>
            <a:ext cx="1364139" cy="166196"/>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595" name="Shape 50">
            <a:extLst>
              <a:ext uri="{FF2B5EF4-FFF2-40B4-BE49-F238E27FC236}">
                <a16:creationId xmlns:a16="http://schemas.microsoft.com/office/drawing/2014/main" id="{871D3985-6169-650E-17F2-E1562DE7F03E}"/>
              </a:ext>
            </a:extLst>
          </p:cNvPr>
          <p:cNvSpPr/>
          <p:nvPr/>
        </p:nvSpPr>
        <p:spPr>
          <a:xfrm>
            <a:off x="2994907" y="3836159"/>
            <a:ext cx="941740" cy="166196"/>
          </a:xfrm>
          <a:prstGeom prst="roundRect">
            <a:avLst>
              <a:gd name="adj" fmla="val 50998"/>
            </a:avLst>
          </a:prstGeom>
          <a:solidFill>
            <a:srgbClr val="E0E0E0">
              <a:alpha val="100000"/>
            </a:srgbClr>
          </a:solid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596" name="Shape 51">
            <a:extLst>
              <a:ext uri="{FF2B5EF4-FFF2-40B4-BE49-F238E27FC236}">
                <a16:creationId xmlns:a16="http://schemas.microsoft.com/office/drawing/2014/main" id="{8098E5B3-CD99-7736-F829-527D2EBD86EA}"/>
              </a:ext>
            </a:extLst>
          </p:cNvPr>
          <p:cNvSpPr/>
          <p:nvPr/>
        </p:nvSpPr>
        <p:spPr>
          <a:xfrm>
            <a:off x="2994905" y="3836165"/>
            <a:ext cx="152340" cy="166189"/>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597" name="Shape 52">
            <a:extLst>
              <a:ext uri="{FF2B5EF4-FFF2-40B4-BE49-F238E27FC236}">
                <a16:creationId xmlns:a16="http://schemas.microsoft.com/office/drawing/2014/main" id="{C187177F-E418-F491-E8F1-F58A9D6C6089}"/>
              </a:ext>
            </a:extLst>
          </p:cNvPr>
          <p:cNvSpPr/>
          <p:nvPr/>
        </p:nvSpPr>
        <p:spPr>
          <a:xfrm>
            <a:off x="3022602" y="3863859"/>
            <a:ext cx="110794" cy="110794"/>
          </a:xfrm>
          <a:prstGeom prst="rect">
            <a:avLst/>
          </a:prstGeom>
          <a:solidFill>
            <a:srgbClr val="FFFFFF">
              <a:alpha val="0"/>
            </a:srgbClr>
          </a:solid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pic>
        <p:nvPicPr>
          <p:cNvPr id="598" name="Image 18" descr=" ">
            <a:extLst>
              <a:ext uri="{FF2B5EF4-FFF2-40B4-BE49-F238E27FC236}">
                <a16:creationId xmlns:a16="http://schemas.microsoft.com/office/drawing/2014/main" id="{777927ED-17EA-16C2-A1D2-F47BE6B40E95}"/>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029529" y="3870786"/>
            <a:ext cx="96943" cy="96943"/>
          </a:xfrm>
          <a:prstGeom prst="rect">
            <a:avLst/>
          </a:prstGeom>
        </p:spPr>
      </p:pic>
      <p:sp>
        <p:nvSpPr>
          <p:cNvPr id="599" name="Shape 53">
            <a:extLst>
              <a:ext uri="{FF2B5EF4-FFF2-40B4-BE49-F238E27FC236}">
                <a16:creationId xmlns:a16="http://schemas.microsoft.com/office/drawing/2014/main" id="{92511F9C-62FD-628D-D9A4-F67A0C549811}"/>
              </a:ext>
            </a:extLst>
          </p:cNvPr>
          <p:cNvSpPr/>
          <p:nvPr/>
        </p:nvSpPr>
        <p:spPr>
          <a:xfrm>
            <a:off x="3105699" y="3836159"/>
            <a:ext cx="830949" cy="166196"/>
          </a:xfrm>
          <a:prstGeom prst="roundRect">
            <a:avLst>
              <a:gd name="adj" fmla="val 98996"/>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600" name="Shape 54">
            <a:extLst>
              <a:ext uri="{FF2B5EF4-FFF2-40B4-BE49-F238E27FC236}">
                <a16:creationId xmlns:a16="http://schemas.microsoft.com/office/drawing/2014/main" id="{DB08E854-CBD3-F23A-1829-1CE8B6D6D4F1}"/>
              </a:ext>
            </a:extLst>
          </p:cNvPr>
          <p:cNvSpPr/>
          <p:nvPr/>
        </p:nvSpPr>
        <p:spPr>
          <a:xfrm>
            <a:off x="3105699" y="3856932"/>
            <a:ext cx="830949" cy="124650"/>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601" name="Text 55">
            <a:extLst>
              <a:ext uri="{FF2B5EF4-FFF2-40B4-BE49-F238E27FC236}">
                <a16:creationId xmlns:a16="http://schemas.microsoft.com/office/drawing/2014/main" id="{8171ED82-4CD7-1A79-552D-045D44A67B91}"/>
              </a:ext>
            </a:extLst>
          </p:cNvPr>
          <p:cNvSpPr/>
          <p:nvPr/>
        </p:nvSpPr>
        <p:spPr>
          <a:xfrm>
            <a:off x="3161096" y="3856935"/>
            <a:ext cx="747854" cy="138491"/>
          </a:xfrm>
          <a:prstGeom prst="rect">
            <a:avLst/>
          </a:prstGeom>
          <a:noFill/>
          <a:ln/>
        </p:spPr>
        <p:txBody>
          <a:bodyPr wrap="square" lIns="0" tIns="0" rIns="0" bIns="0" rtlCol="0" anchor="t"/>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nSpc>
                <a:spcPts val="873"/>
              </a:lnSpc>
            </a:pPr>
            <a:r>
              <a:rPr lang="en-US" sz="655" kern="0" spc="2">
                <a:solidFill>
                  <a:srgbClr val="000000">
                    <a:alpha val="100000"/>
                  </a:srgbClr>
                </a:solidFill>
                <a:latin typeface="IBM Plex Sans" panose="020B0503050203000203" pitchFamily="34" charset="0"/>
                <a:ea typeface="IBM Plex Sans Regular" pitchFamily="34" charset="-122"/>
                <a:cs typeface="IBM Plex Sans Regular" pitchFamily="34" charset="-120"/>
              </a:rPr>
              <a:t>Unstructured data</a:t>
            </a:r>
            <a:endParaRPr lang="en-US" sz="655">
              <a:latin typeface="IBM Plex Sans" panose="020B0503050203000203" pitchFamily="34" charset="0"/>
            </a:endParaRPr>
          </a:p>
        </p:txBody>
      </p:sp>
      <p:sp>
        <p:nvSpPr>
          <p:cNvPr id="602" name="Shape 56">
            <a:extLst>
              <a:ext uri="{FF2B5EF4-FFF2-40B4-BE49-F238E27FC236}">
                <a16:creationId xmlns:a16="http://schemas.microsoft.com/office/drawing/2014/main" id="{8094D47E-2A2D-40D1-F978-3D9627548526}"/>
              </a:ext>
            </a:extLst>
          </p:cNvPr>
          <p:cNvSpPr/>
          <p:nvPr/>
        </p:nvSpPr>
        <p:spPr>
          <a:xfrm>
            <a:off x="3465768" y="3967726"/>
            <a:ext cx="110808" cy="7"/>
          </a:xfrm>
          <a:prstGeom prst="rect">
            <a:avLst/>
          </a:prstGeom>
          <a:solidFill>
            <a:srgbClr val="FFFFFF">
              <a:alpha val="0"/>
            </a:srgbClr>
          </a:solid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pic>
        <p:nvPicPr>
          <p:cNvPr id="603" name="Image 19" descr=" ">
            <a:extLst>
              <a:ext uri="{FF2B5EF4-FFF2-40B4-BE49-F238E27FC236}">
                <a16:creationId xmlns:a16="http://schemas.microsoft.com/office/drawing/2014/main" id="{91D5DB9E-0138-0D30-7BC8-5493B7BD8525}"/>
              </a:ext>
            </a:extLst>
          </p:cNvPr>
          <p:cNvPicPr>
            <a:picLocks noChangeAspect="1"/>
          </p:cNvPicPr>
          <p:nvPr/>
        </p:nvPicPr>
        <p:blipFill>
          <a:blip r:embed="rId9"/>
          <a:stretch>
            <a:fillRect/>
          </a:stretch>
        </p:blipFill>
        <p:spPr>
          <a:xfrm>
            <a:off x="3465770" y="3967726"/>
            <a:ext cx="7" cy="7"/>
          </a:xfrm>
          <a:prstGeom prst="rect">
            <a:avLst/>
          </a:prstGeom>
        </p:spPr>
      </p:pic>
      <p:pic>
        <p:nvPicPr>
          <p:cNvPr id="604" name="Image 20" descr=" ">
            <a:extLst>
              <a:ext uri="{FF2B5EF4-FFF2-40B4-BE49-F238E27FC236}">
                <a16:creationId xmlns:a16="http://schemas.microsoft.com/office/drawing/2014/main" id="{C33214F0-2885-E583-CB70-4A58987FAF2D}"/>
              </a:ext>
            </a:extLst>
          </p:cNvPr>
          <p:cNvPicPr>
            <a:picLocks noChangeAspect="1"/>
          </p:cNvPicPr>
          <p:nvPr/>
        </p:nvPicPr>
        <p:blipFill>
          <a:blip r:embed="rId9"/>
          <a:stretch>
            <a:fillRect/>
          </a:stretch>
        </p:blipFill>
        <p:spPr>
          <a:xfrm>
            <a:off x="3576571" y="3967726"/>
            <a:ext cx="7" cy="7"/>
          </a:xfrm>
          <a:prstGeom prst="rect">
            <a:avLst/>
          </a:prstGeom>
        </p:spPr>
      </p:pic>
      <p:sp>
        <p:nvSpPr>
          <p:cNvPr id="605" name="Shape 57">
            <a:extLst>
              <a:ext uri="{FF2B5EF4-FFF2-40B4-BE49-F238E27FC236}">
                <a16:creationId xmlns:a16="http://schemas.microsoft.com/office/drawing/2014/main" id="{C4AFC6D7-6DDE-BF7B-CF6A-62702A658848}"/>
              </a:ext>
            </a:extLst>
          </p:cNvPr>
          <p:cNvSpPr/>
          <p:nvPr/>
        </p:nvSpPr>
        <p:spPr>
          <a:xfrm>
            <a:off x="4642953" y="2174234"/>
            <a:ext cx="1592652" cy="2382050"/>
          </a:xfrm>
          <a:prstGeom prst="roundRect">
            <a:avLst>
              <a:gd name="adj" fmla="val 6887"/>
            </a:avLst>
          </a:prstGeom>
          <a:solidFill>
            <a:srgbClr val="FFFFFF">
              <a:alpha val="100000"/>
            </a:srgbClr>
          </a:solidFill>
          <a:ln/>
          <a:effectLst>
            <a:outerShdw blurRad="317500" dist="50800" dir="16200000" algn="bl" rotWithShape="0">
              <a:srgbClr val="000000">
                <a:alpha val="10000"/>
              </a:srgbClr>
            </a:outerShdw>
          </a:effectLst>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606" name="Shape 58">
            <a:extLst>
              <a:ext uri="{FF2B5EF4-FFF2-40B4-BE49-F238E27FC236}">
                <a16:creationId xmlns:a16="http://schemas.microsoft.com/office/drawing/2014/main" id="{728E22BF-BE39-355F-5F7A-AA709E5B5D48}"/>
              </a:ext>
            </a:extLst>
          </p:cNvPr>
          <p:cNvSpPr/>
          <p:nvPr/>
        </p:nvSpPr>
        <p:spPr>
          <a:xfrm>
            <a:off x="4753748" y="2285029"/>
            <a:ext cx="1211799" cy="2631335"/>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607" name="Shape 59">
            <a:extLst>
              <a:ext uri="{FF2B5EF4-FFF2-40B4-BE49-F238E27FC236}">
                <a16:creationId xmlns:a16="http://schemas.microsoft.com/office/drawing/2014/main" id="{3040CCC9-9892-4A0C-E8E7-6428A6E47216}"/>
              </a:ext>
            </a:extLst>
          </p:cNvPr>
          <p:cNvSpPr/>
          <p:nvPr/>
        </p:nvSpPr>
        <p:spPr>
          <a:xfrm>
            <a:off x="4753746" y="2285031"/>
            <a:ext cx="879419" cy="166189"/>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608" name="Text 60">
            <a:extLst>
              <a:ext uri="{FF2B5EF4-FFF2-40B4-BE49-F238E27FC236}">
                <a16:creationId xmlns:a16="http://schemas.microsoft.com/office/drawing/2014/main" id="{3576A90C-FAA3-2D43-F319-A3031BE998C9}"/>
              </a:ext>
            </a:extLst>
          </p:cNvPr>
          <p:cNvSpPr/>
          <p:nvPr/>
        </p:nvSpPr>
        <p:spPr>
          <a:xfrm>
            <a:off x="4753746" y="2285028"/>
            <a:ext cx="916352" cy="203122"/>
          </a:xfrm>
          <a:prstGeom prst="rect">
            <a:avLst/>
          </a:prstGeom>
          <a:noFill/>
          <a:ln/>
        </p:spPr>
        <p:txBody>
          <a:bodyPr wrap="square" lIns="0" tIns="0" rIns="0" bIns="0" rtlCol="0" anchor="t"/>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nSpc>
                <a:spcPts val="1309"/>
              </a:lnSpc>
            </a:pPr>
            <a:r>
              <a:rPr lang="en-US" sz="873">
                <a:solidFill>
                  <a:srgbClr val="000000">
                    <a:alpha val="100000"/>
                  </a:srgbClr>
                </a:solidFill>
                <a:latin typeface="IBM Plex Sans" panose="020B0503050203000203" pitchFamily="34" charset="0"/>
                <a:ea typeface="IBM Plex Sans Bold" pitchFamily="34" charset="-122"/>
                <a:cs typeface="IBM Plex Sans Bold" pitchFamily="34" charset="-120"/>
              </a:rPr>
              <a:t>Data integration</a:t>
            </a:r>
            <a:endParaRPr lang="en-US" sz="873">
              <a:latin typeface="IBM Plex Sans" panose="020B0503050203000203" pitchFamily="34" charset="0"/>
            </a:endParaRPr>
          </a:p>
        </p:txBody>
      </p:sp>
      <p:sp>
        <p:nvSpPr>
          <p:cNvPr id="609" name="Shape 61">
            <a:extLst>
              <a:ext uri="{FF2B5EF4-FFF2-40B4-BE49-F238E27FC236}">
                <a16:creationId xmlns:a16="http://schemas.microsoft.com/office/drawing/2014/main" id="{52B53A72-32DE-85B6-C0A3-E4341CA060EB}"/>
              </a:ext>
            </a:extLst>
          </p:cNvPr>
          <p:cNvSpPr/>
          <p:nvPr/>
        </p:nvSpPr>
        <p:spPr>
          <a:xfrm>
            <a:off x="4753748" y="2672802"/>
            <a:ext cx="1211799" cy="2243560"/>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610" name="Shape 62">
            <a:extLst>
              <a:ext uri="{FF2B5EF4-FFF2-40B4-BE49-F238E27FC236}">
                <a16:creationId xmlns:a16="http://schemas.microsoft.com/office/drawing/2014/main" id="{6FF305FC-FE77-036A-FFC8-4E76A3CA4FB8}"/>
              </a:ext>
            </a:extLst>
          </p:cNvPr>
          <p:cNvSpPr/>
          <p:nvPr/>
        </p:nvSpPr>
        <p:spPr>
          <a:xfrm>
            <a:off x="4753745" y="2672805"/>
            <a:ext cx="1094083" cy="360077"/>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613" name="Text 63">
            <a:extLst>
              <a:ext uri="{FF2B5EF4-FFF2-40B4-BE49-F238E27FC236}">
                <a16:creationId xmlns:a16="http://schemas.microsoft.com/office/drawing/2014/main" id="{59245BCB-99A5-0BC6-96F8-3DAADB6FF803}"/>
              </a:ext>
            </a:extLst>
          </p:cNvPr>
          <p:cNvSpPr/>
          <p:nvPr/>
        </p:nvSpPr>
        <p:spPr>
          <a:xfrm>
            <a:off x="4753748" y="2894391"/>
            <a:ext cx="1379555" cy="166189"/>
          </a:xfrm>
          <a:prstGeom prst="rect">
            <a:avLst/>
          </a:prstGeom>
          <a:noFill/>
          <a:ln/>
        </p:spPr>
        <p:txBody>
          <a:bodyPr wrap="square" lIns="0" tIns="0" rIns="0" bIns="0" rtlCol="0" anchor="t"/>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nSpc>
                <a:spcPts val="1091"/>
              </a:lnSpc>
            </a:pPr>
            <a:r>
              <a:rPr lang="en-US" sz="655" kern="0" spc="1">
                <a:solidFill>
                  <a:srgbClr val="000000">
                    <a:alpha val="100000"/>
                  </a:srgbClr>
                </a:solidFill>
                <a:latin typeface="IBM Plex Sans" panose="020B0503050203000203" pitchFamily="34" charset="0"/>
                <a:ea typeface="IBM Plex Sans Regular" pitchFamily="34" charset="-122"/>
                <a:cs typeface="IBM Plex Sans Regular" pitchFamily="34" charset="-120"/>
              </a:rPr>
              <a:t>Bulk/batch, ETL/ELT</a:t>
            </a:r>
          </a:p>
        </p:txBody>
      </p:sp>
      <p:sp>
        <p:nvSpPr>
          <p:cNvPr id="614" name="Shape 64">
            <a:extLst>
              <a:ext uri="{FF2B5EF4-FFF2-40B4-BE49-F238E27FC236}">
                <a16:creationId xmlns:a16="http://schemas.microsoft.com/office/drawing/2014/main" id="{5A90B17A-DE9D-61F1-AC62-C5D61A78A835}"/>
              </a:ext>
            </a:extLst>
          </p:cNvPr>
          <p:cNvSpPr/>
          <p:nvPr/>
        </p:nvSpPr>
        <p:spPr>
          <a:xfrm>
            <a:off x="4753745" y="3143675"/>
            <a:ext cx="1163328" cy="360077"/>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616" name="Text 65">
            <a:extLst>
              <a:ext uri="{FF2B5EF4-FFF2-40B4-BE49-F238E27FC236}">
                <a16:creationId xmlns:a16="http://schemas.microsoft.com/office/drawing/2014/main" id="{59AE4CA0-EF5B-530F-7FB9-15917FCB5451}"/>
              </a:ext>
            </a:extLst>
          </p:cNvPr>
          <p:cNvSpPr/>
          <p:nvPr/>
        </p:nvSpPr>
        <p:spPr>
          <a:xfrm>
            <a:off x="4753745" y="3346723"/>
            <a:ext cx="1191026" cy="166189"/>
          </a:xfrm>
          <a:prstGeom prst="rect">
            <a:avLst/>
          </a:prstGeom>
          <a:noFill/>
          <a:ln/>
        </p:spPr>
        <p:txBody>
          <a:bodyPr wrap="square" lIns="0" tIns="0" rIns="0" bIns="0" rtlCol="0" anchor="t"/>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nSpc>
                <a:spcPts val="1091"/>
              </a:lnSpc>
            </a:pPr>
            <a:r>
              <a:rPr lang="en-US" sz="655">
                <a:latin typeface="IBM Plex Sans" panose="020B0503050203000203" pitchFamily="34" charset="0"/>
              </a:rPr>
              <a:t>Real-time streaming</a:t>
            </a:r>
          </a:p>
        </p:txBody>
      </p:sp>
      <p:sp>
        <p:nvSpPr>
          <p:cNvPr id="617" name="Shape 66">
            <a:extLst>
              <a:ext uri="{FF2B5EF4-FFF2-40B4-BE49-F238E27FC236}">
                <a16:creationId xmlns:a16="http://schemas.microsoft.com/office/drawing/2014/main" id="{B14DD36D-E5A0-A307-5B65-8E82B785FA9D}"/>
              </a:ext>
            </a:extLst>
          </p:cNvPr>
          <p:cNvSpPr/>
          <p:nvPr/>
        </p:nvSpPr>
        <p:spPr>
          <a:xfrm>
            <a:off x="4753746" y="3614545"/>
            <a:ext cx="768627" cy="360077"/>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620" name="Text 67">
            <a:extLst>
              <a:ext uri="{FF2B5EF4-FFF2-40B4-BE49-F238E27FC236}">
                <a16:creationId xmlns:a16="http://schemas.microsoft.com/office/drawing/2014/main" id="{0BFE0906-C405-E190-3907-49262FDA1E99}"/>
              </a:ext>
            </a:extLst>
          </p:cNvPr>
          <p:cNvSpPr/>
          <p:nvPr/>
        </p:nvSpPr>
        <p:spPr>
          <a:xfrm>
            <a:off x="4765778" y="3814853"/>
            <a:ext cx="1379554" cy="166189"/>
          </a:xfrm>
          <a:prstGeom prst="rect">
            <a:avLst/>
          </a:prstGeom>
          <a:noFill/>
          <a:ln/>
        </p:spPr>
        <p:txBody>
          <a:bodyPr wrap="square" lIns="0" tIns="0" rIns="0" bIns="0" rtlCol="0" anchor="t"/>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nSpc>
                <a:spcPts val="1091"/>
              </a:lnSpc>
            </a:pPr>
            <a:r>
              <a:rPr lang="en-US" sz="655" kern="0" spc="1">
                <a:solidFill>
                  <a:srgbClr val="000000">
                    <a:alpha val="100000"/>
                  </a:srgbClr>
                </a:solidFill>
                <a:latin typeface="IBM Plex Sans" panose="020B0503050203000203" pitchFamily="34" charset="0"/>
                <a:ea typeface="IBM Plex Sans Regular" pitchFamily="34" charset="-122"/>
                <a:cs typeface="IBM Plex Sans Regular" pitchFamily="34" charset="-120"/>
              </a:rPr>
              <a:t>Data observability and quality</a:t>
            </a:r>
            <a:endParaRPr lang="en-US" sz="655">
              <a:latin typeface="IBM Plex Sans" panose="020B0503050203000203" pitchFamily="34" charset="0"/>
            </a:endParaRPr>
          </a:p>
        </p:txBody>
      </p:sp>
      <p:sp>
        <p:nvSpPr>
          <p:cNvPr id="621" name="Shape 68">
            <a:extLst>
              <a:ext uri="{FF2B5EF4-FFF2-40B4-BE49-F238E27FC236}">
                <a16:creationId xmlns:a16="http://schemas.microsoft.com/office/drawing/2014/main" id="{C86A1321-641A-022E-482F-C53250F6EA56}"/>
              </a:ext>
            </a:extLst>
          </p:cNvPr>
          <p:cNvSpPr/>
          <p:nvPr/>
        </p:nvSpPr>
        <p:spPr>
          <a:xfrm>
            <a:off x="4753748" y="4085417"/>
            <a:ext cx="1211799" cy="360077"/>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625" name="Shape 70">
            <a:extLst>
              <a:ext uri="{FF2B5EF4-FFF2-40B4-BE49-F238E27FC236}">
                <a16:creationId xmlns:a16="http://schemas.microsoft.com/office/drawing/2014/main" id="{97373100-23EC-8414-CC6D-EFEE7C50BAA4}"/>
              </a:ext>
            </a:extLst>
          </p:cNvPr>
          <p:cNvSpPr/>
          <p:nvPr/>
        </p:nvSpPr>
        <p:spPr>
          <a:xfrm>
            <a:off x="4753746" y="4556286"/>
            <a:ext cx="463947" cy="360077"/>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628" name="Shape 72">
            <a:extLst>
              <a:ext uri="{FF2B5EF4-FFF2-40B4-BE49-F238E27FC236}">
                <a16:creationId xmlns:a16="http://schemas.microsoft.com/office/drawing/2014/main" id="{5ABB4E5C-F6C5-05EF-81BB-08983BD0CC7A}"/>
              </a:ext>
            </a:extLst>
          </p:cNvPr>
          <p:cNvSpPr/>
          <p:nvPr/>
        </p:nvSpPr>
        <p:spPr>
          <a:xfrm>
            <a:off x="6512589" y="2285028"/>
            <a:ext cx="1440309" cy="2104930"/>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629" name="Shape 73">
            <a:extLst>
              <a:ext uri="{FF2B5EF4-FFF2-40B4-BE49-F238E27FC236}">
                <a16:creationId xmlns:a16="http://schemas.microsoft.com/office/drawing/2014/main" id="{06427E38-4096-F76B-1CFB-2AFD3C994BDD}"/>
              </a:ext>
            </a:extLst>
          </p:cNvPr>
          <p:cNvSpPr/>
          <p:nvPr/>
        </p:nvSpPr>
        <p:spPr>
          <a:xfrm>
            <a:off x="6512586" y="2285028"/>
            <a:ext cx="1128704" cy="609224"/>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630" name="Shape 74">
            <a:extLst>
              <a:ext uri="{FF2B5EF4-FFF2-40B4-BE49-F238E27FC236}">
                <a16:creationId xmlns:a16="http://schemas.microsoft.com/office/drawing/2014/main" id="{C8E4592F-4831-E5F2-1CB2-6877F301FA05}"/>
              </a:ext>
            </a:extLst>
          </p:cNvPr>
          <p:cNvSpPr/>
          <p:nvPr/>
        </p:nvSpPr>
        <p:spPr>
          <a:xfrm>
            <a:off x="6512586" y="2285028"/>
            <a:ext cx="1010986" cy="276983"/>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632" name="Shape 76">
            <a:extLst>
              <a:ext uri="{FF2B5EF4-FFF2-40B4-BE49-F238E27FC236}">
                <a16:creationId xmlns:a16="http://schemas.microsoft.com/office/drawing/2014/main" id="{4897B90D-F622-54AA-CCF2-48905E0D68F7}"/>
              </a:ext>
            </a:extLst>
          </p:cNvPr>
          <p:cNvSpPr/>
          <p:nvPr/>
        </p:nvSpPr>
        <p:spPr>
          <a:xfrm>
            <a:off x="6512586" y="2672805"/>
            <a:ext cx="1128704" cy="221447"/>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633" name="Shape 77">
            <a:extLst>
              <a:ext uri="{FF2B5EF4-FFF2-40B4-BE49-F238E27FC236}">
                <a16:creationId xmlns:a16="http://schemas.microsoft.com/office/drawing/2014/main" id="{E78C19FE-7529-B856-7BBE-EDC6A4ADB7E5}"/>
              </a:ext>
            </a:extLst>
          </p:cNvPr>
          <p:cNvSpPr/>
          <p:nvPr/>
        </p:nvSpPr>
        <p:spPr>
          <a:xfrm>
            <a:off x="6761871" y="2700436"/>
            <a:ext cx="879419" cy="166189"/>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635" name="Shape 79">
            <a:extLst>
              <a:ext uri="{FF2B5EF4-FFF2-40B4-BE49-F238E27FC236}">
                <a16:creationId xmlns:a16="http://schemas.microsoft.com/office/drawing/2014/main" id="{D86AFF76-FE8C-BF90-3E79-2A47D809A3D4}"/>
              </a:ext>
            </a:extLst>
          </p:cNvPr>
          <p:cNvSpPr/>
          <p:nvPr/>
        </p:nvSpPr>
        <p:spPr>
          <a:xfrm>
            <a:off x="6512589" y="3005046"/>
            <a:ext cx="1440309" cy="1384915"/>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636" name="Shape 80">
            <a:extLst>
              <a:ext uri="{FF2B5EF4-FFF2-40B4-BE49-F238E27FC236}">
                <a16:creationId xmlns:a16="http://schemas.microsoft.com/office/drawing/2014/main" id="{A394AEC6-9A70-0588-0B5F-6744240E728A}"/>
              </a:ext>
            </a:extLst>
          </p:cNvPr>
          <p:cNvSpPr/>
          <p:nvPr/>
        </p:nvSpPr>
        <p:spPr>
          <a:xfrm>
            <a:off x="6512586" y="3005047"/>
            <a:ext cx="1010986" cy="138491"/>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pic>
        <p:nvPicPr>
          <p:cNvPr id="637" name="Image 38" descr=" ">
            <a:extLst>
              <a:ext uri="{FF2B5EF4-FFF2-40B4-BE49-F238E27FC236}">
                <a16:creationId xmlns:a16="http://schemas.microsoft.com/office/drawing/2014/main" id="{12E1CFA3-0667-5CCD-3D3B-7A363C5BD527}"/>
              </a:ext>
            </a:extLst>
          </p:cNvPr>
          <p:cNvPicPr>
            <a:picLocks noChangeAspect="1"/>
          </p:cNvPicPr>
          <p:nvPr/>
        </p:nvPicPr>
        <p:blipFill>
          <a:blip r:embed="rId20"/>
          <a:stretch>
            <a:fillRect/>
          </a:stretch>
        </p:blipFill>
        <p:spPr>
          <a:xfrm>
            <a:off x="6512586" y="3018892"/>
            <a:ext cx="110794" cy="110794"/>
          </a:xfrm>
          <a:prstGeom prst="rect">
            <a:avLst/>
          </a:prstGeom>
        </p:spPr>
      </p:pic>
      <p:sp>
        <p:nvSpPr>
          <p:cNvPr id="640" name="Shape 82">
            <a:extLst>
              <a:ext uri="{FF2B5EF4-FFF2-40B4-BE49-F238E27FC236}">
                <a16:creationId xmlns:a16="http://schemas.microsoft.com/office/drawing/2014/main" id="{594B83F1-2471-91C5-AD80-97CDFC49A795}"/>
              </a:ext>
            </a:extLst>
          </p:cNvPr>
          <p:cNvSpPr/>
          <p:nvPr/>
        </p:nvSpPr>
        <p:spPr>
          <a:xfrm>
            <a:off x="6512589" y="3254330"/>
            <a:ext cx="1149477" cy="138491"/>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643" name="Shape 84">
            <a:extLst>
              <a:ext uri="{FF2B5EF4-FFF2-40B4-BE49-F238E27FC236}">
                <a16:creationId xmlns:a16="http://schemas.microsoft.com/office/drawing/2014/main" id="{189D2577-B7C1-B1EE-EB70-0557ADB345F0}"/>
              </a:ext>
            </a:extLst>
          </p:cNvPr>
          <p:cNvSpPr/>
          <p:nvPr/>
        </p:nvSpPr>
        <p:spPr>
          <a:xfrm>
            <a:off x="6512587" y="3503616"/>
            <a:ext cx="436247" cy="138491"/>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647" name="Shape 86">
            <a:extLst>
              <a:ext uri="{FF2B5EF4-FFF2-40B4-BE49-F238E27FC236}">
                <a16:creationId xmlns:a16="http://schemas.microsoft.com/office/drawing/2014/main" id="{763DDE85-9CC5-72D5-D888-C73F1F93566D}"/>
              </a:ext>
            </a:extLst>
          </p:cNvPr>
          <p:cNvSpPr/>
          <p:nvPr/>
        </p:nvSpPr>
        <p:spPr>
          <a:xfrm>
            <a:off x="6512589" y="3752898"/>
            <a:ext cx="1440309" cy="138491"/>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650" name="Shape 88">
            <a:extLst>
              <a:ext uri="{FF2B5EF4-FFF2-40B4-BE49-F238E27FC236}">
                <a16:creationId xmlns:a16="http://schemas.microsoft.com/office/drawing/2014/main" id="{E658F921-3445-D45E-840D-8AA163820270}"/>
              </a:ext>
            </a:extLst>
          </p:cNvPr>
          <p:cNvSpPr/>
          <p:nvPr/>
        </p:nvSpPr>
        <p:spPr>
          <a:xfrm>
            <a:off x="6512586" y="4002184"/>
            <a:ext cx="1350290" cy="138491"/>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654" name="Shape 90">
            <a:extLst>
              <a:ext uri="{FF2B5EF4-FFF2-40B4-BE49-F238E27FC236}">
                <a16:creationId xmlns:a16="http://schemas.microsoft.com/office/drawing/2014/main" id="{F85D58C0-837D-8986-6B7F-B1223F9F5057}"/>
              </a:ext>
            </a:extLst>
          </p:cNvPr>
          <p:cNvSpPr/>
          <p:nvPr/>
        </p:nvSpPr>
        <p:spPr>
          <a:xfrm>
            <a:off x="6512586" y="4251467"/>
            <a:ext cx="1121780" cy="138491"/>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658" name="Shape 92">
            <a:extLst>
              <a:ext uri="{FF2B5EF4-FFF2-40B4-BE49-F238E27FC236}">
                <a16:creationId xmlns:a16="http://schemas.microsoft.com/office/drawing/2014/main" id="{954CFE6E-5680-BA0E-7BDD-6B79A07CBCB9}"/>
              </a:ext>
            </a:extLst>
          </p:cNvPr>
          <p:cNvSpPr/>
          <p:nvPr/>
        </p:nvSpPr>
        <p:spPr>
          <a:xfrm>
            <a:off x="8229879" y="2174236"/>
            <a:ext cx="1592652" cy="2361277"/>
          </a:xfrm>
          <a:prstGeom prst="roundRect">
            <a:avLst>
              <a:gd name="adj" fmla="val 6887"/>
            </a:avLst>
          </a:prstGeom>
          <a:solidFill>
            <a:srgbClr val="FFFFFF">
              <a:alpha val="100000"/>
            </a:srgbClr>
          </a:solidFill>
          <a:ln/>
          <a:effectLst>
            <a:outerShdw blurRad="317500" dist="50800" dir="16200000" algn="bl" rotWithShape="0">
              <a:srgbClr val="000000">
                <a:alpha val="10000"/>
              </a:srgbClr>
            </a:outerShdw>
          </a:effectLst>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659" name="Shape 93">
            <a:extLst>
              <a:ext uri="{FF2B5EF4-FFF2-40B4-BE49-F238E27FC236}">
                <a16:creationId xmlns:a16="http://schemas.microsoft.com/office/drawing/2014/main" id="{2ACDE821-0896-E303-3E76-7AAD13CFAD38}"/>
              </a:ext>
            </a:extLst>
          </p:cNvPr>
          <p:cNvSpPr/>
          <p:nvPr/>
        </p:nvSpPr>
        <p:spPr>
          <a:xfrm>
            <a:off x="8340672" y="2285029"/>
            <a:ext cx="948664" cy="2631335"/>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660" name="Shape 94">
            <a:extLst>
              <a:ext uri="{FF2B5EF4-FFF2-40B4-BE49-F238E27FC236}">
                <a16:creationId xmlns:a16="http://schemas.microsoft.com/office/drawing/2014/main" id="{170937A1-EFE0-1BFD-F437-8605CBBA3768}"/>
              </a:ext>
            </a:extLst>
          </p:cNvPr>
          <p:cNvSpPr/>
          <p:nvPr/>
        </p:nvSpPr>
        <p:spPr>
          <a:xfrm>
            <a:off x="8340672" y="2285031"/>
            <a:ext cx="879419" cy="166189"/>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661" name="Text 95">
            <a:extLst>
              <a:ext uri="{FF2B5EF4-FFF2-40B4-BE49-F238E27FC236}">
                <a16:creationId xmlns:a16="http://schemas.microsoft.com/office/drawing/2014/main" id="{053A5E4B-54CA-679E-330F-0F846AE1346A}"/>
              </a:ext>
            </a:extLst>
          </p:cNvPr>
          <p:cNvSpPr/>
          <p:nvPr/>
        </p:nvSpPr>
        <p:spPr>
          <a:xfrm>
            <a:off x="8340672" y="2285028"/>
            <a:ext cx="916352" cy="203122"/>
          </a:xfrm>
          <a:prstGeom prst="rect">
            <a:avLst/>
          </a:prstGeom>
          <a:noFill/>
          <a:ln/>
        </p:spPr>
        <p:txBody>
          <a:bodyPr wrap="square" lIns="0" tIns="0" rIns="0" bIns="0" rtlCol="0" anchor="t"/>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nSpc>
                <a:spcPts val="1309"/>
              </a:lnSpc>
            </a:pPr>
            <a:r>
              <a:rPr lang="en-US" sz="873">
                <a:solidFill>
                  <a:srgbClr val="000000">
                    <a:alpha val="100000"/>
                  </a:srgbClr>
                </a:solidFill>
                <a:latin typeface="IBM Plex Sans" panose="020B0503050203000203" pitchFamily="34" charset="0"/>
                <a:ea typeface="IBM Plex Sans Bold" pitchFamily="34" charset="-122"/>
                <a:cs typeface="IBM Plex Sans Bold" pitchFamily="34" charset="-120"/>
              </a:rPr>
              <a:t>Data intelligence</a:t>
            </a:r>
            <a:endParaRPr lang="en-US" sz="873">
              <a:latin typeface="IBM Plex Sans" panose="020B0503050203000203" pitchFamily="34" charset="0"/>
            </a:endParaRPr>
          </a:p>
        </p:txBody>
      </p:sp>
      <p:sp>
        <p:nvSpPr>
          <p:cNvPr id="662" name="Shape 96">
            <a:extLst>
              <a:ext uri="{FF2B5EF4-FFF2-40B4-BE49-F238E27FC236}">
                <a16:creationId xmlns:a16="http://schemas.microsoft.com/office/drawing/2014/main" id="{EDAA7478-A1F0-8E2E-FE89-5B27F2330DA8}"/>
              </a:ext>
            </a:extLst>
          </p:cNvPr>
          <p:cNvSpPr/>
          <p:nvPr/>
        </p:nvSpPr>
        <p:spPr>
          <a:xfrm>
            <a:off x="8340672" y="2672802"/>
            <a:ext cx="948664" cy="2243560"/>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663" name="Shape 97">
            <a:extLst>
              <a:ext uri="{FF2B5EF4-FFF2-40B4-BE49-F238E27FC236}">
                <a16:creationId xmlns:a16="http://schemas.microsoft.com/office/drawing/2014/main" id="{62039457-B031-E8B1-A49D-1D7B5E7C8147}"/>
              </a:ext>
            </a:extLst>
          </p:cNvPr>
          <p:cNvSpPr/>
          <p:nvPr/>
        </p:nvSpPr>
        <p:spPr>
          <a:xfrm>
            <a:off x="8340672" y="2672805"/>
            <a:ext cx="948664" cy="360077"/>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666" name="Text 98">
            <a:extLst>
              <a:ext uri="{FF2B5EF4-FFF2-40B4-BE49-F238E27FC236}">
                <a16:creationId xmlns:a16="http://schemas.microsoft.com/office/drawing/2014/main" id="{BBB680F4-028C-8CF7-596D-3341658F931C}"/>
              </a:ext>
            </a:extLst>
          </p:cNvPr>
          <p:cNvSpPr/>
          <p:nvPr/>
        </p:nvSpPr>
        <p:spPr>
          <a:xfrm>
            <a:off x="8340672" y="2883887"/>
            <a:ext cx="976364" cy="166189"/>
          </a:xfrm>
          <a:prstGeom prst="rect">
            <a:avLst/>
          </a:prstGeom>
          <a:noFill/>
          <a:ln/>
        </p:spPr>
        <p:txBody>
          <a:bodyPr wrap="square" lIns="0" tIns="0" rIns="0" bIns="0" rtlCol="0" anchor="t"/>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nSpc>
                <a:spcPts val="1091"/>
              </a:lnSpc>
            </a:pPr>
            <a:r>
              <a:rPr lang="en-US" sz="655" kern="0" spc="1">
                <a:solidFill>
                  <a:srgbClr val="000000">
                    <a:alpha val="100000"/>
                  </a:srgbClr>
                </a:solidFill>
                <a:latin typeface="IBM Plex Sans" panose="020B0503050203000203" pitchFamily="34" charset="0"/>
                <a:ea typeface="IBM Plex Sans Regular" pitchFamily="34" charset="-122"/>
                <a:cs typeface="IBM Plex Sans Regular" pitchFamily="34" charset="-120"/>
              </a:rPr>
              <a:t>Data governance</a:t>
            </a:r>
            <a:endParaRPr lang="en-US" sz="655">
              <a:latin typeface="IBM Plex Sans" panose="020B0503050203000203" pitchFamily="34" charset="0"/>
            </a:endParaRPr>
          </a:p>
        </p:txBody>
      </p:sp>
      <p:sp>
        <p:nvSpPr>
          <p:cNvPr id="667" name="Shape 99">
            <a:extLst>
              <a:ext uri="{FF2B5EF4-FFF2-40B4-BE49-F238E27FC236}">
                <a16:creationId xmlns:a16="http://schemas.microsoft.com/office/drawing/2014/main" id="{98F432EB-33E3-799B-B103-63B9990615AB}"/>
              </a:ext>
            </a:extLst>
          </p:cNvPr>
          <p:cNvSpPr/>
          <p:nvPr/>
        </p:nvSpPr>
        <p:spPr>
          <a:xfrm>
            <a:off x="8340672" y="3143675"/>
            <a:ext cx="914043" cy="360077"/>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670" name="Text 100">
            <a:extLst>
              <a:ext uri="{FF2B5EF4-FFF2-40B4-BE49-F238E27FC236}">
                <a16:creationId xmlns:a16="http://schemas.microsoft.com/office/drawing/2014/main" id="{78682C54-0BDA-0327-A45E-6BC40ED60882}"/>
              </a:ext>
            </a:extLst>
          </p:cNvPr>
          <p:cNvSpPr/>
          <p:nvPr/>
        </p:nvSpPr>
        <p:spPr>
          <a:xfrm>
            <a:off x="8340673" y="3354755"/>
            <a:ext cx="941740" cy="166189"/>
          </a:xfrm>
          <a:prstGeom prst="rect">
            <a:avLst/>
          </a:prstGeom>
          <a:noFill/>
          <a:ln/>
        </p:spPr>
        <p:txBody>
          <a:bodyPr wrap="square" lIns="0" tIns="0" rIns="0" bIns="0" rtlCol="0" anchor="t"/>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nSpc>
                <a:spcPts val="1091"/>
              </a:lnSpc>
            </a:pPr>
            <a:r>
              <a:rPr lang="en-US" sz="655" kern="0" spc="1">
                <a:solidFill>
                  <a:srgbClr val="000000">
                    <a:alpha val="100000"/>
                  </a:srgbClr>
                </a:solidFill>
                <a:latin typeface="IBM Plex Sans" panose="020B0503050203000203" pitchFamily="34" charset="0"/>
                <a:ea typeface="IBM Plex Sans Regular" pitchFamily="34" charset="-122"/>
                <a:cs typeface="IBM Plex Sans Regular" pitchFamily="34" charset="-120"/>
              </a:rPr>
              <a:t>Data lineage</a:t>
            </a:r>
            <a:endParaRPr lang="en-US" sz="655">
              <a:latin typeface="IBM Plex Sans" panose="020B0503050203000203" pitchFamily="34" charset="0"/>
            </a:endParaRPr>
          </a:p>
        </p:txBody>
      </p:sp>
      <p:sp>
        <p:nvSpPr>
          <p:cNvPr id="671" name="Shape 101">
            <a:extLst>
              <a:ext uri="{FF2B5EF4-FFF2-40B4-BE49-F238E27FC236}">
                <a16:creationId xmlns:a16="http://schemas.microsoft.com/office/drawing/2014/main" id="{D6E0CE7D-F79E-19B9-5FF9-9F62AD830B4B}"/>
              </a:ext>
            </a:extLst>
          </p:cNvPr>
          <p:cNvSpPr/>
          <p:nvPr/>
        </p:nvSpPr>
        <p:spPr>
          <a:xfrm>
            <a:off x="8340672" y="3614545"/>
            <a:ext cx="491644" cy="360077"/>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674" name="Text 102">
            <a:extLst>
              <a:ext uri="{FF2B5EF4-FFF2-40B4-BE49-F238E27FC236}">
                <a16:creationId xmlns:a16="http://schemas.microsoft.com/office/drawing/2014/main" id="{984F9AAC-7D63-75E3-88A4-EA518D01845C}"/>
              </a:ext>
            </a:extLst>
          </p:cNvPr>
          <p:cNvSpPr/>
          <p:nvPr/>
        </p:nvSpPr>
        <p:spPr>
          <a:xfrm>
            <a:off x="8340674" y="3815691"/>
            <a:ext cx="519341" cy="166189"/>
          </a:xfrm>
          <a:prstGeom prst="rect">
            <a:avLst/>
          </a:prstGeom>
          <a:noFill/>
          <a:ln/>
        </p:spPr>
        <p:txBody>
          <a:bodyPr wrap="square" lIns="0" tIns="0" rIns="0" bIns="0" rtlCol="0" anchor="t"/>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nSpc>
                <a:spcPts val="1091"/>
              </a:lnSpc>
            </a:pPr>
            <a:r>
              <a:rPr lang="en-US" sz="655" kern="0" spc="1">
                <a:solidFill>
                  <a:srgbClr val="000000">
                    <a:alpha val="100000"/>
                  </a:srgbClr>
                </a:solidFill>
                <a:latin typeface="IBM Plex Sans" panose="020B0503050203000203" pitchFamily="34" charset="0"/>
                <a:ea typeface="IBM Plex Sans Regular" pitchFamily="34" charset="-122"/>
                <a:cs typeface="IBM Plex Sans Regular" pitchFamily="34" charset="-120"/>
              </a:rPr>
              <a:t>Data sharing</a:t>
            </a:r>
            <a:endParaRPr lang="en-US" sz="655">
              <a:latin typeface="IBM Plex Sans" panose="020B0503050203000203" pitchFamily="34" charset="0"/>
            </a:endParaRPr>
          </a:p>
        </p:txBody>
      </p:sp>
      <p:sp>
        <p:nvSpPr>
          <p:cNvPr id="675" name="Shape 103">
            <a:extLst>
              <a:ext uri="{FF2B5EF4-FFF2-40B4-BE49-F238E27FC236}">
                <a16:creationId xmlns:a16="http://schemas.microsoft.com/office/drawing/2014/main" id="{5BFF1B30-CC2B-52DB-570B-9E2343DBC2D8}"/>
              </a:ext>
            </a:extLst>
          </p:cNvPr>
          <p:cNvSpPr/>
          <p:nvPr/>
        </p:nvSpPr>
        <p:spPr>
          <a:xfrm>
            <a:off x="8340672" y="4085417"/>
            <a:ext cx="824024" cy="360077"/>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678" name="Shape 105">
            <a:extLst>
              <a:ext uri="{FF2B5EF4-FFF2-40B4-BE49-F238E27FC236}">
                <a16:creationId xmlns:a16="http://schemas.microsoft.com/office/drawing/2014/main" id="{F9C7E900-73AC-D521-61CD-A2BF10964027}"/>
              </a:ext>
            </a:extLst>
          </p:cNvPr>
          <p:cNvSpPr/>
          <p:nvPr/>
        </p:nvSpPr>
        <p:spPr>
          <a:xfrm>
            <a:off x="8340672" y="4556286"/>
            <a:ext cx="463947" cy="360077"/>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681" name="Text 106">
            <a:extLst>
              <a:ext uri="{FF2B5EF4-FFF2-40B4-BE49-F238E27FC236}">
                <a16:creationId xmlns:a16="http://schemas.microsoft.com/office/drawing/2014/main" id="{D239F506-2FC5-675D-2FF9-37A5E8C43A08}"/>
              </a:ext>
            </a:extLst>
          </p:cNvPr>
          <p:cNvSpPr/>
          <p:nvPr/>
        </p:nvSpPr>
        <p:spPr>
          <a:xfrm>
            <a:off x="8340672" y="4299167"/>
            <a:ext cx="491644" cy="166189"/>
          </a:xfrm>
          <a:prstGeom prst="rect">
            <a:avLst/>
          </a:prstGeom>
          <a:noFill/>
          <a:ln/>
        </p:spPr>
        <p:txBody>
          <a:bodyPr wrap="square" lIns="0" tIns="0" rIns="0" bIns="0" rtlCol="0" anchor="t"/>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nSpc>
                <a:spcPts val="1091"/>
              </a:lnSpc>
            </a:pPr>
            <a:r>
              <a:rPr lang="en-US" sz="655" kern="0" spc="1">
                <a:solidFill>
                  <a:srgbClr val="000000">
                    <a:alpha val="100000"/>
                  </a:srgbClr>
                </a:solidFill>
                <a:latin typeface="IBM Plex Sans" panose="020B0503050203000203" pitchFamily="34" charset="0"/>
                <a:ea typeface="IBM Plex Sans Regular" pitchFamily="34" charset="-122"/>
                <a:cs typeface="IBM Plex Sans Regular" pitchFamily="34" charset="-120"/>
              </a:rPr>
              <a:t>Data quality</a:t>
            </a:r>
            <a:endParaRPr lang="en-US" sz="655">
              <a:latin typeface="IBM Plex Sans" panose="020B0503050203000203" pitchFamily="34" charset="0"/>
            </a:endParaRPr>
          </a:p>
        </p:txBody>
      </p:sp>
      <p:sp>
        <p:nvSpPr>
          <p:cNvPr id="683" name="Shape 108">
            <a:extLst>
              <a:ext uri="{FF2B5EF4-FFF2-40B4-BE49-F238E27FC236}">
                <a16:creationId xmlns:a16="http://schemas.microsoft.com/office/drawing/2014/main" id="{53719B29-2C0B-B718-93FF-EF77B0BC1BB5}"/>
              </a:ext>
            </a:extLst>
          </p:cNvPr>
          <p:cNvSpPr/>
          <p:nvPr/>
        </p:nvSpPr>
        <p:spPr>
          <a:xfrm>
            <a:off x="10099513" y="2285028"/>
            <a:ext cx="1225647" cy="1606528"/>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684" name="Shape 109">
            <a:extLst>
              <a:ext uri="{FF2B5EF4-FFF2-40B4-BE49-F238E27FC236}">
                <a16:creationId xmlns:a16="http://schemas.microsoft.com/office/drawing/2014/main" id="{EACCF1A3-EA4B-4A80-CB87-61512471BB65}"/>
              </a:ext>
            </a:extLst>
          </p:cNvPr>
          <p:cNvSpPr/>
          <p:nvPr/>
        </p:nvSpPr>
        <p:spPr>
          <a:xfrm>
            <a:off x="10099513" y="2285031"/>
            <a:ext cx="1225647" cy="166189"/>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686" name="Shape 111">
            <a:extLst>
              <a:ext uri="{FF2B5EF4-FFF2-40B4-BE49-F238E27FC236}">
                <a16:creationId xmlns:a16="http://schemas.microsoft.com/office/drawing/2014/main" id="{BF55B672-4089-5C7C-7652-7E7F0A0F49B2}"/>
              </a:ext>
            </a:extLst>
          </p:cNvPr>
          <p:cNvSpPr/>
          <p:nvPr/>
        </p:nvSpPr>
        <p:spPr>
          <a:xfrm>
            <a:off x="10099512" y="2672805"/>
            <a:ext cx="1107932" cy="1218751"/>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687" name="Shape 112">
            <a:extLst>
              <a:ext uri="{FF2B5EF4-FFF2-40B4-BE49-F238E27FC236}">
                <a16:creationId xmlns:a16="http://schemas.microsoft.com/office/drawing/2014/main" id="{04DEB6B0-25C5-C546-C2A4-6DE202419400}"/>
              </a:ext>
            </a:extLst>
          </p:cNvPr>
          <p:cNvSpPr/>
          <p:nvPr/>
        </p:nvSpPr>
        <p:spPr>
          <a:xfrm>
            <a:off x="10099512" y="2672805"/>
            <a:ext cx="1107932" cy="1218751"/>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689" name="Shape 114">
            <a:extLst>
              <a:ext uri="{FF2B5EF4-FFF2-40B4-BE49-F238E27FC236}">
                <a16:creationId xmlns:a16="http://schemas.microsoft.com/office/drawing/2014/main" id="{7D6D2EDB-F8B8-8D3B-F23F-ED83C54CC181}"/>
              </a:ext>
            </a:extLst>
          </p:cNvPr>
          <p:cNvSpPr/>
          <p:nvPr/>
        </p:nvSpPr>
        <p:spPr>
          <a:xfrm>
            <a:off x="10099512" y="2672805"/>
            <a:ext cx="276997" cy="221593"/>
          </a:xfrm>
          <a:prstGeom prst="roundRect">
            <a:avLst>
              <a:gd name="adj" fmla="val 74248"/>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690" name="Shape 115">
            <a:extLst>
              <a:ext uri="{FF2B5EF4-FFF2-40B4-BE49-F238E27FC236}">
                <a16:creationId xmlns:a16="http://schemas.microsoft.com/office/drawing/2014/main" id="{30BD60FB-3E21-7E02-CCD4-8A80D26537A6}"/>
              </a:ext>
            </a:extLst>
          </p:cNvPr>
          <p:cNvSpPr/>
          <p:nvPr/>
        </p:nvSpPr>
        <p:spPr>
          <a:xfrm>
            <a:off x="10099512" y="2714354"/>
            <a:ext cx="276997" cy="138499"/>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696" name="Shape 119">
            <a:extLst>
              <a:ext uri="{FF2B5EF4-FFF2-40B4-BE49-F238E27FC236}">
                <a16:creationId xmlns:a16="http://schemas.microsoft.com/office/drawing/2014/main" id="{377F9AAF-C4BE-0B65-4D9C-1990F060DA0B}"/>
              </a:ext>
            </a:extLst>
          </p:cNvPr>
          <p:cNvSpPr/>
          <p:nvPr/>
        </p:nvSpPr>
        <p:spPr>
          <a:xfrm>
            <a:off x="10099512" y="3005190"/>
            <a:ext cx="581663" cy="221593"/>
          </a:xfrm>
          <a:prstGeom prst="roundRect">
            <a:avLst>
              <a:gd name="adj" fmla="val 74248"/>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697" name="Shape 120">
            <a:extLst>
              <a:ext uri="{FF2B5EF4-FFF2-40B4-BE49-F238E27FC236}">
                <a16:creationId xmlns:a16="http://schemas.microsoft.com/office/drawing/2014/main" id="{EE602F9B-BFF7-72C9-70D8-9D9AA4A99B79}"/>
              </a:ext>
            </a:extLst>
          </p:cNvPr>
          <p:cNvSpPr/>
          <p:nvPr/>
        </p:nvSpPr>
        <p:spPr>
          <a:xfrm>
            <a:off x="10099512" y="3046738"/>
            <a:ext cx="581663" cy="138499"/>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703" name="Shape 124">
            <a:extLst>
              <a:ext uri="{FF2B5EF4-FFF2-40B4-BE49-F238E27FC236}">
                <a16:creationId xmlns:a16="http://schemas.microsoft.com/office/drawing/2014/main" id="{4BD93C1D-04E0-190B-6442-7EA61ED886DF}"/>
              </a:ext>
            </a:extLst>
          </p:cNvPr>
          <p:cNvSpPr/>
          <p:nvPr/>
        </p:nvSpPr>
        <p:spPr>
          <a:xfrm>
            <a:off x="10099512" y="3337577"/>
            <a:ext cx="1107932" cy="221593"/>
          </a:xfrm>
          <a:prstGeom prst="roundRect">
            <a:avLst>
              <a:gd name="adj" fmla="val 74248"/>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704" name="Shape 125">
            <a:extLst>
              <a:ext uri="{FF2B5EF4-FFF2-40B4-BE49-F238E27FC236}">
                <a16:creationId xmlns:a16="http://schemas.microsoft.com/office/drawing/2014/main" id="{95D8AF84-07C8-5969-B037-4C0E74C9E021}"/>
              </a:ext>
            </a:extLst>
          </p:cNvPr>
          <p:cNvSpPr/>
          <p:nvPr/>
        </p:nvSpPr>
        <p:spPr>
          <a:xfrm>
            <a:off x="10099512" y="3379125"/>
            <a:ext cx="1107932" cy="138499"/>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710" name="Shape 129">
            <a:extLst>
              <a:ext uri="{FF2B5EF4-FFF2-40B4-BE49-F238E27FC236}">
                <a16:creationId xmlns:a16="http://schemas.microsoft.com/office/drawing/2014/main" id="{D7D604AB-8F22-F2B9-B832-A84AB87C67E0}"/>
              </a:ext>
            </a:extLst>
          </p:cNvPr>
          <p:cNvSpPr/>
          <p:nvPr/>
        </p:nvSpPr>
        <p:spPr>
          <a:xfrm>
            <a:off x="10099512" y="3669963"/>
            <a:ext cx="796324" cy="221593"/>
          </a:xfrm>
          <a:prstGeom prst="roundRect">
            <a:avLst>
              <a:gd name="adj" fmla="val 74248"/>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711" name="Shape 130">
            <a:extLst>
              <a:ext uri="{FF2B5EF4-FFF2-40B4-BE49-F238E27FC236}">
                <a16:creationId xmlns:a16="http://schemas.microsoft.com/office/drawing/2014/main" id="{0F2218B7-A835-5D4D-264E-134BFF4669E7}"/>
              </a:ext>
            </a:extLst>
          </p:cNvPr>
          <p:cNvSpPr/>
          <p:nvPr/>
        </p:nvSpPr>
        <p:spPr>
          <a:xfrm>
            <a:off x="10099512" y="3711512"/>
            <a:ext cx="796324" cy="138499"/>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pic>
        <p:nvPicPr>
          <p:cNvPr id="767" name="Image 80" descr=" ">
            <a:extLst>
              <a:ext uri="{FF2B5EF4-FFF2-40B4-BE49-F238E27FC236}">
                <a16:creationId xmlns:a16="http://schemas.microsoft.com/office/drawing/2014/main" id="{4562EAC2-C79C-4984-D604-63AAAF7B73F4}"/>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5579972" y="4587131"/>
            <a:ext cx="3464804" cy="311605"/>
          </a:xfrm>
          <a:prstGeom prst="rect">
            <a:avLst/>
          </a:prstGeom>
        </p:spPr>
      </p:pic>
      <p:pic>
        <p:nvPicPr>
          <p:cNvPr id="770" name="Image 83" descr=" ">
            <a:extLst>
              <a:ext uri="{FF2B5EF4-FFF2-40B4-BE49-F238E27FC236}">
                <a16:creationId xmlns:a16="http://schemas.microsoft.com/office/drawing/2014/main" id="{7C224653-591A-2E33-60D3-F5404EBF5B0C}"/>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4473302" y="3138952"/>
            <a:ext cx="173113" cy="50991"/>
          </a:xfrm>
          <a:prstGeom prst="rect">
            <a:avLst/>
          </a:prstGeom>
        </p:spPr>
      </p:pic>
      <p:pic>
        <p:nvPicPr>
          <p:cNvPr id="771" name="Image 84" descr=" ">
            <a:extLst>
              <a:ext uri="{FF2B5EF4-FFF2-40B4-BE49-F238E27FC236}">
                <a16:creationId xmlns:a16="http://schemas.microsoft.com/office/drawing/2014/main" id="{7786027C-93AD-5BB7-C372-ED4B73592AFE}"/>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6232142" y="3138952"/>
            <a:ext cx="173113" cy="50991"/>
          </a:xfrm>
          <a:prstGeom prst="rect">
            <a:avLst/>
          </a:prstGeom>
        </p:spPr>
      </p:pic>
      <p:pic>
        <p:nvPicPr>
          <p:cNvPr id="772" name="Image 85" descr=" ">
            <a:extLst>
              <a:ext uri="{FF2B5EF4-FFF2-40B4-BE49-F238E27FC236}">
                <a16:creationId xmlns:a16="http://schemas.microsoft.com/office/drawing/2014/main" id="{FE9F7F35-B19D-DD18-52CA-E12556B3CCBE}"/>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8060228" y="3138952"/>
            <a:ext cx="173113" cy="50991"/>
          </a:xfrm>
          <a:prstGeom prst="rect">
            <a:avLst/>
          </a:prstGeom>
        </p:spPr>
      </p:pic>
      <p:pic>
        <p:nvPicPr>
          <p:cNvPr id="773" name="Image 86" descr=" ">
            <a:extLst>
              <a:ext uri="{FF2B5EF4-FFF2-40B4-BE49-F238E27FC236}">
                <a16:creationId xmlns:a16="http://schemas.microsoft.com/office/drawing/2014/main" id="{7FEFF405-6404-AB33-AFB8-8E656FAB4E41}"/>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9819067" y="3138952"/>
            <a:ext cx="173113" cy="50991"/>
          </a:xfrm>
          <a:prstGeom prst="rect">
            <a:avLst/>
          </a:prstGeom>
        </p:spPr>
      </p:pic>
      <p:pic>
        <p:nvPicPr>
          <p:cNvPr id="774" name="Image 87" descr=" ">
            <a:extLst>
              <a:ext uri="{FF2B5EF4-FFF2-40B4-BE49-F238E27FC236}">
                <a16:creationId xmlns:a16="http://schemas.microsoft.com/office/drawing/2014/main" id="{6FEAC36C-B572-CC93-EF17-8BE65EC45118}"/>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7207246" y="4587130"/>
            <a:ext cx="50992" cy="533193"/>
          </a:xfrm>
          <a:prstGeom prst="rect">
            <a:avLst/>
          </a:prstGeom>
        </p:spPr>
      </p:pic>
      <p:sp>
        <p:nvSpPr>
          <p:cNvPr id="775" name="Shape 169">
            <a:extLst>
              <a:ext uri="{FF2B5EF4-FFF2-40B4-BE49-F238E27FC236}">
                <a16:creationId xmlns:a16="http://schemas.microsoft.com/office/drawing/2014/main" id="{8CDC3D7D-CF49-258E-6A81-E040F46E476B}"/>
              </a:ext>
            </a:extLst>
          </p:cNvPr>
          <p:cNvSpPr/>
          <p:nvPr/>
        </p:nvSpPr>
        <p:spPr>
          <a:xfrm>
            <a:off x="6443340" y="6092073"/>
            <a:ext cx="1578800" cy="219603"/>
          </a:xfrm>
          <a:prstGeom prst="rect">
            <a:avLst/>
          </a:prstGeom>
          <a:solidFill>
            <a:srgbClr val="FAFBFC">
              <a:alpha val="100000"/>
            </a:srgbClr>
          </a:solid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776" name="Text 170">
            <a:extLst>
              <a:ext uri="{FF2B5EF4-FFF2-40B4-BE49-F238E27FC236}">
                <a16:creationId xmlns:a16="http://schemas.microsoft.com/office/drawing/2014/main" id="{FEC9E026-0E07-A756-5BCD-010BCC31B103}"/>
              </a:ext>
            </a:extLst>
          </p:cNvPr>
          <p:cNvSpPr/>
          <p:nvPr/>
        </p:nvSpPr>
        <p:spPr>
          <a:xfrm>
            <a:off x="6491228" y="6049100"/>
            <a:ext cx="1724137" cy="304680"/>
          </a:xfrm>
          <a:prstGeom prst="rect">
            <a:avLst/>
          </a:prstGeom>
          <a:noFill/>
          <a:ln/>
        </p:spPr>
        <p:txBody>
          <a:bodyPr wrap="square" lIns="0" tIns="0" rIns="0" bIns="0" rtlCol="0" anchor="t"/>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nSpc>
                <a:spcPts val="2182"/>
              </a:lnSpc>
            </a:pPr>
            <a:r>
              <a:rPr lang="en-US" sz="750" b="1">
                <a:latin typeface="IBM Plex Sans" panose="020B0503050203000203" pitchFamily="34" charset="0"/>
                <a:ea typeface="IBM Plex Sans Regular" pitchFamily="34" charset="-122"/>
                <a:cs typeface="IBM Plex Sans Regular"/>
              </a:rPr>
              <a:t>Unified metadata and governance</a:t>
            </a:r>
            <a:endParaRPr lang="en-US" sz="750" b="1">
              <a:latin typeface="IBM Plex Sans" panose="020B0503050203000203" pitchFamily="34" charset="0"/>
              <a:cs typeface="IBM Plex Sans Regular"/>
            </a:endParaRPr>
          </a:p>
        </p:txBody>
      </p:sp>
      <p:sp>
        <p:nvSpPr>
          <p:cNvPr id="5" name="Shape 55">
            <a:extLst>
              <a:ext uri="{FF2B5EF4-FFF2-40B4-BE49-F238E27FC236}">
                <a16:creationId xmlns:a16="http://schemas.microsoft.com/office/drawing/2014/main" id="{9622E051-BB67-12AE-82DB-82397DCBACAB}"/>
              </a:ext>
            </a:extLst>
          </p:cNvPr>
          <p:cNvSpPr/>
          <p:nvPr/>
        </p:nvSpPr>
        <p:spPr>
          <a:xfrm>
            <a:off x="3701292" y="5734052"/>
            <a:ext cx="4671751" cy="203155"/>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00">
              <a:latin typeface="IBM Plex Sans" panose="020B0503050203000203" pitchFamily="34" charset="0"/>
            </a:endParaRPr>
          </a:p>
        </p:txBody>
      </p:sp>
      <p:sp>
        <p:nvSpPr>
          <p:cNvPr id="13" name="Shape 57">
            <a:extLst>
              <a:ext uri="{FF2B5EF4-FFF2-40B4-BE49-F238E27FC236}">
                <a16:creationId xmlns:a16="http://schemas.microsoft.com/office/drawing/2014/main" id="{5E5EED10-7DCE-27AA-3D4A-1AE3DBDD65F8}"/>
              </a:ext>
            </a:extLst>
          </p:cNvPr>
          <p:cNvSpPr/>
          <p:nvPr/>
        </p:nvSpPr>
        <p:spPr>
          <a:xfrm>
            <a:off x="5383376" y="5734052"/>
            <a:ext cx="704570" cy="203155"/>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00">
              <a:latin typeface="IBM Plex Sans" panose="020B0503050203000203" pitchFamily="34" charset="0"/>
            </a:endParaRPr>
          </a:p>
        </p:txBody>
      </p:sp>
      <p:sp>
        <p:nvSpPr>
          <p:cNvPr id="15" name="Shape 59">
            <a:extLst>
              <a:ext uri="{FF2B5EF4-FFF2-40B4-BE49-F238E27FC236}">
                <a16:creationId xmlns:a16="http://schemas.microsoft.com/office/drawing/2014/main" id="{D859B4CB-983A-E71D-CA99-D4CC0156357F}"/>
              </a:ext>
            </a:extLst>
          </p:cNvPr>
          <p:cNvSpPr/>
          <p:nvPr/>
        </p:nvSpPr>
        <p:spPr>
          <a:xfrm>
            <a:off x="5383376" y="5759444"/>
            <a:ext cx="704570" cy="152371"/>
          </a:xfrm>
          <a:prstGeom prst="roundRect">
            <a:avLst>
              <a:gd name="adj" fmla="val 98967"/>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00">
              <a:latin typeface="IBM Plex Sans" panose="020B0503050203000203" pitchFamily="34" charset="0"/>
            </a:endParaRPr>
          </a:p>
        </p:txBody>
      </p:sp>
      <p:sp>
        <p:nvSpPr>
          <p:cNvPr id="16" name="Shape 60">
            <a:extLst>
              <a:ext uri="{FF2B5EF4-FFF2-40B4-BE49-F238E27FC236}">
                <a16:creationId xmlns:a16="http://schemas.microsoft.com/office/drawing/2014/main" id="{A5A0B27E-D1EF-4B8C-7A51-DE1BF80556A2}"/>
              </a:ext>
            </a:extLst>
          </p:cNvPr>
          <p:cNvSpPr/>
          <p:nvPr/>
        </p:nvSpPr>
        <p:spPr>
          <a:xfrm>
            <a:off x="5383376" y="5778490"/>
            <a:ext cx="704570" cy="114280"/>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00">
              <a:latin typeface="IBM Plex Sans" panose="020B0503050203000203" pitchFamily="34" charset="0"/>
            </a:endParaRPr>
          </a:p>
        </p:txBody>
      </p:sp>
      <p:sp>
        <p:nvSpPr>
          <p:cNvPr id="18" name="Shape 62">
            <a:extLst>
              <a:ext uri="{FF2B5EF4-FFF2-40B4-BE49-F238E27FC236}">
                <a16:creationId xmlns:a16="http://schemas.microsoft.com/office/drawing/2014/main" id="{13B10E16-DDF6-8139-0DBE-BAF6BCC0BC58}"/>
              </a:ext>
            </a:extLst>
          </p:cNvPr>
          <p:cNvSpPr/>
          <p:nvPr/>
        </p:nvSpPr>
        <p:spPr>
          <a:xfrm>
            <a:off x="5684876" y="5880066"/>
            <a:ext cx="101573" cy="6"/>
          </a:xfrm>
          <a:prstGeom prst="rect">
            <a:avLst/>
          </a:prstGeom>
          <a:solidFill>
            <a:srgbClr val="FFFFFF">
              <a:alpha val="0"/>
            </a:srgbClr>
          </a:solid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00">
              <a:latin typeface="IBM Plex Sans" panose="020B0503050203000203" pitchFamily="34" charset="0"/>
            </a:endParaRPr>
          </a:p>
        </p:txBody>
      </p:sp>
      <p:pic>
        <p:nvPicPr>
          <p:cNvPr id="19" name="Image 48" descr=" ">
            <a:extLst>
              <a:ext uri="{FF2B5EF4-FFF2-40B4-BE49-F238E27FC236}">
                <a16:creationId xmlns:a16="http://schemas.microsoft.com/office/drawing/2014/main" id="{6205CAD1-6087-5BBB-4AFD-D53DFE39FF77}"/>
              </a:ext>
            </a:extLst>
          </p:cNvPr>
          <p:cNvPicPr>
            <a:picLocks noChangeAspect="1"/>
          </p:cNvPicPr>
          <p:nvPr/>
        </p:nvPicPr>
        <p:blipFill>
          <a:blip r:embed="rId9"/>
          <a:stretch>
            <a:fillRect/>
          </a:stretch>
        </p:blipFill>
        <p:spPr>
          <a:xfrm>
            <a:off x="5684876" y="5880065"/>
            <a:ext cx="6" cy="6"/>
          </a:xfrm>
          <a:prstGeom prst="rect">
            <a:avLst/>
          </a:prstGeom>
        </p:spPr>
      </p:pic>
      <p:pic>
        <p:nvPicPr>
          <p:cNvPr id="21" name="Image 49" descr=" ">
            <a:extLst>
              <a:ext uri="{FF2B5EF4-FFF2-40B4-BE49-F238E27FC236}">
                <a16:creationId xmlns:a16="http://schemas.microsoft.com/office/drawing/2014/main" id="{6CED57B3-B561-3E67-2A87-4D7BE2CFD806}"/>
              </a:ext>
            </a:extLst>
          </p:cNvPr>
          <p:cNvPicPr>
            <a:picLocks noChangeAspect="1"/>
          </p:cNvPicPr>
          <p:nvPr/>
        </p:nvPicPr>
        <p:blipFill>
          <a:blip r:embed="rId9"/>
          <a:stretch>
            <a:fillRect/>
          </a:stretch>
        </p:blipFill>
        <p:spPr>
          <a:xfrm>
            <a:off x="5786439" y="5880065"/>
            <a:ext cx="6" cy="6"/>
          </a:xfrm>
          <a:prstGeom prst="rect">
            <a:avLst/>
          </a:prstGeom>
        </p:spPr>
      </p:pic>
      <p:sp>
        <p:nvSpPr>
          <p:cNvPr id="22" name="Shape 63">
            <a:extLst>
              <a:ext uri="{FF2B5EF4-FFF2-40B4-BE49-F238E27FC236}">
                <a16:creationId xmlns:a16="http://schemas.microsoft.com/office/drawing/2014/main" id="{4E21B08C-3A5F-1DD3-BEFF-CFA47D7E6502}"/>
              </a:ext>
            </a:extLst>
          </p:cNvPr>
          <p:cNvSpPr/>
          <p:nvPr/>
        </p:nvSpPr>
        <p:spPr>
          <a:xfrm>
            <a:off x="6138727" y="5734052"/>
            <a:ext cx="628401" cy="203155"/>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00">
              <a:latin typeface="IBM Plex Sans" panose="020B0503050203000203" pitchFamily="34" charset="0"/>
            </a:endParaRPr>
          </a:p>
        </p:txBody>
      </p:sp>
      <p:sp>
        <p:nvSpPr>
          <p:cNvPr id="24" name="Shape 65">
            <a:extLst>
              <a:ext uri="{FF2B5EF4-FFF2-40B4-BE49-F238E27FC236}">
                <a16:creationId xmlns:a16="http://schemas.microsoft.com/office/drawing/2014/main" id="{7FBBE6E0-A5E7-7CE0-901A-E86945E3E3A6}"/>
              </a:ext>
            </a:extLst>
          </p:cNvPr>
          <p:cNvSpPr/>
          <p:nvPr/>
        </p:nvSpPr>
        <p:spPr>
          <a:xfrm>
            <a:off x="6138727" y="5759444"/>
            <a:ext cx="628401" cy="152371"/>
          </a:xfrm>
          <a:prstGeom prst="roundRect">
            <a:avLst>
              <a:gd name="adj" fmla="val 98967"/>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00">
              <a:latin typeface="IBM Plex Sans" panose="020B0503050203000203" pitchFamily="34" charset="0"/>
            </a:endParaRPr>
          </a:p>
        </p:txBody>
      </p:sp>
      <p:sp>
        <p:nvSpPr>
          <p:cNvPr id="25" name="Shape 66">
            <a:extLst>
              <a:ext uri="{FF2B5EF4-FFF2-40B4-BE49-F238E27FC236}">
                <a16:creationId xmlns:a16="http://schemas.microsoft.com/office/drawing/2014/main" id="{D09D34C8-43A6-AE09-9832-78A49293260A}"/>
              </a:ext>
            </a:extLst>
          </p:cNvPr>
          <p:cNvSpPr/>
          <p:nvPr/>
        </p:nvSpPr>
        <p:spPr>
          <a:xfrm>
            <a:off x="6138727" y="5778490"/>
            <a:ext cx="628401" cy="114280"/>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00">
              <a:latin typeface="IBM Plex Sans" panose="020B0503050203000203" pitchFamily="34" charset="0"/>
            </a:endParaRPr>
          </a:p>
        </p:txBody>
      </p:sp>
      <p:sp>
        <p:nvSpPr>
          <p:cNvPr id="27" name="Shape 68">
            <a:extLst>
              <a:ext uri="{FF2B5EF4-FFF2-40B4-BE49-F238E27FC236}">
                <a16:creationId xmlns:a16="http://schemas.microsoft.com/office/drawing/2014/main" id="{B01673A1-05FA-84AB-C1B9-A83CEB462D6B}"/>
              </a:ext>
            </a:extLst>
          </p:cNvPr>
          <p:cNvSpPr/>
          <p:nvPr/>
        </p:nvSpPr>
        <p:spPr>
          <a:xfrm>
            <a:off x="6402141" y="5880066"/>
            <a:ext cx="101573" cy="6"/>
          </a:xfrm>
          <a:prstGeom prst="rect">
            <a:avLst/>
          </a:prstGeom>
          <a:solidFill>
            <a:srgbClr val="FFFFFF">
              <a:alpha val="0"/>
            </a:srgbClr>
          </a:solid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00">
              <a:latin typeface="IBM Plex Sans" panose="020B0503050203000203" pitchFamily="34" charset="0"/>
            </a:endParaRPr>
          </a:p>
        </p:txBody>
      </p:sp>
      <p:pic>
        <p:nvPicPr>
          <p:cNvPr id="28" name="Image 50" descr=" ">
            <a:extLst>
              <a:ext uri="{FF2B5EF4-FFF2-40B4-BE49-F238E27FC236}">
                <a16:creationId xmlns:a16="http://schemas.microsoft.com/office/drawing/2014/main" id="{28E0ADD1-AC10-7FAF-8AC4-F0956BE9AF50}"/>
              </a:ext>
            </a:extLst>
          </p:cNvPr>
          <p:cNvPicPr>
            <a:picLocks noChangeAspect="1"/>
          </p:cNvPicPr>
          <p:nvPr/>
        </p:nvPicPr>
        <p:blipFill>
          <a:blip r:embed="rId9"/>
          <a:stretch>
            <a:fillRect/>
          </a:stretch>
        </p:blipFill>
        <p:spPr>
          <a:xfrm>
            <a:off x="6402140" y="5880065"/>
            <a:ext cx="6" cy="6"/>
          </a:xfrm>
          <a:prstGeom prst="rect">
            <a:avLst/>
          </a:prstGeom>
        </p:spPr>
      </p:pic>
      <p:pic>
        <p:nvPicPr>
          <p:cNvPr id="29" name="Image 51" descr=" ">
            <a:extLst>
              <a:ext uri="{FF2B5EF4-FFF2-40B4-BE49-F238E27FC236}">
                <a16:creationId xmlns:a16="http://schemas.microsoft.com/office/drawing/2014/main" id="{3C84256B-0156-1F03-4E14-752515E6839A}"/>
              </a:ext>
            </a:extLst>
          </p:cNvPr>
          <p:cNvPicPr>
            <a:picLocks noChangeAspect="1"/>
          </p:cNvPicPr>
          <p:nvPr/>
        </p:nvPicPr>
        <p:blipFill>
          <a:blip r:embed="rId9"/>
          <a:stretch>
            <a:fillRect/>
          </a:stretch>
        </p:blipFill>
        <p:spPr>
          <a:xfrm>
            <a:off x="6503707" y="5880065"/>
            <a:ext cx="6" cy="6"/>
          </a:xfrm>
          <a:prstGeom prst="rect">
            <a:avLst/>
          </a:prstGeom>
        </p:spPr>
      </p:pic>
      <p:sp>
        <p:nvSpPr>
          <p:cNvPr id="30" name="Shape 69">
            <a:extLst>
              <a:ext uri="{FF2B5EF4-FFF2-40B4-BE49-F238E27FC236}">
                <a16:creationId xmlns:a16="http://schemas.microsoft.com/office/drawing/2014/main" id="{72F6CA05-0C1C-C8F6-72E6-0A8EE1E2CEB6}"/>
              </a:ext>
            </a:extLst>
          </p:cNvPr>
          <p:cNvSpPr/>
          <p:nvPr/>
        </p:nvSpPr>
        <p:spPr>
          <a:xfrm>
            <a:off x="6817909" y="5734052"/>
            <a:ext cx="526840" cy="203155"/>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00">
              <a:latin typeface="IBM Plex Sans" panose="020B0503050203000203" pitchFamily="34" charset="0"/>
            </a:endParaRPr>
          </a:p>
        </p:txBody>
      </p:sp>
      <p:sp>
        <p:nvSpPr>
          <p:cNvPr id="32" name="Shape 71">
            <a:extLst>
              <a:ext uri="{FF2B5EF4-FFF2-40B4-BE49-F238E27FC236}">
                <a16:creationId xmlns:a16="http://schemas.microsoft.com/office/drawing/2014/main" id="{BFEDB68E-B85D-4180-EE70-195C7E0B82CF}"/>
              </a:ext>
            </a:extLst>
          </p:cNvPr>
          <p:cNvSpPr/>
          <p:nvPr/>
        </p:nvSpPr>
        <p:spPr>
          <a:xfrm>
            <a:off x="6817909" y="5759444"/>
            <a:ext cx="526840" cy="152371"/>
          </a:xfrm>
          <a:prstGeom prst="roundRect">
            <a:avLst>
              <a:gd name="adj" fmla="val 98967"/>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00">
              <a:latin typeface="IBM Plex Sans" panose="020B0503050203000203" pitchFamily="34" charset="0"/>
            </a:endParaRPr>
          </a:p>
        </p:txBody>
      </p:sp>
      <p:sp>
        <p:nvSpPr>
          <p:cNvPr id="33" name="Shape 72">
            <a:extLst>
              <a:ext uri="{FF2B5EF4-FFF2-40B4-BE49-F238E27FC236}">
                <a16:creationId xmlns:a16="http://schemas.microsoft.com/office/drawing/2014/main" id="{77738254-9180-B970-8B99-7AA0F1988170}"/>
              </a:ext>
            </a:extLst>
          </p:cNvPr>
          <p:cNvSpPr/>
          <p:nvPr/>
        </p:nvSpPr>
        <p:spPr>
          <a:xfrm>
            <a:off x="6817909" y="5778490"/>
            <a:ext cx="526840" cy="114280"/>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00">
              <a:latin typeface="IBM Plex Sans" panose="020B0503050203000203" pitchFamily="34" charset="0"/>
            </a:endParaRPr>
          </a:p>
        </p:txBody>
      </p:sp>
      <p:sp>
        <p:nvSpPr>
          <p:cNvPr id="35" name="Shape 74">
            <a:extLst>
              <a:ext uri="{FF2B5EF4-FFF2-40B4-BE49-F238E27FC236}">
                <a16:creationId xmlns:a16="http://schemas.microsoft.com/office/drawing/2014/main" id="{6A8958C7-C25B-1D4C-213F-A0FF4263C0C7}"/>
              </a:ext>
            </a:extLst>
          </p:cNvPr>
          <p:cNvSpPr/>
          <p:nvPr/>
        </p:nvSpPr>
        <p:spPr>
          <a:xfrm>
            <a:off x="7030542" y="5880066"/>
            <a:ext cx="101573" cy="6"/>
          </a:xfrm>
          <a:prstGeom prst="rect">
            <a:avLst/>
          </a:prstGeom>
          <a:solidFill>
            <a:srgbClr val="FFFFFF">
              <a:alpha val="0"/>
            </a:srgbClr>
          </a:solid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00">
              <a:latin typeface="IBM Plex Sans" panose="020B0503050203000203" pitchFamily="34" charset="0"/>
            </a:endParaRPr>
          </a:p>
        </p:txBody>
      </p:sp>
      <p:pic>
        <p:nvPicPr>
          <p:cNvPr id="36" name="Image 52" descr=" ">
            <a:extLst>
              <a:ext uri="{FF2B5EF4-FFF2-40B4-BE49-F238E27FC236}">
                <a16:creationId xmlns:a16="http://schemas.microsoft.com/office/drawing/2014/main" id="{A2E73CBF-7D8B-B96E-78A1-48CD9F9EEAD6}"/>
              </a:ext>
            </a:extLst>
          </p:cNvPr>
          <p:cNvPicPr>
            <a:picLocks noChangeAspect="1"/>
          </p:cNvPicPr>
          <p:nvPr/>
        </p:nvPicPr>
        <p:blipFill>
          <a:blip r:embed="rId9"/>
          <a:stretch>
            <a:fillRect/>
          </a:stretch>
        </p:blipFill>
        <p:spPr>
          <a:xfrm>
            <a:off x="7030541" y="5880065"/>
            <a:ext cx="6" cy="6"/>
          </a:xfrm>
          <a:prstGeom prst="rect">
            <a:avLst/>
          </a:prstGeom>
        </p:spPr>
      </p:pic>
      <p:pic>
        <p:nvPicPr>
          <p:cNvPr id="37" name="Image 53" descr=" ">
            <a:extLst>
              <a:ext uri="{FF2B5EF4-FFF2-40B4-BE49-F238E27FC236}">
                <a16:creationId xmlns:a16="http://schemas.microsoft.com/office/drawing/2014/main" id="{5D9B5937-DBAD-F911-EF37-2BDA78640585}"/>
              </a:ext>
            </a:extLst>
          </p:cNvPr>
          <p:cNvPicPr>
            <a:picLocks noChangeAspect="1"/>
          </p:cNvPicPr>
          <p:nvPr/>
        </p:nvPicPr>
        <p:blipFill>
          <a:blip r:embed="rId9"/>
          <a:stretch>
            <a:fillRect/>
          </a:stretch>
        </p:blipFill>
        <p:spPr>
          <a:xfrm>
            <a:off x="7132107" y="5880065"/>
            <a:ext cx="6" cy="6"/>
          </a:xfrm>
          <a:prstGeom prst="rect">
            <a:avLst/>
          </a:prstGeom>
        </p:spPr>
      </p:pic>
      <p:sp>
        <p:nvSpPr>
          <p:cNvPr id="38" name="Shape 75">
            <a:extLst>
              <a:ext uri="{FF2B5EF4-FFF2-40B4-BE49-F238E27FC236}">
                <a16:creationId xmlns:a16="http://schemas.microsoft.com/office/drawing/2014/main" id="{5CD42A69-5B79-6CC4-583E-ECDB83FFC7BB}"/>
              </a:ext>
            </a:extLst>
          </p:cNvPr>
          <p:cNvSpPr/>
          <p:nvPr/>
        </p:nvSpPr>
        <p:spPr>
          <a:xfrm>
            <a:off x="7395530" y="5734052"/>
            <a:ext cx="590316" cy="203155"/>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00">
              <a:latin typeface="IBM Plex Sans" panose="020B0503050203000203" pitchFamily="34" charset="0"/>
            </a:endParaRPr>
          </a:p>
        </p:txBody>
      </p:sp>
      <p:sp>
        <p:nvSpPr>
          <p:cNvPr id="40" name="Shape 77">
            <a:extLst>
              <a:ext uri="{FF2B5EF4-FFF2-40B4-BE49-F238E27FC236}">
                <a16:creationId xmlns:a16="http://schemas.microsoft.com/office/drawing/2014/main" id="{E4C4DC9B-DBE9-8BCB-B04E-5DCE3CB30D24}"/>
              </a:ext>
            </a:extLst>
          </p:cNvPr>
          <p:cNvSpPr/>
          <p:nvPr/>
        </p:nvSpPr>
        <p:spPr>
          <a:xfrm>
            <a:off x="7395530" y="5759444"/>
            <a:ext cx="590316" cy="152371"/>
          </a:xfrm>
          <a:prstGeom prst="roundRect">
            <a:avLst>
              <a:gd name="adj" fmla="val 98967"/>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00">
              <a:latin typeface="IBM Plex Sans" panose="020B0503050203000203" pitchFamily="34" charset="0"/>
            </a:endParaRPr>
          </a:p>
        </p:txBody>
      </p:sp>
      <p:sp>
        <p:nvSpPr>
          <p:cNvPr id="41" name="Shape 78">
            <a:extLst>
              <a:ext uri="{FF2B5EF4-FFF2-40B4-BE49-F238E27FC236}">
                <a16:creationId xmlns:a16="http://schemas.microsoft.com/office/drawing/2014/main" id="{2C9AF67E-3DB5-6138-1292-C94C2FC30C15}"/>
              </a:ext>
            </a:extLst>
          </p:cNvPr>
          <p:cNvSpPr/>
          <p:nvPr/>
        </p:nvSpPr>
        <p:spPr>
          <a:xfrm>
            <a:off x="7395530" y="5778490"/>
            <a:ext cx="590316" cy="114280"/>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00">
              <a:latin typeface="IBM Plex Sans" panose="020B0503050203000203" pitchFamily="34" charset="0"/>
            </a:endParaRPr>
          </a:p>
        </p:txBody>
      </p:sp>
      <p:sp>
        <p:nvSpPr>
          <p:cNvPr id="43" name="Shape 80">
            <a:extLst>
              <a:ext uri="{FF2B5EF4-FFF2-40B4-BE49-F238E27FC236}">
                <a16:creationId xmlns:a16="http://schemas.microsoft.com/office/drawing/2014/main" id="{E05C76D8-A8A7-8B2A-6F74-262B37BD11D3}"/>
              </a:ext>
            </a:extLst>
          </p:cNvPr>
          <p:cNvSpPr/>
          <p:nvPr/>
        </p:nvSpPr>
        <p:spPr>
          <a:xfrm>
            <a:off x="7639901" y="5880066"/>
            <a:ext cx="101573" cy="6"/>
          </a:xfrm>
          <a:prstGeom prst="rect">
            <a:avLst/>
          </a:prstGeom>
          <a:solidFill>
            <a:srgbClr val="FFFFFF">
              <a:alpha val="0"/>
            </a:srgbClr>
          </a:solid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00">
              <a:latin typeface="IBM Plex Sans" panose="020B0503050203000203" pitchFamily="34" charset="0"/>
            </a:endParaRPr>
          </a:p>
        </p:txBody>
      </p:sp>
      <p:pic>
        <p:nvPicPr>
          <p:cNvPr id="44" name="Image 54" descr=" ">
            <a:extLst>
              <a:ext uri="{FF2B5EF4-FFF2-40B4-BE49-F238E27FC236}">
                <a16:creationId xmlns:a16="http://schemas.microsoft.com/office/drawing/2014/main" id="{00241A1F-EDD5-E4BD-26B3-50BB5AAF250F}"/>
              </a:ext>
            </a:extLst>
          </p:cNvPr>
          <p:cNvPicPr>
            <a:picLocks noChangeAspect="1"/>
          </p:cNvPicPr>
          <p:nvPr/>
        </p:nvPicPr>
        <p:blipFill>
          <a:blip r:embed="rId9"/>
          <a:stretch>
            <a:fillRect/>
          </a:stretch>
        </p:blipFill>
        <p:spPr>
          <a:xfrm>
            <a:off x="7639900" y="5880065"/>
            <a:ext cx="6" cy="6"/>
          </a:xfrm>
          <a:prstGeom prst="rect">
            <a:avLst/>
          </a:prstGeom>
        </p:spPr>
      </p:pic>
      <p:pic>
        <p:nvPicPr>
          <p:cNvPr id="45" name="Image 55" descr=" ">
            <a:extLst>
              <a:ext uri="{FF2B5EF4-FFF2-40B4-BE49-F238E27FC236}">
                <a16:creationId xmlns:a16="http://schemas.microsoft.com/office/drawing/2014/main" id="{2FDBD667-C57C-C32D-F176-2BF314733FFE}"/>
              </a:ext>
            </a:extLst>
          </p:cNvPr>
          <p:cNvPicPr>
            <a:picLocks noChangeAspect="1"/>
          </p:cNvPicPr>
          <p:nvPr/>
        </p:nvPicPr>
        <p:blipFill>
          <a:blip r:embed="rId9"/>
          <a:stretch>
            <a:fillRect/>
          </a:stretch>
        </p:blipFill>
        <p:spPr>
          <a:xfrm>
            <a:off x="7741467" y="5880065"/>
            <a:ext cx="6" cy="6"/>
          </a:xfrm>
          <a:prstGeom prst="rect">
            <a:avLst/>
          </a:prstGeom>
        </p:spPr>
      </p:pic>
      <p:sp>
        <p:nvSpPr>
          <p:cNvPr id="46" name="Shape 81">
            <a:extLst>
              <a:ext uri="{FF2B5EF4-FFF2-40B4-BE49-F238E27FC236}">
                <a16:creationId xmlns:a16="http://schemas.microsoft.com/office/drawing/2014/main" id="{8C73B6CB-55F7-2509-9376-A1D957B7ACE7}"/>
              </a:ext>
            </a:extLst>
          </p:cNvPr>
          <p:cNvSpPr/>
          <p:nvPr/>
        </p:nvSpPr>
        <p:spPr>
          <a:xfrm>
            <a:off x="8036627" y="5734052"/>
            <a:ext cx="336416" cy="203155"/>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00">
              <a:latin typeface="IBM Plex Sans" panose="020B0503050203000203" pitchFamily="34" charset="0"/>
            </a:endParaRPr>
          </a:p>
        </p:txBody>
      </p:sp>
      <p:sp>
        <p:nvSpPr>
          <p:cNvPr id="47" name="Shape 82">
            <a:extLst>
              <a:ext uri="{FF2B5EF4-FFF2-40B4-BE49-F238E27FC236}">
                <a16:creationId xmlns:a16="http://schemas.microsoft.com/office/drawing/2014/main" id="{F038F663-DCBC-3E94-504A-586267CA6E5B}"/>
              </a:ext>
            </a:extLst>
          </p:cNvPr>
          <p:cNvSpPr/>
          <p:nvPr/>
        </p:nvSpPr>
        <p:spPr>
          <a:xfrm>
            <a:off x="10895835" y="5508331"/>
            <a:ext cx="475488" cy="219369"/>
          </a:xfrm>
          <a:prstGeom prst="roundRect">
            <a:avLst>
              <a:gd name="adj" fmla="val 50983"/>
            </a:avLst>
          </a:prstGeom>
          <a:solidFill>
            <a:srgbClr val="E0E0E0">
              <a:alpha val="100000"/>
            </a:srgbClr>
          </a:solid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00">
              <a:latin typeface="IBM Plex Sans" panose="020B0503050203000203" pitchFamily="34" charset="0"/>
            </a:endParaRPr>
          </a:p>
        </p:txBody>
      </p:sp>
      <p:sp>
        <p:nvSpPr>
          <p:cNvPr id="48" name="Shape 83">
            <a:extLst>
              <a:ext uri="{FF2B5EF4-FFF2-40B4-BE49-F238E27FC236}">
                <a16:creationId xmlns:a16="http://schemas.microsoft.com/office/drawing/2014/main" id="{9365A0FC-B0A7-D027-FCDE-F3C34BF84566}"/>
              </a:ext>
            </a:extLst>
          </p:cNvPr>
          <p:cNvSpPr/>
          <p:nvPr/>
        </p:nvSpPr>
        <p:spPr>
          <a:xfrm>
            <a:off x="8036627" y="5759444"/>
            <a:ext cx="336416" cy="152371"/>
          </a:xfrm>
          <a:prstGeom prst="roundRect">
            <a:avLst>
              <a:gd name="adj" fmla="val 98967"/>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00">
              <a:latin typeface="IBM Plex Sans" panose="020B0503050203000203" pitchFamily="34" charset="0"/>
            </a:endParaRPr>
          </a:p>
        </p:txBody>
      </p:sp>
      <p:sp>
        <p:nvSpPr>
          <p:cNvPr id="49" name="Shape 84">
            <a:extLst>
              <a:ext uri="{FF2B5EF4-FFF2-40B4-BE49-F238E27FC236}">
                <a16:creationId xmlns:a16="http://schemas.microsoft.com/office/drawing/2014/main" id="{D1E003FE-03CE-6364-F9A3-993002AA698E}"/>
              </a:ext>
            </a:extLst>
          </p:cNvPr>
          <p:cNvSpPr/>
          <p:nvPr/>
        </p:nvSpPr>
        <p:spPr>
          <a:xfrm>
            <a:off x="8036627" y="5778490"/>
            <a:ext cx="336416" cy="114280"/>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00">
              <a:latin typeface="IBM Plex Sans" panose="020B0503050203000203" pitchFamily="34" charset="0"/>
            </a:endParaRPr>
          </a:p>
        </p:txBody>
      </p:sp>
      <p:sp>
        <p:nvSpPr>
          <p:cNvPr id="51" name="Shape 86">
            <a:extLst>
              <a:ext uri="{FF2B5EF4-FFF2-40B4-BE49-F238E27FC236}">
                <a16:creationId xmlns:a16="http://schemas.microsoft.com/office/drawing/2014/main" id="{06F1C1F5-7F9F-6542-13E1-82A345CDA50D}"/>
              </a:ext>
            </a:extLst>
          </p:cNvPr>
          <p:cNvSpPr/>
          <p:nvPr/>
        </p:nvSpPr>
        <p:spPr>
          <a:xfrm>
            <a:off x="8154048" y="5880066"/>
            <a:ext cx="101573" cy="6"/>
          </a:xfrm>
          <a:prstGeom prst="rect">
            <a:avLst/>
          </a:prstGeom>
          <a:solidFill>
            <a:srgbClr val="FFFFFF">
              <a:alpha val="0"/>
            </a:srgbClr>
          </a:solid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00">
              <a:latin typeface="IBM Plex Sans" panose="020B0503050203000203" pitchFamily="34" charset="0"/>
            </a:endParaRPr>
          </a:p>
        </p:txBody>
      </p:sp>
      <p:pic>
        <p:nvPicPr>
          <p:cNvPr id="52" name="Image 56" descr=" ">
            <a:extLst>
              <a:ext uri="{FF2B5EF4-FFF2-40B4-BE49-F238E27FC236}">
                <a16:creationId xmlns:a16="http://schemas.microsoft.com/office/drawing/2014/main" id="{B64F6BA5-3C82-9FAB-76A8-773181C960EF}"/>
              </a:ext>
            </a:extLst>
          </p:cNvPr>
          <p:cNvPicPr>
            <a:picLocks noChangeAspect="1"/>
          </p:cNvPicPr>
          <p:nvPr/>
        </p:nvPicPr>
        <p:blipFill>
          <a:blip r:embed="rId9"/>
          <a:stretch>
            <a:fillRect/>
          </a:stretch>
        </p:blipFill>
        <p:spPr>
          <a:xfrm>
            <a:off x="8154047" y="5880065"/>
            <a:ext cx="6" cy="6"/>
          </a:xfrm>
          <a:prstGeom prst="rect">
            <a:avLst/>
          </a:prstGeom>
        </p:spPr>
      </p:pic>
      <p:pic>
        <p:nvPicPr>
          <p:cNvPr id="53" name="Image 57" descr=" ">
            <a:extLst>
              <a:ext uri="{FF2B5EF4-FFF2-40B4-BE49-F238E27FC236}">
                <a16:creationId xmlns:a16="http://schemas.microsoft.com/office/drawing/2014/main" id="{6B40137E-B3C5-C20B-6D33-237B9B28CC6A}"/>
              </a:ext>
            </a:extLst>
          </p:cNvPr>
          <p:cNvPicPr>
            <a:picLocks noChangeAspect="1"/>
          </p:cNvPicPr>
          <p:nvPr/>
        </p:nvPicPr>
        <p:blipFill>
          <a:blip r:embed="rId9"/>
          <a:stretch>
            <a:fillRect/>
          </a:stretch>
        </p:blipFill>
        <p:spPr>
          <a:xfrm>
            <a:off x="8255614" y="5880065"/>
            <a:ext cx="6" cy="6"/>
          </a:xfrm>
          <a:prstGeom prst="rect">
            <a:avLst/>
          </a:prstGeom>
        </p:spPr>
      </p:pic>
      <p:pic>
        <p:nvPicPr>
          <p:cNvPr id="55" name="Picture 54">
            <a:extLst>
              <a:ext uri="{FF2B5EF4-FFF2-40B4-BE49-F238E27FC236}">
                <a16:creationId xmlns:a16="http://schemas.microsoft.com/office/drawing/2014/main" id="{19491705-E7F6-4AB6-D185-22BA70499B6F}"/>
              </a:ext>
            </a:extLst>
          </p:cNvPr>
          <p:cNvPicPr>
            <a:picLocks noChangeAspect="1"/>
          </p:cNvPicPr>
          <p:nvPr/>
        </p:nvPicPr>
        <p:blipFill>
          <a:blip r:embed="rId27"/>
          <a:stretch>
            <a:fillRect/>
          </a:stretch>
        </p:blipFill>
        <p:spPr>
          <a:xfrm>
            <a:off x="4759763" y="2676337"/>
            <a:ext cx="219369" cy="219369"/>
          </a:xfrm>
          <a:prstGeom prst="rect">
            <a:avLst/>
          </a:prstGeom>
        </p:spPr>
      </p:pic>
      <p:pic>
        <p:nvPicPr>
          <p:cNvPr id="56" name="Picture 55">
            <a:extLst>
              <a:ext uri="{FF2B5EF4-FFF2-40B4-BE49-F238E27FC236}">
                <a16:creationId xmlns:a16="http://schemas.microsoft.com/office/drawing/2014/main" id="{C3E07272-3FCD-696C-0C9C-B0E36AB1CCEE}"/>
              </a:ext>
            </a:extLst>
          </p:cNvPr>
          <p:cNvPicPr>
            <a:picLocks noChangeAspect="1"/>
          </p:cNvPicPr>
          <p:nvPr/>
        </p:nvPicPr>
        <p:blipFill>
          <a:blip r:embed="rId28"/>
          <a:stretch>
            <a:fillRect/>
          </a:stretch>
        </p:blipFill>
        <p:spPr>
          <a:xfrm>
            <a:off x="4751380" y="3138665"/>
            <a:ext cx="219369" cy="219369"/>
          </a:xfrm>
          <a:prstGeom prst="rect">
            <a:avLst/>
          </a:prstGeom>
        </p:spPr>
      </p:pic>
      <p:pic>
        <p:nvPicPr>
          <p:cNvPr id="60" name="Image 18" descr=" ">
            <a:extLst>
              <a:ext uri="{FF2B5EF4-FFF2-40B4-BE49-F238E27FC236}">
                <a16:creationId xmlns:a16="http://schemas.microsoft.com/office/drawing/2014/main" id="{D2E4ABA2-9B8D-81D4-CA6B-D85E90D443FC}"/>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4830111" y="3607161"/>
            <a:ext cx="50798" cy="177760"/>
          </a:xfrm>
          <a:prstGeom prst="rect">
            <a:avLst/>
          </a:prstGeom>
        </p:spPr>
      </p:pic>
      <p:pic>
        <p:nvPicPr>
          <p:cNvPr id="61" name="Image 17" descr=" ">
            <a:extLst>
              <a:ext uri="{FF2B5EF4-FFF2-40B4-BE49-F238E27FC236}">
                <a16:creationId xmlns:a16="http://schemas.microsoft.com/office/drawing/2014/main" id="{B451C19C-EA46-897B-A371-1A0C3D70C65D}"/>
              </a:ext>
            </a:extLst>
          </p:cNvPr>
          <p:cNvPicPr>
            <a:picLocks noChangeAspect="1"/>
          </p:cNvPicPr>
          <p:nvPr/>
        </p:nvPicPr>
        <p:blipFill>
          <a:blip r:embed="rId31"/>
          <a:stretch>
            <a:fillRect/>
          </a:stretch>
        </p:blipFill>
        <p:spPr>
          <a:xfrm>
            <a:off x="4744425" y="3644332"/>
            <a:ext cx="219369" cy="144605"/>
          </a:xfrm>
          <a:prstGeom prst="rect">
            <a:avLst/>
          </a:prstGeom>
        </p:spPr>
      </p:pic>
      <p:pic>
        <p:nvPicPr>
          <p:cNvPr id="62" name="Image 10" descr=" ">
            <a:extLst>
              <a:ext uri="{FF2B5EF4-FFF2-40B4-BE49-F238E27FC236}">
                <a16:creationId xmlns:a16="http://schemas.microsoft.com/office/drawing/2014/main" id="{3AE1E052-A26F-032C-510E-61E680A8AB58}"/>
              </a:ext>
            </a:extLst>
          </p:cNvPr>
          <p:cNvPicPr>
            <a:picLocks noChangeAspect="1"/>
          </p:cNvPicPr>
          <p:nvPr/>
        </p:nvPicPr>
        <p:blipFill>
          <a:blip r:embed="rId32"/>
          <a:stretch>
            <a:fillRect/>
          </a:stretch>
        </p:blipFill>
        <p:spPr>
          <a:xfrm>
            <a:off x="8348540" y="3584494"/>
            <a:ext cx="219369" cy="204872"/>
          </a:xfrm>
          <a:prstGeom prst="rect">
            <a:avLst/>
          </a:prstGeom>
        </p:spPr>
      </p:pic>
      <p:pic>
        <p:nvPicPr>
          <p:cNvPr id="63" name="Image 13" descr=" ">
            <a:extLst>
              <a:ext uri="{FF2B5EF4-FFF2-40B4-BE49-F238E27FC236}">
                <a16:creationId xmlns:a16="http://schemas.microsoft.com/office/drawing/2014/main" id="{2BAF791D-EE77-27BE-EEB3-3CE2CCA52D92}"/>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8373043" y="4041352"/>
            <a:ext cx="191949" cy="223979"/>
          </a:xfrm>
          <a:prstGeom prst="rect">
            <a:avLst/>
          </a:prstGeom>
        </p:spPr>
      </p:pic>
      <p:pic>
        <p:nvPicPr>
          <p:cNvPr id="512" name="Picture 511">
            <a:extLst>
              <a:ext uri="{FF2B5EF4-FFF2-40B4-BE49-F238E27FC236}">
                <a16:creationId xmlns:a16="http://schemas.microsoft.com/office/drawing/2014/main" id="{FB7CC079-BF0A-D85B-E54C-13BAEC592D1A}"/>
              </a:ext>
            </a:extLst>
          </p:cNvPr>
          <p:cNvPicPr>
            <a:picLocks noChangeAspect="1"/>
          </p:cNvPicPr>
          <p:nvPr/>
        </p:nvPicPr>
        <p:blipFill>
          <a:blip r:embed="rId35"/>
          <a:stretch>
            <a:fillRect/>
          </a:stretch>
        </p:blipFill>
        <p:spPr>
          <a:xfrm>
            <a:off x="8334445" y="3117574"/>
            <a:ext cx="219369" cy="219369"/>
          </a:xfrm>
          <a:prstGeom prst="rect">
            <a:avLst/>
          </a:prstGeom>
        </p:spPr>
      </p:pic>
      <p:pic>
        <p:nvPicPr>
          <p:cNvPr id="513" name="Picture 512">
            <a:extLst>
              <a:ext uri="{FF2B5EF4-FFF2-40B4-BE49-F238E27FC236}">
                <a16:creationId xmlns:a16="http://schemas.microsoft.com/office/drawing/2014/main" id="{8CCFAD13-CA58-1946-B03C-9B2D7649959F}"/>
              </a:ext>
            </a:extLst>
          </p:cNvPr>
          <p:cNvPicPr>
            <a:picLocks noChangeAspect="1"/>
          </p:cNvPicPr>
          <p:nvPr/>
        </p:nvPicPr>
        <p:blipFill>
          <a:blip r:embed="rId36"/>
          <a:stretch>
            <a:fillRect/>
          </a:stretch>
        </p:blipFill>
        <p:spPr>
          <a:xfrm>
            <a:off x="8334445" y="2653593"/>
            <a:ext cx="219369" cy="219369"/>
          </a:xfrm>
          <a:prstGeom prst="rect">
            <a:avLst/>
          </a:prstGeom>
        </p:spPr>
      </p:pic>
      <p:pic>
        <p:nvPicPr>
          <p:cNvPr id="515" name="Image 11" descr=" ">
            <a:extLst>
              <a:ext uri="{FF2B5EF4-FFF2-40B4-BE49-F238E27FC236}">
                <a16:creationId xmlns:a16="http://schemas.microsoft.com/office/drawing/2014/main" id="{06BE3AEF-1398-EA1F-CEFA-152344678565}"/>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8407937" y="3623907"/>
            <a:ext cx="101266" cy="115750"/>
          </a:xfrm>
          <a:prstGeom prst="rect">
            <a:avLst/>
          </a:prstGeom>
        </p:spPr>
      </p:pic>
      <p:sp>
        <p:nvSpPr>
          <p:cNvPr id="518" name="Shape 107">
            <a:extLst>
              <a:ext uri="{FF2B5EF4-FFF2-40B4-BE49-F238E27FC236}">
                <a16:creationId xmlns:a16="http://schemas.microsoft.com/office/drawing/2014/main" id="{520DB52C-9E3D-763F-1D4C-359D3FBDC643}"/>
              </a:ext>
            </a:extLst>
          </p:cNvPr>
          <p:cNvSpPr/>
          <p:nvPr/>
        </p:nvSpPr>
        <p:spPr>
          <a:xfrm>
            <a:off x="9988718" y="2174236"/>
            <a:ext cx="1592652" cy="2091081"/>
          </a:xfrm>
          <a:prstGeom prst="roundRect">
            <a:avLst>
              <a:gd name="adj" fmla="val 6887"/>
            </a:avLst>
          </a:prstGeom>
          <a:solidFill>
            <a:srgbClr val="FFFFFF">
              <a:alpha val="100000"/>
            </a:srgbClr>
          </a:solidFill>
          <a:ln/>
          <a:effectLst>
            <a:outerShdw blurRad="317500" dist="50800" dir="16200000" algn="bl" rotWithShape="0">
              <a:srgbClr val="000000">
                <a:alpha val="10000"/>
              </a:srgbClr>
            </a:outerShdw>
          </a:effectLst>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519" name="Shape 108">
            <a:extLst>
              <a:ext uri="{FF2B5EF4-FFF2-40B4-BE49-F238E27FC236}">
                <a16:creationId xmlns:a16="http://schemas.microsoft.com/office/drawing/2014/main" id="{CD2A194F-07F5-7B4F-CEA3-D9854F7B5232}"/>
              </a:ext>
            </a:extLst>
          </p:cNvPr>
          <p:cNvSpPr/>
          <p:nvPr/>
        </p:nvSpPr>
        <p:spPr>
          <a:xfrm>
            <a:off x="10099513" y="2285028"/>
            <a:ext cx="1225647" cy="1606528"/>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520" name="Shape 109">
            <a:extLst>
              <a:ext uri="{FF2B5EF4-FFF2-40B4-BE49-F238E27FC236}">
                <a16:creationId xmlns:a16="http://schemas.microsoft.com/office/drawing/2014/main" id="{A355D3F5-89A5-45C0-E554-D109C86166EC}"/>
              </a:ext>
            </a:extLst>
          </p:cNvPr>
          <p:cNvSpPr/>
          <p:nvPr/>
        </p:nvSpPr>
        <p:spPr>
          <a:xfrm>
            <a:off x="10099513" y="2285031"/>
            <a:ext cx="1225647" cy="166189"/>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521" name="Text 110">
            <a:extLst>
              <a:ext uri="{FF2B5EF4-FFF2-40B4-BE49-F238E27FC236}">
                <a16:creationId xmlns:a16="http://schemas.microsoft.com/office/drawing/2014/main" id="{56713E55-71A4-636B-FF9D-370C3C5B123A}"/>
              </a:ext>
            </a:extLst>
          </p:cNvPr>
          <p:cNvSpPr/>
          <p:nvPr/>
        </p:nvSpPr>
        <p:spPr>
          <a:xfrm>
            <a:off x="10099513" y="2285031"/>
            <a:ext cx="1271811" cy="212353"/>
          </a:xfrm>
          <a:prstGeom prst="rect">
            <a:avLst/>
          </a:prstGeom>
          <a:noFill/>
          <a:ln/>
        </p:spPr>
        <p:txBody>
          <a:bodyPr wrap="square" lIns="0" tIns="0" rIns="0" bIns="0" rtlCol="0" anchor="t"/>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nSpc>
                <a:spcPts val="1309"/>
              </a:lnSpc>
            </a:pPr>
            <a:r>
              <a:rPr lang="en-US" sz="870">
                <a:solidFill>
                  <a:srgbClr val="000000">
                    <a:alpha val="100000"/>
                  </a:srgbClr>
                </a:solidFill>
                <a:latin typeface="IBM Plex Sans" panose="020B0503050203000203" pitchFamily="34" charset="0"/>
                <a:ea typeface="IBM Plex Sans Bold" pitchFamily="34" charset="-122"/>
                <a:cs typeface="IBM Plex Sans Bold" pitchFamily="34" charset="-120"/>
              </a:rPr>
              <a:t>Consumers</a:t>
            </a:r>
            <a:endParaRPr lang="en-US" sz="870">
              <a:latin typeface="IBM Plex Sans" panose="020B0503050203000203" pitchFamily="34" charset="0"/>
            </a:endParaRPr>
          </a:p>
        </p:txBody>
      </p:sp>
      <p:sp>
        <p:nvSpPr>
          <p:cNvPr id="522" name="Shape 111">
            <a:extLst>
              <a:ext uri="{FF2B5EF4-FFF2-40B4-BE49-F238E27FC236}">
                <a16:creationId xmlns:a16="http://schemas.microsoft.com/office/drawing/2014/main" id="{34242EAB-3932-C272-215D-F26651058499}"/>
              </a:ext>
            </a:extLst>
          </p:cNvPr>
          <p:cNvSpPr/>
          <p:nvPr/>
        </p:nvSpPr>
        <p:spPr>
          <a:xfrm>
            <a:off x="10099512" y="2672805"/>
            <a:ext cx="1107932" cy="1218751"/>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523" name="Shape 112">
            <a:extLst>
              <a:ext uri="{FF2B5EF4-FFF2-40B4-BE49-F238E27FC236}">
                <a16:creationId xmlns:a16="http://schemas.microsoft.com/office/drawing/2014/main" id="{3F46561B-428C-1018-23CC-564F74796A98}"/>
              </a:ext>
            </a:extLst>
          </p:cNvPr>
          <p:cNvSpPr/>
          <p:nvPr/>
        </p:nvSpPr>
        <p:spPr>
          <a:xfrm>
            <a:off x="10099512" y="2672805"/>
            <a:ext cx="1107932" cy="1218751"/>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524" name="Shape 113">
            <a:extLst>
              <a:ext uri="{FF2B5EF4-FFF2-40B4-BE49-F238E27FC236}">
                <a16:creationId xmlns:a16="http://schemas.microsoft.com/office/drawing/2014/main" id="{526CA1CE-C62A-4505-DBC5-CFDEE76BF47F}"/>
              </a:ext>
            </a:extLst>
          </p:cNvPr>
          <p:cNvSpPr/>
          <p:nvPr/>
        </p:nvSpPr>
        <p:spPr>
          <a:xfrm>
            <a:off x="10099513" y="2672805"/>
            <a:ext cx="725931" cy="221593"/>
          </a:xfrm>
          <a:prstGeom prst="roundRect">
            <a:avLst>
              <a:gd name="adj" fmla="val 49498"/>
            </a:avLst>
          </a:prstGeom>
          <a:solidFill>
            <a:srgbClr val="D0E2FF">
              <a:alpha val="100000"/>
            </a:srgbClr>
          </a:solid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525" name="Shape 114">
            <a:extLst>
              <a:ext uri="{FF2B5EF4-FFF2-40B4-BE49-F238E27FC236}">
                <a16:creationId xmlns:a16="http://schemas.microsoft.com/office/drawing/2014/main" id="{4846AB75-C865-30D8-5B22-29BF978C1AE0}"/>
              </a:ext>
            </a:extLst>
          </p:cNvPr>
          <p:cNvSpPr/>
          <p:nvPr/>
        </p:nvSpPr>
        <p:spPr>
          <a:xfrm>
            <a:off x="10099512" y="2672805"/>
            <a:ext cx="276997" cy="221593"/>
          </a:xfrm>
          <a:prstGeom prst="roundRect">
            <a:avLst>
              <a:gd name="adj" fmla="val 74248"/>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526" name="Shape 115">
            <a:extLst>
              <a:ext uri="{FF2B5EF4-FFF2-40B4-BE49-F238E27FC236}">
                <a16:creationId xmlns:a16="http://schemas.microsoft.com/office/drawing/2014/main" id="{73CFFBAB-AD6F-0EFF-62AD-D4794DFECDED}"/>
              </a:ext>
            </a:extLst>
          </p:cNvPr>
          <p:cNvSpPr/>
          <p:nvPr/>
        </p:nvSpPr>
        <p:spPr>
          <a:xfrm>
            <a:off x="10099512" y="2714354"/>
            <a:ext cx="276997" cy="138499"/>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527" name="Text 116">
            <a:extLst>
              <a:ext uri="{FF2B5EF4-FFF2-40B4-BE49-F238E27FC236}">
                <a16:creationId xmlns:a16="http://schemas.microsoft.com/office/drawing/2014/main" id="{08B23219-9A0D-6965-B32B-605D0FF2FC74}"/>
              </a:ext>
            </a:extLst>
          </p:cNvPr>
          <p:cNvSpPr/>
          <p:nvPr/>
        </p:nvSpPr>
        <p:spPr>
          <a:xfrm>
            <a:off x="10169905" y="2725395"/>
            <a:ext cx="725931" cy="155146"/>
          </a:xfrm>
          <a:prstGeom prst="rect">
            <a:avLst/>
          </a:prstGeom>
          <a:noFill/>
          <a:ln/>
        </p:spPr>
        <p:txBody>
          <a:bodyPr wrap="square" lIns="0" tIns="0" rIns="0" bIns="0" rtlCol="0" anchor="t"/>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nSpc>
                <a:spcPts val="982"/>
              </a:lnSpc>
            </a:pPr>
            <a:r>
              <a:rPr lang="en-US" sz="764" kern="0" spc="1">
                <a:solidFill>
                  <a:srgbClr val="0043CE">
                    <a:alpha val="100000"/>
                  </a:srgbClr>
                </a:solidFill>
                <a:latin typeface="IBM Plex Sans" panose="020B0503050203000203" pitchFamily="34" charset="0"/>
              </a:rPr>
              <a:t>Generative AI</a:t>
            </a:r>
            <a:endParaRPr lang="en-US" sz="764">
              <a:latin typeface="IBM Plex Sans" panose="020B0503050203000203" pitchFamily="34" charset="0"/>
            </a:endParaRPr>
          </a:p>
        </p:txBody>
      </p:sp>
      <p:sp>
        <p:nvSpPr>
          <p:cNvPr id="528" name="Shape 117">
            <a:extLst>
              <a:ext uri="{FF2B5EF4-FFF2-40B4-BE49-F238E27FC236}">
                <a16:creationId xmlns:a16="http://schemas.microsoft.com/office/drawing/2014/main" id="{639EEDF6-E40E-4A47-C7A3-F2251852A2F8}"/>
              </a:ext>
            </a:extLst>
          </p:cNvPr>
          <p:cNvSpPr/>
          <p:nvPr/>
        </p:nvSpPr>
        <p:spPr>
          <a:xfrm>
            <a:off x="10182606" y="2838994"/>
            <a:ext cx="110808" cy="7"/>
          </a:xfrm>
          <a:prstGeom prst="rect">
            <a:avLst/>
          </a:prstGeom>
          <a:solidFill>
            <a:srgbClr val="FFFFFF">
              <a:alpha val="0"/>
            </a:srgbClr>
          </a:solid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pic>
        <p:nvPicPr>
          <p:cNvPr id="529" name="Image 57" descr=" ">
            <a:extLst>
              <a:ext uri="{FF2B5EF4-FFF2-40B4-BE49-F238E27FC236}">
                <a16:creationId xmlns:a16="http://schemas.microsoft.com/office/drawing/2014/main" id="{37F36A60-814C-022F-1072-308A6F1E9653}"/>
              </a:ext>
            </a:extLst>
          </p:cNvPr>
          <p:cNvPicPr>
            <a:picLocks noChangeAspect="1"/>
          </p:cNvPicPr>
          <p:nvPr/>
        </p:nvPicPr>
        <p:blipFill>
          <a:blip r:embed="rId9"/>
          <a:stretch>
            <a:fillRect/>
          </a:stretch>
        </p:blipFill>
        <p:spPr>
          <a:xfrm>
            <a:off x="10182607" y="2838994"/>
            <a:ext cx="7" cy="7"/>
          </a:xfrm>
          <a:prstGeom prst="rect">
            <a:avLst/>
          </a:prstGeom>
        </p:spPr>
      </p:pic>
      <p:pic>
        <p:nvPicPr>
          <p:cNvPr id="530" name="Image 58" descr=" ">
            <a:extLst>
              <a:ext uri="{FF2B5EF4-FFF2-40B4-BE49-F238E27FC236}">
                <a16:creationId xmlns:a16="http://schemas.microsoft.com/office/drawing/2014/main" id="{C21D9B93-9379-BC24-1C48-AC48BB026A77}"/>
              </a:ext>
            </a:extLst>
          </p:cNvPr>
          <p:cNvPicPr>
            <a:picLocks noChangeAspect="1"/>
          </p:cNvPicPr>
          <p:nvPr/>
        </p:nvPicPr>
        <p:blipFill>
          <a:blip r:embed="rId9"/>
          <a:stretch>
            <a:fillRect/>
          </a:stretch>
        </p:blipFill>
        <p:spPr>
          <a:xfrm>
            <a:off x="10293407" y="2838994"/>
            <a:ext cx="7" cy="7"/>
          </a:xfrm>
          <a:prstGeom prst="rect">
            <a:avLst/>
          </a:prstGeom>
        </p:spPr>
      </p:pic>
      <p:sp>
        <p:nvSpPr>
          <p:cNvPr id="531" name="Shape 118">
            <a:extLst>
              <a:ext uri="{FF2B5EF4-FFF2-40B4-BE49-F238E27FC236}">
                <a16:creationId xmlns:a16="http://schemas.microsoft.com/office/drawing/2014/main" id="{753597F6-F981-7BA5-93B5-6E7ECFE83A62}"/>
              </a:ext>
            </a:extLst>
          </p:cNvPr>
          <p:cNvSpPr/>
          <p:nvPr/>
        </p:nvSpPr>
        <p:spPr>
          <a:xfrm>
            <a:off x="10099512" y="3005190"/>
            <a:ext cx="961930" cy="221593"/>
          </a:xfrm>
          <a:prstGeom prst="roundRect">
            <a:avLst>
              <a:gd name="adj" fmla="val 49498"/>
            </a:avLst>
          </a:prstGeom>
          <a:solidFill>
            <a:srgbClr val="D0E2FF">
              <a:alpha val="100000"/>
            </a:srgbClr>
          </a:solid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532" name="Shape 119">
            <a:extLst>
              <a:ext uri="{FF2B5EF4-FFF2-40B4-BE49-F238E27FC236}">
                <a16:creationId xmlns:a16="http://schemas.microsoft.com/office/drawing/2014/main" id="{29B5D2F5-A6EE-1D5B-C466-8FF8536C7145}"/>
              </a:ext>
            </a:extLst>
          </p:cNvPr>
          <p:cNvSpPr/>
          <p:nvPr/>
        </p:nvSpPr>
        <p:spPr>
          <a:xfrm>
            <a:off x="10099512" y="3005190"/>
            <a:ext cx="581663" cy="221593"/>
          </a:xfrm>
          <a:prstGeom prst="roundRect">
            <a:avLst>
              <a:gd name="adj" fmla="val 74248"/>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533" name="Shape 120">
            <a:extLst>
              <a:ext uri="{FF2B5EF4-FFF2-40B4-BE49-F238E27FC236}">
                <a16:creationId xmlns:a16="http://schemas.microsoft.com/office/drawing/2014/main" id="{5242C95C-21B6-1635-068B-913FEC8D0BE1}"/>
              </a:ext>
            </a:extLst>
          </p:cNvPr>
          <p:cNvSpPr/>
          <p:nvPr/>
        </p:nvSpPr>
        <p:spPr>
          <a:xfrm>
            <a:off x="10099512" y="3046738"/>
            <a:ext cx="581663" cy="138499"/>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256" name="Text 121">
            <a:extLst>
              <a:ext uri="{FF2B5EF4-FFF2-40B4-BE49-F238E27FC236}">
                <a16:creationId xmlns:a16="http://schemas.microsoft.com/office/drawing/2014/main" id="{58F6749F-8EFB-3C27-F65A-9A336D173C92}"/>
              </a:ext>
            </a:extLst>
          </p:cNvPr>
          <p:cNvSpPr/>
          <p:nvPr/>
        </p:nvSpPr>
        <p:spPr>
          <a:xfrm>
            <a:off x="10182605" y="3057779"/>
            <a:ext cx="878837" cy="145915"/>
          </a:xfrm>
          <a:prstGeom prst="rect">
            <a:avLst/>
          </a:prstGeom>
          <a:noFill/>
          <a:ln/>
        </p:spPr>
        <p:txBody>
          <a:bodyPr wrap="square" lIns="0" tIns="0" rIns="0" bIns="0" rtlCol="0" anchor="t"/>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nSpc>
                <a:spcPts val="982"/>
              </a:lnSpc>
            </a:pPr>
            <a:r>
              <a:rPr lang="en-US" sz="764" kern="0" spc="1">
                <a:solidFill>
                  <a:srgbClr val="0043CE">
                    <a:alpha val="100000"/>
                  </a:srgbClr>
                </a:solidFill>
                <a:latin typeface="IBM Plex Sans" panose="020B0503050203000203" pitchFamily="34" charset="0"/>
                <a:ea typeface="IBM Plex Sans Regular" pitchFamily="34" charset="-122"/>
                <a:cs typeface="IBM Plex Sans Regular" pitchFamily="34" charset="-120"/>
              </a:rPr>
              <a:t>Machine Learning</a:t>
            </a:r>
            <a:endParaRPr lang="en-US" sz="764">
              <a:latin typeface="IBM Plex Sans" panose="020B0503050203000203" pitchFamily="34" charset="0"/>
            </a:endParaRPr>
          </a:p>
        </p:txBody>
      </p:sp>
      <p:sp>
        <p:nvSpPr>
          <p:cNvPr id="257" name="Shape 122">
            <a:extLst>
              <a:ext uri="{FF2B5EF4-FFF2-40B4-BE49-F238E27FC236}">
                <a16:creationId xmlns:a16="http://schemas.microsoft.com/office/drawing/2014/main" id="{563B68E9-E854-30C8-2699-01F491C9814D}"/>
              </a:ext>
            </a:extLst>
          </p:cNvPr>
          <p:cNvSpPr/>
          <p:nvPr/>
        </p:nvSpPr>
        <p:spPr>
          <a:xfrm>
            <a:off x="10334940" y="3171381"/>
            <a:ext cx="110808" cy="7"/>
          </a:xfrm>
          <a:prstGeom prst="rect">
            <a:avLst/>
          </a:prstGeom>
          <a:solidFill>
            <a:srgbClr val="FFFFFF">
              <a:alpha val="0"/>
            </a:srgbClr>
          </a:solid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pic>
        <p:nvPicPr>
          <p:cNvPr id="258" name="Image 59" descr=" ">
            <a:extLst>
              <a:ext uri="{FF2B5EF4-FFF2-40B4-BE49-F238E27FC236}">
                <a16:creationId xmlns:a16="http://schemas.microsoft.com/office/drawing/2014/main" id="{D27E17C2-E8A7-A9C4-0F03-15B91A3455A0}"/>
              </a:ext>
            </a:extLst>
          </p:cNvPr>
          <p:cNvPicPr>
            <a:picLocks noChangeAspect="1"/>
          </p:cNvPicPr>
          <p:nvPr/>
        </p:nvPicPr>
        <p:blipFill>
          <a:blip r:embed="rId9"/>
          <a:stretch>
            <a:fillRect/>
          </a:stretch>
        </p:blipFill>
        <p:spPr>
          <a:xfrm>
            <a:off x="10334942" y="3171381"/>
            <a:ext cx="7" cy="7"/>
          </a:xfrm>
          <a:prstGeom prst="rect">
            <a:avLst/>
          </a:prstGeom>
        </p:spPr>
      </p:pic>
      <p:pic>
        <p:nvPicPr>
          <p:cNvPr id="259" name="Image 60" descr=" ">
            <a:extLst>
              <a:ext uri="{FF2B5EF4-FFF2-40B4-BE49-F238E27FC236}">
                <a16:creationId xmlns:a16="http://schemas.microsoft.com/office/drawing/2014/main" id="{CFC28E03-1266-F6B3-F602-76C6F01D5ACD}"/>
              </a:ext>
            </a:extLst>
          </p:cNvPr>
          <p:cNvPicPr>
            <a:picLocks noChangeAspect="1"/>
          </p:cNvPicPr>
          <p:nvPr/>
        </p:nvPicPr>
        <p:blipFill>
          <a:blip r:embed="rId9"/>
          <a:stretch>
            <a:fillRect/>
          </a:stretch>
        </p:blipFill>
        <p:spPr>
          <a:xfrm>
            <a:off x="10445740" y="3171381"/>
            <a:ext cx="7" cy="7"/>
          </a:xfrm>
          <a:prstGeom prst="rect">
            <a:avLst/>
          </a:prstGeom>
        </p:spPr>
      </p:pic>
      <p:sp>
        <p:nvSpPr>
          <p:cNvPr id="260" name="Shape 123">
            <a:extLst>
              <a:ext uri="{FF2B5EF4-FFF2-40B4-BE49-F238E27FC236}">
                <a16:creationId xmlns:a16="http://schemas.microsoft.com/office/drawing/2014/main" id="{7C94F4C7-DBA3-99A9-D28F-7C4C6F318490}"/>
              </a:ext>
            </a:extLst>
          </p:cNvPr>
          <p:cNvSpPr/>
          <p:nvPr/>
        </p:nvSpPr>
        <p:spPr>
          <a:xfrm>
            <a:off x="10099512" y="3337577"/>
            <a:ext cx="961930" cy="221593"/>
          </a:xfrm>
          <a:prstGeom prst="roundRect">
            <a:avLst>
              <a:gd name="adj" fmla="val 49498"/>
            </a:avLst>
          </a:prstGeom>
          <a:solidFill>
            <a:srgbClr val="D0E2FF">
              <a:alpha val="100000"/>
            </a:srgbClr>
          </a:solid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261" name="Shape 124">
            <a:extLst>
              <a:ext uri="{FF2B5EF4-FFF2-40B4-BE49-F238E27FC236}">
                <a16:creationId xmlns:a16="http://schemas.microsoft.com/office/drawing/2014/main" id="{22E24463-BDB1-A1DD-A641-F051E9389251}"/>
              </a:ext>
            </a:extLst>
          </p:cNvPr>
          <p:cNvSpPr/>
          <p:nvPr/>
        </p:nvSpPr>
        <p:spPr>
          <a:xfrm>
            <a:off x="10099512" y="3337577"/>
            <a:ext cx="1107932" cy="221593"/>
          </a:xfrm>
          <a:prstGeom prst="roundRect">
            <a:avLst>
              <a:gd name="adj" fmla="val 74248"/>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262" name="Shape 125">
            <a:extLst>
              <a:ext uri="{FF2B5EF4-FFF2-40B4-BE49-F238E27FC236}">
                <a16:creationId xmlns:a16="http://schemas.microsoft.com/office/drawing/2014/main" id="{0B802F64-5CD4-56D0-D62E-2E2161BBDD75}"/>
              </a:ext>
            </a:extLst>
          </p:cNvPr>
          <p:cNvSpPr/>
          <p:nvPr/>
        </p:nvSpPr>
        <p:spPr>
          <a:xfrm>
            <a:off x="10099512" y="3379125"/>
            <a:ext cx="1107932" cy="138499"/>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263" name="Text 126">
            <a:extLst>
              <a:ext uri="{FF2B5EF4-FFF2-40B4-BE49-F238E27FC236}">
                <a16:creationId xmlns:a16="http://schemas.microsoft.com/office/drawing/2014/main" id="{BFEC1B03-98E4-44E3-D120-3A686E2492FC}"/>
              </a:ext>
            </a:extLst>
          </p:cNvPr>
          <p:cNvSpPr/>
          <p:nvPr/>
        </p:nvSpPr>
        <p:spPr>
          <a:xfrm>
            <a:off x="10182606" y="3397581"/>
            <a:ext cx="985598" cy="138500"/>
          </a:xfrm>
          <a:prstGeom prst="rect">
            <a:avLst/>
          </a:prstGeom>
          <a:noFill/>
          <a:ln/>
        </p:spPr>
        <p:txBody>
          <a:bodyPr wrap="square" lIns="0" tIns="0" rIns="0" bIns="0" rtlCol="0" anchor="t"/>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nSpc>
                <a:spcPts val="982"/>
              </a:lnSpc>
            </a:pPr>
            <a:r>
              <a:rPr lang="en-US" sz="764" kern="0" spc="1">
                <a:solidFill>
                  <a:srgbClr val="0043CE">
                    <a:alpha val="100000"/>
                  </a:srgbClr>
                </a:solidFill>
                <a:latin typeface="IBM Plex Sans" panose="020B0503050203000203" pitchFamily="34" charset="0"/>
                <a:ea typeface="IBM Plex Sans Regular" pitchFamily="34" charset="-122"/>
                <a:cs typeface="IBM Plex Sans Regular" pitchFamily="34" charset="-120"/>
              </a:rPr>
              <a:t>Data Engineering</a:t>
            </a:r>
            <a:endParaRPr lang="en-US" sz="764">
              <a:latin typeface="IBM Plex Sans" panose="020B0503050203000203" pitchFamily="34" charset="0"/>
            </a:endParaRPr>
          </a:p>
        </p:txBody>
      </p:sp>
      <p:sp>
        <p:nvSpPr>
          <p:cNvPr id="264" name="Shape 127">
            <a:extLst>
              <a:ext uri="{FF2B5EF4-FFF2-40B4-BE49-F238E27FC236}">
                <a16:creationId xmlns:a16="http://schemas.microsoft.com/office/drawing/2014/main" id="{BF253545-EBC1-04FE-C121-0D8239B4D3ED}"/>
              </a:ext>
            </a:extLst>
          </p:cNvPr>
          <p:cNvSpPr/>
          <p:nvPr/>
        </p:nvSpPr>
        <p:spPr>
          <a:xfrm>
            <a:off x="10598074" y="3503768"/>
            <a:ext cx="110808" cy="7"/>
          </a:xfrm>
          <a:prstGeom prst="rect">
            <a:avLst/>
          </a:prstGeom>
          <a:solidFill>
            <a:srgbClr val="FFFFFF">
              <a:alpha val="0"/>
            </a:srgbClr>
          </a:solid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pic>
        <p:nvPicPr>
          <p:cNvPr id="265" name="Image 61" descr=" ">
            <a:extLst>
              <a:ext uri="{FF2B5EF4-FFF2-40B4-BE49-F238E27FC236}">
                <a16:creationId xmlns:a16="http://schemas.microsoft.com/office/drawing/2014/main" id="{E17768E6-94FA-5025-5836-5F5F99D168B5}"/>
              </a:ext>
            </a:extLst>
          </p:cNvPr>
          <p:cNvPicPr>
            <a:picLocks noChangeAspect="1"/>
          </p:cNvPicPr>
          <p:nvPr/>
        </p:nvPicPr>
        <p:blipFill>
          <a:blip r:embed="rId9"/>
          <a:stretch>
            <a:fillRect/>
          </a:stretch>
        </p:blipFill>
        <p:spPr>
          <a:xfrm>
            <a:off x="10598074" y="3503768"/>
            <a:ext cx="7" cy="7"/>
          </a:xfrm>
          <a:prstGeom prst="rect">
            <a:avLst/>
          </a:prstGeom>
        </p:spPr>
      </p:pic>
      <p:pic>
        <p:nvPicPr>
          <p:cNvPr id="266" name="Image 62" descr=" ">
            <a:extLst>
              <a:ext uri="{FF2B5EF4-FFF2-40B4-BE49-F238E27FC236}">
                <a16:creationId xmlns:a16="http://schemas.microsoft.com/office/drawing/2014/main" id="{E4266C90-7460-4890-574A-2867ED9BF0ED}"/>
              </a:ext>
            </a:extLst>
          </p:cNvPr>
          <p:cNvPicPr>
            <a:picLocks noChangeAspect="1"/>
          </p:cNvPicPr>
          <p:nvPr/>
        </p:nvPicPr>
        <p:blipFill>
          <a:blip r:embed="rId9"/>
          <a:stretch>
            <a:fillRect/>
          </a:stretch>
        </p:blipFill>
        <p:spPr>
          <a:xfrm>
            <a:off x="10708875" y="3503768"/>
            <a:ext cx="7" cy="7"/>
          </a:xfrm>
          <a:prstGeom prst="rect">
            <a:avLst/>
          </a:prstGeom>
        </p:spPr>
      </p:pic>
      <p:sp>
        <p:nvSpPr>
          <p:cNvPr id="267" name="Shape 128">
            <a:extLst>
              <a:ext uri="{FF2B5EF4-FFF2-40B4-BE49-F238E27FC236}">
                <a16:creationId xmlns:a16="http://schemas.microsoft.com/office/drawing/2014/main" id="{6BA569AC-357D-39B0-76ED-5A3A9E29271A}"/>
              </a:ext>
            </a:extLst>
          </p:cNvPr>
          <p:cNvSpPr/>
          <p:nvPr/>
        </p:nvSpPr>
        <p:spPr>
          <a:xfrm>
            <a:off x="10099511" y="3669963"/>
            <a:ext cx="1068692" cy="221593"/>
          </a:xfrm>
          <a:prstGeom prst="roundRect">
            <a:avLst>
              <a:gd name="adj" fmla="val 49498"/>
            </a:avLst>
          </a:prstGeom>
          <a:solidFill>
            <a:srgbClr val="D0E2FF">
              <a:alpha val="100000"/>
            </a:srgbClr>
          </a:solid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268" name="Shape 129">
            <a:extLst>
              <a:ext uri="{FF2B5EF4-FFF2-40B4-BE49-F238E27FC236}">
                <a16:creationId xmlns:a16="http://schemas.microsoft.com/office/drawing/2014/main" id="{9D451421-6F0B-8D36-66FD-4BCBA00627B8}"/>
              </a:ext>
            </a:extLst>
          </p:cNvPr>
          <p:cNvSpPr/>
          <p:nvPr/>
        </p:nvSpPr>
        <p:spPr>
          <a:xfrm>
            <a:off x="10099512" y="3669963"/>
            <a:ext cx="796324" cy="221593"/>
          </a:xfrm>
          <a:prstGeom prst="roundRect">
            <a:avLst>
              <a:gd name="adj" fmla="val 74248"/>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269" name="Shape 130">
            <a:extLst>
              <a:ext uri="{FF2B5EF4-FFF2-40B4-BE49-F238E27FC236}">
                <a16:creationId xmlns:a16="http://schemas.microsoft.com/office/drawing/2014/main" id="{642B5DB3-BEDC-48AE-30D4-3472748A8D39}"/>
              </a:ext>
            </a:extLst>
          </p:cNvPr>
          <p:cNvSpPr/>
          <p:nvPr/>
        </p:nvSpPr>
        <p:spPr>
          <a:xfrm>
            <a:off x="10099512" y="3711512"/>
            <a:ext cx="796324" cy="138499"/>
          </a:xfrm>
          <a:prstGeom prst="rect">
            <a:avLst/>
          </a:prstGeom>
          <a:no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270" name="Shape 132">
            <a:extLst>
              <a:ext uri="{FF2B5EF4-FFF2-40B4-BE49-F238E27FC236}">
                <a16:creationId xmlns:a16="http://schemas.microsoft.com/office/drawing/2014/main" id="{17934CE8-21C2-C196-DCA8-4081D1A6ED24}"/>
              </a:ext>
            </a:extLst>
          </p:cNvPr>
          <p:cNvSpPr/>
          <p:nvPr/>
        </p:nvSpPr>
        <p:spPr>
          <a:xfrm>
            <a:off x="10442271" y="3836152"/>
            <a:ext cx="110808" cy="7"/>
          </a:xfrm>
          <a:prstGeom prst="rect">
            <a:avLst/>
          </a:prstGeom>
          <a:solidFill>
            <a:srgbClr val="FFFFFF">
              <a:alpha val="0"/>
            </a:srgbClr>
          </a:solid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pic>
        <p:nvPicPr>
          <p:cNvPr id="271" name="Image 63" descr=" ">
            <a:extLst>
              <a:ext uri="{FF2B5EF4-FFF2-40B4-BE49-F238E27FC236}">
                <a16:creationId xmlns:a16="http://schemas.microsoft.com/office/drawing/2014/main" id="{D3330210-6932-C878-589C-26F8EAFBD239}"/>
              </a:ext>
            </a:extLst>
          </p:cNvPr>
          <p:cNvPicPr>
            <a:picLocks noChangeAspect="1"/>
          </p:cNvPicPr>
          <p:nvPr/>
        </p:nvPicPr>
        <p:blipFill>
          <a:blip r:embed="rId9"/>
          <a:stretch>
            <a:fillRect/>
          </a:stretch>
        </p:blipFill>
        <p:spPr>
          <a:xfrm>
            <a:off x="10442273" y="3836151"/>
            <a:ext cx="7" cy="7"/>
          </a:xfrm>
          <a:prstGeom prst="rect">
            <a:avLst/>
          </a:prstGeom>
        </p:spPr>
      </p:pic>
      <p:pic>
        <p:nvPicPr>
          <p:cNvPr id="272" name="Image 64" descr=" ">
            <a:extLst>
              <a:ext uri="{FF2B5EF4-FFF2-40B4-BE49-F238E27FC236}">
                <a16:creationId xmlns:a16="http://schemas.microsoft.com/office/drawing/2014/main" id="{11EFA009-B9CD-4732-A8A6-7A4AD6FDA663}"/>
              </a:ext>
            </a:extLst>
          </p:cNvPr>
          <p:cNvPicPr>
            <a:picLocks noChangeAspect="1"/>
          </p:cNvPicPr>
          <p:nvPr/>
        </p:nvPicPr>
        <p:blipFill>
          <a:blip r:embed="rId9"/>
          <a:stretch>
            <a:fillRect/>
          </a:stretch>
        </p:blipFill>
        <p:spPr>
          <a:xfrm>
            <a:off x="10553071" y="3836151"/>
            <a:ext cx="7" cy="7"/>
          </a:xfrm>
          <a:prstGeom prst="rect">
            <a:avLst/>
          </a:prstGeom>
        </p:spPr>
      </p:pic>
      <p:sp>
        <p:nvSpPr>
          <p:cNvPr id="273" name="Text 126">
            <a:extLst>
              <a:ext uri="{FF2B5EF4-FFF2-40B4-BE49-F238E27FC236}">
                <a16:creationId xmlns:a16="http://schemas.microsoft.com/office/drawing/2014/main" id="{5954124A-B343-A826-4A8E-269D13E2B933}"/>
              </a:ext>
            </a:extLst>
          </p:cNvPr>
          <p:cNvSpPr/>
          <p:nvPr/>
        </p:nvSpPr>
        <p:spPr>
          <a:xfrm>
            <a:off x="10194148" y="3722559"/>
            <a:ext cx="974056" cy="156958"/>
          </a:xfrm>
          <a:prstGeom prst="rect">
            <a:avLst/>
          </a:prstGeom>
          <a:noFill/>
          <a:ln/>
        </p:spPr>
        <p:txBody>
          <a:bodyPr wrap="square" lIns="0" tIns="0" rIns="0" bIns="0" rtlCol="0" anchor="t"/>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nSpc>
                <a:spcPts val="982"/>
              </a:lnSpc>
            </a:pPr>
            <a:r>
              <a:rPr lang="en-US" sz="764" kern="0" spc="1">
                <a:solidFill>
                  <a:srgbClr val="0043CE">
                    <a:alpha val="100000"/>
                  </a:srgbClr>
                </a:solidFill>
                <a:latin typeface="IBM Plex Sans" panose="020B0503050203000203" pitchFamily="34" charset="0"/>
                <a:ea typeface="IBM Plex Sans Regular" pitchFamily="34" charset="-122"/>
                <a:cs typeface="IBM Plex Sans Regular" pitchFamily="34" charset="-120"/>
              </a:rPr>
              <a:t>Business intelligence</a:t>
            </a:r>
            <a:endParaRPr lang="en-US" sz="764">
              <a:latin typeface="IBM Plex Sans" panose="020B0503050203000203" pitchFamily="34" charset="0"/>
            </a:endParaRPr>
          </a:p>
        </p:txBody>
      </p:sp>
      <p:grpSp>
        <p:nvGrpSpPr>
          <p:cNvPr id="721" name="Group 720">
            <a:extLst>
              <a:ext uri="{FF2B5EF4-FFF2-40B4-BE49-F238E27FC236}">
                <a16:creationId xmlns:a16="http://schemas.microsoft.com/office/drawing/2014/main" id="{CDD19EC2-B5ED-B2F6-EFC5-0294FB41AD93}"/>
              </a:ext>
            </a:extLst>
          </p:cNvPr>
          <p:cNvGrpSpPr/>
          <p:nvPr/>
        </p:nvGrpSpPr>
        <p:grpSpPr>
          <a:xfrm>
            <a:off x="3253261" y="1131098"/>
            <a:ext cx="219369" cy="219369"/>
            <a:chOff x="1984962" y="1586824"/>
            <a:chExt cx="203199" cy="203233"/>
          </a:xfrm>
        </p:grpSpPr>
        <p:pic>
          <p:nvPicPr>
            <p:cNvPr id="278" name="Image 59" descr=" ">
              <a:extLst>
                <a:ext uri="{FF2B5EF4-FFF2-40B4-BE49-F238E27FC236}">
                  <a16:creationId xmlns:a16="http://schemas.microsoft.com/office/drawing/2014/main" id="{64A5AC53-C985-16C2-CB37-64F264FA551A}"/>
                </a:ext>
              </a:extLst>
            </p:cNvPr>
            <p:cNvPicPr>
              <a:picLocks noChangeAspect="1"/>
            </p:cNvPicPr>
            <p:nvPr/>
          </p:nvPicPr>
          <p:blipFill>
            <a:blip r:embed="rId39"/>
            <a:stretch>
              <a:fillRect/>
            </a:stretch>
          </p:blipFill>
          <p:spPr>
            <a:xfrm>
              <a:off x="1984962" y="1586824"/>
              <a:ext cx="203199" cy="203233"/>
            </a:xfrm>
            <a:prstGeom prst="rect">
              <a:avLst/>
            </a:prstGeom>
          </p:spPr>
        </p:pic>
        <p:pic>
          <p:nvPicPr>
            <p:cNvPr id="279" name="Image 60" descr=" ">
              <a:extLst>
                <a:ext uri="{FF2B5EF4-FFF2-40B4-BE49-F238E27FC236}">
                  <a16:creationId xmlns:a16="http://schemas.microsoft.com/office/drawing/2014/main" id="{87D9DB7F-E9B9-E3B4-87C4-BA9DD43A6FDA}"/>
                </a:ext>
              </a:extLst>
            </p:cNvPr>
            <p:cNvPicPr>
              <a:picLocks noChangeAspect="1"/>
            </p:cNvPicPr>
            <p:nvPr/>
          </p:nvPicPr>
          <p:blipFill>
            <a:blip r:embed="rId40"/>
            <a:stretch>
              <a:fillRect/>
            </a:stretch>
          </p:blipFill>
          <p:spPr>
            <a:xfrm>
              <a:off x="2010362" y="1592425"/>
              <a:ext cx="146049" cy="197632"/>
            </a:xfrm>
            <a:prstGeom prst="rect">
              <a:avLst/>
            </a:prstGeom>
          </p:spPr>
        </p:pic>
        <p:pic>
          <p:nvPicPr>
            <p:cNvPr id="280" name="Image 61" descr=" ">
              <a:extLst>
                <a:ext uri="{FF2B5EF4-FFF2-40B4-BE49-F238E27FC236}">
                  <a16:creationId xmlns:a16="http://schemas.microsoft.com/office/drawing/2014/main" id="{DAC98E70-54F8-EBED-6321-7356DFC9A2CC}"/>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2073861" y="1675739"/>
              <a:ext cx="95250" cy="63510"/>
            </a:xfrm>
            <a:prstGeom prst="rect">
              <a:avLst/>
            </a:prstGeom>
          </p:spPr>
        </p:pic>
      </p:grpSp>
      <p:grpSp>
        <p:nvGrpSpPr>
          <p:cNvPr id="313" name="Group 312">
            <a:extLst>
              <a:ext uri="{FF2B5EF4-FFF2-40B4-BE49-F238E27FC236}">
                <a16:creationId xmlns:a16="http://schemas.microsoft.com/office/drawing/2014/main" id="{00090AEC-D2F0-B8E3-3208-691E5F8C47F7}"/>
              </a:ext>
            </a:extLst>
          </p:cNvPr>
          <p:cNvGrpSpPr/>
          <p:nvPr/>
        </p:nvGrpSpPr>
        <p:grpSpPr>
          <a:xfrm>
            <a:off x="4791120" y="1131098"/>
            <a:ext cx="219369" cy="219369"/>
            <a:chOff x="1984962" y="2018695"/>
            <a:chExt cx="203199" cy="203233"/>
          </a:xfrm>
        </p:grpSpPr>
        <p:pic>
          <p:nvPicPr>
            <p:cNvPr id="281" name="Image 62" descr=" ">
              <a:extLst>
                <a:ext uri="{FF2B5EF4-FFF2-40B4-BE49-F238E27FC236}">
                  <a16:creationId xmlns:a16="http://schemas.microsoft.com/office/drawing/2014/main" id="{3354F348-AC9A-28F1-AA4E-FF789620761C}"/>
                </a:ext>
              </a:extLst>
            </p:cNvPr>
            <p:cNvPicPr>
              <a:picLocks noChangeAspect="1"/>
            </p:cNvPicPr>
            <p:nvPr/>
          </p:nvPicPr>
          <p:blipFill>
            <a:blip r:embed="rId39"/>
            <a:stretch>
              <a:fillRect/>
            </a:stretch>
          </p:blipFill>
          <p:spPr>
            <a:xfrm>
              <a:off x="1984962" y="2018695"/>
              <a:ext cx="203199" cy="203233"/>
            </a:xfrm>
            <a:prstGeom prst="rect">
              <a:avLst/>
            </a:prstGeom>
          </p:spPr>
        </p:pic>
        <p:pic>
          <p:nvPicPr>
            <p:cNvPr id="282" name="Image 63" descr=" ">
              <a:extLst>
                <a:ext uri="{FF2B5EF4-FFF2-40B4-BE49-F238E27FC236}">
                  <a16:creationId xmlns:a16="http://schemas.microsoft.com/office/drawing/2014/main" id="{2A728138-724A-21A3-FDF6-E1FE70AD7B64}"/>
                </a:ext>
              </a:extLst>
            </p:cNvPr>
            <p:cNvPicPr>
              <a:picLocks noChangeAspect="1"/>
            </p:cNvPicPr>
            <p:nvPr/>
          </p:nvPicPr>
          <p:blipFill>
            <a:blip r:embed="rId40"/>
            <a:stretch>
              <a:fillRect/>
            </a:stretch>
          </p:blipFill>
          <p:spPr>
            <a:xfrm>
              <a:off x="2010362" y="2024296"/>
              <a:ext cx="146049" cy="197632"/>
            </a:xfrm>
            <a:prstGeom prst="rect">
              <a:avLst/>
            </a:prstGeom>
          </p:spPr>
        </p:pic>
        <p:pic>
          <p:nvPicPr>
            <p:cNvPr id="283" name="Image 64" descr=" ">
              <a:extLst>
                <a:ext uri="{FF2B5EF4-FFF2-40B4-BE49-F238E27FC236}">
                  <a16:creationId xmlns:a16="http://schemas.microsoft.com/office/drawing/2014/main" id="{4737C308-2B61-0155-C8F8-7CD03F37B37D}"/>
                </a:ext>
              </a:extLst>
            </p:cNvPr>
            <p:cNvPicPr>
              <a:picLocks noChangeAspect="1"/>
            </p:cNvPicPr>
            <p:nvPr/>
          </p:nvPicPr>
          <p:blipFill>
            <a:blip r:embed="rId43">
              <a:extLst>
                <a:ext uri="{96DAC541-7B7A-43D3-8B79-37D633B846F1}">
                  <asvg:svgBlip xmlns:asvg="http://schemas.microsoft.com/office/drawing/2016/SVG/main" r:embed="rId44"/>
                </a:ext>
              </a:extLst>
            </a:blip>
            <a:stretch>
              <a:fillRect/>
            </a:stretch>
          </p:blipFill>
          <p:spPr>
            <a:xfrm>
              <a:off x="2124661" y="2152067"/>
              <a:ext cx="31750" cy="12702"/>
            </a:xfrm>
            <a:prstGeom prst="rect">
              <a:avLst/>
            </a:prstGeom>
          </p:spPr>
        </p:pic>
        <p:pic>
          <p:nvPicPr>
            <p:cNvPr id="284" name="Image 65" descr=" ">
              <a:extLst>
                <a:ext uri="{FF2B5EF4-FFF2-40B4-BE49-F238E27FC236}">
                  <a16:creationId xmlns:a16="http://schemas.microsoft.com/office/drawing/2014/main" id="{3EB9ACE6-1CB2-2213-ADA3-3355275EA9BF}"/>
                </a:ext>
              </a:extLst>
            </p:cNvPr>
            <p:cNvPicPr>
              <a:picLocks noChangeAspect="1"/>
            </p:cNvPicPr>
            <p:nvPr/>
          </p:nvPicPr>
          <p:blipFill>
            <a:blip r:embed="rId45">
              <a:extLst>
                <a:ext uri="{96DAC541-7B7A-43D3-8B79-37D633B846F1}">
                  <asvg:svgBlip xmlns:asvg="http://schemas.microsoft.com/office/drawing/2016/SVG/main" r:embed="rId46"/>
                </a:ext>
              </a:extLst>
            </a:blip>
            <a:stretch>
              <a:fillRect/>
            </a:stretch>
          </p:blipFill>
          <p:spPr>
            <a:xfrm>
              <a:off x="2067511" y="2130600"/>
              <a:ext cx="50800" cy="40926"/>
            </a:xfrm>
            <a:prstGeom prst="rect">
              <a:avLst/>
            </a:prstGeom>
          </p:spPr>
        </p:pic>
        <p:pic>
          <p:nvPicPr>
            <p:cNvPr id="285" name="Image 66" descr=" ">
              <a:extLst>
                <a:ext uri="{FF2B5EF4-FFF2-40B4-BE49-F238E27FC236}">
                  <a16:creationId xmlns:a16="http://schemas.microsoft.com/office/drawing/2014/main" id="{21A33A4A-9294-39CE-2F8B-1D5E2E89543E}"/>
                </a:ext>
              </a:extLst>
            </p:cNvPr>
            <p:cNvPicPr>
              <a:picLocks noChangeAspect="1"/>
            </p:cNvPicPr>
            <p:nvPr/>
          </p:nvPicPr>
          <p:blipFill>
            <a:blip r:embed="rId43">
              <a:extLst>
                <a:ext uri="{96DAC541-7B7A-43D3-8B79-37D633B846F1}">
                  <asvg:svgBlip xmlns:asvg="http://schemas.microsoft.com/office/drawing/2016/SVG/main" r:embed="rId47"/>
                </a:ext>
              </a:extLst>
            </a:blip>
            <a:stretch>
              <a:fillRect/>
            </a:stretch>
          </p:blipFill>
          <p:spPr>
            <a:xfrm>
              <a:off x="2124661" y="2107615"/>
              <a:ext cx="31750" cy="12702"/>
            </a:xfrm>
            <a:prstGeom prst="rect">
              <a:avLst/>
            </a:prstGeom>
          </p:spPr>
        </p:pic>
        <p:pic>
          <p:nvPicPr>
            <p:cNvPr id="286" name="Image 67" descr=" ">
              <a:extLst>
                <a:ext uri="{FF2B5EF4-FFF2-40B4-BE49-F238E27FC236}">
                  <a16:creationId xmlns:a16="http://schemas.microsoft.com/office/drawing/2014/main" id="{5684AC3B-1BA8-1F47-A575-EF056082D7B6}"/>
                </a:ext>
              </a:extLst>
            </p:cNvPr>
            <p:cNvPicPr>
              <a:picLocks noChangeAspect="1"/>
            </p:cNvPicPr>
            <p:nvPr/>
          </p:nvPicPr>
          <p:blipFill>
            <a:blip r:embed="rId48">
              <a:extLst>
                <a:ext uri="{96DAC541-7B7A-43D3-8B79-37D633B846F1}">
                  <asvg:svgBlip xmlns:asvg="http://schemas.microsoft.com/office/drawing/2016/SVG/main" r:embed="rId49"/>
                </a:ext>
              </a:extLst>
            </a:blip>
            <a:stretch>
              <a:fillRect/>
            </a:stretch>
          </p:blipFill>
          <p:spPr>
            <a:xfrm>
              <a:off x="2067511" y="2085945"/>
              <a:ext cx="50800" cy="40920"/>
            </a:xfrm>
            <a:prstGeom prst="rect">
              <a:avLst/>
            </a:prstGeom>
          </p:spPr>
        </p:pic>
      </p:grpSp>
      <p:grpSp>
        <p:nvGrpSpPr>
          <p:cNvPr id="301" name="Group 300">
            <a:extLst>
              <a:ext uri="{FF2B5EF4-FFF2-40B4-BE49-F238E27FC236}">
                <a16:creationId xmlns:a16="http://schemas.microsoft.com/office/drawing/2014/main" id="{68449F15-FE3A-DE36-2484-1CF46160ADA7}"/>
              </a:ext>
            </a:extLst>
          </p:cNvPr>
          <p:cNvGrpSpPr/>
          <p:nvPr/>
        </p:nvGrpSpPr>
        <p:grpSpPr>
          <a:xfrm>
            <a:off x="6328981" y="1133961"/>
            <a:ext cx="182808" cy="210231"/>
            <a:chOff x="2010362" y="2456293"/>
            <a:chExt cx="153808" cy="197505"/>
          </a:xfrm>
        </p:grpSpPr>
        <p:pic>
          <p:nvPicPr>
            <p:cNvPr id="288" name="Image 69" descr=" ">
              <a:extLst>
                <a:ext uri="{FF2B5EF4-FFF2-40B4-BE49-F238E27FC236}">
                  <a16:creationId xmlns:a16="http://schemas.microsoft.com/office/drawing/2014/main" id="{D0CE5973-A57B-49C0-40CA-0492A9E234D5}"/>
                </a:ext>
              </a:extLst>
            </p:cNvPr>
            <p:cNvPicPr>
              <a:picLocks noChangeAspect="1"/>
            </p:cNvPicPr>
            <p:nvPr/>
          </p:nvPicPr>
          <p:blipFill>
            <a:blip r:embed="rId50"/>
            <a:stretch>
              <a:fillRect/>
            </a:stretch>
          </p:blipFill>
          <p:spPr>
            <a:xfrm>
              <a:off x="2010362" y="2456293"/>
              <a:ext cx="146049" cy="197505"/>
            </a:xfrm>
            <a:prstGeom prst="rect">
              <a:avLst/>
            </a:prstGeom>
          </p:spPr>
        </p:pic>
        <p:pic>
          <p:nvPicPr>
            <p:cNvPr id="289" name="Image 70" descr=" ">
              <a:extLst>
                <a:ext uri="{FF2B5EF4-FFF2-40B4-BE49-F238E27FC236}">
                  <a16:creationId xmlns:a16="http://schemas.microsoft.com/office/drawing/2014/main" id="{43DAC9F6-14C1-007F-E696-3B079E40B282}"/>
                </a:ext>
              </a:extLst>
            </p:cNvPr>
            <p:cNvPicPr>
              <a:picLocks noChangeAspect="1"/>
            </p:cNvPicPr>
            <p:nvPr/>
          </p:nvPicPr>
          <p:blipFill>
            <a:blip r:embed="rId51">
              <a:extLst>
                <a:ext uri="{96DAC541-7B7A-43D3-8B79-37D633B846F1}">
                  <asvg:svgBlip xmlns:asvg="http://schemas.microsoft.com/office/drawing/2016/SVG/main" r:embed="rId52"/>
                </a:ext>
              </a:extLst>
            </a:blip>
            <a:stretch>
              <a:fillRect/>
            </a:stretch>
          </p:blipFill>
          <p:spPr>
            <a:xfrm>
              <a:off x="2061181" y="2526803"/>
              <a:ext cx="102989" cy="103007"/>
            </a:xfrm>
            <a:prstGeom prst="rect">
              <a:avLst/>
            </a:prstGeom>
          </p:spPr>
        </p:pic>
        <p:pic>
          <p:nvPicPr>
            <p:cNvPr id="290" name="Image 71" descr=" ">
              <a:extLst>
                <a:ext uri="{FF2B5EF4-FFF2-40B4-BE49-F238E27FC236}">
                  <a16:creationId xmlns:a16="http://schemas.microsoft.com/office/drawing/2014/main" id="{CFDB0102-0AC3-35E0-3E6D-A83323FD2FB6}"/>
                </a:ext>
              </a:extLst>
            </p:cNvPr>
            <p:cNvPicPr>
              <a:picLocks noChangeAspect="1"/>
            </p:cNvPicPr>
            <p:nvPr/>
          </p:nvPicPr>
          <p:blipFill>
            <a:blip r:embed="rId53">
              <a:extLst>
                <a:ext uri="{96DAC541-7B7A-43D3-8B79-37D633B846F1}">
                  <asvg:svgBlip xmlns:asvg="http://schemas.microsoft.com/office/drawing/2016/SVG/main" r:embed="rId54"/>
                </a:ext>
              </a:extLst>
            </a:blip>
            <a:stretch>
              <a:fillRect/>
            </a:stretch>
          </p:blipFill>
          <p:spPr>
            <a:xfrm>
              <a:off x="2081049" y="2554766"/>
              <a:ext cx="49295" cy="33102"/>
            </a:xfrm>
            <a:prstGeom prst="rect">
              <a:avLst/>
            </a:prstGeom>
          </p:spPr>
        </p:pic>
      </p:grpSp>
      <p:grpSp>
        <p:nvGrpSpPr>
          <p:cNvPr id="299" name="Group 298">
            <a:extLst>
              <a:ext uri="{FF2B5EF4-FFF2-40B4-BE49-F238E27FC236}">
                <a16:creationId xmlns:a16="http://schemas.microsoft.com/office/drawing/2014/main" id="{1A758CF9-F22F-994E-8655-AD805A92DB53}"/>
              </a:ext>
            </a:extLst>
          </p:cNvPr>
          <p:cNvGrpSpPr/>
          <p:nvPr/>
        </p:nvGrpSpPr>
        <p:grpSpPr>
          <a:xfrm>
            <a:off x="7817469" y="1131098"/>
            <a:ext cx="219369" cy="219369"/>
            <a:chOff x="1984962" y="2882436"/>
            <a:chExt cx="203199" cy="203233"/>
          </a:xfrm>
        </p:grpSpPr>
        <p:pic>
          <p:nvPicPr>
            <p:cNvPr id="291" name="Image 72" descr=" ">
              <a:extLst>
                <a:ext uri="{FF2B5EF4-FFF2-40B4-BE49-F238E27FC236}">
                  <a16:creationId xmlns:a16="http://schemas.microsoft.com/office/drawing/2014/main" id="{54E7CEE8-FB4B-E354-D8AF-4861C14182B0}"/>
                </a:ext>
              </a:extLst>
            </p:cNvPr>
            <p:cNvPicPr>
              <a:picLocks noChangeAspect="1"/>
            </p:cNvPicPr>
            <p:nvPr/>
          </p:nvPicPr>
          <p:blipFill>
            <a:blip r:embed="rId39"/>
            <a:stretch>
              <a:fillRect/>
            </a:stretch>
          </p:blipFill>
          <p:spPr>
            <a:xfrm>
              <a:off x="1984962" y="2882436"/>
              <a:ext cx="203199" cy="203233"/>
            </a:xfrm>
            <a:prstGeom prst="rect">
              <a:avLst/>
            </a:prstGeom>
          </p:spPr>
        </p:pic>
        <p:pic>
          <p:nvPicPr>
            <p:cNvPr id="292" name="Image 73" descr=" ">
              <a:extLst>
                <a:ext uri="{FF2B5EF4-FFF2-40B4-BE49-F238E27FC236}">
                  <a16:creationId xmlns:a16="http://schemas.microsoft.com/office/drawing/2014/main" id="{1008A2C9-0B31-8DC2-D5A7-C2AA37526009}"/>
                </a:ext>
              </a:extLst>
            </p:cNvPr>
            <p:cNvPicPr>
              <a:picLocks noChangeAspect="1"/>
            </p:cNvPicPr>
            <p:nvPr/>
          </p:nvPicPr>
          <p:blipFill>
            <a:blip r:embed="rId40"/>
            <a:stretch>
              <a:fillRect/>
            </a:stretch>
          </p:blipFill>
          <p:spPr>
            <a:xfrm>
              <a:off x="2010362" y="2888037"/>
              <a:ext cx="146049" cy="197632"/>
            </a:xfrm>
            <a:prstGeom prst="rect">
              <a:avLst/>
            </a:prstGeom>
          </p:spPr>
        </p:pic>
        <p:pic>
          <p:nvPicPr>
            <p:cNvPr id="293" name="Image 74" descr=" ">
              <a:extLst>
                <a:ext uri="{FF2B5EF4-FFF2-40B4-BE49-F238E27FC236}">
                  <a16:creationId xmlns:a16="http://schemas.microsoft.com/office/drawing/2014/main" id="{0105D42B-48AB-9DEF-214F-9268516FB3B8}"/>
                </a:ext>
              </a:extLst>
            </p:cNvPr>
            <p:cNvPicPr>
              <a:picLocks noChangeAspect="1"/>
            </p:cNvPicPr>
            <p:nvPr/>
          </p:nvPicPr>
          <p:blipFill>
            <a:blip r:embed="rId55">
              <a:extLst>
                <a:ext uri="{96DAC541-7B7A-43D3-8B79-37D633B846F1}">
                  <asvg:svgBlip xmlns:asvg="http://schemas.microsoft.com/office/drawing/2016/SVG/main" r:embed="rId56"/>
                </a:ext>
              </a:extLst>
            </a:blip>
            <a:stretch>
              <a:fillRect/>
            </a:stretch>
          </p:blipFill>
          <p:spPr>
            <a:xfrm>
              <a:off x="2137360" y="2971350"/>
              <a:ext cx="25400" cy="57160"/>
            </a:xfrm>
            <a:prstGeom prst="rect">
              <a:avLst/>
            </a:prstGeom>
          </p:spPr>
        </p:pic>
        <p:pic>
          <p:nvPicPr>
            <p:cNvPr id="294" name="Image 75" descr=" ">
              <a:extLst>
                <a:ext uri="{FF2B5EF4-FFF2-40B4-BE49-F238E27FC236}">
                  <a16:creationId xmlns:a16="http://schemas.microsoft.com/office/drawing/2014/main" id="{B6C7D8FB-509D-E19D-8153-6E166D07A4AD}"/>
                </a:ext>
              </a:extLst>
            </p:cNvPr>
            <p:cNvPicPr>
              <a:picLocks noChangeAspect="1"/>
            </p:cNvPicPr>
            <p:nvPr/>
          </p:nvPicPr>
          <p:blipFill>
            <a:blip r:embed="rId57">
              <a:extLst>
                <a:ext uri="{96DAC541-7B7A-43D3-8B79-37D633B846F1}">
                  <asvg:svgBlip xmlns:asvg="http://schemas.microsoft.com/office/drawing/2016/SVG/main" r:embed="rId58"/>
                </a:ext>
              </a:extLst>
            </a:blip>
            <a:stretch>
              <a:fillRect/>
            </a:stretch>
          </p:blipFill>
          <p:spPr>
            <a:xfrm>
              <a:off x="2074096" y="2971350"/>
              <a:ext cx="56693" cy="57160"/>
            </a:xfrm>
            <a:prstGeom prst="rect">
              <a:avLst/>
            </a:prstGeom>
          </p:spPr>
        </p:pic>
      </p:grpSp>
      <p:pic>
        <p:nvPicPr>
          <p:cNvPr id="295" name="Image 76" descr=" ">
            <a:extLst>
              <a:ext uri="{FF2B5EF4-FFF2-40B4-BE49-F238E27FC236}">
                <a16:creationId xmlns:a16="http://schemas.microsoft.com/office/drawing/2014/main" id="{A6307DA4-95EA-D124-72AB-3983459404F3}"/>
              </a:ext>
            </a:extLst>
          </p:cNvPr>
          <p:cNvPicPr>
            <a:picLocks noChangeAspect="1"/>
          </p:cNvPicPr>
          <p:nvPr/>
        </p:nvPicPr>
        <p:blipFill>
          <a:blip r:embed="rId59">
            <a:extLst>
              <a:ext uri="{96DAC541-7B7A-43D3-8B79-37D633B846F1}">
                <asvg:svgBlip xmlns:asvg="http://schemas.microsoft.com/office/drawing/2016/SVG/main" r:embed="rId60"/>
              </a:ext>
            </a:extLst>
          </a:blip>
          <a:stretch>
            <a:fillRect/>
          </a:stretch>
        </p:blipFill>
        <p:spPr>
          <a:xfrm>
            <a:off x="9317245" y="1122990"/>
            <a:ext cx="237651" cy="222191"/>
          </a:xfrm>
          <a:prstGeom prst="rect">
            <a:avLst/>
          </a:prstGeom>
        </p:spPr>
      </p:pic>
      <p:grpSp>
        <p:nvGrpSpPr>
          <p:cNvPr id="300" name="Group 299">
            <a:extLst>
              <a:ext uri="{FF2B5EF4-FFF2-40B4-BE49-F238E27FC236}">
                <a16:creationId xmlns:a16="http://schemas.microsoft.com/office/drawing/2014/main" id="{A67D3402-C23F-B4C7-44BD-1283E0BF0915}"/>
              </a:ext>
            </a:extLst>
          </p:cNvPr>
          <p:cNvGrpSpPr/>
          <p:nvPr/>
        </p:nvGrpSpPr>
        <p:grpSpPr>
          <a:xfrm>
            <a:off x="10871384" y="1113990"/>
            <a:ext cx="219369" cy="219369"/>
            <a:chOff x="2023062" y="3746177"/>
            <a:chExt cx="237426" cy="237466"/>
          </a:xfrm>
        </p:grpSpPr>
        <p:pic>
          <p:nvPicPr>
            <p:cNvPr id="296" name="Image 77" descr=" ">
              <a:extLst>
                <a:ext uri="{FF2B5EF4-FFF2-40B4-BE49-F238E27FC236}">
                  <a16:creationId xmlns:a16="http://schemas.microsoft.com/office/drawing/2014/main" id="{914C0766-9E8B-253C-E473-7B1FF32C499B}"/>
                </a:ext>
              </a:extLst>
            </p:cNvPr>
            <p:cNvPicPr>
              <a:picLocks noChangeAspect="1"/>
            </p:cNvPicPr>
            <p:nvPr/>
          </p:nvPicPr>
          <p:blipFill>
            <a:blip r:embed="rId61"/>
            <a:stretch>
              <a:fillRect/>
            </a:stretch>
          </p:blipFill>
          <p:spPr>
            <a:xfrm>
              <a:off x="2023062" y="3746177"/>
              <a:ext cx="237426" cy="237466"/>
            </a:xfrm>
            <a:prstGeom prst="rect">
              <a:avLst/>
            </a:prstGeom>
          </p:spPr>
        </p:pic>
        <p:pic>
          <p:nvPicPr>
            <p:cNvPr id="297" name="Image 78" descr=" ">
              <a:extLst>
                <a:ext uri="{FF2B5EF4-FFF2-40B4-BE49-F238E27FC236}">
                  <a16:creationId xmlns:a16="http://schemas.microsoft.com/office/drawing/2014/main" id="{9D8FFA2A-8384-29C0-E463-447DB49F4A45}"/>
                </a:ext>
              </a:extLst>
            </p:cNvPr>
            <p:cNvPicPr>
              <a:picLocks noChangeAspect="1"/>
            </p:cNvPicPr>
            <p:nvPr/>
          </p:nvPicPr>
          <p:blipFill>
            <a:blip r:embed="rId62">
              <a:extLst>
                <a:ext uri="{96DAC541-7B7A-43D3-8B79-37D633B846F1}">
                  <asvg:svgBlip xmlns:asvg="http://schemas.microsoft.com/office/drawing/2016/SVG/main" r:embed="rId63"/>
                </a:ext>
              </a:extLst>
            </a:blip>
            <a:stretch>
              <a:fillRect/>
            </a:stretch>
          </p:blipFill>
          <p:spPr>
            <a:xfrm>
              <a:off x="2027810" y="3750926"/>
              <a:ext cx="227928" cy="227967"/>
            </a:xfrm>
            <a:prstGeom prst="rect">
              <a:avLst/>
            </a:prstGeom>
          </p:spPr>
        </p:pic>
      </p:grpSp>
      <p:sp>
        <p:nvSpPr>
          <p:cNvPr id="4" name="Text 69">
            <a:extLst>
              <a:ext uri="{FF2B5EF4-FFF2-40B4-BE49-F238E27FC236}">
                <a16:creationId xmlns:a16="http://schemas.microsoft.com/office/drawing/2014/main" id="{DE3699A0-D9C6-9217-EC93-6F09FCE81DD8}"/>
              </a:ext>
            </a:extLst>
          </p:cNvPr>
          <p:cNvSpPr/>
          <p:nvPr/>
        </p:nvSpPr>
        <p:spPr>
          <a:xfrm>
            <a:off x="4767596" y="4288730"/>
            <a:ext cx="1239660" cy="166211"/>
          </a:xfrm>
          <a:prstGeom prst="rect">
            <a:avLst/>
          </a:prstGeom>
          <a:noFill/>
          <a:ln/>
        </p:spPr>
        <p:txBody>
          <a:bodyPr wrap="square" lIns="0" tIns="0" rIns="0" bIns="0" rtlCol="0" anchor="t"/>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nSpc>
                <a:spcPts val="1091"/>
              </a:lnSpc>
            </a:pPr>
            <a:r>
              <a:rPr lang="en-US" sz="655">
                <a:latin typeface="IBM Plex Sans" panose="020B0503050203000203" pitchFamily="34" charset="0"/>
              </a:rPr>
              <a:t>Data replication</a:t>
            </a:r>
          </a:p>
        </p:txBody>
      </p:sp>
      <p:pic>
        <p:nvPicPr>
          <p:cNvPr id="11" name="Picture 10">
            <a:extLst>
              <a:ext uri="{FF2B5EF4-FFF2-40B4-BE49-F238E27FC236}">
                <a16:creationId xmlns:a16="http://schemas.microsoft.com/office/drawing/2014/main" id="{87789D58-F20D-F93F-5A79-E48E05894685}"/>
              </a:ext>
            </a:extLst>
          </p:cNvPr>
          <p:cNvPicPr>
            <a:picLocks noChangeAspect="1"/>
          </p:cNvPicPr>
          <p:nvPr/>
        </p:nvPicPr>
        <p:blipFill>
          <a:blip r:embed="rId64"/>
          <a:stretch>
            <a:fillRect/>
          </a:stretch>
        </p:blipFill>
        <p:spPr>
          <a:xfrm>
            <a:off x="4773615" y="4066366"/>
            <a:ext cx="219398" cy="219398"/>
          </a:xfrm>
          <a:prstGeom prst="rect">
            <a:avLst/>
          </a:prstGeom>
        </p:spPr>
      </p:pic>
      <p:sp>
        <p:nvSpPr>
          <p:cNvPr id="57" name="Shape 92">
            <a:extLst>
              <a:ext uri="{FF2B5EF4-FFF2-40B4-BE49-F238E27FC236}">
                <a16:creationId xmlns:a16="http://schemas.microsoft.com/office/drawing/2014/main" id="{11D14074-FCC4-BC67-F594-FFEB8C5EBCE4}"/>
              </a:ext>
            </a:extLst>
          </p:cNvPr>
          <p:cNvSpPr/>
          <p:nvPr/>
        </p:nvSpPr>
        <p:spPr>
          <a:xfrm>
            <a:off x="6420171" y="2181565"/>
            <a:ext cx="1630736" cy="2361277"/>
          </a:xfrm>
          <a:prstGeom prst="roundRect">
            <a:avLst>
              <a:gd name="adj" fmla="val 6887"/>
            </a:avLst>
          </a:prstGeom>
          <a:solidFill>
            <a:srgbClr val="FFFFFF">
              <a:alpha val="100000"/>
            </a:srgbClr>
          </a:solidFill>
          <a:ln/>
          <a:effectLst>
            <a:outerShdw blurRad="317500" dist="50800" dir="16200000" algn="bl" rotWithShape="0">
              <a:srgbClr val="000000">
                <a:alpha val="10000"/>
              </a:srgbClr>
            </a:outerShdw>
          </a:effectLst>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82">
              <a:latin typeface="IBM Plex Sans" panose="020B0503050203000203" pitchFamily="34" charset="0"/>
            </a:endParaRPr>
          </a:p>
        </p:txBody>
      </p:sp>
      <p:sp>
        <p:nvSpPr>
          <p:cNvPr id="631" name="Text 75">
            <a:extLst>
              <a:ext uri="{FF2B5EF4-FFF2-40B4-BE49-F238E27FC236}">
                <a16:creationId xmlns:a16="http://schemas.microsoft.com/office/drawing/2014/main" id="{4FC4E6EF-568B-5FA2-191A-19E422E5A426}"/>
              </a:ext>
            </a:extLst>
          </p:cNvPr>
          <p:cNvSpPr/>
          <p:nvPr/>
        </p:nvSpPr>
        <p:spPr>
          <a:xfrm>
            <a:off x="6512586" y="2208856"/>
            <a:ext cx="1057150" cy="323147"/>
          </a:xfrm>
          <a:prstGeom prst="rect">
            <a:avLst/>
          </a:prstGeom>
          <a:noFill/>
          <a:ln/>
        </p:spPr>
        <p:txBody>
          <a:bodyPr wrap="square" lIns="0" tIns="0" rIns="0" bIns="0" rtlCol="0" anchor="t"/>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nSpc>
                <a:spcPts val="2182"/>
              </a:lnSpc>
            </a:pPr>
            <a:r>
              <a:rPr lang="en-US" sz="870">
                <a:solidFill>
                  <a:srgbClr val="000000">
                    <a:alpha val="100000"/>
                  </a:srgbClr>
                </a:solidFill>
                <a:latin typeface="IBM Plex Sans" panose="020B0503050203000203" pitchFamily="34" charset="0"/>
                <a:ea typeface="IBM Plex Sans Bold" pitchFamily="34" charset="-122"/>
                <a:cs typeface="IBM Plex Sans Bold" pitchFamily="34" charset="-120"/>
              </a:rPr>
              <a:t>Databases</a:t>
            </a:r>
            <a:endParaRPr lang="en-US" sz="870">
              <a:latin typeface="IBM Plex Sans" panose="020B0503050203000203" pitchFamily="34" charset="0"/>
            </a:endParaRPr>
          </a:p>
        </p:txBody>
      </p:sp>
      <p:sp>
        <p:nvSpPr>
          <p:cNvPr id="634" name="Text 78">
            <a:extLst>
              <a:ext uri="{FF2B5EF4-FFF2-40B4-BE49-F238E27FC236}">
                <a16:creationId xmlns:a16="http://schemas.microsoft.com/office/drawing/2014/main" id="{7EFD1135-C923-E21A-02F6-C2657280739D}"/>
              </a:ext>
            </a:extLst>
          </p:cNvPr>
          <p:cNvSpPr/>
          <p:nvPr/>
        </p:nvSpPr>
        <p:spPr>
          <a:xfrm>
            <a:off x="6761871" y="2700433"/>
            <a:ext cx="1293511" cy="203122"/>
          </a:xfrm>
          <a:prstGeom prst="rect">
            <a:avLst/>
          </a:prstGeom>
          <a:noFill/>
          <a:ln/>
        </p:spPr>
        <p:txBody>
          <a:bodyPr wrap="square" lIns="0" tIns="0" rIns="0" bIns="0" rtlCol="0" anchor="t"/>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nSpc>
                <a:spcPts val="1309"/>
              </a:lnSpc>
            </a:pPr>
            <a:r>
              <a:rPr lang="en-US" sz="655">
                <a:solidFill>
                  <a:srgbClr val="000000">
                    <a:alpha val="100000"/>
                  </a:srgbClr>
                </a:solidFill>
                <a:latin typeface="IBM Plex Sans" panose="020B0503050203000203" pitchFamily="34" charset="0"/>
                <a:ea typeface="IBM Plex Sans Bold" pitchFamily="34" charset="-122"/>
                <a:cs typeface="IBM Plex Sans Bold" pitchFamily="34" charset="-120"/>
              </a:rPr>
              <a:t>Hybrid, open data lakehouse</a:t>
            </a:r>
            <a:endParaRPr lang="en-US" sz="655">
              <a:latin typeface="IBM Plex Sans" panose="020B0503050203000203" pitchFamily="34" charset="0"/>
            </a:endParaRPr>
          </a:p>
        </p:txBody>
      </p:sp>
      <p:pic>
        <p:nvPicPr>
          <p:cNvPr id="638" name="Image 39" descr=" ">
            <a:extLst>
              <a:ext uri="{FF2B5EF4-FFF2-40B4-BE49-F238E27FC236}">
                <a16:creationId xmlns:a16="http://schemas.microsoft.com/office/drawing/2014/main" id="{A09EF662-7C70-B8E1-0887-F29B8ACEB0FE}"/>
              </a:ext>
            </a:extLst>
          </p:cNvPr>
          <p:cNvPicPr>
            <a:picLocks noChangeAspect="1"/>
          </p:cNvPicPr>
          <p:nvPr/>
        </p:nvPicPr>
        <p:blipFill>
          <a:blip r:embed="rId65">
            <a:extLst>
              <a:ext uri="{96DAC541-7B7A-43D3-8B79-37D633B846F1}">
                <asvg:svgBlip xmlns:asvg="http://schemas.microsoft.com/office/drawing/2016/SVG/main" r:embed="rId66"/>
              </a:ext>
            </a:extLst>
          </a:blip>
          <a:stretch>
            <a:fillRect/>
          </a:stretch>
        </p:blipFill>
        <p:spPr>
          <a:xfrm>
            <a:off x="6526436" y="3039668"/>
            <a:ext cx="83094" cy="69246"/>
          </a:xfrm>
          <a:prstGeom prst="rect">
            <a:avLst/>
          </a:prstGeom>
        </p:spPr>
      </p:pic>
      <p:sp>
        <p:nvSpPr>
          <p:cNvPr id="639" name="Text 81">
            <a:extLst>
              <a:ext uri="{FF2B5EF4-FFF2-40B4-BE49-F238E27FC236}">
                <a16:creationId xmlns:a16="http://schemas.microsoft.com/office/drawing/2014/main" id="{96EEE307-B42E-160F-CBBF-6BE736AB46DF}"/>
              </a:ext>
            </a:extLst>
          </p:cNvPr>
          <p:cNvSpPr/>
          <p:nvPr/>
        </p:nvSpPr>
        <p:spPr>
          <a:xfrm>
            <a:off x="6651077" y="3005046"/>
            <a:ext cx="1163328" cy="166189"/>
          </a:xfrm>
          <a:prstGeom prst="rect">
            <a:avLst/>
          </a:prstGeom>
          <a:noFill/>
          <a:ln/>
        </p:spPr>
        <p:txBody>
          <a:bodyPr wrap="square" lIns="0" tIns="0" rIns="0" bIns="0" rtlCol="0" anchor="t"/>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nSpc>
                <a:spcPts val="1091"/>
              </a:lnSpc>
            </a:pPr>
            <a:r>
              <a:rPr lang="en-US" sz="655" kern="0" spc="1">
                <a:solidFill>
                  <a:srgbClr val="000000">
                    <a:alpha val="100000"/>
                  </a:srgbClr>
                </a:solidFill>
                <a:latin typeface="IBM Plex Sans" panose="020B0503050203000203" pitchFamily="34" charset="0"/>
                <a:ea typeface="IBM Plex Sans Regular" pitchFamily="34" charset="-122"/>
                <a:cs typeface="IBM Plex Sans Regular" pitchFamily="34" charset="-120"/>
              </a:rPr>
              <a:t>Fit for purpose query engines</a:t>
            </a:r>
            <a:endParaRPr lang="en-US" sz="655">
              <a:latin typeface="IBM Plex Sans" panose="020B0503050203000203" pitchFamily="34" charset="0"/>
            </a:endParaRPr>
          </a:p>
        </p:txBody>
      </p:sp>
      <p:pic>
        <p:nvPicPr>
          <p:cNvPr id="641" name="Image 40" descr=" ">
            <a:extLst>
              <a:ext uri="{FF2B5EF4-FFF2-40B4-BE49-F238E27FC236}">
                <a16:creationId xmlns:a16="http://schemas.microsoft.com/office/drawing/2014/main" id="{A7535992-A016-FE3F-198E-0ABBFE1EDAA7}"/>
              </a:ext>
            </a:extLst>
          </p:cNvPr>
          <p:cNvPicPr>
            <a:picLocks noChangeAspect="1"/>
          </p:cNvPicPr>
          <p:nvPr/>
        </p:nvPicPr>
        <p:blipFill>
          <a:blip r:embed="rId67"/>
          <a:stretch>
            <a:fillRect/>
          </a:stretch>
        </p:blipFill>
        <p:spPr>
          <a:xfrm>
            <a:off x="6512586" y="3268178"/>
            <a:ext cx="110794" cy="110794"/>
          </a:xfrm>
          <a:prstGeom prst="rect">
            <a:avLst/>
          </a:prstGeom>
        </p:spPr>
      </p:pic>
      <p:sp>
        <p:nvSpPr>
          <p:cNvPr id="642" name="Text 83">
            <a:extLst>
              <a:ext uri="{FF2B5EF4-FFF2-40B4-BE49-F238E27FC236}">
                <a16:creationId xmlns:a16="http://schemas.microsoft.com/office/drawing/2014/main" id="{8268EA83-37E1-E7A8-D1BF-633476A320C4}"/>
              </a:ext>
            </a:extLst>
          </p:cNvPr>
          <p:cNvSpPr/>
          <p:nvPr/>
        </p:nvSpPr>
        <p:spPr>
          <a:xfrm>
            <a:off x="6651077" y="3254329"/>
            <a:ext cx="1038686" cy="166189"/>
          </a:xfrm>
          <a:prstGeom prst="rect">
            <a:avLst/>
          </a:prstGeom>
          <a:noFill/>
          <a:ln/>
        </p:spPr>
        <p:txBody>
          <a:bodyPr wrap="square" lIns="0" tIns="0" rIns="0" bIns="0" rtlCol="0" anchor="t"/>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nSpc>
                <a:spcPts val="1091"/>
              </a:lnSpc>
            </a:pPr>
            <a:r>
              <a:rPr lang="en-US" sz="655" kern="0" spc="1">
                <a:solidFill>
                  <a:srgbClr val="000000">
                    <a:alpha val="100000"/>
                  </a:srgbClr>
                </a:solidFill>
                <a:latin typeface="IBM Plex Sans" panose="020B0503050203000203" pitchFamily="34" charset="0"/>
                <a:ea typeface="IBM Plex Sans Regular" pitchFamily="34" charset="-122"/>
                <a:cs typeface="IBM Plex Sans Regular" pitchFamily="34" charset="-120"/>
              </a:rPr>
              <a:t>Open-source data formats</a:t>
            </a:r>
            <a:endParaRPr lang="en-US" sz="655">
              <a:latin typeface="IBM Plex Sans" panose="020B0503050203000203" pitchFamily="34" charset="0"/>
            </a:endParaRPr>
          </a:p>
        </p:txBody>
      </p:sp>
      <p:sp>
        <p:nvSpPr>
          <p:cNvPr id="646" name="Text 85">
            <a:extLst>
              <a:ext uri="{FF2B5EF4-FFF2-40B4-BE49-F238E27FC236}">
                <a16:creationId xmlns:a16="http://schemas.microsoft.com/office/drawing/2014/main" id="{FD747D95-60C0-F9F9-0E5B-40AFB4ADF014}"/>
              </a:ext>
            </a:extLst>
          </p:cNvPr>
          <p:cNvSpPr/>
          <p:nvPr/>
        </p:nvSpPr>
        <p:spPr>
          <a:xfrm>
            <a:off x="6651077" y="3503615"/>
            <a:ext cx="1163327" cy="166189"/>
          </a:xfrm>
          <a:prstGeom prst="rect">
            <a:avLst/>
          </a:prstGeom>
          <a:noFill/>
          <a:ln/>
        </p:spPr>
        <p:txBody>
          <a:bodyPr wrap="square" lIns="0" tIns="0" rIns="0" bIns="0" rtlCol="0" anchor="t"/>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nSpc>
                <a:spcPts val="1091"/>
              </a:lnSpc>
            </a:pPr>
            <a:r>
              <a:rPr lang="en-US" sz="655" kern="0" spc="1">
                <a:solidFill>
                  <a:srgbClr val="000000">
                    <a:alpha val="100000"/>
                  </a:srgbClr>
                </a:solidFill>
                <a:latin typeface="IBM Plex Sans" panose="020B0503050203000203" pitchFamily="34" charset="0"/>
                <a:ea typeface="IBM Plex Sans Regular" pitchFamily="34" charset="-122"/>
                <a:cs typeface="IBM Plex Sans Regular" pitchFamily="34" charset="-120"/>
              </a:rPr>
              <a:t>Separate storage and compute</a:t>
            </a:r>
            <a:endParaRPr lang="en-US" sz="655">
              <a:latin typeface="IBM Plex Sans" panose="020B0503050203000203" pitchFamily="34" charset="0"/>
            </a:endParaRPr>
          </a:p>
        </p:txBody>
      </p:sp>
      <p:pic>
        <p:nvPicPr>
          <p:cNvPr id="648" name="Image 43" descr=" ">
            <a:extLst>
              <a:ext uri="{FF2B5EF4-FFF2-40B4-BE49-F238E27FC236}">
                <a16:creationId xmlns:a16="http://schemas.microsoft.com/office/drawing/2014/main" id="{C2210F20-C59F-7120-8E11-B7993E65BC6D}"/>
              </a:ext>
            </a:extLst>
          </p:cNvPr>
          <p:cNvPicPr>
            <a:picLocks noChangeAspect="1"/>
          </p:cNvPicPr>
          <p:nvPr/>
        </p:nvPicPr>
        <p:blipFill>
          <a:blip r:embed="rId68"/>
          <a:stretch>
            <a:fillRect/>
          </a:stretch>
        </p:blipFill>
        <p:spPr>
          <a:xfrm>
            <a:off x="6512586" y="3766747"/>
            <a:ext cx="110794" cy="110794"/>
          </a:xfrm>
          <a:prstGeom prst="rect">
            <a:avLst/>
          </a:prstGeom>
        </p:spPr>
      </p:pic>
      <p:sp>
        <p:nvSpPr>
          <p:cNvPr id="649" name="Text 87">
            <a:extLst>
              <a:ext uri="{FF2B5EF4-FFF2-40B4-BE49-F238E27FC236}">
                <a16:creationId xmlns:a16="http://schemas.microsoft.com/office/drawing/2014/main" id="{7534DD66-0316-0FA2-1D1E-E89236B490D2}"/>
              </a:ext>
            </a:extLst>
          </p:cNvPr>
          <p:cNvSpPr/>
          <p:nvPr/>
        </p:nvSpPr>
        <p:spPr>
          <a:xfrm>
            <a:off x="6651077" y="3752899"/>
            <a:ext cx="1329517" cy="166189"/>
          </a:xfrm>
          <a:prstGeom prst="rect">
            <a:avLst/>
          </a:prstGeom>
          <a:noFill/>
          <a:ln/>
        </p:spPr>
        <p:txBody>
          <a:bodyPr wrap="square" lIns="0" tIns="0" rIns="0" bIns="0" rtlCol="0" anchor="t"/>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nSpc>
                <a:spcPts val="1091"/>
              </a:lnSpc>
            </a:pPr>
            <a:r>
              <a:rPr lang="en-US" sz="650" kern="0" spc="1">
                <a:solidFill>
                  <a:srgbClr val="000000">
                    <a:alpha val="100000"/>
                  </a:srgbClr>
                </a:solidFill>
                <a:latin typeface="IBM Plex Sans" panose="020B0503050203000203" pitchFamily="34" charset="0"/>
                <a:ea typeface="IBM Plex Sans Regular"/>
                <a:cs typeface="IBM Plex Sans Regular" pitchFamily="34" charset="-120"/>
              </a:rPr>
              <a:t>Hybrid multi-cloud infrastructure</a:t>
            </a:r>
            <a:endParaRPr lang="en-US" sz="655">
              <a:latin typeface="IBM Plex Sans" panose="020B0503050203000203" pitchFamily="34" charset="0"/>
            </a:endParaRPr>
          </a:p>
        </p:txBody>
      </p:sp>
      <p:sp>
        <p:nvSpPr>
          <p:cNvPr id="653" name="Text 89">
            <a:extLst>
              <a:ext uri="{FF2B5EF4-FFF2-40B4-BE49-F238E27FC236}">
                <a16:creationId xmlns:a16="http://schemas.microsoft.com/office/drawing/2014/main" id="{A167D5E5-4BCD-C1FB-0BC1-03B935C2AD7E}"/>
              </a:ext>
            </a:extLst>
          </p:cNvPr>
          <p:cNvSpPr/>
          <p:nvPr/>
        </p:nvSpPr>
        <p:spPr>
          <a:xfrm>
            <a:off x="6651077" y="4002184"/>
            <a:ext cx="1239499" cy="166189"/>
          </a:xfrm>
          <a:prstGeom prst="rect">
            <a:avLst/>
          </a:prstGeom>
          <a:noFill/>
          <a:ln/>
        </p:spPr>
        <p:txBody>
          <a:bodyPr wrap="square" lIns="0" tIns="0" rIns="0" bIns="0" rtlCol="0" anchor="t"/>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nSpc>
                <a:spcPts val="1091"/>
              </a:lnSpc>
            </a:pPr>
            <a:r>
              <a:rPr lang="en-US" sz="655" kern="0" spc="1">
                <a:solidFill>
                  <a:srgbClr val="000000">
                    <a:alpha val="100000"/>
                  </a:srgbClr>
                </a:solidFill>
                <a:latin typeface="IBM Plex Sans" panose="020B0503050203000203" pitchFamily="34" charset="0"/>
                <a:ea typeface="IBM Plex Sans Regular" pitchFamily="34" charset="-122"/>
                <a:cs typeface="IBM Plex Sans Regular" pitchFamily="34" charset="-120"/>
              </a:rPr>
              <a:t>Vectorized embeddings for RAG</a:t>
            </a:r>
            <a:endParaRPr lang="en-US" sz="655">
              <a:latin typeface="IBM Plex Sans" panose="020B0503050203000203" pitchFamily="34" charset="0"/>
            </a:endParaRPr>
          </a:p>
        </p:txBody>
      </p:sp>
      <p:pic>
        <p:nvPicPr>
          <p:cNvPr id="779" name="Picture 778">
            <a:extLst>
              <a:ext uri="{FF2B5EF4-FFF2-40B4-BE49-F238E27FC236}">
                <a16:creationId xmlns:a16="http://schemas.microsoft.com/office/drawing/2014/main" id="{FD274295-38F7-96C9-5D5E-03967A24D5D9}"/>
              </a:ext>
            </a:extLst>
          </p:cNvPr>
          <p:cNvPicPr>
            <a:picLocks noChangeAspect="1"/>
          </p:cNvPicPr>
          <p:nvPr/>
        </p:nvPicPr>
        <p:blipFill>
          <a:blip r:embed="rId69"/>
          <a:stretch>
            <a:fillRect/>
          </a:stretch>
        </p:blipFill>
        <p:spPr>
          <a:xfrm>
            <a:off x="6521428" y="2705058"/>
            <a:ext cx="183129" cy="183129"/>
          </a:xfrm>
          <a:prstGeom prst="rect">
            <a:avLst/>
          </a:prstGeom>
        </p:spPr>
      </p:pic>
      <p:pic>
        <p:nvPicPr>
          <p:cNvPr id="645" name="Image 42" descr=" ">
            <a:extLst>
              <a:ext uri="{FF2B5EF4-FFF2-40B4-BE49-F238E27FC236}">
                <a16:creationId xmlns:a16="http://schemas.microsoft.com/office/drawing/2014/main" id="{6D420ADA-66D3-B177-1DAE-D7DAE236BAA7}"/>
              </a:ext>
            </a:extLst>
          </p:cNvPr>
          <p:cNvPicPr>
            <a:picLocks noChangeAspect="1"/>
          </p:cNvPicPr>
          <p:nvPr/>
        </p:nvPicPr>
        <p:blipFill>
          <a:blip r:embed="rId70">
            <a:extLst>
              <a:ext uri="{96DAC541-7B7A-43D3-8B79-37D633B846F1}">
                <asvg:svgBlip xmlns:asvg="http://schemas.microsoft.com/office/drawing/2016/SVG/main" r:embed="rId71"/>
              </a:ext>
            </a:extLst>
          </a:blip>
          <a:stretch>
            <a:fillRect/>
          </a:stretch>
        </p:blipFill>
        <p:spPr>
          <a:xfrm>
            <a:off x="6519511" y="3524388"/>
            <a:ext cx="96943" cy="96943"/>
          </a:xfrm>
          <a:prstGeom prst="rect">
            <a:avLst/>
          </a:prstGeom>
        </p:spPr>
      </p:pic>
      <p:pic>
        <p:nvPicPr>
          <p:cNvPr id="652" name="Image 45" descr=" ">
            <a:extLst>
              <a:ext uri="{FF2B5EF4-FFF2-40B4-BE49-F238E27FC236}">
                <a16:creationId xmlns:a16="http://schemas.microsoft.com/office/drawing/2014/main" id="{16F84DC0-1008-F3EB-58E7-F261DC272299}"/>
              </a:ext>
            </a:extLst>
          </p:cNvPr>
          <p:cNvPicPr>
            <a:picLocks noChangeAspect="1"/>
          </p:cNvPicPr>
          <p:nvPr/>
        </p:nvPicPr>
        <p:blipFill>
          <a:blip r:embed="rId72">
            <a:extLst>
              <a:ext uri="{96DAC541-7B7A-43D3-8B79-37D633B846F1}">
                <asvg:svgBlip xmlns:asvg="http://schemas.microsoft.com/office/drawing/2016/SVG/main" r:embed="rId73"/>
              </a:ext>
            </a:extLst>
          </a:blip>
          <a:stretch>
            <a:fillRect/>
          </a:stretch>
        </p:blipFill>
        <p:spPr>
          <a:xfrm>
            <a:off x="6519511" y="4022957"/>
            <a:ext cx="96943" cy="96943"/>
          </a:xfrm>
          <a:prstGeom prst="rect">
            <a:avLst/>
          </a:prstGeom>
        </p:spPr>
      </p:pic>
      <p:sp>
        <p:nvSpPr>
          <p:cNvPr id="58" name="Shape 51">
            <a:extLst>
              <a:ext uri="{FF2B5EF4-FFF2-40B4-BE49-F238E27FC236}">
                <a16:creationId xmlns:a16="http://schemas.microsoft.com/office/drawing/2014/main" id="{10718EC7-730A-70B3-3DD7-3E996F548026}"/>
              </a:ext>
            </a:extLst>
          </p:cNvPr>
          <p:cNvSpPr/>
          <p:nvPr/>
        </p:nvSpPr>
        <p:spPr>
          <a:xfrm>
            <a:off x="2884695" y="5117832"/>
            <a:ext cx="8701689" cy="822639"/>
          </a:xfrm>
          <a:prstGeom prst="roundRect">
            <a:avLst>
              <a:gd name="adj" fmla="val 14139"/>
            </a:avLst>
          </a:prstGeom>
          <a:solidFill>
            <a:srgbClr val="FFFFFF">
              <a:alpha val="100000"/>
            </a:srgbClr>
          </a:solidFill>
          <a:ln/>
          <a:effectLst>
            <a:outerShdw blurRad="317500" dist="50800" dir="16200000" algn="bl" rotWithShape="0">
              <a:srgbClr val="000000">
                <a:alpha val="10000"/>
              </a:srgbClr>
            </a:outerShdw>
          </a:effectLst>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00">
              <a:latin typeface="IBM Plex Sans" panose="020B0503050203000203" pitchFamily="34" charset="0"/>
            </a:endParaRPr>
          </a:p>
        </p:txBody>
      </p:sp>
      <p:pic>
        <p:nvPicPr>
          <p:cNvPr id="59" name="Image 43" descr=" ">
            <a:extLst>
              <a:ext uri="{FF2B5EF4-FFF2-40B4-BE49-F238E27FC236}">
                <a16:creationId xmlns:a16="http://schemas.microsoft.com/office/drawing/2014/main" id="{C818EF97-59CF-98AC-89D4-23F840EA4AD8}"/>
              </a:ext>
            </a:extLst>
          </p:cNvPr>
          <p:cNvPicPr>
            <a:picLocks noChangeAspect="1"/>
          </p:cNvPicPr>
          <p:nvPr/>
        </p:nvPicPr>
        <p:blipFill>
          <a:blip r:embed="rId74">
            <a:extLst>
              <a:ext uri="{96DAC541-7B7A-43D3-8B79-37D633B846F1}">
                <asvg:svgBlip xmlns:asvg="http://schemas.microsoft.com/office/drawing/2016/SVG/main" r:embed="rId75"/>
              </a:ext>
            </a:extLst>
          </a:blip>
          <a:stretch>
            <a:fillRect/>
          </a:stretch>
        </p:blipFill>
        <p:spPr>
          <a:xfrm>
            <a:off x="3103804" y="5480887"/>
            <a:ext cx="274212" cy="274258"/>
          </a:xfrm>
          <a:prstGeom prst="rect">
            <a:avLst/>
          </a:prstGeom>
        </p:spPr>
      </p:pic>
      <p:pic>
        <p:nvPicPr>
          <p:cNvPr id="514" name="Image 44" descr=" ">
            <a:extLst>
              <a:ext uri="{FF2B5EF4-FFF2-40B4-BE49-F238E27FC236}">
                <a16:creationId xmlns:a16="http://schemas.microsoft.com/office/drawing/2014/main" id="{141B9E69-50A8-3EC5-34B8-9BEE6AB2CAB9}"/>
              </a:ext>
            </a:extLst>
          </p:cNvPr>
          <p:cNvPicPr>
            <a:picLocks noChangeAspect="1"/>
          </p:cNvPicPr>
          <p:nvPr/>
        </p:nvPicPr>
        <p:blipFill>
          <a:blip r:embed="rId76">
            <a:extLst>
              <a:ext uri="{96DAC541-7B7A-43D3-8B79-37D633B846F1}">
                <asvg:svgBlip xmlns:asvg="http://schemas.microsoft.com/office/drawing/2016/SVG/main" r:embed="rId77"/>
              </a:ext>
            </a:extLst>
          </a:blip>
          <a:stretch>
            <a:fillRect/>
          </a:stretch>
        </p:blipFill>
        <p:spPr>
          <a:xfrm>
            <a:off x="3554968" y="5541401"/>
            <a:ext cx="298232" cy="178621"/>
          </a:xfrm>
          <a:prstGeom prst="rect">
            <a:avLst/>
          </a:prstGeom>
        </p:spPr>
      </p:pic>
      <p:pic>
        <p:nvPicPr>
          <p:cNvPr id="516" name="Image 45" descr=" ">
            <a:extLst>
              <a:ext uri="{FF2B5EF4-FFF2-40B4-BE49-F238E27FC236}">
                <a16:creationId xmlns:a16="http://schemas.microsoft.com/office/drawing/2014/main" id="{E4F94917-32CE-661A-C152-6ED803489D3F}"/>
              </a:ext>
            </a:extLst>
          </p:cNvPr>
          <p:cNvPicPr>
            <a:picLocks noChangeAspect="1"/>
          </p:cNvPicPr>
          <p:nvPr/>
        </p:nvPicPr>
        <p:blipFill>
          <a:blip r:embed="rId78">
            <a:extLst>
              <a:ext uri="{96DAC541-7B7A-43D3-8B79-37D633B846F1}">
                <asvg:svgBlip xmlns:asvg="http://schemas.microsoft.com/office/drawing/2016/SVG/main" r:embed="rId79"/>
              </a:ext>
            </a:extLst>
          </a:blip>
          <a:stretch>
            <a:fillRect/>
          </a:stretch>
        </p:blipFill>
        <p:spPr>
          <a:xfrm>
            <a:off x="4049192" y="5508331"/>
            <a:ext cx="272899" cy="219369"/>
          </a:xfrm>
          <a:prstGeom prst="rect">
            <a:avLst/>
          </a:prstGeom>
        </p:spPr>
      </p:pic>
      <p:pic>
        <p:nvPicPr>
          <p:cNvPr id="517" name="Image 46" descr=" ">
            <a:extLst>
              <a:ext uri="{FF2B5EF4-FFF2-40B4-BE49-F238E27FC236}">
                <a16:creationId xmlns:a16="http://schemas.microsoft.com/office/drawing/2014/main" id="{66C8D887-B7CA-5E29-9D27-0BB35BE91DE0}"/>
              </a:ext>
            </a:extLst>
          </p:cNvPr>
          <p:cNvPicPr>
            <a:picLocks noChangeAspect="1"/>
          </p:cNvPicPr>
          <p:nvPr/>
        </p:nvPicPr>
        <p:blipFill>
          <a:blip r:embed="rId80">
            <a:extLst>
              <a:ext uri="{96DAC541-7B7A-43D3-8B79-37D633B846F1}">
                <asvg:svgBlip xmlns:asvg="http://schemas.microsoft.com/office/drawing/2016/SVG/main" r:embed="rId81"/>
              </a:ext>
            </a:extLst>
          </a:blip>
          <a:stretch>
            <a:fillRect/>
          </a:stretch>
        </p:blipFill>
        <p:spPr>
          <a:xfrm>
            <a:off x="4511737" y="5508331"/>
            <a:ext cx="219332" cy="219369"/>
          </a:xfrm>
          <a:prstGeom prst="rect">
            <a:avLst/>
          </a:prstGeom>
        </p:spPr>
      </p:pic>
      <p:pic>
        <p:nvPicPr>
          <p:cNvPr id="611" name="Image 47" descr=" ">
            <a:extLst>
              <a:ext uri="{FF2B5EF4-FFF2-40B4-BE49-F238E27FC236}">
                <a16:creationId xmlns:a16="http://schemas.microsoft.com/office/drawing/2014/main" id="{7B13FF0E-59D9-933F-5A4A-6D30A4585FBD}"/>
              </a:ext>
            </a:extLst>
          </p:cNvPr>
          <p:cNvPicPr>
            <a:picLocks noChangeAspect="1"/>
          </p:cNvPicPr>
          <p:nvPr/>
        </p:nvPicPr>
        <p:blipFill>
          <a:blip r:embed="rId82">
            <a:extLst>
              <a:ext uri="{96DAC541-7B7A-43D3-8B79-37D633B846F1}">
                <asvg:svgBlip xmlns:asvg="http://schemas.microsoft.com/office/drawing/2016/SVG/main" r:embed="rId83"/>
              </a:ext>
            </a:extLst>
          </a:blip>
          <a:stretch>
            <a:fillRect/>
          </a:stretch>
        </p:blipFill>
        <p:spPr>
          <a:xfrm>
            <a:off x="4935932" y="5544487"/>
            <a:ext cx="6347" cy="203155"/>
          </a:xfrm>
          <a:prstGeom prst="rect">
            <a:avLst/>
          </a:prstGeom>
        </p:spPr>
      </p:pic>
      <p:sp>
        <p:nvSpPr>
          <p:cNvPr id="612" name="Text 56">
            <a:extLst>
              <a:ext uri="{FF2B5EF4-FFF2-40B4-BE49-F238E27FC236}">
                <a16:creationId xmlns:a16="http://schemas.microsoft.com/office/drawing/2014/main" id="{9D2EAA5C-18B1-EC70-BAA5-0623D5B042F1}"/>
              </a:ext>
            </a:extLst>
          </p:cNvPr>
          <p:cNvSpPr/>
          <p:nvPr/>
        </p:nvSpPr>
        <p:spPr>
          <a:xfrm>
            <a:off x="5128757" y="5584406"/>
            <a:ext cx="844935" cy="190592"/>
          </a:xfrm>
          <a:prstGeom prst="rect">
            <a:avLst/>
          </a:prstGeom>
          <a:noFill/>
          <a:ln/>
        </p:spPr>
        <p:txBody>
          <a:bodyPr wrap="square" lIns="0" tIns="0" rIns="0" bIns="0" rtlCol="0" anchor="t"/>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nSpc>
                <a:spcPts val="1200"/>
              </a:lnSpc>
            </a:pPr>
            <a:r>
              <a:rPr lang="en-US" sz="760">
                <a:solidFill>
                  <a:srgbClr val="000000">
                    <a:alpha val="100000"/>
                  </a:srgbClr>
                </a:solidFill>
                <a:latin typeface="IBM Plex Sans" panose="020B0503050203000203" pitchFamily="34" charset="0"/>
                <a:ea typeface="IBM Plex Sans Bold" pitchFamily="34" charset="-122"/>
                <a:cs typeface="IBM Plex Sans Bold" pitchFamily="34" charset="-120"/>
              </a:rPr>
              <a:t>3rd Party Tools:</a:t>
            </a:r>
            <a:endParaRPr lang="en-US" sz="760">
              <a:latin typeface="IBM Plex Sans" panose="020B0503050203000203" pitchFamily="34" charset="0"/>
            </a:endParaRPr>
          </a:p>
        </p:txBody>
      </p:sp>
      <p:sp>
        <p:nvSpPr>
          <p:cNvPr id="615" name="Shape 58">
            <a:extLst>
              <a:ext uri="{FF2B5EF4-FFF2-40B4-BE49-F238E27FC236}">
                <a16:creationId xmlns:a16="http://schemas.microsoft.com/office/drawing/2014/main" id="{0B280A69-3001-2492-7C78-802FBCAC5214}"/>
              </a:ext>
            </a:extLst>
          </p:cNvPr>
          <p:cNvSpPr/>
          <p:nvPr/>
        </p:nvSpPr>
        <p:spPr>
          <a:xfrm>
            <a:off x="6835868" y="5515702"/>
            <a:ext cx="844935" cy="219369"/>
          </a:xfrm>
          <a:prstGeom prst="roundRect">
            <a:avLst>
              <a:gd name="adj" fmla="val 50983"/>
            </a:avLst>
          </a:prstGeom>
          <a:solidFill>
            <a:srgbClr val="E0E0E0">
              <a:alpha val="100000"/>
            </a:srgbClr>
          </a:solid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00">
              <a:latin typeface="IBM Plex Sans" panose="020B0503050203000203" pitchFamily="34" charset="0"/>
            </a:endParaRPr>
          </a:p>
        </p:txBody>
      </p:sp>
      <p:sp>
        <p:nvSpPr>
          <p:cNvPr id="618" name="Text 61">
            <a:extLst>
              <a:ext uri="{FF2B5EF4-FFF2-40B4-BE49-F238E27FC236}">
                <a16:creationId xmlns:a16="http://schemas.microsoft.com/office/drawing/2014/main" id="{F92ADB48-791E-E95A-EE5C-686D54323D2C}"/>
              </a:ext>
            </a:extLst>
          </p:cNvPr>
          <p:cNvSpPr/>
          <p:nvPr/>
        </p:nvSpPr>
        <p:spPr>
          <a:xfrm>
            <a:off x="6904743" y="5589741"/>
            <a:ext cx="1054695" cy="120706"/>
          </a:xfrm>
          <a:prstGeom prst="rect">
            <a:avLst/>
          </a:prstGeom>
          <a:noFill/>
          <a:ln/>
        </p:spPr>
        <p:txBody>
          <a:bodyPr wrap="square" lIns="0" tIns="0" rIns="0" bIns="0" rtlCol="0" anchor="t"/>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nSpc>
                <a:spcPts val="800"/>
              </a:lnSpc>
            </a:pPr>
            <a:r>
              <a:rPr lang="en-US" sz="760" kern="0" spc="2">
                <a:solidFill>
                  <a:srgbClr val="000000">
                    <a:alpha val="100000"/>
                  </a:srgbClr>
                </a:solidFill>
                <a:latin typeface="IBM Plex Sans" panose="020B0503050203000203" pitchFamily="34" charset="0"/>
                <a:ea typeface="IBM Plex Sans Regular" pitchFamily="34" charset="-122"/>
                <a:cs typeface="IBM Plex Sans Regular" pitchFamily="34" charset="-120"/>
              </a:rPr>
              <a:t>Integration tools</a:t>
            </a:r>
            <a:endParaRPr lang="en-US" sz="760">
              <a:latin typeface="IBM Plex Sans" panose="020B0503050203000203" pitchFamily="34" charset="0"/>
            </a:endParaRPr>
          </a:p>
        </p:txBody>
      </p:sp>
      <p:sp>
        <p:nvSpPr>
          <p:cNvPr id="619" name="Shape 64">
            <a:extLst>
              <a:ext uri="{FF2B5EF4-FFF2-40B4-BE49-F238E27FC236}">
                <a16:creationId xmlns:a16="http://schemas.microsoft.com/office/drawing/2014/main" id="{CF0F2691-44E7-FE85-11A4-33C24CB8B64F}"/>
              </a:ext>
            </a:extLst>
          </p:cNvPr>
          <p:cNvSpPr/>
          <p:nvPr/>
        </p:nvSpPr>
        <p:spPr>
          <a:xfrm>
            <a:off x="7925935" y="5515702"/>
            <a:ext cx="744150" cy="219369"/>
          </a:xfrm>
          <a:prstGeom prst="roundRect">
            <a:avLst>
              <a:gd name="adj" fmla="val 50983"/>
            </a:avLst>
          </a:prstGeom>
          <a:solidFill>
            <a:srgbClr val="E0E0E0">
              <a:alpha val="100000"/>
            </a:srgbClr>
          </a:solid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00">
              <a:latin typeface="IBM Plex Sans" panose="020B0503050203000203" pitchFamily="34" charset="0"/>
            </a:endParaRPr>
          </a:p>
        </p:txBody>
      </p:sp>
      <p:sp>
        <p:nvSpPr>
          <p:cNvPr id="622" name="Text 67">
            <a:extLst>
              <a:ext uri="{FF2B5EF4-FFF2-40B4-BE49-F238E27FC236}">
                <a16:creationId xmlns:a16="http://schemas.microsoft.com/office/drawing/2014/main" id="{9BFB5F02-675A-9FC6-2ED1-28154933737F}"/>
              </a:ext>
            </a:extLst>
          </p:cNvPr>
          <p:cNvSpPr/>
          <p:nvPr/>
        </p:nvSpPr>
        <p:spPr>
          <a:xfrm>
            <a:off x="7970767" y="5589741"/>
            <a:ext cx="926850" cy="120706"/>
          </a:xfrm>
          <a:prstGeom prst="rect">
            <a:avLst/>
          </a:prstGeom>
          <a:noFill/>
          <a:ln/>
        </p:spPr>
        <p:txBody>
          <a:bodyPr wrap="square" lIns="0" tIns="0" rIns="0" bIns="0" rtlCol="0" anchor="t"/>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nSpc>
                <a:spcPts val="800"/>
              </a:lnSpc>
            </a:pPr>
            <a:r>
              <a:rPr lang="en-US" sz="760" kern="0" spc="2">
                <a:solidFill>
                  <a:srgbClr val="000000">
                    <a:alpha val="100000"/>
                  </a:srgbClr>
                </a:solidFill>
                <a:latin typeface="IBM Plex Sans" panose="020B0503050203000203" pitchFamily="34" charset="0"/>
                <a:ea typeface="IBM Plex Sans Regular" pitchFamily="34" charset="-122"/>
                <a:cs typeface="IBM Plex Sans Regular" pitchFamily="34" charset="-120"/>
              </a:rPr>
              <a:t>Object storage</a:t>
            </a:r>
            <a:endParaRPr lang="en-US" sz="760">
              <a:latin typeface="IBM Plex Sans" panose="020B0503050203000203" pitchFamily="34" charset="0"/>
            </a:endParaRPr>
          </a:p>
        </p:txBody>
      </p:sp>
      <p:sp>
        <p:nvSpPr>
          <p:cNvPr id="623" name="Shape 70">
            <a:extLst>
              <a:ext uri="{FF2B5EF4-FFF2-40B4-BE49-F238E27FC236}">
                <a16:creationId xmlns:a16="http://schemas.microsoft.com/office/drawing/2014/main" id="{645A4E1B-0C0A-1190-DB1C-8C6325399868}"/>
              </a:ext>
            </a:extLst>
          </p:cNvPr>
          <p:cNvSpPr/>
          <p:nvPr/>
        </p:nvSpPr>
        <p:spPr>
          <a:xfrm>
            <a:off x="8958019" y="5515702"/>
            <a:ext cx="695893" cy="219369"/>
          </a:xfrm>
          <a:prstGeom prst="roundRect">
            <a:avLst>
              <a:gd name="adj" fmla="val 50983"/>
            </a:avLst>
          </a:prstGeom>
          <a:solidFill>
            <a:srgbClr val="E0E0E0">
              <a:alpha val="100000"/>
            </a:srgbClr>
          </a:solid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00">
              <a:latin typeface="IBM Plex Sans" panose="020B0503050203000203" pitchFamily="34" charset="0"/>
            </a:endParaRPr>
          </a:p>
        </p:txBody>
      </p:sp>
      <p:sp>
        <p:nvSpPr>
          <p:cNvPr id="626" name="Text 73">
            <a:extLst>
              <a:ext uri="{FF2B5EF4-FFF2-40B4-BE49-F238E27FC236}">
                <a16:creationId xmlns:a16="http://schemas.microsoft.com/office/drawing/2014/main" id="{AE4C15CC-B0DC-7334-657C-5BCAAC316516}"/>
              </a:ext>
            </a:extLst>
          </p:cNvPr>
          <p:cNvSpPr/>
          <p:nvPr/>
        </p:nvSpPr>
        <p:spPr>
          <a:xfrm>
            <a:off x="9018048" y="5589741"/>
            <a:ext cx="756396" cy="120706"/>
          </a:xfrm>
          <a:prstGeom prst="rect">
            <a:avLst/>
          </a:prstGeom>
          <a:noFill/>
          <a:ln/>
        </p:spPr>
        <p:txBody>
          <a:bodyPr wrap="square" lIns="0" tIns="0" rIns="0" bIns="0" rtlCol="0" anchor="t"/>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nSpc>
                <a:spcPts val="800"/>
              </a:lnSpc>
            </a:pPr>
            <a:r>
              <a:rPr lang="en-US" sz="760" kern="0" spc="2">
                <a:solidFill>
                  <a:srgbClr val="000000">
                    <a:alpha val="100000"/>
                  </a:srgbClr>
                </a:solidFill>
                <a:latin typeface="IBM Plex Sans" panose="020B0503050203000203" pitchFamily="34" charset="0"/>
                <a:ea typeface="IBM Plex Sans Regular" pitchFamily="34" charset="-122"/>
                <a:cs typeface="IBM Plex Sans Regular" pitchFamily="34" charset="-120"/>
              </a:rPr>
              <a:t>Lakehouses</a:t>
            </a:r>
            <a:endParaRPr lang="en-US" sz="760">
              <a:latin typeface="IBM Plex Sans" panose="020B0503050203000203" pitchFamily="34" charset="0"/>
            </a:endParaRPr>
          </a:p>
        </p:txBody>
      </p:sp>
      <p:sp>
        <p:nvSpPr>
          <p:cNvPr id="627" name="Shape 76">
            <a:extLst>
              <a:ext uri="{FF2B5EF4-FFF2-40B4-BE49-F238E27FC236}">
                <a16:creationId xmlns:a16="http://schemas.microsoft.com/office/drawing/2014/main" id="{D694034F-91D4-E03A-36D1-62F872A88F68}"/>
              </a:ext>
            </a:extLst>
          </p:cNvPr>
          <p:cNvSpPr/>
          <p:nvPr/>
        </p:nvSpPr>
        <p:spPr>
          <a:xfrm>
            <a:off x="9916915" y="5515702"/>
            <a:ext cx="722094" cy="219369"/>
          </a:xfrm>
          <a:prstGeom prst="roundRect">
            <a:avLst>
              <a:gd name="adj" fmla="val 50983"/>
            </a:avLst>
          </a:prstGeom>
          <a:solidFill>
            <a:srgbClr val="E0E0E0">
              <a:alpha val="100000"/>
            </a:srgbClr>
          </a:solid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00">
              <a:latin typeface="IBM Plex Sans" panose="020B0503050203000203" pitchFamily="34" charset="0"/>
            </a:endParaRPr>
          </a:p>
        </p:txBody>
      </p:sp>
      <p:sp>
        <p:nvSpPr>
          <p:cNvPr id="644" name="Text 79">
            <a:extLst>
              <a:ext uri="{FF2B5EF4-FFF2-40B4-BE49-F238E27FC236}">
                <a16:creationId xmlns:a16="http://schemas.microsoft.com/office/drawing/2014/main" id="{C63B5569-807F-B55B-C4AE-BC74F3DF771A}"/>
              </a:ext>
            </a:extLst>
          </p:cNvPr>
          <p:cNvSpPr/>
          <p:nvPr/>
        </p:nvSpPr>
        <p:spPr>
          <a:xfrm>
            <a:off x="9974581" y="5589741"/>
            <a:ext cx="862933" cy="120706"/>
          </a:xfrm>
          <a:prstGeom prst="rect">
            <a:avLst/>
          </a:prstGeom>
          <a:noFill/>
          <a:ln/>
        </p:spPr>
        <p:txBody>
          <a:bodyPr wrap="square" lIns="0" tIns="0" rIns="0" bIns="0" rtlCol="0" anchor="t"/>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nSpc>
                <a:spcPts val="800"/>
              </a:lnSpc>
            </a:pPr>
            <a:r>
              <a:rPr lang="en-US" sz="760" kern="0" spc="2">
                <a:solidFill>
                  <a:srgbClr val="000000">
                    <a:alpha val="100000"/>
                  </a:srgbClr>
                </a:solidFill>
                <a:latin typeface="IBM Plex Sans" panose="020B0503050203000203" pitchFamily="34" charset="0"/>
                <a:ea typeface="IBM Plex Sans Regular" pitchFamily="34" charset="-122"/>
                <a:cs typeface="IBM Plex Sans Regular" pitchFamily="34" charset="-120"/>
              </a:rPr>
              <a:t>Data catalogs</a:t>
            </a:r>
            <a:endParaRPr lang="en-US" sz="760">
              <a:latin typeface="IBM Plex Sans" panose="020B0503050203000203" pitchFamily="34" charset="0"/>
            </a:endParaRPr>
          </a:p>
        </p:txBody>
      </p:sp>
      <p:sp>
        <p:nvSpPr>
          <p:cNvPr id="651" name="Shape 82">
            <a:extLst>
              <a:ext uri="{FF2B5EF4-FFF2-40B4-BE49-F238E27FC236}">
                <a16:creationId xmlns:a16="http://schemas.microsoft.com/office/drawing/2014/main" id="{DA427278-EB15-130A-CCAA-9FB0082ACCE2}"/>
              </a:ext>
            </a:extLst>
          </p:cNvPr>
          <p:cNvSpPr/>
          <p:nvPr/>
        </p:nvSpPr>
        <p:spPr>
          <a:xfrm>
            <a:off x="10895835" y="5515702"/>
            <a:ext cx="475488" cy="219369"/>
          </a:xfrm>
          <a:prstGeom prst="roundRect">
            <a:avLst>
              <a:gd name="adj" fmla="val 50983"/>
            </a:avLst>
          </a:prstGeom>
          <a:solidFill>
            <a:srgbClr val="E0E0E0">
              <a:alpha val="100000"/>
            </a:srgbClr>
          </a:solid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00">
              <a:latin typeface="IBM Plex Sans" panose="020B0503050203000203" pitchFamily="34" charset="0"/>
            </a:endParaRPr>
          </a:p>
        </p:txBody>
      </p:sp>
      <p:sp>
        <p:nvSpPr>
          <p:cNvPr id="655" name="Text 85">
            <a:extLst>
              <a:ext uri="{FF2B5EF4-FFF2-40B4-BE49-F238E27FC236}">
                <a16:creationId xmlns:a16="http://schemas.microsoft.com/office/drawing/2014/main" id="{BA066229-6376-CE40-238A-D0F037211CFA}"/>
              </a:ext>
            </a:extLst>
          </p:cNvPr>
          <p:cNvSpPr/>
          <p:nvPr/>
        </p:nvSpPr>
        <p:spPr>
          <a:xfrm>
            <a:off x="10962212" y="5592954"/>
            <a:ext cx="421796" cy="114280"/>
          </a:xfrm>
          <a:prstGeom prst="rect">
            <a:avLst/>
          </a:prstGeom>
          <a:noFill/>
          <a:ln/>
        </p:spPr>
        <p:txBody>
          <a:bodyPr wrap="square" lIns="0" tIns="0" rIns="0" bIns="0" rtlCol="0" anchor="t"/>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nSpc>
                <a:spcPts val="800"/>
              </a:lnSpc>
            </a:pPr>
            <a:r>
              <a:rPr lang="en-US" sz="760" kern="0" spc="2">
                <a:solidFill>
                  <a:srgbClr val="000000">
                    <a:alpha val="100000"/>
                  </a:srgbClr>
                </a:solidFill>
                <a:latin typeface="IBM Plex Sans" panose="020B0503050203000203" pitchFamily="34" charset="0"/>
                <a:ea typeface="IBM Plex Sans Regular" pitchFamily="34" charset="-122"/>
                <a:cs typeface="IBM Plex Sans Regular" pitchFamily="34" charset="-120"/>
              </a:rPr>
              <a:t>+more</a:t>
            </a:r>
            <a:endParaRPr lang="en-US" sz="760">
              <a:latin typeface="IBM Plex Sans" panose="020B0503050203000203" pitchFamily="34" charset="0"/>
            </a:endParaRPr>
          </a:p>
        </p:txBody>
      </p:sp>
      <p:sp>
        <p:nvSpPr>
          <p:cNvPr id="656" name="Text 54">
            <a:extLst>
              <a:ext uri="{FF2B5EF4-FFF2-40B4-BE49-F238E27FC236}">
                <a16:creationId xmlns:a16="http://schemas.microsoft.com/office/drawing/2014/main" id="{A770951D-4E1A-63FF-B1F7-E7BB8EE093D3}"/>
              </a:ext>
            </a:extLst>
          </p:cNvPr>
          <p:cNvSpPr/>
          <p:nvPr/>
        </p:nvSpPr>
        <p:spPr>
          <a:xfrm>
            <a:off x="2981323" y="5142298"/>
            <a:ext cx="1316047" cy="287803"/>
          </a:xfrm>
          <a:prstGeom prst="rect">
            <a:avLst/>
          </a:prstGeom>
          <a:noFill/>
          <a:ln/>
        </p:spPr>
        <p:txBody>
          <a:bodyPr wrap="square" lIns="0" tIns="0" rIns="0" bIns="0" rtlCol="0" anchor="t"/>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nSpc>
                <a:spcPts val="2000"/>
              </a:lnSpc>
            </a:pPr>
            <a:r>
              <a:rPr lang="en-US" sz="800">
                <a:solidFill>
                  <a:srgbClr val="000000">
                    <a:alpha val="100000"/>
                  </a:srgbClr>
                </a:solidFill>
                <a:latin typeface="IBM Plex Sans" panose="020B0503050203000203" pitchFamily="34" charset="0"/>
                <a:ea typeface="IBM Plex Sans Bold" pitchFamily="34" charset="-122"/>
                <a:cs typeface="IBM Plex Sans Bold" pitchFamily="34" charset="-120"/>
              </a:rPr>
              <a:t>Ecosystem interoperability</a:t>
            </a:r>
            <a:endParaRPr lang="en-US" sz="800">
              <a:latin typeface="IBM Plex Sans" panose="020B0503050203000203" pitchFamily="34" charset="0"/>
            </a:endParaRPr>
          </a:p>
        </p:txBody>
      </p:sp>
      <p:sp>
        <p:nvSpPr>
          <p:cNvPr id="657" name="Shape 70">
            <a:extLst>
              <a:ext uri="{FF2B5EF4-FFF2-40B4-BE49-F238E27FC236}">
                <a16:creationId xmlns:a16="http://schemas.microsoft.com/office/drawing/2014/main" id="{A9C06E7D-1788-C42E-7A57-2D95DF562CA9}"/>
              </a:ext>
            </a:extLst>
          </p:cNvPr>
          <p:cNvSpPr/>
          <p:nvPr/>
        </p:nvSpPr>
        <p:spPr>
          <a:xfrm>
            <a:off x="5973692" y="5515702"/>
            <a:ext cx="598151" cy="219369"/>
          </a:xfrm>
          <a:prstGeom prst="roundRect">
            <a:avLst>
              <a:gd name="adj" fmla="val 50983"/>
            </a:avLst>
          </a:prstGeom>
          <a:solidFill>
            <a:srgbClr val="E0E0E0">
              <a:alpha val="100000"/>
            </a:srgbClr>
          </a:solidFill>
          <a:ln/>
        </p:spPr>
        <p:txBody>
          <a:bodyPr/>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endParaRPr lang="en-US" sz="900">
              <a:latin typeface="IBM Plex Sans" panose="020B0503050203000203" pitchFamily="34" charset="0"/>
            </a:endParaRPr>
          </a:p>
        </p:txBody>
      </p:sp>
      <p:sp>
        <p:nvSpPr>
          <p:cNvPr id="664" name="Text 73">
            <a:extLst>
              <a:ext uri="{FF2B5EF4-FFF2-40B4-BE49-F238E27FC236}">
                <a16:creationId xmlns:a16="http://schemas.microsoft.com/office/drawing/2014/main" id="{713D9F48-CAEA-CE54-1F8C-5A4EEEDEDA13}"/>
              </a:ext>
            </a:extLst>
          </p:cNvPr>
          <p:cNvSpPr/>
          <p:nvPr/>
        </p:nvSpPr>
        <p:spPr>
          <a:xfrm>
            <a:off x="6033721" y="5589741"/>
            <a:ext cx="756396" cy="120706"/>
          </a:xfrm>
          <a:prstGeom prst="rect">
            <a:avLst/>
          </a:prstGeom>
          <a:noFill/>
          <a:ln/>
        </p:spPr>
        <p:txBody>
          <a:bodyPr wrap="square" lIns="0" tIns="0" rIns="0" bIns="0" rtlCol="0" anchor="t"/>
          <a:lstStyle>
            <a:defPPr>
              <a:defRPr lang="en-US"/>
            </a:defPPr>
            <a:lvl1pPr marL="0" algn="l" defTabSz="1828891" rtl="0" eaLnBrk="1" latinLnBrk="0" hangingPunct="1">
              <a:defRPr sz="3600" kern="1200">
                <a:solidFill>
                  <a:schemeClr val="tx1"/>
                </a:solidFill>
                <a:latin typeface="+mn-lt"/>
                <a:ea typeface="+mn-ea"/>
                <a:cs typeface="+mn-cs"/>
              </a:defRPr>
            </a:lvl1pPr>
            <a:lvl2pPr marL="914446" algn="l" defTabSz="1828891" rtl="0" eaLnBrk="1" latinLnBrk="0" hangingPunct="1">
              <a:defRPr sz="3600" kern="1200">
                <a:solidFill>
                  <a:schemeClr val="tx1"/>
                </a:solidFill>
                <a:latin typeface="+mn-lt"/>
                <a:ea typeface="+mn-ea"/>
                <a:cs typeface="+mn-cs"/>
              </a:defRPr>
            </a:lvl2pPr>
            <a:lvl3pPr marL="1828891" algn="l" defTabSz="1828891" rtl="0" eaLnBrk="1" latinLnBrk="0" hangingPunct="1">
              <a:defRPr sz="3600" kern="1200">
                <a:solidFill>
                  <a:schemeClr val="tx1"/>
                </a:solidFill>
                <a:latin typeface="+mn-lt"/>
                <a:ea typeface="+mn-ea"/>
                <a:cs typeface="+mn-cs"/>
              </a:defRPr>
            </a:lvl3pPr>
            <a:lvl4pPr marL="2743337" algn="l" defTabSz="1828891" rtl="0" eaLnBrk="1" latinLnBrk="0" hangingPunct="1">
              <a:defRPr sz="3600" kern="1200">
                <a:solidFill>
                  <a:schemeClr val="tx1"/>
                </a:solidFill>
                <a:latin typeface="+mn-lt"/>
                <a:ea typeface="+mn-ea"/>
                <a:cs typeface="+mn-cs"/>
              </a:defRPr>
            </a:lvl4pPr>
            <a:lvl5pPr marL="3657783" algn="l" defTabSz="1828891" rtl="0" eaLnBrk="1" latinLnBrk="0" hangingPunct="1">
              <a:defRPr sz="3600" kern="1200">
                <a:solidFill>
                  <a:schemeClr val="tx1"/>
                </a:solidFill>
                <a:latin typeface="+mn-lt"/>
                <a:ea typeface="+mn-ea"/>
                <a:cs typeface="+mn-cs"/>
              </a:defRPr>
            </a:lvl5pPr>
            <a:lvl6pPr marL="4572229" algn="l" defTabSz="1828891" rtl="0" eaLnBrk="1" latinLnBrk="0" hangingPunct="1">
              <a:defRPr sz="3600" kern="1200">
                <a:solidFill>
                  <a:schemeClr val="tx1"/>
                </a:solidFill>
                <a:latin typeface="+mn-lt"/>
                <a:ea typeface="+mn-ea"/>
                <a:cs typeface="+mn-cs"/>
              </a:defRPr>
            </a:lvl6pPr>
            <a:lvl7pPr marL="5486674" algn="l" defTabSz="1828891" rtl="0" eaLnBrk="1" latinLnBrk="0" hangingPunct="1">
              <a:defRPr sz="3600" kern="1200">
                <a:solidFill>
                  <a:schemeClr val="tx1"/>
                </a:solidFill>
                <a:latin typeface="+mn-lt"/>
                <a:ea typeface="+mn-ea"/>
                <a:cs typeface="+mn-cs"/>
              </a:defRPr>
            </a:lvl7pPr>
            <a:lvl8pPr marL="6401120" algn="l" defTabSz="1828891" rtl="0" eaLnBrk="1" latinLnBrk="0" hangingPunct="1">
              <a:defRPr sz="3600" kern="1200">
                <a:solidFill>
                  <a:schemeClr val="tx1"/>
                </a:solidFill>
                <a:latin typeface="+mn-lt"/>
                <a:ea typeface="+mn-ea"/>
                <a:cs typeface="+mn-cs"/>
              </a:defRPr>
            </a:lvl8pPr>
            <a:lvl9pPr marL="7315566" algn="l" defTabSz="1828891" rtl="0" eaLnBrk="1" latinLnBrk="0" hangingPunct="1">
              <a:defRPr sz="3600" kern="1200">
                <a:solidFill>
                  <a:schemeClr val="tx1"/>
                </a:solidFill>
                <a:latin typeface="+mn-lt"/>
                <a:ea typeface="+mn-ea"/>
                <a:cs typeface="+mn-cs"/>
              </a:defRPr>
            </a:lvl9pPr>
          </a:lstStyle>
          <a:p>
            <a:pPr>
              <a:lnSpc>
                <a:spcPts val="800"/>
              </a:lnSpc>
            </a:pPr>
            <a:r>
              <a:rPr lang="en-US" sz="760" kern="0" spc="2">
                <a:solidFill>
                  <a:srgbClr val="000000">
                    <a:alpha val="100000"/>
                  </a:srgbClr>
                </a:solidFill>
                <a:latin typeface="IBM Plex Sans" panose="020B0503050203000203" pitchFamily="34" charset="0"/>
                <a:ea typeface="IBM Plex Sans Regular" pitchFamily="34" charset="-122"/>
                <a:cs typeface="IBM Plex Sans Regular" pitchFamily="34" charset="-120"/>
              </a:rPr>
              <a:t>Databases</a:t>
            </a:r>
            <a:endParaRPr lang="en-US" sz="760">
              <a:latin typeface="IBM Plex Sans" panose="020B0503050203000203" pitchFamily="34" charset="0"/>
            </a:endParaRPr>
          </a:p>
        </p:txBody>
      </p:sp>
      <p:sp>
        <p:nvSpPr>
          <p:cNvPr id="8" name="Title 1">
            <a:extLst>
              <a:ext uri="{FF2B5EF4-FFF2-40B4-BE49-F238E27FC236}">
                <a16:creationId xmlns:a16="http://schemas.microsoft.com/office/drawing/2014/main" id="{58D958AF-2F99-7B8D-A3EF-B3BD2295DD55}"/>
              </a:ext>
            </a:extLst>
          </p:cNvPr>
          <p:cNvSpPr txBox="1">
            <a:spLocks/>
          </p:cNvSpPr>
          <p:nvPr/>
        </p:nvSpPr>
        <p:spPr>
          <a:xfrm>
            <a:off x="301586" y="267111"/>
            <a:ext cx="2293128" cy="593639"/>
          </a:xfrm>
          <a:prstGeom prst="rect">
            <a:avLst/>
          </a:prstGeom>
          <a:noFill/>
          <a:ln>
            <a:noFill/>
          </a:ln>
        </p:spPr>
        <p:txBody>
          <a:bodyPr vert="horz" wrap="square" lIns="0" tIns="0" rIns="0" bIns="0" anchor="t" anchorCtr="0" compatLnSpc="1">
            <a:noAutofit/>
          </a:bodyPr>
          <a:lstStyle>
            <a:lvl1pPr marL="0" marR="0" lvl="0" indent="0" algn="l" defTabSz="1218958" rtl="0" fontAlgn="auto" hangingPunct="1">
              <a:lnSpc>
                <a:spcPct val="110000"/>
              </a:lnSpc>
              <a:spcBef>
                <a:spcPts val="0"/>
              </a:spcBef>
              <a:spcAft>
                <a:spcPts val="0"/>
              </a:spcAft>
              <a:buNone/>
              <a:tabLst/>
              <a:defRPr lang="en-US" sz="1800" b="0" i="0" u="none" strike="noStrike" kern="0" cap="none" spc="0" baseline="0">
                <a:solidFill>
                  <a:srgbClr val="000000"/>
                </a:solidFill>
                <a:uFillTx/>
                <a:latin typeface="IBM Plex Sans Light"/>
              </a:defRPr>
            </a:lvl1pPr>
          </a:lstStyle>
          <a:p>
            <a:r>
              <a:rPr lang="en-US" sz="2400"/>
              <a:t>Integrate, access, govern and secure </a:t>
            </a:r>
            <a:r>
              <a:rPr lang="en-US" sz="2400">
                <a:solidFill>
                  <a:srgbClr val="0E61FF"/>
                </a:solidFill>
              </a:rPr>
              <a:t>all data types</a:t>
            </a:r>
            <a:r>
              <a:rPr lang="en-US" sz="2400"/>
              <a:t> with an </a:t>
            </a:r>
            <a:r>
              <a:rPr lang="en-US" sz="2400">
                <a:solidFill>
                  <a:schemeClr val="tx1"/>
                </a:solidFill>
              </a:rPr>
              <a:t>open and hybrid</a:t>
            </a:r>
            <a:r>
              <a:rPr lang="en-US" sz="2400">
                <a:solidFill>
                  <a:srgbClr val="0E61FF"/>
                </a:solidFill>
              </a:rPr>
              <a:t> data architecture</a:t>
            </a:r>
          </a:p>
        </p:txBody>
      </p:sp>
    </p:spTree>
    <p:extLst>
      <p:ext uri="{BB962C8B-B14F-4D97-AF65-F5344CB8AC3E}">
        <p14:creationId xmlns:p14="http://schemas.microsoft.com/office/powerpoint/2010/main" val="1124063010"/>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EE4P_TEMPLATESTYLE" val="6"/>
</p:tagLst>
</file>

<file path=ppt/theme/theme1.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5_IBM presentation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5F6FF"/>
        </a:solidFill>
        <a:ln w="19050">
          <a:solidFill>
            <a:srgbClr val="E5F6FF"/>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r="http://schemas.openxmlformats.org/officeDocument/2006/relationships" xmlns:p="http://schemas.openxmlformats.org/presentationml/2006/main" xmlns="" xmlns:m="http://schemas.openxmlformats.org/officeDocument/2006/math" xmlns:a14="http://schemas.microsoft.com/office/drawing/2010/main" xmlns:ma14="http://schemas.microsoft.com/office/mac/drawingml/2011/main"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1730368918050" id="{31DF0289-1028-6943-A020-36845773A867}" vid="{420903E5-FF27-9C4D-AB14-78ABBED49DF3}"/>
    </a:ext>
  </a:extLst>
</a:theme>
</file>

<file path=ppt/theme/theme11.xml><?xml version="1.0" encoding="utf-8"?>
<a:theme xmlns:a="http://schemas.openxmlformats.org/drawingml/2006/main" name="6_IBM presentation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5F6FF"/>
        </a:solidFill>
        <a:ln w="19050">
          <a:solidFill>
            <a:srgbClr val="E5F6FF"/>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xmlns:p="http://schemas.openxmlformats.org/presentationml/2006/main" xmlns:r="http://schemas.openxmlformats.org/officeDocument/2006/relationships"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presentation_template_v_1_4_Plex" id="{CD0C5817-EB6A-6C46-8403-24AD582CFD03}" vid="{BF9B21BA-71C2-5045-909D-55899A1DBA68}"/>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IBM presentation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5F6FF"/>
        </a:solidFill>
        <a:ln w="19050">
          <a:solidFill>
            <a:srgbClr val="E5F6FF"/>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r="http://schemas.openxmlformats.org/officeDocument/2006/relationships" xmlns:p="http://schemas.openxmlformats.org/presentationml/2006/main" xmlns="" xmlns:m="http://schemas.openxmlformats.org/officeDocument/2006/math" xmlns:a14="http://schemas.microsoft.com/office/drawing/2010/main" xmlns:ma14="http://schemas.microsoft.com/office/mac/drawingml/2011/main"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1730368918050" id="{F04CA754-BE2C-4040-86D4-DB285EA1B18A}" vid="{1A6545FA-9223-B648-866A-185DFA4B43DC}"/>
    </a:ext>
  </a:extLst>
</a:theme>
</file>

<file path=ppt/theme/theme3.xml><?xml version="1.0" encoding="utf-8"?>
<a:theme xmlns:a="http://schemas.openxmlformats.org/drawingml/2006/main" name="1_IBM presentation templat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2_IBM presentation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5F6FF"/>
        </a:solidFill>
        <a:ln w="19050">
          <a:solidFill>
            <a:srgbClr val="E5F6FF"/>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r="http://schemas.openxmlformats.org/officeDocument/2006/relationships" xmlns:p="http://schemas.openxmlformats.org/presentationml/2006/main" xmlns="" xmlns:m="http://schemas.openxmlformats.org/officeDocument/2006/math" xmlns:a14="http://schemas.microsoft.com/office/drawing/2010/main" xmlns:ma14="http://schemas.microsoft.com/office/mac/drawingml/2011/main"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presentation_template_v_1_3_Plex" id="{507D63C0-68EA-7B42-B40C-F513B5E0ED36}" vid="{FA317DCC-6681-E74E-975A-CD54A5E1797A}"/>
    </a:ext>
  </a:extLst>
</a:theme>
</file>

<file path=ppt/theme/theme5.xml><?xml version="1.0" encoding="utf-8"?>
<a:theme xmlns:a="http://schemas.openxmlformats.org/drawingml/2006/main" name="1_IBM TechXchange 2023">
  <a:themeElements>
    <a:clrScheme name="TechXchange Conference 2024 Speaker Template">
      <a:dk1>
        <a:srgbClr val="FFFFFF"/>
      </a:dk1>
      <a:lt1>
        <a:srgbClr val="000000"/>
      </a:lt1>
      <a:dk2>
        <a:srgbClr val="EDF5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5F6FF"/>
        </a:solidFill>
        <a:ln w="19050">
          <a:solidFill>
            <a:srgbClr val="E5F6FF"/>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r="http://schemas.openxmlformats.org/officeDocument/2006/relationships" xmlns:p="http://schemas.openxmlformats.org/presentationml/2006/main" xmlns="" xmlns:m="http://schemas.openxmlformats.org/officeDocument/2006/math" xmlns:a14="http://schemas.microsoft.com/office/drawing/2010/main" xmlns:ma14="http://schemas.microsoft.com/office/mac/drawingml/2011/main" val="1"/>
          </a:ext>
        </a:extLst>
      </a:spPr>
      <a:bodyPr wrap="square" lIns="0" tIns="0" rIns="0" bIns="0" rtlCol="0">
        <a:noAutofit/>
      </a:bodyPr>
      <a:lstStyle>
        <a:defPPr algn="l" defTabSz="2438400">
          <a:spcBef>
            <a:spcPts val="2900"/>
          </a:spcBef>
          <a:buSzPct val="100000"/>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TechXchange_Conference_2024_PPT_speaker_presentation_template 1(1)" id="{FABF7FF3-1CFC-A446-B105-1FB4F622B83A}" vid="{20F4B819-016F-CA4A-BB43-36220446FE66}"/>
    </a:ext>
  </a:extLst>
</a:theme>
</file>

<file path=ppt/theme/theme6.xml><?xml version="1.0" encoding="utf-8"?>
<a:theme xmlns:a="http://schemas.openxmlformats.org/drawingml/2006/main" name="3_IBM presentation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5F6FF"/>
        </a:solidFill>
        <a:ln w="19050">
          <a:solidFill>
            <a:srgbClr val="E5F6FF"/>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r="http://schemas.openxmlformats.org/officeDocument/2006/relationships" xmlns:p="http://schemas.openxmlformats.org/presentationml/2006/main" xmlns="" xmlns:m="http://schemas.openxmlformats.org/officeDocument/2006/math" xmlns:a14="http://schemas.microsoft.com/office/drawing/2010/main" xmlns:ma14="http://schemas.microsoft.com/office/mac/drawingml/2011/main"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presentation_template_v_1_7_Plex" id="{95415CFD-B8C5-A64E-9B33-327FB66EA919}" vid="{53F516D8-807B-3648-BBAC-1A335BDA2B4F}"/>
    </a:ext>
  </a:extLst>
</a:theme>
</file>

<file path=ppt/theme/theme7.xml><?xml version="1.0" encoding="utf-8"?>
<a:theme xmlns:a="http://schemas.openxmlformats.org/drawingml/2006/main" name="IBM TechXchange 2023">
  <a:themeElements>
    <a:clrScheme name="TechXchange Conference 2024 Speaker Template">
      <a:dk1>
        <a:srgbClr val="FFFFFF"/>
      </a:dk1>
      <a:lt1>
        <a:srgbClr val="000000"/>
      </a:lt1>
      <a:dk2>
        <a:srgbClr val="EDF5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5F6FF"/>
        </a:solidFill>
        <a:ln w="19050">
          <a:solidFill>
            <a:srgbClr val="E5F6FF"/>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r="http://schemas.openxmlformats.org/officeDocument/2006/relationships" xmlns:p="http://schemas.openxmlformats.org/presentationml/2006/main" xmlns="" xmlns:m="http://schemas.openxmlformats.org/officeDocument/2006/math" xmlns:a14="http://schemas.microsoft.com/office/drawing/2010/main" xmlns:ma14="http://schemas.microsoft.com/office/mac/drawingml/2011/main" val="1"/>
          </a:ext>
        </a:extLst>
      </a:spPr>
      <a:bodyPr wrap="square" lIns="0" tIns="0" rIns="0" bIns="0" rtlCol="0">
        <a:noAutofit/>
      </a:bodyPr>
      <a:lstStyle>
        <a:defPPr algn="l" defTabSz="2438400">
          <a:spcBef>
            <a:spcPts val="2900"/>
          </a:spcBef>
          <a:buSzPct val="100000"/>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TechXchange_Conference_2024_PPT_speaker_presentation_template 1(1)" id="{FABF7FF3-1CFC-A446-B105-1FB4F622B83A}" vid="{20F4B819-016F-CA4A-BB43-36220446FE66}"/>
    </a:ext>
  </a:extLst>
</a:theme>
</file>

<file path=ppt/theme/theme8.xml><?xml version="1.0" encoding="utf-8"?>
<a:theme xmlns:a="http://schemas.openxmlformats.org/drawingml/2006/main" name="4_IBM presentation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5F6FF"/>
        </a:solidFill>
        <a:ln w="19050">
          <a:solidFill>
            <a:srgbClr val="E5F6FF"/>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r="http://schemas.openxmlformats.org/officeDocument/2006/relationships" xmlns:p="http://schemas.openxmlformats.org/presentationml/2006/main" xmlns="" xmlns:m="http://schemas.openxmlformats.org/officeDocument/2006/math" xmlns:a14="http://schemas.microsoft.com/office/drawing/2010/main" xmlns:ma14="http://schemas.microsoft.com/office/mac/drawingml/2011/main"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presentation_sample_layouts_v_1_6_Plex_Embed.pptx" id="{A09D0CF9-04DF-1B4F-B284-93D47E2136A5}" vid="{6B517B3C-8656-CB47-8FFB-C18B4737DA42}"/>
    </a:ext>
  </a:extLst>
</a:theme>
</file>

<file path=ppt/theme/theme9.xml><?xml version="1.0" encoding="utf-8"?>
<a:theme xmlns:a="http://schemas.openxmlformats.org/drawingml/2006/main" name="IBM presentation enablement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327600" marR="0" indent="-3276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kumimoji="0" sz="20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xmlns:p="http://schemas.openxmlformats.org/presentationml/2006/main" xmlns:r="http://schemas.openxmlformats.org/officeDocument/2006/relationships" val="1"/>
          </a:ext>
        </a:extLst>
      </a:spPr>
      <a:bodyPr wrap="square" lIns="0" tIns="0" rIns="0" bIns="0" rtlCol="0">
        <a:noAutofit/>
      </a:bodyPr>
      <a:lstStyle>
        <a:defPPr algn="l" defTabSz="2438400">
          <a:buSzPct val="100000"/>
          <a:defRPr sz="2400" dirty="0" smtClean="0">
            <a:cs typeface="Arial" panose="020B0604020202020204" pitchFamily="34" charset="0"/>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presentation_template_v_1_4_Plex" id="{461DE280-6773-3240-A149-7E3C0A49F9FC}" vid="{119F70B9-3B70-5545-8722-9A4DAAA12CBF}"/>
    </a:ext>
  </a:extLst>
</a:theme>
</file>

<file path=docProps/app.xml><?xml version="1.0" encoding="utf-8"?>
<Properties xmlns="http://schemas.openxmlformats.org/officeDocument/2006/extended-properties" xmlns:vt="http://schemas.openxmlformats.org/officeDocument/2006/docPropsVTypes">
  <TotalTime>360</TotalTime>
  <Words>3494</Words>
  <Application>Microsoft Office PowerPoint</Application>
  <PresentationFormat>Widescreen</PresentationFormat>
  <Paragraphs>400</Paragraphs>
  <Slides>15</Slides>
  <Notes>14</Notes>
  <HiddenSlides>0</HiddenSlides>
  <MMClips>2</MMClips>
  <ScaleCrop>false</ScaleCrop>
  <HeadingPairs>
    <vt:vector size="4" baseType="variant">
      <vt:variant>
        <vt:lpstr>Theme</vt:lpstr>
      </vt:variant>
      <vt:variant>
        <vt:i4>11</vt:i4>
      </vt:variant>
      <vt:variant>
        <vt:lpstr>Slide Titles</vt:lpstr>
      </vt:variant>
      <vt:variant>
        <vt:i4>15</vt:i4>
      </vt:variant>
    </vt:vector>
  </HeadingPairs>
  <TitlesOfParts>
    <vt:vector size="26" baseType="lpstr">
      <vt:lpstr>4_Office Theme</vt:lpstr>
      <vt:lpstr>IBM presentation template</vt:lpstr>
      <vt:lpstr>1_IBM presentation template</vt:lpstr>
      <vt:lpstr>2_IBM presentation template</vt:lpstr>
      <vt:lpstr>1_IBM TechXchange 2023</vt:lpstr>
      <vt:lpstr>3_IBM presentation template</vt:lpstr>
      <vt:lpstr>IBM TechXchange 2023</vt:lpstr>
      <vt:lpstr>4_IBM presentation template</vt:lpstr>
      <vt:lpstr>IBM presentation enablement template</vt:lpstr>
      <vt:lpstr>5_IBM presentation template</vt:lpstr>
      <vt:lpstr>6_IBM presentation template</vt:lpstr>
      <vt:lpstr>PowerPoint Presentation</vt:lpstr>
      <vt:lpstr>Today’s talk  Key takeaways</vt:lpstr>
      <vt:lpstr>AI is only as good as your data</vt:lpstr>
      <vt:lpstr>PowerPoint Presentation</vt:lpstr>
      <vt:lpstr>PowerPoint Presentation</vt:lpstr>
      <vt:lpstr>PowerPoint Presentation</vt:lpstr>
      <vt:lpstr>PowerPoint Presentation</vt:lpstr>
      <vt:lpstr>watsonx.data is part of the open modern data stack</vt:lpstr>
      <vt:lpstr>PowerPoint Presentation</vt:lpstr>
      <vt:lpstr>Our approach to all data users</vt:lpstr>
      <vt:lpstr>PowerPoint Presentation</vt:lpstr>
      <vt:lpstr>PowerPoint Presentation</vt:lpstr>
      <vt:lpstr>Deepening watsonx capabilities to address enterprise Gen AI data needs with  DataStax</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athish Vyas</dc:creator>
  <cp:lastModifiedBy>Fariya Syed-Ali</cp:lastModifiedBy>
  <cp:revision>23</cp:revision>
  <dcterms:created xsi:type="dcterms:W3CDTF">2024-10-29T09:31:46Z</dcterms:created>
  <dcterms:modified xsi:type="dcterms:W3CDTF">2025-03-24T15:30:49Z</dcterms:modified>
</cp:coreProperties>
</file>